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431" r:id="rId4"/>
    <p:sldMasterId id="2147486434" r:id="rId5"/>
    <p:sldMasterId id="2147486437" r:id="rId6"/>
    <p:sldMasterId id="2147486443" r:id="rId7"/>
    <p:sldMasterId id="2147486464" r:id="rId8"/>
    <p:sldMasterId id="2147486484" r:id="rId9"/>
  </p:sldMasterIdLst>
  <p:notesMasterIdLst>
    <p:notesMasterId r:id="rId53"/>
  </p:notesMasterIdLst>
  <p:handoutMasterIdLst>
    <p:handoutMasterId r:id="rId54"/>
  </p:handoutMasterIdLst>
  <p:sldIdLst>
    <p:sldId id="2147480422" r:id="rId10"/>
    <p:sldId id="2147481465" r:id="rId11"/>
    <p:sldId id="2147481802" r:id="rId12"/>
    <p:sldId id="2147481615" r:id="rId13"/>
    <p:sldId id="2147480126" r:id="rId14"/>
    <p:sldId id="2147480123" r:id="rId15"/>
    <p:sldId id="2147480257" r:id="rId16"/>
    <p:sldId id="2147480258" r:id="rId17"/>
    <p:sldId id="2147480698" r:id="rId18"/>
    <p:sldId id="2147480699" r:id="rId19"/>
    <p:sldId id="2147480412" r:id="rId20"/>
    <p:sldId id="2147478338" r:id="rId21"/>
    <p:sldId id="2147480268" r:id="rId22"/>
    <p:sldId id="2147481602" r:id="rId23"/>
    <p:sldId id="2147481794" r:id="rId24"/>
    <p:sldId id="2147481796" r:id="rId25"/>
    <p:sldId id="2147480326" r:id="rId26"/>
    <p:sldId id="2147481617" r:id="rId27"/>
    <p:sldId id="2147481616" r:id="rId28"/>
    <p:sldId id="2147481614" r:id="rId29"/>
    <p:sldId id="2147481609" r:id="rId30"/>
    <p:sldId id="2147469356" r:id="rId31"/>
    <p:sldId id="2147470601" r:id="rId32"/>
    <p:sldId id="2147480427" r:id="rId33"/>
    <p:sldId id="2147481464" r:id="rId34"/>
    <p:sldId id="2147481610" r:id="rId35"/>
    <p:sldId id="2147481799" r:id="rId36"/>
    <p:sldId id="2147480421" r:id="rId37"/>
    <p:sldId id="2147481599" r:id="rId38"/>
    <p:sldId id="2147481462" r:id="rId39"/>
    <p:sldId id="2147480431" r:id="rId40"/>
    <p:sldId id="2147481800" r:id="rId41"/>
    <p:sldId id="2147481801" r:id="rId42"/>
    <p:sldId id="2147480429" r:id="rId43"/>
    <p:sldId id="2147480430" r:id="rId44"/>
    <p:sldId id="2147481449" r:id="rId45"/>
    <p:sldId id="2142532454" r:id="rId46"/>
    <p:sldId id="2147479896" r:id="rId47"/>
    <p:sldId id="2147481798" r:id="rId48"/>
    <p:sldId id="2147481797" r:id="rId49"/>
    <p:sldId id="2147480800" r:id="rId50"/>
    <p:sldId id="2147481526" r:id="rId51"/>
    <p:sldId id="2147480409" r:id="rId5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0C2307-B764-5103-2E2B-51FA8EFDBC1E}" name="Will Thompson (HE/HIM)" initials="WT(" userId="S::willthom@microsoft.com::c1f4f77a-33b2-4dc6-af42-a3453cb2ab76" providerId="AD"/>
  <p188:author id="{05D6A122-89CC-6E1E-5416-A8722C7C9089}" name="Guest User" initials="GU" userId="S::urn:spo:anon#85afa252d92cb6cb76eafc23e47cc9d84bbb6f459d221021314ebd69f0c4ca90::" providerId="AD"/>
  <p188:author id="{76589027-2D9E-FAAC-0497-800CACD88915}" name="Michelle Rivera" initials="MR" userId="S::michelle.rivera@simple-concepts.com::b26a2569-b5c2-44ef-a98d-29c8f44e9574" providerId="AD"/>
  <p188:author id="{7AC5DE2C-A2A5-A9DB-C49B-263E38DC6276}" name="Arun Ulagaratchagan" initials="AU" userId="S::arunulag@microsoft.com::323d1b12-d7b1-4f95-8170-ff3f604b763f" providerId="AD"/>
  <p188:author id="{C7DAA036-366E-D6DD-C6D8-D3CB7C771DA8}" name="Colin Murphy" initials="CM" userId="S::colinmu@microsoft.com::79553852-deaa-486c-b5a4-9f042227a0f6" providerId="AD"/>
  <p188:author id="{A4472454-0112-0824-B4A8-2AB93B215692}" name="Patrick Baumgartner" initials="PB" userId="S::patb@microsoft.com::56308d29-2ee6-4a8a-b6fa-6c13b5eb68a2" providerId="AD"/>
  <p188:author id="{A8CB7D92-1BEF-F5B2-1013-C7C4EA6BFF9C}" name="Bogdan Crivat" initials="BC" userId="S::bocrivat@microsoft.com::22b445af-6ca0-4528-b01b-561f42683d9d" providerId="AD"/>
  <p188:author id="{17855DA6-9218-030F-FC45-318D83816BDE}" name="Vengatesh Parasuraman" initials="VP" userId="S::vparasuraman@microsoft.com::3911523a-e8ec-4e53-bb23-0c5d66e2b766" providerId="AD"/>
  <p188:author id="{52D90AAC-296A-1BBD-5367-C112474401A1}" name="Michelle Abrahams" initials="MA" userId="S::miabrah@microsoft.com::bd33303a-9ccd-447e-a6c4-a9c787838b39" providerId="AD"/>
  <p188:author id="{876083C9-7A15-48CF-82A2-D9FA856BDCB1}" name="Adam Saxton" initials="AS" userId="S::asaxton@microsoft.com::671a8633-29fe-40d6-9a3b-ceb00d964a6a" providerId="AD"/>
  <p188:author id="{9F2CF5E9-15EC-BBB2-09DF-2DCEA286BE9B}" name="Debbie Woo" initials="DW" userId="S::debbie@stinson.co::e9ab6700-290e-4d30-bb8a-d2ec904cbf67" providerId="AD"/>
  <p188:author id="{2A655CEC-36FC-B7F6-B676-AE59A8651F2D}" name="Kasper de Jonge" initials="KdJ" userId="S::kadejo@microsoft.com::a3d50b72-519c-4235-b6f1-0a8a47b36a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F8"/>
    <a:srgbClr val="F2F2F2"/>
    <a:srgbClr val="FFFDF9"/>
    <a:srgbClr val="0A0A0A"/>
    <a:srgbClr val="4672C4"/>
    <a:srgbClr val="117865"/>
    <a:srgbClr val="0078D4"/>
    <a:srgbClr val="040309"/>
    <a:srgbClr val="34AE96"/>
    <a:srgbClr val="FFFFF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88E0B1-0379-329A-FD9C-BB99D5BD3E49}" v="9" dt="2024-04-17T14:43:32.749"/>
    <p1510:client id="{D55EE03E-6E04-4E13-8A7A-A9E51B0E4604}" v="24" dt="2024-04-18T13:37:43.4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2" d="100"/>
          <a:sy n="152" d="100"/>
        </p:scale>
        <p:origin x="604" y="96"/>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viewProps" Target="view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DCE46BB-4768-47B2-98DF-88EFEF73D811}" type="datetime8">
              <a:rPr lang="en-CA" smtClean="0">
                <a:latin typeface="Segoe UI" pitchFamily="34" charset="0"/>
              </a:rPr>
              <a:t>2024-04-25 3:0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F3AB8861-C632-487D-AB34-5ADDC79D8CAF}" type="datetime8">
              <a:rPr lang="en-CA" smtClean="0"/>
              <a:t>2024-04-25 3:02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microsoft.com/en-gb/security/business/microsoft-entra-pricing?rtc=1"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learn.microsoft.com/en-us/fabric/release-plan/admin-governance#fabric-azure-storage"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learn.microsoft.com/en-us/azure/security/fundamentals/encryption-overview"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earn.microsoft.com/en-us/fabric/get-started/workspaces" TargetMode="External"/><Relationship Id="rId7" Type="http://schemas.openxmlformats.org/officeDocument/2006/relationships/hyperlink" Target="https://learn.microsoft.com/en-us/fabric/onelake/onelake-security#item-security"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s://learn.microsoft.com/en-us/fabric/get-started/share-items" TargetMode="External"/><Relationship Id="rId5" Type="http://schemas.openxmlformats.org/officeDocument/2006/relationships/hyperlink" Target="https://learn.microsoft.com/en-us/fabric/onelake/onelake-security#workspace-security" TargetMode="External"/><Relationship Id="rId4" Type="http://schemas.openxmlformats.org/officeDocument/2006/relationships/hyperlink" Target="https://learn.microsoft.com/en-us/fabric/get-started/roles-workspace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5/2024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05492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282A4-0D55-C299-A1C6-A37863C3A6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BF3140-8292-420C-80A5-6FD2BE6F98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AF8909-7168-0041-7B8B-688378BB1F04}"/>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9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Fabric provides a unified intelligent data foundation for all analytics workloads and integrates </a:t>
            </a:r>
            <a:r>
              <a:rPr kumimoji="0" lang="en-US" sz="800" b="1" i="0" u="none" strike="noStrike" kern="1200" cap="none" spc="0" normalizeH="0" baseline="0" noProof="0" dirty="0">
                <a:ln>
                  <a:noFill/>
                </a:ln>
                <a:solidFill>
                  <a:srgbClr val="0070C0"/>
                </a:solidFill>
                <a:effectLst/>
                <a:uLnTx/>
                <a:uFillTx/>
                <a:latin typeface="Segoe UI Semibold"/>
                <a:ea typeface="+mn-ea"/>
                <a:cs typeface="+mn-cs"/>
              </a:rPr>
              <a:t>Power BI</a:t>
            </a:r>
            <a:r>
              <a:rPr kumimoji="0" lang="en-US" sz="800" b="0" i="0" u="none" strike="noStrike" kern="1200" cap="none" spc="0" normalizeH="0" baseline="0" noProof="0" dirty="0">
                <a:ln>
                  <a:noFill/>
                </a:ln>
                <a:solidFill>
                  <a:srgbClr val="000000"/>
                </a:solidFill>
                <a:effectLst/>
                <a:uLnTx/>
                <a:uFillTx/>
                <a:latin typeface="Segoe UI"/>
                <a:ea typeface="+mn-ea"/>
                <a:cs typeface="+mn-cs"/>
              </a:rPr>
              <a:t>, </a:t>
            </a:r>
            <a:r>
              <a:rPr kumimoji="0" lang="en-US" sz="800" b="1" i="0" u="none" strike="noStrike" kern="1200" cap="none" spc="0" normalizeH="0" baseline="0" noProof="0" dirty="0">
                <a:ln>
                  <a:noFill/>
                </a:ln>
                <a:solidFill>
                  <a:srgbClr val="0070C0"/>
                </a:solidFill>
                <a:effectLst/>
                <a:uLnTx/>
                <a:uFillTx/>
                <a:latin typeface="Segoe UI Semibold"/>
                <a:ea typeface="+mn-ea"/>
                <a:cs typeface="+mn-cs"/>
              </a:rPr>
              <a:t>Data Factory </a:t>
            </a:r>
            <a:r>
              <a:rPr kumimoji="0" lang="en-US" sz="800" b="0" i="0" u="none" strike="noStrike" kern="1200" cap="none" spc="0" normalizeH="0" baseline="0" noProof="0" dirty="0">
                <a:ln>
                  <a:noFill/>
                </a:ln>
                <a:solidFill>
                  <a:srgbClr val="000000"/>
                </a:solidFill>
                <a:effectLst/>
                <a:uLnTx/>
                <a:uFillTx/>
                <a:latin typeface="Segoe UI"/>
                <a:ea typeface="+mn-ea"/>
                <a:cs typeface="+mn-cs"/>
              </a:rPr>
              <a:t>and </a:t>
            </a:r>
            <a:r>
              <a:rPr kumimoji="0" lang="en-US" sz="800" b="1" i="0" u="none" strike="noStrike" kern="1200" cap="none" spc="0" normalizeH="0" baseline="0" noProof="0" dirty="0">
                <a:ln>
                  <a:noFill/>
                </a:ln>
                <a:solidFill>
                  <a:srgbClr val="0070C0"/>
                </a:solidFill>
                <a:effectLst/>
                <a:uLnTx/>
                <a:uFillTx/>
                <a:latin typeface="Segoe UI Semibold"/>
                <a:ea typeface="+mn-ea"/>
                <a:cs typeface="+mn-cs"/>
              </a:rPr>
              <a:t>the next generation of Synapse </a:t>
            </a:r>
            <a:r>
              <a:rPr kumimoji="0" lang="en-US" sz="800" b="0" i="0" u="none" strike="noStrike" kern="1200" cap="none" spc="0" normalizeH="0" baseline="0" noProof="0" dirty="0">
                <a:ln>
                  <a:noFill/>
                </a:ln>
                <a:solidFill>
                  <a:srgbClr val="000000"/>
                </a:solidFill>
                <a:effectLst/>
                <a:uLnTx/>
                <a:uFillTx/>
                <a:latin typeface="Segoe UI"/>
                <a:ea typeface="+mn-ea"/>
                <a:cs typeface="+mn-cs"/>
              </a:rPr>
              <a:t>to offer customers a price performant and easy to manage, modern analytics solution. It is a single SaaS service so you don’t have to worry about setting up a VM or spin anything up. Microsoft will take care of it.</a:t>
            </a:r>
            <a:endParaRPr lang="en-US" sz="800" dirty="0">
              <a:solidFill>
                <a:srgbClr val="000000"/>
              </a:solidFill>
              <a:latin typeface="Segoe UI"/>
            </a:endParaRPr>
          </a:p>
        </p:txBody>
      </p:sp>
      <p:sp>
        <p:nvSpPr>
          <p:cNvPr id="4" name="Header Placeholder 3">
            <a:extLst>
              <a:ext uri="{FF2B5EF4-FFF2-40B4-BE49-F238E27FC236}">
                <a16:creationId xmlns:a16="http://schemas.microsoft.com/office/drawing/2014/main" id="{B1CD1AD5-9976-0DA0-85DD-060B047AA9D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74C2C44-1837-B612-2F19-2CE5484F579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92B5BA8-447B-0CD2-9299-ADA351E9CE4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9A1D854-D655-42A5-9077-B5F193BFE965}"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4-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CB2C554-901B-4C9D-FE58-3CB1F9EE546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7677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63997F-846A-4BC3-A00B-E920A596D6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9088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B55AC-E28E-5850-27B8-384BDA15A6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C33BAE-CB33-CA1D-1D5C-53B51B9512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31985E-3AAC-21BC-2F3B-AAFDEB8873E4}"/>
              </a:ext>
            </a:extLst>
          </p:cNvPr>
          <p:cNvSpPr>
            <a:spLocks noGrp="1"/>
          </p:cNvSpPr>
          <p:nvPr>
            <p:ph type="body" idx="1"/>
          </p:nvPr>
        </p:nvSpPr>
        <p:spPr/>
        <p:txBody>
          <a:bodyPr/>
          <a:lstStyle/>
          <a:p>
            <a:r>
              <a:rPr lang="en-US" dirty="0"/>
              <a:t>Fabric is a SaaS Service.</a:t>
            </a:r>
          </a:p>
          <a:p>
            <a:endParaRPr lang="en-US" dirty="0"/>
          </a:p>
          <a:p>
            <a:r>
              <a:rPr lang="en-US" dirty="0"/>
              <a:t>Users connect only to “Front End Services” and we are using “</a:t>
            </a:r>
            <a:r>
              <a:rPr lang="en-US" dirty="0" err="1"/>
              <a:t>Entra</a:t>
            </a:r>
            <a:r>
              <a:rPr lang="en-US" dirty="0"/>
              <a:t> ID” to authenticate and </a:t>
            </a:r>
            <a:r>
              <a:rPr lang="en-US" b="1" dirty="0"/>
              <a:t>trust all requests</a:t>
            </a:r>
            <a:r>
              <a:rPr lang="en-US" dirty="0"/>
              <a:t>.</a:t>
            </a:r>
          </a:p>
          <a:p>
            <a:endParaRPr lang="en-US" dirty="0"/>
          </a:p>
          <a:p>
            <a:r>
              <a:rPr lang="en-US" dirty="0"/>
              <a:t>All the clusters </a:t>
            </a:r>
            <a:r>
              <a:rPr lang="en-US" b="1" dirty="0"/>
              <a:t>are protected behind “back-end services”.</a:t>
            </a:r>
          </a:p>
        </p:txBody>
      </p:sp>
      <p:sp>
        <p:nvSpPr>
          <p:cNvPr id="4" name="Header Placeholder 3">
            <a:extLst>
              <a:ext uri="{FF2B5EF4-FFF2-40B4-BE49-F238E27FC236}">
                <a16:creationId xmlns:a16="http://schemas.microsoft.com/office/drawing/2014/main" id="{47DC5D29-8433-928A-4902-5E5727D6649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3158D43-BD04-E727-C56A-B7659A61AC56}"/>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C3B68C6-66C8-D784-1837-A6D3CF3D9294}"/>
              </a:ext>
            </a:extLst>
          </p:cNvPr>
          <p:cNvSpPr>
            <a:spLocks noGrp="1"/>
          </p:cNvSpPr>
          <p:nvPr>
            <p:ph type="dt" idx="1"/>
          </p:nvPr>
        </p:nvSpPr>
        <p:spPr/>
        <p:txBody>
          <a:bodyPr/>
          <a:lstStyle/>
          <a:p>
            <a:fld id="{F3AB8861-C632-487D-AB34-5ADDC79D8CAF}" type="datetime8">
              <a:rPr lang="en-CA" smtClean="0"/>
              <a:t>2024-04-25 3:02 PM</a:t>
            </a:fld>
            <a:endParaRPr lang="en-US"/>
          </a:p>
        </p:txBody>
      </p:sp>
      <p:sp>
        <p:nvSpPr>
          <p:cNvPr id="7" name="Slide Number Placeholder 6">
            <a:extLst>
              <a:ext uri="{FF2B5EF4-FFF2-40B4-BE49-F238E27FC236}">
                <a16:creationId xmlns:a16="http://schemas.microsoft.com/office/drawing/2014/main" id="{A030F30C-F1E6-0955-438E-9BBC0CA35315}"/>
              </a:ext>
            </a:extLst>
          </p:cNvPr>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8434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03531-4847-1A93-D6A4-A3EBB3E624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151C4B-2788-9271-D072-0EA472016D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5C16C1-0507-B9D6-39F5-B29228726F9F}"/>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161616"/>
                </a:solidFill>
                <a:effectLst/>
                <a:latin typeface="Segoe UI" panose="020B0502040204020203" pitchFamily="34" charset="0"/>
              </a:rPr>
              <a:t>The way people work has changed. Instead of working in traditional offices, people now work from nearly anywhere. With applications and data moving to the cloud, an identity-aware, cloud-delivered network perimeter for the modern workforce is needed. Microsoft </a:t>
            </a:r>
            <a:r>
              <a:rPr lang="en-US" b="0" i="0" dirty="0" err="1">
                <a:solidFill>
                  <a:srgbClr val="161616"/>
                </a:solidFill>
                <a:effectLst/>
                <a:latin typeface="Segoe UI" panose="020B0502040204020203" pitchFamily="34" charset="0"/>
              </a:rPr>
              <a:t>Entra</a:t>
            </a:r>
            <a:r>
              <a:rPr lang="en-US" b="0" i="0" dirty="0">
                <a:solidFill>
                  <a:srgbClr val="161616"/>
                </a:solidFill>
                <a:effectLst/>
                <a:latin typeface="Segoe UI" panose="020B0502040204020203" pitchFamily="34" charset="0"/>
              </a:rPr>
              <a:t> is the central gate keeper for all incoming requests to Fabric and nothing bypasses </a:t>
            </a:r>
            <a:r>
              <a:rPr lang="en-US" b="0" i="0" dirty="0" err="1">
                <a:solidFill>
                  <a:srgbClr val="161616"/>
                </a:solidFill>
                <a:effectLst/>
                <a:latin typeface="Segoe UI" panose="020B0502040204020203" pitchFamily="34" charset="0"/>
              </a:rPr>
              <a:t>Entra</a:t>
            </a:r>
            <a:r>
              <a:rPr lang="en-US" b="0" i="0" dirty="0">
                <a:solidFill>
                  <a:srgbClr val="161616"/>
                </a:solidFill>
                <a:effectLst/>
                <a:latin typeface="Segoe UI" panose="020B0502040204020203" pitchFamily="34" charset="0"/>
              </a:rPr>
              <a:t>. So it makes a lot of sense to combine identity and perimeter security at one place using an </a:t>
            </a:r>
            <a:r>
              <a:rPr lang="en-US" b="0" i="0" dirty="0" err="1">
                <a:solidFill>
                  <a:srgbClr val="161616"/>
                </a:solidFill>
                <a:effectLst/>
                <a:latin typeface="Segoe UI" panose="020B0502040204020203" pitchFamily="34" charset="0"/>
              </a:rPr>
              <a:t>Entra</a:t>
            </a:r>
            <a:r>
              <a:rPr lang="en-US" b="0" i="0" dirty="0">
                <a:solidFill>
                  <a:srgbClr val="161616"/>
                </a:solidFill>
                <a:effectLst/>
                <a:latin typeface="Segoe UI" panose="020B0502040204020203" pitchFamily="34" charset="0"/>
              </a:rPr>
              <a:t> feature called </a:t>
            </a:r>
            <a:r>
              <a:rPr lang="en-US" b="1" i="0" dirty="0">
                <a:solidFill>
                  <a:srgbClr val="161616"/>
                </a:solidFill>
                <a:effectLst/>
                <a:latin typeface="Segoe UI" panose="020B0502040204020203" pitchFamily="34" charset="0"/>
              </a:rPr>
              <a:t>Conditional Acces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1" i="0" dirty="0">
              <a:solidFill>
                <a:srgbClr val="161616"/>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1" dirty="0"/>
          </a:p>
          <a:p>
            <a:endParaRPr lang="en-NL" dirty="0"/>
          </a:p>
        </p:txBody>
      </p:sp>
      <p:sp>
        <p:nvSpPr>
          <p:cNvPr id="4" name="Header Placeholder 3">
            <a:extLst>
              <a:ext uri="{FF2B5EF4-FFF2-40B4-BE49-F238E27FC236}">
                <a16:creationId xmlns:a16="http://schemas.microsoft.com/office/drawing/2014/main" id="{872DB7C4-92A6-87EB-7EC8-A533CEA3F1A0}"/>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64EDF241-FFEC-E61E-11C1-CDC05AB3CF66}"/>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7783737-5783-C9F0-7CFB-D322541299AF}"/>
              </a:ext>
            </a:extLst>
          </p:cNvPr>
          <p:cNvSpPr>
            <a:spLocks noGrp="1"/>
          </p:cNvSpPr>
          <p:nvPr>
            <p:ph type="dt" idx="1"/>
          </p:nvPr>
        </p:nvSpPr>
        <p:spPr/>
        <p:txBody>
          <a:bodyPr/>
          <a:lstStyle/>
          <a:p>
            <a:fld id="{F3AB8861-C632-487D-AB34-5ADDC79D8CAF}" type="datetime8">
              <a:rPr lang="en-CA" smtClean="0"/>
              <a:t>2024-04-25 3:02 PM</a:t>
            </a:fld>
            <a:endParaRPr lang="en-US"/>
          </a:p>
        </p:txBody>
      </p:sp>
      <p:sp>
        <p:nvSpPr>
          <p:cNvPr id="7" name="Slide Number Placeholder 6">
            <a:extLst>
              <a:ext uri="{FF2B5EF4-FFF2-40B4-BE49-F238E27FC236}">
                <a16:creationId xmlns:a16="http://schemas.microsoft.com/office/drawing/2014/main" id="{E408D5CF-9F6B-0217-86E8-F7FA5E69FAAA}"/>
              </a:ext>
            </a:extLst>
          </p:cNvPr>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4129473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A3AA7-9C87-C155-3156-0EC11344E9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AB4279-30AA-3FED-1B62-BE602575ED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AF793E-9938-365E-DD17-2ADEDBF56452}"/>
              </a:ext>
            </a:extLst>
          </p:cNvPr>
          <p:cNvSpPr>
            <a:spLocks noGrp="1"/>
          </p:cNvSpPr>
          <p:nvPr>
            <p:ph type="body" idx="1"/>
          </p:nvPr>
        </p:nvSpPr>
        <p:spPr/>
        <p:txBody>
          <a:bodyPr/>
          <a:lstStyle/>
          <a:p>
            <a:r>
              <a:rPr lang="en-US" b="0" i="0" dirty="0">
                <a:solidFill>
                  <a:srgbClr val="333333"/>
                </a:solidFill>
                <a:effectLst/>
                <a:latin typeface="SegoeUI"/>
              </a:rPr>
              <a:t>Traditional network security approaches that use legacy VPNs simply cannot scale to modern demands. Once your remote users connect to your corporate network through VPN, they are granted excessive access to your entire network, all it takes is a single compromised user account, infected device, or open port for an attacker to gain entry, move laterally, and access your most critical assets. </a:t>
            </a:r>
            <a:endParaRPr lang="en-NL" dirty="0"/>
          </a:p>
        </p:txBody>
      </p:sp>
      <p:sp>
        <p:nvSpPr>
          <p:cNvPr id="4" name="Header Placeholder 3">
            <a:extLst>
              <a:ext uri="{FF2B5EF4-FFF2-40B4-BE49-F238E27FC236}">
                <a16:creationId xmlns:a16="http://schemas.microsoft.com/office/drawing/2014/main" id="{589EDF2A-AB83-035A-96BF-11753FC4D034}"/>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3EA1E878-0F84-BE4A-B19A-699B3419E001}"/>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59DCD00-8F5B-389F-A832-F4D927DA56BB}"/>
              </a:ext>
            </a:extLst>
          </p:cNvPr>
          <p:cNvSpPr>
            <a:spLocks noGrp="1"/>
          </p:cNvSpPr>
          <p:nvPr>
            <p:ph type="dt" idx="1"/>
          </p:nvPr>
        </p:nvSpPr>
        <p:spPr/>
        <p:txBody>
          <a:bodyPr/>
          <a:lstStyle/>
          <a:p>
            <a:fld id="{F3AB8861-C632-487D-AB34-5ADDC79D8CAF}" type="datetime8">
              <a:rPr lang="en-CA" smtClean="0"/>
              <a:t>2024-04-25 3:02 PM</a:t>
            </a:fld>
            <a:endParaRPr lang="en-US"/>
          </a:p>
        </p:txBody>
      </p:sp>
      <p:sp>
        <p:nvSpPr>
          <p:cNvPr id="7" name="Slide Number Placeholder 6">
            <a:extLst>
              <a:ext uri="{FF2B5EF4-FFF2-40B4-BE49-F238E27FC236}">
                <a16:creationId xmlns:a16="http://schemas.microsoft.com/office/drawing/2014/main" id="{A85239CC-2E10-F726-B8C8-7F4769103EED}"/>
              </a:ext>
            </a:extLst>
          </p:cNvPr>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537901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latin typeface="Segoe UI"/>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5/2024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627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4476C2-CCCF-424D-AE11-392E5C4357C5}"/>
              </a:ext>
            </a:extLst>
          </p:cNvPr>
          <p:cNvSpPr>
            <a:spLocks noGrp="1" noRot="1" noChangeAspect="1"/>
          </p:cNvSpPr>
          <p:nvPr>
            <p:ph type="sldImg"/>
          </p:nvPr>
        </p:nvSpPr>
        <p:spPr>
          <a:xfrm>
            <a:off x="-6049963" y="2439988"/>
            <a:ext cx="21696363" cy="12204700"/>
          </a:xfrm>
        </p:spPr>
      </p:sp>
      <p:sp>
        <p:nvSpPr>
          <p:cNvPr id="3" name="Notes Placeholder 2">
            <a:extLst>
              <a:ext uri="{FF2B5EF4-FFF2-40B4-BE49-F238E27FC236}">
                <a16:creationId xmlns:a16="http://schemas.microsoft.com/office/drawing/2014/main" id="{C5029E39-1BF7-49CC-BF50-E467BC95835F}"/>
              </a:ext>
            </a:extLst>
          </p:cNvPr>
          <p:cNvSpPr txBox="1">
            <a:spLocks noGrp="1"/>
          </p:cNvSpPr>
          <p:nvPr>
            <p:ph type="body" sz="quarter" idx="1"/>
          </p:nvPr>
        </p:nvSpPr>
        <p:spPr/>
        <p:txBody>
          <a:bodyPr/>
          <a:lstStyle/>
          <a:p>
            <a:pPr defTabSz="1696434">
              <a:lnSpc>
                <a:spcPct val="90000"/>
              </a:lnSpc>
              <a:spcBef>
                <a:spcPts val="2227"/>
              </a:spcBef>
              <a:spcAft>
                <a:spcPts val="4453"/>
              </a:spcAft>
              <a:buSzPct val="80000"/>
              <a:defRPr/>
            </a:pPr>
            <a:r>
              <a:rPr lang="en-US" sz="2600" b="1">
                <a:solidFill>
                  <a:prstClr val="black"/>
                </a:solidFill>
              </a:rPr>
              <a:t>Talk Track:</a:t>
            </a:r>
            <a:endParaRPr lang="en-US" sz="2600"/>
          </a:p>
          <a:p>
            <a:pPr defTabSz="1696434">
              <a:lnSpc>
                <a:spcPct val="90000"/>
              </a:lnSpc>
              <a:spcBef>
                <a:spcPts val="2227"/>
              </a:spcBef>
              <a:spcAft>
                <a:spcPts val="4453"/>
              </a:spcAft>
              <a:buSzPct val="80000"/>
              <a:defRPr/>
            </a:pPr>
            <a:endParaRPr lang="en-US" sz="26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endParaRPr>
          </a:p>
          <a:p>
            <a:pPr defTabSz="1696434">
              <a:lnSpc>
                <a:spcPct val="90000"/>
              </a:lnSpc>
              <a:spcBef>
                <a:spcPts val="2227"/>
              </a:spcBef>
              <a:spcAft>
                <a:spcPts val="4453"/>
              </a:spcAft>
              <a:buSzPct val="80000"/>
              <a:defRPr/>
            </a:pPr>
            <a:r>
              <a:rPr lang="en-US" sz="26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Is your end user authentication seamless and secure? </a:t>
            </a:r>
          </a:p>
          <a:p>
            <a:pPr defTabSz="1696434">
              <a:lnSpc>
                <a:spcPct val="90000"/>
              </a:lnSpc>
              <a:spcBef>
                <a:spcPts val="2227"/>
              </a:spcBef>
              <a:spcAft>
                <a:spcPts val="4453"/>
              </a:spcAft>
              <a:buSzPct val="80000"/>
              <a:defRPr/>
            </a:pPr>
            <a:r>
              <a:rPr lang="en-US" sz="26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How much control do you have over access?</a:t>
            </a:r>
          </a:p>
          <a:p>
            <a:pPr defTabSz="1696434">
              <a:lnSpc>
                <a:spcPct val="90000"/>
              </a:lnSpc>
              <a:spcBef>
                <a:spcPts val="2227"/>
              </a:spcBef>
              <a:spcAft>
                <a:spcPts val="4453"/>
              </a:spcAft>
              <a:buSzPct val="80000"/>
              <a:defRPr/>
            </a:pPr>
            <a:r>
              <a:rPr lang="en-US" sz="2600" kern="0">
                <a:gradFill>
                  <a:gsLst>
                    <a:gs pos="1250">
                      <a:schemeClr val="tx1"/>
                    </a:gs>
                    <a:gs pos="100000">
                      <a:schemeClr val="tx1"/>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How do you secure identities against current and emerging threats?</a:t>
            </a:r>
          </a:p>
          <a:p>
            <a:endParaRPr lang="en-US"/>
          </a:p>
          <a:p>
            <a:r>
              <a:rPr lang="en-US"/>
              <a:t>So, our approach in identity and access management is really threefold:</a:t>
            </a:r>
          </a:p>
          <a:p>
            <a:endParaRPr lang="en-US"/>
          </a:p>
          <a:p>
            <a:pPr marL="424190" indent="-424190">
              <a:buAutoNum type="arabicParenBoth"/>
            </a:pPr>
            <a:r>
              <a:rPr lang="en-US"/>
              <a:t>secure authentication that is convenient for end-users</a:t>
            </a:r>
          </a:p>
          <a:p>
            <a:pPr marL="424190" indent="-424190">
              <a:buAutoNum type="arabicParenBoth"/>
            </a:pPr>
            <a:r>
              <a:rPr lang="en-US"/>
              <a:t>Conditional</a:t>
            </a:r>
            <a:r>
              <a:rPr lang="en-US" baseline="0"/>
              <a:t> access to reach Zero trust</a:t>
            </a:r>
          </a:p>
          <a:p>
            <a:pPr marL="424190" indent="-424190">
              <a:buAutoNum type="arabicParenBoth"/>
            </a:pPr>
            <a:r>
              <a:rPr lang="en-US" baseline="0"/>
              <a:t>Identity protection - </a:t>
            </a:r>
            <a:r>
              <a:rPr lang="en-US"/>
              <a:t>safeguard those identities when they are used as part of an OS session or application session. </a:t>
            </a:r>
          </a:p>
          <a:p>
            <a:pPr marL="424190" indent="-424190">
              <a:buAutoNum type="arabicParenBoth"/>
            </a:pPr>
            <a:endParaRPr lang="en-US"/>
          </a:p>
          <a:p>
            <a:r>
              <a:rPr lang="en-US"/>
              <a:t>The first question to ask </a:t>
            </a:r>
            <a:r>
              <a:rPr lang="en-US" baseline="0"/>
              <a:t> yourself</a:t>
            </a:r>
            <a:r>
              <a:rPr lang="en-US"/>
              <a:t> is, can I make my access protection stronger while also making things easier for users? This is about how people sign in, how</a:t>
            </a:r>
            <a:r>
              <a:rPr lang="en-US" baseline="0"/>
              <a:t> often they have to sign in</a:t>
            </a:r>
            <a:r>
              <a:rPr lang="en-US"/>
              <a:t>, and how we authenticate that they are who they say they are.</a:t>
            </a:r>
          </a:p>
          <a:p>
            <a:endParaRPr lang="en-US"/>
          </a:p>
          <a:p>
            <a:r>
              <a:rPr lang="en-US"/>
              <a:t>We find that across all of our analytics, that the proper application of a username and password is not a tremendous predictor of a genuinely authenticated person. In other words, just knowing the username and password doesn't prove that I am who I say I am. How can we improve that? How can we get to a world that's beyond passwords, beyond what we know are faulted technology for proving authentication, and at the same time make it easier for end users? </a:t>
            </a:r>
          </a:p>
          <a:p>
            <a:endParaRPr lang="en-US"/>
          </a:p>
          <a:p>
            <a:r>
              <a:rPr lang="en-US"/>
              <a:t>The second question</a:t>
            </a:r>
            <a:r>
              <a:rPr lang="en-US" baseline="0"/>
              <a:t> is</a:t>
            </a:r>
            <a:r>
              <a:rPr lang="en-US"/>
              <a:t>, how much control do you really have over access? Not only who is accessing what but also, can those access control policies change depending on the conditions? </a:t>
            </a:r>
          </a:p>
          <a:p>
            <a:r>
              <a:rPr lang="en-US"/>
              <a:t> </a:t>
            </a:r>
          </a:p>
          <a:p>
            <a:r>
              <a:rPr lang="en-US"/>
              <a:t>So, for example, I might be a very trustworthy employee of Microsoft today, and I might be allowed to access certain sensitive information. Tomorrow, I might be a slightly less trustworthy employee, for a variety of reasons we'll get into in a moment, and I might not be allowed to access that same information. Can your access control policies adapt to those changing conditions? Can you make decisions on the fly? This is a technique being championed by many industry experts and analysts. </a:t>
            </a:r>
          </a:p>
          <a:p>
            <a:r>
              <a:rPr lang="en-US"/>
              <a:t> </a:t>
            </a:r>
          </a:p>
          <a:p>
            <a:r>
              <a:rPr lang="en-US"/>
              <a:t>Some analysts refer to this as adaptive security. The identity space is the primary control point for such a capability. </a:t>
            </a:r>
          </a:p>
          <a:p>
            <a:endParaRPr lang="en-US"/>
          </a:p>
          <a:p>
            <a:r>
              <a:rPr lang="en-US"/>
              <a:t>And then lastly, we ask, how do you protect user credentials? This is really about, in this imperfect world where we do sometimes rely on username and password, keeping those credentials protected once they're used. So that when they're stored as part of an operating system session for example, that they can't be hijacked by an attacker and then used to access other things that the genuine legitimate user is not trying to access. </a:t>
            </a:r>
          </a:p>
          <a:p>
            <a:endParaRPr lang="en-US"/>
          </a:p>
          <a:p>
            <a:endParaRPr lang="en-US"/>
          </a:p>
          <a:p>
            <a:endParaRPr lang="en-US"/>
          </a:p>
          <a:p>
            <a:r>
              <a:rPr lang="en-US">
                <a:hlinkClick r:id="rId3"/>
              </a:rPr>
              <a:t>Microsoft </a:t>
            </a:r>
            <a:r>
              <a:rPr lang="en-US" err="1">
                <a:hlinkClick r:id="rId3"/>
              </a:rPr>
              <a:t>Entra</a:t>
            </a:r>
            <a:r>
              <a:rPr lang="en-US">
                <a:hlinkClick r:id="rId3"/>
              </a:rPr>
              <a:t> Plans and Pricing | Microsoft Security</a:t>
            </a:r>
            <a:r>
              <a:rPr lang="en-US"/>
              <a:t> </a:t>
            </a:r>
          </a:p>
        </p:txBody>
      </p:sp>
      <p:sp>
        <p:nvSpPr>
          <p:cNvPr id="4" name="Header Placeholder 3">
            <a:extLst>
              <a:ext uri="{FF2B5EF4-FFF2-40B4-BE49-F238E27FC236}">
                <a16:creationId xmlns:a16="http://schemas.microsoft.com/office/drawing/2014/main" id="{5B6BBD46-6E22-43A8-A08D-BCA9F0F53E21}"/>
              </a:ext>
            </a:extLst>
          </p:cNvPr>
          <p:cNvSpPr txBox="1"/>
          <p:nvPr/>
        </p:nvSpPr>
        <p:spPr>
          <a:xfrm>
            <a:off x="0" y="0"/>
            <a:ext cx="4158747" cy="1627234"/>
          </a:xfrm>
          <a:prstGeom prst="rect">
            <a:avLst/>
          </a:prstGeom>
          <a:noFill/>
          <a:ln cap="flat">
            <a:noFill/>
          </a:ln>
        </p:spPr>
        <p:txBody>
          <a:bodyPr vert="horz" wrap="square" lIns="172899" tIns="86451" rIns="172899" bIns="86451" anchor="t" anchorCtr="0" compatLnSpc="1">
            <a:noAutofit/>
          </a:bodyPr>
          <a:lstStyle/>
          <a:p>
            <a:pPr defTabSz="1763681">
              <a:defRPr sz="1800" b="0" i="0" u="none" strike="noStrike" kern="0" cap="none" spc="0" baseline="0">
                <a:solidFill>
                  <a:srgbClr val="000000"/>
                </a:solidFill>
                <a:uFillTx/>
              </a:defRPr>
            </a:pPr>
            <a:r>
              <a:rPr lang="en-US" sz="2200" kern="0">
                <a:solidFill>
                  <a:srgbClr val="000000"/>
                </a:solidFill>
                <a:latin typeface="Segoe UI" pitchFamily="34"/>
              </a:rPr>
              <a:t>EMS Overview</a:t>
            </a:r>
          </a:p>
        </p:txBody>
      </p:sp>
      <p:sp>
        <p:nvSpPr>
          <p:cNvPr id="5" name="Footer Placeholder 4">
            <a:extLst>
              <a:ext uri="{FF2B5EF4-FFF2-40B4-BE49-F238E27FC236}">
                <a16:creationId xmlns:a16="http://schemas.microsoft.com/office/drawing/2014/main" id="{BA7312E2-F6B6-4F9B-B26C-85DB32CE7A6F}"/>
              </a:ext>
            </a:extLst>
          </p:cNvPr>
          <p:cNvSpPr txBox="1"/>
          <p:nvPr/>
        </p:nvSpPr>
        <p:spPr>
          <a:xfrm>
            <a:off x="0" y="30917442"/>
            <a:ext cx="8285503" cy="1266930"/>
          </a:xfrm>
          <a:prstGeom prst="rect">
            <a:avLst/>
          </a:prstGeom>
          <a:noFill/>
          <a:ln cap="flat">
            <a:noFill/>
          </a:ln>
        </p:spPr>
        <p:txBody>
          <a:bodyPr vert="horz" wrap="square" lIns="172899" tIns="86451" rIns="172899" bIns="86451" anchor="b" anchorCtr="0" compatLnSpc="1">
            <a:noAutofit/>
          </a:bodyPr>
          <a:lstStyle/>
          <a:p>
            <a:pPr marL="1080625" defTabSz="1728428" hangingPunct="0">
              <a:defRPr sz="1800" b="0" i="0" u="none" strike="noStrike" kern="0" cap="none" spc="0" baseline="0">
                <a:solidFill>
                  <a:srgbClr val="000000"/>
                </a:solidFill>
                <a:uFillTx/>
              </a:defRPr>
            </a:pPr>
            <a:r>
              <a:rPr lang="en-US" sz="700" kern="0">
                <a:solidFill>
                  <a:srgbClr val="000000"/>
                </a:solidFill>
                <a:latin typeface="Segoe UI" pitchFamily="34"/>
                <a:ea typeface="Segoe UI" pitchFamily="34"/>
                <a:cs typeface="Segoe UI" pitchFamily="34"/>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4219A5B9-A715-4295-A434-30100BFCA75B}"/>
              </a:ext>
            </a:extLst>
          </p:cNvPr>
          <p:cNvSpPr txBox="1"/>
          <p:nvPr/>
        </p:nvSpPr>
        <p:spPr>
          <a:xfrm>
            <a:off x="5436134" y="0"/>
            <a:ext cx="4158747" cy="1627234"/>
          </a:xfrm>
          <a:prstGeom prst="rect">
            <a:avLst/>
          </a:prstGeom>
          <a:noFill/>
          <a:ln cap="flat">
            <a:noFill/>
          </a:ln>
        </p:spPr>
        <p:txBody>
          <a:bodyPr vert="horz" wrap="square" lIns="172899" tIns="86451" rIns="172899" bIns="86451" anchor="t" anchorCtr="0" compatLnSpc="1">
            <a:noAutofit/>
          </a:bodyPr>
          <a:lstStyle/>
          <a:p>
            <a:pPr algn="r" defTabSz="1763681">
              <a:defRPr sz="1800" b="0" i="0" u="none" strike="noStrike" kern="0" cap="none" spc="0" baseline="0">
                <a:solidFill>
                  <a:srgbClr val="000000"/>
                </a:solidFill>
                <a:uFillTx/>
              </a:defRPr>
            </a:pPr>
            <a:fld id="{C1DAFA96-76D6-40CC-ABAA-4B317E4E79E4}" type="datetime1">
              <a:rPr lang="en-US" sz="2200" kern="0">
                <a:solidFill>
                  <a:srgbClr val="000000"/>
                </a:solidFill>
                <a:latin typeface="Segoe UI" pitchFamily="34"/>
              </a:rPr>
              <a:pPr algn="r" defTabSz="1763681">
                <a:defRPr sz="1800" b="0" i="0" u="none" strike="noStrike" kern="0" cap="none" spc="0" baseline="0">
                  <a:solidFill>
                    <a:srgbClr val="000000"/>
                  </a:solidFill>
                  <a:uFillTx/>
                </a:defRPr>
              </a:pPr>
              <a:t>4/25/2024</a:t>
            </a:fld>
            <a:endParaRPr lang="en-US" sz="2200" kern="0">
              <a:solidFill>
                <a:srgbClr val="000000"/>
              </a:solidFill>
              <a:latin typeface="Segoe UI" pitchFamily="34"/>
            </a:endParaRPr>
          </a:p>
        </p:txBody>
      </p:sp>
      <p:sp>
        <p:nvSpPr>
          <p:cNvPr id="7" name="Slide Number Placeholder 6">
            <a:extLst>
              <a:ext uri="{FF2B5EF4-FFF2-40B4-BE49-F238E27FC236}">
                <a16:creationId xmlns:a16="http://schemas.microsoft.com/office/drawing/2014/main" id="{FE7553E8-9E1B-4434-906E-6EE4BB9B2CE8}"/>
              </a:ext>
            </a:extLst>
          </p:cNvPr>
          <p:cNvSpPr txBox="1"/>
          <p:nvPr/>
        </p:nvSpPr>
        <p:spPr>
          <a:xfrm>
            <a:off x="8269507" y="30911773"/>
            <a:ext cx="1325373" cy="1627234"/>
          </a:xfrm>
          <a:prstGeom prst="rect">
            <a:avLst/>
          </a:prstGeom>
          <a:noFill/>
          <a:ln cap="flat">
            <a:noFill/>
          </a:ln>
        </p:spPr>
        <p:txBody>
          <a:bodyPr vert="horz" wrap="square" lIns="172899" tIns="86451" rIns="172899" bIns="86451" anchor="b" anchorCtr="0" compatLnSpc="1">
            <a:noAutofit/>
          </a:bodyPr>
          <a:lstStyle/>
          <a:p>
            <a:pPr algn="r" defTabSz="1763681">
              <a:defRPr sz="1800" b="0" i="0" u="none" strike="noStrike" kern="0" cap="none" spc="0" baseline="0">
                <a:solidFill>
                  <a:srgbClr val="000000"/>
                </a:solidFill>
                <a:uFillTx/>
              </a:defRPr>
            </a:pPr>
            <a:fld id="{61C6A2B7-DC54-40F6-BDE0-13EEA5AB8E7D}" type="slidenum">
              <a:rPr sz="3300" kern="0">
                <a:solidFill>
                  <a:srgbClr val="000000"/>
                </a:solidFill>
                <a:latin typeface="Calibri" panose="020F0502020204030204"/>
              </a:rPr>
              <a:pPr algn="r" defTabSz="1763681">
                <a:defRPr sz="1800" b="0" i="0" u="none" strike="noStrike" kern="0" cap="none" spc="0" baseline="0">
                  <a:solidFill>
                    <a:srgbClr val="000000"/>
                  </a:solidFill>
                  <a:uFillTx/>
                </a:defRPr>
              </a:pPr>
              <a:t>23</a:t>
            </a:fld>
            <a:endParaRPr lang="en-US" sz="2200" kern="0">
              <a:solidFill>
                <a:srgbClr val="000000"/>
              </a:solidFill>
              <a:latin typeface="Segoe UI" pitchFamily="34"/>
            </a:endParaRPr>
          </a:p>
        </p:txBody>
      </p:sp>
    </p:spTree>
    <p:extLst>
      <p:ext uri="{BB962C8B-B14F-4D97-AF65-F5344CB8AC3E}">
        <p14:creationId xmlns:p14="http://schemas.microsoft.com/office/powerpoint/2010/main" val="13858706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61616"/>
                </a:solidFill>
                <a:effectLst/>
                <a:latin typeface="Segoe UI" panose="020B0502040204020203" pitchFamily="34" charset="0"/>
              </a:rPr>
              <a:t>Microsoft </a:t>
            </a:r>
            <a:r>
              <a:rPr lang="en-US" b="0" i="0" dirty="0" err="1">
                <a:solidFill>
                  <a:srgbClr val="161616"/>
                </a:solidFill>
                <a:effectLst/>
                <a:latin typeface="Segoe UI" panose="020B0502040204020203" pitchFamily="34" charset="0"/>
              </a:rPr>
              <a:t>Entra</a:t>
            </a:r>
            <a:r>
              <a:rPr lang="en-US" b="0" i="0" dirty="0">
                <a:solidFill>
                  <a:srgbClr val="161616"/>
                </a:solidFill>
                <a:effectLst/>
                <a:latin typeface="Segoe UI" panose="020B0502040204020203" pitchFamily="34" charset="0"/>
              </a:rPr>
              <a:t> Conditional Access brings signals together, to make decisions, and enforce organizational policies. </a:t>
            </a:r>
          </a:p>
          <a:p>
            <a:endParaRPr lang="en-US" b="0" i="0" dirty="0">
              <a:solidFill>
                <a:srgbClr val="161616"/>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Common Signals – Users, Devices and Locations</a:t>
            </a:r>
          </a:p>
          <a:p>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Common Decisions – Block, Grant, Require MFA</a:t>
            </a:r>
          </a:p>
          <a:p>
            <a:endParaRPr lang="en-US" b="0" i="0" dirty="0">
              <a:solidFill>
                <a:srgbClr val="161616"/>
              </a:solidFill>
              <a:effectLst/>
              <a:latin typeface="Segoe UI" panose="020B0502040204020203" pitchFamily="34" charset="0"/>
            </a:endParaRPr>
          </a:p>
          <a:p>
            <a:r>
              <a:rPr lang="en-US" b="0" i="0" dirty="0">
                <a:solidFill>
                  <a:srgbClr val="161616"/>
                </a:solidFill>
                <a:effectLst/>
                <a:latin typeface="Segoe UI" panose="020B0502040204020203" pitchFamily="34" charset="0"/>
              </a:rPr>
              <a:t>Conditional Access policies at their simplest are if-then statements; </a:t>
            </a:r>
            <a:r>
              <a:rPr lang="en-US" b="1" i="0" dirty="0">
                <a:solidFill>
                  <a:srgbClr val="161616"/>
                </a:solidFill>
                <a:effectLst/>
                <a:latin typeface="Segoe UI" panose="020B0502040204020203" pitchFamily="34" charset="0"/>
              </a:rPr>
              <a:t>if</a:t>
            </a:r>
            <a:r>
              <a:rPr lang="en-US" b="0" i="0" dirty="0">
                <a:solidFill>
                  <a:srgbClr val="161616"/>
                </a:solidFill>
                <a:effectLst/>
                <a:latin typeface="Segoe UI" panose="020B0502040204020203" pitchFamily="34" charset="0"/>
              </a:rPr>
              <a:t> a user wants to access a resource, </a:t>
            </a:r>
            <a:r>
              <a:rPr lang="en-US" b="1" i="0" dirty="0">
                <a:solidFill>
                  <a:srgbClr val="161616"/>
                </a:solidFill>
                <a:effectLst/>
                <a:latin typeface="Segoe UI" panose="020B0502040204020203" pitchFamily="34" charset="0"/>
              </a:rPr>
              <a:t>then</a:t>
            </a:r>
            <a:r>
              <a:rPr lang="en-US" b="0" i="0" dirty="0">
                <a:solidFill>
                  <a:srgbClr val="161616"/>
                </a:solidFill>
                <a:effectLst/>
                <a:latin typeface="Segoe UI" panose="020B0502040204020203" pitchFamily="34" charset="0"/>
              </a:rPr>
              <a:t> they must complete an action. For example: If a user wants to access an application or service like Microsoft 365, then they must perform multifactor authentication to gain acces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F3AB8861-C632-487D-AB34-5ADDC79D8CAF}" type="datetime8">
              <a:rPr lang="en-CA" smtClean="0"/>
              <a:t>2024-04-25 3: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431613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161616"/>
                </a:solidFill>
                <a:effectLst/>
                <a:latin typeface="Segoe UI" panose="020B0502040204020203" pitchFamily="34" charset="0"/>
              </a:rPr>
              <a:t>Configure a single, common, conditional access policy for the Power BI Service, Azure Storage, Azure SQL Database, Azure Data Explorer, and Microsoft Azure Management. </a:t>
            </a:r>
          </a:p>
          <a:p>
            <a:pPr algn="l">
              <a:buFont typeface="Arial" panose="020B0604020202020204" pitchFamily="34" charset="0"/>
              <a:buNone/>
            </a:pPr>
            <a:endParaRPr lang="en-US" b="0" i="0" dirty="0">
              <a:solidFill>
                <a:srgbClr val="161616"/>
              </a:solidFill>
              <a:effectLst/>
              <a:latin typeface="Segoe UI" panose="020B0502040204020203" pitchFamily="34" charset="0"/>
            </a:endParaRPr>
          </a:p>
          <a:p>
            <a:pPr algn="l">
              <a:buFont typeface="Arial" panose="020B0604020202020204" pitchFamily="34" charset="0"/>
              <a:buNone/>
            </a:pPr>
            <a:r>
              <a:rPr lang="en-US" b="0" i="0" dirty="0">
                <a:solidFill>
                  <a:srgbClr val="161616"/>
                </a:solidFill>
                <a:effectLst/>
                <a:latin typeface="Segoe UI" panose="020B0502040204020203" pitchFamily="34" charset="0"/>
              </a:rPr>
              <a:t>Having a single, common policy will significantly reduce unexpected prompts that may arise from different policies being applied to downstream services, and the consistent security posture will provide the best user experience in Microsoft Fabric </a:t>
            </a:r>
            <a:r>
              <a:rPr lang="en-US" b="1" i="0" dirty="0">
                <a:solidFill>
                  <a:srgbClr val="161616"/>
                </a:solidFill>
                <a:effectLst/>
                <a:latin typeface="Segoe UI" panose="020B0502040204020203" pitchFamily="34" charset="0"/>
              </a:rPr>
              <a:t>and its related products</a:t>
            </a:r>
            <a:r>
              <a:rPr lang="en-US" b="0" i="0" dirty="0">
                <a:solidFill>
                  <a:srgbClr val="161616"/>
                </a:solidFill>
                <a:effectLst/>
                <a:latin typeface="Segoe UI" panose="020B0502040204020203" pitchFamily="34" charset="0"/>
              </a:rPr>
              <a:t>.</a:t>
            </a:r>
          </a:p>
          <a:p>
            <a:pPr algn="l">
              <a:buFont typeface="Arial" panose="020B0604020202020204" pitchFamily="34" charset="0"/>
              <a:buNone/>
            </a:pPr>
            <a:endParaRPr lang="en-US" b="0" i="0" dirty="0">
              <a:solidFill>
                <a:srgbClr val="161616"/>
              </a:solidFill>
              <a:effectLst/>
              <a:latin typeface="Segoe UI" panose="020B0502040204020203" pitchFamily="34" charset="0"/>
            </a:endParaRPr>
          </a:p>
          <a:p>
            <a:pPr algn="l">
              <a:buFont typeface="Arial" panose="020B0604020202020204" pitchFamily="34" charset="0"/>
              <a:buNone/>
            </a:pPr>
            <a:r>
              <a:rPr lang="en-US" b="0" i="0" dirty="0">
                <a:solidFill>
                  <a:srgbClr val="161616"/>
                </a:solidFill>
                <a:effectLst/>
                <a:latin typeface="Segoe UI" panose="020B0502040204020203" pitchFamily="34" charset="0"/>
              </a:rPr>
              <a:t>The products to include in the policy are the following:</a:t>
            </a:r>
          </a:p>
          <a:p>
            <a:pPr marL="742950" lvl="1" indent="-285750" algn="l">
              <a:buFont typeface="Arial" panose="020B0604020202020204" pitchFamily="34" charset="0"/>
              <a:buChar char="•"/>
            </a:pPr>
            <a:r>
              <a:rPr lang="en-US" b="0" i="0" dirty="0">
                <a:solidFill>
                  <a:srgbClr val="161616"/>
                </a:solidFill>
                <a:effectLst/>
                <a:latin typeface="Segoe UI" panose="020B0502040204020203" pitchFamily="34" charset="0"/>
              </a:rPr>
              <a:t>Power BI Service</a:t>
            </a:r>
          </a:p>
          <a:p>
            <a:pPr marL="742950" lvl="1" indent="-285750" algn="l">
              <a:buFont typeface="Arial" panose="020B0604020202020204" pitchFamily="34" charset="0"/>
              <a:buChar char="•"/>
            </a:pPr>
            <a:r>
              <a:rPr lang="en-US" b="0" i="0" dirty="0">
                <a:solidFill>
                  <a:srgbClr val="161616"/>
                </a:solidFill>
                <a:effectLst/>
                <a:latin typeface="Segoe UI" panose="020B0502040204020203" pitchFamily="34" charset="0"/>
              </a:rPr>
              <a:t>Azure Data Explorer</a:t>
            </a:r>
          </a:p>
          <a:p>
            <a:pPr marL="742950" lvl="1" indent="-285750" algn="l">
              <a:buFont typeface="Arial" panose="020B0604020202020204" pitchFamily="34" charset="0"/>
              <a:buChar char="•"/>
            </a:pPr>
            <a:r>
              <a:rPr lang="en-US" b="0" i="0" dirty="0">
                <a:solidFill>
                  <a:srgbClr val="161616"/>
                </a:solidFill>
                <a:effectLst/>
                <a:latin typeface="Segoe UI" panose="020B0502040204020203" pitchFamily="34" charset="0"/>
              </a:rPr>
              <a:t>Azure SQL Database</a:t>
            </a:r>
          </a:p>
          <a:p>
            <a:pPr marL="742950" lvl="1" indent="-285750" algn="l">
              <a:buFont typeface="Arial" panose="020B0604020202020204" pitchFamily="34" charset="0"/>
              <a:buChar char="•"/>
            </a:pPr>
            <a:r>
              <a:rPr lang="en-US" b="0" i="0" dirty="0">
                <a:solidFill>
                  <a:srgbClr val="161616"/>
                </a:solidFill>
                <a:effectLst/>
                <a:latin typeface="Segoe UI" panose="020B0502040204020203" pitchFamily="34" charset="0"/>
              </a:rPr>
              <a:t>Azure Storag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F3AB8861-C632-487D-AB34-5ADDC79D8CAF}" type="datetime8">
              <a:rPr lang="en-CA" smtClean="0"/>
              <a:t>2024-04-25 3: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452030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b="0" i="0" dirty="0">
              <a:solidFill>
                <a:srgbClr val="16161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3AB8861-C632-487D-AB34-5ADDC79D8CAF}"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4-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4687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nu for core section on this slide</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5/2024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48156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b="0" i="0">
                <a:solidFill>
                  <a:srgbClr val="000000"/>
                </a:solidFill>
                <a:effectLst/>
                <a:latin typeface="Segoe UI" panose="020B0502040204020203" pitchFamily="34" charset="0"/>
              </a:rPr>
              <a:t>Fabric will soon be enabled as </a:t>
            </a:r>
            <a:r>
              <a:rPr lang="en-US" sz="900" b="0" i="0" u="sng" strike="noStrike">
                <a:solidFill>
                  <a:srgbClr val="0000FF"/>
                </a:solidFill>
                <a:effectLst/>
                <a:latin typeface="Segoe UI" panose="020B0502040204020203" pitchFamily="34" charset="0"/>
                <a:hlinkClick r:id="rId3"/>
              </a:rPr>
              <a:t>an Azure trusted service.</a:t>
            </a:r>
            <a:r>
              <a:rPr lang="en-US" sz="900" b="0" i="0">
                <a:solidFill>
                  <a:srgbClr val="000000"/>
                </a:solidFill>
                <a:effectLst/>
                <a:latin typeface="Segoe UI" panose="020B0502040204020203" pitchFamily="34" charset="0"/>
              </a:rPr>
              <a:t> This will make it possible to connect and use shortcuts to data inside ADLS Gen 2 from Fabric, even when the public access to ADLS is blocked, without having to explicitly allow the Fabric IP addresses in the ADLS firewall rule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b="0" i="0">
              <a:solidFill>
                <a:srgbClr val="000000"/>
              </a:solidFill>
              <a:effectLst/>
              <a:latin typeface="Segoe UI" panose="020B0502040204020203" pitchFamily="34" charset="0"/>
            </a:endParaRPr>
          </a:p>
          <a:p>
            <a:pPr algn="l"/>
            <a:r>
              <a:rPr lang="en-US" sz="1800" b="1" i="0">
                <a:solidFill>
                  <a:srgbClr val="161616"/>
                </a:solidFill>
                <a:effectLst/>
                <a:latin typeface="Segoe UI" panose="020B0502040204020203" pitchFamily="34" charset="0"/>
              </a:rPr>
              <a:t>Fabric as a trusted service for Azure Storage</a:t>
            </a:r>
          </a:p>
          <a:p>
            <a:pPr algn="l"/>
            <a:r>
              <a:rPr lang="en-US" sz="1800" b="1" i="0">
                <a:solidFill>
                  <a:srgbClr val="161616"/>
                </a:solidFill>
                <a:effectLst/>
                <a:latin typeface="Segoe UI" panose="020B0502040204020203" pitchFamily="34" charset="0"/>
              </a:rPr>
              <a:t>Estimated release timeline: Q1 2024</a:t>
            </a:r>
            <a:endParaRPr lang="en-US" sz="1800" b="0" i="0">
              <a:solidFill>
                <a:srgbClr val="161616"/>
              </a:solidFill>
              <a:effectLst/>
              <a:latin typeface="Segoe UI" panose="020B0502040204020203" pitchFamily="34" charset="0"/>
            </a:endParaRPr>
          </a:p>
          <a:p>
            <a:pPr algn="l"/>
            <a:r>
              <a:rPr lang="en-US" sz="1800" b="0" i="0">
                <a:solidFill>
                  <a:srgbClr val="161616"/>
                </a:solidFill>
                <a:effectLst/>
                <a:latin typeface="Segoe UI" panose="020B0502040204020203" pitchFamily="34" charset="0"/>
              </a:rPr>
              <a:t>You'll be able to add the Fabric workspace identity (FWI) as a trusted identity for a storage account. This allows seamless connectivity to Azure Storage accounts secured by a firewall. It also enables traffic using that Fabric workspace identity from the corresponding workspace to connect to the storage account. For instance, the data warehouse COPY command in a specific workspace can connect to a storage account bypassing any firewall rules when the relevant Fabric workspace identity is added as a trusted identity.</a:t>
            </a:r>
          </a:p>
          <a:p>
            <a:pPr algn="l"/>
            <a:br>
              <a:rPr lang="en-US" sz="1800"/>
            </a:br>
            <a:r>
              <a:rPr lang="en-US" sz="1800" b="1" i="0">
                <a:solidFill>
                  <a:srgbClr val="161616"/>
                </a:solidFill>
                <a:effectLst/>
                <a:latin typeface="Segoe UI" panose="020B0502040204020203" pitchFamily="34" charset="0"/>
              </a:rPr>
              <a:t>On-premises data gateway (OPDG) support added to data pipelines</a:t>
            </a:r>
          </a:p>
          <a:p>
            <a:pPr algn="l"/>
            <a:r>
              <a:rPr lang="en-US" sz="1800" b="1" i="0">
                <a:solidFill>
                  <a:srgbClr val="161616"/>
                </a:solidFill>
                <a:effectLst/>
                <a:latin typeface="Segoe UI" panose="020B0502040204020203" pitchFamily="34" charset="0"/>
              </a:rPr>
              <a:t>Estimated release timeline: Q1 2024</a:t>
            </a:r>
            <a:endParaRPr lang="en-US" sz="1800" b="0" i="0">
              <a:solidFill>
                <a:srgbClr val="161616"/>
              </a:solidFill>
              <a:effectLst/>
              <a:latin typeface="Segoe UI" panose="020B0502040204020203" pitchFamily="34" charset="0"/>
            </a:endParaRPr>
          </a:p>
          <a:p>
            <a:pPr algn="l"/>
            <a:r>
              <a:rPr lang="en-US" sz="1800" b="0" i="0">
                <a:solidFill>
                  <a:srgbClr val="161616"/>
                </a:solidFill>
                <a:effectLst/>
                <a:latin typeface="Segoe UI" panose="020B0502040204020203" pitchFamily="34" charset="0"/>
              </a:rPr>
              <a:t>This feature will enable data pipelines to use Fabric data gateways to access data that is on-premises and behind a </a:t>
            </a:r>
            <a:r>
              <a:rPr lang="en-US" sz="1800" b="0" i="0" err="1">
                <a:solidFill>
                  <a:srgbClr val="161616"/>
                </a:solidFill>
                <a:effectLst/>
                <a:latin typeface="Segoe UI" panose="020B0502040204020203" pitchFamily="34" charset="0"/>
              </a:rPr>
              <a:t>VNet</a:t>
            </a:r>
            <a:r>
              <a:rPr lang="en-US" sz="1800" b="0" i="0">
                <a:solidFill>
                  <a:srgbClr val="161616"/>
                </a:solidFill>
                <a:effectLst/>
                <a:latin typeface="Segoe UI" panose="020B0502040204020203" pitchFamily="34" charset="0"/>
              </a:rPr>
              <a:t>. For users using self-hosted integration runtimes (SHIR), they'll be able to move to on-premises data gateways in Fabric.</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3AB8861-C632-487D-AB34-5ADDC79D8CAF}"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4-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62535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Encryption Overview: </a:t>
            </a:r>
            <a:r>
              <a:rPr lang="en-US">
                <a:hlinkClick r:id="rId3"/>
              </a:rPr>
              <a:t>Azure encryption overview | Microsoft Learn</a:t>
            </a: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F3AB8861-C632-487D-AB34-5ADDC79D8CAF}" type="datetime8">
              <a:rPr lang="en-CA" smtClean="0"/>
              <a:t>2024-04-25 3:0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449293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ight be thinking that your organization can’t have just one lake because you are in multiple countries, and you have requirements that data must reside in those countries. </a:t>
            </a:r>
            <a:r>
              <a:rPr lang="en-US" dirty="0" err="1"/>
              <a:t>OneLake</a:t>
            </a:r>
            <a:r>
              <a:rPr lang="en-US" dirty="0"/>
              <a:t> covers this this by spanning the globe as well. Different workspace can reside in different regions. This means that any data in those workspaces will also reside in those countries. </a:t>
            </a:r>
            <a:r>
              <a:rPr lang="en-US" dirty="0" err="1"/>
              <a:t>OneLake</a:t>
            </a:r>
            <a:r>
              <a:rPr lang="en-US" dirty="0"/>
              <a:t> is built on top of Azure Data Lake Store gen2.  Under the covers, it may use multiple storage accounts in different regions however, </a:t>
            </a:r>
            <a:r>
              <a:rPr lang="en-US" dirty="0" err="1"/>
              <a:t>OneLake</a:t>
            </a:r>
            <a:r>
              <a:rPr lang="en-US" dirty="0"/>
              <a:t> will virtualize them into one logical lak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63997F-846A-4BC3-A00B-E920A596D6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23042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3200" b="1" i="0" dirty="0">
                <a:solidFill>
                  <a:srgbClr val="161616"/>
                </a:solidFill>
                <a:effectLst/>
                <a:latin typeface="Segoe UI" panose="020B0502040204020203" pitchFamily="34" charset="0"/>
              </a:rPr>
              <a:t>Workspace security</a:t>
            </a:r>
          </a:p>
          <a:p>
            <a:pPr algn="l"/>
            <a:r>
              <a:rPr lang="en-US" sz="3200" b="0" i="0" u="none" strike="noStrike" dirty="0">
                <a:solidFill>
                  <a:srgbClr val="161616"/>
                </a:solidFill>
                <a:effectLst/>
                <a:latin typeface="Segoe UI" panose="020B0502040204020203" pitchFamily="34" charset="0"/>
                <a:hlinkClick r:id="rId3"/>
              </a:rPr>
              <a:t>Workspaces</a:t>
            </a:r>
            <a:r>
              <a:rPr lang="en-US" sz="3200" b="0" i="0" dirty="0">
                <a:solidFill>
                  <a:srgbClr val="161616"/>
                </a:solidFill>
                <a:effectLst/>
                <a:latin typeface="Segoe UI" panose="020B0502040204020203" pitchFamily="34" charset="0"/>
              </a:rPr>
              <a:t> represent the primary security boundary for data stored in </a:t>
            </a:r>
            <a:r>
              <a:rPr lang="en-US" sz="3200" b="0" i="0" dirty="0" err="1">
                <a:solidFill>
                  <a:srgbClr val="161616"/>
                </a:solidFill>
                <a:effectLst/>
                <a:latin typeface="Segoe UI" panose="020B0502040204020203" pitchFamily="34" charset="0"/>
              </a:rPr>
              <a:t>OneLake</a:t>
            </a:r>
            <a:r>
              <a:rPr lang="en-US" sz="3200" b="0" i="0" dirty="0">
                <a:solidFill>
                  <a:srgbClr val="161616"/>
                </a:solidFill>
                <a:effectLst/>
                <a:latin typeface="Segoe UI" panose="020B0502040204020203" pitchFamily="34" charset="0"/>
              </a:rPr>
              <a:t>. Each workspace represents a single domain or project area where teams can collaborate on data. You manage security in the workspace by assigning users to </a:t>
            </a:r>
            <a:r>
              <a:rPr lang="en-US" sz="3200" b="0" i="0" u="none" strike="noStrike" dirty="0">
                <a:solidFill>
                  <a:srgbClr val="161616"/>
                </a:solidFill>
                <a:effectLst/>
                <a:latin typeface="Segoe UI" panose="020B0502040204020203" pitchFamily="34" charset="0"/>
                <a:hlinkClick r:id="rId4"/>
              </a:rPr>
              <a:t>workspace roles</a:t>
            </a:r>
            <a:r>
              <a:rPr lang="en-US" sz="3200" b="0" i="0" dirty="0">
                <a:solidFill>
                  <a:srgbClr val="161616"/>
                </a:solidFill>
                <a:effectLst/>
                <a:latin typeface="Segoe UI" panose="020B0502040204020203" pitchFamily="34" charset="0"/>
              </a:rPr>
              <a:t>.</a:t>
            </a:r>
          </a:p>
          <a:p>
            <a:pPr algn="l"/>
            <a:r>
              <a:rPr lang="en-US" sz="3200" b="0" i="0" dirty="0">
                <a:solidFill>
                  <a:srgbClr val="161616"/>
                </a:solidFill>
                <a:effectLst/>
                <a:latin typeface="Segoe UI" panose="020B0502040204020203" pitchFamily="34" charset="0"/>
              </a:rPr>
              <a:t>For more information, see </a:t>
            </a:r>
            <a:r>
              <a:rPr lang="en-US" sz="3200" b="0" i="0" u="none" strike="noStrike" dirty="0" err="1">
                <a:solidFill>
                  <a:srgbClr val="161616"/>
                </a:solidFill>
                <a:effectLst/>
                <a:latin typeface="Segoe UI" panose="020B0502040204020203" pitchFamily="34" charset="0"/>
                <a:hlinkClick r:id="rId5"/>
              </a:rPr>
              <a:t>OneLake</a:t>
            </a:r>
            <a:r>
              <a:rPr lang="en-US" sz="3200" b="0" i="0" u="none" strike="noStrike" dirty="0">
                <a:solidFill>
                  <a:srgbClr val="161616"/>
                </a:solidFill>
                <a:effectLst/>
                <a:latin typeface="Segoe UI" panose="020B0502040204020203" pitchFamily="34" charset="0"/>
                <a:hlinkClick r:id="rId5"/>
              </a:rPr>
              <a:t> security (Workspace security)</a:t>
            </a:r>
            <a:r>
              <a:rPr lang="en-US" sz="3200" b="0" i="0" dirty="0">
                <a:solidFill>
                  <a:srgbClr val="161616"/>
                </a:solidFill>
                <a:effectLst/>
                <a:latin typeface="Segoe UI" panose="020B0502040204020203" pitchFamily="34" charset="0"/>
              </a:rPr>
              <a:t>.</a:t>
            </a:r>
          </a:p>
          <a:p>
            <a:pPr algn="l"/>
            <a:r>
              <a:rPr lang="en-US" sz="3200" b="1" i="0" dirty="0">
                <a:solidFill>
                  <a:srgbClr val="161616"/>
                </a:solidFill>
                <a:effectLst/>
                <a:latin typeface="Segoe UI" panose="020B0502040204020203" pitchFamily="34" charset="0"/>
              </a:rPr>
              <a:t>Item security</a:t>
            </a:r>
          </a:p>
          <a:p>
            <a:pPr algn="l"/>
            <a:r>
              <a:rPr lang="en-US" sz="3200" b="0" i="0" dirty="0">
                <a:solidFill>
                  <a:srgbClr val="161616"/>
                </a:solidFill>
                <a:effectLst/>
                <a:latin typeface="Segoe UI" panose="020B0502040204020203" pitchFamily="34" charset="0"/>
              </a:rPr>
              <a:t>Within a workspace, you can assign permissions directly to Fabric items, like warehouses and </a:t>
            </a:r>
            <a:r>
              <a:rPr lang="en-US" sz="3200" b="0" i="0" dirty="0" err="1">
                <a:solidFill>
                  <a:srgbClr val="161616"/>
                </a:solidFill>
                <a:effectLst/>
                <a:latin typeface="Segoe UI" panose="020B0502040204020203" pitchFamily="34" charset="0"/>
              </a:rPr>
              <a:t>lakehouses</a:t>
            </a:r>
            <a:r>
              <a:rPr lang="en-US" sz="3200" b="0" i="0" dirty="0">
                <a:solidFill>
                  <a:srgbClr val="161616"/>
                </a:solidFill>
                <a:effectLst/>
                <a:latin typeface="Segoe UI" panose="020B0502040204020203" pitchFamily="34" charset="0"/>
              </a:rPr>
              <a:t>. Item security provides the flexibility to grant access to an individual Fabric item without granting access to the entire workspace. Users can set up per-item permissions either by </a:t>
            </a:r>
            <a:r>
              <a:rPr lang="en-US" sz="3200" b="0" i="0" u="none" strike="noStrike" dirty="0">
                <a:solidFill>
                  <a:srgbClr val="161616"/>
                </a:solidFill>
                <a:effectLst/>
                <a:latin typeface="Segoe UI" panose="020B0502040204020203" pitchFamily="34" charset="0"/>
                <a:hlinkClick r:id="rId6"/>
              </a:rPr>
              <a:t>sharing an item</a:t>
            </a:r>
            <a:r>
              <a:rPr lang="en-US" sz="3200" b="0" i="0" dirty="0">
                <a:solidFill>
                  <a:srgbClr val="161616"/>
                </a:solidFill>
                <a:effectLst/>
                <a:latin typeface="Segoe UI" panose="020B0502040204020203" pitchFamily="34" charset="0"/>
              </a:rPr>
              <a:t> or by managing the permissions of an item.</a:t>
            </a:r>
          </a:p>
          <a:p>
            <a:pPr algn="l"/>
            <a:r>
              <a:rPr lang="en-US" sz="3200" b="0" i="0" dirty="0">
                <a:solidFill>
                  <a:srgbClr val="161616"/>
                </a:solidFill>
                <a:effectLst/>
                <a:latin typeface="Segoe UI" panose="020B0502040204020203" pitchFamily="34" charset="0"/>
              </a:rPr>
              <a:t>For information, see </a:t>
            </a:r>
            <a:r>
              <a:rPr lang="en-US" sz="3200" b="0" i="0" u="none" strike="noStrike" dirty="0" err="1">
                <a:solidFill>
                  <a:srgbClr val="161616"/>
                </a:solidFill>
                <a:effectLst/>
                <a:latin typeface="Segoe UI" panose="020B0502040204020203" pitchFamily="34" charset="0"/>
                <a:hlinkClick r:id="rId7"/>
              </a:rPr>
              <a:t>OneLake</a:t>
            </a:r>
            <a:r>
              <a:rPr lang="en-US" sz="3200" b="0" i="0" u="none" strike="noStrike" dirty="0">
                <a:solidFill>
                  <a:srgbClr val="161616"/>
                </a:solidFill>
                <a:effectLst/>
                <a:latin typeface="Segoe UI" panose="020B0502040204020203" pitchFamily="34" charset="0"/>
                <a:hlinkClick r:id="rId7"/>
              </a:rPr>
              <a:t> security (Item security)</a:t>
            </a:r>
            <a:r>
              <a:rPr lang="en-US" sz="3200" b="0" i="0" dirty="0">
                <a:solidFill>
                  <a:srgbClr val="161616"/>
                </a:solidFill>
                <a:effectLst/>
                <a:latin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5E568B-101D-41E3-95EA-D68A456DD2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295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5D32E9-684E-4390-8F5F-EA016EFE6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914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5D32E9-684E-4390-8F5F-EA016EFE6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4342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63997F-846A-4BC3-A00B-E920A596D6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0816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00"/>
              </a:spcAft>
              <a:defRPr/>
            </a:pPr>
            <a:r>
              <a:rPr lang="en-US" sz="800">
                <a:solidFill>
                  <a:srgbClr val="000000"/>
                </a:solidFill>
                <a:latin typeface="Segoe UI"/>
              </a:rPr>
              <a:t>Microsoft Fabric accelerates </a:t>
            </a:r>
            <a:r>
              <a:rPr lang="en-US" sz="800">
                <a:solidFill>
                  <a:srgbClr val="0070C0"/>
                </a:solidFill>
                <a:latin typeface="Segoe UI Semibold"/>
              </a:rPr>
              <a:t>data potential </a:t>
            </a:r>
            <a:r>
              <a:rPr lang="en-US" sz="800">
                <a:solidFill>
                  <a:srgbClr val="000000"/>
                </a:solidFill>
                <a:latin typeface="Segoe UI"/>
              </a:rPr>
              <a:t>for the era for AI.</a:t>
            </a:r>
          </a:p>
          <a:p>
            <a:pPr>
              <a:spcAft>
                <a:spcPts val="900"/>
              </a:spcAft>
              <a:defRPr/>
            </a:pPr>
            <a:endParaRPr lang="en-US" sz="800">
              <a:solidFill>
                <a:srgbClr val="000000"/>
              </a:solidFill>
              <a:latin typeface="Segoe UI"/>
            </a:endParaRPr>
          </a:p>
          <a:p>
            <a:pPr marL="0" marR="0" lvl="0" indent="0" algn="l" defTabSz="914367" rtl="0" eaLnBrk="1" fontAlgn="auto" latinLnBrk="0" hangingPunct="1">
              <a:lnSpc>
                <a:spcPct val="90000"/>
              </a:lnSpc>
              <a:spcBef>
                <a:spcPts val="0"/>
              </a:spcBef>
              <a:spcAft>
                <a:spcPts val="9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Fabric provides a unified intelligent data foundation for all analytics workloads and integrates </a:t>
            </a:r>
            <a:r>
              <a:rPr kumimoji="0" lang="en-US" sz="800" b="1" i="0" u="none" strike="noStrike" kern="1200" cap="none" spc="0" normalizeH="0" baseline="0" noProof="0">
                <a:ln>
                  <a:noFill/>
                </a:ln>
                <a:solidFill>
                  <a:srgbClr val="0070C0"/>
                </a:solidFill>
                <a:effectLst/>
                <a:uLnTx/>
                <a:uFillTx/>
                <a:latin typeface="Segoe UI Semibold"/>
                <a:ea typeface="+mn-ea"/>
                <a:cs typeface="+mn-cs"/>
              </a:rPr>
              <a:t>Power BI</a:t>
            </a:r>
            <a:r>
              <a:rPr kumimoji="0" lang="en-US" sz="800" b="0" i="0" u="none" strike="noStrike" kern="1200" cap="none" spc="0" normalizeH="0" baseline="0" noProof="0">
                <a:ln>
                  <a:noFill/>
                </a:ln>
                <a:solidFill>
                  <a:srgbClr val="000000"/>
                </a:solidFill>
                <a:effectLst/>
                <a:uLnTx/>
                <a:uFillTx/>
                <a:latin typeface="Segoe UI"/>
                <a:ea typeface="+mn-ea"/>
                <a:cs typeface="+mn-cs"/>
              </a:rPr>
              <a:t>, </a:t>
            </a:r>
            <a:r>
              <a:rPr kumimoji="0" lang="en-US" sz="800" b="1" i="0" u="none" strike="noStrike" kern="1200" cap="none" spc="0" normalizeH="0" baseline="0" noProof="0">
                <a:ln>
                  <a:noFill/>
                </a:ln>
                <a:solidFill>
                  <a:srgbClr val="0070C0"/>
                </a:solidFill>
                <a:effectLst/>
                <a:uLnTx/>
                <a:uFillTx/>
                <a:latin typeface="Segoe UI Semibold"/>
                <a:ea typeface="+mn-ea"/>
                <a:cs typeface="+mn-cs"/>
              </a:rPr>
              <a:t>Data Factory </a:t>
            </a:r>
            <a:r>
              <a:rPr kumimoji="0" lang="en-US" sz="800" b="0" i="0" u="none" strike="noStrike" kern="1200" cap="none" spc="0" normalizeH="0" baseline="0" noProof="0">
                <a:ln>
                  <a:noFill/>
                </a:ln>
                <a:solidFill>
                  <a:srgbClr val="000000"/>
                </a:solidFill>
                <a:effectLst/>
                <a:uLnTx/>
                <a:uFillTx/>
                <a:latin typeface="Segoe UI"/>
                <a:ea typeface="+mn-ea"/>
                <a:cs typeface="+mn-cs"/>
              </a:rPr>
              <a:t>and </a:t>
            </a:r>
            <a:r>
              <a:rPr kumimoji="0" lang="en-US" sz="800" b="1" i="0" u="none" strike="noStrike" kern="1200" cap="none" spc="0" normalizeH="0" baseline="0" noProof="0">
                <a:ln>
                  <a:noFill/>
                </a:ln>
                <a:solidFill>
                  <a:srgbClr val="0070C0"/>
                </a:solidFill>
                <a:effectLst/>
                <a:uLnTx/>
                <a:uFillTx/>
                <a:latin typeface="Segoe UI Semibold"/>
                <a:ea typeface="+mn-ea"/>
                <a:cs typeface="+mn-cs"/>
              </a:rPr>
              <a:t>the next generation of Synapse </a:t>
            </a:r>
            <a:r>
              <a:rPr kumimoji="0" lang="en-US" sz="800" b="0" i="0" u="none" strike="noStrike" kern="1200" cap="none" spc="0" normalizeH="0" baseline="0" noProof="0">
                <a:ln>
                  <a:noFill/>
                </a:ln>
                <a:solidFill>
                  <a:srgbClr val="000000"/>
                </a:solidFill>
                <a:effectLst/>
                <a:uLnTx/>
                <a:uFillTx/>
                <a:latin typeface="Segoe UI"/>
                <a:ea typeface="+mn-ea"/>
                <a:cs typeface="+mn-cs"/>
              </a:rPr>
              <a:t>to offer customers a price performant and easy to manage modern analytics solution</a:t>
            </a:r>
            <a:endParaRPr lang="en-US" sz="800">
              <a:solidFill>
                <a:srgbClr val="000000"/>
              </a:solidFill>
              <a:latin typeface="Segoe UI"/>
            </a:endParaRPr>
          </a:p>
          <a:p>
            <a:pPr>
              <a:spcAft>
                <a:spcPts val="900"/>
              </a:spcAft>
              <a:defRPr/>
            </a:pPr>
            <a:endParaRPr lang="en-US" sz="800">
              <a:solidFill>
                <a:srgbClr val="000000"/>
              </a:solidFill>
              <a:latin typeface="Segoe UI"/>
            </a:endParaRPr>
          </a:p>
          <a:p>
            <a:pPr>
              <a:spcAft>
                <a:spcPts val="900"/>
              </a:spcAft>
              <a:defRPr/>
            </a:pPr>
            <a:r>
              <a:rPr lang="en-US" sz="800">
                <a:solidFill>
                  <a:srgbClr val="000000"/>
                </a:solidFill>
                <a:latin typeface="Segoe UI"/>
              </a:rPr>
              <a:t>Every analytics workload works seamlessly with </a:t>
            </a:r>
            <a:r>
              <a:rPr lang="en-US" sz="800" err="1">
                <a:solidFill>
                  <a:srgbClr val="000000"/>
                </a:solidFill>
                <a:latin typeface="Segoe UI"/>
              </a:rPr>
              <a:t>OneLake</a:t>
            </a:r>
            <a:r>
              <a:rPr lang="en-US" sz="800">
                <a:solidFill>
                  <a:srgbClr val="000000"/>
                </a:solidFill>
                <a:latin typeface="Segoe UI"/>
              </a:rPr>
              <a:t> to m</a:t>
            </a:r>
            <a:r>
              <a:rPr lang="en-US" sz="1800" b="0" i="0" u="none" strike="noStrike">
                <a:solidFill>
                  <a:srgbClr val="0078D4"/>
                </a:solidFill>
                <a:effectLst/>
                <a:latin typeface="Segoe UI Semibold" panose="020B0702040204020203" pitchFamily="34" charset="0"/>
              </a:rPr>
              <a:t>inimize data management time and effort </a:t>
            </a:r>
            <a:r>
              <a:rPr lang="en-US" sz="1800" b="0" i="0" u="none" strike="noStrike">
                <a:solidFill>
                  <a:srgbClr val="000000"/>
                </a:solidFill>
                <a:effectLst/>
                <a:latin typeface="Segoe UI" panose="020B0502040204020203" pitchFamily="34" charset="0"/>
              </a:rPr>
              <a:t>by eliminating data movement and duplication</a:t>
            </a:r>
          </a:p>
          <a:p>
            <a:pPr>
              <a:spcAft>
                <a:spcPts val="900"/>
              </a:spcAft>
              <a:defRPr/>
            </a:pPr>
            <a:endParaRPr lang="en-US" sz="800">
              <a:solidFill>
                <a:srgbClr val="000000"/>
              </a:solidFill>
              <a:latin typeface="Segoe UI"/>
            </a:endParaRPr>
          </a:p>
          <a:p>
            <a:pPr>
              <a:spcAft>
                <a:spcPts val="900"/>
              </a:spcAft>
              <a:defRPr/>
            </a:pPr>
            <a:r>
              <a:rPr lang="en-US" sz="1800" b="0" i="0" u="none" strike="noStrike">
                <a:solidFill>
                  <a:srgbClr val="0078D4"/>
                </a:solidFill>
                <a:effectLst/>
                <a:latin typeface="Segoe UI Semibold" panose="020B0702040204020203" pitchFamily="34" charset="0"/>
              </a:rPr>
              <a:t>Fabric reduces the pain of Factory and facilitates better collaboration </a:t>
            </a:r>
            <a:r>
              <a:rPr lang="en-US" sz="1800" b="0" i="0" u="none" strike="noStrike">
                <a:solidFill>
                  <a:srgbClr val="000000"/>
                </a:solidFill>
                <a:effectLst/>
                <a:latin typeface="Segoe UI" panose="020B0502040204020203" pitchFamily="34" charset="0"/>
              </a:rPr>
              <a:t>with a solution that makes it easy to connect and use the different analytics tools your team needs</a:t>
            </a:r>
            <a:endParaRPr lang="en-US" sz="800">
              <a:solidFill>
                <a:srgbClr val="000000"/>
              </a:solidFill>
              <a:latin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EF7FEB2-C603-8B40-9FCD-FDDC87FF0CA4}"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4-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43432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00"/>
              </a:spcAft>
              <a:defRPr/>
            </a:pPr>
            <a:r>
              <a:rPr lang="en-US" sz="800">
                <a:solidFill>
                  <a:srgbClr val="000000"/>
                </a:solidFill>
                <a:latin typeface="Segoe UI"/>
              </a:rPr>
              <a:t>Microsoft Fabric accelerates </a:t>
            </a:r>
            <a:r>
              <a:rPr lang="en-US" sz="800">
                <a:solidFill>
                  <a:srgbClr val="0070C0"/>
                </a:solidFill>
                <a:latin typeface="Segoe UI Semibold"/>
              </a:rPr>
              <a:t>data potential </a:t>
            </a:r>
            <a:r>
              <a:rPr lang="en-US" sz="800">
                <a:solidFill>
                  <a:srgbClr val="000000"/>
                </a:solidFill>
                <a:latin typeface="Segoe UI"/>
              </a:rPr>
              <a:t>for the era for AI.</a:t>
            </a:r>
          </a:p>
          <a:p>
            <a:pPr>
              <a:spcAft>
                <a:spcPts val="900"/>
              </a:spcAft>
              <a:defRPr/>
            </a:pPr>
            <a:endParaRPr lang="en-US" sz="800">
              <a:solidFill>
                <a:srgbClr val="000000"/>
              </a:solidFill>
              <a:latin typeface="Segoe UI"/>
            </a:endParaRPr>
          </a:p>
          <a:p>
            <a:pPr marL="0" marR="0" lvl="0" indent="0" algn="l" defTabSz="914367" rtl="0" eaLnBrk="1" fontAlgn="auto" latinLnBrk="0" hangingPunct="1">
              <a:lnSpc>
                <a:spcPct val="90000"/>
              </a:lnSpc>
              <a:spcBef>
                <a:spcPts val="0"/>
              </a:spcBef>
              <a:spcAft>
                <a:spcPts val="9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Fabric provides a unified intelligent data foundation for all analytics workloads and integrates </a:t>
            </a:r>
            <a:r>
              <a:rPr kumimoji="0" lang="en-US" sz="800" b="1" i="0" u="none" strike="noStrike" kern="1200" cap="none" spc="0" normalizeH="0" baseline="0" noProof="0">
                <a:ln>
                  <a:noFill/>
                </a:ln>
                <a:solidFill>
                  <a:srgbClr val="0070C0"/>
                </a:solidFill>
                <a:effectLst/>
                <a:uLnTx/>
                <a:uFillTx/>
                <a:latin typeface="Segoe UI Semibold"/>
                <a:ea typeface="+mn-ea"/>
                <a:cs typeface="+mn-cs"/>
              </a:rPr>
              <a:t>Power BI</a:t>
            </a:r>
            <a:r>
              <a:rPr kumimoji="0" lang="en-US" sz="800" b="0" i="0" u="none" strike="noStrike" kern="1200" cap="none" spc="0" normalizeH="0" baseline="0" noProof="0">
                <a:ln>
                  <a:noFill/>
                </a:ln>
                <a:solidFill>
                  <a:srgbClr val="000000"/>
                </a:solidFill>
                <a:effectLst/>
                <a:uLnTx/>
                <a:uFillTx/>
                <a:latin typeface="Segoe UI"/>
                <a:ea typeface="+mn-ea"/>
                <a:cs typeface="+mn-cs"/>
              </a:rPr>
              <a:t>, </a:t>
            </a:r>
            <a:r>
              <a:rPr kumimoji="0" lang="en-US" sz="800" b="1" i="0" u="none" strike="noStrike" kern="1200" cap="none" spc="0" normalizeH="0" baseline="0" noProof="0">
                <a:ln>
                  <a:noFill/>
                </a:ln>
                <a:solidFill>
                  <a:srgbClr val="0070C0"/>
                </a:solidFill>
                <a:effectLst/>
                <a:uLnTx/>
                <a:uFillTx/>
                <a:latin typeface="Segoe UI Semibold"/>
                <a:ea typeface="+mn-ea"/>
                <a:cs typeface="+mn-cs"/>
              </a:rPr>
              <a:t>Data Factory </a:t>
            </a:r>
            <a:r>
              <a:rPr kumimoji="0" lang="en-US" sz="800" b="0" i="0" u="none" strike="noStrike" kern="1200" cap="none" spc="0" normalizeH="0" baseline="0" noProof="0">
                <a:ln>
                  <a:noFill/>
                </a:ln>
                <a:solidFill>
                  <a:srgbClr val="000000"/>
                </a:solidFill>
                <a:effectLst/>
                <a:uLnTx/>
                <a:uFillTx/>
                <a:latin typeface="Segoe UI"/>
                <a:ea typeface="+mn-ea"/>
                <a:cs typeface="+mn-cs"/>
              </a:rPr>
              <a:t>and </a:t>
            </a:r>
            <a:r>
              <a:rPr kumimoji="0" lang="en-US" sz="800" b="1" i="0" u="none" strike="noStrike" kern="1200" cap="none" spc="0" normalizeH="0" baseline="0" noProof="0">
                <a:ln>
                  <a:noFill/>
                </a:ln>
                <a:solidFill>
                  <a:srgbClr val="0070C0"/>
                </a:solidFill>
                <a:effectLst/>
                <a:uLnTx/>
                <a:uFillTx/>
                <a:latin typeface="Segoe UI Semibold"/>
                <a:ea typeface="+mn-ea"/>
                <a:cs typeface="+mn-cs"/>
              </a:rPr>
              <a:t>the next generation of Synapse </a:t>
            </a:r>
            <a:r>
              <a:rPr kumimoji="0" lang="en-US" sz="800" b="0" i="0" u="none" strike="noStrike" kern="1200" cap="none" spc="0" normalizeH="0" baseline="0" noProof="0">
                <a:ln>
                  <a:noFill/>
                </a:ln>
                <a:solidFill>
                  <a:srgbClr val="000000"/>
                </a:solidFill>
                <a:effectLst/>
                <a:uLnTx/>
                <a:uFillTx/>
                <a:latin typeface="Segoe UI"/>
                <a:ea typeface="+mn-ea"/>
                <a:cs typeface="+mn-cs"/>
              </a:rPr>
              <a:t>to offer customers a price performant and easy to manage modern analytics solution</a:t>
            </a:r>
            <a:endParaRPr lang="en-US" sz="800">
              <a:solidFill>
                <a:srgbClr val="000000"/>
              </a:solidFill>
              <a:latin typeface="Segoe UI"/>
            </a:endParaRPr>
          </a:p>
          <a:p>
            <a:pPr>
              <a:spcAft>
                <a:spcPts val="900"/>
              </a:spcAft>
              <a:defRPr/>
            </a:pPr>
            <a:endParaRPr lang="en-US" sz="800">
              <a:solidFill>
                <a:srgbClr val="000000"/>
              </a:solidFill>
              <a:latin typeface="Segoe UI"/>
            </a:endParaRPr>
          </a:p>
          <a:p>
            <a:pPr>
              <a:spcAft>
                <a:spcPts val="900"/>
              </a:spcAft>
              <a:defRPr/>
            </a:pPr>
            <a:r>
              <a:rPr lang="en-US" sz="800">
                <a:solidFill>
                  <a:srgbClr val="000000"/>
                </a:solidFill>
                <a:latin typeface="Segoe UI"/>
              </a:rPr>
              <a:t>Every analytics workload works seamlessly with </a:t>
            </a:r>
            <a:r>
              <a:rPr lang="en-US" sz="800" err="1">
                <a:solidFill>
                  <a:srgbClr val="000000"/>
                </a:solidFill>
                <a:latin typeface="Segoe UI"/>
              </a:rPr>
              <a:t>OneLake</a:t>
            </a:r>
            <a:r>
              <a:rPr lang="en-US" sz="800">
                <a:solidFill>
                  <a:srgbClr val="000000"/>
                </a:solidFill>
                <a:latin typeface="Segoe UI"/>
              </a:rPr>
              <a:t> to m</a:t>
            </a:r>
            <a:r>
              <a:rPr lang="en-US" sz="1800" b="0" i="0" u="none" strike="noStrike">
                <a:solidFill>
                  <a:srgbClr val="0078D4"/>
                </a:solidFill>
                <a:effectLst/>
                <a:latin typeface="Segoe UI Semibold" panose="020B0702040204020203" pitchFamily="34" charset="0"/>
              </a:rPr>
              <a:t>inimize data management time and effort </a:t>
            </a:r>
            <a:r>
              <a:rPr lang="en-US" sz="1800" b="0" i="0" u="none" strike="noStrike">
                <a:solidFill>
                  <a:srgbClr val="000000"/>
                </a:solidFill>
                <a:effectLst/>
                <a:latin typeface="Segoe UI" panose="020B0502040204020203" pitchFamily="34" charset="0"/>
              </a:rPr>
              <a:t>by eliminating data movement and duplication</a:t>
            </a:r>
          </a:p>
          <a:p>
            <a:pPr>
              <a:spcAft>
                <a:spcPts val="900"/>
              </a:spcAft>
              <a:defRPr/>
            </a:pPr>
            <a:endParaRPr lang="en-US" sz="800">
              <a:solidFill>
                <a:srgbClr val="000000"/>
              </a:solidFill>
              <a:latin typeface="Segoe UI"/>
            </a:endParaRPr>
          </a:p>
          <a:p>
            <a:pPr>
              <a:spcAft>
                <a:spcPts val="900"/>
              </a:spcAft>
              <a:defRPr/>
            </a:pPr>
            <a:r>
              <a:rPr lang="en-US" sz="1800" b="0" i="0" u="none" strike="noStrike">
                <a:solidFill>
                  <a:srgbClr val="0078D4"/>
                </a:solidFill>
                <a:effectLst/>
                <a:latin typeface="Segoe UI Semibold" panose="020B0702040204020203" pitchFamily="34" charset="0"/>
              </a:rPr>
              <a:t>Fabric reduces the pain of Factory and facilitates better collaboration </a:t>
            </a:r>
            <a:r>
              <a:rPr lang="en-US" sz="1800" b="0" i="0" u="none" strike="noStrike">
                <a:solidFill>
                  <a:srgbClr val="000000"/>
                </a:solidFill>
                <a:effectLst/>
                <a:latin typeface="Segoe UI" panose="020B0502040204020203" pitchFamily="34" charset="0"/>
              </a:rPr>
              <a:t>with a solution that makes it easy to connect and use the different analytics tools your team needs</a:t>
            </a:r>
            <a:endParaRPr lang="en-US" sz="800">
              <a:solidFill>
                <a:srgbClr val="000000"/>
              </a:solidFill>
              <a:latin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EF7FEB2-C603-8B40-9FCD-FDDC87FF0CA4}"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4-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268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9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Fabric provides a unified intelligent data foundation for all analytics workloads and integrates </a:t>
            </a:r>
            <a:r>
              <a:rPr kumimoji="0" lang="en-US" sz="800" b="1" i="0" u="none" strike="noStrike" kern="1200" cap="none" spc="0" normalizeH="0" baseline="0" noProof="0" dirty="0">
                <a:ln>
                  <a:noFill/>
                </a:ln>
                <a:solidFill>
                  <a:srgbClr val="0070C0"/>
                </a:solidFill>
                <a:effectLst/>
                <a:uLnTx/>
                <a:uFillTx/>
                <a:latin typeface="Segoe UI Semibold"/>
                <a:ea typeface="+mn-ea"/>
                <a:cs typeface="+mn-cs"/>
              </a:rPr>
              <a:t>Power BI</a:t>
            </a:r>
            <a:r>
              <a:rPr kumimoji="0" lang="en-US" sz="800" b="0" i="0" u="none" strike="noStrike" kern="1200" cap="none" spc="0" normalizeH="0" baseline="0" noProof="0" dirty="0">
                <a:ln>
                  <a:noFill/>
                </a:ln>
                <a:solidFill>
                  <a:srgbClr val="000000"/>
                </a:solidFill>
                <a:effectLst/>
                <a:uLnTx/>
                <a:uFillTx/>
                <a:latin typeface="Segoe UI"/>
                <a:ea typeface="+mn-ea"/>
                <a:cs typeface="+mn-cs"/>
              </a:rPr>
              <a:t>, </a:t>
            </a:r>
            <a:r>
              <a:rPr kumimoji="0" lang="en-US" sz="800" b="1" i="0" u="none" strike="noStrike" kern="1200" cap="none" spc="0" normalizeH="0" baseline="0" noProof="0" dirty="0">
                <a:ln>
                  <a:noFill/>
                </a:ln>
                <a:solidFill>
                  <a:srgbClr val="0070C0"/>
                </a:solidFill>
                <a:effectLst/>
                <a:uLnTx/>
                <a:uFillTx/>
                <a:latin typeface="Segoe UI Semibold"/>
                <a:ea typeface="+mn-ea"/>
                <a:cs typeface="+mn-cs"/>
              </a:rPr>
              <a:t>Data Factory </a:t>
            </a:r>
            <a:r>
              <a:rPr kumimoji="0" lang="en-US" sz="800" b="0" i="0" u="none" strike="noStrike" kern="1200" cap="none" spc="0" normalizeH="0" baseline="0" noProof="0" dirty="0">
                <a:ln>
                  <a:noFill/>
                </a:ln>
                <a:solidFill>
                  <a:srgbClr val="000000"/>
                </a:solidFill>
                <a:effectLst/>
                <a:uLnTx/>
                <a:uFillTx/>
                <a:latin typeface="Segoe UI"/>
                <a:ea typeface="+mn-ea"/>
                <a:cs typeface="+mn-cs"/>
              </a:rPr>
              <a:t>and </a:t>
            </a:r>
            <a:r>
              <a:rPr kumimoji="0" lang="en-US" sz="800" b="1" i="0" u="none" strike="noStrike" kern="1200" cap="none" spc="0" normalizeH="0" baseline="0" noProof="0" dirty="0">
                <a:ln>
                  <a:noFill/>
                </a:ln>
                <a:solidFill>
                  <a:srgbClr val="0070C0"/>
                </a:solidFill>
                <a:effectLst/>
                <a:uLnTx/>
                <a:uFillTx/>
                <a:latin typeface="Segoe UI Semibold"/>
                <a:ea typeface="+mn-ea"/>
                <a:cs typeface="+mn-cs"/>
              </a:rPr>
              <a:t>the next generation of Synapse </a:t>
            </a:r>
            <a:r>
              <a:rPr kumimoji="0" lang="en-US" sz="800" b="0" i="0" u="none" strike="noStrike" kern="1200" cap="none" spc="0" normalizeH="0" baseline="0" noProof="0" dirty="0">
                <a:ln>
                  <a:noFill/>
                </a:ln>
                <a:solidFill>
                  <a:srgbClr val="000000"/>
                </a:solidFill>
                <a:effectLst/>
                <a:uLnTx/>
                <a:uFillTx/>
                <a:latin typeface="Segoe UI"/>
                <a:ea typeface="+mn-ea"/>
                <a:cs typeface="+mn-cs"/>
              </a:rPr>
              <a:t>to offer customers a price performant and easy to manage, modern analytics solution. It is a single SaaS service so you don’t have to worry about setting up a VM or spin anything up. Microsoft will take care of it.</a:t>
            </a:r>
            <a:endParaRPr lang="en-US" sz="800" dirty="0">
              <a:solidFill>
                <a:srgbClr val="000000"/>
              </a:solidFill>
              <a:latin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9A1D854-D655-42A5-9077-B5F193BFE965}"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4-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4923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5D32E9-684E-4390-8F5F-EA016EFE6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3556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5D32E9-684E-4390-8F5F-EA016EFE68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5753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282A4-0D55-C299-A1C6-A37863C3A6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BF3140-8292-420C-80A5-6FD2BE6F98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AF8909-7168-0041-7B8B-688378BB1F04}"/>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9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Fabric provides a unified intelligent data foundation for all analytics workloads and integrates </a:t>
            </a:r>
            <a:r>
              <a:rPr kumimoji="0" lang="en-US" sz="800" b="1" i="0" u="none" strike="noStrike" kern="1200" cap="none" spc="0" normalizeH="0" baseline="0" noProof="0">
                <a:ln>
                  <a:noFill/>
                </a:ln>
                <a:solidFill>
                  <a:srgbClr val="0070C0"/>
                </a:solidFill>
                <a:effectLst/>
                <a:uLnTx/>
                <a:uFillTx/>
                <a:latin typeface="Segoe UI Semibold"/>
                <a:ea typeface="+mn-ea"/>
                <a:cs typeface="+mn-cs"/>
              </a:rPr>
              <a:t>Power BI</a:t>
            </a:r>
            <a:r>
              <a:rPr kumimoji="0" lang="en-US" sz="800" b="0" i="0" u="none" strike="noStrike" kern="1200" cap="none" spc="0" normalizeH="0" baseline="0" noProof="0">
                <a:ln>
                  <a:noFill/>
                </a:ln>
                <a:solidFill>
                  <a:srgbClr val="000000"/>
                </a:solidFill>
                <a:effectLst/>
                <a:uLnTx/>
                <a:uFillTx/>
                <a:latin typeface="Segoe UI"/>
                <a:ea typeface="+mn-ea"/>
                <a:cs typeface="+mn-cs"/>
              </a:rPr>
              <a:t>, </a:t>
            </a:r>
            <a:r>
              <a:rPr kumimoji="0" lang="en-US" sz="800" b="1" i="0" u="none" strike="noStrike" kern="1200" cap="none" spc="0" normalizeH="0" baseline="0" noProof="0">
                <a:ln>
                  <a:noFill/>
                </a:ln>
                <a:solidFill>
                  <a:srgbClr val="0070C0"/>
                </a:solidFill>
                <a:effectLst/>
                <a:uLnTx/>
                <a:uFillTx/>
                <a:latin typeface="Segoe UI Semibold"/>
                <a:ea typeface="+mn-ea"/>
                <a:cs typeface="+mn-cs"/>
              </a:rPr>
              <a:t>Data Factory </a:t>
            </a:r>
            <a:r>
              <a:rPr kumimoji="0" lang="en-US" sz="800" b="0" i="0" u="none" strike="noStrike" kern="1200" cap="none" spc="0" normalizeH="0" baseline="0" noProof="0">
                <a:ln>
                  <a:noFill/>
                </a:ln>
                <a:solidFill>
                  <a:srgbClr val="000000"/>
                </a:solidFill>
                <a:effectLst/>
                <a:uLnTx/>
                <a:uFillTx/>
                <a:latin typeface="Segoe UI"/>
                <a:ea typeface="+mn-ea"/>
                <a:cs typeface="+mn-cs"/>
              </a:rPr>
              <a:t>and </a:t>
            </a:r>
            <a:r>
              <a:rPr kumimoji="0" lang="en-US" sz="800" b="1" i="0" u="none" strike="noStrike" kern="1200" cap="none" spc="0" normalizeH="0" baseline="0" noProof="0">
                <a:ln>
                  <a:noFill/>
                </a:ln>
                <a:solidFill>
                  <a:srgbClr val="0070C0"/>
                </a:solidFill>
                <a:effectLst/>
                <a:uLnTx/>
                <a:uFillTx/>
                <a:latin typeface="Segoe UI Semibold"/>
                <a:ea typeface="+mn-ea"/>
                <a:cs typeface="+mn-cs"/>
              </a:rPr>
              <a:t>the next generation of Synapse </a:t>
            </a:r>
            <a:r>
              <a:rPr kumimoji="0" lang="en-US" sz="800" b="0" i="0" u="none" strike="noStrike" kern="1200" cap="none" spc="0" normalizeH="0" baseline="0" noProof="0">
                <a:ln>
                  <a:noFill/>
                </a:ln>
                <a:solidFill>
                  <a:srgbClr val="000000"/>
                </a:solidFill>
                <a:effectLst/>
                <a:uLnTx/>
                <a:uFillTx/>
                <a:latin typeface="Segoe UI"/>
                <a:ea typeface="+mn-ea"/>
                <a:cs typeface="+mn-cs"/>
              </a:rPr>
              <a:t>to offer customers a price performant and easy to manage, modern analytics solution. It is a single SaaS service so you don’t have to worry about setting up a VM or spin anything up. Microsoft will take care of it.</a:t>
            </a:r>
            <a:endParaRPr lang="en-US" sz="800">
              <a:solidFill>
                <a:srgbClr val="000000"/>
              </a:solidFill>
              <a:latin typeface="Segoe UI"/>
            </a:endParaRPr>
          </a:p>
        </p:txBody>
      </p:sp>
      <p:sp>
        <p:nvSpPr>
          <p:cNvPr id="4" name="Header Placeholder 3">
            <a:extLst>
              <a:ext uri="{FF2B5EF4-FFF2-40B4-BE49-F238E27FC236}">
                <a16:creationId xmlns:a16="http://schemas.microsoft.com/office/drawing/2014/main" id="{B1CD1AD5-9976-0DA0-85DD-060B047AA9DA}"/>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74C2C44-1837-B612-2F19-2CE5484F579C}"/>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92B5BA8-447B-0CD2-9299-ADA351E9CE4E}"/>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9A1D854-D655-42A5-9077-B5F193BFE965}"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04-25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CB2C554-901B-4C9D-FE58-3CB1F9EE546E}"/>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68685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image" Target="../media/image2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14.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 logo v1">
    <p:spTree>
      <p:nvGrpSpPr>
        <p:cNvPr id="1" name=""/>
        <p:cNvGrpSpPr/>
        <p:nvPr/>
      </p:nvGrpSpPr>
      <p:grpSpPr>
        <a:xfrm>
          <a:off x="0" y="0"/>
          <a:ext cx="0" cy="0"/>
          <a:chOff x="0" y="0"/>
          <a:chExt cx="0" cy="0"/>
        </a:xfrm>
      </p:grpSpPr>
      <p:pic>
        <p:nvPicPr>
          <p:cNvPr id="2" name="Picture 1" descr="A close-up of a green and white book&#10;&#10;Description automatically generated with low confidence">
            <a:extLst>
              <a:ext uri="{FF2B5EF4-FFF2-40B4-BE49-F238E27FC236}">
                <a16:creationId xmlns:a16="http://schemas.microsoft.com/office/drawing/2014/main" id="{8ED3D9C1-419E-5A08-ED18-041863D633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310" t="8820" r="3307" b="11798"/>
          <a:stretch/>
        </p:blipFill>
        <p:spPr>
          <a:xfrm>
            <a:off x="0" y="0"/>
            <a:ext cx="12192000" cy="6858000"/>
          </a:xfrm>
          <a:prstGeom prst="rect">
            <a:avLst/>
          </a:prstGeom>
        </p:spPr>
      </p:pic>
      <p:sp>
        <p:nvSpPr>
          <p:cNvPr id="3" name="Subtitle 2">
            <a:extLst>
              <a:ext uri="{FF2B5EF4-FFF2-40B4-BE49-F238E27FC236}">
                <a16:creationId xmlns:a16="http://schemas.microsoft.com/office/drawing/2014/main" id="{264443BC-506E-7BBC-82EA-B1821B96D97C}"/>
              </a:ext>
            </a:extLst>
          </p:cNvPr>
          <p:cNvSpPr>
            <a:spLocks noGrp="1"/>
          </p:cNvSpPr>
          <p:nvPr>
            <p:ph type="subTitle" idx="1" hasCustomPrompt="1"/>
          </p:nvPr>
        </p:nvSpPr>
        <p:spPr>
          <a:xfrm>
            <a:off x="607809" y="3983157"/>
            <a:ext cx="5674457" cy="365126"/>
          </a:xfrm>
          <a:prstGeom prst="rect">
            <a:avLst/>
          </a:prstGeom>
        </p:spPr>
        <p:txBody>
          <a:bodyPr>
            <a:noAutofit/>
          </a:bodyPr>
          <a:lstStyle>
            <a:lvl1pPr marL="0" indent="0" algn="l">
              <a:buNone/>
              <a:defRPr sz="2200" b="0" i="0">
                <a:solidFill>
                  <a:schemeClr val="accent1"/>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6">
            <a:extLst>
              <a:ext uri="{FF2B5EF4-FFF2-40B4-BE49-F238E27FC236}">
                <a16:creationId xmlns:a16="http://schemas.microsoft.com/office/drawing/2014/main" id="{57AC53FF-589E-1E0B-48A7-8C35A09DDF70}"/>
              </a:ext>
            </a:extLst>
          </p:cNvPr>
          <p:cNvSpPr>
            <a:spLocks noGrp="1"/>
          </p:cNvSpPr>
          <p:nvPr>
            <p:ph type="title" hasCustomPrompt="1"/>
          </p:nvPr>
        </p:nvSpPr>
        <p:spPr>
          <a:xfrm>
            <a:off x="607809" y="3275137"/>
            <a:ext cx="5674457" cy="527045"/>
          </a:xfrm>
          <a:prstGeom prst="rect">
            <a:avLst/>
          </a:prstGeom>
        </p:spPr>
        <p:txBody>
          <a:bodyPr anchor="b">
            <a:noAutofit/>
          </a:bodyPr>
          <a:lstStyle>
            <a:lvl1pPr algn="l">
              <a:defRPr sz="3800" b="0" i="0">
                <a:solidFill>
                  <a:schemeClr val="tx1"/>
                </a:solidFill>
                <a:latin typeface="Segoe UI Semibold" panose="020B0502040204020203" pitchFamily="34" charset="0"/>
                <a:cs typeface="Segoe UI Semibold" panose="020B0502040204020203" pitchFamily="34" charset="0"/>
              </a:defRPr>
            </a:lvl1pPr>
          </a:lstStyle>
          <a:p>
            <a:r>
              <a:rPr lang="en-US"/>
              <a:t>Master slide title</a:t>
            </a:r>
          </a:p>
        </p:txBody>
      </p:sp>
      <p:sp>
        <p:nvSpPr>
          <p:cNvPr id="4" name="Footer Placeholder 3">
            <a:extLst>
              <a:ext uri="{FF2B5EF4-FFF2-40B4-BE49-F238E27FC236}">
                <a16:creationId xmlns:a16="http://schemas.microsoft.com/office/drawing/2014/main" id="{FE3C5A8A-6F88-2284-05F8-5A2C04410647}"/>
              </a:ext>
            </a:extLst>
          </p:cNvPr>
          <p:cNvSpPr>
            <a:spLocks noGrp="1"/>
          </p:cNvSpPr>
          <p:nvPr>
            <p:ph type="ftr" sz="quarter" idx="11"/>
          </p:nvPr>
        </p:nvSpPr>
        <p:spPr/>
        <p:txBody>
          <a:bodyPr/>
          <a:lstStyle/>
          <a:p>
            <a:r>
              <a:rPr lang="en-US" err="1"/>
              <a:t>Micrsoft</a:t>
            </a:r>
            <a:r>
              <a:rPr lang="en-US"/>
              <a:t> Fabric</a:t>
            </a:r>
          </a:p>
        </p:txBody>
      </p:sp>
      <p:sp>
        <p:nvSpPr>
          <p:cNvPr id="5" name="Slide Number Placeholder 4">
            <a:extLst>
              <a:ext uri="{FF2B5EF4-FFF2-40B4-BE49-F238E27FC236}">
                <a16:creationId xmlns:a16="http://schemas.microsoft.com/office/drawing/2014/main" id="{BC4EBC95-BDAF-E77E-9EC2-B1356514D7DB}"/>
              </a:ext>
            </a:extLst>
          </p:cNvPr>
          <p:cNvSpPr>
            <a:spLocks noGrp="1"/>
          </p:cNvSpPr>
          <p:nvPr>
            <p:ph type="sldNum" sz="quarter" idx="12"/>
          </p:nvPr>
        </p:nvSpPr>
        <p:spPr>
          <a:xfrm>
            <a:off x="607809" y="6317268"/>
            <a:ext cx="399288" cy="365125"/>
          </a:xfrm>
        </p:spPr>
        <p:txBody>
          <a:bodyPr/>
          <a:lstStyle/>
          <a:p>
            <a:fld id="{B1356FBF-028C-F74E-A7B4-9B8ED246DD1B}" type="slidenum">
              <a:rPr lang="en-US" smtClean="0"/>
              <a:t>‹#›</a:t>
            </a:fld>
            <a:endParaRPr lang="en-US"/>
          </a:p>
        </p:txBody>
      </p:sp>
      <p:pic>
        <p:nvPicPr>
          <p:cNvPr id="8" name="Picture 4" descr="Logo&#10;&#10;Description automatically generated">
            <a:extLst>
              <a:ext uri="{FF2B5EF4-FFF2-40B4-BE49-F238E27FC236}">
                <a16:creationId xmlns:a16="http://schemas.microsoft.com/office/drawing/2014/main" id="{A5F1C45C-EFD8-06FA-7144-4C8746EABAB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2435" y="441960"/>
            <a:ext cx="1671638" cy="702194"/>
          </a:xfrm>
          <a:prstGeom prst="rect">
            <a:avLst/>
          </a:prstGeom>
        </p:spPr>
      </p:pic>
    </p:spTree>
    <p:extLst>
      <p:ext uri="{BB962C8B-B14F-4D97-AF65-F5344CB8AC3E}">
        <p14:creationId xmlns:p14="http://schemas.microsoft.com/office/powerpoint/2010/main" val="3385744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slide">
    <p:bg>
      <p:bgPr>
        <a:solidFill>
          <a:srgbClr val="FDFDFD"/>
        </a:solidFill>
        <a:effectLst/>
      </p:bgPr>
    </p:bg>
    <p:spTree>
      <p:nvGrpSpPr>
        <p:cNvPr id="1" name=""/>
        <p:cNvGrpSpPr/>
        <p:nvPr/>
      </p:nvGrpSpPr>
      <p:grpSpPr>
        <a:xfrm>
          <a:off x="0" y="0"/>
          <a:ext cx="0" cy="0"/>
          <a:chOff x="0" y="0"/>
          <a:chExt cx="0" cy="0"/>
        </a:xfrm>
      </p:grpSpPr>
      <p:sp>
        <p:nvSpPr>
          <p:cNvPr id="20" name="Content Placeholder 96">
            <a:extLst>
              <a:ext uri="{FF2B5EF4-FFF2-40B4-BE49-F238E27FC236}">
                <a16:creationId xmlns:a16="http://schemas.microsoft.com/office/drawing/2014/main" id="{ADAB44E4-3C80-C67C-EF97-F8499CD2156F}"/>
              </a:ext>
            </a:extLst>
          </p:cNvPr>
          <p:cNvSpPr>
            <a:spLocks noGrp="1"/>
          </p:cNvSpPr>
          <p:nvPr>
            <p:ph sz="quarter" idx="21" hasCustomPrompt="1"/>
          </p:nvPr>
        </p:nvSpPr>
        <p:spPr>
          <a:xfrm>
            <a:off x="8582533" y="2446088"/>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6</a:t>
            </a:r>
          </a:p>
        </p:txBody>
      </p:sp>
      <p:sp>
        <p:nvSpPr>
          <p:cNvPr id="22" name="Text Placeholder 102">
            <a:extLst>
              <a:ext uri="{FF2B5EF4-FFF2-40B4-BE49-F238E27FC236}">
                <a16:creationId xmlns:a16="http://schemas.microsoft.com/office/drawing/2014/main" id="{79BB9C92-3336-D58E-A2E3-AB3D76B935A0}"/>
              </a:ext>
            </a:extLst>
          </p:cNvPr>
          <p:cNvSpPr>
            <a:spLocks noGrp="1"/>
          </p:cNvSpPr>
          <p:nvPr>
            <p:ph type="body" sz="quarter" idx="22" hasCustomPrompt="1"/>
          </p:nvPr>
        </p:nvSpPr>
        <p:spPr>
          <a:xfrm>
            <a:off x="8582533" y="2874536"/>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6</a:t>
            </a:r>
          </a:p>
        </p:txBody>
      </p:sp>
      <p:sp>
        <p:nvSpPr>
          <p:cNvPr id="12" name="Content Placeholder 11">
            <a:extLst>
              <a:ext uri="{FF2B5EF4-FFF2-40B4-BE49-F238E27FC236}">
                <a16:creationId xmlns:a16="http://schemas.microsoft.com/office/drawing/2014/main" id="{2EC32F9F-DA05-D8F0-9EF1-06A12FC8083E}"/>
              </a:ext>
            </a:extLst>
          </p:cNvPr>
          <p:cNvSpPr>
            <a:spLocks noGrp="1"/>
          </p:cNvSpPr>
          <p:nvPr>
            <p:ph sz="quarter" idx="24"/>
          </p:nvPr>
        </p:nvSpPr>
        <p:spPr>
          <a:xfrm>
            <a:off x="8645201" y="2799530"/>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27" name="Content Placeholder 96">
            <a:extLst>
              <a:ext uri="{FF2B5EF4-FFF2-40B4-BE49-F238E27FC236}">
                <a16:creationId xmlns:a16="http://schemas.microsoft.com/office/drawing/2014/main" id="{78398FAE-4BD4-A49B-CD17-9D094754DF3C}"/>
              </a:ext>
            </a:extLst>
          </p:cNvPr>
          <p:cNvSpPr>
            <a:spLocks noGrp="1"/>
          </p:cNvSpPr>
          <p:nvPr>
            <p:ph sz="quarter" idx="25" hasCustomPrompt="1"/>
          </p:nvPr>
        </p:nvSpPr>
        <p:spPr>
          <a:xfrm>
            <a:off x="8579714" y="1041234"/>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5</a:t>
            </a:r>
          </a:p>
        </p:txBody>
      </p:sp>
      <p:sp>
        <p:nvSpPr>
          <p:cNvPr id="28" name="Text Placeholder 102">
            <a:extLst>
              <a:ext uri="{FF2B5EF4-FFF2-40B4-BE49-F238E27FC236}">
                <a16:creationId xmlns:a16="http://schemas.microsoft.com/office/drawing/2014/main" id="{01980AB6-0C20-DB72-917E-013E24F0B04A}"/>
              </a:ext>
            </a:extLst>
          </p:cNvPr>
          <p:cNvSpPr>
            <a:spLocks noGrp="1"/>
          </p:cNvSpPr>
          <p:nvPr>
            <p:ph type="body" sz="quarter" idx="26" hasCustomPrompt="1"/>
          </p:nvPr>
        </p:nvSpPr>
        <p:spPr>
          <a:xfrm>
            <a:off x="8579714" y="1469682"/>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5</a:t>
            </a:r>
          </a:p>
        </p:txBody>
      </p:sp>
      <p:sp>
        <p:nvSpPr>
          <p:cNvPr id="29" name="Content Placeholder 11">
            <a:extLst>
              <a:ext uri="{FF2B5EF4-FFF2-40B4-BE49-F238E27FC236}">
                <a16:creationId xmlns:a16="http://schemas.microsoft.com/office/drawing/2014/main" id="{8A342A92-251D-6829-C9EF-8C6E272FDFDA}"/>
              </a:ext>
            </a:extLst>
          </p:cNvPr>
          <p:cNvSpPr>
            <a:spLocks noGrp="1"/>
          </p:cNvSpPr>
          <p:nvPr>
            <p:ph sz="quarter" idx="27"/>
          </p:nvPr>
        </p:nvSpPr>
        <p:spPr>
          <a:xfrm>
            <a:off x="8642382" y="1394676"/>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30" name="Content Placeholder 96">
            <a:extLst>
              <a:ext uri="{FF2B5EF4-FFF2-40B4-BE49-F238E27FC236}">
                <a16:creationId xmlns:a16="http://schemas.microsoft.com/office/drawing/2014/main" id="{B5CE9E84-43F2-579D-FB33-880D1BC920E4}"/>
              </a:ext>
            </a:extLst>
          </p:cNvPr>
          <p:cNvSpPr>
            <a:spLocks noGrp="1"/>
          </p:cNvSpPr>
          <p:nvPr>
            <p:ph sz="quarter" idx="28" hasCustomPrompt="1"/>
          </p:nvPr>
        </p:nvSpPr>
        <p:spPr>
          <a:xfrm>
            <a:off x="5573980" y="1041234"/>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1</a:t>
            </a:r>
          </a:p>
        </p:txBody>
      </p:sp>
      <p:sp>
        <p:nvSpPr>
          <p:cNvPr id="31" name="Text Placeholder 102">
            <a:extLst>
              <a:ext uri="{FF2B5EF4-FFF2-40B4-BE49-F238E27FC236}">
                <a16:creationId xmlns:a16="http://schemas.microsoft.com/office/drawing/2014/main" id="{160C76D9-6EF2-5178-36DB-F4A87DDB4019}"/>
              </a:ext>
            </a:extLst>
          </p:cNvPr>
          <p:cNvSpPr>
            <a:spLocks noGrp="1"/>
          </p:cNvSpPr>
          <p:nvPr>
            <p:ph type="body" sz="quarter" idx="29" hasCustomPrompt="1"/>
          </p:nvPr>
        </p:nvSpPr>
        <p:spPr>
          <a:xfrm>
            <a:off x="5573980" y="1469682"/>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1</a:t>
            </a:r>
          </a:p>
        </p:txBody>
      </p:sp>
      <p:sp>
        <p:nvSpPr>
          <p:cNvPr id="32" name="Content Placeholder 11">
            <a:extLst>
              <a:ext uri="{FF2B5EF4-FFF2-40B4-BE49-F238E27FC236}">
                <a16:creationId xmlns:a16="http://schemas.microsoft.com/office/drawing/2014/main" id="{F7B0C2AA-9D35-6437-0660-87323E3B1792}"/>
              </a:ext>
            </a:extLst>
          </p:cNvPr>
          <p:cNvSpPr>
            <a:spLocks noGrp="1"/>
          </p:cNvSpPr>
          <p:nvPr>
            <p:ph sz="quarter" idx="30"/>
          </p:nvPr>
        </p:nvSpPr>
        <p:spPr>
          <a:xfrm>
            <a:off x="5636648" y="1394676"/>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33" name="Content Placeholder 96">
            <a:extLst>
              <a:ext uri="{FF2B5EF4-FFF2-40B4-BE49-F238E27FC236}">
                <a16:creationId xmlns:a16="http://schemas.microsoft.com/office/drawing/2014/main" id="{A89423B4-ACAB-A459-E4E9-CAEF8ECE48AD}"/>
              </a:ext>
            </a:extLst>
          </p:cNvPr>
          <p:cNvSpPr>
            <a:spLocks noGrp="1"/>
          </p:cNvSpPr>
          <p:nvPr>
            <p:ph sz="quarter" idx="31" hasCustomPrompt="1"/>
          </p:nvPr>
        </p:nvSpPr>
        <p:spPr>
          <a:xfrm>
            <a:off x="5573980" y="2446088"/>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2</a:t>
            </a:r>
          </a:p>
        </p:txBody>
      </p:sp>
      <p:sp>
        <p:nvSpPr>
          <p:cNvPr id="34" name="Text Placeholder 102">
            <a:extLst>
              <a:ext uri="{FF2B5EF4-FFF2-40B4-BE49-F238E27FC236}">
                <a16:creationId xmlns:a16="http://schemas.microsoft.com/office/drawing/2014/main" id="{1B5FA551-AA32-51AC-CBCE-283E50DBDD83}"/>
              </a:ext>
            </a:extLst>
          </p:cNvPr>
          <p:cNvSpPr>
            <a:spLocks noGrp="1"/>
          </p:cNvSpPr>
          <p:nvPr>
            <p:ph type="body" sz="quarter" idx="32" hasCustomPrompt="1"/>
          </p:nvPr>
        </p:nvSpPr>
        <p:spPr>
          <a:xfrm>
            <a:off x="5573980" y="2874536"/>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2</a:t>
            </a:r>
          </a:p>
        </p:txBody>
      </p:sp>
      <p:sp>
        <p:nvSpPr>
          <p:cNvPr id="35" name="Content Placeholder 11">
            <a:extLst>
              <a:ext uri="{FF2B5EF4-FFF2-40B4-BE49-F238E27FC236}">
                <a16:creationId xmlns:a16="http://schemas.microsoft.com/office/drawing/2014/main" id="{0F84AE03-5499-1A27-0C79-E31A5C600FFA}"/>
              </a:ext>
            </a:extLst>
          </p:cNvPr>
          <p:cNvSpPr>
            <a:spLocks noGrp="1"/>
          </p:cNvSpPr>
          <p:nvPr>
            <p:ph sz="quarter" idx="33"/>
          </p:nvPr>
        </p:nvSpPr>
        <p:spPr>
          <a:xfrm>
            <a:off x="5636648" y="2799530"/>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42" name="Content Placeholder 96">
            <a:extLst>
              <a:ext uri="{FF2B5EF4-FFF2-40B4-BE49-F238E27FC236}">
                <a16:creationId xmlns:a16="http://schemas.microsoft.com/office/drawing/2014/main" id="{9034F26E-F07A-2E20-5DE4-0991D5E69EFC}"/>
              </a:ext>
            </a:extLst>
          </p:cNvPr>
          <p:cNvSpPr>
            <a:spLocks noGrp="1"/>
          </p:cNvSpPr>
          <p:nvPr>
            <p:ph sz="quarter" idx="34" hasCustomPrompt="1"/>
          </p:nvPr>
        </p:nvSpPr>
        <p:spPr>
          <a:xfrm>
            <a:off x="5573980" y="3826105"/>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3</a:t>
            </a:r>
          </a:p>
        </p:txBody>
      </p:sp>
      <p:sp>
        <p:nvSpPr>
          <p:cNvPr id="43" name="Text Placeholder 102">
            <a:extLst>
              <a:ext uri="{FF2B5EF4-FFF2-40B4-BE49-F238E27FC236}">
                <a16:creationId xmlns:a16="http://schemas.microsoft.com/office/drawing/2014/main" id="{5DD7AC03-A38A-3672-D6D5-8CAB420DE959}"/>
              </a:ext>
            </a:extLst>
          </p:cNvPr>
          <p:cNvSpPr>
            <a:spLocks noGrp="1"/>
          </p:cNvSpPr>
          <p:nvPr>
            <p:ph type="body" sz="quarter" idx="35" hasCustomPrompt="1"/>
          </p:nvPr>
        </p:nvSpPr>
        <p:spPr>
          <a:xfrm>
            <a:off x="5573980" y="4254553"/>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3</a:t>
            </a:r>
          </a:p>
        </p:txBody>
      </p:sp>
      <p:sp>
        <p:nvSpPr>
          <p:cNvPr id="44" name="Content Placeholder 11">
            <a:extLst>
              <a:ext uri="{FF2B5EF4-FFF2-40B4-BE49-F238E27FC236}">
                <a16:creationId xmlns:a16="http://schemas.microsoft.com/office/drawing/2014/main" id="{A8849203-D983-08BB-6923-223F4B93A337}"/>
              </a:ext>
            </a:extLst>
          </p:cNvPr>
          <p:cNvSpPr>
            <a:spLocks noGrp="1"/>
          </p:cNvSpPr>
          <p:nvPr>
            <p:ph sz="quarter" idx="36"/>
          </p:nvPr>
        </p:nvSpPr>
        <p:spPr>
          <a:xfrm>
            <a:off x="5636648" y="4179547"/>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45" name="Content Placeholder 96">
            <a:extLst>
              <a:ext uri="{FF2B5EF4-FFF2-40B4-BE49-F238E27FC236}">
                <a16:creationId xmlns:a16="http://schemas.microsoft.com/office/drawing/2014/main" id="{E4982BD0-91D6-D4B2-6AD2-89E3D3301468}"/>
              </a:ext>
            </a:extLst>
          </p:cNvPr>
          <p:cNvSpPr>
            <a:spLocks noGrp="1"/>
          </p:cNvSpPr>
          <p:nvPr>
            <p:ph sz="quarter" idx="37" hasCustomPrompt="1"/>
          </p:nvPr>
        </p:nvSpPr>
        <p:spPr>
          <a:xfrm>
            <a:off x="5573980" y="5230959"/>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4</a:t>
            </a:r>
          </a:p>
        </p:txBody>
      </p:sp>
      <p:sp>
        <p:nvSpPr>
          <p:cNvPr id="46" name="Text Placeholder 102">
            <a:extLst>
              <a:ext uri="{FF2B5EF4-FFF2-40B4-BE49-F238E27FC236}">
                <a16:creationId xmlns:a16="http://schemas.microsoft.com/office/drawing/2014/main" id="{C7134A6A-3C36-673F-2C0D-3C754F15D8BD}"/>
              </a:ext>
            </a:extLst>
          </p:cNvPr>
          <p:cNvSpPr>
            <a:spLocks noGrp="1"/>
          </p:cNvSpPr>
          <p:nvPr>
            <p:ph type="body" sz="quarter" idx="38" hasCustomPrompt="1"/>
          </p:nvPr>
        </p:nvSpPr>
        <p:spPr>
          <a:xfrm>
            <a:off x="5573980" y="5659407"/>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4</a:t>
            </a:r>
          </a:p>
        </p:txBody>
      </p:sp>
      <p:sp>
        <p:nvSpPr>
          <p:cNvPr id="47" name="Content Placeholder 11">
            <a:extLst>
              <a:ext uri="{FF2B5EF4-FFF2-40B4-BE49-F238E27FC236}">
                <a16:creationId xmlns:a16="http://schemas.microsoft.com/office/drawing/2014/main" id="{FBA24696-66EA-D1CE-2C39-C4F477808061}"/>
              </a:ext>
            </a:extLst>
          </p:cNvPr>
          <p:cNvSpPr>
            <a:spLocks noGrp="1"/>
          </p:cNvSpPr>
          <p:nvPr>
            <p:ph sz="quarter" idx="39"/>
          </p:nvPr>
        </p:nvSpPr>
        <p:spPr>
          <a:xfrm>
            <a:off x="5636648" y="5584401"/>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51" name="Content Placeholder 96">
            <a:extLst>
              <a:ext uri="{FF2B5EF4-FFF2-40B4-BE49-F238E27FC236}">
                <a16:creationId xmlns:a16="http://schemas.microsoft.com/office/drawing/2014/main" id="{5501C2A1-8D94-B3D2-4EAF-3FF1C258AE1F}"/>
              </a:ext>
            </a:extLst>
          </p:cNvPr>
          <p:cNvSpPr>
            <a:spLocks noGrp="1"/>
          </p:cNvSpPr>
          <p:nvPr>
            <p:ph sz="quarter" idx="40" hasCustomPrompt="1"/>
          </p:nvPr>
        </p:nvSpPr>
        <p:spPr>
          <a:xfrm>
            <a:off x="8576895" y="3826105"/>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7</a:t>
            </a:r>
          </a:p>
        </p:txBody>
      </p:sp>
      <p:sp>
        <p:nvSpPr>
          <p:cNvPr id="52" name="Text Placeholder 102">
            <a:extLst>
              <a:ext uri="{FF2B5EF4-FFF2-40B4-BE49-F238E27FC236}">
                <a16:creationId xmlns:a16="http://schemas.microsoft.com/office/drawing/2014/main" id="{1A7E364D-244B-1175-2641-CBB84A1FC874}"/>
              </a:ext>
            </a:extLst>
          </p:cNvPr>
          <p:cNvSpPr>
            <a:spLocks noGrp="1"/>
          </p:cNvSpPr>
          <p:nvPr>
            <p:ph type="body" sz="quarter" idx="41" hasCustomPrompt="1"/>
          </p:nvPr>
        </p:nvSpPr>
        <p:spPr>
          <a:xfrm>
            <a:off x="8576895" y="4254553"/>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7</a:t>
            </a:r>
          </a:p>
        </p:txBody>
      </p:sp>
      <p:sp>
        <p:nvSpPr>
          <p:cNvPr id="53" name="Content Placeholder 11">
            <a:extLst>
              <a:ext uri="{FF2B5EF4-FFF2-40B4-BE49-F238E27FC236}">
                <a16:creationId xmlns:a16="http://schemas.microsoft.com/office/drawing/2014/main" id="{B3BCD9ED-0597-534C-2DDB-31BE4D63BADB}"/>
              </a:ext>
            </a:extLst>
          </p:cNvPr>
          <p:cNvSpPr>
            <a:spLocks noGrp="1"/>
          </p:cNvSpPr>
          <p:nvPr>
            <p:ph sz="quarter" idx="42"/>
          </p:nvPr>
        </p:nvSpPr>
        <p:spPr>
          <a:xfrm>
            <a:off x="8639563" y="4179547"/>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pic>
        <p:nvPicPr>
          <p:cNvPr id="2" name="Picture 1" descr="Shape&#10;&#10;Description automatically generated">
            <a:extLst>
              <a:ext uri="{FF2B5EF4-FFF2-40B4-BE49-F238E27FC236}">
                <a16:creationId xmlns:a16="http://schemas.microsoft.com/office/drawing/2014/main" id="{6B27F7D5-3EBF-F1D2-374C-6A01B5CD87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505606" cy="6858000"/>
          </a:xfrm>
          <a:prstGeom prst="rect">
            <a:avLst/>
          </a:prstGeom>
        </p:spPr>
      </p:pic>
      <p:sp>
        <p:nvSpPr>
          <p:cNvPr id="4" name="Vertical Text Placeholder 3">
            <a:extLst>
              <a:ext uri="{FF2B5EF4-FFF2-40B4-BE49-F238E27FC236}">
                <a16:creationId xmlns:a16="http://schemas.microsoft.com/office/drawing/2014/main" id="{E8F38726-F6A0-9C97-4A7E-52F1E7FE56F3}"/>
              </a:ext>
            </a:extLst>
          </p:cNvPr>
          <p:cNvSpPr>
            <a:spLocks noGrp="1"/>
          </p:cNvSpPr>
          <p:nvPr>
            <p:ph type="body" orient="vert" sz="quarter" idx="43" hasCustomPrompt="1"/>
          </p:nvPr>
        </p:nvSpPr>
        <p:spPr>
          <a:xfrm rot="10800000">
            <a:off x="3772447" y="2133600"/>
            <a:ext cx="733158" cy="4017346"/>
          </a:xfrm>
          <a:prstGeom prst="rect">
            <a:avLst/>
          </a:prstGeom>
        </p:spPr>
        <p:txBody>
          <a:bodyPr vert="eaVert">
            <a:noAutofit/>
          </a:bodyPr>
          <a:lstStyle>
            <a:lvl1pPr marL="0" indent="0">
              <a:buNone/>
              <a:defRPr sz="5400" b="1" i="0">
                <a:latin typeface="Segoe UI Semibold" panose="020B0502040204020203" pitchFamily="34" charset="0"/>
                <a:cs typeface="Segoe UI Semibold" panose="020B0502040204020203" pitchFamily="34" charset="0"/>
              </a:defRPr>
            </a:lvl1pPr>
          </a:lstStyle>
          <a:p>
            <a:pPr lvl="0"/>
            <a:r>
              <a:rPr lang="en-US"/>
              <a:t>CONTENTS</a:t>
            </a:r>
          </a:p>
        </p:txBody>
      </p:sp>
    </p:spTree>
    <p:extLst>
      <p:ext uri="{BB962C8B-B14F-4D97-AF65-F5344CB8AC3E}">
        <p14:creationId xmlns:p14="http://schemas.microsoft.com/office/powerpoint/2010/main" val="201343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Agenda slide">
    <p:bg>
      <p:bgPr>
        <a:solidFill>
          <a:srgbClr val="FDFDFD"/>
        </a:solidFill>
        <a:effectLst/>
      </p:bgPr>
    </p:bg>
    <p:spTree>
      <p:nvGrpSpPr>
        <p:cNvPr id="1" name=""/>
        <p:cNvGrpSpPr/>
        <p:nvPr/>
      </p:nvGrpSpPr>
      <p:grpSpPr>
        <a:xfrm>
          <a:off x="0" y="0"/>
          <a:ext cx="0" cy="0"/>
          <a:chOff x="0" y="0"/>
          <a:chExt cx="0" cy="0"/>
        </a:xfrm>
      </p:grpSpPr>
      <p:pic>
        <p:nvPicPr>
          <p:cNvPr id="11" name="Picture 10" descr="Shape&#10;&#10;Description automatically generated">
            <a:extLst>
              <a:ext uri="{FF2B5EF4-FFF2-40B4-BE49-F238E27FC236}">
                <a16:creationId xmlns:a16="http://schemas.microsoft.com/office/drawing/2014/main" id="{CDB43AB4-7B8C-719C-BE05-5DF84B3CF2D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0800000">
            <a:off x="8933688" y="0"/>
            <a:ext cx="3258312" cy="6858000"/>
          </a:xfrm>
          <a:prstGeom prst="rect">
            <a:avLst/>
          </a:prstGeom>
        </p:spPr>
      </p:pic>
      <p:sp>
        <p:nvSpPr>
          <p:cNvPr id="20" name="Content Placeholder 96">
            <a:extLst>
              <a:ext uri="{FF2B5EF4-FFF2-40B4-BE49-F238E27FC236}">
                <a16:creationId xmlns:a16="http://schemas.microsoft.com/office/drawing/2014/main" id="{ADAB44E4-3C80-C67C-EF97-F8499CD2156F}"/>
              </a:ext>
            </a:extLst>
          </p:cNvPr>
          <p:cNvSpPr>
            <a:spLocks noGrp="1"/>
          </p:cNvSpPr>
          <p:nvPr>
            <p:ph sz="quarter" idx="21" hasCustomPrompt="1"/>
          </p:nvPr>
        </p:nvSpPr>
        <p:spPr>
          <a:xfrm>
            <a:off x="6276213" y="2052085"/>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6</a:t>
            </a:r>
          </a:p>
        </p:txBody>
      </p:sp>
      <p:sp>
        <p:nvSpPr>
          <p:cNvPr id="22" name="Text Placeholder 102">
            <a:extLst>
              <a:ext uri="{FF2B5EF4-FFF2-40B4-BE49-F238E27FC236}">
                <a16:creationId xmlns:a16="http://schemas.microsoft.com/office/drawing/2014/main" id="{79BB9C92-3336-D58E-A2E3-AB3D76B935A0}"/>
              </a:ext>
            </a:extLst>
          </p:cNvPr>
          <p:cNvSpPr>
            <a:spLocks noGrp="1"/>
          </p:cNvSpPr>
          <p:nvPr>
            <p:ph type="body" sz="quarter" idx="22" hasCustomPrompt="1"/>
          </p:nvPr>
        </p:nvSpPr>
        <p:spPr>
          <a:xfrm>
            <a:off x="6276213" y="2480533"/>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6</a:t>
            </a:r>
          </a:p>
        </p:txBody>
      </p:sp>
      <p:sp>
        <p:nvSpPr>
          <p:cNvPr id="25" name="Text Placeholder 24">
            <a:extLst>
              <a:ext uri="{FF2B5EF4-FFF2-40B4-BE49-F238E27FC236}">
                <a16:creationId xmlns:a16="http://schemas.microsoft.com/office/drawing/2014/main" id="{B3C6EEC4-B06F-EDB8-6122-71F573B2A1D4}"/>
              </a:ext>
            </a:extLst>
          </p:cNvPr>
          <p:cNvSpPr>
            <a:spLocks noGrp="1"/>
          </p:cNvSpPr>
          <p:nvPr>
            <p:ph type="body" sz="quarter" idx="23" hasCustomPrompt="1"/>
          </p:nvPr>
        </p:nvSpPr>
        <p:spPr>
          <a:xfrm>
            <a:off x="635035" y="647231"/>
            <a:ext cx="1803365" cy="338554"/>
          </a:xfrm>
          <a:prstGeom prst="rect">
            <a:avLst/>
          </a:prstGeom>
        </p:spPr>
        <p:txBody>
          <a:bodyPr>
            <a:noAutofit/>
          </a:bodyPr>
          <a:lstStyle>
            <a:lvl1pPr marL="0" indent="0">
              <a:buNone/>
              <a:defRPr sz="3600" b="1" i="0">
                <a:solidFill>
                  <a:schemeClr val="tx1"/>
                </a:solidFill>
                <a:latin typeface="Segoe UI Semibold" panose="020B0502040204020203" pitchFamily="34" charset="0"/>
                <a:cs typeface="Segoe UI Semibold" panose="020B0502040204020203" pitchFamily="34" charset="0"/>
              </a:defRPr>
            </a:lvl1pPr>
          </a:lstStyle>
          <a:p>
            <a:pPr lvl="0"/>
            <a:r>
              <a:rPr lang="en-US"/>
              <a:t>Agenda</a:t>
            </a:r>
          </a:p>
        </p:txBody>
      </p:sp>
      <p:sp>
        <p:nvSpPr>
          <p:cNvPr id="12" name="Content Placeholder 11">
            <a:extLst>
              <a:ext uri="{FF2B5EF4-FFF2-40B4-BE49-F238E27FC236}">
                <a16:creationId xmlns:a16="http://schemas.microsoft.com/office/drawing/2014/main" id="{2EC32F9F-DA05-D8F0-9EF1-06A12FC8083E}"/>
              </a:ext>
            </a:extLst>
          </p:cNvPr>
          <p:cNvSpPr>
            <a:spLocks noGrp="1"/>
          </p:cNvSpPr>
          <p:nvPr>
            <p:ph sz="quarter" idx="24"/>
          </p:nvPr>
        </p:nvSpPr>
        <p:spPr>
          <a:xfrm>
            <a:off x="6338881" y="2422945"/>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27" name="Content Placeholder 96">
            <a:extLst>
              <a:ext uri="{FF2B5EF4-FFF2-40B4-BE49-F238E27FC236}">
                <a16:creationId xmlns:a16="http://schemas.microsoft.com/office/drawing/2014/main" id="{78398FAE-4BD4-A49B-CD17-9D094754DF3C}"/>
              </a:ext>
            </a:extLst>
          </p:cNvPr>
          <p:cNvSpPr>
            <a:spLocks noGrp="1"/>
          </p:cNvSpPr>
          <p:nvPr>
            <p:ph sz="quarter" idx="25" hasCustomPrompt="1"/>
          </p:nvPr>
        </p:nvSpPr>
        <p:spPr>
          <a:xfrm>
            <a:off x="6273394" y="647231"/>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5</a:t>
            </a:r>
          </a:p>
        </p:txBody>
      </p:sp>
      <p:sp>
        <p:nvSpPr>
          <p:cNvPr id="28" name="Text Placeholder 102">
            <a:extLst>
              <a:ext uri="{FF2B5EF4-FFF2-40B4-BE49-F238E27FC236}">
                <a16:creationId xmlns:a16="http://schemas.microsoft.com/office/drawing/2014/main" id="{01980AB6-0C20-DB72-917E-013E24F0B04A}"/>
              </a:ext>
            </a:extLst>
          </p:cNvPr>
          <p:cNvSpPr>
            <a:spLocks noGrp="1"/>
          </p:cNvSpPr>
          <p:nvPr>
            <p:ph type="body" sz="quarter" idx="26" hasCustomPrompt="1"/>
          </p:nvPr>
        </p:nvSpPr>
        <p:spPr>
          <a:xfrm>
            <a:off x="6273394" y="1075679"/>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5</a:t>
            </a:r>
          </a:p>
        </p:txBody>
      </p:sp>
      <p:sp>
        <p:nvSpPr>
          <p:cNvPr id="29" name="Content Placeholder 11">
            <a:extLst>
              <a:ext uri="{FF2B5EF4-FFF2-40B4-BE49-F238E27FC236}">
                <a16:creationId xmlns:a16="http://schemas.microsoft.com/office/drawing/2014/main" id="{8A342A92-251D-6829-C9EF-8C6E272FDFDA}"/>
              </a:ext>
            </a:extLst>
          </p:cNvPr>
          <p:cNvSpPr>
            <a:spLocks noGrp="1"/>
          </p:cNvSpPr>
          <p:nvPr>
            <p:ph sz="quarter" idx="27"/>
          </p:nvPr>
        </p:nvSpPr>
        <p:spPr>
          <a:xfrm>
            <a:off x="6336062" y="1018091"/>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30" name="Content Placeholder 96">
            <a:extLst>
              <a:ext uri="{FF2B5EF4-FFF2-40B4-BE49-F238E27FC236}">
                <a16:creationId xmlns:a16="http://schemas.microsoft.com/office/drawing/2014/main" id="{B5CE9E84-43F2-579D-FB33-880D1BC920E4}"/>
              </a:ext>
            </a:extLst>
          </p:cNvPr>
          <p:cNvSpPr>
            <a:spLocks noGrp="1"/>
          </p:cNvSpPr>
          <p:nvPr>
            <p:ph sz="quarter" idx="28" hasCustomPrompt="1"/>
          </p:nvPr>
        </p:nvSpPr>
        <p:spPr>
          <a:xfrm>
            <a:off x="3267660" y="647231"/>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1</a:t>
            </a:r>
          </a:p>
        </p:txBody>
      </p:sp>
      <p:sp>
        <p:nvSpPr>
          <p:cNvPr id="31" name="Text Placeholder 102">
            <a:extLst>
              <a:ext uri="{FF2B5EF4-FFF2-40B4-BE49-F238E27FC236}">
                <a16:creationId xmlns:a16="http://schemas.microsoft.com/office/drawing/2014/main" id="{160C76D9-6EF2-5178-36DB-F4A87DDB4019}"/>
              </a:ext>
            </a:extLst>
          </p:cNvPr>
          <p:cNvSpPr>
            <a:spLocks noGrp="1"/>
          </p:cNvSpPr>
          <p:nvPr>
            <p:ph type="body" sz="quarter" idx="29" hasCustomPrompt="1"/>
          </p:nvPr>
        </p:nvSpPr>
        <p:spPr>
          <a:xfrm>
            <a:off x="3267660" y="1075679"/>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1</a:t>
            </a:r>
          </a:p>
        </p:txBody>
      </p:sp>
      <p:sp>
        <p:nvSpPr>
          <p:cNvPr id="32" name="Content Placeholder 11">
            <a:extLst>
              <a:ext uri="{FF2B5EF4-FFF2-40B4-BE49-F238E27FC236}">
                <a16:creationId xmlns:a16="http://schemas.microsoft.com/office/drawing/2014/main" id="{F7B0C2AA-9D35-6437-0660-87323E3B1792}"/>
              </a:ext>
            </a:extLst>
          </p:cNvPr>
          <p:cNvSpPr>
            <a:spLocks noGrp="1"/>
          </p:cNvSpPr>
          <p:nvPr>
            <p:ph sz="quarter" idx="30"/>
          </p:nvPr>
        </p:nvSpPr>
        <p:spPr>
          <a:xfrm>
            <a:off x="3330328" y="1018091"/>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33" name="Content Placeholder 96">
            <a:extLst>
              <a:ext uri="{FF2B5EF4-FFF2-40B4-BE49-F238E27FC236}">
                <a16:creationId xmlns:a16="http://schemas.microsoft.com/office/drawing/2014/main" id="{A89423B4-ACAB-A459-E4E9-CAEF8ECE48AD}"/>
              </a:ext>
            </a:extLst>
          </p:cNvPr>
          <p:cNvSpPr>
            <a:spLocks noGrp="1"/>
          </p:cNvSpPr>
          <p:nvPr>
            <p:ph sz="quarter" idx="31" hasCustomPrompt="1"/>
          </p:nvPr>
        </p:nvSpPr>
        <p:spPr>
          <a:xfrm>
            <a:off x="3267660" y="2052085"/>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2</a:t>
            </a:r>
          </a:p>
        </p:txBody>
      </p:sp>
      <p:sp>
        <p:nvSpPr>
          <p:cNvPr id="34" name="Text Placeholder 102">
            <a:extLst>
              <a:ext uri="{FF2B5EF4-FFF2-40B4-BE49-F238E27FC236}">
                <a16:creationId xmlns:a16="http://schemas.microsoft.com/office/drawing/2014/main" id="{1B5FA551-AA32-51AC-CBCE-283E50DBDD83}"/>
              </a:ext>
            </a:extLst>
          </p:cNvPr>
          <p:cNvSpPr>
            <a:spLocks noGrp="1"/>
          </p:cNvSpPr>
          <p:nvPr>
            <p:ph type="body" sz="quarter" idx="32" hasCustomPrompt="1"/>
          </p:nvPr>
        </p:nvSpPr>
        <p:spPr>
          <a:xfrm>
            <a:off x="3267660" y="2480533"/>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6</a:t>
            </a:r>
          </a:p>
        </p:txBody>
      </p:sp>
      <p:sp>
        <p:nvSpPr>
          <p:cNvPr id="35" name="Content Placeholder 11">
            <a:extLst>
              <a:ext uri="{FF2B5EF4-FFF2-40B4-BE49-F238E27FC236}">
                <a16:creationId xmlns:a16="http://schemas.microsoft.com/office/drawing/2014/main" id="{0F84AE03-5499-1A27-0C79-E31A5C600FFA}"/>
              </a:ext>
            </a:extLst>
          </p:cNvPr>
          <p:cNvSpPr>
            <a:spLocks noGrp="1"/>
          </p:cNvSpPr>
          <p:nvPr>
            <p:ph sz="quarter" idx="33"/>
          </p:nvPr>
        </p:nvSpPr>
        <p:spPr>
          <a:xfrm>
            <a:off x="3330328" y="2422945"/>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42" name="Content Placeholder 96">
            <a:extLst>
              <a:ext uri="{FF2B5EF4-FFF2-40B4-BE49-F238E27FC236}">
                <a16:creationId xmlns:a16="http://schemas.microsoft.com/office/drawing/2014/main" id="{9034F26E-F07A-2E20-5DE4-0991D5E69EFC}"/>
              </a:ext>
            </a:extLst>
          </p:cNvPr>
          <p:cNvSpPr>
            <a:spLocks noGrp="1"/>
          </p:cNvSpPr>
          <p:nvPr>
            <p:ph sz="quarter" idx="34" hasCustomPrompt="1"/>
          </p:nvPr>
        </p:nvSpPr>
        <p:spPr>
          <a:xfrm>
            <a:off x="3267660" y="3432102"/>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3</a:t>
            </a:r>
          </a:p>
        </p:txBody>
      </p:sp>
      <p:sp>
        <p:nvSpPr>
          <p:cNvPr id="43" name="Text Placeholder 102">
            <a:extLst>
              <a:ext uri="{FF2B5EF4-FFF2-40B4-BE49-F238E27FC236}">
                <a16:creationId xmlns:a16="http://schemas.microsoft.com/office/drawing/2014/main" id="{5DD7AC03-A38A-3672-D6D5-8CAB420DE959}"/>
              </a:ext>
            </a:extLst>
          </p:cNvPr>
          <p:cNvSpPr>
            <a:spLocks noGrp="1"/>
          </p:cNvSpPr>
          <p:nvPr>
            <p:ph type="body" sz="quarter" idx="35" hasCustomPrompt="1"/>
          </p:nvPr>
        </p:nvSpPr>
        <p:spPr>
          <a:xfrm>
            <a:off x="3267660" y="3860550"/>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3</a:t>
            </a:r>
          </a:p>
        </p:txBody>
      </p:sp>
      <p:sp>
        <p:nvSpPr>
          <p:cNvPr id="44" name="Content Placeholder 11">
            <a:extLst>
              <a:ext uri="{FF2B5EF4-FFF2-40B4-BE49-F238E27FC236}">
                <a16:creationId xmlns:a16="http://schemas.microsoft.com/office/drawing/2014/main" id="{A8849203-D983-08BB-6923-223F4B93A337}"/>
              </a:ext>
            </a:extLst>
          </p:cNvPr>
          <p:cNvSpPr>
            <a:spLocks noGrp="1"/>
          </p:cNvSpPr>
          <p:nvPr>
            <p:ph sz="quarter" idx="36"/>
          </p:nvPr>
        </p:nvSpPr>
        <p:spPr>
          <a:xfrm>
            <a:off x="3330328" y="3802962"/>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45" name="Content Placeholder 96">
            <a:extLst>
              <a:ext uri="{FF2B5EF4-FFF2-40B4-BE49-F238E27FC236}">
                <a16:creationId xmlns:a16="http://schemas.microsoft.com/office/drawing/2014/main" id="{E4982BD0-91D6-D4B2-6AD2-89E3D3301468}"/>
              </a:ext>
            </a:extLst>
          </p:cNvPr>
          <p:cNvSpPr>
            <a:spLocks noGrp="1"/>
          </p:cNvSpPr>
          <p:nvPr>
            <p:ph sz="quarter" idx="37" hasCustomPrompt="1"/>
          </p:nvPr>
        </p:nvSpPr>
        <p:spPr>
          <a:xfrm>
            <a:off x="3267660" y="4836956"/>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4</a:t>
            </a:r>
          </a:p>
        </p:txBody>
      </p:sp>
      <p:sp>
        <p:nvSpPr>
          <p:cNvPr id="46" name="Text Placeholder 102">
            <a:extLst>
              <a:ext uri="{FF2B5EF4-FFF2-40B4-BE49-F238E27FC236}">
                <a16:creationId xmlns:a16="http://schemas.microsoft.com/office/drawing/2014/main" id="{C7134A6A-3C36-673F-2C0D-3C754F15D8BD}"/>
              </a:ext>
            </a:extLst>
          </p:cNvPr>
          <p:cNvSpPr>
            <a:spLocks noGrp="1"/>
          </p:cNvSpPr>
          <p:nvPr>
            <p:ph type="body" sz="quarter" idx="38" hasCustomPrompt="1"/>
          </p:nvPr>
        </p:nvSpPr>
        <p:spPr>
          <a:xfrm>
            <a:off x="3267660" y="5265404"/>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4</a:t>
            </a:r>
          </a:p>
        </p:txBody>
      </p:sp>
      <p:sp>
        <p:nvSpPr>
          <p:cNvPr id="47" name="Content Placeholder 11">
            <a:extLst>
              <a:ext uri="{FF2B5EF4-FFF2-40B4-BE49-F238E27FC236}">
                <a16:creationId xmlns:a16="http://schemas.microsoft.com/office/drawing/2014/main" id="{FBA24696-66EA-D1CE-2C39-C4F477808061}"/>
              </a:ext>
            </a:extLst>
          </p:cNvPr>
          <p:cNvSpPr>
            <a:spLocks noGrp="1"/>
          </p:cNvSpPr>
          <p:nvPr>
            <p:ph sz="quarter" idx="39"/>
          </p:nvPr>
        </p:nvSpPr>
        <p:spPr>
          <a:xfrm>
            <a:off x="3330328" y="5207816"/>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
        <p:nvSpPr>
          <p:cNvPr id="51" name="Content Placeholder 96">
            <a:extLst>
              <a:ext uri="{FF2B5EF4-FFF2-40B4-BE49-F238E27FC236}">
                <a16:creationId xmlns:a16="http://schemas.microsoft.com/office/drawing/2014/main" id="{5501C2A1-8D94-B3D2-4EAF-3FF1C258AE1F}"/>
              </a:ext>
            </a:extLst>
          </p:cNvPr>
          <p:cNvSpPr>
            <a:spLocks noGrp="1"/>
          </p:cNvSpPr>
          <p:nvPr>
            <p:ph sz="quarter" idx="40" hasCustomPrompt="1"/>
          </p:nvPr>
        </p:nvSpPr>
        <p:spPr>
          <a:xfrm>
            <a:off x="6270575" y="3432102"/>
            <a:ext cx="559039" cy="338554"/>
          </a:xfrm>
          <a:prstGeom prst="rect">
            <a:avLst/>
          </a:prstGeom>
        </p:spPr>
        <p:txBody>
          <a:bodyPr>
            <a:noAutofit/>
          </a:bodyPr>
          <a:lstStyle>
            <a:lvl1pPr marL="0" indent="0">
              <a:buNone/>
              <a:defRPr sz="2000" b="1" i="0">
                <a:latin typeface="Segoe UI Semibold" panose="020B0502040204020203" pitchFamily="34" charset="0"/>
                <a:cs typeface="Segoe UI Semibold" panose="020B0502040204020203" pitchFamily="34" charset="0"/>
              </a:defRPr>
            </a:lvl1pPr>
          </a:lstStyle>
          <a:p>
            <a:pPr lvl="0"/>
            <a:r>
              <a:rPr lang="en-US"/>
              <a:t>07</a:t>
            </a:r>
          </a:p>
        </p:txBody>
      </p:sp>
      <p:sp>
        <p:nvSpPr>
          <p:cNvPr id="52" name="Text Placeholder 102">
            <a:extLst>
              <a:ext uri="{FF2B5EF4-FFF2-40B4-BE49-F238E27FC236}">
                <a16:creationId xmlns:a16="http://schemas.microsoft.com/office/drawing/2014/main" id="{1A7E364D-244B-1175-2641-CBB84A1FC874}"/>
              </a:ext>
            </a:extLst>
          </p:cNvPr>
          <p:cNvSpPr>
            <a:spLocks noGrp="1"/>
          </p:cNvSpPr>
          <p:nvPr>
            <p:ph type="body" sz="quarter" idx="41" hasCustomPrompt="1"/>
          </p:nvPr>
        </p:nvSpPr>
        <p:spPr>
          <a:xfrm>
            <a:off x="6270575" y="3860550"/>
            <a:ext cx="2258469" cy="491539"/>
          </a:xfrm>
          <a:prstGeom prst="rect">
            <a:avLst/>
          </a:prstGeom>
        </p:spPr>
        <p:txBody>
          <a:bodyPr>
            <a:normAutofit/>
          </a:bodyPr>
          <a:lstStyle>
            <a:lvl1pPr marL="0" indent="0">
              <a:buNone/>
              <a:defRPr sz="1400">
                <a:solidFill>
                  <a:schemeClr val="bg1">
                    <a:lumMod val="50000"/>
                  </a:schemeClr>
                </a:solidFill>
              </a:defRPr>
            </a:lvl1pPr>
          </a:lstStyle>
          <a:p>
            <a:pPr lvl="0"/>
            <a:r>
              <a:rPr lang="en-US"/>
              <a:t>Agenda item 7</a:t>
            </a:r>
          </a:p>
        </p:txBody>
      </p:sp>
      <p:sp>
        <p:nvSpPr>
          <p:cNvPr id="53" name="Content Placeholder 11">
            <a:extLst>
              <a:ext uri="{FF2B5EF4-FFF2-40B4-BE49-F238E27FC236}">
                <a16:creationId xmlns:a16="http://schemas.microsoft.com/office/drawing/2014/main" id="{B3BCD9ED-0597-534C-2DDB-31BE4D63BADB}"/>
              </a:ext>
            </a:extLst>
          </p:cNvPr>
          <p:cNvSpPr>
            <a:spLocks noGrp="1"/>
          </p:cNvSpPr>
          <p:nvPr>
            <p:ph sz="quarter" idx="42"/>
          </p:nvPr>
        </p:nvSpPr>
        <p:spPr>
          <a:xfrm>
            <a:off x="6333243" y="3802962"/>
            <a:ext cx="2286000" cy="9144"/>
          </a:xfrm>
          <a:prstGeom prst="rect">
            <a:avLst/>
          </a:prstGeom>
          <a:solidFill>
            <a:schemeClr val="accent1"/>
          </a:solidFill>
          <a:ln w="0">
            <a:noFill/>
          </a:ln>
        </p:spPr>
        <p:txBody>
          <a:bodyPr>
            <a:noAutofit/>
          </a:bodyPr>
          <a:lstStyle>
            <a:lvl1pPr marL="0" indent="0">
              <a:buNone/>
              <a:defRPr sz="100">
                <a:noFill/>
              </a:defRPr>
            </a:lvl1pPr>
          </a:lstStyle>
          <a:p>
            <a:pPr lvl="0"/>
            <a:endParaRPr lang="en-US"/>
          </a:p>
        </p:txBody>
      </p:sp>
    </p:spTree>
    <p:extLst>
      <p:ext uri="{BB962C8B-B14F-4D97-AF65-F5344CB8AC3E}">
        <p14:creationId xmlns:p14="http://schemas.microsoft.com/office/powerpoint/2010/main" val="174767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Section title slide">
    <p:bg>
      <p:bgPr>
        <a:solidFill>
          <a:schemeClr val="bg1"/>
        </a:solidFill>
        <a:effectLst/>
      </p:bgPr>
    </p:bg>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A2ADDE53-316E-F6CF-454D-6E35CF8E8F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07779" y="0"/>
            <a:ext cx="9084221" cy="6858000"/>
          </a:xfrm>
          <a:prstGeom prst="rect">
            <a:avLst/>
          </a:prstGeom>
        </p:spPr>
      </p:pic>
      <p:sp>
        <p:nvSpPr>
          <p:cNvPr id="16" name="Text Placeholder 15">
            <a:extLst>
              <a:ext uri="{FF2B5EF4-FFF2-40B4-BE49-F238E27FC236}">
                <a16:creationId xmlns:a16="http://schemas.microsoft.com/office/drawing/2014/main" id="{7C33432F-43D0-81F2-E840-DFAC05649057}"/>
              </a:ext>
            </a:extLst>
          </p:cNvPr>
          <p:cNvSpPr>
            <a:spLocks noGrp="1"/>
          </p:cNvSpPr>
          <p:nvPr>
            <p:ph type="body" sz="quarter" idx="11" hasCustomPrompt="1"/>
          </p:nvPr>
        </p:nvSpPr>
        <p:spPr>
          <a:xfrm>
            <a:off x="602750" y="2729706"/>
            <a:ext cx="6083799" cy="1398587"/>
          </a:xfrm>
          <a:prstGeom prst="rect">
            <a:avLst/>
          </a:prstGeom>
        </p:spPr>
        <p:txBody>
          <a:bodyPr lIns="0" tIns="0" rIns="0" bIns="0">
            <a:normAutofit/>
          </a:bodyPr>
          <a:lstStyle>
            <a:lvl1pPr marL="0" indent="0">
              <a:lnSpc>
                <a:spcPct val="100000"/>
              </a:lnSpc>
              <a:buNone/>
              <a:defRPr sz="3600" b="0" i="0">
                <a:solidFill>
                  <a:schemeClr val="tx1"/>
                </a:solidFill>
                <a:latin typeface="+mj-lt"/>
                <a:cs typeface="Segoe UI Semibold" panose="020B0502040204020203" pitchFamily="34" charset="0"/>
              </a:defRPr>
            </a:lvl1pPr>
          </a:lstStyle>
          <a:p>
            <a:pPr lvl="0"/>
            <a:r>
              <a:rPr lang="en-US"/>
              <a:t>Section title one</a:t>
            </a:r>
          </a:p>
        </p:txBody>
      </p:sp>
    </p:spTree>
    <p:extLst>
      <p:ext uri="{BB962C8B-B14F-4D97-AF65-F5344CB8AC3E}">
        <p14:creationId xmlns:p14="http://schemas.microsoft.com/office/powerpoint/2010/main" val="276686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title slide">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130D67-3C2E-59F4-44C0-B95A915A82FE}"/>
              </a:ext>
            </a:extLst>
          </p:cNvPr>
          <p:cNvSpPr txBox="1"/>
          <p:nvPr userDrawn="1"/>
        </p:nvSpPr>
        <p:spPr>
          <a:xfrm>
            <a:off x="190182" y="680485"/>
            <a:ext cx="3960091" cy="6177516"/>
          </a:xfrm>
          <a:prstGeom prst="rect">
            <a:avLst/>
          </a:prstGeom>
          <a:noFill/>
        </p:spPr>
        <p:txBody>
          <a:bodyPr wrap="square" lIns="0" tIns="0" rIns="0" bIns="0" rtlCol="0" anchor="t">
            <a:noAutofit/>
          </a:bodyPr>
          <a:lstStyle/>
          <a:p>
            <a:pPr algn="l"/>
            <a:endParaRPr lang="en-US" sz="50000" b="1" i="0">
              <a:solidFill>
                <a:srgbClr val="117865"/>
              </a:solidFill>
              <a:latin typeface="Segoe UI" panose="020B0502040204020203" pitchFamily="34" charset="0"/>
              <a:cs typeface="Segoe UI" panose="020B0502040204020203" pitchFamily="34" charset="0"/>
            </a:endParaRPr>
          </a:p>
        </p:txBody>
      </p:sp>
      <p:pic>
        <p:nvPicPr>
          <p:cNvPr id="6" name="Picture 5" descr="Logo, company name&#10;&#10;Description automatically generated">
            <a:extLst>
              <a:ext uri="{FF2B5EF4-FFF2-40B4-BE49-F238E27FC236}">
                <a16:creationId xmlns:a16="http://schemas.microsoft.com/office/drawing/2014/main" id="{A2ADDE53-316E-F6CF-454D-6E35CF8E8F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07779" y="0"/>
            <a:ext cx="9084221" cy="6858000"/>
          </a:xfrm>
          <a:prstGeom prst="rect">
            <a:avLst/>
          </a:prstGeom>
        </p:spPr>
      </p:pic>
      <p:sp>
        <p:nvSpPr>
          <p:cNvPr id="14" name="Text Placeholder 13">
            <a:extLst>
              <a:ext uri="{FF2B5EF4-FFF2-40B4-BE49-F238E27FC236}">
                <a16:creationId xmlns:a16="http://schemas.microsoft.com/office/drawing/2014/main" id="{F94DE99F-FBA4-EF54-AB6C-52421ADB2852}"/>
              </a:ext>
            </a:extLst>
          </p:cNvPr>
          <p:cNvSpPr>
            <a:spLocks noGrp="1"/>
          </p:cNvSpPr>
          <p:nvPr>
            <p:ph type="body" sz="quarter" idx="10" hasCustomPrompt="1"/>
          </p:nvPr>
        </p:nvSpPr>
        <p:spPr>
          <a:xfrm>
            <a:off x="190182" y="1399623"/>
            <a:ext cx="3635375" cy="6176962"/>
          </a:xfrm>
          <a:prstGeom prst="rect">
            <a:avLst/>
          </a:prstGeom>
        </p:spPr>
        <p:txBody>
          <a:bodyPr>
            <a:noAutofit/>
          </a:bodyPr>
          <a:lstStyle>
            <a:lvl1pPr marL="0" indent="0">
              <a:buNone/>
              <a:defRPr sz="50000" b="1" i="0">
                <a:latin typeface="Segoe UI" panose="020B0502040204020203" pitchFamily="34" charset="0"/>
                <a:cs typeface="Segoe UI" panose="020B0502040204020203" pitchFamily="34" charset="0"/>
              </a:defRPr>
            </a:lvl1pPr>
            <a:lvl2pPr>
              <a:defRPr sz="50000"/>
            </a:lvl2pPr>
            <a:lvl3pPr>
              <a:defRPr sz="50000"/>
            </a:lvl3pPr>
            <a:lvl4pPr>
              <a:defRPr sz="50000"/>
            </a:lvl4pPr>
            <a:lvl5pPr>
              <a:defRPr sz="50000"/>
            </a:lvl5pPr>
          </a:lstStyle>
          <a:p>
            <a:pPr lvl="0"/>
            <a:r>
              <a:rPr lang="en-US"/>
              <a:t>1</a:t>
            </a:r>
          </a:p>
        </p:txBody>
      </p:sp>
      <p:sp>
        <p:nvSpPr>
          <p:cNvPr id="16" name="Text Placeholder 15">
            <a:extLst>
              <a:ext uri="{FF2B5EF4-FFF2-40B4-BE49-F238E27FC236}">
                <a16:creationId xmlns:a16="http://schemas.microsoft.com/office/drawing/2014/main" id="{7C33432F-43D0-81F2-E840-DFAC05649057}"/>
              </a:ext>
            </a:extLst>
          </p:cNvPr>
          <p:cNvSpPr>
            <a:spLocks noGrp="1"/>
          </p:cNvSpPr>
          <p:nvPr>
            <p:ph type="body" sz="quarter" idx="11" hasCustomPrompt="1"/>
          </p:nvPr>
        </p:nvSpPr>
        <p:spPr>
          <a:xfrm>
            <a:off x="4150273" y="4747586"/>
            <a:ext cx="5010056" cy="1398587"/>
          </a:xfrm>
          <a:prstGeom prst="rect">
            <a:avLst/>
          </a:prstGeom>
        </p:spPr>
        <p:txBody>
          <a:bodyPr>
            <a:normAutofit/>
          </a:bodyPr>
          <a:lstStyle>
            <a:lvl1pPr marL="0" indent="0">
              <a:buNone/>
              <a:defRPr sz="3600"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one</a:t>
            </a:r>
          </a:p>
        </p:txBody>
      </p:sp>
    </p:spTree>
    <p:extLst>
      <p:ext uri="{BB962C8B-B14F-4D97-AF65-F5344CB8AC3E}">
        <p14:creationId xmlns:p14="http://schemas.microsoft.com/office/powerpoint/2010/main" val="32971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title slide">
    <p:bg>
      <p:bgPr>
        <a:solidFill>
          <a:schemeClr val="bg1"/>
        </a:solidFill>
        <a:effectLst/>
      </p:bgPr>
    </p:bg>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0B027074-CC21-7765-7EBA-C4FEB11FA8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a:stretch/>
        </p:blipFill>
        <p:spPr>
          <a:xfrm>
            <a:off x="1" y="0"/>
            <a:ext cx="12192000" cy="6858000"/>
          </a:xfrm>
          <a:prstGeom prst="rect">
            <a:avLst/>
          </a:prstGeom>
        </p:spPr>
      </p:pic>
      <p:sp>
        <p:nvSpPr>
          <p:cNvPr id="4" name="Text Placeholder 13">
            <a:extLst>
              <a:ext uri="{FF2B5EF4-FFF2-40B4-BE49-F238E27FC236}">
                <a16:creationId xmlns:a16="http://schemas.microsoft.com/office/drawing/2014/main" id="{FFD359E1-CD1F-B62D-4444-0EF8F94E3423}"/>
              </a:ext>
            </a:extLst>
          </p:cNvPr>
          <p:cNvSpPr>
            <a:spLocks noGrp="1"/>
          </p:cNvSpPr>
          <p:nvPr>
            <p:ph type="body" sz="quarter" idx="10" hasCustomPrompt="1"/>
          </p:nvPr>
        </p:nvSpPr>
        <p:spPr>
          <a:xfrm>
            <a:off x="190182" y="1399623"/>
            <a:ext cx="3635375" cy="6176962"/>
          </a:xfrm>
          <a:prstGeom prst="rect">
            <a:avLst/>
          </a:prstGeom>
        </p:spPr>
        <p:txBody>
          <a:bodyPr>
            <a:noAutofit/>
          </a:bodyPr>
          <a:lstStyle>
            <a:lvl1pPr marL="0" indent="0">
              <a:buNone/>
              <a:defRPr sz="50000" b="1" i="0">
                <a:latin typeface="Segoe UI" panose="020B0502040204020203" pitchFamily="34" charset="0"/>
                <a:cs typeface="Segoe UI" panose="020B0502040204020203" pitchFamily="34" charset="0"/>
              </a:defRPr>
            </a:lvl1pPr>
            <a:lvl2pPr>
              <a:defRPr sz="50000"/>
            </a:lvl2pPr>
            <a:lvl3pPr>
              <a:defRPr sz="50000"/>
            </a:lvl3pPr>
            <a:lvl4pPr>
              <a:defRPr sz="50000"/>
            </a:lvl4pPr>
            <a:lvl5pPr>
              <a:defRPr sz="50000"/>
            </a:lvl5pPr>
          </a:lstStyle>
          <a:p>
            <a:pPr lvl="0"/>
            <a:r>
              <a:rPr lang="en-US"/>
              <a:t>2</a:t>
            </a:r>
          </a:p>
        </p:txBody>
      </p:sp>
      <p:sp>
        <p:nvSpPr>
          <p:cNvPr id="5" name="Text Placeholder 15">
            <a:extLst>
              <a:ext uri="{FF2B5EF4-FFF2-40B4-BE49-F238E27FC236}">
                <a16:creationId xmlns:a16="http://schemas.microsoft.com/office/drawing/2014/main" id="{95E90C23-BB92-BB2A-6484-BC8E04797D6D}"/>
              </a:ext>
            </a:extLst>
          </p:cNvPr>
          <p:cNvSpPr>
            <a:spLocks noGrp="1"/>
          </p:cNvSpPr>
          <p:nvPr>
            <p:ph type="body" sz="quarter" idx="11" hasCustomPrompt="1"/>
          </p:nvPr>
        </p:nvSpPr>
        <p:spPr>
          <a:xfrm>
            <a:off x="4150273" y="4747586"/>
            <a:ext cx="5010056" cy="1398587"/>
          </a:xfrm>
          <a:prstGeom prst="rect">
            <a:avLst/>
          </a:prstGeom>
        </p:spPr>
        <p:txBody>
          <a:bodyPr>
            <a:normAutofit/>
          </a:bodyPr>
          <a:lstStyle>
            <a:lvl1pPr marL="0" indent="0">
              <a:buNone/>
              <a:defRPr sz="3600"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two</a:t>
            </a:r>
          </a:p>
        </p:txBody>
      </p:sp>
    </p:spTree>
    <p:extLst>
      <p:ext uri="{BB962C8B-B14F-4D97-AF65-F5344CB8AC3E}">
        <p14:creationId xmlns:p14="http://schemas.microsoft.com/office/powerpoint/2010/main" val="106047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ection title slide">
    <p:bg>
      <p:bgPr>
        <a:solidFill>
          <a:schemeClr val="bg1"/>
        </a:solidFill>
        <a:effectLst/>
      </p:bgPr>
    </p:bg>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8C2E6F81-16E5-082F-C208-9A5F395E85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9"/>
          <a:stretch/>
        </p:blipFill>
        <p:spPr>
          <a:xfrm>
            <a:off x="1" y="0"/>
            <a:ext cx="12191999" cy="6858000"/>
          </a:xfrm>
          <a:prstGeom prst="rect">
            <a:avLst/>
          </a:prstGeom>
        </p:spPr>
      </p:pic>
      <p:sp>
        <p:nvSpPr>
          <p:cNvPr id="4" name="Text Placeholder 13">
            <a:extLst>
              <a:ext uri="{FF2B5EF4-FFF2-40B4-BE49-F238E27FC236}">
                <a16:creationId xmlns:a16="http://schemas.microsoft.com/office/drawing/2014/main" id="{107247C1-B2C3-3254-FB56-10C71FC4BEB5}"/>
              </a:ext>
            </a:extLst>
          </p:cNvPr>
          <p:cNvSpPr>
            <a:spLocks noGrp="1"/>
          </p:cNvSpPr>
          <p:nvPr>
            <p:ph type="body" sz="quarter" idx="10" hasCustomPrompt="1"/>
          </p:nvPr>
        </p:nvSpPr>
        <p:spPr>
          <a:xfrm>
            <a:off x="190182" y="1399623"/>
            <a:ext cx="3635375" cy="6176962"/>
          </a:xfrm>
          <a:prstGeom prst="rect">
            <a:avLst/>
          </a:prstGeom>
        </p:spPr>
        <p:txBody>
          <a:bodyPr>
            <a:noAutofit/>
          </a:bodyPr>
          <a:lstStyle>
            <a:lvl1pPr marL="0" indent="0">
              <a:buNone/>
              <a:defRPr sz="50000" b="1" i="0">
                <a:latin typeface="Segoe UI" panose="020B0502040204020203" pitchFamily="34" charset="0"/>
                <a:cs typeface="Segoe UI" panose="020B0502040204020203" pitchFamily="34" charset="0"/>
              </a:defRPr>
            </a:lvl1pPr>
            <a:lvl2pPr>
              <a:defRPr sz="50000"/>
            </a:lvl2pPr>
            <a:lvl3pPr>
              <a:defRPr sz="50000"/>
            </a:lvl3pPr>
            <a:lvl4pPr>
              <a:defRPr sz="50000"/>
            </a:lvl4pPr>
            <a:lvl5pPr>
              <a:defRPr sz="50000"/>
            </a:lvl5pPr>
          </a:lstStyle>
          <a:p>
            <a:pPr lvl="0"/>
            <a:r>
              <a:rPr lang="en-US"/>
              <a:t>3</a:t>
            </a:r>
          </a:p>
        </p:txBody>
      </p:sp>
      <p:sp>
        <p:nvSpPr>
          <p:cNvPr id="5" name="Text Placeholder 15">
            <a:extLst>
              <a:ext uri="{FF2B5EF4-FFF2-40B4-BE49-F238E27FC236}">
                <a16:creationId xmlns:a16="http://schemas.microsoft.com/office/drawing/2014/main" id="{A556EEAB-15C2-3B4D-EABA-7C95356F3468}"/>
              </a:ext>
            </a:extLst>
          </p:cNvPr>
          <p:cNvSpPr>
            <a:spLocks noGrp="1"/>
          </p:cNvSpPr>
          <p:nvPr>
            <p:ph type="body" sz="quarter" idx="11" hasCustomPrompt="1"/>
          </p:nvPr>
        </p:nvSpPr>
        <p:spPr>
          <a:xfrm>
            <a:off x="4150273" y="4747586"/>
            <a:ext cx="5010056" cy="1398587"/>
          </a:xfrm>
          <a:prstGeom prst="rect">
            <a:avLst/>
          </a:prstGeom>
        </p:spPr>
        <p:txBody>
          <a:bodyPr>
            <a:normAutofit/>
          </a:bodyPr>
          <a:lstStyle>
            <a:lvl1pPr marL="0" indent="0">
              <a:buNone/>
              <a:defRPr sz="3600"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three</a:t>
            </a:r>
          </a:p>
        </p:txBody>
      </p:sp>
    </p:spTree>
    <p:extLst>
      <p:ext uri="{BB962C8B-B14F-4D97-AF65-F5344CB8AC3E}">
        <p14:creationId xmlns:p14="http://schemas.microsoft.com/office/powerpoint/2010/main" val="272383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Section title slide">
    <p:bg>
      <p:bgPr>
        <a:solidFill>
          <a:schemeClr val="bg1"/>
        </a:solidFill>
        <a:effectLst/>
      </p:bgPr>
    </p:bg>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60C7CC05-AE26-000D-1411-A5FBBAEB65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Text Placeholder 13">
            <a:extLst>
              <a:ext uri="{FF2B5EF4-FFF2-40B4-BE49-F238E27FC236}">
                <a16:creationId xmlns:a16="http://schemas.microsoft.com/office/drawing/2014/main" id="{050669BE-DBC3-CB3A-118C-94DE7168BA8A}"/>
              </a:ext>
            </a:extLst>
          </p:cNvPr>
          <p:cNvSpPr>
            <a:spLocks noGrp="1"/>
          </p:cNvSpPr>
          <p:nvPr>
            <p:ph type="body" sz="quarter" idx="10" hasCustomPrompt="1"/>
          </p:nvPr>
        </p:nvSpPr>
        <p:spPr>
          <a:xfrm>
            <a:off x="190182" y="1399623"/>
            <a:ext cx="3635375" cy="6176962"/>
          </a:xfrm>
          <a:prstGeom prst="rect">
            <a:avLst/>
          </a:prstGeom>
        </p:spPr>
        <p:txBody>
          <a:bodyPr>
            <a:noAutofit/>
          </a:bodyPr>
          <a:lstStyle>
            <a:lvl1pPr marL="0" indent="0">
              <a:buNone/>
              <a:defRPr sz="50000" b="1" i="0">
                <a:latin typeface="Segoe UI" panose="020B0502040204020203" pitchFamily="34" charset="0"/>
                <a:cs typeface="Segoe UI" panose="020B0502040204020203" pitchFamily="34" charset="0"/>
              </a:defRPr>
            </a:lvl1pPr>
            <a:lvl2pPr>
              <a:defRPr sz="50000"/>
            </a:lvl2pPr>
            <a:lvl3pPr>
              <a:defRPr sz="50000"/>
            </a:lvl3pPr>
            <a:lvl4pPr>
              <a:defRPr sz="50000"/>
            </a:lvl4pPr>
            <a:lvl5pPr>
              <a:defRPr sz="50000"/>
            </a:lvl5pPr>
          </a:lstStyle>
          <a:p>
            <a:pPr lvl="0"/>
            <a:r>
              <a:rPr lang="en-US"/>
              <a:t>4</a:t>
            </a:r>
          </a:p>
        </p:txBody>
      </p:sp>
      <p:sp>
        <p:nvSpPr>
          <p:cNvPr id="5" name="Text Placeholder 15">
            <a:extLst>
              <a:ext uri="{FF2B5EF4-FFF2-40B4-BE49-F238E27FC236}">
                <a16:creationId xmlns:a16="http://schemas.microsoft.com/office/drawing/2014/main" id="{6B3D4794-EA42-5450-E8D0-24B1037B5E3E}"/>
              </a:ext>
            </a:extLst>
          </p:cNvPr>
          <p:cNvSpPr>
            <a:spLocks noGrp="1"/>
          </p:cNvSpPr>
          <p:nvPr>
            <p:ph type="body" sz="quarter" idx="11" hasCustomPrompt="1"/>
          </p:nvPr>
        </p:nvSpPr>
        <p:spPr>
          <a:xfrm>
            <a:off x="4150273" y="4747586"/>
            <a:ext cx="5010056" cy="1398587"/>
          </a:xfrm>
          <a:prstGeom prst="rect">
            <a:avLst/>
          </a:prstGeom>
        </p:spPr>
        <p:txBody>
          <a:bodyPr>
            <a:normAutofit/>
          </a:bodyPr>
          <a:lstStyle>
            <a:lvl1pPr marL="0" indent="0">
              <a:buNone/>
              <a:defRPr sz="3600"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four</a:t>
            </a:r>
          </a:p>
        </p:txBody>
      </p:sp>
    </p:spTree>
    <p:extLst>
      <p:ext uri="{BB962C8B-B14F-4D97-AF65-F5344CB8AC3E}">
        <p14:creationId xmlns:p14="http://schemas.microsoft.com/office/powerpoint/2010/main" val="2939301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Section title slide">
    <p:bg>
      <p:bgPr>
        <a:solidFill>
          <a:schemeClr val="bg1"/>
        </a:solidFill>
        <a:effectLst/>
      </p:bgPr>
    </p:bg>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17BF2FDF-4934-411A-99F7-2604F3BFE0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438"/>
          <a:stretch/>
        </p:blipFill>
        <p:spPr>
          <a:xfrm>
            <a:off x="1" y="0"/>
            <a:ext cx="12192000" cy="6858000"/>
          </a:xfrm>
          <a:prstGeom prst="rect">
            <a:avLst/>
          </a:prstGeom>
        </p:spPr>
      </p:pic>
      <p:sp>
        <p:nvSpPr>
          <p:cNvPr id="3" name="Text Placeholder 13">
            <a:extLst>
              <a:ext uri="{FF2B5EF4-FFF2-40B4-BE49-F238E27FC236}">
                <a16:creationId xmlns:a16="http://schemas.microsoft.com/office/drawing/2014/main" id="{3CAD0C55-5DC1-ED53-1ADD-9AA666DDB015}"/>
              </a:ext>
            </a:extLst>
          </p:cNvPr>
          <p:cNvSpPr>
            <a:spLocks noGrp="1"/>
          </p:cNvSpPr>
          <p:nvPr>
            <p:ph type="body" sz="quarter" idx="10" hasCustomPrompt="1"/>
          </p:nvPr>
        </p:nvSpPr>
        <p:spPr>
          <a:xfrm>
            <a:off x="190182" y="1399623"/>
            <a:ext cx="3635375" cy="6176962"/>
          </a:xfrm>
          <a:prstGeom prst="rect">
            <a:avLst/>
          </a:prstGeom>
        </p:spPr>
        <p:txBody>
          <a:bodyPr>
            <a:noAutofit/>
          </a:bodyPr>
          <a:lstStyle>
            <a:lvl1pPr marL="0" indent="0">
              <a:buNone/>
              <a:defRPr sz="50000" b="1" i="0">
                <a:latin typeface="Segoe UI" panose="020B0502040204020203" pitchFamily="34" charset="0"/>
                <a:cs typeface="Segoe UI" panose="020B0502040204020203" pitchFamily="34" charset="0"/>
              </a:defRPr>
            </a:lvl1pPr>
            <a:lvl2pPr>
              <a:defRPr sz="50000"/>
            </a:lvl2pPr>
            <a:lvl3pPr>
              <a:defRPr sz="50000"/>
            </a:lvl3pPr>
            <a:lvl4pPr>
              <a:defRPr sz="50000"/>
            </a:lvl4pPr>
            <a:lvl5pPr>
              <a:defRPr sz="50000"/>
            </a:lvl5pPr>
          </a:lstStyle>
          <a:p>
            <a:pPr lvl="0"/>
            <a:r>
              <a:rPr lang="en-US"/>
              <a:t>5</a:t>
            </a:r>
          </a:p>
        </p:txBody>
      </p:sp>
      <p:sp>
        <p:nvSpPr>
          <p:cNvPr id="5" name="Text Placeholder 15">
            <a:extLst>
              <a:ext uri="{FF2B5EF4-FFF2-40B4-BE49-F238E27FC236}">
                <a16:creationId xmlns:a16="http://schemas.microsoft.com/office/drawing/2014/main" id="{72CD92EB-8D2D-5C6B-15F9-293670B2E769}"/>
              </a:ext>
            </a:extLst>
          </p:cNvPr>
          <p:cNvSpPr>
            <a:spLocks noGrp="1"/>
          </p:cNvSpPr>
          <p:nvPr>
            <p:ph type="body" sz="quarter" idx="11" hasCustomPrompt="1"/>
          </p:nvPr>
        </p:nvSpPr>
        <p:spPr>
          <a:xfrm>
            <a:off x="4150273" y="4747586"/>
            <a:ext cx="5010056" cy="1398587"/>
          </a:xfrm>
          <a:prstGeom prst="rect">
            <a:avLst/>
          </a:prstGeom>
        </p:spPr>
        <p:txBody>
          <a:bodyPr>
            <a:normAutofit/>
          </a:bodyPr>
          <a:lstStyle>
            <a:lvl1pPr marL="0" indent="0">
              <a:buNone/>
              <a:defRPr sz="3600" b="1" i="0">
                <a:solidFill>
                  <a:schemeClr val="tx1"/>
                </a:solidFill>
                <a:latin typeface="Segoe UI Semibold" panose="020B0502040204020203" pitchFamily="34" charset="0"/>
                <a:cs typeface="Segoe UI Semibold" panose="020B0502040204020203" pitchFamily="34" charset="0"/>
              </a:defRPr>
            </a:lvl1pPr>
          </a:lstStyle>
          <a:p>
            <a:pPr lvl="0"/>
            <a:r>
              <a:rPr lang="en-US"/>
              <a:t>Section title five</a:t>
            </a:r>
          </a:p>
        </p:txBody>
      </p:sp>
    </p:spTree>
    <p:extLst>
      <p:ext uri="{BB962C8B-B14F-4D97-AF65-F5344CB8AC3E}">
        <p14:creationId xmlns:p14="http://schemas.microsoft.com/office/powerpoint/2010/main" val="3739880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27923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lank Title Slide w/ content_1">
    <p:bg>
      <p:bgPr>
        <a:solidFill>
          <a:schemeClr val="bg1"/>
        </a:solidFill>
        <a:effectLst/>
      </p:bgPr>
    </p:bg>
    <p:spTree>
      <p:nvGrpSpPr>
        <p:cNvPr id="1" name=""/>
        <p:cNvGrpSpPr/>
        <p:nvPr/>
      </p:nvGrpSpPr>
      <p:grpSpPr>
        <a:xfrm>
          <a:off x="0" y="0"/>
          <a:ext cx="0" cy="0"/>
          <a:chOff x="0" y="0"/>
          <a:chExt cx="0" cy="0"/>
        </a:xfrm>
      </p:grpSpPr>
      <p:sp>
        <p:nvSpPr>
          <p:cNvPr id="13" name="Text Placeholder 24">
            <a:extLst>
              <a:ext uri="{FF2B5EF4-FFF2-40B4-BE49-F238E27FC236}">
                <a16:creationId xmlns:a16="http://schemas.microsoft.com/office/drawing/2014/main" id="{B2DB3E49-003A-A0CB-C3E8-B286A13631D4}"/>
              </a:ext>
            </a:extLst>
          </p:cNvPr>
          <p:cNvSpPr>
            <a:spLocks noGrp="1"/>
          </p:cNvSpPr>
          <p:nvPr>
            <p:ph type="body" sz="quarter" idx="23" hasCustomPrompt="1"/>
          </p:nvPr>
        </p:nvSpPr>
        <p:spPr>
          <a:xfrm>
            <a:off x="607808" y="609600"/>
            <a:ext cx="10974592" cy="593740"/>
          </a:xfrm>
          <a:prstGeom prst="rect">
            <a:avLst/>
          </a:prstGeom>
        </p:spPr>
        <p:txBody>
          <a:bodyPr lIns="0" tIns="0" rIns="0" bIns="0">
            <a:noAutofit/>
          </a:bodyPr>
          <a:lstStyle>
            <a:lvl1pPr marL="0" indent="0" algn="l" defTabSz="914400" rtl="0" eaLnBrk="1" latinLnBrk="0" hangingPunct="1">
              <a:lnSpc>
                <a:spcPct val="10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a:t>Page title</a:t>
            </a:r>
          </a:p>
        </p:txBody>
      </p:sp>
      <p:sp>
        <p:nvSpPr>
          <p:cNvPr id="2" name="Footer Placeholder 1">
            <a:extLst>
              <a:ext uri="{FF2B5EF4-FFF2-40B4-BE49-F238E27FC236}">
                <a16:creationId xmlns:a16="http://schemas.microsoft.com/office/drawing/2014/main" id="{72118B99-EDB8-26F6-D931-6B76FBD84D01}"/>
              </a:ext>
            </a:extLst>
          </p:cNvPr>
          <p:cNvSpPr>
            <a:spLocks noGrp="1"/>
          </p:cNvSpPr>
          <p:nvPr>
            <p:ph type="ftr" sz="quarter" idx="24"/>
          </p:nvPr>
        </p:nvSpPr>
        <p:spPr/>
        <p:txBody>
          <a:bodyPr/>
          <a:lstStyle/>
          <a:p>
            <a:r>
              <a:rPr lang="en-US"/>
              <a:t>Microsoft Fabric / Section title</a:t>
            </a:r>
          </a:p>
        </p:txBody>
      </p:sp>
      <p:sp>
        <p:nvSpPr>
          <p:cNvPr id="3" name="Slide Number Placeholder 2">
            <a:extLst>
              <a:ext uri="{FF2B5EF4-FFF2-40B4-BE49-F238E27FC236}">
                <a16:creationId xmlns:a16="http://schemas.microsoft.com/office/drawing/2014/main" id="{322B802A-624A-BC0C-4635-AE7C26664AA9}"/>
              </a:ext>
            </a:extLst>
          </p:cNvPr>
          <p:cNvSpPr>
            <a:spLocks noGrp="1"/>
          </p:cNvSpPr>
          <p:nvPr>
            <p:ph type="sldNum" sz="quarter" idx="2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99842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logo v2">
    <p:spTree>
      <p:nvGrpSpPr>
        <p:cNvPr id="1" name=""/>
        <p:cNvGrpSpPr/>
        <p:nvPr/>
      </p:nvGrpSpPr>
      <p:grpSpPr>
        <a:xfrm>
          <a:off x="0" y="0"/>
          <a:ext cx="0" cy="0"/>
          <a:chOff x="0" y="0"/>
          <a:chExt cx="0" cy="0"/>
        </a:xfrm>
      </p:grpSpPr>
      <p:pic>
        <p:nvPicPr>
          <p:cNvPr id="2" name="Picture 1" descr="A close-up of a green and white book&#10;&#10;Description automatically generated with low confidence">
            <a:extLst>
              <a:ext uri="{FF2B5EF4-FFF2-40B4-BE49-F238E27FC236}">
                <a16:creationId xmlns:a16="http://schemas.microsoft.com/office/drawing/2014/main" id="{1088CF80-C8D2-2E5F-7A63-070400D870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310" t="8820" r="3307" b="11798"/>
          <a:stretch/>
        </p:blipFill>
        <p:spPr>
          <a:xfrm>
            <a:off x="0" y="0"/>
            <a:ext cx="12192000" cy="6858000"/>
          </a:xfrm>
          <a:prstGeom prst="rect">
            <a:avLst/>
          </a:prstGeom>
        </p:spPr>
      </p:pic>
      <p:sp>
        <p:nvSpPr>
          <p:cNvPr id="3" name="Subtitle 2">
            <a:extLst>
              <a:ext uri="{FF2B5EF4-FFF2-40B4-BE49-F238E27FC236}">
                <a16:creationId xmlns:a16="http://schemas.microsoft.com/office/drawing/2014/main" id="{264443BC-506E-7BBC-82EA-B1821B96D97C}"/>
              </a:ext>
            </a:extLst>
          </p:cNvPr>
          <p:cNvSpPr>
            <a:spLocks noGrp="1"/>
          </p:cNvSpPr>
          <p:nvPr>
            <p:ph type="subTitle" idx="1" hasCustomPrompt="1"/>
          </p:nvPr>
        </p:nvSpPr>
        <p:spPr>
          <a:xfrm>
            <a:off x="607809" y="3983157"/>
            <a:ext cx="5674457" cy="365126"/>
          </a:xfrm>
          <a:prstGeom prst="rect">
            <a:avLst/>
          </a:prstGeom>
        </p:spPr>
        <p:txBody>
          <a:bodyPr>
            <a:noAutofit/>
          </a:bodyPr>
          <a:lstStyle>
            <a:lvl1pPr marL="0" indent="0" algn="l">
              <a:buNone/>
              <a:defRPr sz="2200" b="0" i="0">
                <a:solidFill>
                  <a:schemeClr val="accent1"/>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6">
            <a:extLst>
              <a:ext uri="{FF2B5EF4-FFF2-40B4-BE49-F238E27FC236}">
                <a16:creationId xmlns:a16="http://schemas.microsoft.com/office/drawing/2014/main" id="{57AC53FF-589E-1E0B-48A7-8C35A09DDF70}"/>
              </a:ext>
            </a:extLst>
          </p:cNvPr>
          <p:cNvSpPr>
            <a:spLocks noGrp="1"/>
          </p:cNvSpPr>
          <p:nvPr>
            <p:ph type="title" hasCustomPrompt="1"/>
          </p:nvPr>
        </p:nvSpPr>
        <p:spPr>
          <a:xfrm>
            <a:off x="607809" y="3423718"/>
            <a:ext cx="5674457" cy="527045"/>
          </a:xfrm>
          <a:prstGeom prst="rect">
            <a:avLst/>
          </a:prstGeom>
        </p:spPr>
        <p:txBody>
          <a:bodyPr>
            <a:noAutofit/>
          </a:bodyPr>
          <a:lstStyle>
            <a:lvl1pPr algn="l">
              <a:defRPr sz="3800" b="1" i="0">
                <a:solidFill>
                  <a:schemeClr val="tx1"/>
                </a:solidFill>
                <a:latin typeface="Segoe UI Semibold" panose="020B0502040204020203" pitchFamily="34" charset="0"/>
                <a:cs typeface="Segoe UI Semibold" panose="020B0502040204020203" pitchFamily="34" charset="0"/>
              </a:defRPr>
            </a:lvl1pPr>
          </a:lstStyle>
          <a:p>
            <a:r>
              <a:rPr lang="en-US"/>
              <a:t>Master slide title</a:t>
            </a:r>
          </a:p>
        </p:txBody>
      </p:sp>
      <p:sp>
        <p:nvSpPr>
          <p:cNvPr id="4" name="Footer Placeholder 3">
            <a:extLst>
              <a:ext uri="{FF2B5EF4-FFF2-40B4-BE49-F238E27FC236}">
                <a16:creationId xmlns:a16="http://schemas.microsoft.com/office/drawing/2014/main" id="{FE3C5A8A-6F88-2284-05F8-5A2C04410647}"/>
              </a:ext>
            </a:extLst>
          </p:cNvPr>
          <p:cNvSpPr>
            <a:spLocks noGrp="1"/>
          </p:cNvSpPr>
          <p:nvPr>
            <p:ph type="ftr" sz="quarter" idx="11"/>
          </p:nvPr>
        </p:nvSpPr>
        <p:spPr/>
        <p:txBody>
          <a:bodyPr/>
          <a:lstStyle/>
          <a:p>
            <a:r>
              <a:rPr lang="en-US" err="1"/>
              <a:t>Micrsoft</a:t>
            </a:r>
            <a:r>
              <a:rPr lang="en-US"/>
              <a:t> Fabric</a:t>
            </a:r>
          </a:p>
        </p:txBody>
      </p:sp>
      <p:sp>
        <p:nvSpPr>
          <p:cNvPr id="5" name="Slide Number Placeholder 4">
            <a:extLst>
              <a:ext uri="{FF2B5EF4-FFF2-40B4-BE49-F238E27FC236}">
                <a16:creationId xmlns:a16="http://schemas.microsoft.com/office/drawing/2014/main" id="{BC4EBC95-BDAF-E77E-9EC2-B1356514D7DB}"/>
              </a:ext>
            </a:extLst>
          </p:cNvPr>
          <p:cNvSpPr>
            <a:spLocks noGrp="1"/>
          </p:cNvSpPr>
          <p:nvPr>
            <p:ph type="sldNum" sz="quarter" idx="12"/>
          </p:nvPr>
        </p:nvSpPr>
        <p:spPr>
          <a:xfrm>
            <a:off x="607809" y="6317268"/>
            <a:ext cx="399288" cy="365125"/>
          </a:xfrm>
        </p:spPr>
        <p:txBody>
          <a:bodyPr/>
          <a:lstStyle/>
          <a:p>
            <a:fld id="{B1356FBF-028C-F74E-A7B4-9B8ED246DD1B}" type="slidenum">
              <a:rPr lang="en-US" smtClean="0"/>
              <a:t>‹#›</a:t>
            </a:fld>
            <a:endParaRPr lang="en-US"/>
          </a:p>
        </p:txBody>
      </p:sp>
      <p:pic>
        <p:nvPicPr>
          <p:cNvPr id="8" name="Picture 4" descr="Logo&#10;&#10;Description automatically generated">
            <a:extLst>
              <a:ext uri="{FF2B5EF4-FFF2-40B4-BE49-F238E27FC236}">
                <a16:creationId xmlns:a16="http://schemas.microsoft.com/office/drawing/2014/main" id="{F9DCAA03-86FD-D844-B922-32A9F332544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2435" y="441960"/>
            <a:ext cx="1671638" cy="702194"/>
          </a:xfrm>
          <a:prstGeom prst="rect">
            <a:avLst/>
          </a:prstGeom>
        </p:spPr>
      </p:pic>
      <p:cxnSp>
        <p:nvCxnSpPr>
          <p:cNvPr id="10" name="Straight Connector 9">
            <a:extLst>
              <a:ext uri="{FF2B5EF4-FFF2-40B4-BE49-F238E27FC236}">
                <a16:creationId xmlns:a16="http://schemas.microsoft.com/office/drawing/2014/main" id="{861497D7-D4A7-7D53-7549-6F0C2AAA0210}"/>
              </a:ext>
            </a:extLst>
          </p:cNvPr>
          <p:cNvCxnSpPr/>
          <p:nvPr userDrawn="1"/>
        </p:nvCxnSpPr>
        <p:spPr>
          <a:xfrm>
            <a:off x="2216315" y="577211"/>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F59A9B6-9D02-BA38-0165-4F3FFF9DFE91}"/>
              </a:ext>
            </a:extLst>
          </p:cNvPr>
          <p:cNvSpPr txBox="1"/>
          <p:nvPr userDrawn="1"/>
        </p:nvSpPr>
        <p:spPr>
          <a:xfrm>
            <a:off x="2328557" y="608391"/>
            <a:ext cx="18760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6666"/>
                </a:solidFill>
                <a:effectLst/>
                <a:uLnTx/>
                <a:uFillTx/>
                <a:latin typeface="Segoe UI Semibold" panose="020B0502040204020203" pitchFamily="34" charset="0"/>
                <a:ea typeface="+mn-ea"/>
                <a:cs typeface="Segoe UI Semibold" panose="020B0502040204020203" pitchFamily="34" charset="0"/>
              </a:rPr>
              <a:t>Microsoft Fabric</a:t>
            </a:r>
          </a:p>
        </p:txBody>
      </p:sp>
    </p:spTree>
    <p:extLst>
      <p:ext uri="{BB962C8B-B14F-4D97-AF65-F5344CB8AC3E}">
        <p14:creationId xmlns:p14="http://schemas.microsoft.com/office/powerpoint/2010/main" val="2318298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nk Title Slide w/ content_1">
    <p:bg>
      <p:bgPr>
        <a:solidFill>
          <a:schemeClr val="bg1"/>
        </a:solid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EF0A9DA5-F5CF-372B-8D03-AC0C47BFBF8B}"/>
              </a:ext>
            </a:extLst>
          </p:cNvPr>
          <p:cNvSpPr>
            <a:spLocks noGrp="1"/>
          </p:cNvSpPr>
          <p:nvPr>
            <p:ph type="subTitle" idx="1" hasCustomPrompt="1"/>
          </p:nvPr>
        </p:nvSpPr>
        <p:spPr>
          <a:xfrm>
            <a:off x="607808" y="1316736"/>
            <a:ext cx="10974592" cy="365126"/>
          </a:xfrm>
          <a:prstGeom prst="rect">
            <a:avLst/>
          </a:prstGeom>
        </p:spPr>
        <p:txBody>
          <a:bodyPr lIns="0" tIns="0" rIns="0" bIns="0">
            <a:noAutofit/>
          </a:bodyPr>
          <a:lstStyle>
            <a:lvl1pPr marL="0" indent="0" algn="l">
              <a:lnSpc>
                <a:spcPct val="100000"/>
              </a:lnSpc>
              <a:buNone/>
              <a:defRPr sz="2200" b="0" i="0">
                <a:solidFill>
                  <a:schemeClr val="accent1"/>
                </a:solidFill>
                <a:latin typeface="+mn-lt"/>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3" name="Text Placeholder 24">
            <a:extLst>
              <a:ext uri="{FF2B5EF4-FFF2-40B4-BE49-F238E27FC236}">
                <a16:creationId xmlns:a16="http://schemas.microsoft.com/office/drawing/2014/main" id="{B2DB3E49-003A-A0CB-C3E8-B286A13631D4}"/>
              </a:ext>
            </a:extLst>
          </p:cNvPr>
          <p:cNvSpPr>
            <a:spLocks noGrp="1"/>
          </p:cNvSpPr>
          <p:nvPr>
            <p:ph type="body" sz="quarter" idx="23" hasCustomPrompt="1"/>
          </p:nvPr>
        </p:nvSpPr>
        <p:spPr>
          <a:xfrm>
            <a:off x="607808" y="609600"/>
            <a:ext cx="10974592" cy="593740"/>
          </a:xfrm>
          <a:prstGeom prst="rect">
            <a:avLst/>
          </a:prstGeom>
        </p:spPr>
        <p:txBody>
          <a:bodyPr lIns="0" tIns="0" rIns="0" bIns="0">
            <a:noAutofit/>
          </a:bodyPr>
          <a:lstStyle>
            <a:lvl1pPr marL="0" indent="0" algn="l" defTabSz="914400" rtl="0" eaLnBrk="1" latinLnBrk="0" hangingPunct="1">
              <a:lnSpc>
                <a:spcPct val="10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a:t>Page title</a:t>
            </a:r>
          </a:p>
        </p:txBody>
      </p:sp>
      <p:sp>
        <p:nvSpPr>
          <p:cNvPr id="2" name="Footer Placeholder 1">
            <a:extLst>
              <a:ext uri="{FF2B5EF4-FFF2-40B4-BE49-F238E27FC236}">
                <a16:creationId xmlns:a16="http://schemas.microsoft.com/office/drawing/2014/main" id="{72118B99-EDB8-26F6-D931-6B76FBD84D01}"/>
              </a:ext>
            </a:extLst>
          </p:cNvPr>
          <p:cNvSpPr>
            <a:spLocks noGrp="1"/>
          </p:cNvSpPr>
          <p:nvPr>
            <p:ph type="ftr" sz="quarter" idx="24"/>
          </p:nvPr>
        </p:nvSpPr>
        <p:spPr/>
        <p:txBody>
          <a:bodyPr/>
          <a:lstStyle/>
          <a:p>
            <a:r>
              <a:rPr lang="en-US"/>
              <a:t>Microsoft Fabric / Section title</a:t>
            </a:r>
          </a:p>
        </p:txBody>
      </p:sp>
      <p:sp>
        <p:nvSpPr>
          <p:cNvPr id="3" name="Slide Number Placeholder 2">
            <a:extLst>
              <a:ext uri="{FF2B5EF4-FFF2-40B4-BE49-F238E27FC236}">
                <a16:creationId xmlns:a16="http://schemas.microsoft.com/office/drawing/2014/main" id="{322B802A-624A-BC0C-4635-AE7C26664AA9}"/>
              </a:ext>
            </a:extLst>
          </p:cNvPr>
          <p:cNvSpPr>
            <a:spLocks noGrp="1"/>
          </p:cNvSpPr>
          <p:nvPr>
            <p:ph type="sldNum" sz="quarter" idx="2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6521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 Title Slide w/ content_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118B99-EDB8-26F6-D931-6B76FBD84D01}"/>
              </a:ext>
            </a:extLst>
          </p:cNvPr>
          <p:cNvSpPr>
            <a:spLocks noGrp="1"/>
          </p:cNvSpPr>
          <p:nvPr>
            <p:ph type="ftr" sz="quarter" idx="24"/>
          </p:nvPr>
        </p:nvSpPr>
        <p:spPr/>
        <p:txBody>
          <a:bodyPr/>
          <a:lstStyle/>
          <a:p>
            <a:r>
              <a:rPr lang="en-US"/>
              <a:t>Microsoft Fabric / Section title</a:t>
            </a:r>
          </a:p>
        </p:txBody>
      </p:sp>
      <p:sp>
        <p:nvSpPr>
          <p:cNvPr id="3" name="Slide Number Placeholder 2">
            <a:extLst>
              <a:ext uri="{FF2B5EF4-FFF2-40B4-BE49-F238E27FC236}">
                <a16:creationId xmlns:a16="http://schemas.microsoft.com/office/drawing/2014/main" id="{322B802A-624A-BC0C-4635-AE7C26664AA9}"/>
              </a:ext>
            </a:extLst>
          </p:cNvPr>
          <p:cNvSpPr>
            <a:spLocks noGrp="1"/>
          </p:cNvSpPr>
          <p:nvPr>
            <p:ph type="sldNum" sz="quarter" idx="2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72462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07810" y="2067088"/>
            <a:ext cx="6444248" cy="2373571"/>
          </a:xfrm>
          <a:prstGeom prst="rect">
            <a:avLst/>
          </a:prstGeom>
        </p:spPr>
        <p:txBody>
          <a:bodyPr>
            <a:noAutofit/>
          </a:bodyPr>
          <a:lstStyle>
            <a:lvl1pPr marL="0" indent="0">
              <a:buNone/>
              <a:defRPr sz="2600"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07809" y="4641028"/>
            <a:ext cx="6444247" cy="338554"/>
          </a:xfrm>
          <a:prstGeom prst="rect">
            <a:avLst/>
          </a:prstGeom>
        </p:spPr>
        <p:txBody>
          <a:bodyPr>
            <a:normAutofit/>
          </a:bodyPr>
          <a:lstStyle>
            <a:lvl1pPr marL="0" indent="0">
              <a:buNone/>
              <a:defRPr sz="16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r>
              <a:rPr lang="en-US"/>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fld id="{B1356FBF-028C-F74E-A7B4-9B8ED246DD1B}" type="slidenum">
              <a:rPr lang="en-US" smtClean="0"/>
              <a:pPr/>
              <a:t>‹#›</a:t>
            </a:fld>
            <a:endParaRPr lang="en-US"/>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07808" y="609600"/>
            <a:ext cx="6417022" cy="674031"/>
          </a:xfrm>
          <a:prstGeom prst="rect">
            <a:avLst/>
          </a:prstGeom>
        </p:spPr>
        <p:txBody>
          <a:bodyPr>
            <a:spAutoFit/>
          </a:bodyPr>
          <a:lstStyle>
            <a:lvl1pPr>
              <a:defRPr lang="en-US" sz="4200" b="1">
                <a:solidFill>
                  <a:schemeClr val="tx1"/>
                </a:solidFill>
                <a:latin typeface="Segoe UI Semibold" panose="020B0502040204020203" pitchFamily="34" charset="0"/>
                <a:ea typeface="+mj-ea"/>
                <a:cs typeface="Segoe UI Semibold" panose="020B0502040204020203" pitchFamily="34" charset="0"/>
              </a:defRPr>
            </a:lvl1pPr>
          </a:lstStyle>
          <a:p>
            <a:pPr marL="0" lvl="0" indent="0">
              <a:spcBef>
                <a:spcPct val="0"/>
              </a:spcBef>
              <a:buNone/>
            </a:pPr>
            <a:r>
              <a:rPr lang="en-US"/>
              <a:t>Page title</a:t>
            </a:r>
          </a:p>
        </p:txBody>
      </p:sp>
      <p:pic>
        <p:nvPicPr>
          <p:cNvPr id="3" name="Picture 2">
            <a:extLst>
              <a:ext uri="{FF2B5EF4-FFF2-40B4-BE49-F238E27FC236}">
                <a16:creationId xmlns:a16="http://schemas.microsoft.com/office/drawing/2014/main" id="{70E76C88-ACA4-6699-FB35-272A395AE4CD}"/>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0990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07810" y="2067088"/>
            <a:ext cx="6444248" cy="2373571"/>
          </a:xfrm>
        </p:spPr>
        <p:txBody>
          <a:bodyPr>
            <a:noAutofit/>
          </a:bodyPr>
          <a:lstStyle>
            <a:lvl1pPr marL="0" indent="0">
              <a:buNone/>
              <a:defRPr sz="2600"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07809" y="4641028"/>
            <a:ext cx="6444247" cy="338554"/>
          </a:xfrm>
        </p:spPr>
        <p:txBody>
          <a:bodyPr>
            <a:normAutofit/>
          </a:bodyPr>
          <a:lstStyle>
            <a:lvl1pPr marL="0" indent="0">
              <a:buNone/>
              <a:defRPr sz="16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smtClean="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35034" y="647231"/>
            <a:ext cx="3708365" cy="593740"/>
          </a:xfrm>
        </p:spPr>
        <p:txBody>
          <a:bodyPr>
            <a:normAutofit/>
          </a:bodyPr>
          <a:lstStyle>
            <a:lvl1pPr marL="0" indent="0">
              <a:buNone/>
              <a:defRPr sz="2000"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pic>
        <p:nvPicPr>
          <p:cNvPr id="4" name="Picture 3" descr="A picture containing logo, graphics, graphic design&#10;&#10;Description automatically generated">
            <a:extLst>
              <a:ext uri="{FF2B5EF4-FFF2-40B4-BE49-F238E27FC236}">
                <a16:creationId xmlns:a16="http://schemas.microsoft.com/office/drawing/2014/main" id="{2FCAEB2F-3421-4F63-3E09-D18E2D064675}"/>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1802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07810" y="2067088"/>
            <a:ext cx="6444248" cy="2373571"/>
          </a:xfrm>
        </p:spPr>
        <p:txBody>
          <a:bodyPr>
            <a:noAutofit/>
          </a:bodyPr>
          <a:lstStyle>
            <a:lvl1pPr marL="0" indent="0">
              <a:buNone/>
              <a:defRPr sz="2600"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07809" y="4641028"/>
            <a:ext cx="6444247" cy="338554"/>
          </a:xfrm>
        </p:spPr>
        <p:txBody>
          <a:bodyPr>
            <a:normAutofit/>
          </a:bodyPr>
          <a:lstStyle>
            <a:lvl1pPr marL="0" indent="0">
              <a:buNone/>
              <a:defRPr sz="16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smtClean="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35034" y="647231"/>
            <a:ext cx="3708365" cy="593740"/>
          </a:xfrm>
        </p:spPr>
        <p:txBody>
          <a:bodyPr>
            <a:normAutofit/>
          </a:bodyPr>
          <a:lstStyle>
            <a:lvl1pPr marL="0" indent="0">
              <a:buNone/>
              <a:defRPr sz="2000"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pic>
        <p:nvPicPr>
          <p:cNvPr id="3" name="Picture 2" descr="A picture containing graphics, graphic design&#10;&#10;Description automatically generated">
            <a:extLst>
              <a:ext uri="{FF2B5EF4-FFF2-40B4-BE49-F238E27FC236}">
                <a16:creationId xmlns:a16="http://schemas.microsoft.com/office/drawing/2014/main" id="{65FFCBE9-E6AD-D02A-DEA2-DBFCC17CFBD2}"/>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1242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07810" y="2067088"/>
            <a:ext cx="6444248" cy="2373571"/>
          </a:xfrm>
        </p:spPr>
        <p:txBody>
          <a:bodyPr>
            <a:noAutofit/>
          </a:bodyPr>
          <a:lstStyle>
            <a:lvl1pPr marL="0" indent="0">
              <a:buNone/>
              <a:defRPr sz="2600"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07809" y="4641028"/>
            <a:ext cx="6444247" cy="338554"/>
          </a:xfrm>
        </p:spPr>
        <p:txBody>
          <a:bodyPr>
            <a:normAutofit/>
          </a:bodyPr>
          <a:lstStyle>
            <a:lvl1pPr marL="0" indent="0">
              <a:buNone/>
              <a:defRPr sz="16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smtClean="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35034" y="647231"/>
            <a:ext cx="3708365" cy="593740"/>
          </a:xfrm>
        </p:spPr>
        <p:txBody>
          <a:bodyPr>
            <a:normAutofit/>
          </a:bodyPr>
          <a:lstStyle>
            <a:lvl1pPr marL="0" indent="0">
              <a:buNone/>
              <a:defRPr sz="2000"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pic>
        <p:nvPicPr>
          <p:cNvPr id="4" name="Picture 3" descr="A picture containing graphics&#10;&#10;Description automatically generated">
            <a:extLst>
              <a:ext uri="{FF2B5EF4-FFF2-40B4-BE49-F238E27FC236}">
                <a16:creationId xmlns:a16="http://schemas.microsoft.com/office/drawing/2014/main" id="{5083B46D-2B1A-6A59-D264-787B228BF0C0}"/>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347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07810" y="2067088"/>
            <a:ext cx="6444248" cy="2373571"/>
          </a:xfrm>
        </p:spPr>
        <p:txBody>
          <a:bodyPr>
            <a:noAutofit/>
          </a:bodyPr>
          <a:lstStyle>
            <a:lvl1pPr marL="0" indent="0">
              <a:buNone/>
              <a:defRPr sz="2600"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07809" y="4641028"/>
            <a:ext cx="6444247" cy="338554"/>
          </a:xfrm>
        </p:spPr>
        <p:txBody>
          <a:bodyPr>
            <a:normAutofit/>
          </a:bodyPr>
          <a:lstStyle>
            <a:lvl1pPr marL="0" indent="0">
              <a:buNone/>
              <a:defRPr sz="16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smtClean="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35034" y="647231"/>
            <a:ext cx="3708365" cy="593740"/>
          </a:xfrm>
        </p:spPr>
        <p:txBody>
          <a:bodyPr>
            <a:normAutofit/>
          </a:bodyPr>
          <a:lstStyle>
            <a:lvl1pPr marL="0" indent="0">
              <a:buNone/>
              <a:defRPr sz="2000"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pic>
        <p:nvPicPr>
          <p:cNvPr id="9" name="Picture 8" descr="A picture containing logo, graphics, symbol, graphic design&#10;&#10;Description automatically generated">
            <a:extLst>
              <a:ext uri="{FF2B5EF4-FFF2-40B4-BE49-F238E27FC236}">
                <a16:creationId xmlns:a16="http://schemas.microsoft.com/office/drawing/2014/main" id="{645049E6-D39E-4EE6-D6FB-7D457D03AFD8}"/>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25901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07810" y="2067088"/>
            <a:ext cx="6444248" cy="2373571"/>
          </a:xfrm>
        </p:spPr>
        <p:txBody>
          <a:bodyPr>
            <a:noAutofit/>
          </a:bodyPr>
          <a:lstStyle>
            <a:lvl1pPr marL="0" indent="0">
              <a:buNone/>
              <a:defRPr sz="2600"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07809" y="4641028"/>
            <a:ext cx="6444247" cy="338554"/>
          </a:xfrm>
        </p:spPr>
        <p:txBody>
          <a:bodyPr>
            <a:normAutofit/>
          </a:bodyPr>
          <a:lstStyle>
            <a:lvl1pPr marL="0" indent="0">
              <a:buNone/>
              <a:defRPr sz="16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smtClean="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35034" y="647231"/>
            <a:ext cx="3708365" cy="593740"/>
          </a:xfrm>
        </p:spPr>
        <p:txBody>
          <a:bodyPr>
            <a:normAutofit/>
          </a:bodyPr>
          <a:lstStyle>
            <a:lvl1pPr marL="0" indent="0">
              <a:buNone/>
              <a:defRPr sz="2000"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pic>
        <p:nvPicPr>
          <p:cNvPr id="3" name="Picture 2" descr="A green logo on a black background&#10;&#10;Description automatically generated with medium confidence">
            <a:extLst>
              <a:ext uri="{FF2B5EF4-FFF2-40B4-BE49-F238E27FC236}">
                <a16:creationId xmlns:a16="http://schemas.microsoft.com/office/drawing/2014/main" id="{4ED9C014-8764-406A-2118-C4DD007F08B6}"/>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66763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Quote slide_option 1">
    <p:bg>
      <p:bgPr>
        <a:solidFill>
          <a:schemeClr val="bg1"/>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607810" y="2067088"/>
            <a:ext cx="6444248" cy="2373571"/>
          </a:xfrm>
        </p:spPr>
        <p:txBody>
          <a:bodyPr>
            <a:noAutofit/>
          </a:bodyPr>
          <a:lstStyle>
            <a:lvl1pPr marL="0" indent="0">
              <a:buNone/>
              <a:defRPr sz="2600" b="0" i="0">
                <a:solidFill>
                  <a:schemeClr val="tx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607809" y="4641028"/>
            <a:ext cx="6444247" cy="338554"/>
          </a:xfrm>
        </p:spPr>
        <p:txBody>
          <a:bodyPr>
            <a:normAutofit/>
          </a:bodyPr>
          <a:lstStyle>
            <a:lvl1pPr marL="0" indent="0">
              <a:buNone/>
              <a:defRPr sz="16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smtClean="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5" name="Text Placeholder 24">
            <a:extLst>
              <a:ext uri="{FF2B5EF4-FFF2-40B4-BE49-F238E27FC236}">
                <a16:creationId xmlns:a16="http://schemas.microsoft.com/office/drawing/2014/main" id="{8888137B-F39B-B5DA-1CDA-2AF94BDAD4FF}"/>
              </a:ext>
            </a:extLst>
          </p:cNvPr>
          <p:cNvSpPr>
            <a:spLocks noGrp="1"/>
          </p:cNvSpPr>
          <p:nvPr>
            <p:ph type="body" sz="quarter" idx="23" hasCustomPrompt="1"/>
          </p:nvPr>
        </p:nvSpPr>
        <p:spPr>
          <a:xfrm>
            <a:off x="635034" y="647231"/>
            <a:ext cx="3708365" cy="593740"/>
          </a:xfrm>
        </p:spPr>
        <p:txBody>
          <a:bodyPr>
            <a:normAutofit/>
          </a:bodyPr>
          <a:lstStyle>
            <a:lvl1pPr marL="0" indent="0">
              <a:buNone/>
              <a:defRPr sz="2000" b="1" i="0">
                <a:solidFill>
                  <a:schemeClr val="tx1"/>
                </a:solidFill>
                <a:latin typeface="Segoe UI Semibold" panose="020B0502040204020203" pitchFamily="34" charset="0"/>
                <a:cs typeface="Segoe UI Semibold" panose="020B0502040204020203" pitchFamily="34" charset="0"/>
              </a:defRPr>
            </a:lvl1pPr>
          </a:lstStyle>
          <a:p>
            <a:pPr lvl="0"/>
            <a:r>
              <a:rPr lang="en-US"/>
              <a:t>Page title</a:t>
            </a:r>
          </a:p>
        </p:txBody>
      </p:sp>
      <p:pic>
        <p:nvPicPr>
          <p:cNvPr id="3" name="Picture 2" descr="A green circle on a black background&#10;&#10;Description automatically generated with medium confidence">
            <a:extLst>
              <a:ext uri="{FF2B5EF4-FFF2-40B4-BE49-F238E27FC236}">
                <a16:creationId xmlns:a16="http://schemas.microsoft.com/office/drawing/2014/main" id="{CDE01318-25C0-030E-39E5-5467E1D76EC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42744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slide_option two">
    <p:bg>
      <p:bgPr>
        <a:solidFill>
          <a:schemeClr val="tx2"/>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4450432" y="647231"/>
            <a:ext cx="6444247" cy="3714512"/>
          </a:xfrm>
          <a:prstGeom prst="rect">
            <a:avLst/>
          </a:prstGeom>
        </p:spPr>
        <p:txBody>
          <a:bodyPr>
            <a:noAutofit/>
          </a:bodyPr>
          <a:lstStyle>
            <a:lvl1pPr marL="0" indent="0">
              <a:buNone/>
              <a:defRPr sz="2600" b="0" i="0">
                <a:solidFill>
                  <a:schemeClr val="bg1"/>
                </a:solidFill>
                <a:latin typeface="Segoe UI Semibold" panose="020B0502040204020203" pitchFamily="34" charset="0"/>
                <a:cs typeface="Segoe UI Semibold"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r>
              <a:rPr lang="en-US"/>
              <a:t>.”</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4450432" y="4662502"/>
            <a:ext cx="6444247" cy="338554"/>
          </a:xfrm>
          <a:prstGeom prst="rect">
            <a:avLst/>
          </a:prstGeom>
        </p:spPr>
        <p:txBody>
          <a:bodyPr>
            <a:normAutofit/>
          </a:bodyPr>
          <a:lstStyle>
            <a:lvl1pPr marL="0" indent="0">
              <a:buNone/>
              <a:defRPr sz="1600" b="0" i="0">
                <a:solidFill>
                  <a:schemeClr val="accent6"/>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r>
              <a:rPr lang="en-US"/>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fld id="{B1356FBF-028C-F74E-A7B4-9B8ED246DD1B}" type="slidenum">
              <a:rPr lang="en-US" smtClean="0"/>
              <a:pPr/>
              <a:t>‹#›</a:t>
            </a:fld>
            <a:endParaRPr lang="en-US"/>
          </a:p>
        </p:txBody>
      </p:sp>
      <p:sp>
        <p:nvSpPr>
          <p:cNvPr id="3" name="Text Placeholder 24">
            <a:extLst>
              <a:ext uri="{FF2B5EF4-FFF2-40B4-BE49-F238E27FC236}">
                <a16:creationId xmlns:a16="http://schemas.microsoft.com/office/drawing/2014/main" id="{58875558-892B-B10B-6AC9-01A99F86FC30}"/>
              </a:ext>
            </a:extLst>
          </p:cNvPr>
          <p:cNvSpPr>
            <a:spLocks noGrp="1"/>
          </p:cNvSpPr>
          <p:nvPr>
            <p:ph type="body" sz="quarter" idx="23" hasCustomPrompt="1"/>
          </p:nvPr>
        </p:nvSpPr>
        <p:spPr>
          <a:xfrm>
            <a:off x="607808" y="609600"/>
            <a:ext cx="3236878" cy="593740"/>
          </a:xfrm>
          <a:prstGeom prst="rect">
            <a:avLst/>
          </a:prstGeom>
        </p:spPr>
        <p:txBody>
          <a:bodyPr>
            <a:noAutofit/>
          </a:bodyPr>
          <a:lstStyle>
            <a:lvl1pPr marL="0" indent="0">
              <a:buNone/>
              <a:defRPr lang="en-US" sz="4200" b="1" i="0" kern="1200" dirty="0">
                <a:solidFill>
                  <a:schemeClr val="accent6"/>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Page title</a:t>
            </a:r>
          </a:p>
        </p:txBody>
      </p:sp>
    </p:spTree>
    <p:extLst>
      <p:ext uri="{BB962C8B-B14F-4D97-AF65-F5344CB8AC3E}">
        <p14:creationId xmlns:p14="http://schemas.microsoft.com/office/powerpoint/2010/main" val="146713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with Graphic">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6E253C4-E8F7-8545-B6A1-A0B6918B6D89}"/>
              </a:ext>
            </a:extLst>
          </p:cNvPr>
          <p:cNvGrpSpPr/>
          <p:nvPr userDrawn="1"/>
        </p:nvGrpSpPr>
        <p:grpSpPr>
          <a:xfrm>
            <a:off x="0" y="0"/>
            <a:ext cx="12192000" cy="6858000"/>
            <a:chOff x="0" y="0"/>
            <a:chExt cx="12192000" cy="6858000"/>
          </a:xfrm>
        </p:grpSpPr>
        <p:pic>
          <p:nvPicPr>
            <p:cNvPr id="4" name="Picture 3">
              <a:extLst>
                <a:ext uri="{FF2B5EF4-FFF2-40B4-BE49-F238E27FC236}">
                  <a16:creationId xmlns:a16="http://schemas.microsoft.com/office/drawing/2014/main" id="{14936A87-6E9B-054F-B253-9E43BDB3DB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3513"/>
            <a:stretch/>
          </p:blipFill>
          <p:spPr>
            <a:xfrm>
              <a:off x="30552" y="0"/>
              <a:ext cx="12130896" cy="6858000"/>
            </a:xfrm>
            <a:prstGeom prst="rect">
              <a:avLst/>
            </a:prstGeom>
          </p:spPr>
        </p:pic>
        <p:sp>
          <p:nvSpPr>
            <p:cNvPr id="5" name="Rectangle 4">
              <a:extLst>
                <a:ext uri="{FF2B5EF4-FFF2-40B4-BE49-F238E27FC236}">
                  <a16:creationId xmlns:a16="http://schemas.microsoft.com/office/drawing/2014/main" id="{28F3508B-B213-744B-BC1A-837437A936C4}"/>
                </a:ext>
              </a:extLst>
            </p:cNvPr>
            <p:cNvSpPr/>
            <p:nvPr/>
          </p:nvSpPr>
          <p:spPr bwMode="auto">
            <a:xfrm rot="10800000">
              <a:off x="0" y="0"/>
              <a:ext cx="12192000" cy="6858000"/>
            </a:xfrm>
            <a:prstGeom prst="rect">
              <a:avLst/>
            </a:prstGeom>
            <a:gradFill>
              <a:gsLst>
                <a:gs pos="99000">
                  <a:schemeClr val="bg1">
                    <a:alpha val="74000"/>
                  </a:schemeClr>
                </a:gs>
                <a:gs pos="0">
                  <a:schemeClr val="bg1"/>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197834960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slide">
    <p:bg>
      <p:bgPr>
        <a:solidFill>
          <a:schemeClr val="tx2"/>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4450433" y="647232"/>
            <a:ext cx="6444247" cy="1257768"/>
          </a:xfrm>
          <a:prstGeom prst="rect">
            <a:avLst/>
          </a:prstGeom>
        </p:spPr>
        <p:txBody>
          <a:bodyPr>
            <a:noAutofit/>
          </a:bodyPr>
          <a:lstStyle>
            <a:lvl1pPr marL="0" indent="0">
              <a:buNone/>
              <a:defRPr sz="2600" b="0" i="0">
                <a:solidFill>
                  <a:schemeClr val="bg1"/>
                </a:solidFill>
                <a:latin typeface="Segoe UI Semibold" panose="020B0502040204020203" pitchFamily="34" charset="0"/>
                <a:cs typeface="Segoe UI Semibold" panose="020B0502040204020203" pitchFamily="34" charset="0"/>
              </a:defRPr>
            </a:lvl1pPr>
          </a:lstStyle>
          <a:p>
            <a:pPr lvl="0"/>
            <a:r>
              <a:rPr lang="en-US"/>
              <a:t>Headline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tempo.</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4447963" y="4855637"/>
            <a:ext cx="6444247" cy="279397"/>
          </a:xfrm>
          <a:prstGeom prst="rect">
            <a:avLst/>
          </a:prstGeom>
        </p:spPr>
        <p:txBody>
          <a:bodyPr>
            <a:normAutofit/>
          </a:bodyPr>
          <a:lstStyle>
            <a:lvl1pPr marL="0" indent="0">
              <a:buNone/>
              <a:defRPr sz="1400" b="0" i="0">
                <a:solidFill>
                  <a:schemeClr val="accent6"/>
                </a:solidFill>
                <a:latin typeface="Segoe UI" panose="020B0502040204020203" pitchFamily="34" charset="0"/>
                <a:cs typeface="Segoe UI" panose="020B0502040204020203" pitchFamily="34"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p>
            <a:r>
              <a:rPr lang="en-US"/>
              <a:t>Microsoft Fabric / Section title</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p>
            <a:fld id="{B1356FBF-028C-F74E-A7B4-9B8ED246DD1B}" type="slidenum">
              <a:rPr lang="en-US" smtClean="0"/>
              <a:pPr/>
              <a:t>‹#›</a:t>
            </a:fld>
            <a:endParaRPr lang="en-US"/>
          </a:p>
        </p:txBody>
      </p:sp>
      <p:sp>
        <p:nvSpPr>
          <p:cNvPr id="2" name="Content Placeholder 96">
            <a:extLst>
              <a:ext uri="{FF2B5EF4-FFF2-40B4-BE49-F238E27FC236}">
                <a16:creationId xmlns:a16="http://schemas.microsoft.com/office/drawing/2014/main" id="{5B3E7DDA-4DFD-B7AA-C818-90435BE0818D}"/>
              </a:ext>
            </a:extLst>
          </p:cNvPr>
          <p:cNvSpPr>
            <a:spLocks noGrp="1"/>
          </p:cNvSpPr>
          <p:nvPr>
            <p:ph sz="quarter" idx="27" hasCustomPrompt="1"/>
          </p:nvPr>
        </p:nvSpPr>
        <p:spPr>
          <a:xfrm>
            <a:off x="4450432" y="2626843"/>
            <a:ext cx="6444247" cy="1898591"/>
          </a:xfrm>
          <a:prstGeom prst="rect">
            <a:avLst/>
          </a:prstGeom>
        </p:spPr>
        <p:txBody>
          <a:bodyPr>
            <a:noAutofit/>
          </a:bodyPr>
          <a:lstStyle>
            <a:lvl1pPr marL="285750" indent="-285750">
              <a:buFont typeface="Arial" panose="020B0604020202020204" pitchFamily="34" charset="0"/>
              <a:buChar char="•"/>
              <a:defRPr sz="1400" b="0" i="0">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rur</a:t>
            </a:r>
            <a:r>
              <a:rPr lang="en-US"/>
              <a:t> </a:t>
            </a:r>
            <a:r>
              <a:rPr lang="en-US" err="1"/>
              <a:t>sint</a:t>
            </a:r>
            <a:r>
              <a:rPr lang="en-US"/>
              <a:t> </a:t>
            </a:r>
            <a:r>
              <a:rPr lang="en-US" err="1"/>
              <a:t>occae</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endParaRPr lang="en-US"/>
          </a:p>
        </p:txBody>
      </p:sp>
      <p:sp>
        <p:nvSpPr>
          <p:cNvPr id="3" name="Text Placeholder 24">
            <a:extLst>
              <a:ext uri="{FF2B5EF4-FFF2-40B4-BE49-F238E27FC236}">
                <a16:creationId xmlns:a16="http://schemas.microsoft.com/office/drawing/2014/main" id="{7C213266-236D-8FDB-6BC7-EA330441FC90}"/>
              </a:ext>
            </a:extLst>
          </p:cNvPr>
          <p:cNvSpPr>
            <a:spLocks noGrp="1"/>
          </p:cNvSpPr>
          <p:nvPr>
            <p:ph type="body" sz="quarter" idx="28" hasCustomPrompt="1"/>
          </p:nvPr>
        </p:nvSpPr>
        <p:spPr>
          <a:xfrm>
            <a:off x="4447963" y="2236346"/>
            <a:ext cx="1721666" cy="322761"/>
          </a:xfrm>
          <a:prstGeom prst="rect">
            <a:avLst/>
          </a:prstGeom>
        </p:spPr>
        <p:txBody>
          <a:bodyPr>
            <a:normAutofit/>
          </a:bodyPr>
          <a:lstStyle>
            <a:lvl1pPr marL="0" indent="0">
              <a:buNone/>
              <a:defRPr sz="1600" b="1" i="0">
                <a:solidFill>
                  <a:schemeClr val="accent6"/>
                </a:solidFill>
                <a:latin typeface="Segoe UI Semibold" panose="020B0502040204020203" pitchFamily="34" charset="0"/>
                <a:cs typeface="Segoe UI Semibold" panose="020B0502040204020203" pitchFamily="34" charset="0"/>
              </a:defRPr>
            </a:lvl1pPr>
          </a:lstStyle>
          <a:p>
            <a:pPr lvl="0"/>
            <a:r>
              <a:rPr lang="en-US"/>
              <a:t>Page subtitle</a:t>
            </a:r>
          </a:p>
        </p:txBody>
      </p:sp>
      <p:sp>
        <p:nvSpPr>
          <p:cNvPr id="5" name="Text Placeholder 24">
            <a:extLst>
              <a:ext uri="{FF2B5EF4-FFF2-40B4-BE49-F238E27FC236}">
                <a16:creationId xmlns:a16="http://schemas.microsoft.com/office/drawing/2014/main" id="{E6B191AE-3E4C-FB32-28EE-DAE07D84F833}"/>
              </a:ext>
            </a:extLst>
          </p:cNvPr>
          <p:cNvSpPr>
            <a:spLocks noGrp="1"/>
          </p:cNvSpPr>
          <p:nvPr>
            <p:ph type="body" sz="quarter" idx="23" hasCustomPrompt="1"/>
          </p:nvPr>
        </p:nvSpPr>
        <p:spPr>
          <a:xfrm>
            <a:off x="607808" y="609600"/>
            <a:ext cx="3236878" cy="674031"/>
          </a:xfrm>
          <a:prstGeom prst="rect">
            <a:avLst/>
          </a:prstGeom>
        </p:spPr>
        <p:txBody>
          <a:bodyPr lIns="91440" tIns="45720" rIns="91440" bIns="45720">
            <a:spAutoFit/>
          </a:bodyPr>
          <a:lstStyle>
            <a:lvl1pPr marL="0" indent="0">
              <a:buNone/>
              <a:defRPr lang="en-US" sz="4200" b="1" i="0" kern="1200" dirty="0">
                <a:solidFill>
                  <a:schemeClr val="accent6"/>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Page title</a:t>
            </a:r>
          </a:p>
        </p:txBody>
      </p:sp>
    </p:spTree>
    <p:extLst>
      <p:ext uri="{BB962C8B-B14F-4D97-AF65-F5344CB8AC3E}">
        <p14:creationId xmlns:p14="http://schemas.microsoft.com/office/powerpoint/2010/main" val="69931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two-column slide">
    <p:bg>
      <p:bgPr>
        <a:solidFill>
          <a:schemeClr val="bg1"/>
        </a:solidFill>
        <a:effectLst/>
      </p:bgPr>
    </p:bg>
    <p:spTree>
      <p:nvGrpSpPr>
        <p:cNvPr id="1" name=""/>
        <p:cNvGrpSpPr/>
        <p:nvPr/>
      </p:nvGrpSpPr>
      <p:grpSpPr>
        <a:xfrm>
          <a:off x="0" y="0"/>
          <a:ext cx="0" cy="0"/>
          <a:chOff x="0" y="0"/>
          <a:chExt cx="0" cy="0"/>
        </a:xfrm>
      </p:grpSpPr>
      <p:sp>
        <p:nvSpPr>
          <p:cNvPr id="5" name="Footer Placeholder 25">
            <a:extLst>
              <a:ext uri="{FF2B5EF4-FFF2-40B4-BE49-F238E27FC236}">
                <a16:creationId xmlns:a16="http://schemas.microsoft.com/office/drawing/2014/main" id="{80549859-3554-905A-844F-755403991965}"/>
              </a:ext>
            </a:extLst>
          </p:cNvPr>
          <p:cNvSpPr>
            <a:spLocks noGrp="1"/>
          </p:cNvSpPr>
          <p:nvPr>
            <p:ph type="ftr" sz="quarter" idx="25"/>
          </p:nvPr>
        </p:nvSpPr>
        <p:spPr>
          <a:xfrm>
            <a:off x="1007097" y="6311900"/>
            <a:ext cx="2078736" cy="365125"/>
          </a:xfrm>
        </p:spPr>
        <p:txBody>
          <a:bodyPr/>
          <a:lstStyle/>
          <a:p>
            <a:r>
              <a:rPr lang="en-US"/>
              <a:t>Microsoft Fabric / Section title</a:t>
            </a:r>
          </a:p>
        </p:txBody>
      </p:sp>
      <p:sp>
        <p:nvSpPr>
          <p:cNvPr id="6" name="Slide Number Placeholder 26">
            <a:extLst>
              <a:ext uri="{FF2B5EF4-FFF2-40B4-BE49-F238E27FC236}">
                <a16:creationId xmlns:a16="http://schemas.microsoft.com/office/drawing/2014/main" id="{72B42226-58C3-41D5-C7C7-26648D06DCB0}"/>
              </a:ext>
            </a:extLst>
          </p:cNvPr>
          <p:cNvSpPr>
            <a:spLocks noGrp="1"/>
          </p:cNvSpPr>
          <p:nvPr>
            <p:ph type="sldNum" sz="quarter" idx="26"/>
          </p:nvPr>
        </p:nvSpPr>
        <p:spPr>
          <a:xfrm>
            <a:off x="607809" y="6311900"/>
            <a:ext cx="399288" cy="365125"/>
          </a:xfrm>
        </p:spPr>
        <p:txBody>
          <a:bodyPr/>
          <a:lstStyle/>
          <a:p>
            <a:fld id="{B1356FBF-028C-F74E-A7B4-9B8ED246DD1B}" type="slidenum">
              <a:rPr lang="en-US" smtClean="0"/>
              <a:pPr/>
              <a:t>‹#›</a:t>
            </a:fld>
            <a:endParaRPr lang="en-US"/>
          </a:p>
        </p:txBody>
      </p:sp>
      <p:sp>
        <p:nvSpPr>
          <p:cNvPr id="8" name="Picture Placeholder 6">
            <a:extLst>
              <a:ext uri="{FF2B5EF4-FFF2-40B4-BE49-F238E27FC236}">
                <a16:creationId xmlns:a16="http://schemas.microsoft.com/office/drawing/2014/main" id="{647F334F-1225-59F2-A5AF-B9FE6C3DC8A0}"/>
              </a:ext>
            </a:extLst>
          </p:cNvPr>
          <p:cNvSpPr>
            <a:spLocks noGrp="1"/>
          </p:cNvSpPr>
          <p:nvPr>
            <p:ph type="pic" sz="quarter" idx="29"/>
          </p:nvPr>
        </p:nvSpPr>
        <p:spPr>
          <a:xfrm>
            <a:off x="7244862" y="0"/>
            <a:ext cx="4947137" cy="6858000"/>
          </a:xfrm>
          <a:prstGeom prst="rect">
            <a:avLst/>
          </a:prstGeom>
          <a:solidFill>
            <a:schemeClr val="accent5"/>
          </a:solidFill>
        </p:spPr>
        <p:txBody>
          <a:bodyPr/>
          <a:lstStyle>
            <a:lvl1pPr marL="0" indent="0">
              <a:buNone/>
              <a:defRPr/>
            </a:lvl1pPr>
          </a:lstStyle>
          <a:p>
            <a:endParaRPr lang="en-US"/>
          </a:p>
        </p:txBody>
      </p:sp>
      <p:sp>
        <p:nvSpPr>
          <p:cNvPr id="11" name="Text Placeholder 24">
            <a:extLst>
              <a:ext uri="{FF2B5EF4-FFF2-40B4-BE49-F238E27FC236}">
                <a16:creationId xmlns:a16="http://schemas.microsoft.com/office/drawing/2014/main" id="{E62BE408-BD00-FD03-93A6-222F205A58E4}"/>
              </a:ext>
            </a:extLst>
          </p:cNvPr>
          <p:cNvSpPr>
            <a:spLocks noGrp="1"/>
          </p:cNvSpPr>
          <p:nvPr>
            <p:ph type="body" sz="quarter" idx="30" hasCustomPrompt="1"/>
          </p:nvPr>
        </p:nvSpPr>
        <p:spPr>
          <a:xfrm>
            <a:off x="3821580" y="1850760"/>
            <a:ext cx="2891804" cy="2653507"/>
          </a:xfrm>
          <a:prstGeom prst="rect">
            <a:avLst/>
          </a:prstGeom>
        </p:spPr>
        <p:txBody>
          <a:bodyPr>
            <a:norm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12" name="Text Placeholder 24">
            <a:extLst>
              <a:ext uri="{FF2B5EF4-FFF2-40B4-BE49-F238E27FC236}">
                <a16:creationId xmlns:a16="http://schemas.microsoft.com/office/drawing/2014/main" id="{88722149-B8C1-B1A2-70E4-07FD02D5B9DB}"/>
              </a:ext>
            </a:extLst>
          </p:cNvPr>
          <p:cNvSpPr>
            <a:spLocks noGrp="1"/>
          </p:cNvSpPr>
          <p:nvPr>
            <p:ph type="body" sz="quarter" idx="31" hasCustomPrompt="1"/>
          </p:nvPr>
        </p:nvSpPr>
        <p:spPr>
          <a:xfrm>
            <a:off x="3821580" y="4704299"/>
            <a:ext cx="2891804"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3" name="Text Placeholder 24">
            <a:extLst>
              <a:ext uri="{FF2B5EF4-FFF2-40B4-BE49-F238E27FC236}">
                <a16:creationId xmlns:a16="http://schemas.microsoft.com/office/drawing/2014/main" id="{A774C518-98F8-51A0-F6A8-E43EE09A2ED1}"/>
              </a:ext>
            </a:extLst>
          </p:cNvPr>
          <p:cNvSpPr>
            <a:spLocks noGrp="1"/>
          </p:cNvSpPr>
          <p:nvPr>
            <p:ph type="body" sz="quarter" idx="32" hasCustomPrompt="1"/>
          </p:nvPr>
        </p:nvSpPr>
        <p:spPr>
          <a:xfrm>
            <a:off x="635035" y="1850760"/>
            <a:ext cx="2891804" cy="2653507"/>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14" name="Text Placeholder 24">
            <a:extLst>
              <a:ext uri="{FF2B5EF4-FFF2-40B4-BE49-F238E27FC236}">
                <a16:creationId xmlns:a16="http://schemas.microsoft.com/office/drawing/2014/main" id="{D10BBD2D-09C0-6FD7-5156-2C096CFB50E8}"/>
              </a:ext>
            </a:extLst>
          </p:cNvPr>
          <p:cNvSpPr>
            <a:spLocks noGrp="1"/>
          </p:cNvSpPr>
          <p:nvPr>
            <p:ph type="body" sz="quarter" idx="33" hasCustomPrompt="1"/>
          </p:nvPr>
        </p:nvSpPr>
        <p:spPr>
          <a:xfrm>
            <a:off x="635035" y="4704299"/>
            <a:ext cx="2891804"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2" name="Text Placeholder 24">
            <a:extLst>
              <a:ext uri="{FF2B5EF4-FFF2-40B4-BE49-F238E27FC236}">
                <a16:creationId xmlns:a16="http://schemas.microsoft.com/office/drawing/2014/main" id="{B682477D-5A87-855D-B652-03F5E6A52CE7}"/>
              </a:ext>
            </a:extLst>
          </p:cNvPr>
          <p:cNvSpPr>
            <a:spLocks noGrp="1"/>
          </p:cNvSpPr>
          <p:nvPr>
            <p:ph type="body" sz="quarter" idx="23" hasCustomPrompt="1"/>
          </p:nvPr>
        </p:nvSpPr>
        <p:spPr>
          <a:xfrm>
            <a:off x="607808" y="609600"/>
            <a:ext cx="6078349" cy="674031"/>
          </a:xfrm>
          <a:prstGeom prst="rect">
            <a:avLst/>
          </a:prstGeom>
        </p:spPr>
        <p:txBody>
          <a:bodyPr>
            <a:spAutoFit/>
          </a:bodyPr>
          <a:lstStyle>
            <a:lvl1pPr marL="0" indent="0">
              <a:buNone/>
              <a:defRPr lang="en-US" sz="4200" b="1" i="0" kern="1200" dirty="0">
                <a:solidFill>
                  <a:schemeClr val="accent4"/>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Page title</a:t>
            </a:r>
          </a:p>
        </p:txBody>
      </p:sp>
      <p:sp>
        <p:nvSpPr>
          <p:cNvPr id="3" name="TextBox 2">
            <a:extLst>
              <a:ext uri="{FF2B5EF4-FFF2-40B4-BE49-F238E27FC236}">
                <a16:creationId xmlns:a16="http://schemas.microsoft.com/office/drawing/2014/main" id="{074D8C31-9A5B-7991-23CF-4A1545FF7E5A}"/>
              </a:ext>
            </a:extLst>
          </p:cNvPr>
          <p:cNvSpPr txBox="1"/>
          <p:nvPr userDrawn="1"/>
        </p:nvSpPr>
        <p:spPr>
          <a:xfrm>
            <a:off x="-6534150" y="-123825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261963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pictures on right side">
    <p:bg>
      <p:bgPr>
        <a:solidFill>
          <a:schemeClr val="bg1"/>
        </a:solidFill>
        <a:effectLst/>
      </p:bgPr>
    </p:bg>
    <p:spTree>
      <p:nvGrpSpPr>
        <p:cNvPr id="1" name=""/>
        <p:cNvGrpSpPr/>
        <p:nvPr/>
      </p:nvGrpSpPr>
      <p:grpSpPr>
        <a:xfrm>
          <a:off x="0" y="0"/>
          <a:ext cx="0" cy="0"/>
          <a:chOff x="0" y="0"/>
          <a:chExt cx="0" cy="0"/>
        </a:xfrm>
      </p:grpSpPr>
      <p:sp>
        <p:nvSpPr>
          <p:cNvPr id="3" name="Text Placeholder 24">
            <a:extLst>
              <a:ext uri="{FF2B5EF4-FFF2-40B4-BE49-F238E27FC236}">
                <a16:creationId xmlns:a16="http://schemas.microsoft.com/office/drawing/2014/main" id="{647AB30B-6B25-9C52-DD55-EA230F82E220}"/>
              </a:ext>
            </a:extLst>
          </p:cNvPr>
          <p:cNvSpPr>
            <a:spLocks noGrp="1"/>
          </p:cNvSpPr>
          <p:nvPr>
            <p:ph type="body" sz="quarter" idx="23" hasCustomPrompt="1"/>
          </p:nvPr>
        </p:nvSpPr>
        <p:spPr>
          <a:xfrm>
            <a:off x="607808" y="609600"/>
            <a:ext cx="2891804" cy="673569"/>
          </a:xfrm>
          <a:prstGeom prst="rect">
            <a:avLst/>
          </a:prstGeom>
        </p:spPr>
        <p:txBody>
          <a:bodyPr>
            <a:noAutofit/>
          </a:bodyPr>
          <a:lstStyle>
            <a:lvl1pPr marL="0" indent="0">
              <a:buNone/>
              <a:defRPr lang="en-US" sz="4200" b="1" i="0" kern="1200" dirty="0">
                <a:solidFill>
                  <a:schemeClr val="accent4"/>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Page title</a:t>
            </a:r>
          </a:p>
        </p:txBody>
      </p:sp>
      <p:sp>
        <p:nvSpPr>
          <p:cNvPr id="4" name="Text Placeholder 24">
            <a:extLst>
              <a:ext uri="{FF2B5EF4-FFF2-40B4-BE49-F238E27FC236}">
                <a16:creationId xmlns:a16="http://schemas.microsoft.com/office/drawing/2014/main" id="{61393929-3876-7075-DBB0-3529420A50A0}"/>
              </a:ext>
            </a:extLst>
          </p:cNvPr>
          <p:cNvSpPr>
            <a:spLocks noGrp="1"/>
          </p:cNvSpPr>
          <p:nvPr>
            <p:ph type="body" sz="quarter" idx="24" hasCustomPrompt="1"/>
          </p:nvPr>
        </p:nvSpPr>
        <p:spPr>
          <a:xfrm>
            <a:off x="635035" y="1850760"/>
            <a:ext cx="2891804" cy="2802883"/>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endParaRPr lang="en-US"/>
          </a:p>
        </p:txBody>
      </p:sp>
      <p:sp>
        <p:nvSpPr>
          <p:cNvPr id="5" name="Footer Placeholder 25">
            <a:extLst>
              <a:ext uri="{FF2B5EF4-FFF2-40B4-BE49-F238E27FC236}">
                <a16:creationId xmlns:a16="http://schemas.microsoft.com/office/drawing/2014/main" id="{80549859-3554-905A-844F-755403991965}"/>
              </a:ext>
            </a:extLst>
          </p:cNvPr>
          <p:cNvSpPr>
            <a:spLocks noGrp="1"/>
          </p:cNvSpPr>
          <p:nvPr>
            <p:ph type="ftr" sz="quarter" idx="25"/>
          </p:nvPr>
        </p:nvSpPr>
        <p:spPr>
          <a:xfrm>
            <a:off x="1007097" y="6311900"/>
            <a:ext cx="2078736" cy="365125"/>
          </a:xfrm>
        </p:spPr>
        <p:txBody>
          <a:bodyPr/>
          <a:lstStyle/>
          <a:p>
            <a:r>
              <a:rPr lang="en-US"/>
              <a:t>Microsoft Fabric / Section title</a:t>
            </a:r>
          </a:p>
        </p:txBody>
      </p:sp>
      <p:sp>
        <p:nvSpPr>
          <p:cNvPr id="6" name="Slide Number Placeholder 26">
            <a:extLst>
              <a:ext uri="{FF2B5EF4-FFF2-40B4-BE49-F238E27FC236}">
                <a16:creationId xmlns:a16="http://schemas.microsoft.com/office/drawing/2014/main" id="{72B42226-58C3-41D5-C7C7-26648D06DCB0}"/>
              </a:ext>
            </a:extLst>
          </p:cNvPr>
          <p:cNvSpPr>
            <a:spLocks noGrp="1"/>
          </p:cNvSpPr>
          <p:nvPr>
            <p:ph type="sldNum" sz="quarter" idx="26"/>
          </p:nvPr>
        </p:nvSpPr>
        <p:spPr>
          <a:xfrm>
            <a:off x="607809" y="6311900"/>
            <a:ext cx="399288" cy="365125"/>
          </a:xfrm>
        </p:spPr>
        <p:txBody>
          <a:bodyPr/>
          <a:lstStyle/>
          <a:p>
            <a:fld id="{B1356FBF-028C-F74E-A7B4-9B8ED246DD1B}" type="slidenum">
              <a:rPr lang="en-US" smtClean="0"/>
              <a:pPr/>
              <a:t>‹#›</a:t>
            </a:fld>
            <a:endParaRPr lang="en-US"/>
          </a:p>
        </p:txBody>
      </p:sp>
      <p:sp>
        <p:nvSpPr>
          <p:cNvPr id="17" name="Text Placeholder 24">
            <a:extLst>
              <a:ext uri="{FF2B5EF4-FFF2-40B4-BE49-F238E27FC236}">
                <a16:creationId xmlns:a16="http://schemas.microsoft.com/office/drawing/2014/main" id="{C0401A82-7B82-4288-EBCA-1F0D7C80F5CE}"/>
              </a:ext>
            </a:extLst>
          </p:cNvPr>
          <p:cNvSpPr>
            <a:spLocks noGrp="1"/>
          </p:cNvSpPr>
          <p:nvPr>
            <p:ph type="body" sz="quarter" idx="27" hasCustomPrompt="1"/>
          </p:nvPr>
        </p:nvSpPr>
        <p:spPr>
          <a:xfrm>
            <a:off x="635035" y="4856780"/>
            <a:ext cx="2891804"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7" name="Picture Placeholder 6">
            <a:extLst>
              <a:ext uri="{FF2B5EF4-FFF2-40B4-BE49-F238E27FC236}">
                <a16:creationId xmlns:a16="http://schemas.microsoft.com/office/drawing/2014/main" id="{9F71D525-4DC4-DFA6-7948-12A0828DA29B}"/>
              </a:ext>
            </a:extLst>
          </p:cNvPr>
          <p:cNvSpPr>
            <a:spLocks noGrp="1"/>
          </p:cNvSpPr>
          <p:nvPr>
            <p:ph type="pic" sz="quarter" idx="28"/>
          </p:nvPr>
        </p:nvSpPr>
        <p:spPr>
          <a:xfrm>
            <a:off x="4229100" y="0"/>
            <a:ext cx="7962899" cy="6858000"/>
          </a:xfrm>
          <a:prstGeom prst="rect">
            <a:avLst/>
          </a:prstGeom>
          <a:solidFill>
            <a:schemeClr val="accent6"/>
          </a:solidFill>
        </p:spPr>
        <p:txBody>
          <a:bodyPr/>
          <a:lstStyle>
            <a:lvl1pPr marL="0" indent="0">
              <a:buNone/>
              <a:defRPr/>
            </a:lvl1pPr>
          </a:lstStyle>
          <a:p>
            <a:endParaRPr lang="en-US"/>
          </a:p>
        </p:txBody>
      </p:sp>
    </p:spTree>
    <p:extLst>
      <p:ext uri="{BB962C8B-B14F-4D97-AF65-F5344CB8AC3E}">
        <p14:creationId xmlns:p14="http://schemas.microsoft.com/office/powerpoint/2010/main" val="4132301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with two-column slide_seafoam">
    <p:bg>
      <p:bgPr>
        <a:solidFill>
          <a:schemeClr val="bg2"/>
        </a:solidFill>
        <a:effectLst/>
      </p:bgPr>
    </p:bg>
    <p:spTree>
      <p:nvGrpSpPr>
        <p:cNvPr id="1" name=""/>
        <p:cNvGrpSpPr/>
        <p:nvPr/>
      </p:nvGrpSpPr>
      <p:grpSpPr>
        <a:xfrm>
          <a:off x="0" y="0"/>
          <a:ext cx="0" cy="0"/>
          <a:chOff x="0" y="0"/>
          <a:chExt cx="0" cy="0"/>
        </a:xfrm>
      </p:grpSpPr>
      <p:sp>
        <p:nvSpPr>
          <p:cNvPr id="5" name="Footer Placeholder 25">
            <a:extLst>
              <a:ext uri="{FF2B5EF4-FFF2-40B4-BE49-F238E27FC236}">
                <a16:creationId xmlns:a16="http://schemas.microsoft.com/office/drawing/2014/main" id="{80549859-3554-905A-844F-755403991965}"/>
              </a:ext>
            </a:extLst>
          </p:cNvPr>
          <p:cNvSpPr>
            <a:spLocks noGrp="1"/>
          </p:cNvSpPr>
          <p:nvPr>
            <p:ph type="ftr" sz="quarter" idx="25"/>
          </p:nvPr>
        </p:nvSpPr>
        <p:spPr>
          <a:xfrm>
            <a:off x="1007097" y="6311900"/>
            <a:ext cx="2078736" cy="365125"/>
          </a:xfrm>
        </p:spPr>
        <p:txBody>
          <a:bodyPr/>
          <a:lstStyle/>
          <a:p>
            <a:r>
              <a:rPr lang="en-US"/>
              <a:t>Microsoft Fabric / Section title</a:t>
            </a:r>
          </a:p>
        </p:txBody>
      </p:sp>
      <p:sp>
        <p:nvSpPr>
          <p:cNvPr id="6" name="Slide Number Placeholder 26">
            <a:extLst>
              <a:ext uri="{FF2B5EF4-FFF2-40B4-BE49-F238E27FC236}">
                <a16:creationId xmlns:a16="http://schemas.microsoft.com/office/drawing/2014/main" id="{72B42226-58C3-41D5-C7C7-26648D06DCB0}"/>
              </a:ext>
            </a:extLst>
          </p:cNvPr>
          <p:cNvSpPr>
            <a:spLocks noGrp="1"/>
          </p:cNvSpPr>
          <p:nvPr>
            <p:ph type="sldNum" sz="quarter" idx="26"/>
          </p:nvPr>
        </p:nvSpPr>
        <p:spPr>
          <a:xfrm>
            <a:off x="607809" y="6311900"/>
            <a:ext cx="399288" cy="365125"/>
          </a:xfrm>
        </p:spPr>
        <p:txBody>
          <a:bodyPr/>
          <a:lstStyle/>
          <a:p>
            <a:fld id="{B1356FBF-028C-F74E-A7B4-9B8ED246DD1B}" type="slidenum">
              <a:rPr lang="en-US" smtClean="0"/>
              <a:pPr/>
              <a:t>‹#›</a:t>
            </a:fld>
            <a:endParaRPr lang="en-US"/>
          </a:p>
        </p:txBody>
      </p:sp>
      <p:sp>
        <p:nvSpPr>
          <p:cNvPr id="8" name="Picture Placeholder 6">
            <a:extLst>
              <a:ext uri="{FF2B5EF4-FFF2-40B4-BE49-F238E27FC236}">
                <a16:creationId xmlns:a16="http://schemas.microsoft.com/office/drawing/2014/main" id="{647F334F-1225-59F2-A5AF-B9FE6C3DC8A0}"/>
              </a:ext>
            </a:extLst>
          </p:cNvPr>
          <p:cNvSpPr>
            <a:spLocks noGrp="1"/>
          </p:cNvSpPr>
          <p:nvPr>
            <p:ph type="pic" sz="quarter" idx="29"/>
          </p:nvPr>
        </p:nvSpPr>
        <p:spPr>
          <a:xfrm>
            <a:off x="7244862" y="0"/>
            <a:ext cx="4947137" cy="6858000"/>
          </a:xfrm>
          <a:prstGeom prst="rect">
            <a:avLst/>
          </a:prstGeom>
          <a:solidFill>
            <a:schemeClr val="accent5"/>
          </a:solidFill>
        </p:spPr>
        <p:txBody>
          <a:bodyPr/>
          <a:lstStyle>
            <a:lvl1pPr marL="0" indent="0">
              <a:buNone/>
              <a:defRPr/>
            </a:lvl1pPr>
          </a:lstStyle>
          <a:p>
            <a:endParaRPr lang="en-US"/>
          </a:p>
        </p:txBody>
      </p:sp>
      <p:sp>
        <p:nvSpPr>
          <p:cNvPr id="11" name="Text Placeholder 24">
            <a:extLst>
              <a:ext uri="{FF2B5EF4-FFF2-40B4-BE49-F238E27FC236}">
                <a16:creationId xmlns:a16="http://schemas.microsoft.com/office/drawing/2014/main" id="{E62BE408-BD00-FD03-93A6-222F205A58E4}"/>
              </a:ext>
            </a:extLst>
          </p:cNvPr>
          <p:cNvSpPr>
            <a:spLocks noGrp="1"/>
          </p:cNvSpPr>
          <p:nvPr>
            <p:ph type="body" sz="quarter" idx="30" hasCustomPrompt="1"/>
          </p:nvPr>
        </p:nvSpPr>
        <p:spPr>
          <a:xfrm>
            <a:off x="3821580" y="1850760"/>
            <a:ext cx="2891804" cy="2653507"/>
          </a:xfrm>
          <a:prstGeom prst="rect">
            <a:avLst/>
          </a:prstGeom>
        </p:spPr>
        <p:txBody>
          <a:bodyPr>
            <a:norm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12" name="Text Placeholder 24">
            <a:extLst>
              <a:ext uri="{FF2B5EF4-FFF2-40B4-BE49-F238E27FC236}">
                <a16:creationId xmlns:a16="http://schemas.microsoft.com/office/drawing/2014/main" id="{88722149-B8C1-B1A2-70E4-07FD02D5B9DB}"/>
              </a:ext>
            </a:extLst>
          </p:cNvPr>
          <p:cNvSpPr>
            <a:spLocks noGrp="1"/>
          </p:cNvSpPr>
          <p:nvPr>
            <p:ph type="body" sz="quarter" idx="31" hasCustomPrompt="1"/>
          </p:nvPr>
        </p:nvSpPr>
        <p:spPr>
          <a:xfrm>
            <a:off x="3821580" y="4704299"/>
            <a:ext cx="2891804"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13" name="Text Placeholder 24">
            <a:extLst>
              <a:ext uri="{FF2B5EF4-FFF2-40B4-BE49-F238E27FC236}">
                <a16:creationId xmlns:a16="http://schemas.microsoft.com/office/drawing/2014/main" id="{A774C518-98F8-51A0-F6A8-E43EE09A2ED1}"/>
              </a:ext>
            </a:extLst>
          </p:cNvPr>
          <p:cNvSpPr>
            <a:spLocks noGrp="1"/>
          </p:cNvSpPr>
          <p:nvPr>
            <p:ph type="body" sz="quarter" idx="32" hasCustomPrompt="1"/>
          </p:nvPr>
        </p:nvSpPr>
        <p:spPr>
          <a:xfrm>
            <a:off x="635035" y="1850760"/>
            <a:ext cx="2891804" cy="2653507"/>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14" name="Text Placeholder 24">
            <a:extLst>
              <a:ext uri="{FF2B5EF4-FFF2-40B4-BE49-F238E27FC236}">
                <a16:creationId xmlns:a16="http://schemas.microsoft.com/office/drawing/2014/main" id="{D10BBD2D-09C0-6FD7-5156-2C096CFB50E8}"/>
              </a:ext>
            </a:extLst>
          </p:cNvPr>
          <p:cNvSpPr>
            <a:spLocks noGrp="1"/>
          </p:cNvSpPr>
          <p:nvPr>
            <p:ph type="body" sz="quarter" idx="33" hasCustomPrompt="1"/>
          </p:nvPr>
        </p:nvSpPr>
        <p:spPr>
          <a:xfrm>
            <a:off x="635035" y="4704299"/>
            <a:ext cx="2891804"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2" name="Text Placeholder 24">
            <a:extLst>
              <a:ext uri="{FF2B5EF4-FFF2-40B4-BE49-F238E27FC236}">
                <a16:creationId xmlns:a16="http://schemas.microsoft.com/office/drawing/2014/main" id="{B682477D-5A87-855D-B652-03F5E6A52CE7}"/>
              </a:ext>
            </a:extLst>
          </p:cNvPr>
          <p:cNvSpPr>
            <a:spLocks noGrp="1"/>
          </p:cNvSpPr>
          <p:nvPr>
            <p:ph type="body" sz="quarter" idx="23" hasCustomPrompt="1"/>
          </p:nvPr>
        </p:nvSpPr>
        <p:spPr>
          <a:xfrm>
            <a:off x="607808" y="609600"/>
            <a:ext cx="6078349" cy="581698"/>
          </a:xfrm>
          <a:prstGeom prst="rect">
            <a:avLst/>
          </a:prstGeom>
        </p:spPr>
        <p:txBody>
          <a:bodyPr lIns="0" tIns="0" rIns="0" bIns="0">
            <a:spAutoFit/>
          </a:bodyPr>
          <a:lstStyle>
            <a:lvl1pPr marL="0" indent="0">
              <a:buNone/>
              <a:defRPr lang="en-US" sz="4200" b="1" i="0" kern="1200" dirty="0">
                <a:solidFill>
                  <a:schemeClr val="accent4"/>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Page title</a:t>
            </a:r>
          </a:p>
        </p:txBody>
      </p:sp>
      <p:sp>
        <p:nvSpPr>
          <p:cNvPr id="3" name="TextBox 2">
            <a:extLst>
              <a:ext uri="{FF2B5EF4-FFF2-40B4-BE49-F238E27FC236}">
                <a16:creationId xmlns:a16="http://schemas.microsoft.com/office/drawing/2014/main" id="{074D8C31-9A5B-7991-23CF-4A1545FF7E5A}"/>
              </a:ext>
            </a:extLst>
          </p:cNvPr>
          <p:cNvSpPr txBox="1"/>
          <p:nvPr userDrawn="1"/>
        </p:nvSpPr>
        <p:spPr>
          <a:xfrm>
            <a:off x="-6534150" y="-123825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316354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pictures on right side_seafoam">
    <p:bg>
      <p:bgPr>
        <a:solidFill>
          <a:schemeClr val="bg2"/>
        </a:solidFill>
        <a:effectLst/>
      </p:bgPr>
    </p:bg>
    <p:spTree>
      <p:nvGrpSpPr>
        <p:cNvPr id="1" name=""/>
        <p:cNvGrpSpPr/>
        <p:nvPr/>
      </p:nvGrpSpPr>
      <p:grpSpPr>
        <a:xfrm>
          <a:off x="0" y="0"/>
          <a:ext cx="0" cy="0"/>
          <a:chOff x="0" y="0"/>
          <a:chExt cx="0" cy="0"/>
        </a:xfrm>
      </p:grpSpPr>
      <p:sp>
        <p:nvSpPr>
          <p:cNvPr id="3" name="Text Placeholder 24">
            <a:extLst>
              <a:ext uri="{FF2B5EF4-FFF2-40B4-BE49-F238E27FC236}">
                <a16:creationId xmlns:a16="http://schemas.microsoft.com/office/drawing/2014/main" id="{647AB30B-6B25-9C52-DD55-EA230F82E220}"/>
              </a:ext>
            </a:extLst>
          </p:cNvPr>
          <p:cNvSpPr>
            <a:spLocks noGrp="1"/>
          </p:cNvSpPr>
          <p:nvPr>
            <p:ph type="body" sz="quarter" idx="23" hasCustomPrompt="1"/>
          </p:nvPr>
        </p:nvSpPr>
        <p:spPr>
          <a:xfrm>
            <a:off x="607808" y="609600"/>
            <a:ext cx="2891804" cy="581698"/>
          </a:xfrm>
          <a:prstGeom prst="rect">
            <a:avLst/>
          </a:prstGeom>
        </p:spPr>
        <p:txBody>
          <a:bodyPr lIns="0" tIns="0" rIns="0" bIns="0">
            <a:spAutoFit/>
          </a:bodyPr>
          <a:lstStyle>
            <a:lvl1pPr marL="0" indent="0">
              <a:buNone/>
              <a:defRPr lang="en-US" sz="4200" b="1" i="0" kern="1200" dirty="0">
                <a:solidFill>
                  <a:schemeClr val="accent4"/>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Page title</a:t>
            </a:r>
          </a:p>
        </p:txBody>
      </p:sp>
      <p:sp>
        <p:nvSpPr>
          <p:cNvPr id="4" name="Text Placeholder 24">
            <a:extLst>
              <a:ext uri="{FF2B5EF4-FFF2-40B4-BE49-F238E27FC236}">
                <a16:creationId xmlns:a16="http://schemas.microsoft.com/office/drawing/2014/main" id="{61393929-3876-7075-DBB0-3529420A50A0}"/>
              </a:ext>
            </a:extLst>
          </p:cNvPr>
          <p:cNvSpPr>
            <a:spLocks noGrp="1"/>
          </p:cNvSpPr>
          <p:nvPr>
            <p:ph type="body" sz="quarter" idx="24" hasCustomPrompt="1"/>
          </p:nvPr>
        </p:nvSpPr>
        <p:spPr>
          <a:xfrm>
            <a:off x="635035" y="1850760"/>
            <a:ext cx="2891804" cy="2802883"/>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endParaRPr lang="en-US"/>
          </a:p>
        </p:txBody>
      </p:sp>
      <p:sp>
        <p:nvSpPr>
          <p:cNvPr id="5" name="Footer Placeholder 25">
            <a:extLst>
              <a:ext uri="{FF2B5EF4-FFF2-40B4-BE49-F238E27FC236}">
                <a16:creationId xmlns:a16="http://schemas.microsoft.com/office/drawing/2014/main" id="{80549859-3554-905A-844F-755403991965}"/>
              </a:ext>
            </a:extLst>
          </p:cNvPr>
          <p:cNvSpPr>
            <a:spLocks noGrp="1"/>
          </p:cNvSpPr>
          <p:nvPr>
            <p:ph type="ftr" sz="quarter" idx="25"/>
          </p:nvPr>
        </p:nvSpPr>
        <p:spPr>
          <a:xfrm>
            <a:off x="1007097" y="6311900"/>
            <a:ext cx="2078736" cy="365125"/>
          </a:xfrm>
        </p:spPr>
        <p:txBody>
          <a:bodyPr/>
          <a:lstStyle/>
          <a:p>
            <a:r>
              <a:rPr lang="en-US"/>
              <a:t>Microsoft Fabric / Section title</a:t>
            </a:r>
          </a:p>
        </p:txBody>
      </p:sp>
      <p:sp>
        <p:nvSpPr>
          <p:cNvPr id="6" name="Slide Number Placeholder 26">
            <a:extLst>
              <a:ext uri="{FF2B5EF4-FFF2-40B4-BE49-F238E27FC236}">
                <a16:creationId xmlns:a16="http://schemas.microsoft.com/office/drawing/2014/main" id="{72B42226-58C3-41D5-C7C7-26648D06DCB0}"/>
              </a:ext>
            </a:extLst>
          </p:cNvPr>
          <p:cNvSpPr>
            <a:spLocks noGrp="1"/>
          </p:cNvSpPr>
          <p:nvPr>
            <p:ph type="sldNum" sz="quarter" idx="26"/>
          </p:nvPr>
        </p:nvSpPr>
        <p:spPr>
          <a:xfrm>
            <a:off x="607809" y="6311900"/>
            <a:ext cx="399288" cy="365125"/>
          </a:xfrm>
        </p:spPr>
        <p:txBody>
          <a:bodyPr/>
          <a:lstStyle/>
          <a:p>
            <a:fld id="{B1356FBF-028C-F74E-A7B4-9B8ED246DD1B}" type="slidenum">
              <a:rPr lang="en-US" smtClean="0"/>
              <a:pPr/>
              <a:t>‹#›</a:t>
            </a:fld>
            <a:endParaRPr lang="en-US"/>
          </a:p>
        </p:txBody>
      </p:sp>
      <p:sp>
        <p:nvSpPr>
          <p:cNvPr id="17" name="Text Placeholder 24">
            <a:extLst>
              <a:ext uri="{FF2B5EF4-FFF2-40B4-BE49-F238E27FC236}">
                <a16:creationId xmlns:a16="http://schemas.microsoft.com/office/drawing/2014/main" id="{C0401A82-7B82-4288-EBCA-1F0D7C80F5CE}"/>
              </a:ext>
            </a:extLst>
          </p:cNvPr>
          <p:cNvSpPr>
            <a:spLocks noGrp="1"/>
          </p:cNvSpPr>
          <p:nvPr>
            <p:ph type="body" sz="quarter" idx="27" hasCustomPrompt="1"/>
          </p:nvPr>
        </p:nvSpPr>
        <p:spPr>
          <a:xfrm>
            <a:off x="635035" y="4856780"/>
            <a:ext cx="2891804"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7" name="Picture Placeholder 6">
            <a:extLst>
              <a:ext uri="{FF2B5EF4-FFF2-40B4-BE49-F238E27FC236}">
                <a16:creationId xmlns:a16="http://schemas.microsoft.com/office/drawing/2014/main" id="{9F71D525-4DC4-DFA6-7948-12A0828DA29B}"/>
              </a:ext>
            </a:extLst>
          </p:cNvPr>
          <p:cNvSpPr>
            <a:spLocks noGrp="1"/>
          </p:cNvSpPr>
          <p:nvPr>
            <p:ph type="pic" sz="quarter" idx="28"/>
          </p:nvPr>
        </p:nvSpPr>
        <p:spPr>
          <a:xfrm>
            <a:off x="4229100" y="0"/>
            <a:ext cx="7962899" cy="6858000"/>
          </a:xfrm>
          <a:prstGeom prst="rect">
            <a:avLst/>
          </a:prstGeom>
          <a:solidFill>
            <a:schemeClr val="accent6"/>
          </a:solidFill>
        </p:spPr>
        <p:txBody>
          <a:bodyPr/>
          <a:lstStyle>
            <a:lvl1pPr marL="0" indent="0">
              <a:buNone/>
              <a:defRPr/>
            </a:lvl1pPr>
          </a:lstStyle>
          <a:p>
            <a:endParaRPr lang="en-US"/>
          </a:p>
        </p:txBody>
      </p:sp>
    </p:spTree>
    <p:extLst>
      <p:ext uri="{BB962C8B-B14F-4D97-AF65-F5344CB8AC3E}">
        <p14:creationId xmlns:p14="http://schemas.microsoft.com/office/powerpoint/2010/main" val="153128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Section title slide">
    <p:bg>
      <p:bgPr>
        <a:solidFill>
          <a:schemeClr val="bg1"/>
        </a:solidFill>
        <a:effectLst/>
      </p:bgPr>
    </p:bg>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17BF2FDF-4934-411A-99F7-2604F3BFE0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438"/>
          <a:stretch/>
        </p:blipFill>
        <p:spPr>
          <a:xfrm>
            <a:off x="1" y="0"/>
            <a:ext cx="12192000" cy="6858000"/>
          </a:xfrm>
          <a:prstGeom prst="rect">
            <a:avLst/>
          </a:prstGeom>
        </p:spPr>
      </p:pic>
      <p:sp>
        <p:nvSpPr>
          <p:cNvPr id="2" name="Text Placeholder 24">
            <a:extLst>
              <a:ext uri="{FF2B5EF4-FFF2-40B4-BE49-F238E27FC236}">
                <a16:creationId xmlns:a16="http://schemas.microsoft.com/office/drawing/2014/main" id="{DEB0CD34-A88A-B5A5-ED3B-8A0BBA258316}"/>
              </a:ext>
            </a:extLst>
          </p:cNvPr>
          <p:cNvSpPr>
            <a:spLocks noGrp="1"/>
          </p:cNvSpPr>
          <p:nvPr>
            <p:ph type="body" sz="quarter" idx="23" hasCustomPrompt="1"/>
          </p:nvPr>
        </p:nvSpPr>
        <p:spPr>
          <a:xfrm>
            <a:off x="607808" y="609600"/>
            <a:ext cx="2891804" cy="673569"/>
          </a:xfrm>
          <a:prstGeom prst="rect">
            <a:avLst/>
          </a:prstGeom>
        </p:spPr>
        <p:txBody>
          <a:bodyPr lIns="0" tIns="0" rIns="0" bIns="0">
            <a:noAutofit/>
          </a:bodyPr>
          <a:lstStyle>
            <a:lvl1pPr marL="0" indent="0">
              <a:buNone/>
              <a:defRPr lang="en-US" sz="4200" b="1" i="0" kern="1200" dirty="0">
                <a:solidFill>
                  <a:schemeClr val="accent4"/>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Page title</a:t>
            </a:r>
          </a:p>
        </p:txBody>
      </p:sp>
      <p:sp>
        <p:nvSpPr>
          <p:cNvPr id="4" name="Text Placeholder 24">
            <a:extLst>
              <a:ext uri="{FF2B5EF4-FFF2-40B4-BE49-F238E27FC236}">
                <a16:creationId xmlns:a16="http://schemas.microsoft.com/office/drawing/2014/main" id="{55CF8E1D-F377-D750-E8A3-79FDF69C4788}"/>
              </a:ext>
            </a:extLst>
          </p:cNvPr>
          <p:cNvSpPr>
            <a:spLocks noGrp="1"/>
          </p:cNvSpPr>
          <p:nvPr>
            <p:ph type="body" sz="quarter" idx="24" hasCustomPrompt="1"/>
          </p:nvPr>
        </p:nvSpPr>
        <p:spPr>
          <a:xfrm>
            <a:off x="635035" y="1850760"/>
            <a:ext cx="2891804" cy="2802883"/>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endParaRPr lang="en-US"/>
          </a:p>
        </p:txBody>
      </p:sp>
      <p:sp>
        <p:nvSpPr>
          <p:cNvPr id="7" name="Text Placeholder 24">
            <a:extLst>
              <a:ext uri="{FF2B5EF4-FFF2-40B4-BE49-F238E27FC236}">
                <a16:creationId xmlns:a16="http://schemas.microsoft.com/office/drawing/2014/main" id="{2F830C6E-4818-AF35-4FDB-317D80547589}"/>
              </a:ext>
            </a:extLst>
          </p:cNvPr>
          <p:cNvSpPr>
            <a:spLocks noGrp="1"/>
          </p:cNvSpPr>
          <p:nvPr>
            <p:ph type="body" sz="quarter" idx="27" hasCustomPrompt="1"/>
          </p:nvPr>
        </p:nvSpPr>
        <p:spPr>
          <a:xfrm>
            <a:off x="635035" y="4856780"/>
            <a:ext cx="2891804"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8" name="Picture Placeholder 6">
            <a:extLst>
              <a:ext uri="{FF2B5EF4-FFF2-40B4-BE49-F238E27FC236}">
                <a16:creationId xmlns:a16="http://schemas.microsoft.com/office/drawing/2014/main" id="{EDA506F2-2F2A-C166-05E7-C67196F6461B}"/>
              </a:ext>
            </a:extLst>
          </p:cNvPr>
          <p:cNvSpPr>
            <a:spLocks noGrp="1"/>
          </p:cNvSpPr>
          <p:nvPr>
            <p:ph type="pic" sz="quarter" idx="28"/>
          </p:nvPr>
        </p:nvSpPr>
        <p:spPr>
          <a:xfrm>
            <a:off x="4485602" y="647229"/>
            <a:ext cx="6747635" cy="5426311"/>
          </a:xfrm>
          <a:prstGeom prst="rect">
            <a:avLst/>
          </a:prstGeom>
          <a:solidFill>
            <a:schemeClr val="accent6"/>
          </a:solidFill>
        </p:spPr>
        <p:txBody>
          <a:bodyPr/>
          <a:lstStyle>
            <a:lvl1pPr marL="0" indent="0">
              <a:buNone/>
              <a:defRPr/>
            </a:lvl1pPr>
          </a:lstStyle>
          <a:p>
            <a:endParaRPr lang="en-US"/>
          </a:p>
        </p:txBody>
      </p:sp>
      <p:sp>
        <p:nvSpPr>
          <p:cNvPr id="9" name="Footer Placeholder 8">
            <a:extLst>
              <a:ext uri="{FF2B5EF4-FFF2-40B4-BE49-F238E27FC236}">
                <a16:creationId xmlns:a16="http://schemas.microsoft.com/office/drawing/2014/main" id="{67BAF9C5-3FE2-E766-01D1-F9AD70EF6540}"/>
              </a:ext>
            </a:extLst>
          </p:cNvPr>
          <p:cNvSpPr>
            <a:spLocks noGrp="1"/>
          </p:cNvSpPr>
          <p:nvPr>
            <p:ph type="ftr" sz="quarter" idx="29"/>
          </p:nvPr>
        </p:nvSpPr>
        <p:spPr/>
        <p:txBody>
          <a:bodyPr/>
          <a:lstStyle/>
          <a:p>
            <a:r>
              <a:rPr lang="en-US"/>
              <a:t>Microsoft Fabric / Section title</a:t>
            </a:r>
          </a:p>
        </p:txBody>
      </p:sp>
      <p:sp>
        <p:nvSpPr>
          <p:cNvPr id="10" name="Slide Number Placeholder 9">
            <a:extLst>
              <a:ext uri="{FF2B5EF4-FFF2-40B4-BE49-F238E27FC236}">
                <a16:creationId xmlns:a16="http://schemas.microsoft.com/office/drawing/2014/main" id="{5F4A6D91-6E73-1FB7-62EB-F84559247ED5}"/>
              </a:ext>
            </a:extLst>
          </p:cNvPr>
          <p:cNvSpPr>
            <a:spLocks noGrp="1"/>
          </p:cNvSpPr>
          <p:nvPr>
            <p:ph type="sldNum" sz="quarter" idx="3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1851455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ext steps w/ arrow icons slide">
    <p:bg>
      <p:bgPr>
        <a:solidFill>
          <a:schemeClr val="bg1"/>
        </a:solidFill>
        <a:effectLst/>
      </p:bgPr>
    </p:bg>
    <p:spTree>
      <p:nvGrpSpPr>
        <p:cNvPr id="1" name=""/>
        <p:cNvGrpSpPr/>
        <p:nvPr/>
      </p:nvGrpSpPr>
      <p:grpSpPr>
        <a:xfrm>
          <a:off x="0" y="0"/>
          <a:ext cx="0" cy="0"/>
          <a:chOff x="0" y="0"/>
          <a:chExt cx="0" cy="0"/>
        </a:xfrm>
      </p:grpSpPr>
      <p:sp>
        <p:nvSpPr>
          <p:cNvPr id="3" name="Text Placeholder 24">
            <a:extLst>
              <a:ext uri="{FF2B5EF4-FFF2-40B4-BE49-F238E27FC236}">
                <a16:creationId xmlns:a16="http://schemas.microsoft.com/office/drawing/2014/main" id="{647AB30B-6B25-9C52-DD55-EA230F82E220}"/>
              </a:ext>
            </a:extLst>
          </p:cNvPr>
          <p:cNvSpPr>
            <a:spLocks noGrp="1"/>
          </p:cNvSpPr>
          <p:nvPr>
            <p:ph type="body" sz="quarter" idx="23" hasCustomPrompt="1"/>
          </p:nvPr>
        </p:nvSpPr>
        <p:spPr>
          <a:xfrm>
            <a:off x="635033" y="609600"/>
            <a:ext cx="10947366" cy="674031"/>
          </a:xfrm>
          <a:prstGeom prst="rect">
            <a:avLst/>
          </a:prstGeom>
        </p:spPr>
        <p:txBody>
          <a:bodyPr>
            <a:spAutoFit/>
          </a:bodyPr>
          <a:lstStyle>
            <a:lvl1pPr marL="0" indent="0">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Next steps</a:t>
            </a:r>
          </a:p>
        </p:txBody>
      </p:sp>
      <p:sp>
        <p:nvSpPr>
          <p:cNvPr id="4" name="Text Placeholder 24">
            <a:extLst>
              <a:ext uri="{FF2B5EF4-FFF2-40B4-BE49-F238E27FC236}">
                <a16:creationId xmlns:a16="http://schemas.microsoft.com/office/drawing/2014/main" id="{61393929-3876-7075-DBB0-3529420A50A0}"/>
              </a:ext>
            </a:extLst>
          </p:cNvPr>
          <p:cNvSpPr>
            <a:spLocks noGrp="1"/>
          </p:cNvSpPr>
          <p:nvPr>
            <p:ph type="body" sz="quarter" idx="24" hasCustomPrompt="1"/>
          </p:nvPr>
        </p:nvSpPr>
        <p:spPr>
          <a:xfrm>
            <a:off x="1417965" y="1801270"/>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7" name="Text Placeholder 24">
            <a:extLst>
              <a:ext uri="{FF2B5EF4-FFF2-40B4-BE49-F238E27FC236}">
                <a16:creationId xmlns:a16="http://schemas.microsoft.com/office/drawing/2014/main" id="{C0401A82-7B82-4288-EBCA-1F0D7C80F5CE}"/>
              </a:ext>
            </a:extLst>
          </p:cNvPr>
          <p:cNvSpPr>
            <a:spLocks noGrp="1"/>
          </p:cNvSpPr>
          <p:nvPr>
            <p:ph type="body" sz="quarter" idx="27" hasCustomPrompt="1"/>
          </p:nvPr>
        </p:nvSpPr>
        <p:spPr>
          <a:xfrm>
            <a:off x="1417965" y="2611723"/>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grpSp>
        <p:nvGrpSpPr>
          <p:cNvPr id="13" name="Group 12">
            <a:extLst>
              <a:ext uri="{FF2B5EF4-FFF2-40B4-BE49-F238E27FC236}">
                <a16:creationId xmlns:a16="http://schemas.microsoft.com/office/drawing/2014/main" id="{647F72CD-F26D-2F79-4831-48E14F0DF83E}"/>
              </a:ext>
            </a:extLst>
          </p:cNvPr>
          <p:cNvGrpSpPr/>
          <p:nvPr userDrawn="1"/>
        </p:nvGrpSpPr>
        <p:grpSpPr>
          <a:xfrm>
            <a:off x="662745" y="1892710"/>
            <a:ext cx="593889" cy="593889"/>
            <a:chOff x="635035" y="1892710"/>
            <a:chExt cx="593889" cy="593889"/>
          </a:xfrm>
        </p:grpSpPr>
        <p:sp>
          <p:nvSpPr>
            <p:cNvPr id="2" name="Oval 1">
              <a:extLst>
                <a:ext uri="{FF2B5EF4-FFF2-40B4-BE49-F238E27FC236}">
                  <a16:creationId xmlns:a16="http://schemas.microsoft.com/office/drawing/2014/main" id="{D991BD81-BC2D-10FF-E174-E99151F13F0D}"/>
                </a:ext>
              </a:extLst>
            </p:cNvPr>
            <p:cNvSpPr/>
            <p:nvPr userDrawn="1"/>
          </p:nvSpPr>
          <p:spPr>
            <a:xfrm>
              <a:off x="635035" y="1892710"/>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title="Icon of an arrow">
              <a:extLst>
                <a:ext uri="{FF2B5EF4-FFF2-40B4-BE49-F238E27FC236}">
                  <a16:creationId xmlns:a16="http://schemas.microsoft.com/office/drawing/2014/main" id="{361CCD75-AC1D-BEA5-2D74-D0F09C99BA55}"/>
                </a:ext>
              </a:extLst>
            </p:cNvPr>
            <p:cNvSpPr>
              <a:spLocks noChangeAspect="1" noEditPoints="1"/>
            </p:cNvSpPr>
            <p:nvPr userDrawn="1"/>
          </p:nvSpPr>
          <p:spPr bwMode="auto">
            <a:xfrm>
              <a:off x="780890" y="2042471"/>
              <a:ext cx="320948" cy="29615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35" name="Text Placeholder 24">
            <a:extLst>
              <a:ext uri="{FF2B5EF4-FFF2-40B4-BE49-F238E27FC236}">
                <a16:creationId xmlns:a16="http://schemas.microsoft.com/office/drawing/2014/main" id="{5BC16637-3DC2-093E-ED78-9E326F16B5BC}"/>
              </a:ext>
            </a:extLst>
          </p:cNvPr>
          <p:cNvSpPr>
            <a:spLocks noGrp="1"/>
          </p:cNvSpPr>
          <p:nvPr>
            <p:ph type="body" sz="quarter" idx="29" hasCustomPrompt="1"/>
          </p:nvPr>
        </p:nvSpPr>
        <p:spPr>
          <a:xfrm>
            <a:off x="1417965" y="3128623"/>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36" name="Text Placeholder 24">
            <a:extLst>
              <a:ext uri="{FF2B5EF4-FFF2-40B4-BE49-F238E27FC236}">
                <a16:creationId xmlns:a16="http://schemas.microsoft.com/office/drawing/2014/main" id="{E7512EE7-80FF-7215-72A9-E9A34189C407}"/>
              </a:ext>
            </a:extLst>
          </p:cNvPr>
          <p:cNvSpPr>
            <a:spLocks noGrp="1"/>
          </p:cNvSpPr>
          <p:nvPr>
            <p:ph type="body" sz="quarter" idx="30" hasCustomPrompt="1"/>
          </p:nvPr>
        </p:nvSpPr>
        <p:spPr>
          <a:xfrm>
            <a:off x="1417965" y="3939076"/>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grpSp>
        <p:nvGrpSpPr>
          <p:cNvPr id="37" name="Group 36">
            <a:extLst>
              <a:ext uri="{FF2B5EF4-FFF2-40B4-BE49-F238E27FC236}">
                <a16:creationId xmlns:a16="http://schemas.microsoft.com/office/drawing/2014/main" id="{7F5A0C2A-6775-0BF5-3AAD-2716CDF8E4F2}"/>
              </a:ext>
            </a:extLst>
          </p:cNvPr>
          <p:cNvGrpSpPr/>
          <p:nvPr userDrawn="1"/>
        </p:nvGrpSpPr>
        <p:grpSpPr>
          <a:xfrm>
            <a:off x="662745" y="3220063"/>
            <a:ext cx="593889" cy="593889"/>
            <a:chOff x="635035" y="1892710"/>
            <a:chExt cx="593889" cy="593889"/>
          </a:xfrm>
        </p:grpSpPr>
        <p:sp>
          <p:nvSpPr>
            <p:cNvPr id="38" name="Oval 37">
              <a:extLst>
                <a:ext uri="{FF2B5EF4-FFF2-40B4-BE49-F238E27FC236}">
                  <a16:creationId xmlns:a16="http://schemas.microsoft.com/office/drawing/2014/main" id="{9BB1551E-5B3E-869A-6135-AE7A22CC015A}"/>
                </a:ext>
              </a:extLst>
            </p:cNvPr>
            <p:cNvSpPr/>
            <p:nvPr userDrawn="1"/>
          </p:nvSpPr>
          <p:spPr>
            <a:xfrm>
              <a:off x="635035" y="1892710"/>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title="Icon of an arrow">
              <a:extLst>
                <a:ext uri="{FF2B5EF4-FFF2-40B4-BE49-F238E27FC236}">
                  <a16:creationId xmlns:a16="http://schemas.microsoft.com/office/drawing/2014/main" id="{11CE23D0-2807-CC93-13B7-2E44B0535A22}"/>
                </a:ext>
              </a:extLst>
            </p:cNvPr>
            <p:cNvSpPr>
              <a:spLocks noChangeAspect="1" noEditPoints="1"/>
            </p:cNvSpPr>
            <p:nvPr userDrawn="1"/>
          </p:nvSpPr>
          <p:spPr bwMode="auto">
            <a:xfrm>
              <a:off x="780890" y="2042471"/>
              <a:ext cx="320948" cy="29615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60" name="Text Placeholder 24">
            <a:extLst>
              <a:ext uri="{FF2B5EF4-FFF2-40B4-BE49-F238E27FC236}">
                <a16:creationId xmlns:a16="http://schemas.microsoft.com/office/drawing/2014/main" id="{CC58FE4C-0CF5-19B7-6C33-9C78DEEDDA7C}"/>
              </a:ext>
            </a:extLst>
          </p:cNvPr>
          <p:cNvSpPr>
            <a:spLocks noGrp="1"/>
          </p:cNvSpPr>
          <p:nvPr>
            <p:ph type="body" sz="quarter" idx="31" hasCustomPrompt="1"/>
          </p:nvPr>
        </p:nvSpPr>
        <p:spPr>
          <a:xfrm>
            <a:off x="6458051" y="1801270"/>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1" name="Text Placeholder 24">
            <a:extLst>
              <a:ext uri="{FF2B5EF4-FFF2-40B4-BE49-F238E27FC236}">
                <a16:creationId xmlns:a16="http://schemas.microsoft.com/office/drawing/2014/main" id="{489D481E-CF83-F3BA-0DC5-78E3AA7F3821}"/>
              </a:ext>
            </a:extLst>
          </p:cNvPr>
          <p:cNvSpPr>
            <a:spLocks noGrp="1"/>
          </p:cNvSpPr>
          <p:nvPr>
            <p:ph type="body" sz="quarter" idx="32" hasCustomPrompt="1"/>
          </p:nvPr>
        </p:nvSpPr>
        <p:spPr>
          <a:xfrm>
            <a:off x="6458051" y="2611723"/>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grpSp>
        <p:nvGrpSpPr>
          <p:cNvPr id="62" name="Group 61">
            <a:extLst>
              <a:ext uri="{FF2B5EF4-FFF2-40B4-BE49-F238E27FC236}">
                <a16:creationId xmlns:a16="http://schemas.microsoft.com/office/drawing/2014/main" id="{9A11D86D-7DD8-30EC-FD96-ADE4F8D0C3CA}"/>
              </a:ext>
            </a:extLst>
          </p:cNvPr>
          <p:cNvGrpSpPr/>
          <p:nvPr userDrawn="1"/>
        </p:nvGrpSpPr>
        <p:grpSpPr>
          <a:xfrm>
            <a:off x="5702831" y="1892710"/>
            <a:ext cx="593889" cy="593889"/>
            <a:chOff x="635035" y="1892710"/>
            <a:chExt cx="593889" cy="593889"/>
          </a:xfrm>
        </p:grpSpPr>
        <p:sp>
          <p:nvSpPr>
            <p:cNvPr id="63" name="Oval 62">
              <a:extLst>
                <a:ext uri="{FF2B5EF4-FFF2-40B4-BE49-F238E27FC236}">
                  <a16:creationId xmlns:a16="http://schemas.microsoft.com/office/drawing/2014/main" id="{FF3478D9-FB39-1DA5-3C24-3D9811940F23}"/>
                </a:ext>
              </a:extLst>
            </p:cNvPr>
            <p:cNvSpPr/>
            <p:nvPr userDrawn="1"/>
          </p:nvSpPr>
          <p:spPr>
            <a:xfrm>
              <a:off x="635035" y="1892710"/>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arrow" title="Icon of an arrow">
              <a:extLst>
                <a:ext uri="{FF2B5EF4-FFF2-40B4-BE49-F238E27FC236}">
                  <a16:creationId xmlns:a16="http://schemas.microsoft.com/office/drawing/2014/main" id="{2313CFE3-A958-C020-B398-C9B631F395E1}"/>
                </a:ext>
              </a:extLst>
            </p:cNvPr>
            <p:cNvSpPr>
              <a:spLocks noChangeAspect="1" noEditPoints="1"/>
            </p:cNvSpPr>
            <p:nvPr userDrawn="1"/>
          </p:nvSpPr>
          <p:spPr bwMode="auto">
            <a:xfrm>
              <a:off x="780890" y="2042471"/>
              <a:ext cx="320948" cy="29615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65" name="Text Placeholder 24">
            <a:extLst>
              <a:ext uri="{FF2B5EF4-FFF2-40B4-BE49-F238E27FC236}">
                <a16:creationId xmlns:a16="http://schemas.microsoft.com/office/drawing/2014/main" id="{0F65F7C1-8345-4E14-FA55-602499AB13DB}"/>
              </a:ext>
            </a:extLst>
          </p:cNvPr>
          <p:cNvSpPr>
            <a:spLocks noGrp="1"/>
          </p:cNvSpPr>
          <p:nvPr>
            <p:ph type="body" sz="quarter" idx="33" hasCustomPrompt="1"/>
          </p:nvPr>
        </p:nvSpPr>
        <p:spPr>
          <a:xfrm>
            <a:off x="6458051" y="3128623"/>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6" name="Text Placeholder 24">
            <a:extLst>
              <a:ext uri="{FF2B5EF4-FFF2-40B4-BE49-F238E27FC236}">
                <a16:creationId xmlns:a16="http://schemas.microsoft.com/office/drawing/2014/main" id="{5721C4C8-F297-F5D8-6089-68C9CE1AA59A}"/>
              </a:ext>
            </a:extLst>
          </p:cNvPr>
          <p:cNvSpPr>
            <a:spLocks noGrp="1"/>
          </p:cNvSpPr>
          <p:nvPr>
            <p:ph type="body" sz="quarter" idx="34" hasCustomPrompt="1"/>
          </p:nvPr>
        </p:nvSpPr>
        <p:spPr>
          <a:xfrm>
            <a:off x="6458051" y="3939076"/>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grpSp>
        <p:nvGrpSpPr>
          <p:cNvPr id="67" name="Group 66">
            <a:extLst>
              <a:ext uri="{FF2B5EF4-FFF2-40B4-BE49-F238E27FC236}">
                <a16:creationId xmlns:a16="http://schemas.microsoft.com/office/drawing/2014/main" id="{9843E6D1-B68C-E70A-E80D-79F18CC865C4}"/>
              </a:ext>
            </a:extLst>
          </p:cNvPr>
          <p:cNvGrpSpPr/>
          <p:nvPr userDrawn="1"/>
        </p:nvGrpSpPr>
        <p:grpSpPr>
          <a:xfrm>
            <a:off x="5702831" y="3220063"/>
            <a:ext cx="593889" cy="593889"/>
            <a:chOff x="635035" y="1892710"/>
            <a:chExt cx="593889" cy="593889"/>
          </a:xfrm>
        </p:grpSpPr>
        <p:sp>
          <p:nvSpPr>
            <p:cNvPr id="68" name="Oval 67">
              <a:extLst>
                <a:ext uri="{FF2B5EF4-FFF2-40B4-BE49-F238E27FC236}">
                  <a16:creationId xmlns:a16="http://schemas.microsoft.com/office/drawing/2014/main" id="{37FB65EC-6C01-B60C-3A3E-9488DDC82D69}"/>
                </a:ext>
              </a:extLst>
            </p:cNvPr>
            <p:cNvSpPr/>
            <p:nvPr userDrawn="1"/>
          </p:nvSpPr>
          <p:spPr>
            <a:xfrm>
              <a:off x="635035" y="1892710"/>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arrow" title="Icon of an arrow">
              <a:extLst>
                <a:ext uri="{FF2B5EF4-FFF2-40B4-BE49-F238E27FC236}">
                  <a16:creationId xmlns:a16="http://schemas.microsoft.com/office/drawing/2014/main" id="{9490300C-4FE0-C9B7-842A-2D2706E2BFEB}"/>
                </a:ext>
              </a:extLst>
            </p:cNvPr>
            <p:cNvSpPr>
              <a:spLocks noChangeAspect="1" noEditPoints="1"/>
            </p:cNvSpPr>
            <p:nvPr userDrawn="1"/>
          </p:nvSpPr>
          <p:spPr bwMode="auto">
            <a:xfrm>
              <a:off x="780890" y="2042471"/>
              <a:ext cx="320948" cy="29615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70" name="Picture Placeholder 6">
            <a:extLst>
              <a:ext uri="{FF2B5EF4-FFF2-40B4-BE49-F238E27FC236}">
                <a16:creationId xmlns:a16="http://schemas.microsoft.com/office/drawing/2014/main" id="{A5AA30C4-BCC6-34A2-57E3-D000ED43D5DF}"/>
              </a:ext>
            </a:extLst>
          </p:cNvPr>
          <p:cNvSpPr>
            <a:spLocks noGrp="1"/>
          </p:cNvSpPr>
          <p:nvPr>
            <p:ph type="pic" sz="quarter" idx="35"/>
          </p:nvPr>
        </p:nvSpPr>
        <p:spPr>
          <a:xfrm>
            <a:off x="0" y="4644675"/>
            <a:ext cx="12192000" cy="2213325"/>
          </a:xfrm>
          <a:prstGeom prst="rect">
            <a:avLst/>
          </a:prstGeom>
          <a:solidFill>
            <a:schemeClr val="accent3"/>
          </a:solidFill>
        </p:spPr>
        <p:txBody>
          <a:bodyPr/>
          <a:lstStyle>
            <a:lvl1pPr marL="0" indent="0">
              <a:buNone/>
              <a:defRPr/>
            </a:lvl1pPr>
          </a:lstStyle>
          <a:p>
            <a:endParaRPr lang="en-US"/>
          </a:p>
        </p:txBody>
      </p:sp>
      <p:sp>
        <p:nvSpPr>
          <p:cNvPr id="71" name="Footer Placeholder 25">
            <a:extLst>
              <a:ext uri="{FF2B5EF4-FFF2-40B4-BE49-F238E27FC236}">
                <a16:creationId xmlns:a16="http://schemas.microsoft.com/office/drawing/2014/main" id="{8155CD25-AE0B-5F1F-AA06-BCFBEF9FFEA3}"/>
              </a:ext>
            </a:extLst>
          </p:cNvPr>
          <p:cNvSpPr>
            <a:spLocks noGrp="1"/>
          </p:cNvSpPr>
          <p:nvPr>
            <p:ph type="ftr" sz="quarter" idx="25"/>
          </p:nvPr>
        </p:nvSpPr>
        <p:spPr>
          <a:xfrm>
            <a:off x="1007097" y="6311900"/>
            <a:ext cx="2078736" cy="365125"/>
          </a:xfrm>
        </p:spPr>
        <p:txBody>
          <a:bodyPr/>
          <a:lstStyle>
            <a:lvl1pPr>
              <a:defRPr>
                <a:solidFill>
                  <a:schemeClr val="bg1"/>
                </a:solidFill>
              </a:defRPr>
            </a:lvl1pPr>
          </a:lstStyle>
          <a:p>
            <a:r>
              <a:rPr lang="en-US"/>
              <a:t>Microsoft Fabric / Section title</a:t>
            </a:r>
          </a:p>
        </p:txBody>
      </p:sp>
      <p:sp>
        <p:nvSpPr>
          <p:cNvPr id="72" name="Slide Number Placeholder 26">
            <a:extLst>
              <a:ext uri="{FF2B5EF4-FFF2-40B4-BE49-F238E27FC236}">
                <a16:creationId xmlns:a16="http://schemas.microsoft.com/office/drawing/2014/main" id="{CE37AFC0-3C55-9058-D569-D055B7BA3CF3}"/>
              </a:ext>
            </a:extLst>
          </p:cNvPr>
          <p:cNvSpPr>
            <a:spLocks noGrp="1"/>
          </p:cNvSpPr>
          <p:nvPr>
            <p:ph type="sldNum" sz="quarter" idx="26"/>
          </p:nvPr>
        </p:nvSpPr>
        <p:spPr>
          <a:xfrm>
            <a:off x="607809" y="6311900"/>
            <a:ext cx="399288" cy="365125"/>
          </a:xfrm>
        </p:spPr>
        <p:txBody>
          <a:bodyPr/>
          <a:lstStyle>
            <a:lvl1pPr>
              <a:defRPr>
                <a:solidFill>
                  <a:schemeClr val="bg1"/>
                </a:solidFill>
              </a:defRPr>
            </a:lvl1pPr>
          </a:lstStyle>
          <a:p>
            <a:fld id="{B1356FBF-028C-F74E-A7B4-9B8ED246DD1B}" type="slidenum">
              <a:rPr lang="en-US" smtClean="0"/>
              <a:pPr/>
              <a:t>‹#›</a:t>
            </a:fld>
            <a:endParaRPr lang="en-US"/>
          </a:p>
        </p:txBody>
      </p:sp>
    </p:spTree>
    <p:extLst>
      <p:ext uri="{BB962C8B-B14F-4D97-AF65-F5344CB8AC3E}">
        <p14:creationId xmlns:p14="http://schemas.microsoft.com/office/powerpoint/2010/main" val="316360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ext steps w/ no icons slide">
    <p:bg>
      <p:bgPr>
        <a:solidFill>
          <a:schemeClr val="bg1"/>
        </a:solidFill>
        <a:effectLst/>
      </p:bgPr>
    </p:bg>
    <p:spTree>
      <p:nvGrpSpPr>
        <p:cNvPr id="1" name=""/>
        <p:cNvGrpSpPr/>
        <p:nvPr/>
      </p:nvGrpSpPr>
      <p:grpSpPr>
        <a:xfrm>
          <a:off x="0" y="0"/>
          <a:ext cx="0" cy="0"/>
          <a:chOff x="0" y="0"/>
          <a:chExt cx="0" cy="0"/>
        </a:xfrm>
      </p:grpSpPr>
      <p:sp>
        <p:nvSpPr>
          <p:cNvPr id="4" name="Text Placeholder 24">
            <a:extLst>
              <a:ext uri="{FF2B5EF4-FFF2-40B4-BE49-F238E27FC236}">
                <a16:creationId xmlns:a16="http://schemas.microsoft.com/office/drawing/2014/main" id="{61393929-3876-7075-DBB0-3529420A50A0}"/>
              </a:ext>
            </a:extLst>
          </p:cNvPr>
          <p:cNvSpPr>
            <a:spLocks noGrp="1"/>
          </p:cNvSpPr>
          <p:nvPr>
            <p:ph type="body" sz="quarter" idx="24" hasCustomPrompt="1"/>
          </p:nvPr>
        </p:nvSpPr>
        <p:spPr>
          <a:xfrm>
            <a:off x="1417965" y="1801270"/>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7" name="Text Placeholder 24">
            <a:extLst>
              <a:ext uri="{FF2B5EF4-FFF2-40B4-BE49-F238E27FC236}">
                <a16:creationId xmlns:a16="http://schemas.microsoft.com/office/drawing/2014/main" id="{C0401A82-7B82-4288-EBCA-1F0D7C80F5CE}"/>
              </a:ext>
            </a:extLst>
          </p:cNvPr>
          <p:cNvSpPr>
            <a:spLocks noGrp="1"/>
          </p:cNvSpPr>
          <p:nvPr>
            <p:ph type="body" sz="quarter" idx="27" hasCustomPrompt="1"/>
          </p:nvPr>
        </p:nvSpPr>
        <p:spPr>
          <a:xfrm>
            <a:off x="1417965" y="2611723"/>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2" name="Oval 1">
            <a:extLst>
              <a:ext uri="{FF2B5EF4-FFF2-40B4-BE49-F238E27FC236}">
                <a16:creationId xmlns:a16="http://schemas.microsoft.com/office/drawing/2014/main" id="{D991BD81-BC2D-10FF-E174-E99151F13F0D}"/>
              </a:ext>
            </a:extLst>
          </p:cNvPr>
          <p:cNvSpPr/>
          <p:nvPr userDrawn="1"/>
        </p:nvSpPr>
        <p:spPr>
          <a:xfrm>
            <a:off x="662745" y="1892710"/>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24">
            <a:extLst>
              <a:ext uri="{FF2B5EF4-FFF2-40B4-BE49-F238E27FC236}">
                <a16:creationId xmlns:a16="http://schemas.microsoft.com/office/drawing/2014/main" id="{5BC16637-3DC2-093E-ED78-9E326F16B5BC}"/>
              </a:ext>
            </a:extLst>
          </p:cNvPr>
          <p:cNvSpPr>
            <a:spLocks noGrp="1"/>
          </p:cNvSpPr>
          <p:nvPr>
            <p:ph type="body" sz="quarter" idx="29" hasCustomPrompt="1"/>
          </p:nvPr>
        </p:nvSpPr>
        <p:spPr>
          <a:xfrm>
            <a:off x="1417965" y="3128623"/>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36" name="Text Placeholder 24">
            <a:extLst>
              <a:ext uri="{FF2B5EF4-FFF2-40B4-BE49-F238E27FC236}">
                <a16:creationId xmlns:a16="http://schemas.microsoft.com/office/drawing/2014/main" id="{E7512EE7-80FF-7215-72A9-E9A34189C407}"/>
              </a:ext>
            </a:extLst>
          </p:cNvPr>
          <p:cNvSpPr>
            <a:spLocks noGrp="1"/>
          </p:cNvSpPr>
          <p:nvPr>
            <p:ph type="body" sz="quarter" idx="30" hasCustomPrompt="1"/>
          </p:nvPr>
        </p:nvSpPr>
        <p:spPr>
          <a:xfrm>
            <a:off x="1417965" y="3939076"/>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38" name="Oval 37">
            <a:extLst>
              <a:ext uri="{FF2B5EF4-FFF2-40B4-BE49-F238E27FC236}">
                <a16:creationId xmlns:a16="http://schemas.microsoft.com/office/drawing/2014/main" id="{9BB1551E-5B3E-869A-6135-AE7A22CC015A}"/>
              </a:ext>
            </a:extLst>
          </p:cNvPr>
          <p:cNvSpPr/>
          <p:nvPr userDrawn="1"/>
        </p:nvSpPr>
        <p:spPr>
          <a:xfrm>
            <a:off x="662745" y="3220063"/>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 Placeholder 24">
            <a:extLst>
              <a:ext uri="{FF2B5EF4-FFF2-40B4-BE49-F238E27FC236}">
                <a16:creationId xmlns:a16="http://schemas.microsoft.com/office/drawing/2014/main" id="{CC58FE4C-0CF5-19B7-6C33-9C78DEEDDA7C}"/>
              </a:ext>
            </a:extLst>
          </p:cNvPr>
          <p:cNvSpPr>
            <a:spLocks noGrp="1"/>
          </p:cNvSpPr>
          <p:nvPr>
            <p:ph type="body" sz="quarter" idx="31" hasCustomPrompt="1"/>
          </p:nvPr>
        </p:nvSpPr>
        <p:spPr>
          <a:xfrm>
            <a:off x="6458051" y="1801270"/>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1" name="Text Placeholder 24">
            <a:extLst>
              <a:ext uri="{FF2B5EF4-FFF2-40B4-BE49-F238E27FC236}">
                <a16:creationId xmlns:a16="http://schemas.microsoft.com/office/drawing/2014/main" id="{489D481E-CF83-F3BA-0DC5-78E3AA7F3821}"/>
              </a:ext>
            </a:extLst>
          </p:cNvPr>
          <p:cNvSpPr>
            <a:spLocks noGrp="1"/>
          </p:cNvSpPr>
          <p:nvPr>
            <p:ph type="body" sz="quarter" idx="32" hasCustomPrompt="1"/>
          </p:nvPr>
        </p:nvSpPr>
        <p:spPr>
          <a:xfrm>
            <a:off x="6458051" y="2611723"/>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63" name="Oval 62">
            <a:extLst>
              <a:ext uri="{FF2B5EF4-FFF2-40B4-BE49-F238E27FC236}">
                <a16:creationId xmlns:a16="http://schemas.microsoft.com/office/drawing/2014/main" id="{FF3478D9-FB39-1DA5-3C24-3D9811940F23}"/>
              </a:ext>
            </a:extLst>
          </p:cNvPr>
          <p:cNvSpPr/>
          <p:nvPr userDrawn="1"/>
        </p:nvSpPr>
        <p:spPr>
          <a:xfrm>
            <a:off x="5702831" y="1892710"/>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 Placeholder 24">
            <a:extLst>
              <a:ext uri="{FF2B5EF4-FFF2-40B4-BE49-F238E27FC236}">
                <a16:creationId xmlns:a16="http://schemas.microsoft.com/office/drawing/2014/main" id="{0F65F7C1-8345-4E14-FA55-602499AB13DB}"/>
              </a:ext>
            </a:extLst>
          </p:cNvPr>
          <p:cNvSpPr>
            <a:spLocks noGrp="1"/>
          </p:cNvSpPr>
          <p:nvPr>
            <p:ph type="body" sz="quarter" idx="33" hasCustomPrompt="1"/>
          </p:nvPr>
        </p:nvSpPr>
        <p:spPr>
          <a:xfrm>
            <a:off x="6458051" y="3128623"/>
            <a:ext cx="3672648"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6" name="Text Placeholder 24">
            <a:extLst>
              <a:ext uri="{FF2B5EF4-FFF2-40B4-BE49-F238E27FC236}">
                <a16:creationId xmlns:a16="http://schemas.microsoft.com/office/drawing/2014/main" id="{5721C4C8-F297-F5D8-6089-68C9CE1AA59A}"/>
              </a:ext>
            </a:extLst>
          </p:cNvPr>
          <p:cNvSpPr>
            <a:spLocks noGrp="1"/>
          </p:cNvSpPr>
          <p:nvPr>
            <p:ph type="body" sz="quarter" idx="34" hasCustomPrompt="1"/>
          </p:nvPr>
        </p:nvSpPr>
        <p:spPr>
          <a:xfrm>
            <a:off x="6458051" y="3939076"/>
            <a:ext cx="3672648"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68" name="Oval 67">
            <a:extLst>
              <a:ext uri="{FF2B5EF4-FFF2-40B4-BE49-F238E27FC236}">
                <a16:creationId xmlns:a16="http://schemas.microsoft.com/office/drawing/2014/main" id="{37FB65EC-6C01-B60C-3A3E-9488DDC82D69}"/>
              </a:ext>
            </a:extLst>
          </p:cNvPr>
          <p:cNvSpPr/>
          <p:nvPr userDrawn="1"/>
        </p:nvSpPr>
        <p:spPr>
          <a:xfrm>
            <a:off x="5702831" y="3220063"/>
            <a:ext cx="593889" cy="593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Picture Placeholder 6">
            <a:extLst>
              <a:ext uri="{FF2B5EF4-FFF2-40B4-BE49-F238E27FC236}">
                <a16:creationId xmlns:a16="http://schemas.microsoft.com/office/drawing/2014/main" id="{A5AA30C4-BCC6-34A2-57E3-D000ED43D5DF}"/>
              </a:ext>
            </a:extLst>
          </p:cNvPr>
          <p:cNvSpPr>
            <a:spLocks noGrp="1"/>
          </p:cNvSpPr>
          <p:nvPr>
            <p:ph type="pic" sz="quarter" idx="35"/>
          </p:nvPr>
        </p:nvSpPr>
        <p:spPr>
          <a:xfrm>
            <a:off x="0" y="4644675"/>
            <a:ext cx="12192000" cy="2213325"/>
          </a:xfrm>
          <a:prstGeom prst="rect">
            <a:avLst/>
          </a:prstGeom>
          <a:solidFill>
            <a:schemeClr val="accent3"/>
          </a:solidFill>
        </p:spPr>
        <p:txBody>
          <a:bodyPr/>
          <a:lstStyle>
            <a:lvl1pPr marL="0" indent="0">
              <a:buNone/>
              <a:defRPr/>
            </a:lvl1pPr>
          </a:lstStyle>
          <a:p>
            <a:endParaRPr lang="en-US"/>
          </a:p>
        </p:txBody>
      </p:sp>
      <p:sp>
        <p:nvSpPr>
          <p:cNvPr id="71" name="Footer Placeholder 25">
            <a:extLst>
              <a:ext uri="{FF2B5EF4-FFF2-40B4-BE49-F238E27FC236}">
                <a16:creationId xmlns:a16="http://schemas.microsoft.com/office/drawing/2014/main" id="{8155CD25-AE0B-5F1F-AA06-BCFBEF9FFEA3}"/>
              </a:ext>
            </a:extLst>
          </p:cNvPr>
          <p:cNvSpPr>
            <a:spLocks noGrp="1"/>
          </p:cNvSpPr>
          <p:nvPr>
            <p:ph type="ftr" sz="quarter" idx="25"/>
          </p:nvPr>
        </p:nvSpPr>
        <p:spPr>
          <a:xfrm>
            <a:off x="1007097" y="6311900"/>
            <a:ext cx="2078736" cy="365125"/>
          </a:xfrm>
        </p:spPr>
        <p:txBody>
          <a:bodyPr/>
          <a:lstStyle>
            <a:lvl1pPr>
              <a:defRPr>
                <a:solidFill>
                  <a:schemeClr val="bg1"/>
                </a:solidFill>
              </a:defRPr>
            </a:lvl1pPr>
          </a:lstStyle>
          <a:p>
            <a:r>
              <a:rPr lang="en-US"/>
              <a:t>Microsoft Fabric / Section title</a:t>
            </a:r>
          </a:p>
        </p:txBody>
      </p:sp>
      <p:sp>
        <p:nvSpPr>
          <p:cNvPr id="72" name="Slide Number Placeholder 26">
            <a:extLst>
              <a:ext uri="{FF2B5EF4-FFF2-40B4-BE49-F238E27FC236}">
                <a16:creationId xmlns:a16="http://schemas.microsoft.com/office/drawing/2014/main" id="{CE37AFC0-3C55-9058-D569-D055B7BA3CF3}"/>
              </a:ext>
            </a:extLst>
          </p:cNvPr>
          <p:cNvSpPr>
            <a:spLocks noGrp="1"/>
          </p:cNvSpPr>
          <p:nvPr>
            <p:ph type="sldNum" sz="quarter" idx="26"/>
          </p:nvPr>
        </p:nvSpPr>
        <p:spPr>
          <a:xfrm>
            <a:off x="607809" y="6311900"/>
            <a:ext cx="399288" cy="365125"/>
          </a:xfrm>
        </p:spPr>
        <p:txBody>
          <a:bodyPr/>
          <a:lstStyle>
            <a:lvl1pPr>
              <a:defRPr>
                <a:solidFill>
                  <a:schemeClr val="bg1"/>
                </a:solidFill>
              </a:defRPr>
            </a:lvl1pPr>
          </a:lstStyle>
          <a:p>
            <a:fld id="{B1356FBF-028C-F74E-A7B4-9B8ED246DD1B}" type="slidenum">
              <a:rPr lang="en-US" smtClean="0"/>
              <a:pPr/>
              <a:t>‹#›</a:t>
            </a:fld>
            <a:endParaRPr lang="en-US"/>
          </a:p>
        </p:txBody>
      </p:sp>
      <p:sp>
        <p:nvSpPr>
          <p:cNvPr id="5" name="Text Placeholder 24">
            <a:extLst>
              <a:ext uri="{FF2B5EF4-FFF2-40B4-BE49-F238E27FC236}">
                <a16:creationId xmlns:a16="http://schemas.microsoft.com/office/drawing/2014/main" id="{BAE9C7F4-0CD6-2B48-A6E4-242D4489F9BD}"/>
              </a:ext>
            </a:extLst>
          </p:cNvPr>
          <p:cNvSpPr>
            <a:spLocks noGrp="1"/>
          </p:cNvSpPr>
          <p:nvPr>
            <p:ph type="body" sz="quarter" idx="23" hasCustomPrompt="1"/>
          </p:nvPr>
        </p:nvSpPr>
        <p:spPr>
          <a:xfrm>
            <a:off x="635033" y="609600"/>
            <a:ext cx="10947366" cy="674031"/>
          </a:xfrm>
          <a:prstGeom prst="rect">
            <a:avLst/>
          </a:prstGeom>
        </p:spPr>
        <p:txBody>
          <a:bodyPr>
            <a:spAutoFit/>
          </a:bodyPr>
          <a:lstStyle>
            <a:lvl1pPr marL="0" indent="0">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Next steps</a:t>
            </a:r>
          </a:p>
        </p:txBody>
      </p:sp>
    </p:spTree>
    <p:extLst>
      <p:ext uri="{BB962C8B-B14F-4D97-AF65-F5344CB8AC3E}">
        <p14:creationId xmlns:p14="http://schemas.microsoft.com/office/powerpoint/2010/main" val="25008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List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3C849A-49C3-A874-DC36-4C268B37F7F0}"/>
              </a:ext>
            </a:extLst>
          </p:cNvPr>
          <p:cNvSpPr/>
          <p:nvPr userDrawn="1"/>
        </p:nvSpPr>
        <p:spPr>
          <a:xfrm>
            <a:off x="0" y="0"/>
            <a:ext cx="46482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4">
            <a:extLst>
              <a:ext uri="{FF2B5EF4-FFF2-40B4-BE49-F238E27FC236}">
                <a16:creationId xmlns:a16="http://schemas.microsoft.com/office/drawing/2014/main" id="{61393929-3876-7075-DBB0-3529420A50A0}"/>
              </a:ext>
            </a:extLst>
          </p:cNvPr>
          <p:cNvSpPr>
            <a:spLocks noGrp="1"/>
          </p:cNvSpPr>
          <p:nvPr>
            <p:ph type="body" sz="quarter" idx="24" hasCustomPrompt="1"/>
          </p:nvPr>
        </p:nvSpPr>
        <p:spPr>
          <a:xfrm>
            <a:off x="6639648" y="3427061"/>
            <a:ext cx="4218852"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7" name="Text Placeholder 24">
            <a:extLst>
              <a:ext uri="{FF2B5EF4-FFF2-40B4-BE49-F238E27FC236}">
                <a16:creationId xmlns:a16="http://schemas.microsoft.com/office/drawing/2014/main" id="{C0401A82-7B82-4288-EBCA-1F0D7C80F5CE}"/>
              </a:ext>
            </a:extLst>
          </p:cNvPr>
          <p:cNvSpPr>
            <a:spLocks noGrp="1"/>
          </p:cNvSpPr>
          <p:nvPr>
            <p:ph type="body" sz="quarter" idx="27" hasCustomPrompt="1"/>
          </p:nvPr>
        </p:nvSpPr>
        <p:spPr>
          <a:xfrm>
            <a:off x="6639648" y="4237514"/>
            <a:ext cx="4218852"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2" name="Oval 1">
            <a:extLst>
              <a:ext uri="{FF2B5EF4-FFF2-40B4-BE49-F238E27FC236}">
                <a16:creationId xmlns:a16="http://schemas.microsoft.com/office/drawing/2014/main" id="{D991BD81-BC2D-10FF-E174-E99151F13F0D}"/>
              </a:ext>
            </a:extLst>
          </p:cNvPr>
          <p:cNvSpPr/>
          <p:nvPr userDrawn="1"/>
        </p:nvSpPr>
        <p:spPr>
          <a:xfrm>
            <a:off x="5471348" y="3393377"/>
            <a:ext cx="816470" cy="816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24">
            <a:extLst>
              <a:ext uri="{FF2B5EF4-FFF2-40B4-BE49-F238E27FC236}">
                <a16:creationId xmlns:a16="http://schemas.microsoft.com/office/drawing/2014/main" id="{5BC16637-3DC2-093E-ED78-9E326F16B5BC}"/>
              </a:ext>
            </a:extLst>
          </p:cNvPr>
          <p:cNvSpPr>
            <a:spLocks noGrp="1"/>
          </p:cNvSpPr>
          <p:nvPr>
            <p:ph type="body" sz="quarter" idx="29" hasCustomPrompt="1"/>
          </p:nvPr>
        </p:nvSpPr>
        <p:spPr>
          <a:xfrm>
            <a:off x="6639648" y="4754414"/>
            <a:ext cx="4218852"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36" name="Text Placeholder 24">
            <a:extLst>
              <a:ext uri="{FF2B5EF4-FFF2-40B4-BE49-F238E27FC236}">
                <a16:creationId xmlns:a16="http://schemas.microsoft.com/office/drawing/2014/main" id="{E7512EE7-80FF-7215-72A9-E9A34189C407}"/>
              </a:ext>
            </a:extLst>
          </p:cNvPr>
          <p:cNvSpPr>
            <a:spLocks noGrp="1"/>
          </p:cNvSpPr>
          <p:nvPr>
            <p:ph type="body" sz="quarter" idx="30" hasCustomPrompt="1"/>
          </p:nvPr>
        </p:nvSpPr>
        <p:spPr>
          <a:xfrm>
            <a:off x="6639648" y="5537201"/>
            <a:ext cx="4218852" cy="282230"/>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38" name="Oval 37">
            <a:extLst>
              <a:ext uri="{FF2B5EF4-FFF2-40B4-BE49-F238E27FC236}">
                <a16:creationId xmlns:a16="http://schemas.microsoft.com/office/drawing/2014/main" id="{9BB1551E-5B3E-869A-6135-AE7A22CC015A}"/>
              </a:ext>
            </a:extLst>
          </p:cNvPr>
          <p:cNvSpPr/>
          <p:nvPr userDrawn="1"/>
        </p:nvSpPr>
        <p:spPr>
          <a:xfrm>
            <a:off x="5471348" y="4720730"/>
            <a:ext cx="816470" cy="816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 Placeholder 24">
            <a:extLst>
              <a:ext uri="{FF2B5EF4-FFF2-40B4-BE49-F238E27FC236}">
                <a16:creationId xmlns:a16="http://schemas.microsoft.com/office/drawing/2014/main" id="{CC58FE4C-0CF5-19B7-6C33-9C78DEEDDA7C}"/>
              </a:ext>
            </a:extLst>
          </p:cNvPr>
          <p:cNvSpPr>
            <a:spLocks noGrp="1"/>
          </p:cNvSpPr>
          <p:nvPr>
            <p:ph type="body" sz="quarter" idx="31" hasCustomPrompt="1"/>
          </p:nvPr>
        </p:nvSpPr>
        <p:spPr>
          <a:xfrm>
            <a:off x="6639648" y="735408"/>
            <a:ext cx="4218852"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1" name="Text Placeholder 24">
            <a:extLst>
              <a:ext uri="{FF2B5EF4-FFF2-40B4-BE49-F238E27FC236}">
                <a16:creationId xmlns:a16="http://schemas.microsoft.com/office/drawing/2014/main" id="{489D481E-CF83-F3BA-0DC5-78E3AA7F3821}"/>
              </a:ext>
            </a:extLst>
          </p:cNvPr>
          <p:cNvSpPr>
            <a:spLocks noGrp="1"/>
          </p:cNvSpPr>
          <p:nvPr>
            <p:ph type="body" sz="quarter" idx="32" hasCustomPrompt="1"/>
          </p:nvPr>
        </p:nvSpPr>
        <p:spPr>
          <a:xfrm>
            <a:off x="6639648" y="1545861"/>
            <a:ext cx="4218852" cy="280432"/>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63" name="Oval 62">
            <a:extLst>
              <a:ext uri="{FF2B5EF4-FFF2-40B4-BE49-F238E27FC236}">
                <a16:creationId xmlns:a16="http://schemas.microsoft.com/office/drawing/2014/main" id="{FF3478D9-FB39-1DA5-3C24-3D9811940F23}"/>
              </a:ext>
            </a:extLst>
          </p:cNvPr>
          <p:cNvSpPr/>
          <p:nvPr userDrawn="1"/>
        </p:nvSpPr>
        <p:spPr>
          <a:xfrm>
            <a:off x="5480251" y="738671"/>
            <a:ext cx="816470" cy="816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 Placeholder 24">
            <a:extLst>
              <a:ext uri="{FF2B5EF4-FFF2-40B4-BE49-F238E27FC236}">
                <a16:creationId xmlns:a16="http://schemas.microsoft.com/office/drawing/2014/main" id="{0F65F7C1-8345-4E14-FA55-602499AB13DB}"/>
              </a:ext>
            </a:extLst>
          </p:cNvPr>
          <p:cNvSpPr>
            <a:spLocks noGrp="1"/>
          </p:cNvSpPr>
          <p:nvPr>
            <p:ph type="body" sz="quarter" idx="33" hasCustomPrompt="1"/>
          </p:nvPr>
        </p:nvSpPr>
        <p:spPr>
          <a:xfrm>
            <a:off x="6639648" y="2094169"/>
            <a:ext cx="4218852" cy="685329"/>
          </a:xfrm>
          <a:prstGeom prst="rect">
            <a:avLst/>
          </a:prstGeom>
        </p:spPr>
        <p:txBody>
          <a:bodyPr>
            <a:noAutofit/>
          </a:bodyPr>
          <a:lstStyle>
            <a:lvl1pPr marL="0" indent="0">
              <a:lnSpc>
                <a:spcPct val="100000"/>
              </a:lnSpc>
              <a:buFontTx/>
              <a:buNone/>
              <a:defRPr sz="1400" b="0" i="0">
                <a:solidFill>
                  <a:schemeClr val="tx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6" name="Text Placeholder 24">
            <a:extLst>
              <a:ext uri="{FF2B5EF4-FFF2-40B4-BE49-F238E27FC236}">
                <a16:creationId xmlns:a16="http://schemas.microsoft.com/office/drawing/2014/main" id="{5721C4C8-F297-F5D8-6089-68C9CE1AA59A}"/>
              </a:ext>
            </a:extLst>
          </p:cNvPr>
          <p:cNvSpPr>
            <a:spLocks noGrp="1"/>
          </p:cNvSpPr>
          <p:nvPr>
            <p:ph type="body" sz="quarter" idx="34" hasCustomPrompt="1"/>
          </p:nvPr>
        </p:nvSpPr>
        <p:spPr>
          <a:xfrm>
            <a:off x="6639648" y="2904622"/>
            <a:ext cx="4218852" cy="254563"/>
          </a:xfrm>
          <a:prstGeom prst="rect">
            <a:avLst/>
          </a:prstGeom>
        </p:spPr>
        <p:txBody>
          <a:bodyPr>
            <a:noAutofit/>
          </a:bodyPr>
          <a:lstStyle>
            <a:lvl1pPr marL="0" indent="0">
              <a:buNone/>
              <a:defRPr sz="1400" b="0" i="0">
                <a:solidFill>
                  <a:schemeClr val="accent4"/>
                </a:solidFill>
                <a:latin typeface="Segoe UI" panose="020B0502040204020203" pitchFamily="34" charset="0"/>
                <a:cs typeface="Segoe UI" panose="020B0502040204020203" pitchFamily="34" charset="0"/>
              </a:defRPr>
            </a:lvl1pPr>
          </a:lstStyle>
          <a:p>
            <a:pPr lvl="0"/>
            <a:r>
              <a:rPr lang="en-US"/>
              <a:t>&gt;link to source</a:t>
            </a:r>
          </a:p>
        </p:txBody>
      </p:sp>
      <p:sp>
        <p:nvSpPr>
          <p:cNvPr id="68" name="Oval 67">
            <a:extLst>
              <a:ext uri="{FF2B5EF4-FFF2-40B4-BE49-F238E27FC236}">
                <a16:creationId xmlns:a16="http://schemas.microsoft.com/office/drawing/2014/main" id="{37FB65EC-6C01-B60C-3A3E-9488DDC82D69}"/>
              </a:ext>
            </a:extLst>
          </p:cNvPr>
          <p:cNvSpPr/>
          <p:nvPr userDrawn="1"/>
        </p:nvSpPr>
        <p:spPr>
          <a:xfrm>
            <a:off x="5480251" y="2066024"/>
            <a:ext cx="816470" cy="8164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ooter Placeholder 25">
            <a:extLst>
              <a:ext uri="{FF2B5EF4-FFF2-40B4-BE49-F238E27FC236}">
                <a16:creationId xmlns:a16="http://schemas.microsoft.com/office/drawing/2014/main" id="{8155CD25-AE0B-5F1F-AA06-BCFBEF9FFEA3}"/>
              </a:ext>
            </a:extLst>
          </p:cNvPr>
          <p:cNvSpPr>
            <a:spLocks noGrp="1"/>
          </p:cNvSpPr>
          <p:nvPr>
            <p:ph type="ftr" sz="quarter" idx="25"/>
          </p:nvPr>
        </p:nvSpPr>
        <p:spPr>
          <a:xfrm>
            <a:off x="1007097" y="6311900"/>
            <a:ext cx="2078736" cy="365125"/>
          </a:xfrm>
        </p:spPr>
        <p:txBody>
          <a:bodyPr/>
          <a:lstStyle>
            <a:lvl1pPr>
              <a:defRPr>
                <a:solidFill>
                  <a:schemeClr val="bg1"/>
                </a:solidFill>
              </a:defRPr>
            </a:lvl1pPr>
          </a:lstStyle>
          <a:p>
            <a:r>
              <a:rPr lang="en-US"/>
              <a:t>Microsoft Fabric / Section title</a:t>
            </a:r>
          </a:p>
        </p:txBody>
      </p:sp>
      <p:sp>
        <p:nvSpPr>
          <p:cNvPr id="72" name="Slide Number Placeholder 26">
            <a:extLst>
              <a:ext uri="{FF2B5EF4-FFF2-40B4-BE49-F238E27FC236}">
                <a16:creationId xmlns:a16="http://schemas.microsoft.com/office/drawing/2014/main" id="{CE37AFC0-3C55-9058-D569-D055B7BA3CF3}"/>
              </a:ext>
            </a:extLst>
          </p:cNvPr>
          <p:cNvSpPr>
            <a:spLocks noGrp="1"/>
          </p:cNvSpPr>
          <p:nvPr>
            <p:ph type="sldNum" sz="quarter" idx="26"/>
          </p:nvPr>
        </p:nvSpPr>
        <p:spPr>
          <a:xfrm>
            <a:off x="607809" y="6311900"/>
            <a:ext cx="399288" cy="365125"/>
          </a:xfrm>
        </p:spPr>
        <p:txBody>
          <a:bodyPr/>
          <a:lstStyle>
            <a:lvl1pPr>
              <a:defRPr>
                <a:solidFill>
                  <a:schemeClr val="bg1"/>
                </a:solidFill>
              </a:defRPr>
            </a:lvl1pPr>
          </a:lstStyle>
          <a:p>
            <a:fld id="{B1356FBF-028C-F74E-A7B4-9B8ED246DD1B}" type="slidenum">
              <a:rPr lang="en-US" smtClean="0"/>
              <a:pPr/>
              <a:t>‹#›</a:t>
            </a:fld>
            <a:endParaRPr lang="en-US"/>
          </a:p>
        </p:txBody>
      </p:sp>
      <p:sp>
        <p:nvSpPr>
          <p:cNvPr id="5" name="Text Placeholder 24">
            <a:extLst>
              <a:ext uri="{FF2B5EF4-FFF2-40B4-BE49-F238E27FC236}">
                <a16:creationId xmlns:a16="http://schemas.microsoft.com/office/drawing/2014/main" id="{BAE9C7F4-0CD6-2B48-A6E4-242D4489F9BD}"/>
              </a:ext>
            </a:extLst>
          </p:cNvPr>
          <p:cNvSpPr>
            <a:spLocks noGrp="1"/>
          </p:cNvSpPr>
          <p:nvPr>
            <p:ph type="body" sz="quarter" idx="23" hasCustomPrompt="1"/>
          </p:nvPr>
        </p:nvSpPr>
        <p:spPr>
          <a:xfrm>
            <a:off x="635033" y="609600"/>
            <a:ext cx="3314666" cy="1255728"/>
          </a:xfrm>
          <a:prstGeom prst="rect">
            <a:avLst/>
          </a:prstGeom>
        </p:spPr>
        <p:txBody>
          <a:bodyPr>
            <a:spAutoFit/>
          </a:bodyPr>
          <a:lstStyle>
            <a:lvl1pPr marL="0" indent="0">
              <a:buNone/>
              <a:defRPr lang="en-US" sz="4200" b="1" i="0" kern="1200" dirty="0">
                <a:solidFill>
                  <a:schemeClr val="bg1"/>
                </a:solidFill>
                <a:latin typeface="Segoe UI Semibold" panose="020B0502040204020203" pitchFamily="34" charset="0"/>
                <a:ea typeface="+mj-ea"/>
                <a:cs typeface="Segoe UI Semibold" panose="020B0502040204020203" pitchFamily="34"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n-US"/>
              <a:t>Get started today</a:t>
            </a:r>
          </a:p>
        </p:txBody>
      </p:sp>
    </p:spTree>
    <p:extLst>
      <p:ext uri="{BB962C8B-B14F-4D97-AF65-F5344CB8AC3E}">
        <p14:creationId xmlns:p14="http://schemas.microsoft.com/office/powerpoint/2010/main" val="150705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ppendix Slide">
    <p:bg>
      <p:bgPr>
        <a:solidFill>
          <a:schemeClr val="tx2"/>
        </a:solidFill>
        <a:effectLst/>
      </p:bgPr>
    </p:bg>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DCBF74EE-C73A-35DF-577D-87FEEBCB50F8}"/>
              </a:ext>
            </a:extLst>
          </p:cNvPr>
          <p:cNvSpPr>
            <a:spLocks noGrp="1"/>
          </p:cNvSpPr>
          <p:nvPr>
            <p:ph type="title" hasCustomPrompt="1"/>
          </p:nvPr>
        </p:nvSpPr>
        <p:spPr>
          <a:xfrm>
            <a:off x="607810" y="5721355"/>
            <a:ext cx="3532390" cy="527045"/>
          </a:xfrm>
        </p:spPr>
        <p:txBody>
          <a:bodyPr>
            <a:noAutofit/>
          </a:bodyPr>
          <a:lstStyle>
            <a:lvl1pPr algn="l">
              <a:defRPr sz="3600" b="0" i="0">
                <a:solidFill>
                  <a:schemeClr val="bg1"/>
                </a:solidFill>
                <a:latin typeface="Segoe UI Semibold" panose="020B0502040204020203" pitchFamily="34" charset="0"/>
                <a:cs typeface="Segoe UI Semibold" panose="020B0502040204020203" pitchFamily="34" charset="0"/>
              </a:defRPr>
            </a:lvl1pPr>
          </a:lstStyle>
          <a:p>
            <a:r>
              <a:rPr lang="en-US"/>
              <a:t>Appendix</a:t>
            </a:r>
          </a:p>
        </p:txBody>
      </p:sp>
    </p:spTree>
    <p:extLst>
      <p:ext uri="{BB962C8B-B14F-4D97-AF65-F5344CB8AC3E}">
        <p14:creationId xmlns:p14="http://schemas.microsoft.com/office/powerpoint/2010/main" val="405335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82614" y="620490"/>
            <a:ext cx="11026774" cy="553998"/>
          </a:xfrm>
        </p:spPr>
        <p:txBody>
          <a:bodyPr/>
          <a:lstStyle>
            <a:lvl1pPr algn="ctr">
              <a:defRPr/>
            </a:lvl1pPr>
          </a:lstStyle>
          <a:p>
            <a:r>
              <a:rPr lang="en-US"/>
              <a:t>Click to edit Master title style</a:t>
            </a:r>
          </a:p>
        </p:txBody>
      </p:sp>
      <p:sp>
        <p:nvSpPr>
          <p:cNvPr id="9" name="Rectangle 8">
            <a:hlinkClick r:id="" action="ppaction://noaction"/>
            <a:extLst>
              <a:ext uri="{FF2B5EF4-FFF2-40B4-BE49-F238E27FC236}">
                <a16:creationId xmlns:a16="http://schemas.microsoft.com/office/drawing/2014/main" id="{946C478C-2B4E-DD4C-BC83-9CCC28E4DF5E}"/>
              </a:ext>
            </a:extLst>
          </p:cNvPr>
          <p:cNvSpPr/>
          <p:nvPr userDrawn="1"/>
        </p:nvSpPr>
        <p:spPr bwMode="auto">
          <a:xfrm>
            <a:off x="11360728" y="0"/>
            <a:ext cx="831273" cy="620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85106614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940725705"/>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6133" y="443350"/>
            <a:ext cx="11023257" cy="5816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0"/>
            <a:ext cx="11028363"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24948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guide id="6" pos="515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82614" y="606640"/>
            <a:ext cx="11026774" cy="581698"/>
          </a:xfrm>
        </p:spPr>
        <p:txBody>
          <a:bodyPr/>
          <a:lstStyle>
            <a:lvl1pPr algn="ctr">
              <a:defRPr/>
            </a:lvl1pPr>
          </a:lstStyle>
          <a:p>
            <a:r>
              <a:rPr lang="en-US"/>
              <a:t>Click to edit Master title style</a:t>
            </a:r>
          </a:p>
        </p:txBody>
      </p:sp>
      <p:sp>
        <p:nvSpPr>
          <p:cNvPr id="9" name="Rectangle 8">
            <a:hlinkClick r:id="" action="ppaction://noaction"/>
            <a:extLst>
              <a:ext uri="{FF2B5EF4-FFF2-40B4-BE49-F238E27FC236}">
                <a16:creationId xmlns:a16="http://schemas.microsoft.com/office/drawing/2014/main" id="{946C478C-2B4E-DD4C-BC83-9CCC28E4DF5E}"/>
              </a:ext>
            </a:extLst>
          </p:cNvPr>
          <p:cNvSpPr/>
          <p:nvPr userDrawn="1"/>
        </p:nvSpPr>
        <p:spPr bwMode="auto">
          <a:xfrm>
            <a:off x="11360728" y="0"/>
            <a:ext cx="831273" cy="620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458862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Section title slide">
    <p:bg>
      <p:bgPr>
        <a:solidFill>
          <a:schemeClr val="bg1"/>
        </a:solidFill>
        <a:effectLst/>
      </p:bgPr>
    </p:bg>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A2ADDE53-316E-F6CF-454D-6E35CF8E8F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07779" y="0"/>
            <a:ext cx="9084221" cy="6858000"/>
          </a:xfrm>
          <a:prstGeom prst="rect">
            <a:avLst/>
          </a:prstGeom>
        </p:spPr>
      </p:pic>
      <p:sp>
        <p:nvSpPr>
          <p:cNvPr id="16" name="Text Placeholder 15">
            <a:extLst>
              <a:ext uri="{FF2B5EF4-FFF2-40B4-BE49-F238E27FC236}">
                <a16:creationId xmlns:a16="http://schemas.microsoft.com/office/drawing/2014/main" id="{7C33432F-43D0-81F2-E840-DFAC05649057}"/>
              </a:ext>
            </a:extLst>
          </p:cNvPr>
          <p:cNvSpPr>
            <a:spLocks noGrp="1"/>
          </p:cNvSpPr>
          <p:nvPr>
            <p:ph type="body" sz="quarter" idx="11" hasCustomPrompt="1"/>
          </p:nvPr>
        </p:nvSpPr>
        <p:spPr>
          <a:xfrm>
            <a:off x="602750" y="2729706"/>
            <a:ext cx="6083799" cy="1398587"/>
          </a:xfrm>
          <a:prstGeom prst="rect">
            <a:avLst/>
          </a:prstGeom>
        </p:spPr>
        <p:txBody>
          <a:bodyPr lIns="0" tIns="0" rIns="0" bIns="0">
            <a:normAutofit/>
          </a:bodyPr>
          <a:lstStyle>
            <a:lvl1pPr marL="0" indent="0">
              <a:lnSpc>
                <a:spcPct val="100000"/>
              </a:lnSpc>
              <a:buNone/>
              <a:defRPr sz="3600" b="0" i="0">
                <a:solidFill>
                  <a:schemeClr val="tx1"/>
                </a:solidFill>
                <a:latin typeface="+mj-lt"/>
                <a:cs typeface="Segoe UI Semibold" panose="020B0502040204020203" pitchFamily="34" charset="0"/>
              </a:defRPr>
            </a:lvl1pPr>
          </a:lstStyle>
          <a:p>
            <a:pPr lvl="0"/>
            <a:r>
              <a:rPr lang="en-US"/>
              <a:t>Section title one</a:t>
            </a:r>
          </a:p>
        </p:txBody>
      </p:sp>
    </p:spTree>
    <p:extLst>
      <p:ext uri="{BB962C8B-B14F-4D97-AF65-F5344CB8AC3E}">
        <p14:creationId xmlns:p14="http://schemas.microsoft.com/office/powerpoint/2010/main" val="371117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7463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FFDF9"/>
        </a:solidFill>
        <a:effectLst/>
      </p:bgPr>
    </p:bg>
    <p:spTree>
      <p:nvGrpSpPr>
        <p:cNvPr id="1" name=""/>
        <p:cNvGrpSpPr/>
        <p:nvPr/>
      </p:nvGrpSpPr>
      <p:grpSpPr>
        <a:xfrm>
          <a:off x="0" y="0"/>
          <a:ext cx="0" cy="0"/>
          <a:chOff x="0" y="0"/>
          <a:chExt cx="0" cy="0"/>
        </a:xfrm>
      </p:grpSpPr>
      <p:pic>
        <p:nvPicPr>
          <p:cNvPr id="3" name="Picture 2" descr="A close up of a hexagon&#10;&#10;Description automatically generated">
            <a:extLst>
              <a:ext uri="{FF2B5EF4-FFF2-40B4-BE49-F238E27FC236}">
                <a16:creationId xmlns:a16="http://schemas.microsoft.com/office/drawing/2014/main" id="{8E137068-7BA3-6088-0C65-0CB23AC063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23409" y="5814699"/>
            <a:ext cx="868680" cy="796908"/>
          </a:xfrm>
          <a:prstGeom prst="rect">
            <a:avLst/>
          </a:prstGeom>
        </p:spPr>
      </p:pic>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a:t>Microsoft Fabric</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spTree>
    <p:extLst>
      <p:ext uri="{BB962C8B-B14F-4D97-AF65-F5344CB8AC3E}">
        <p14:creationId xmlns:p14="http://schemas.microsoft.com/office/powerpoint/2010/main" val="3131438651"/>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5" pos="3338">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Section title slide">
    <p:bg>
      <p:bgPr>
        <a:solidFill>
          <a:srgbClr val="F5F1E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13610-D10C-7EDB-D184-A911B7E375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rgbClr val="B238BA"/>
                </a:solidFill>
                <a:latin typeface="Segoe Sans Display" pitchFamily="2" charset="0"/>
                <a:cs typeface="Segoe Sans Display" pitchFamily="2" charset="0"/>
              </a:defRPr>
            </a:lvl1pPr>
          </a:lstStyle>
          <a:p>
            <a:pPr marL="228600" lvl="0" indent="-228600"/>
            <a:r>
              <a:rPr lang="en-US"/>
              <a:t>Section title two</a:t>
            </a:r>
          </a:p>
        </p:txBody>
      </p:sp>
    </p:spTree>
    <p:extLst>
      <p:ext uri="{BB962C8B-B14F-4D97-AF65-F5344CB8AC3E}">
        <p14:creationId xmlns:p14="http://schemas.microsoft.com/office/powerpoint/2010/main" val="7557634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slide_logo v1">
    <p:bg>
      <p:bgPr>
        <a:solidFill>
          <a:schemeClr val="bg1"/>
        </a:solidFill>
        <a:effectLst/>
      </p:bgPr>
    </p:bg>
    <p:spTree>
      <p:nvGrpSpPr>
        <p:cNvPr id="1" name=""/>
        <p:cNvGrpSpPr/>
        <p:nvPr/>
      </p:nvGrpSpPr>
      <p:grpSpPr>
        <a:xfrm>
          <a:off x="0" y="0"/>
          <a:ext cx="0" cy="0"/>
          <a:chOff x="0" y="0"/>
          <a:chExt cx="0" cy="0"/>
        </a:xfrm>
      </p:grpSpPr>
      <p:pic>
        <p:nvPicPr>
          <p:cNvPr id="2" name="Picture 1" descr="Chart&#10;&#10;Description automatically generated">
            <a:extLst>
              <a:ext uri="{FF2B5EF4-FFF2-40B4-BE49-F238E27FC236}">
                <a16:creationId xmlns:a16="http://schemas.microsoft.com/office/drawing/2014/main" id="{E8E8C692-44AC-E876-6B88-A30869CBAE4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itle 6">
            <a:extLst>
              <a:ext uri="{FF2B5EF4-FFF2-40B4-BE49-F238E27FC236}">
                <a16:creationId xmlns:a16="http://schemas.microsoft.com/office/drawing/2014/main" id="{DCBF74EE-C73A-35DF-577D-87FEEBCB50F8}"/>
              </a:ext>
            </a:extLst>
          </p:cNvPr>
          <p:cNvSpPr>
            <a:spLocks noGrp="1"/>
          </p:cNvSpPr>
          <p:nvPr>
            <p:ph type="title" hasCustomPrompt="1"/>
          </p:nvPr>
        </p:nvSpPr>
        <p:spPr>
          <a:xfrm>
            <a:off x="607810" y="3423718"/>
            <a:ext cx="3252990" cy="527045"/>
          </a:xfrm>
        </p:spPr>
        <p:txBody>
          <a:bodyPr lIns="0" tIns="0" rIns="0" bIns="0">
            <a:noAutofit/>
          </a:bodyPr>
          <a:lstStyle>
            <a:lvl1pPr algn="l">
              <a:defRPr sz="3600" b="1" i="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pic>
        <p:nvPicPr>
          <p:cNvPr id="3" name="Picture 4" descr="Logo&#10;&#10;Description automatically generated">
            <a:extLst>
              <a:ext uri="{FF2B5EF4-FFF2-40B4-BE49-F238E27FC236}">
                <a16:creationId xmlns:a16="http://schemas.microsoft.com/office/drawing/2014/main" id="{096773A6-A77F-25CC-6090-A70B292ED94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2435" y="441960"/>
            <a:ext cx="1671638" cy="702194"/>
          </a:xfrm>
          <a:prstGeom prst="rect">
            <a:avLst/>
          </a:prstGeom>
        </p:spPr>
      </p:pic>
    </p:spTree>
    <p:extLst>
      <p:ext uri="{BB962C8B-B14F-4D97-AF65-F5344CB8AC3E}">
        <p14:creationId xmlns:p14="http://schemas.microsoft.com/office/powerpoint/2010/main" val="407208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ank you slide_logo v2">
    <p:bg>
      <p:bgPr>
        <a:solidFill>
          <a:schemeClr val="bg1"/>
        </a:solidFill>
        <a:effectLst/>
      </p:bgPr>
    </p:bg>
    <p:spTree>
      <p:nvGrpSpPr>
        <p:cNvPr id="1" name=""/>
        <p:cNvGrpSpPr/>
        <p:nvPr/>
      </p:nvGrpSpPr>
      <p:grpSpPr>
        <a:xfrm>
          <a:off x="0" y="0"/>
          <a:ext cx="0" cy="0"/>
          <a:chOff x="0" y="0"/>
          <a:chExt cx="0" cy="0"/>
        </a:xfrm>
      </p:grpSpPr>
      <p:pic>
        <p:nvPicPr>
          <p:cNvPr id="2" name="Picture 1" descr="Chart&#10;&#10;Description automatically generated">
            <a:extLst>
              <a:ext uri="{FF2B5EF4-FFF2-40B4-BE49-F238E27FC236}">
                <a16:creationId xmlns:a16="http://schemas.microsoft.com/office/drawing/2014/main" id="{E8E8C692-44AC-E876-6B88-A30869CBAE4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itle 6">
            <a:extLst>
              <a:ext uri="{FF2B5EF4-FFF2-40B4-BE49-F238E27FC236}">
                <a16:creationId xmlns:a16="http://schemas.microsoft.com/office/drawing/2014/main" id="{F9C5A69A-1B58-B442-ED29-AE0113477B5C}"/>
              </a:ext>
            </a:extLst>
          </p:cNvPr>
          <p:cNvSpPr>
            <a:spLocks noGrp="1"/>
          </p:cNvSpPr>
          <p:nvPr>
            <p:ph type="title" hasCustomPrompt="1"/>
          </p:nvPr>
        </p:nvSpPr>
        <p:spPr>
          <a:xfrm>
            <a:off x="607810" y="3423718"/>
            <a:ext cx="3252990" cy="527045"/>
          </a:xfrm>
        </p:spPr>
        <p:txBody>
          <a:bodyPr lIns="0" tIns="0" rIns="0" bIns="0">
            <a:noAutofit/>
          </a:bodyPr>
          <a:lstStyle>
            <a:lvl1pPr algn="l">
              <a:defRPr sz="3600" b="1" i="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pic>
        <p:nvPicPr>
          <p:cNvPr id="3" name="Picture 4" descr="Logo&#10;&#10;Description automatically generated">
            <a:extLst>
              <a:ext uri="{FF2B5EF4-FFF2-40B4-BE49-F238E27FC236}">
                <a16:creationId xmlns:a16="http://schemas.microsoft.com/office/drawing/2014/main" id="{47077CBC-1639-A30C-FE25-3A2C810457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2435" y="441960"/>
            <a:ext cx="1671638" cy="702194"/>
          </a:xfrm>
          <a:prstGeom prst="rect">
            <a:avLst/>
          </a:prstGeom>
        </p:spPr>
      </p:pic>
      <p:cxnSp>
        <p:nvCxnSpPr>
          <p:cNvPr id="4" name="Straight Connector 3">
            <a:extLst>
              <a:ext uri="{FF2B5EF4-FFF2-40B4-BE49-F238E27FC236}">
                <a16:creationId xmlns:a16="http://schemas.microsoft.com/office/drawing/2014/main" id="{D0C290EF-5BAE-F2F8-5FA6-CB7719FDCC61}"/>
              </a:ext>
            </a:extLst>
          </p:cNvPr>
          <p:cNvCxnSpPr/>
          <p:nvPr userDrawn="1"/>
        </p:nvCxnSpPr>
        <p:spPr>
          <a:xfrm>
            <a:off x="2216315" y="577211"/>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7D66498-76E5-5633-42FA-9C35456D5BC3}"/>
              </a:ext>
            </a:extLst>
          </p:cNvPr>
          <p:cNvSpPr txBox="1"/>
          <p:nvPr userDrawn="1"/>
        </p:nvSpPr>
        <p:spPr>
          <a:xfrm>
            <a:off x="2328557" y="608391"/>
            <a:ext cx="18760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666666"/>
                </a:solidFill>
                <a:effectLst/>
                <a:uLnTx/>
                <a:uFillTx/>
                <a:latin typeface="Segoe UI Semibold" panose="020B0502040204020203" pitchFamily="34" charset="0"/>
                <a:ea typeface="+mn-ea"/>
                <a:cs typeface="Segoe UI Semibold" panose="020B0502040204020203" pitchFamily="34" charset="0"/>
              </a:rPr>
              <a:t>Microsoft Fabric</a:t>
            </a:r>
          </a:p>
        </p:txBody>
      </p:sp>
    </p:spTree>
    <p:extLst>
      <p:ext uri="{BB962C8B-B14F-4D97-AF65-F5344CB8AC3E}">
        <p14:creationId xmlns:p14="http://schemas.microsoft.com/office/powerpoint/2010/main" val="51023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_ logo v1">
    <p:bg>
      <p:bgPr>
        <a:solidFill>
          <a:srgbClr val="FFFFFF"/>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38464ED7-D998-876F-2CFA-FD4A41E906D1}"/>
              </a:ext>
            </a:extLst>
          </p:cNvPr>
          <p:cNvSpPr>
            <a:spLocks noGrp="1"/>
          </p:cNvSpPr>
          <p:nvPr>
            <p:ph type="subTitle" idx="1" hasCustomPrompt="1"/>
          </p:nvPr>
        </p:nvSpPr>
        <p:spPr>
          <a:xfrm>
            <a:off x="622322" y="5195311"/>
            <a:ext cx="3727886"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6">
            <a:extLst>
              <a:ext uri="{FF2B5EF4-FFF2-40B4-BE49-F238E27FC236}">
                <a16:creationId xmlns:a16="http://schemas.microsoft.com/office/drawing/2014/main" id="{4D280BB0-C48E-7618-0949-3C2F9ECA7B00}"/>
              </a:ext>
            </a:extLst>
          </p:cNvPr>
          <p:cNvSpPr>
            <a:spLocks noGrp="1"/>
          </p:cNvSpPr>
          <p:nvPr>
            <p:ph type="title" hasCustomPrompt="1"/>
          </p:nvPr>
        </p:nvSpPr>
        <p:spPr>
          <a:xfrm>
            <a:off x="622322" y="3507929"/>
            <a:ext cx="3727886" cy="1592166"/>
          </a:xfrm>
          <a:prstGeom prst="rect">
            <a:avLst/>
          </a:prstGeom>
        </p:spPr>
        <p:txBody>
          <a:bodyPr>
            <a:noAutofit/>
          </a:bodyPr>
          <a:lstStyle>
            <a:lvl1pPr algn="l">
              <a:defRPr sz="6000" b="0" i="0">
                <a:solidFill>
                  <a:srgbClr val="8661C5"/>
                </a:solidFill>
                <a:latin typeface="Segoe Sans Display" pitchFamily="2" charset="0"/>
                <a:cs typeface="Segoe Sans Display" pitchFamily="2" charset="0"/>
              </a:defRPr>
            </a:lvl1pPr>
          </a:lstStyle>
          <a:p>
            <a:r>
              <a:rPr lang="en-US"/>
              <a:t>Master slide title</a:t>
            </a:r>
          </a:p>
        </p:txBody>
      </p:sp>
      <p:pic>
        <p:nvPicPr>
          <p:cNvPr id="10" name="Picture 9" descr="A colorful background with a black background&#10;&#10;Description automatically generated with medium confidence">
            <a:extLst>
              <a:ext uri="{FF2B5EF4-FFF2-40B4-BE49-F238E27FC236}">
                <a16:creationId xmlns:a16="http://schemas.microsoft.com/office/drawing/2014/main" id="{E548051C-FD01-9288-F5FC-F065C4386E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6200000">
            <a:off x="6108484" y="776411"/>
            <a:ext cx="6859927" cy="5307106"/>
          </a:xfrm>
          <a:prstGeom prst="rect">
            <a:avLst/>
          </a:prstGeom>
        </p:spPr>
      </p:pic>
      <p:sp>
        <p:nvSpPr>
          <p:cNvPr id="13" name="Picture Placeholder 12">
            <a:extLst>
              <a:ext uri="{FF2B5EF4-FFF2-40B4-BE49-F238E27FC236}">
                <a16:creationId xmlns:a16="http://schemas.microsoft.com/office/drawing/2014/main" id="{20E4AD9E-9E94-5DD0-50E0-1C617389A4B1}"/>
              </a:ext>
            </a:extLst>
          </p:cNvPr>
          <p:cNvSpPr>
            <a:spLocks noGrp="1"/>
          </p:cNvSpPr>
          <p:nvPr>
            <p:ph type="pic" sz="quarter" idx="13"/>
          </p:nvPr>
        </p:nvSpPr>
        <p:spPr>
          <a:xfrm>
            <a:off x="5378450" y="625643"/>
            <a:ext cx="4583113" cy="6232358"/>
          </a:xfrm>
          <a:prstGeom prst="rect">
            <a:avLst/>
          </a:prstGeom>
        </p:spPr>
        <p:txBody>
          <a:bodyPr/>
          <a:lstStyle>
            <a:lvl1pPr>
              <a:defRPr>
                <a:solidFill>
                  <a:schemeClr val="tx1"/>
                </a:solidFill>
              </a:defRPr>
            </a:lvl1pPr>
          </a:lstStyle>
          <a:p>
            <a:r>
              <a:rPr lang="en-US"/>
              <a:t>Click icon to add picture</a:t>
            </a:r>
          </a:p>
        </p:txBody>
      </p:sp>
      <p:pic>
        <p:nvPicPr>
          <p:cNvPr id="3" name="Picture 4">
            <a:extLst>
              <a:ext uri="{FF2B5EF4-FFF2-40B4-BE49-F238E27FC236}">
                <a16:creationId xmlns:a16="http://schemas.microsoft.com/office/drawing/2014/main" id="{12470AE0-29FA-C6A2-18C0-2E13B2A2B8D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sp>
        <p:nvSpPr>
          <p:cNvPr id="7" name="Footer Placeholder 6">
            <a:extLst>
              <a:ext uri="{FF2B5EF4-FFF2-40B4-BE49-F238E27FC236}">
                <a16:creationId xmlns:a16="http://schemas.microsoft.com/office/drawing/2014/main" id="{029A2EED-767C-24A3-A5DD-C784F6963F4E}"/>
              </a:ext>
            </a:extLst>
          </p:cNvPr>
          <p:cNvSpPr>
            <a:spLocks noGrp="1"/>
          </p:cNvSpPr>
          <p:nvPr>
            <p:ph type="ftr" sz="quarter" idx="14"/>
          </p:nvPr>
        </p:nvSpPr>
        <p:spPr/>
        <p:txBody>
          <a:bodyPr/>
          <a:lstStyle/>
          <a:p>
            <a:r>
              <a:rPr lang="en-US"/>
              <a:t>Microsoft Fabric</a:t>
            </a:r>
          </a:p>
        </p:txBody>
      </p:sp>
      <p:sp>
        <p:nvSpPr>
          <p:cNvPr id="11" name="Slide Number Placeholder 10">
            <a:extLst>
              <a:ext uri="{FF2B5EF4-FFF2-40B4-BE49-F238E27FC236}">
                <a16:creationId xmlns:a16="http://schemas.microsoft.com/office/drawing/2014/main" id="{A87DF5D7-B3AC-D508-5EFF-94F6B9A8E9B4}"/>
              </a:ext>
            </a:extLst>
          </p:cNvPr>
          <p:cNvSpPr>
            <a:spLocks noGrp="1"/>
          </p:cNvSpPr>
          <p:nvPr>
            <p:ph type="sldNum" sz="quarter" idx="1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040718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7340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_logo v2">
    <p:bg>
      <p:bgPr>
        <a:solidFill>
          <a:srgbClr val="FFFDF9"/>
        </a:solid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A817E2C5-B327-1FBC-AC3D-459F4D07B420}"/>
              </a:ext>
            </a:extLst>
          </p:cNvPr>
          <p:cNvSpPr>
            <a:spLocks noGrp="1"/>
          </p:cNvSpPr>
          <p:nvPr>
            <p:ph type="subTitle" idx="1" hasCustomPrompt="1"/>
          </p:nvPr>
        </p:nvSpPr>
        <p:spPr>
          <a:xfrm>
            <a:off x="622322" y="5195311"/>
            <a:ext cx="3727886"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6">
            <a:extLst>
              <a:ext uri="{FF2B5EF4-FFF2-40B4-BE49-F238E27FC236}">
                <a16:creationId xmlns:a16="http://schemas.microsoft.com/office/drawing/2014/main" id="{F6ACE919-349F-E9BD-5D0A-E535E2800A88}"/>
              </a:ext>
            </a:extLst>
          </p:cNvPr>
          <p:cNvSpPr>
            <a:spLocks noGrp="1"/>
          </p:cNvSpPr>
          <p:nvPr>
            <p:ph type="title" hasCustomPrompt="1"/>
          </p:nvPr>
        </p:nvSpPr>
        <p:spPr>
          <a:xfrm>
            <a:off x="622322" y="3507929"/>
            <a:ext cx="3727886" cy="1592166"/>
          </a:xfrm>
          <a:prstGeom prst="rect">
            <a:avLst/>
          </a:prstGeom>
        </p:spPr>
        <p:txBody>
          <a:bodyPr>
            <a:noAutofit/>
          </a:bodyPr>
          <a:lstStyle>
            <a:lvl1pPr algn="l">
              <a:defRPr sz="6000" b="0" i="0">
                <a:solidFill>
                  <a:srgbClr val="8661C5"/>
                </a:solidFill>
                <a:latin typeface="Segoe Sans Display" pitchFamily="2" charset="0"/>
                <a:cs typeface="Segoe Sans Display" pitchFamily="2" charset="0"/>
              </a:defRPr>
            </a:lvl1pPr>
          </a:lstStyle>
          <a:p>
            <a:r>
              <a:rPr lang="en-US"/>
              <a:t>Master slide title</a:t>
            </a:r>
          </a:p>
        </p:txBody>
      </p:sp>
      <p:cxnSp>
        <p:nvCxnSpPr>
          <p:cNvPr id="6" name="Straight Connector 5">
            <a:extLst>
              <a:ext uri="{FF2B5EF4-FFF2-40B4-BE49-F238E27FC236}">
                <a16:creationId xmlns:a16="http://schemas.microsoft.com/office/drawing/2014/main" id="{654A84A4-CF32-8663-D646-0B42F59C980D}"/>
              </a:ext>
            </a:extLst>
          </p:cNvPr>
          <p:cNvCxnSpPr/>
          <p:nvPr userDrawn="1"/>
        </p:nvCxnSpPr>
        <p:spPr>
          <a:xfrm>
            <a:off x="2354717" y="365352"/>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D56BEF2-8767-2BE9-E4F4-D5E07C55988C}"/>
              </a:ext>
            </a:extLst>
          </p:cNvPr>
          <p:cNvSpPr txBox="1"/>
          <p:nvPr userDrawn="1"/>
        </p:nvSpPr>
        <p:spPr>
          <a:xfrm>
            <a:off x="2500629" y="456464"/>
            <a:ext cx="1471941" cy="307777"/>
          </a:xfrm>
          <a:prstGeom prst="rect">
            <a:avLst/>
          </a:prstGeom>
          <a:noFill/>
        </p:spPr>
        <p:txBody>
          <a:bodyPr wrap="none" rtlCol="0">
            <a:spAutoFit/>
          </a:bodyPr>
          <a:lstStyle/>
          <a:p>
            <a:r>
              <a:rPr lang="en-US" sz="1400" b="0" i="0">
                <a:solidFill>
                  <a:srgbClr val="666666"/>
                </a:solidFill>
                <a:latin typeface="Segoe Sans Display" pitchFamily="2" charset="0"/>
                <a:cs typeface="Segoe Sans Display" pitchFamily="2" charset="0"/>
              </a:rPr>
              <a:t>Microsoft Fabric</a:t>
            </a:r>
          </a:p>
        </p:txBody>
      </p:sp>
      <p:pic>
        <p:nvPicPr>
          <p:cNvPr id="12" name="Picture 4">
            <a:extLst>
              <a:ext uri="{FF2B5EF4-FFF2-40B4-BE49-F238E27FC236}">
                <a16:creationId xmlns:a16="http://schemas.microsoft.com/office/drawing/2014/main" id="{4BB95DA7-3A8A-C2CE-EC50-C8A04B19E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pic>
        <p:nvPicPr>
          <p:cNvPr id="13" name="Picture 12" descr="A colorful background with a black background&#10;&#10;Description automatically generated with medium confidence">
            <a:extLst>
              <a:ext uri="{FF2B5EF4-FFF2-40B4-BE49-F238E27FC236}">
                <a16:creationId xmlns:a16="http://schemas.microsoft.com/office/drawing/2014/main" id="{D88E9A8D-1500-60E2-FBA7-91B24A3196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6200000">
            <a:off x="6108484" y="776411"/>
            <a:ext cx="6859927" cy="5307106"/>
          </a:xfrm>
          <a:prstGeom prst="rect">
            <a:avLst/>
          </a:prstGeom>
        </p:spPr>
      </p:pic>
      <p:sp>
        <p:nvSpPr>
          <p:cNvPr id="15" name="Picture Placeholder 12">
            <a:extLst>
              <a:ext uri="{FF2B5EF4-FFF2-40B4-BE49-F238E27FC236}">
                <a16:creationId xmlns:a16="http://schemas.microsoft.com/office/drawing/2014/main" id="{908C5D7F-0231-00C2-76F5-E337F58B50EB}"/>
              </a:ext>
            </a:extLst>
          </p:cNvPr>
          <p:cNvSpPr>
            <a:spLocks noGrp="1"/>
          </p:cNvSpPr>
          <p:nvPr userDrawn="1">
            <p:ph type="pic" sz="quarter" idx="13"/>
          </p:nvPr>
        </p:nvSpPr>
        <p:spPr>
          <a:xfrm>
            <a:off x="5378450" y="625643"/>
            <a:ext cx="4583113" cy="6232358"/>
          </a:xfrm>
          <a:prstGeom prst="rect">
            <a:avLst/>
          </a:prstGeom>
        </p:spPr>
        <p:txBody>
          <a:bodyPr/>
          <a:lstStyle>
            <a:lvl1pPr>
              <a:defRPr>
                <a:solidFill>
                  <a:schemeClr val="tx1"/>
                </a:solidFill>
              </a:defRPr>
            </a:lvl1pPr>
          </a:lstStyle>
          <a:p>
            <a:r>
              <a:rPr lang="en-US"/>
              <a:t>Click icon to add picture</a:t>
            </a:r>
          </a:p>
        </p:txBody>
      </p:sp>
      <p:sp>
        <p:nvSpPr>
          <p:cNvPr id="7" name="Footer Placeholder 6">
            <a:extLst>
              <a:ext uri="{FF2B5EF4-FFF2-40B4-BE49-F238E27FC236}">
                <a16:creationId xmlns:a16="http://schemas.microsoft.com/office/drawing/2014/main" id="{CA7288AC-73B2-0DE2-6A96-C0035C27D1AB}"/>
              </a:ext>
            </a:extLst>
          </p:cNvPr>
          <p:cNvSpPr>
            <a:spLocks noGrp="1"/>
          </p:cNvSpPr>
          <p:nvPr>
            <p:ph type="ftr" sz="quarter" idx="14"/>
          </p:nvPr>
        </p:nvSpPr>
        <p:spPr/>
        <p:txBody>
          <a:bodyPr/>
          <a:lstStyle/>
          <a:p>
            <a:r>
              <a:rPr lang="en-US"/>
              <a:t>Microsoft Fabric</a:t>
            </a:r>
          </a:p>
        </p:txBody>
      </p:sp>
      <p:sp>
        <p:nvSpPr>
          <p:cNvPr id="11" name="Slide Number Placeholder 10">
            <a:extLst>
              <a:ext uri="{FF2B5EF4-FFF2-40B4-BE49-F238E27FC236}">
                <a16:creationId xmlns:a16="http://schemas.microsoft.com/office/drawing/2014/main" id="{482668C0-DB0E-D5A1-2984-1E096F94D948}"/>
              </a:ext>
            </a:extLst>
          </p:cNvPr>
          <p:cNvSpPr>
            <a:spLocks noGrp="1"/>
          </p:cNvSpPr>
          <p:nvPr>
            <p:ph type="sldNum" sz="quarter" idx="1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6495605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with photo 1">
    <p:bg>
      <p:bgPr>
        <a:solidFill>
          <a:srgbClr val="F5F1E9"/>
        </a:solidFill>
        <a:effectLst/>
      </p:bgPr>
    </p:bg>
    <p:spTree>
      <p:nvGrpSpPr>
        <p:cNvPr id="1" name=""/>
        <p:cNvGrpSpPr/>
        <p:nvPr/>
      </p:nvGrpSpPr>
      <p:grpSpPr>
        <a:xfrm>
          <a:off x="0" y="0"/>
          <a:ext cx="0" cy="0"/>
          <a:chOff x="0" y="0"/>
          <a:chExt cx="0" cy="0"/>
        </a:xfrm>
      </p:grpSpPr>
      <p:pic>
        <p:nvPicPr>
          <p:cNvPr id="12" name="Picture 11" descr="A close-up of a planet&#10;&#10;Description automatically generated with low confidence">
            <a:extLst>
              <a:ext uri="{FF2B5EF4-FFF2-40B4-BE49-F238E27FC236}">
                <a16:creationId xmlns:a16="http://schemas.microsoft.com/office/drawing/2014/main" id="{9CFFB900-8FDF-FD63-9246-8B42EEBA59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00501" y="0"/>
            <a:ext cx="8191499" cy="6858000"/>
          </a:xfrm>
          <a:prstGeom prst="rect">
            <a:avLst/>
          </a:prstGeom>
        </p:spPr>
      </p:pic>
      <p:sp>
        <p:nvSpPr>
          <p:cNvPr id="14" name="Rectangle 13">
            <a:extLst>
              <a:ext uri="{FF2B5EF4-FFF2-40B4-BE49-F238E27FC236}">
                <a16:creationId xmlns:a16="http://schemas.microsoft.com/office/drawing/2014/main" id="{58EF0059-80A3-8C4A-608D-8AEABA37EC28}"/>
              </a:ext>
            </a:extLst>
          </p:cNvPr>
          <p:cNvSpPr/>
          <p:nvPr userDrawn="1"/>
        </p:nvSpPr>
        <p:spPr bwMode="auto">
          <a:xfrm>
            <a:off x="5137312" y="0"/>
            <a:ext cx="7054688" cy="6858000"/>
          </a:xfrm>
          <a:prstGeom prst="rect">
            <a:avLst/>
          </a:prstGeom>
          <a:solidFill>
            <a:srgbClr val="F2F2F2">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17291" y="2942977"/>
            <a:ext cx="4167887" cy="1938992"/>
          </a:xfrm>
        </p:spPr>
        <p:txBody>
          <a:bodyPr wrap="square" anchor="b" anchorCtr="0">
            <a:spAutoFit/>
          </a:bodyPr>
          <a:lstStyle>
            <a:lvl1pPr marL="0" algn="l" defTabSz="932742" rtl="0" eaLnBrk="1" latinLnBrk="0" hangingPunct="1">
              <a:lnSpc>
                <a:spcPct val="100000"/>
              </a:lnSpc>
              <a:spcBef>
                <a:spcPct val="0"/>
              </a:spcBef>
              <a:buNone/>
              <a:defRPr lang="en-US" sz="6000" b="0" i="0" kern="1200" cap="none" spc="-50" baseline="0" dirty="0">
                <a:ln w="3175">
                  <a:noFill/>
                </a:ln>
                <a:solidFill>
                  <a:schemeClr val="accent3"/>
                </a:solidFill>
                <a:effectLst/>
                <a:latin typeface="Segoe Sans Display" pitchFamily="2" charset="0"/>
                <a:ea typeface="+mn-ea"/>
                <a:cs typeface="Segoe Sans Display" pitchFamily="2" charset="0"/>
              </a:defRPr>
            </a:lvl1pPr>
          </a:lstStyle>
          <a:p>
            <a:r>
              <a:rPr lang="en-US"/>
              <a:t>Master slide title</a:t>
            </a:r>
          </a:p>
        </p:txBody>
      </p:sp>
      <p:pic>
        <p:nvPicPr>
          <p:cNvPr id="8" name="Picture 7">
            <a:extLst>
              <a:ext uri="{FF2B5EF4-FFF2-40B4-BE49-F238E27FC236}">
                <a16:creationId xmlns:a16="http://schemas.microsoft.com/office/drawing/2014/main" id="{06C521B2-9C6D-BA85-A932-76DF4D2B08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11549" y="591130"/>
            <a:ext cx="6277674" cy="5721928"/>
          </a:xfrm>
          <a:prstGeom prst="rect">
            <a:avLst/>
          </a:prstGeom>
        </p:spPr>
      </p:pic>
      <p:sp>
        <p:nvSpPr>
          <p:cNvPr id="3" name="Subtitle 2">
            <a:extLst>
              <a:ext uri="{FF2B5EF4-FFF2-40B4-BE49-F238E27FC236}">
                <a16:creationId xmlns:a16="http://schemas.microsoft.com/office/drawing/2014/main" id="{CF82C55D-1EB3-D35A-26A9-6B6316BE8514}"/>
              </a:ext>
            </a:extLst>
          </p:cNvPr>
          <p:cNvSpPr>
            <a:spLocks noGrp="1"/>
          </p:cNvSpPr>
          <p:nvPr>
            <p:ph type="subTitle" idx="1" hasCustomPrompt="1"/>
          </p:nvPr>
        </p:nvSpPr>
        <p:spPr>
          <a:xfrm>
            <a:off x="613228" y="4918222"/>
            <a:ext cx="4167887"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4">
            <a:extLst>
              <a:ext uri="{FF2B5EF4-FFF2-40B4-BE49-F238E27FC236}">
                <a16:creationId xmlns:a16="http://schemas.microsoft.com/office/drawing/2014/main" id="{E03D2F05-94F3-2670-11FB-75F2C496EB6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spTree>
    <p:extLst>
      <p:ext uri="{BB962C8B-B14F-4D97-AF65-F5344CB8AC3E}">
        <p14:creationId xmlns:p14="http://schemas.microsoft.com/office/powerpoint/2010/main" val="1297947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with photo 2">
    <p:bg>
      <p:bgPr>
        <a:solidFill>
          <a:srgbClr val="FFFDF9"/>
        </a:solidFill>
        <a:effectLst/>
      </p:bgPr>
    </p:bg>
    <p:spTree>
      <p:nvGrpSpPr>
        <p:cNvPr id="1" name=""/>
        <p:cNvGrpSpPr/>
        <p:nvPr/>
      </p:nvGrpSpPr>
      <p:grpSpPr>
        <a:xfrm>
          <a:off x="0" y="0"/>
          <a:ext cx="0" cy="0"/>
          <a:chOff x="0" y="0"/>
          <a:chExt cx="0" cy="0"/>
        </a:xfrm>
      </p:grpSpPr>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5326063" y="0"/>
            <a:ext cx="6865937" cy="6858000"/>
          </a:xfrm>
          <a:blipFill dpi="0" rotWithShape="1">
            <a:blip r:embed="rId2"/>
            <a:srcRect/>
            <a:tile tx="0" ty="0" sx="100000" sy="100000" flip="none" algn="tl"/>
          </a:blipFill>
        </p:spPr>
        <p:txBody>
          <a:bodyPr/>
          <a:lstStyle>
            <a:lvl1pPr marL="0" indent="0">
              <a:buNone/>
              <a:defRPr>
                <a:noFill/>
              </a:defRPr>
            </a:lvl1pPr>
          </a:lstStyle>
          <a:p>
            <a:r>
              <a:rPr lang="en-US"/>
              <a:t>Click icon to add picture</a:t>
            </a:r>
          </a:p>
        </p:txBody>
      </p:sp>
      <p:sp>
        <p:nvSpPr>
          <p:cNvPr id="7" name="Title 1">
            <a:extLst>
              <a:ext uri="{FF2B5EF4-FFF2-40B4-BE49-F238E27FC236}">
                <a16:creationId xmlns:a16="http://schemas.microsoft.com/office/drawing/2014/main" id="{818EAE98-4CF4-9D3C-C8EF-BA1F91A39E1E}"/>
              </a:ext>
            </a:extLst>
          </p:cNvPr>
          <p:cNvSpPr>
            <a:spLocks noGrp="1"/>
          </p:cNvSpPr>
          <p:nvPr>
            <p:ph type="title" hasCustomPrompt="1"/>
          </p:nvPr>
        </p:nvSpPr>
        <p:spPr>
          <a:xfrm>
            <a:off x="627742" y="2189132"/>
            <a:ext cx="4167887" cy="2123658"/>
          </a:xfr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2"/>
                </a:solidFill>
                <a:effectLst/>
                <a:latin typeface="Segoe Sans Display" pitchFamily="2" charset="0"/>
                <a:ea typeface="+mn-ea"/>
                <a:cs typeface="Segoe Sans Display" pitchFamily="2" charset="0"/>
              </a:defRPr>
            </a:lvl1pPr>
          </a:lstStyle>
          <a:p>
            <a:r>
              <a:rPr lang="en-US"/>
              <a:t>Event name or presentation title </a:t>
            </a:r>
          </a:p>
        </p:txBody>
      </p:sp>
      <p:sp>
        <p:nvSpPr>
          <p:cNvPr id="8" name="Subtitle 2">
            <a:extLst>
              <a:ext uri="{FF2B5EF4-FFF2-40B4-BE49-F238E27FC236}">
                <a16:creationId xmlns:a16="http://schemas.microsoft.com/office/drawing/2014/main" id="{1C56B283-4B6F-453C-155D-E58539CC6D4B}"/>
              </a:ext>
            </a:extLst>
          </p:cNvPr>
          <p:cNvSpPr>
            <a:spLocks noGrp="1"/>
          </p:cNvSpPr>
          <p:nvPr>
            <p:ph type="subTitle" idx="1" hasCustomPrompt="1"/>
          </p:nvPr>
        </p:nvSpPr>
        <p:spPr>
          <a:xfrm>
            <a:off x="627742" y="4696548"/>
            <a:ext cx="4167887"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 name="Picture 4">
            <a:extLst>
              <a:ext uri="{FF2B5EF4-FFF2-40B4-BE49-F238E27FC236}">
                <a16:creationId xmlns:a16="http://schemas.microsoft.com/office/drawing/2014/main" id="{922436EC-B877-7FE0-3320-8F4897F519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spTree>
    <p:extLst>
      <p:ext uri="{BB962C8B-B14F-4D97-AF65-F5344CB8AC3E}">
        <p14:creationId xmlns:p14="http://schemas.microsoft.com/office/powerpoint/2010/main" val="72576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illustration 1">
    <p:bg>
      <p:bgPr>
        <a:solidFill>
          <a:srgbClr val="FFFDF9"/>
        </a:solidFill>
        <a:effectLst/>
      </p:bgPr>
    </p:bg>
    <p:spTree>
      <p:nvGrpSpPr>
        <p:cNvPr id="1" name=""/>
        <p:cNvGrpSpPr/>
        <p:nvPr/>
      </p:nvGrpSpPr>
      <p:grpSpPr>
        <a:xfrm>
          <a:off x="0" y="0"/>
          <a:ext cx="0" cy="0"/>
          <a:chOff x="0" y="0"/>
          <a:chExt cx="0" cy="0"/>
        </a:xfrm>
      </p:grpSpPr>
      <p:pic>
        <p:nvPicPr>
          <p:cNvPr id="8" name="Picture 7" descr="A colorful object with a half of a half circle&#10;&#10;Description automatically generated with medium confidence">
            <a:extLst>
              <a:ext uri="{FF2B5EF4-FFF2-40B4-BE49-F238E27FC236}">
                <a16:creationId xmlns:a16="http://schemas.microsoft.com/office/drawing/2014/main" id="{CD1AF4A4-385F-FB69-7D75-DFBCB2F611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F9BCA0CC-E9ED-11FE-A891-26C596BDADD0}"/>
              </a:ext>
            </a:extLst>
          </p:cNvPr>
          <p:cNvSpPr>
            <a:spLocks noGrp="1"/>
          </p:cNvSpPr>
          <p:nvPr>
            <p:ph type="title" hasCustomPrompt="1"/>
          </p:nvPr>
        </p:nvSpPr>
        <p:spPr>
          <a:xfrm>
            <a:off x="7224590" y="2589149"/>
            <a:ext cx="4357810" cy="1446550"/>
          </a:xfrm>
        </p:spPr>
        <p:txBody>
          <a:bodyPr wrap="square"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2"/>
                </a:solidFill>
                <a:effectLst/>
                <a:latin typeface="Segoe Sans Display" pitchFamily="2" charset="0"/>
                <a:ea typeface="+mn-ea"/>
                <a:cs typeface="Segoe Sans Display" pitchFamily="2" charset="0"/>
              </a:defRPr>
            </a:lvl1pPr>
          </a:lstStyle>
          <a:p>
            <a:r>
              <a:rPr lang="en-US"/>
              <a:t>Event name or presentation title </a:t>
            </a:r>
          </a:p>
        </p:txBody>
      </p:sp>
      <p:sp>
        <p:nvSpPr>
          <p:cNvPr id="10" name="Subtitle 2">
            <a:extLst>
              <a:ext uri="{FF2B5EF4-FFF2-40B4-BE49-F238E27FC236}">
                <a16:creationId xmlns:a16="http://schemas.microsoft.com/office/drawing/2014/main" id="{D083FE30-552E-B4FE-8108-5332511EF23A}"/>
              </a:ext>
            </a:extLst>
          </p:cNvPr>
          <p:cNvSpPr>
            <a:spLocks noGrp="1"/>
          </p:cNvSpPr>
          <p:nvPr>
            <p:ph type="subTitle" idx="1" hasCustomPrompt="1"/>
          </p:nvPr>
        </p:nvSpPr>
        <p:spPr>
          <a:xfrm>
            <a:off x="7220527" y="4419457"/>
            <a:ext cx="4357810" cy="817719"/>
          </a:xfrm>
          <a:prstGeom prst="rect">
            <a:avLst/>
          </a:prstGeom>
        </p:spPr>
        <p:txBody>
          <a:bodyPr>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 name="Straight Connector 2">
            <a:extLst>
              <a:ext uri="{FF2B5EF4-FFF2-40B4-BE49-F238E27FC236}">
                <a16:creationId xmlns:a16="http://schemas.microsoft.com/office/drawing/2014/main" id="{CD3BF00A-3D00-BA04-0D36-7F22ADA882E4}"/>
              </a:ext>
            </a:extLst>
          </p:cNvPr>
          <p:cNvCxnSpPr/>
          <p:nvPr userDrawn="1"/>
        </p:nvCxnSpPr>
        <p:spPr>
          <a:xfrm>
            <a:off x="2354717" y="365352"/>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B3AFA91-7620-31F6-40D4-F32084167216}"/>
              </a:ext>
            </a:extLst>
          </p:cNvPr>
          <p:cNvSpPr txBox="1"/>
          <p:nvPr userDrawn="1"/>
        </p:nvSpPr>
        <p:spPr>
          <a:xfrm>
            <a:off x="2500629" y="456464"/>
            <a:ext cx="1471941" cy="307777"/>
          </a:xfrm>
          <a:prstGeom prst="rect">
            <a:avLst/>
          </a:prstGeom>
          <a:noFill/>
        </p:spPr>
        <p:txBody>
          <a:bodyPr wrap="none" rtlCol="0">
            <a:spAutoFit/>
          </a:bodyPr>
          <a:lstStyle/>
          <a:p>
            <a:r>
              <a:rPr lang="en-US" sz="1400" b="0" i="0">
                <a:solidFill>
                  <a:srgbClr val="666666"/>
                </a:solidFill>
                <a:latin typeface="Segoe Sans Display" pitchFamily="2" charset="0"/>
                <a:cs typeface="Segoe Sans Display" pitchFamily="2" charset="0"/>
              </a:rPr>
              <a:t>Microsoft Fabric</a:t>
            </a:r>
          </a:p>
        </p:txBody>
      </p:sp>
      <p:pic>
        <p:nvPicPr>
          <p:cNvPr id="5" name="Picture 4">
            <a:extLst>
              <a:ext uri="{FF2B5EF4-FFF2-40B4-BE49-F238E27FC236}">
                <a16:creationId xmlns:a16="http://schemas.microsoft.com/office/drawing/2014/main" id="{C36AFAB7-D538-93FE-DCDF-E49667C8A1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spTree>
    <p:extLst>
      <p:ext uri="{BB962C8B-B14F-4D97-AF65-F5344CB8AC3E}">
        <p14:creationId xmlns:p14="http://schemas.microsoft.com/office/powerpoint/2010/main" val="3002468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illustration 2">
    <p:bg>
      <p:bgPr>
        <a:solidFill>
          <a:srgbClr val="FFFDF9"/>
        </a:solidFill>
        <a:effectLst/>
      </p:bgPr>
    </p:bg>
    <p:spTree>
      <p:nvGrpSpPr>
        <p:cNvPr id="1" name=""/>
        <p:cNvGrpSpPr/>
        <p:nvPr/>
      </p:nvGrpSpPr>
      <p:grpSpPr>
        <a:xfrm>
          <a:off x="0" y="0"/>
          <a:ext cx="0" cy="0"/>
          <a:chOff x="0" y="0"/>
          <a:chExt cx="0" cy="0"/>
        </a:xfrm>
      </p:grpSpPr>
      <p:pic>
        <p:nvPicPr>
          <p:cNvPr id="11" name="Picture 10" descr="A group of colorful objects&#10;&#10;Description automatically generated with medium confidence">
            <a:extLst>
              <a:ext uri="{FF2B5EF4-FFF2-40B4-BE49-F238E27FC236}">
                <a16:creationId xmlns:a16="http://schemas.microsoft.com/office/drawing/2014/main" id="{2832B7B5-6C73-D765-B05E-3768BA5BEB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0A99BAC5-322B-F634-A286-9E84A049E64C}"/>
              </a:ext>
            </a:extLst>
          </p:cNvPr>
          <p:cNvSpPr>
            <a:spLocks noGrp="1"/>
          </p:cNvSpPr>
          <p:nvPr>
            <p:ph type="title" hasCustomPrompt="1"/>
          </p:nvPr>
        </p:nvSpPr>
        <p:spPr>
          <a:xfrm>
            <a:off x="7376991" y="3332646"/>
            <a:ext cx="4205405" cy="1354217"/>
          </a:xfrm>
        </p:spPr>
        <p:txBody>
          <a:bodyPr wrap="square" lIns="0" tIns="0" rIns="0" bIns="0" anchor="b" anchorCtr="0">
            <a:spAutoFit/>
          </a:bodyPr>
          <a:lstStyle>
            <a:lvl1pPr marL="0" algn="l" defTabSz="932742" rtl="0" eaLnBrk="1" latinLnBrk="0" hangingPunct="1">
              <a:lnSpc>
                <a:spcPct val="100000"/>
              </a:lnSpc>
              <a:spcBef>
                <a:spcPct val="0"/>
              </a:spcBef>
              <a:buNone/>
              <a:defRPr lang="en-US" sz="4400" b="0" i="0" kern="1200" cap="none" spc="-50" baseline="0" dirty="0">
                <a:ln w="3175">
                  <a:noFill/>
                </a:ln>
                <a:solidFill>
                  <a:schemeClr val="accent2"/>
                </a:solidFill>
                <a:effectLst/>
                <a:latin typeface="Segoe Sans Display" pitchFamily="2" charset="0"/>
                <a:ea typeface="+mn-ea"/>
                <a:cs typeface="Segoe Sans Display" pitchFamily="2" charset="0"/>
              </a:defRPr>
            </a:lvl1pPr>
          </a:lstStyle>
          <a:p>
            <a:r>
              <a:rPr lang="en-US"/>
              <a:t>Event name or presentation title </a:t>
            </a:r>
          </a:p>
        </p:txBody>
      </p:sp>
      <p:sp>
        <p:nvSpPr>
          <p:cNvPr id="13" name="Subtitle 2">
            <a:extLst>
              <a:ext uri="{FF2B5EF4-FFF2-40B4-BE49-F238E27FC236}">
                <a16:creationId xmlns:a16="http://schemas.microsoft.com/office/drawing/2014/main" id="{E738C850-C527-4C78-8D95-980AC70AC8C6}"/>
              </a:ext>
            </a:extLst>
          </p:cNvPr>
          <p:cNvSpPr>
            <a:spLocks noGrp="1"/>
          </p:cNvSpPr>
          <p:nvPr>
            <p:ph type="subTitle" idx="1" hasCustomPrompt="1"/>
          </p:nvPr>
        </p:nvSpPr>
        <p:spPr>
          <a:xfrm>
            <a:off x="7372928" y="5070621"/>
            <a:ext cx="4205405" cy="817719"/>
          </a:xfrm>
          <a:prstGeom prst="rect">
            <a:avLst/>
          </a:prstGeom>
        </p:spPr>
        <p:txBody>
          <a:bodyPr lIns="0" tIns="0" rIns="0" bIns="0">
            <a:noAutofit/>
          </a:bodyPr>
          <a:lstStyle>
            <a:lvl1pPr marL="0" indent="0" algn="l">
              <a:buNone/>
              <a:defRPr sz="1600" b="0" i="0">
                <a:solidFill>
                  <a:srgbClr val="000000"/>
                </a:solidFill>
                <a:latin typeface="Segoe Sans Display" pitchFamily="2" charset="0"/>
                <a:cs typeface="Segoe Sans Display"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2" name="Straight Connector 1">
            <a:extLst>
              <a:ext uri="{FF2B5EF4-FFF2-40B4-BE49-F238E27FC236}">
                <a16:creationId xmlns:a16="http://schemas.microsoft.com/office/drawing/2014/main" id="{701FE5E8-D0F4-EBED-E22B-64F3821CD269}"/>
              </a:ext>
            </a:extLst>
          </p:cNvPr>
          <p:cNvCxnSpPr/>
          <p:nvPr userDrawn="1"/>
        </p:nvCxnSpPr>
        <p:spPr>
          <a:xfrm>
            <a:off x="9993571" y="365352"/>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75F9CF8-3DA7-63B0-DB10-4CB47BC7F2B2}"/>
              </a:ext>
            </a:extLst>
          </p:cNvPr>
          <p:cNvSpPr txBox="1"/>
          <p:nvPr userDrawn="1"/>
        </p:nvSpPr>
        <p:spPr>
          <a:xfrm>
            <a:off x="10139483" y="456464"/>
            <a:ext cx="1471941" cy="307777"/>
          </a:xfrm>
          <a:prstGeom prst="rect">
            <a:avLst/>
          </a:prstGeom>
          <a:noFill/>
        </p:spPr>
        <p:txBody>
          <a:bodyPr wrap="none" rtlCol="0">
            <a:spAutoFit/>
          </a:bodyPr>
          <a:lstStyle/>
          <a:p>
            <a:r>
              <a:rPr lang="en-US" sz="1400" b="0" i="0">
                <a:solidFill>
                  <a:srgbClr val="666666"/>
                </a:solidFill>
                <a:latin typeface="Segoe Sans Display" pitchFamily="2" charset="0"/>
                <a:cs typeface="Segoe Sans Display" pitchFamily="2" charset="0"/>
              </a:rPr>
              <a:t>Microsoft Fabric</a:t>
            </a:r>
          </a:p>
        </p:txBody>
      </p:sp>
      <p:pic>
        <p:nvPicPr>
          <p:cNvPr id="4" name="Picture 3">
            <a:extLst>
              <a:ext uri="{FF2B5EF4-FFF2-40B4-BE49-F238E27FC236}">
                <a16:creationId xmlns:a16="http://schemas.microsoft.com/office/drawing/2014/main" id="{A1645BB9-3C92-C83A-D89B-FC51146B04E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3390"/>
          <a:stretch/>
        </p:blipFill>
        <p:spPr>
          <a:xfrm>
            <a:off x="8233662" y="293628"/>
            <a:ext cx="1566909" cy="544002"/>
          </a:xfrm>
          <a:prstGeom prst="rect">
            <a:avLst/>
          </a:prstGeom>
        </p:spPr>
      </p:pic>
    </p:spTree>
    <p:extLst>
      <p:ext uri="{BB962C8B-B14F-4D97-AF65-F5344CB8AC3E}">
        <p14:creationId xmlns:p14="http://schemas.microsoft.com/office/powerpoint/2010/main" val="3651292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slide">
    <p:bg>
      <p:bgPr>
        <a:solidFill>
          <a:srgbClr val="FDFDFD"/>
        </a:solidFill>
        <a:effectLst/>
      </p:bgPr>
    </p:bg>
    <p:spTree>
      <p:nvGrpSpPr>
        <p:cNvPr id="1" name=""/>
        <p:cNvGrpSpPr/>
        <p:nvPr/>
      </p:nvGrpSpPr>
      <p:grpSpPr>
        <a:xfrm>
          <a:off x="0" y="0"/>
          <a:ext cx="0" cy="0"/>
          <a:chOff x="0" y="0"/>
          <a:chExt cx="0" cy="0"/>
        </a:xfrm>
      </p:grpSpPr>
      <p:sp>
        <p:nvSpPr>
          <p:cNvPr id="5" name="Text Placeholder 102">
            <a:extLst>
              <a:ext uri="{FF2B5EF4-FFF2-40B4-BE49-F238E27FC236}">
                <a16:creationId xmlns:a16="http://schemas.microsoft.com/office/drawing/2014/main" id="{E3E107AA-78FC-65E0-CC15-6AD93D975F45}"/>
              </a:ext>
            </a:extLst>
          </p:cNvPr>
          <p:cNvSpPr>
            <a:spLocks noGrp="1"/>
          </p:cNvSpPr>
          <p:nvPr>
            <p:ph type="body" sz="quarter" idx="22" hasCustomPrompt="1"/>
          </p:nvPr>
        </p:nvSpPr>
        <p:spPr>
          <a:xfrm>
            <a:off x="8582533" y="2874536"/>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6</a:t>
            </a:r>
          </a:p>
        </p:txBody>
      </p:sp>
      <p:sp>
        <p:nvSpPr>
          <p:cNvPr id="7" name="Text Placeholder 102">
            <a:extLst>
              <a:ext uri="{FF2B5EF4-FFF2-40B4-BE49-F238E27FC236}">
                <a16:creationId xmlns:a16="http://schemas.microsoft.com/office/drawing/2014/main" id="{469B92E2-CE76-01D6-4FFB-4AFBCCAF486E}"/>
              </a:ext>
            </a:extLst>
          </p:cNvPr>
          <p:cNvSpPr>
            <a:spLocks noGrp="1"/>
          </p:cNvSpPr>
          <p:nvPr>
            <p:ph type="body" sz="quarter" idx="26" hasCustomPrompt="1"/>
          </p:nvPr>
        </p:nvSpPr>
        <p:spPr>
          <a:xfrm>
            <a:off x="8579714" y="1469682"/>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5</a:t>
            </a:r>
          </a:p>
        </p:txBody>
      </p:sp>
      <p:sp>
        <p:nvSpPr>
          <p:cNvPr id="9" name="Text Placeholder 102">
            <a:extLst>
              <a:ext uri="{FF2B5EF4-FFF2-40B4-BE49-F238E27FC236}">
                <a16:creationId xmlns:a16="http://schemas.microsoft.com/office/drawing/2014/main" id="{09EB693E-AFD2-DA4D-65E7-DAC4C311D88D}"/>
              </a:ext>
            </a:extLst>
          </p:cNvPr>
          <p:cNvSpPr>
            <a:spLocks noGrp="1"/>
          </p:cNvSpPr>
          <p:nvPr>
            <p:ph type="body" sz="quarter" idx="29" hasCustomPrompt="1"/>
          </p:nvPr>
        </p:nvSpPr>
        <p:spPr>
          <a:xfrm>
            <a:off x="5573980" y="1469682"/>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1</a:t>
            </a:r>
          </a:p>
        </p:txBody>
      </p:sp>
      <p:sp>
        <p:nvSpPr>
          <p:cNvPr id="11" name="Text Placeholder 102">
            <a:extLst>
              <a:ext uri="{FF2B5EF4-FFF2-40B4-BE49-F238E27FC236}">
                <a16:creationId xmlns:a16="http://schemas.microsoft.com/office/drawing/2014/main" id="{B3E2FF9C-1D98-949B-6775-F9F676B038F6}"/>
              </a:ext>
            </a:extLst>
          </p:cNvPr>
          <p:cNvSpPr>
            <a:spLocks noGrp="1"/>
          </p:cNvSpPr>
          <p:nvPr>
            <p:ph type="body" sz="quarter" idx="32" hasCustomPrompt="1"/>
          </p:nvPr>
        </p:nvSpPr>
        <p:spPr>
          <a:xfrm>
            <a:off x="5573980" y="2874536"/>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2</a:t>
            </a:r>
          </a:p>
        </p:txBody>
      </p:sp>
      <p:sp>
        <p:nvSpPr>
          <p:cNvPr id="14" name="Text Placeholder 102">
            <a:extLst>
              <a:ext uri="{FF2B5EF4-FFF2-40B4-BE49-F238E27FC236}">
                <a16:creationId xmlns:a16="http://schemas.microsoft.com/office/drawing/2014/main" id="{C6139151-4CF0-BC78-4163-EB56DB9E5CF5}"/>
              </a:ext>
            </a:extLst>
          </p:cNvPr>
          <p:cNvSpPr>
            <a:spLocks noGrp="1"/>
          </p:cNvSpPr>
          <p:nvPr>
            <p:ph type="body" sz="quarter" idx="35" hasCustomPrompt="1"/>
          </p:nvPr>
        </p:nvSpPr>
        <p:spPr>
          <a:xfrm>
            <a:off x="5573980" y="4254553"/>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3</a:t>
            </a:r>
          </a:p>
        </p:txBody>
      </p:sp>
      <p:sp>
        <p:nvSpPr>
          <p:cNvPr id="16" name="Text Placeholder 102">
            <a:extLst>
              <a:ext uri="{FF2B5EF4-FFF2-40B4-BE49-F238E27FC236}">
                <a16:creationId xmlns:a16="http://schemas.microsoft.com/office/drawing/2014/main" id="{5C673D86-C7D7-73B4-CA39-343FCE11128A}"/>
              </a:ext>
            </a:extLst>
          </p:cNvPr>
          <p:cNvSpPr>
            <a:spLocks noGrp="1"/>
          </p:cNvSpPr>
          <p:nvPr>
            <p:ph type="body" sz="quarter" idx="38" hasCustomPrompt="1"/>
          </p:nvPr>
        </p:nvSpPr>
        <p:spPr>
          <a:xfrm>
            <a:off x="5573980" y="5659407"/>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4</a:t>
            </a:r>
          </a:p>
        </p:txBody>
      </p:sp>
      <p:sp>
        <p:nvSpPr>
          <p:cNvPr id="18" name="Text Placeholder 102">
            <a:extLst>
              <a:ext uri="{FF2B5EF4-FFF2-40B4-BE49-F238E27FC236}">
                <a16:creationId xmlns:a16="http://schemas.microsoft.com/office/drawing/2014/main" id="{1BA8EB36-4CB0-2176-1043-3CF64CB151DB}"/>
              </a:ext>
            </a:extLst>
          </p:cNvPr>
          <p:cNvSpPr>
            <a:spLocks noGrp="1"/>
          </p:cNvSpPr>
          <p:nvPr>
            <p:ph type="body" sz="quarter" idx="41" hasCustomPrompt="1"/>
          </p:nvPr>
        </p:nvSpPr>
        <p:spPr>
          <a:xfrm>
            <a:off x="8576895" y="4254553"/>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7</a:t>
            </a:r>
          </a:p>
        </p:txBody>
      </p:sp>
      <p:sp>
        <p:nvSpPr>
          <p:cNvPr id="19" name="Vertical Text Placeholder 3">
            <a:extLst>
              <a:ext uri="{FF2B5EF4-FFF2-40B4-BE49-F238E27FC236}">
                <a16:creationId xmlns:a16="http://schemas.microsoft.com/office/drawing/2014/main" id="{7DB5842A-6769-6042-73E5-E96E58986DC7}"/>
              </a:ext>
            </a:extLst>
          </p:cNvPr>
          <p:cNvSpPr>
            <a:spLocks noGrp="1"/>
          </p:cNvSpPr>
          <p:nvPr>
            <p:ph type="body" orient="vert" sz="quarter" idx="43" hasCustomPrompt="1"/>
          </p:nvPr>
        </p:nvSpPr>
        <p:spPr>
          <a:xfrm rot="10800000">
            <a:off x="3957949" y="2133600"/>
            <a:ext cx="1015663" cy="4017346"/>
          </a:xfrm>
          <a:prstGeom prst="rect">
            <a:avLst/>
          </a:prstGeom>
        </p:spPr>
        <p:txBody>
          <a:bodyPr vert="eaVert" anchor="b">
            <a:noAutofit/>
          </a:bodyPr>
          <a:lstStyle>
            <a:lvl1pPr marL="0" indent="0">
              <a:lnSpc>
                <a:spcPct val="100000"/>
              </a:lnSpc>
              <a:spcBef>
                <a:spcPts val="0"/>
              </a:spcBef>
              <a:buNone/>
              <a:defRPr sz="5400" b="0" i="0">
                <a:gradFill flip="none" rotWithShape="1">
                  <a:gsLst>
                    <a:gs pos="50000">
                      <a:srgbClr val="0F5CCA"/>
                    </a:gs>
                    <a:gs pos="100000">
                      <a:srgbClr val="B238BA"/>
                    </a:gs>
                    <a:gs pos="0">
                      <a:srgbClr val="49C5B1"/>
                    </a:gs>
                  </a:gsLst>
                  <a:lin ang="10800000" scaled="1"/>
                  <a:tileRect/>
                </a:gradFill>
                <a:latin typeface="+mj-lt"/>
                <a:cs typeface="Segoe Sans Display" pitchFamily="2" charset="0"/>
              </a:defRPr>
            </a:lvl1pPr>
          </a:lstStyle>
          <a:p>
            <a:pPr lvl="0"/>
            <a:r>
              <a:rPr lang="en-US"/>
              <a:t>Content</a:t>
            </a:r>
          </a:p>
        </p:txBody>
      </p:sp>
      <p:sp>
        <p:nvSpPr>
          <p:cNvPr id="23" name="Text Placeholder 102">
            <a:extLst>
              <a:ext uri="{FF2B5EF4-FFF2-40B4-BE49-F238E27FC236}">
                <a16:creationId xmlns:a16="http://schemas.microsoft.com/office/drawing/2014/main" id="{BDDDB236-C91E-787B-E5D7-62DE55BBD108}"/>
              </a:ext>
            </a:extLst>
          </p:cNvPr>
          <p:cNvSpPr>
            <a:spLocks noGrp="1"/>
          </p:cNvSpPr>
          <p:nvPr>
            <p:ph type="body" sz="quarter" idx="45" hasCustomPrompt="1"/>
          </p:nvPr>
        </p:nvSpPr>
        <p:spPr>
          <a:xfrm>
            <a:off x="8576895" y="5659407"/>
            <a:ext cx="2258469" cy="491539"/>
          </a:xfrm>
          <a:prstGeom prst="rect">
            <a:avLst/>
          </a:prstGeom>
        </p:spPr>
        <p:txBody>
          <a:bodyPr>
            <a:noAutofit/>
          </a:bodyPr>
          <a:lstStyle>
            <a:lvl1pPr marL="0" indent="0">
              <a:lnSpc>
                <a:spcPct val="92000"/>
              </a:lnSpc>
              <a:spcBef>
                <a:spcPts val="0"/>
              </a:spcBef>
              <a:buNone/>
              <a:defRPr sz="1400" b="0" i="0">
                <a:solidFill>
                  <a:schemeClr val="bg1">
                    <a:lumMod val="50000"/>
                  </a:schemeClr>
                </a:solidFill>
                <a:latin typeface="+mn-lt"/>
                <a:cs typeface="Segoe Sans Text Light" pitchFamily="2" charset="0"/>
              </a:defRPr>
            </a:lvl1pPr>
          </a:lstStyle>
          <a:p>
            <a:pPr lvl="0"/>
            <a:r>
              <a:rPr lang="en-US"/>
              <a:t>Agenda item 7</a:t>
            </a:r>
          </a:p>
        </p:txBody>
      </p:sp>
      <p:pic>
        <p:nvPicPr>
          <p:cNvPr id="24" name="Picture 23">
            <a:extLst>
              <a:ext uri="{FF2B5EF4-FFF2-40B4-BE49-F238E27FC236}">
                <a16:creationId xmlns:a16="http://schemas.microsoft.com/office/drawing/2014/main" id="{30981612-B8FF-053B-8A01-891114FE7DE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0827" y="387417"/>
            <a:ext cx="2897431" cy="6083165"/>
          </a:xfrm>
          <a:prstGeom prst="rect">
            <a:avLst/>
          </a:prstGeom>
        </p:spPr>
      </p:pic>
      <p:pic>
        <p:nvPicPr>
          <p:cNvPr id="25" name="Picture 24" descr="A purple and black background&#10;&#10;Description automatically generated">
            <a:extLst>
              <a:ext uri="{FF2B5EF4-FFF2-40B4-BE49-F238E27FC236}">
                <a16:creationId xmlns:a16="http://schemas.microsoft.com/office/drawing/2014/main" id="{85F2F417-73E0-E8F4-E2C1-281629D794B2}"/>
              </a:ext>
            </a:extLst>
          </p:cNvPr>
          <p:cNvPicPr>
            <a:picLocks noChangeAspect="1"/>
          </p:cNvPicPr>
          <p:nvPr userDrawn="1"/>
        </p:nvPicPr>
        <p:blipFill>
          <a:blip r:embed="rId3"/>
          <a:stretch>
            <a:fillRect/>
          </a:stretch>
        </p:blipFill>
        <p:spPr>
          <a:xfrm rot="5400000">
            <a:off x="-499847" y="3372451"/>
            <a:ext cx="4003551" cy="3040865"/>
          </a:xfrm>
          <a:prstGeom prst="rect">
            <a:avLst/>
          </a:prstGeom>
        </p:spPr>
      </p:pic>
      <p:sp>
        <p:nvSpPr>
          <p:cNvPr id="2" name="Text Placeholder 11">
            <a:extLst>
              <a:ext uri="{FF2B5EF4-FFF2-40B4-BE49-F238E27FC236}">
                <a16:creationId xmlns:a16="http://schemas.microsoft.com/office/drawing/2014/main" id="{4F46BD62-6610-222D-413D-8C18FD4D4E3C}"/>
              </a:ext>
            </a:extLst>
          </p:cNvPr>
          <p:cNvSpPr>
            <a:spLocks noGrp="1"/>
          </p:cNvSpPr>
          <p:nvPr>
            <p:ph type="body" sz="quarter" idx="46" hasCustomPrompt="1"/>
          </p:nvPr>
        </p:nvSpPr>
        <p:spPr>
          <a:xfrm>
            <a:off x="5582443" y="1007270"/>
            <a:ext cx="560387" cy="400050"/>
          </a:xfrm>
          <a:prstGeom prst="rect">
            <a:avLst/>
          </a:prstGeom>
        </p:spPr>
        <p:txBody>
          <a:bodyPr/>
          <a:lstStyle>
            <a:lvl1pPr marL="0" indent="0">
              <a:lnSpc>
                <a:spcPct val="100000"/>
              </a:lnSpc>
              <a:spcBef>
                <a:spcPts val="0"/>
              </a:spcBef>
              <a:buNone/>
              <a:defRPr sz="2000" b="0" i="0">
                <a:solidFill>
                  <a:srgbClr val="2087AB"/>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1</a:t>
            </a:r>
          </a:p>
        </p:txBody>
      </p:sp>
      <p:sp>
        <p:nvSpPr>
          <p:cNvPr id="4" name="Text Placeholder 11">
            <a:extLst>
              <a:ext uri="{FF2B5EF4-FFF2-40B4-BE49-F238E27FC236}">
                <a16:creationId xmlns:a16="http://schemas.microsoft.com/office/drawing/2014/main" id="{4CA619D5-4591-F538-DC7C-948B9555D2A1}"/>
              </a:ext>
            </a:extLst>
          </p:cNvPr>
          <p:cNvSpPr>
            <a:spLocks noGrp="1"/>
          </p:cNvSpPr>
          <p:nvPr>
            <p:ph type="body" sz="quarter" idx="47" hasCustomPrompt="1"/>
          </p:nvPr>
        </p:nvSpPr>
        <p:spPr>
          <a:xfrm>
            <a:off x="8571408" y="1007270"/>
            <a:ext cx="560387" cy="400050"/>
          </a:xfrm>
          <a:prstGeom prst="rect">
            <a:avLst/>
          </a:prstGeom>
        </p:spPr>
        <p:txBody>
          <a:bodyPr/>
          <a:lstStyle>
            <a:lvl1pPr marL="0" indent="0">
              <a:lnSpc>
                <a:spcPct val="100000"/>
              </a:lnSpc>
              <a:spcBef>
                <a:spcPts val="0"/>
              </a:spcBef>
              <a:buNone/>
              <a:defRPr sz="2000" b="0" i="0">
                <a:solidFill>
                  <a:srgbClr val="2087AB"/>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5</a:t>
            </a:r>
          </a:p>
        </p:txBody>
      </p:sp>
      <p:sp>
        <p:nvSpPr>
          <p:cNvPr id="12" name="Text Placeholder 11">
            <a:extLst>
              <a:ext uri="{FF2B5EF4-FFF2-40B4-BE49-F238E27FC236}">
                <a16:creationId xmlns:a16="http://schemas.microsoft.com/office/drawing/2014/main" id="{1303CCA3-9BC2-7828-8C83-774987606E98}"/>
              </a:ext>
            </a:extLst>
          </p:cNvPr>
          <p:cNvSpPr>
            <a:spLocks noGrp="1"/>
          </p:cNvSpPr>
          <p:nvPr>
            <p:ph type="body" sz="quarter" idx="48" hasCustomPrompt="1"/>
          </p:nvPr>
        </p:nvSpPr>
        <p:spPr>
          <a:xfrm>
            <a:off x="5582443" y="2396222"/>
            <a:ext cx="560387" cy="400050"/>
          </a:xfrm>
          <a:prstGeom prst="rect">
            <a:avLst/>
          </a:prstGeom>
        </p:spPr>
        <p:txBody>
          <a:bodyPr/>
          <a:lstStyle>
            <a:lvl1pPr marL="0" indent="0">
              <a:lnSpc>
                <a:spcPct val="100000"/>
              </a:lnSpc>
              <a:spcBef>
                <a:spcPts val="0"/>
              </a:spcBef>
              <a:buNone/>
              <a:defRPr sz="2000" b="0" i="0">
                <a:solidFill>
                  <a:schemeClr val="bg2"/>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2</a:t>
            </a:r>
          </a:p>
        </p:txBody>
      </p:sp>
      <p:sp>
        <p:nvSpPr>
          <p:cNvPr id="20" name="Text Placeholder 11">
            <a:extLst>
              <a:ext uri="{FF2B5EF4-FFF2-40B4-BE49-F238E27FC236}">
                <a16:creationId xmlns:a16="http://schemas.microsoft.com/office/drawing/2014/main" id="{DED7CED9-5CD5-DD76-804E-5F1825291031}"/>
              </a:ext>
            </a:extLst>
          </p:cNvPr>
          <p:cNvSpPr>
            <a:spLocks noGrp="1"/>
          </p:cNvSpPr>
          <p:nvPr>
            <p:ph type="body" sz="quarter" idx="49" hasCustomPrompt="1"/>
          </p:nvPr>
        </p:nvSpPr>
        <p:spPr>
          <a:xfrm>
            <a:off x="8571408" y="2396222"/>
            <a:ext cx="560387" cy="400050"/>
          </a:xfrm>
          <a:prstGeom prst="rect">
            <a:avLst/>
          </a:prstGeom>
        </p:spPr>
        <p:txBody>
          <a:bodyPr/>
          <a:lstStyle>
            <a:lvl1pPr marL="0" indent="0">
              <a:lnSpc>
                <a:spcPct val="100000"/>
              </a:lnSpc>
              <a:spcBef>
                <a:spcPts val="0"/>
              </a:spcBef>
              <a:buNone/>
              <a:defRPr sz="2000" b="0" i="0">
                <a:solidFill>
                  <a:schemeClr val="bg2"/>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6</a:t>
            </a:r>
          </a:p>
        </p:txBody>
      </p:sp>
      <p:sp>
        <p:nvSpPr>
          <p:cNvPr id="22" name="Text Placeholder 11">
            <a:extLst>
              <a:ext uri="{FF2B5EF4-FFF2-40B4-BE49-F238E27FC236}">
                <a16:creationId xmlns:a16="http://schemas.microsoft.com/office/drawing/2014/main" id="{2D1CDCB1-09AE-CA26-F74A-651A4CBB822C}"/>
              </a:ext>
            </a:extLst>
          </p:cNvPr>
          <p:cNvSpPr>
            <a:spLocks noGrp="1"/>
          </p:cNvSpPr>
          <p:nvPr>
            <p:ph type="body" sz="quarter" idx="50" hasCustomPrompt="1"/>
          </p:nvPr>
        </p:nvSpPr>
        <p:spPr>
          <a:xfrm>
            <a:off x="5582443" y="3779723"/>
            <a:ext cx="560387" cy="400050"/>
          </a:xfrm>
          <a:prstGeom prst="rect">
            <a:avLst/>
          </a:prstGeom>
        </p:spPr>
        <p:txBody>
          <a:bodyPr/>
          <a:lstStyle>
            <a:lvl1pPr marL="0" indent="0">
              <a:lnSpc>
                <a:spcPct val="100000"/>
              </a:lnSpc>
              <a:spcBef>
                <a:spcPts val="0"/>
              </a:spcBef>
              <a:buNone/>
              <a:defRPr sz="2000" b="0" i="0">
                <a:solidFill>
                  <a:schemeClr val="accent2"/>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3</a:t>
            </a:r>
          </a:p>
        </p:txBody>
      </p:sp>
      <p:sp>
        <p:nvSpPr>
          <p:cNvPr id="26" name="Text Placeholder 11">
            <a:extLst>
              <a:ext uri="{FF2B5EF4-FFF2-40B4-BE49-F238E27FC236}">
                <a16:creationId xmlns:a16="http://schemas.microsoft.com/office/drawing/2014/main" id="{C1A275E2-D7A8-0359-303F-59D68F80088C}"/>
              </a:ext>
            </a:extLst>
          </p:cNvPr>
          <p:cNvSpPr>
            <a:spLocks noGrp="1"/>
          </p:cNvSpPr>
          <p:nvPr>
            <p:ph type="body" sz="quarter" idx="51" hasCustomPrompt="1"/>
          </p:nvPr>
        </p:nvSpPr>
        <p:spPr>
          <a:xfrm>
            <a:off x="8571408" y="3779723"/>
            <a:ext cx="560387" cy="400050"/>
          </a:xfrm>
          <a:prstGeom prst="rect">
            <a:avLst/>
          </a:prstGeom>
        </p:spPr>
        <p:txBody>
          <a:bodyPr/>
          <a:lstStyle>
            <a:lvl1pPr marL="0" indent="0">
              <a:lnSpc>
                <a:spcPct val="100000"/>
              </a:lnSpc>
              <a:spcBef>
                <a:spcPts val="0"/>
              </a:spcBef>
              <a:buNone/>
              <a:defRPr sz="2000" b="0" i="0">
                <a:solidFill>
                  <a:schemeClr val="accent2"/>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7</a:t>
            </a:r>
          </a:p>
        </p:txBody>
      </p:sp>
      <p:sp>
        <p:nvSpPr>
          <p:cNvPr id="27" name="Text Placeholder 11">
            <a:extLst>
              <a:ext uri="{FF2B5EF4-FFF2-40B4-BE49-F238E27FC236}">
                <a16:creationId xmlns:a16="http://schemas.microsoft.com/office/drawing/2014/main" id="{BA587012-BD4A-2795-8AC3-50156A0A8F22}"/>
              </a:ext>
            </a:extLst>
          </p:cNvPr>
          <p:cNvSpPr>
            <a:spLocks noGrp="1"/>
          </p:cNvSpPr>
          <p:nvPr>
            <p:ph type="body" sz="quarter" idx="52" hasCustomPrompt="1"/>
          </p:nvPr>
        </p:nvSpPr>
        <p:spPr>
          <a:xfrm>
            <a:off x="5582443" y="5202148"/>
            <a:ext cx="560387" cy="400050"/>
          </a:xfrm>
          <a:prstGeom prst="rect">
            <a:avLst/>
          </a:prstGeom>
        </p:spPr>
        <p:txBody>
          <a:bodyPr/>
          <a:lstStyle>
            <a:lvl1pPr marL="0" indent="0">
              <a:lnSpc>
                <a:spcPct val="100000"/>
              </a:lnSpc>
              <a:spcBef>
                <a:spcPts val="0"/>
              </a:spcBef>
              <a:buNone/>
              <a:defRPr sz="2000" b="0" i="0">
                <a:solidFill>
                  <a:schemeClr val="accent4"/>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4</a:t>
            </a:r>
          </a:p>
        </p:txBody>
      </p:sp>
      <p:sp>
        <p:nvSpPr>
          <p:cNvPr id="28" name="Text Placeholder 11">
            <a:extLst>
              <a:ext uri="{FF2B5EF4-FFF2-40B4-BE49-F238E27FC236}">
                <a16:creationId xmlns:a16="http://schemas.microsoft.com/office/drawing/2014/main" id="{D76B1DFF-94E8-2C8F-797E-A905F268B72D}"/>
              </a:ext>
            </a:extLst>
          </p:cNvPr>
          <p:cNvSpPr>
            <a:spLocks noGrp="1"/>
          </p:cNvSpPr>
          <p:nvPr>
            <p:ph type="body" sz="quarter" idx="53" hasCustomPrompt="1"/>
          </p:nvPr>
        </p:nvSpPr>
        <p:spPr>
          <a:xfrm>
            <a:off x="8571408" y="5202148"/>
            <a:ext cx="560387" cy="400050"/>
          </a:xfrm>
          <a:prstGeom prst="rect">
            <a:avLst/>
          </a:prstGeom>
        </p:spPr>
        <p:txBody>
          <a:bodyPr/>
          <a:lstStyle>
            <a:lvl1pPr marL="0" indent="0">
              <a:lnSpc>
                <a:spcPct val="100000"/>
              </a:lnSpc>
              <a:spcBef>
                <a:spcPts val="0"/>
              </a:spcBef>
              <a:buNone/>
              <a:defRPr sz="2000" b="0" i="0">
                <a:solidFill>
                  <a:schemeClr val="accent4"/>
                </a:solidFill>
                <a:latin typeface="Segoe Sans Small Semibold" pitchFamily="2" charset="0"/>
                <a:cs typeface="Segoe Sans Small Semibold"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8</a:t>
            </a:r>
          </a:p>
        </p:txBody>
      </p:sp>
    </p:spTree>
    <p:extLst>
      <p:ext uri="{BB962C8B-B14F-4D97-AF65-F5344CB8AC3E}">
        <p14:creationId xmlns:p14="http://schemas.microsoft.com/office/powerpoint/2010/main" val="2085298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Agenda slide">
    <p:bg>
      <p:bgPr>
        <a:solidFill>
          <a:srgbClr val="FDFDFD"/>
        </a:solidFill>
        <a:effectLst/>
      </p:bgPr>
    </p:bg>
    <p:spTree>
      <p:nvGrpSpPr>
        <p:cNvPr id="1" name=""/>
        <p:cNvGrpSpPr/>
        <p:nvPr/>
      </p:nvGrpSpPr>
      <p:grpSpPr>
        <a:xfrm>
          <a:off x="0" y="0"/>
          <a:ext cx="0" cy="0"/>
          <a:chOff x="0" y="0"/>
          <a:chExt cx="0" cy="0"/>
        </a:xfrm>
      </p:grpSpPr>
      <p:sp>
        <p:nvSpPr>
          <p:cNvPr id="3" name="Text Placeholder 102">
            <a:extLst>
              <a:ext uri="{FF2B5EF4-FFF2-40B4-BE49-F238E27FC236}">
                <a16:creationId xmlns:a16="http://schemas.microsoft.com/office/drawing/2014/main" id="{CCA6DED0-E4E8-39F1-3DDC-520585B8247C}"/>
              </a:ext>
            </a:extLst>
          </p:cNvPr>
          <p:cNvSpPr>
            <a:spLocks noGrp="1"/>
          </p:cNvSpPr>
          <p:nvPr>
            <p:ph type="body" sz="quarter" idx="22" hasCustomPrompt="1"/>
          </p:nvPr>
        </p:nvSpPr>
        <p:spPr>
          <a:xfrm>
            <a:off x="6023891" y="2698367"/>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6</a:t>
            </a:r>
          </a:p>
        </p:txBody>
      </p:sp>
      <p:sp>
        <p:nvSpPr>
          <p:cNvPr id="5" name="Text Placeholder 102">
            <a:extLst>
              <a:ext uri="{FF2B5EF4-FFF2-40B4-BE49-F238E27FC236}">
                <a16:creationId xmlns:a16="http://schemas.microsoft.com/office/drawing/2014/main" id="{C407FF1F-2401-E955-68A6-0CFAE2AB1DD5}"/>
              </a:ext>
            </a:extLst>
          </p:cNvPr>
          <p:cNvSpPr>
            <a:spLocks noGrp="1"/>
          </p:cNvSpPr>
          <p:nvPr>
            <p:ph type="body" sz="quarter" idx="26" hasCustomPrompt="1"/>
          </p:nvPr>
        </p:nvSpPr>
        <p:spPr>
          <a:xfrm>
            <a:off x="6021072" y="1293513"/>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5</a:t>
            </a:r>
          </a:p>
        </p:txBody>
      </p:sp>
      <p:sp>
        <p:nvSpPr>
          <p:cNvPr id="7" name="Text Placeholder 102">
            <a:extLst>
              <a:ext uri="{FF2B5EF4-FFF2-40B4-BE49-F238E27FC236}">
                <a16:creationId xmlns:a16="http://schemas.microsoft.com/office/drawing/2014/main" id="{79BA467C-00FD-FFE5-B6B3-257AD807C32C}"/>
              </a:ext>
            </a:extLst>
          </p:cNvPr>
          <p:cNvSpPr>
            <a:spLocks noGrp="1"/>
          </p:cNvSpPr>
          <p:nvPr>
            <p:ph type="body" sz="quarter" idx="29" hasCustomPrompt="1"/>
          </p:nvPr>
        </p:nvSpPr>
        <p:spPr>
          <a:xfrm>
            <a:off x="3015338" y="1293513"/>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1</a:t>
            </a:r>
          </a:p>
        </p:txBody>
      </p:sp>
      <p:sp>
        <p:nvSpPr>
          <p:cNvPr id="9" name="Text Placeholder 102">
            <a:extLst>
              <a:ext uri="{FF2B5EF4-FFF2-40B4-BE49-F238E27FC236}">
                <a16:creationId xmlns:a16="http://schemas.microsoft.com/office/drawing/2014/main" id="{B07E0235-FC5D-C1A5-0D05-82C90DAE7154}"/>
              </a:ext>
            </a:extLst>
          </p:cNvPr>
          <p:cNvSpPr>
            <a:spLocks noGrp="1"/>
          </p:cNvSpPr>
          <p:nvPr>
            <p:ph type="body" sz="quarter" idx="32" hasCustomPrompt="1"/>
          </p:nvPr>
        </p:nvSpPr>
        <p:spPr>
          <a:xfrm>
            <a:off x="3015338" y="2698367"/>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2</a:t>
            </a:r>
          </a:p>
        </p:txBody>
      </p:sp>
      <p:sp>
        <p:nvSpPr>
          <p:cNvPr id="13" name="Text Placeholder 102">
            <a:extLst>
              <a:ext uri="{FF2B5EF4-FFF2-40B4-BE49-F238E27FC236}">
                <a16:creationId xmlns:a16="http://schemas.microsoft.com/office/drawing/2014/main" id="{15EC97A3-A696-A850-DAC3-9B7F156D6435}"/>
              </a:ext>
            </a:extLst>
          </p:cNvPr>
          <p:cNvSpPr>
            <a:spLocks noGrp="1"/>
          </p:cNvSpPr>
          <p:nvPr>
            <p:ph type="body" sz="quarter" idx="35" hasCustomPrompt="1"/>
          </p:nvPr>
        </p:nvSpPr>
        <p:spPr>
          <a:xfrm>
            <a:off x="3015338" y="4078384"/>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3</a:t>
            </a:r>
          </a:p>
        </p:txBody>
      </p:sp>
      <p:sp>
        <p:nvSpPr>
          <p:cNvPr id="15" name="Text Placeholder 102">
            <a:extLst>
              <a:ext uri="{FF2B5EF4-FFF2-40B4-BE49-F238E27FC236}">
                <a16:creationId xmlns:a16="http://schemas.microsoft.com/office/drawing/2014/main" id="{676A4AA1-3572-4723-1C95-164DF0BCD503}"/>
              </a:ext>
            </a:extLst>
          </p:cNvPr>
          <p:cNvSpPr>
            <a:spLocks noGrp="1"/>
          </p:cNvSpPr>
          <p:nvPr>
            <p:ph type="body" sz="quarter" idx="38" hasCustomPrompt="1"/>
          </p:nvPr>
        </p:nvSpPr>
        <p:spPr>
          <a:xfrm>
            <a:off x="3015338" y="5483238"/>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4</a:t>
            </a:r>
          </a:p>
        </p:txBody>
      </p:sp>
      <p:sp>
        <p:nvSpPr>
          <p:cNvPr id="17" name="Text Placeholder 102">
            <a:extLst>
              <a:ext uri="{FF2B5EF4-FFF2-40B4-BE49-F238E27FC236}">
                <a16:creationId xmlns:a16="http://schemas.microsoft.com/office/drawing/2014/main" id="{3C367C00-132C-8896-2D13-153A6C7925AD}"/>
              </a:ext>
            </a:extLst>
          </p:cNvPr>
          <p:cNvSpPr>
            <a:spLocks noGrp="1"/>
          </p:cNvSpPr>
          <p:nvPr>
            <p:ph type="body" sz="quarter" idx="41" hasCustomPrompt="1"/>
          </p:nvPr>
        </p:nvSpPr>
        <p:spPr>
          <a:xfrm>
            <a:off x="6018253" y="4078384"/>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7</a:t>
            </a:r>
          </a:p>
        </p:txBody>
      </p:sp>
      <p:sp>
        <p:nvSpPr>
          <p:cNvPr id="18" name="Vertical Text Placeholder 3">
            <a:extLst>
              <a:ext uri="{FF2B5EF4-FFF2-40B4-BE49-F238E27FC236}">
                <a16:creationId xmlns:a16="http://schemas.microsoft.com/office/drawing/2014/main" id="{D53E8A67-9503-1E6E-F9A3-E01A96712B99}"/>
              </a:ext>
            </a:extLst>
          </p:cNvPr>
          <p:cNvSpPr>
            <a:spLocks noGrp="1"/>
          </p:cNvSpPr>
          <p:nvPr>
            <p:ph type="body" orient="vert" sz="quarter" idx="43" hasCustomPrompt="1"/>
          </p:nvPr>
        </p:nvSpPr>
        <p:spPr>
          <a:xfrm rot="16200000">
            <a:off x="1108509" y="438659"/>
            <a:ext cx="733158" cy="1585970"/>
          </a:xfrm>
          <a:prstGeom prst="rect">
            <a:avLst/>
          </a:prstGeom>
        </p:spPr>
        <p:txBody>
          <a:bodyPr vert="eaVert">
            <a:noAutofit/>
          </a:bodyPr>
          <a:lstStyle>
            <a:lvl1pPr marL="0" indent="0">
              <a:buNone/>
              <a:defRPr sz="3200" b="0" i="0">
                <a:gradFill flip="none" rotWithShape="1">
                  <a:gsLst>
                    <a:gs pos="50000">
                      <a:srgbClr val="0F5CCA"/>
                    </a:gs>
                    <a:gs pos="100000">
                      <a:srgbClr val="B238BA"/>
                    </a:gs>
                    <a:gs pos="0">
                      <a:srgbClr val="49C5B1"/>
                    </a:gs>
                  </a:gsLst>
                  <a:lin ang="10800000" scaled="1"/>
                  <a:tileRect/>
                </a:gradFill>
                <a:latin typeface="Segoe Sans Display" pitchFamily="2" charset="0"/>
                <a:cs typeface="Segoe Sans Display" pitchFamily="2" charset="0"/>
              </a:defRPr>
            </a:lvl1pPr>
          </a:lstStyle>
          <a:p>
            <a:pPr lvl="0"/>
            <a:r>
              <a:rPr lang="en-US"/>
              <a:t>Agenda</a:t>
            </a:r>
          </a:p>
        </p:txBody>
      </p:sp>
      <p:sp>
        <p:nvSpPr>
          <p:cNvPr id="21" name="Text Placeholder 102">
            <a:extLst>
              <a:ext uri="{FF2B5EF4-FFF2-40B4-BE49-F238E27FC236}">
                <a16:creationId xmlns:a16="http://schemas.microsoft.com/office/drawing/2014/main" id="{0051C787-FE09-A6FD-658C-A2AA371B60A0}"/>
              </a:ext>
            </a:extLst>
          </p:cNvPr>
          <p:cNvSpPr>
            <a:spLocks noGrp="1"/>
          </p:cNvSpPr>
          <p:nvPr>
            <p:ph type="body" sz="quarter" idx="45" hasCustomPrompt="1"/>
          </p:nvPr>
        </p:nvSpPr>
        <p:spPr>
          <a:xfrm>
            <a:off x="6018253" y="5483238"/>
            <a:ext cx="2258469" cy="491539"/>
          </a:xfrm>
          <a:prstGeom prst="rect">
            <a:avLst/>
          </a:prstGeom>
        </p:spPr>
        <p:txBody>
          <a:bodyPr>
            <a:normAutofit/>
          </a:bodyPr>
          <a:lstStyle>
            <a:lvl1pPr marL="0" indent="0">
              <a:buNone/>
              <a:defRPr sz="1400" b="0" i="0">
                <a:solidFill>
                  <a:schemeClr val="bg1">
                    <a:lumMod val="50000"/>
                  </a:schemeClr>
                </a:solidFill>
                <a:latin typeface="Segoe Sans Text Light" pitchFamily="2" charset="0"/>
                <a:cs typeface="Segoe Sans Text Light" pitchFamily="2" charset="0"/>
              </a:defRPr>
            </a:lvl1pPr>
          </a:lstStyle>
          <a:p>
            <a:pPr lvl="0"/>
            <a:r>
              <a:rPr lang="en-US"/>
              <a:t>Agenda item 7</a:t>
            </a:r>
          </a:p>
        </p:txBody>
      </p:sp>
      <p:sp>
        <p:nvSpPr>
          <p:cNvPr id="12" name="Text Placeholder 11">
            <a:extLst>
              <a:ext uri="{FF2B5EF4-FFF2-40B4-BE49-F238E27FC236}">
                <a16:creationId xmlns:a16="http://schemas.microsoft.com/office/drawing/2014/main" id="{6C4FB0E4-7942-3FC2-407F-B9500F035E5D}"/>
              </a:ext>
            </a:extLst>
          </p:cNvPr>
          <p:cNvSpPr>
            <a:spLocks noGrp="1"/>
          </p:cNvSpPr>
          <p:nvPr>
            <p:ph type="body" sz="quarter" idx="46" hasCustomPrompt="1"/>
          </p:nvPr>
        </p:nvSpPr>
        <p:spPr>
          <a:xfrm>
            <a:off x="3015338" y="863473"/>
            <a:ext cx="560387" cy="400050"/>
          </a:xfrm>
          <a:prstGeom prst="rect">
            <a:avLst/>
          </a:prstGeom>
        </p:spPr>
        <p:txBody>
          <a:bodyPr/>
          <a:lstStyle>
            <a:lvl1pPr marL="0" indent="0">
              <a:buNone/>
              <a:defRPr sz="2000" b="0" i="0">
                <a:solidFill>
                  <a:srgbClr val="2087AB"/>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1</a:t>
            </a:r>
          </a:p>
        </p:txBody>
      </p:sp>
      <p:sp>
        <p:nvSpPr>
          <p:cNvPr id="20" name="Text Placeholder 11">
            <a:extLst>
              <a:ext uri="{FF2B5EF4-FFF2-40B4-BE49-F238E27FC236}">
                <a16:creationId xmlns:a16="http://schemas.microsoft.com/office/drawing/2014/main" id="{D063535B-A7D0-15D4-B5A1-594D2F4162A5}"/>
              </a:ext>
            </a:extLst>
          </p:cNvPr>
          <p:cNvSpPr>
            <a:spLocks noGrp="1"/>
          </p:cNvSpPr>
          <p:nvPr>
            <p:ph type="body" sz="quarter" idx="47" hasCustomPrompt="1"/>
          </p:nvPr>
        </p:nvSpPr>
        <p:spPr>
          <a:xfrm>
            <a:off x="6004303" y="863473"/>
            <a:ext cx="560387" cy="400050"/>
          </a:xfrm>
          <a:prstGeom prst="rect">
            <a:avLst/>
          </a:prstGeom>
        </p:spPr>
        <p:txBody>
          <a:bodyPr/>
          <a:lstStyle>
            <a:lvl1pPr marL="0" indent="0">
              <a:buNone/>
              <a:defRPr sz="2000" b="0" i="0">
                <a:solidFill>
                  <a:srgbClr val="2087AB"/>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5</a:t>
            </a:r>
          </a:p>
        </p:txBody>
      </p:sp>
      <p:sp>
        <p:nvSpPr>
          <p:cNvPr id="22" name="Text Placeholder 11">
            <a:extLst>
              <a:ext uri="{FF2B5EF4-FFF2-40B4-BE49-F238E27FC236}">
                <a16:creationId xmlns:a16="http://schemas.microsoft.com/office/drawing/2014/main" id="{8D9099A6-3B0A-9464-367E-D5A8E455A408}"/>
              </a:ext>
            </a:extLst>
          </p:cNvPr>
          <p:cNvSpPr>
            <a:spLocks noGrp="1"/>
          </p:cNvSpPr>
          <p:nvPr>
            <p:ph type="body" sz="quarter" idx="48" hasCustomPrompt="1"/>
          </p:nvPr>
        </p:nvSpPr>
        <p:spPr>
          <a:xfrm>
            <a:off x="3015338" y="2252425"/>
            <a:ext cx="560387" cy="400050"/>
          </a:xfrm>
          <a:prstGeom prst="rect">
            <a:avLst/>
          </a:prstGeom>
        </p:spPr>
        <p:txBody>
          <a:bodyPr/>
          <a:lstStyle>
            <a:lvl1pPr marL="0" indent="0">
              <a:buNone/>
              <a:defRPr sz="2000" b="0" i="0">
                <a:solidFill>
                  <a:schemeClr val="bg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2</a:t>
            </a:r>
          </a:p>
        </p:txBody>
      </p:sp>
      <p:sp>
        <p:nvSpPr>
          <p:cNvPr id="23" name="Text Placeholder 11">
            <a:extLst>
              <a:ext uri="{FF2B5EF4-FFF2-40B4-BE49-F238E27FC236}">
                <a16:creationId xmlns:a16="http://schemas.microsoft.com/office/drawing/2014/main" id="{07AC5969-ACBC-CD3B-958B-C4688327203B}"/>
              </a:ext>
            </a:extLst>
          </p:cNvPr>
          <p:cNvSpPr>
            <a:spLocks noGrp="1"/>
          </p:cNvSpPr>
          <p:nvPr>
            <p:ph type="body" sz="quarter" idx="49" hasCustomPrompt="1"/>
          </p:nvPr>
        </p:nvSpPr>
        <p:spPr>
          <a:xfrm>
            <a:off x="6004303" y="2252425"/>
            <a:ext cx="560387" cy="400050"/>
          </a:xfrm>
          <a:prstGeom prst="rect">
            <a:avLst/>
          </a:prstGeom>
        </p:spPr>
        <p:txBody>
          <a:bodyPr/>
          <a:lstStyle>
            <a:lvl1pPr marL="0" indent="0">
              <a:buNone/>
              <a:defRPr sz="2000" b="0" i="0">
                <a:solidFill>
                  <a:schemeClr val="bg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6</a:t>
            </a:r>
          </a:p>
        </p:txBody>
      </p:sp>
      <p:sp>
        <p:nvSpPr>
          <p:cNvPr id="24" name="Text Placeholder 11">
            <a:extLst>
              <a:ext uri="{FF2B5EF4-FFF2-40B4-BE49-F238E27FC236}">
                <a16:creationId xmlns:a16="http://schemas.microsoft.com/office/drawing/2014/main" id="{AB03BDC5-976E-FC84-E7E5-F83B89DAEC42}"/>
              </a:ext>
            </a:extLst>
          </p:cNvPr>
          <p:cNvSpPr>
            <a:spLocks noGrp="1"/>
          </p:cNvSpPr>
          <p:nvPr>
            <p:ph type="body" sz="quarter" idx="50" hasCustomPrompt="1"/>
          </p:nvPr>
        </p:nvSpPr>
        <p:spPr>
          <a:xfrm>
            <a:off x="3015338" y="3635926"/>
            <a:ext cx="560387" cy="400050"/>
          </a:xfrm>
          <a:prstGeom prst="rect">
            <a:avLst/>
          </a:prstGeom>
        </p:spPr>
        <p:txBody>
          <a:bodyPr/>
          <a:lstStyle>
            <a:lvl1pPr marL="0" indent="0">
              <a:buNone/>
              <a:defRPr sz="2000" b="0" i="0">
                <a:solidFill>
                  <a:schemeClr val="accent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3</a:t>
            </a:r>
          </a:p>
        </p:txBody>
      </p:sp>
      <p:sp>
        <p:nvSpPr>
          <p:cNvPr id="25" name="Text Placeholder 11">
            <a:extLst>
              <a:ext uri="{FF2B5EF4-FFF2-40B4-BE49-F238E27FC236}">
                <a16:creationId xmlns:a16="http://schemas.microsoft.com/office/drawing/2014/main" id="{DD404668-7BFF-9D81-116D-D664F55583DC}"/>
              </a:ext>
            </a:extLst>
          </p:cNvPr>
          <p:cNvSpPr>
            <a:spLocks noGrp="1"/>
          </p:cNvSpPr>
          <p:nvPr>
            <p:ph type="body" sz="quarter" idx="51" hasCustomPrompt="1"/>
          </p:nvPr>
        </p:nvSpPr>
        <p:spPr>
          <a:xfrm>
            <a:off x="6004303" y="3635926"/>
            <a:ext cx="560387" cy="400050"/>
          </a:xfrm>
          <a:prstGeom prst="rect">
            <a:avLst/>
          </a:prstGeom>
        </p:spPr>
        <p:txBody>
          <a:bodyPr/>
          <a:lstStyle>
            <a:lvl1pPr marL="0" indent="0">
              <a:buNone/>
              <a:defRPr sz="2000" b="0" i="0">
                <a:solidFill>
                  <a:schemeClr val="accent2"/>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7</a:t>
            </a:r>
          </a:p>
        </p:txBody>
      </p:sp>
      <p:sp>
        <p:nvSpPr>
          <p:cNvPr id="26" name="Text Placeholder 11">
            <a:extLst>
              <a:ext uri="{FF2B5EF4-FFF2-40B4-BE49-F238E27FC236}">
                <a16:creationId xmlns:a16="http://schemas.microsoft.com/office/drawing/2014/main" id="{EF450C48-9DBC-7E11-76BF-521C525AD0C0}"/>
              </a:ext>
            </a:extLst>
          </p:cNvPr>
          <p:cNvSpPr>
            <a:spLocks noGrp="1"/>
          </p:cNvSpPr>
          <p:nvPr>
            <p:ph type="body" sz="quarter" idx="52" hasCustomPrompt="1"/>
          </p:nvPr>
        </p:nvSpPr>
        <p:spPr>
          <a:xfrm>
            <a:off x="3015338" y="5058351"/>
            <a:ext cx="560387" cy="400050"/>
          </a:xfrm>
          <a:prstGeom prst="rect">
            <a:avLst/>
          </a:prstGeom>
        </p:spPr>
        <p:txBody>
          <a:bodyPr/>
          <a:lstStyle>
            <a:lvl1pPr marL="0" indent="0">
              <a:buNone/>
              <a:defRPr sz="2000" b="0" i="0">
                <a:solidFill>
                  <a:schemeClr val="accent4"/>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4</a:t>
            </a:r>
          </a:p>
        </p:txBody>
      </p:sp>
      <p:sp>
        <p:nvSpPr>
          <p:cNvPr id="27" name="Text Placeholder 11">
            <a:extLst>
              <a:ext uri="{FF2B5EF4-FFF2-40B4-BE49-F238E27FC236}">
                <a16:creationId xmlns:a16="http://schemas.microsoft.com/office/drawing/2014/main" id="{C59416B7-40A3-0E61-131F-614A2055DC63}"/>
              </a:ext>
            </a:extLst>
          </p:cNvPr>
          <p:cNvSpPr>
            <a:spLocks noGrp="1"/>
          </p:cNvSpPr>
          <p:nvPr>
            <p:ph type="body" sz="quarter" idx="53" hasCustomPrompt="1"/>
          </p:nvPr>
        </p:nvSpPr>
        <p:spPr>
          <a:xfrm>
            <a:off x="6004303" y="5058351"/>
            <a:ext cx="560387" cy="400050"/>
          </a:xfrm>
          <a:prstGeom prst="rect">
            <a:avLst/>
          </a:prstGeom>
        </p:spPr>
        <p:txBody>
          <a:bodyPr/>
          <a:lstStyle>
            <a:lvl1pPr marL="0" indent="0">
              <a:buNone/>
              <a:defRPr sz="2000" b="0" i="0">
                <a:solidFill>
                  <a:schemeClr val="accent4"/>
                </a:solidFill>
                <a:latin typeface="Segoe Sans Small" pitchFamily="2" charset="0"/>
                <a:cs typeface="Segoe Sans Small" pitchFamily="2"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08</a:t>
            </a:r>
          </a:p>
        </p:txBody>
      </p:sp>
    </p:spTree>
    <p:extLst>
      <p:ext uri="{BB962C8B-B14F-4D97-AF65-F5344CB8AC3E}">
        <p14:creationId xmlns:p14="http://schemas.microsoft.com/office/powerpoint/2010/main" val="7977499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Section title slide">
    <p:bg>
      <p:bgPr>
        <a:solidFill>
          <a:srgbClr val="F5F1E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13610-D10C-7EDB-D184-A911B7E375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rgbClr val="B238BA"/>
                </a:solidFill>
                <a:latin typeface="Segoe Sans Display" pitchFamily="2" charset="0"/>
                <a:cs typeface="Segoe Sans Display" pitchFamily="2" charset="0"/>
              </a:defRPr>
            </a:lvl1pPr>
          </a:lstStyle>
          <a:p>
            <a:pPr marL="228600" lvl="0" indent="-228600"/>
            <a:r>
              <a:rPr lang="en-US"/>
              <a:t>Section title one</a:t>
            </a:r>
          </a:p>
        </p:txBody>
      </p:sp>
    </p:spTree>
    <p:extLst>
      <p:ext uri="{BB962C8B-B14F-4D97-AF65-F5344CB8AC3E}">
        <p14:creationId xmlns:p14="http://schemas.microsoft.com/office/powerpoint/2010/main" val="7174046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ection title slide">
    <p:bg>
      <p:bgPr>
        <a:solidFill>
          <a:srgbClr val="F5F1E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13610-D10C-7EDB-D184-A911B7E375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rgbClr val="B238BA"/>
                </a:solidFill>
                <a:latin typeface="Segoe Sans Display" pitchFamily="2" charset="0"/>
                <a:cs typeface="Segoe Sans Display" pitchFamily="2" charset="0"/>
              </a:defRPr>
            </a:lvl1pPr>
          </a:lstStyle>
          <a:p>
            <a:pPr marL="228600" lvl="0" indent="-228600"/>
            <a:r>
              <a:rPr lang="en-US"/>
              <a:t>Section title two</a:t>
            </a:r>
          </a:p>
        </p:txBody>
      </p:sp>
    </p:spTree>
    <p:extLst>
      <p:ext uri="{BB962C8B-B14F-4D97-AF65-F5344CB8AC3E}">
        <p14:creationId xmlns:p14="http://schemas.microsoft.com/office/powerpoint/2010/main" val="4718143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Section title slide">
    <p:bg>
      <p:bgPr>
        <a:solidFill>
          <a:srgbClr val="F5F1E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13610-D10C-7EDB-D184-A911B7E375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228600" indent="-228600">
              <a:buNone/>
              <a:defRPr lang="en-US" sz="3200">
                <a:solidFill>
                  <a:srgbClr val="B238BA"/>
                </a:solidFill>
                <a:latin typeface="Segoe Sans Display" pitchFamily="2" charset="0"/>
                <a:cs typeface="Segoe Sans Display" pitchFamily="2" charset="0"/>
              </a:defRPr>
            </a:lvl1pPr>
          </a:lstStyle>
          <a:p>
            <a:pPr marL="228600" lvl="0" indent="-228600"/>
            <a:r>
              <a:rPr lang="en-US"/>
              <a:t>Section title three</a:t>
            </a:r>
          </a:p>
        </p:txBody>
      </p:sp>
    </p:spTree>
    <p:extLst>
      <p:ext uri="{BB962C8B-B14F-4D97-AF65-F5344CB8AC3E}">
        <p14:creationId xmlns:p14="http://schemas.microsoft.com/office/powerpoint/2010/main" val="269940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Section title slide">
    <p:bg>
      <p:bgPr>
        <a:solidFill>
          <a:schemeClr val="bg1"/>
        </a:solidFill>
        <a:effectLst/>
      </p:bgPr>
    </p:bg>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A2ADDE53-316E-F6CF-454D-6E35CF8E8F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07779" y="0"/>
            <a:ext cx="9084221" cy="6858000"/>
          </a:xfrm>
          <a:prstGeom prst="rect">
            <a:avLst/>
          </a:prstGeom>
        </p:spPr>
      </p:pic>
      <p:sp>
        <p:nvSpPr>
          <p:cNvPr id="16" name="Text Placeholder 15">
            <a:extLst>
              <a:ext uri="{FF2B5EF4-FFF2-40B4-BE49-F238E27FC236}">
                <a16:creationId xmlns:a16="http://schemas.microsoft.com/office/drawing/2014/main" id="{7C33432F-43D0-81F2-E840-DFAC05649057}"/>
              </a:ext>
            </a:extLst>
          </p:cNvPr>
          <p:cNvSpPr>
            <a:spLocks noGrp="1"/>
          </p:cNvSpPr>
          <p:nvPr>
            <p:ph type="body" sz="quarter" idx="11" hasCustomPrompt="1"/>
          </p:nvPr>
        </p:nvSpPr>
        <p:spPr>
          <a:xfrm>
            <a:off x="602750" y="2729706"/>
            <a:ext cx="6083799" cy="1398587"/>
          </a:xfrm>
          <a:prstGeom prst="rect">
            <a:avLst/>
          </a:prstGeom>
        </p:spPr>
        <p:txBody>
          <a:bodyPr lIns="0" tIns="0" rIns="0" bIns="0">
            <a:normAutofit/>
          </a:bodyPr>
          <a:lstStyle>
            <a:lvl1pPr marL="0" indent="0">
              <a:lnSpc>
                <a:spcPct val="100000"/>
              </a:lnSpc>
              <a:buNone/>
              <a:defRPr sz="3600" b="0" i="0">
                <a:solidFill>
                  <a:schemeClr val="tx1"/>
                </a:solidFill>
                <a:latin typeface="+mj-lt"/>
                <a:cs typeface="Segoe UI Semibold" panose="020B0502040204020203" pitchFamily="34" charset="0"/>
              </a:defRPr>
            </a:lvl1pPr>
          </a:lstStyle>
          <a:p>
            <a:pPr lvl="0"/>
            <a:r>
              <a:rPr lang="en-US"/>
              <a:t>Section title one</a:t>
            </a:r>
          </a:p>
        </p:txBody>
      </p:sp>
    </p:spTree>
    <p:extLst>
      <p:ext uri="{BB962C8B-B14F-4D97-AF65-F5344CB8AC3E}">
        <p14:creationId xmlns:p14="http://schemas.microsoft.com/office/powerpoint/2010/main" val="297391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Section title slide">
    <p:bg>
      <p:bgPr>
        <a:solidFill>
          <a:srgbClr val="F5F1E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13610-D10C-7EDB-D184-A911B7E375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a:defRPr lang="en-US" sz="3200">
                <a:solidFill>
                  <a:srgbClr val="B238BA"/>
                </a:solidFill>
                <a:latin typeface="Segoe Sans Display" pitchFamily="2" charset="0"/>
                <a:cs typeface="Segoe Sans Display" pitchFamily="2" charset="0"/>
              </a:defRPr>
            </a:lvl1pPr>
          </a:lstStyle>
          <a:p>
            <a:pPr marL="0" lvl="0" indent="0">
              <a:buNone/>
            </a:pPr>
            <a:r>
              <a:rPr lang="en-US"/>
              <a:t>Section title four</a:t>
            </a:r>
          </a:p>
        </p:txBody>
      </p:sp>
    </p:spTree>
    <p:extLst>
      <p:ext uri="{BB962C8B-B14F-4D97-AF65-F5344CB8AC3E}">
        <p14:creationId xmlns:p14="http://schemas.microsoft.com/office/powerpoint/2010/main" val="9397052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8_Section title slide">
    <p:bg>
      <p:bgPr>
        <a:solidFill>
          <a:srgbClr val="F5F1E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13610-D10C-7EDB-D184-A911B7E375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marL="0" indent="0">
              <a:buNone/>
              <a:defRPr lang="en-US" sz="3200">
                <a:solidFill>
                  <a:srgbClr val="B238BA"/>
                </a:solidFill>
                <a:latin typeface="Segoe Sans Display" pitchFamily="2" charset="0"/>
                <a:cs typeface="Segoe Sans Display" pitchFamily="2" charset="0"/>
              </a:defRPr>
            </a:lvl1pPr>
          </a:lstStyle>
          <a:p>
            <a:pPr marL="228600" lvl="0" indent="-228600"/>
            <a:r>
              <a:rPr lang="en-US"/>
              <a:t>Section title five</a:t>
            </a:r>
          </a:p>
        </p:txBody>
      </p:sp>
    </p:spTree>
    <p:extLst>
      <p:ext uri="{BB962C8B-B14F-4D97-AF65-F5344CB8AC3E}">
        <p14:creationId xmlns:p14="http://schemas.microsoft.com/office/powerpoint/2010/main" val="26773421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ection title slide">
    <p:bg>
      <p:bgPr>
        <a:solidFill>
          <a:srgbClr val="F5F1E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13610-D10C-7EDB-D184-A911B7E375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7199551" y="4038049"/>
            <a:ext cx="3231416" cy="1398587"/>
          </a:xfrm>
          <a:prstGeom prst="rect">
            <a:avLst/>
          </a:prstGeom>
        </p:spPr>
        <p:txBody>
          <a:bodyPr>
            <a:noAutofit/>
          </a:bodyPr>
          <a:lstStyle>
            <a:lvl1pPr>
              <a:defRPr lang="en-US" sz="3200">
                <a:solidFill>
                  <a:srgbClr val="B238BA"/>
                </a:solidFill>
                <a:latin typeface="Segoe Sans Display" pitchFamily="2" charset="0"/>
                <a:cs typeface="Segoe Sans Display" pitchFamily="2" charset="0"/>
              </a:defRPr>
            </a:lvl1pPr>
          </a:lstStyle>
          <a:p>
            <a:pPr marL="0" lvl="0" indent="0">
              <a:buNone/>
            </a:pPr>
            <a:r>
              <a:rPr lang="en-US"/>
              <a:t>Section title six</a:t>
            </a:r>
          </a:p>
        </p:txBody>
      </p:sp>
    </p:spTree>
    <p:extLst>
      <p:ext uri="{BB962C8B-B14F-4D97-AF65-F5344CB8AC3E}">
        <p14:creationId xmlns:p14="http://schemas.microsoft.com/office/powerpoint/2010/main" val="25851843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slide">
    <p:bg>
      <p:bgPr>
        <a:solidFill>
          <a:srgbClr val="FFFFFF"/>
        </a:solidFill>
        <a:effectLst/>
      </p:bgPr>
    </p:bg>
    <p:spTree>
      <p:nvGrpSpPr>
        <p:cNvPr id="1" name=""/>
        <p:cNvGrpSpPr/>
        <p:nvPr/>
      </p:nvGrpSpPr>
      <p:grpSpPr>
        <a:xfrm>
          <a:off x="0" y="0"/>
          <a:ext cx="0" cy="0"/>
          <a:chOff x="0" y="0"/>
          <a:chExt cx="0" cy="0"/>
        </a:xfrm>
      </p:grpSpPr>
      <p:sp>
        <p:nvSpPr>
          <p:cNvPr id="2" name="Text Placeholder 15">
            <a:extLst>
              <a:ext uri="{FF2B5EF4-FFF2-40B4-BE49-F238E27FC236}">
                <a16:creationId xmlns:a16="http://schemas.microsoft.com/office/drawing/2014/main" id="{6BD9C85B-EC8F-D695-0FA1-6791980AB257}"/>
              </a:ext>
            </a:extLst>
          </p:cNvPr>
          <p:cNvSpPr>
            <a:spLocks noGrp="1"/>
          </p:cNvSpPr>
          <p:nvPr>
            <p:ph type="body" sz="quarter" idx="11" hasCustomPrompt="1"/>
          </p:nvPr>
        </p:nvSpPr>
        <p:spPr>
          <a:xfrm>
            <a:off x="597201" y="3161605"/>
            <a:ext cx="3231416" cy="1398587"/>
          </a:xfrm>
          <a:prstGeom prst="rect">
            <a:avLst/>
          </a:prstGeom>
        </p:spPr>
        <p:txBody>
          <a:bodyPr>
            <a:normAutofit/>
          </a:bodyPr>
          <a:lstStyle>
            <a:lvl1pPr marL="0" indent="0">
              <a:buNone/>
              <a:defRPr sz="3200" b="0" i="0">
                <a:solidFill>
                  <a:srgbClr val="B238BA"/>
                </a:solidFill>
                <a:latin typeface="Segoe Sans Display" pitchFamily="2" charset="0"/>
                <a:cs typeface="Segoe Sans Display" pitchFamily="2" charset="0"/>
              </a:defRPr>
            </a:lvl1pPr>
          </a:lstStyle>
          <a:p>
            <a:pPr lvl="0"/>
            <a:r>
              <a:rPr lang="en-US" err="1"/>
              <a:t>Addtl</a:t>
            </a:r>
            <a:r>
              <a:rPr lang="en-US"/>
              <a:t>. section title</a:t>
            </a:r>
          </a:p>
        </p:txBody>
      </p:sp>
      <p:pic>
        <p:nvPicPr>
          <p:cNvPr id="4" name="Picture 3" descr="A close-up of a colorful background&#10;&#10;Description automatically generated">
            <a:extLst>
              <a:ext uri="{FF2B5EF4-FFF2-40B4-BE49-F238E27FC236}">
                <a16:creationId xmlns:a16="http://schemas.microsoft.com/office/drawing/2014/main" id="{276256F7-F70B-FF3B-42BF-71968B4E0B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68316" y="447261"/>
            <a:ext cx="7694099" cy="5963478"/>
          </a:xfrm>
          <a:prstGeom prst="rect">
            <a:avLst/>
          </a:prstGeom>
        </p:spPr>
      </p:pic>
    </p:spTree>
    <p:extLst>
      <p:ext uri="{BB962C8B-B14F-4D97-AF65-F5344CB8AC3E}">
        <p14:creationId xmlns:p14="http://schemas.microsoft.com/office/powerpoint/2010/main" val="39048245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FFFDF9"/>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sz="1600" b="0" i="0">
                <a:solidFill>
                  <a:schemeClr val="bg1"/>
                </a:solidFill>
                <a:latin typeface="Segoe Sans Text" pitchFamily="2" charset="0"/>
                <a:cs typeface="Segoe Sans Text" pitchFamily="2" charset="0"/>
              </a:defRPr>
            </a:lvl1pPr>
            <a:lvl2pPr>
              <a:defRPr sz="1600" b="0" i="0">
                <a:solidFill>
                  <a:schemeClr val="bg1"/>
                </a:solidFill>
                <a:latin typeface="Segoe Sans Text" pitchFamily="2" charset="0"/>
                <a:cs typeface="Segoe Sans Text" pitchFamily="2" charset="0"/>
              </a:defRPr>
            </a:lvl2pPr>
            <a:lvl3pPr>
              <a:defRPr sz="1600" b="0" i="0">
                <a:solidFill>
                  <a:schemeClr val="bg1"/>
                </a:solidFill>
                <a:latin typeface="Segoe Sans Text" pitchFamily="2" charset="0"/>
                <a:cs typeface="Segoe Sans Text" pitchFamily="2" charset="0"/>
              </a:defRPr>
            </a:lvl3pPr>
            <a:lvl4pPr>
              <a:defRPr sz="1600" b="0" i="0">
                <a:solidFill>
                  <a:schemeClr val="bg1"/>
                </a:solidFill>
                <a:latin typeface="Segoe Sans Text" pitchFamily="2" charset="0"/>
                <a:cs typeface="Segoe Sans Text" pitchFamily="2" charset="0"/>
              </a:defRPr>
            </a:lvl4pPr>
            <a:lvl5pPr>
              <a:defRPr sz="1600" b="0" i="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Footer Placeholder 6">
            <a:extLst>
              <a:ext uri="{FF2B5EF4-FFF2-40B4-BE49-F238E27FC236}">
                <a16:creationId xmlns:a16="http://schemas.microsoft.com/office/drawing/2014/main" id="{09735DAD-26BC-6A33-F79C-0581715CE3DE}"/>
              </a:ext>
            </a:extLst>
          </p:cNvPr>
          <p:cNvSpPr>
            <a:spLocks noGrp="1"/>
          </p:cNvSpPr>
          <p:nvPr>
            <p:ph type="ftr" sz="quarter" idx="11"/>
          </p:nvPr>
        </p:nvSpPr>
        <p:spPr/>
        <p:txBody>
          <a:bodyPr/>
          <a:lstStyle/>
          <a:p>
            <a:r>
              <a:rPr lang="en-US"/>
              <a:t>Microsoft Fabric</a:t>
            </a:r>
          </a:p>
        </p:txBody>
      </p:sp>
      <p:sp>
        <p:nvSpPr>
          <p:cNvPr id="8" name="Slide Number Placeholder 7">
            <a:extLst>
              <a:ext uri="{FF2B5EF4-FFF2-40B4-BE49-F238E27FC236}">
                <a16:creationId xmlns:a16="http://schemas.microsoft.com/office/drawing/2014/main" id="{2E74C87A-CBD2-D4F1-BB24-C0388E9BF220}"/>
              </a:ext>
            </a:extLst>
          </p:cNvPr>
          <p:cNvSpPr>
            <a:spLocks noGrp="1"/>
          </p:cNvSpPr>
          <p:nvPr>
            <p:ph type="sldNum" sz="quarter" idx="12"/>
          </p:nvPr>
        </p:nvSpPr>
        <p:spPr/>
        <p:txBody>
          <a:bodyPr/>
          <a:lstStyle/>
          <a:p>
            <a:fld id="{B1356FBF-028C-F74E-A7B4-9B8ED246DD1B}" type="slidenum">
              <a:rPr lang="en-US" smtClean="0"/>
              <a:pPr/>
              <a:t>‹#›</a:t>
            </a:fld>
            <a:endParaRPr lang="en-US"/>
          </a:p>
        </p:txBody>
      </p:sp>
      <p:sp>
        <p:nvSpPr>
          <p:cNvPr id="9" name="Title 8">
            <a:extLst>
              <a:ext uri="{FF2B5EF4-FFF2-40B4-BE49-F238E27FC236}">
                <a16:creationId xmlns:a16="http://schemas.microsoft.com/office/drawing/2014/main" id="{D7C483B0-A5D1-8C05-F9F3-450EA8B130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458630"/>
      </p:ext>
    </p:extLst>
  </p:cSld>
  <p:clrMapOvr>
    <a:masterClrMapping/>
  </p:clrMapOvr>
  <p:transition>
    <p:fade/>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lumn Bullet text">
    <p:bg>
      <p:bgPr>
        <a:solidFill>
          <a:srgbClr val="FFFDF9"/>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lvl1pPr>
              <a:defRPr sz="1600" b="0" i="0">
                <a:solidFill>
                  <a:schemeClr val="bg1"/>
                </a:solidFill>
                <a:latin typeface="Segoe Sans Text" pitchFamily="2" charset="0"/>
                <a:cs typeface="Segoe Sans Text" pitchFamily="2" charset="0"/>
              </a:defRPr>
            </a:lvl1pPr>
            <a:lvl2pPr>
              <a:defRPr sz="1600" b="0" i="0">
                <a:solidFill>
                  <a:schemeClr val="bg1"/>
                </a:solidFill>
                <a:latin typeface="Segoe Sans Text" pitchFamily="2" charset="0"/>
                <a:cs typeface="Segoe Sans Text" pitchFamily="2" charset="0"/>
              </a:defRPr>
            </a:lvl2pPr>
            <a:lvl3pPr>
              <a:defRPr sz="1600" b="0" i="0">
                <a:solidFill>
                  <a:schemeClr val="bg1"/>
                </a:solidFill>
                <a:latin typeface="Segoe Sans Text" pitchFamily="2" charset="0"/>
                <a:cs typeface="Segoe Sans Text" pitchFamily="2" charset="0"/>
              </a:defRPr>
            </a:lvl3pPr>
            <a:lvl4pPr>
              <a:defRPr sz="1600" b="0" i="0">
                <a:solidFill>
                  <a:schemeClr val="bg1"/>
                </a:solidFill>
                <a:latin typeface="Segoe Sans Text" pitchFamily="2" charset="0"/>
                <a:cs typeface="Segoe Sans Text" pitchFamily="2" charset="0"/>
              </a:defRPr>
            </a:lvl4pPr>
            <a:lvl5pPr>
              <a:defRPr sz="1600" b="0" i="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lvl1pPr>
              <a:defRPr sz="1600" b="0" i="0">
                <a:solidFill>
                  <a:schemeClr val="bg1"/>
                </a:solidFill>
                <a:latin typeface="Segoe Sans Text" pitchFamily="2" charset="0"/>
                <a:cs typeface="Segoe Sans Text" pitchFamily="2" charset="0"/>
              </a:defRPr>
            </a:lvl1pPr>
            <a:lvl2pPr>
              <a:defRPr sz="1600" b="0" i="0">
                <a:solidFill>
                  <a:schemeClr val="bg1"/>
                </a:solidFill>
                <a:latin typeface="Segoe Sans Text" pitchFamily="2" charset="0"/>
                <a:cs typeface="Segoe Sans Text" pitchFamily="2" charset="0"/>
              </a:defRPr>
            </a:lvl2pPr>
            <a:lvl3pPr>
              <a:defRPr sz="1600" b="0" i="0">
                <a:solidFill>
                  <a:schemeClr val="bg1"/>
                </a:solidFill>
                <a:latin typeface="Segoe Sans Text" pitchFamily="2" charset="0"/>
                <a:cs typeface="Segoe Sans Text" pitchFamily="2" charset="0"/>
              </a:defRPr>
            </a:lvl3pPr>
            <a:lvl4pPr>
              <a:defRPr sz="1600" b="0" i="0">
                <a:solidFill>
                  <a:schemeClr val="bg1"/>
                </a:solidFill>
                <a:latin typeface="Segoe Sans Text" pitchFamily="2" charset="0"/>
                <a:cs typeface="Segoe Sans Text" pitchFamily="2" charset="0"/>
              </a:defRPr>
            </a:lvl4pPr>
            <a:lvl5pPr>
              <a:defRPr sz="1600" b="0" i="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2">
            <a:extLst>
              <a:ext uri="{FF2B5EF4-FFF2-40B4-BE49-F238E27FC236}">
                <a16:creationId xmlns:a16="http://schemas.microsoft.com/office/drawing/2014/main" id="{7EB6140E-A73B-D38E-9CA3-A8C1AAA71C9F}"/>
              </a:ext>
            </a:extLst>
          </p:cNvPr>
          <p:cNvSpPr>
            <a:spLocks noGrp="1"/>
          </p:cNvSpPr>
          <p:nvPr>
            <p:ph type="ftr" sz="quarter" idx="14"/>
          </p:nvPr>
        </p:nvSpPr>
        <p:spPr/>
        <p:txBody>
          <a:bodyPr/>
          <a:lstStyle/>
          <a:p>
            <a:r>
              <a:rPr lang="en-US"/>
              <a:t>Microsoft Fabric</a:t>
            </a:r>
          </a:p>
        </p:txBody>
      </p:sp>
      <p:sp>
        <p:nvSpPr>
          <p:cNvPr id="4" name="Slide Number Placeholder 3">
            <a:extLst>
              <a:ext uri="{FF2B5EF4-FFF2-40B4-BE49-F238E27FC236}">
                <a16:creationId xmlns:a16="http://schemas.microsoft.com/office/drawing/2014/main" id="{12D2F97B-52F7-6B99-2B2B-F8D2B599ECD8}"/>
              </a:ext>
            </a:extLst>
          </p:cNvPr>
          <p:cNvSpPr>
            <a:spLocks noGrp="1"/>
          </p:cNvSpPr>
          <p:nvPr>
            <p:ph type="sldNum" sz="quarter" idx="15"/>
          </p:nvPr>
        </p:nvSpPr>
        <p:spPr/>
        <p:txBody>
          <a:bodyPr/>
          <a:lstStyle/>
          <a:p>
            <a:fld id="{B1356FBF-028C-F74E-A7B4-9B8ED246DD1B}" type="slidenum">
              <a:rPr lang="en-US" smtClean="0"/>
              <a:pPr/>
              <a:t>‹#›</a:t>
            </a:fld>
            <a:endParaRPr lang="en-US"/>
          </a:p>
        </p:txBody>
      </p:sp>
      <p:sp>
        <p:nvSpPr>
          <p:cNvPr id="7" name="Title 6">
            <a:extLst>
              <a:ext uri="{FF2B5EF4-FFF2-40B4-BE49-F238E27FC236}">
                <a16:creationId xmlns:a16="http://schemas.microsoft.com/office/drawing/2014/main" id="{39022E4E-1E8E-8185-5D61-43DB051CD66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8538320"/>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lumn Content with Subheads">
    <p:bg>
      <p:bgPr>
        <a:solidFill>
          <a:srgbClr val="FFFDF9"/>
        </a:solidFill>
        <a:effectLst/>
      </p:bgPr>
    </p:bg>
    <p:spTree>
      <p:nvGrpSpPr>
        <p:cNvPr id="1" name=""/>
        <p:cNvGrpSpPr/>
        <p:nvPr/>
      </p:nvGrpSpPr>
      <p:grpSpPr>
        <a:xfrm>
          <a:off x="0" y="0"/>
          <a:ext cx="0" cy="0"/>
          <a:chOff x="0" y="0"/>
          <a:chExt cx="0" cy="0"/>
        </a:xfrm>
      </p:grpSpPr>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341906"/>
          </a:xfrm>
        </p:spPr>
        <p:txBody>
          <a:bodyPr/>
          <a:lstStyle>
            <a:lvl1pPr>
              <a:defRPr sz="2000" b="0" i="0">
                <a:solidFill>
                  <a:schemeClr val="bg1"/>
                </a:solidFill>
                <a:latin typeface="Segoe Sans Text" pitchFamily="2" charset="0"/>
                <a:cs typeface="Segoe Sans Text" pitchFamily="2" charset="0"/>
              </a:defRPr>
            </a:lvl1pPr>
            <a:lvl2pPr>
              <a:defRPr sz="1600" b="0" i="0">
                <a:solidFill>
                  <a:schemeClr val="bg1"/>
                </a:solidFill>
                <a:latin typeface="Segoe Sans Text" pitchFamily="2" charset="0"/>
                <a:cs typeface="Segoe Sans Text" pitchFamily="2" charset="0"/>
              </a:defRPr>
            </a:lvl2pPr>
            <a:lvl3pPr>
              <a:defRPr sz="1400" b="0" i="0">
                <a:solidFill>
                  <a:schemeClr val="bg1"/>
                </a:solidFill>
                <a:latin typeface="Segoe Sans Text" pitchFamily="2" charset="0"/>
                <a:cs typeface="Segoe Sans Text" pitchFamily="2" charset="0"/>
              </a:defRPr>
            </a:lvl3pPr>
            <a:lvl4pPr>
              <a:defRPr sz="1200" b="0" i="0">
                <a:solidFill>
                  <a:schemeClr val="bg1"/>
                </a:solidFill>
                <a:latin typeface="Segoe Sans Text" pitchFamily="2" charset="0"/>
                <a:cs typeface="Segoe Sans Text" pitchFamily="2" charset="0"/>
              </a:defRPr>
            </a:lvl4pPr>
            <a:lvl5pPr>
              <a:defRPr sz="1200" b="0" i="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341906"/>
          </a:xfrm>
        </p:spPr>
        <p:txBody>
          <a:bodyPr/>
          <a:lstStyle>
            <a:lvl1pPr>
              <a:defRPr sz="2000" b="0" i="0">
                <a:solidFill>
                  <a:schemeClr val="bg1"/>
                </a:solidFill>
                <a:latin typeface="Segoe Sans Text" pitchFamily="2" charset="0"/>
                <a:cs typeface="Segoe Sans Text" pitchFamily="2" charset="0"/>
              </a:defRPr>
            </a:lvl1pPr>
            <a:lvl2pPr>
              <a:defRPr sz="1600" b="0" i="0">
                <a:solidFill>
                  <a:schemeClr val="bg1"/>
                </a:solidFill>
                <a:latin typeface="Segoe Sans Text" pitchFamily="2" charset="0"/>
                <a:cs typeface="Segoe Sans Text" pitchFamily="2" charset="0"/>
              </a:defRPr>
            </a:lvl2pPr>
            <a:lvl3pPr>
              <a:defRPr sz="1400" b="0" i="0">
                <a:solidFill>
                  <a:schemeClr val="bg1"/>
                </a:solidFill>
                <a:latin typeface="Segoe Sans Text" pitchFamily="2" charset="0"/>
                <a:cs typeface="Segoe Sans Text" pitchFamily="2" charset="0"/>
              </a:defRPr>
            </a:lvl3pPr>
            <a:lvl4pPr>
              <a:defRPr sz="1200" b="0" i="0">
                <a:solidFill>
                  <a:schemeClr val="bg1"/>
                </a:solidFill>
                <a:latin typeface="Segoe Sans Text" pitchFamily="2" charset="0"/>
                <a:cs typeface="Segoe Sans Text" pitchFamily="2" charset="0"/>
              </a:defRPr>
            </a:lvl4pPr>
            <a:lvl5pPr>
              <a:defRPr sz="1200" b="0" i="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0E16DDD5-F292-63C4-BD74-5117D3EFE38C}"/>
              </a:ext>
            </a:extLst>
          </p:cNvPr>
          <p:cNvSpPr>
            <a:spLocks noGrp="1"/>
          </p:cNvSpPr>
          <p:nvPr>
            <p:ph type="ftr" sz="quarter" idx="18"/>
          </p:nvPr>
        </p:nvSpPr>
        <p:spPr/>
        <p:txBody>
          <a:bodyPr/>
          <a:lstStyle/>
          <a:p>
            <a:r>
              <a:rPr lang="en-US"/>
              <a:t>Microsoft Fabric</a:t>
            </a:r>
          </a:p>
        </p:txBody>
      </p:sp>
      <p:sp>
        <p:nvSpPr>
          <p:cNvPr id="4" name="Slide Number Placeholder 3">
            <a:extLst>
              <a:ext uri="{FF2B5EF4-FFF2-40B4-BE49-F238E27FC236}">
                <a16:creationId xmlns:a16="http://schemas.microsoft.com/office/drawing/2014/main" id="{533E4973-A60B-9BB3-9A31-2747CAE2923A}"/>
              </a:ext>
            </a:extLst>
          </p:cNvPr>
          <p:cNvSpPr>
            <a:spLocks noGrp="1"/>
          </p:cNvSpPr>
          <p:nvPr>
            <p:ph type="sldNum" sz="quarter" idx="19"/>
          </p:nvPr>
        </p:nvSpPr>
        <p:spPr/>
        <p:txBody>
          <a:bodyPr/>
          <a:lstStyle/>
          <a:p>
            <a:fld id="{B1356FBF-028C-F74E-A7B4-9B8ED246DD1B}" type="slidenum">
              <a:rPr lang="en-US" smtClean="0"/>
              <a:pPr/>
              <a:t>‹#›</a:t>
            </a:fld>
            <a:endParaRPr lang="en-US"/>
          </a:p>
        </p:txBody>
      </p:sp>
      <p:sp>
        <p:nvSpPr>
          <p:cNvPr id="5" name="Title 4">
            <a:extLst>
              <a:ext uri="{FF2B5EF4-FFF2-40B4-BE49-F238E27FC236}">
                <a16:creationId xmlns:a16="http://schemas.microsoft.com/office/drawing/2014/main" id="{D4CB01D9-97D1-9078-9D6C-1FB1654043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026056"/>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Column Bullet with Subtitles">
    <p:bg>
      <p:bgPr>
        <a:solidFill>
          <a:srgbClr val="FFFDF9"/>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585217" y="1438275"/>
            <a:ext cx="3264408" cy="615553"/>
          </a:xfrm>
        </p:spPr>
        <p:txBody>
          <a:bodyPr/>
          <a:lstStyle>
            <a:lvl1pPr marL="0" indent="0">
              <a:buNone/>
              <a:defRPr sz="2000" b="0" i="0">
                <a:solidFill>
                  <a:schemeClr val="bg1"/>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283115"/>
            <a:ext cx="3264408" cy="1354217"/>
          </a:xfrm>
        </p:spPr>
        <p:txBody>
          <a:bodyPr vert="horz" wrap="square" lIns="0" tIns="0" rIns="0" bIns="0" rtlCol="0">
            <a:spAutoFit/>
          </a:bodyPr>
          <a:lstStyle>
            <a:lvl1pPr>
              <a:defRPr lang="en-US" sz="1600" b="0" i="0">
                <a:solidFill>
                  <a:schemeClr val="bg1"/>
                </a:solidFill>
                <a:latin typeface="Segoe Sans Text" pitchFamily="2" charset="0"/>
                <a:cs typeface="Segoe Sans Text" pitchFamily="2" charset="0"/>
              </a:defRPr>
            </a:lvl1pPr>
            <a:lvl2pPr>
              <a:defRPr lang="en-US" sz="1600" b="0" i="0">
                <a:solidFill>
                  <a:schemeClr val="bg1"/>
                </a:solidFill>
                <a:latin typeface="Segoe Sans Text" pitchFamily="2" charset="0"/>
                <a:cs typeface="Segoe Sans Text" pitchFamily="2" charset="0"/>
              </a:defRPr>
            </a:lvl2pPr>
            <a:lvl3pPr>
              <a:defRPr lang="en-US" sz="1600" b="0" i="0">
                <a:solidFill>
                  <a:schemeClr val="bg1"/>
                </a:solidFill>
                <a:latin typeface="Segoe Sans Text" pitchFamily="2" charset="0"/>
                <a:cs typeface="Segoe Sans Text" pitchFamily="2" charset="0"/>
              </a:defRPr>
            </a:lvl3pPr>
            <a:lvl4pPr>
              <a:defRPr lang="en-US" sz="1400" b="0" i="0">
                <a:solidFill>
                  <a:schemeClr val="bg1"/>
                </a:solidFill>
                <a:latin typeface="Segoe Sans Text" pitchFamily="2" charset="0"/>
                <a:cs typeface="Segoe Sans Text" pitchFamily="2" charset="0"/>
              </a:defRPr>
            </a:lvl4pPr>
            <a:lvl5pPr>
              <a:defRPr lang="en-US" sz="1400" b="0" i="0" dirty="0">
                <a:solidFill>
                  <a:schemeClr val="bg1"/>
                </a:solidFill>
                <a:latin typeface="Segoe Sans Text" pitchFamily="2" charset="0"/>
                <a:cs typeface="Segoe Sans Text" pitchFamily="2" charset="0"/>
              </a:defRPr>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4463796" y="1438275"/>
            <a:ext cx="3264408" cy="615553"/>
          </a:xfrm>
        </p:spPr>
        <p:txBody>
          <a:bodyPr/>
          <a:lstStyle>
            <a:lvl1pPr marL="0" indent="0">
              <a:buNone/>
              <a:defRPr sz="2000" b="0" i="0">
                <a:solidFill>
                  <a:schemeClr val="bg1"/>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283115"/>
            <a:ext cx="3264408" cy="1354217"/>
          </a:xfrm>
        </p:spPr>
        <p:txBody>
          <a:bodyPr vert="horz" wrap="square" lIns="0" tIns="0" rIns="0" bIns="0" rtlCol="0">
            <a:spAutoFit/>
          </a:bodyPr>
          <a:lstStyle>
            <a:lvl1pPr>
              <a:defRPr lang="en-US" sz="1600" b="0" i="0">
                <a:solidFill>
                  <a:schemeClr val="bg1"/>
                </a:solidFill>
                <a:latin typeface="Segoe Sans Text" pitchFamily="2" charset="0"/>
                <a:cs typeface="Segoe Sans Text" pitchFamily="2" charset="0"/>
              </a:defRPr>
            </a:lvl1pPr>
            <a:lvl2pPr>
              <a:defRPr lang="en-US" sz="1600" b="0" i="0">
                <a:solidFill>
                  <a:schemeClr val="bg1"/>
                </a:solidFill>
                <a:latin typeface="Segoe Sans Text" pitchFamily="2" charset="0"/>
                <a:cs typeface="Segoe Sans Text" pitchFamily="2" charset="0"/>
              </a:defRPr>
            </a:lvl2pPr>
            <a:lvl3pPr>
              <a:defRPr lang="en-US" sz="1600" b="0" i="0">
                <a:solidFill>
                  <a:schemeClr val="bg1"/>
                </a:solidFill>
                <a:latin typeface="Segoe Sans Text" pitchFamily="2" charset="0"/>
                <a:cs typeface="Segoe Sans Text" pitchFamily="2" charset="0"/>
              </a:defRPr>
            </a:lvl3pPr>
            <a:lvl4pPr>
              <a:defRPr lang="en-US" sz="1400" b="0" i="0">
                <a:solidFill>
                  <a:schemeClr val="bg1"/>
                </a:solidFill>
                <a:latin typeface="Segoe Sans Text" pitchFamily="2" charset="0"/>
                <a:cs typeface="Segoe Sans Text" pitchFamily="2" charset="0"/>
              </a:defRPr>
            </a:lvl4pPr>
            <a:lvl5pPr>
              <a:defRPr lang="en-US" sz="1400" b="0" i="0" dirty="0">
                <a:solidFill>
                  <a:schemeClr val="bg1"/>
                </a:solidFill>
                <a:latin typeface="Segoe Sans Text" pitchFamily="2" charset="0"/>
                <a:cs typeface="Segoe Sans Text" pitchFamily="2" charset="0"/>
              </a:defRPr>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8335963" y="1438275"/>
            <a:ext cx="3273425" cy="615553"/>
          </a:xfrm>
        </p:spPr>
        <p:txBody>
          <a:bodyPr/>
          <a:lstStyle>
            <a:lvl1pPr marL="0" indent="0">
              <a:buNone/>
              <a:defRPr sz="2000" b="0" i="0">
                <a:solidFill>
                  <a:schemeClr val="bg1"/>
                </a:solidFill>
                <a:latin typeface="Segoe Sans Text" pitchFamily="2" charset="0"/>
                <a:cs typeface="Segoe Sans Text" pitchFamily="2"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283115"/>
            <a:ext cx="3264408" cy="1354217"/>
          </a:xfrm>
        </p:spPr>
        <p:txBody>
          <a:bodyPr vert="horz" wrap="square" lIns="0" tIns="0" rIns="0" bIns="0" rtlCol="0">
            <a:spAutoFit/>
          </a:bodyPr>
          <a:lstStyle>
            <a:lvl1pPr>
              <a:defRPr lang="en-US" sz="1600" b="0" i="0">
                <a:solidFill>
                  <a:schemeClr val="bg1"/>
                </a:solidFill>
                <a:latin typeface="Segoe Sans Text" pitchFamily="2" charset="0"/>
                <a:cs typeface="Segoe Sans Text" pitchFamily="2" charset="0"/>
              </a:defRPr>
            </a:lvl1pPr>
            <a:lvl2pPr>
              <a:defRPr lang="en-US" sz="1600" b="0" i="0">
                <a:solidFill>
                  <a:schemeClr val="bg1"/>
                </a:solidFill>
                <a:latin typeface="Segoe Sans Text" pitchFamily="2" charset="0"/>
                <a:cs typeface="Segoe Sans Text" pitchFamily="2" charset="0"/>
              </a:defRPr>
            </a:lvl2pPr>
            <a:lvl3pPr>
              <a:defRPr lang="en-US" sz="1600" b="0" i="0">
                <a:solidFill>
                  <a:schemeClr val="bg1"/>
                </a:solidFill>
                <a:latin typeface="Segoe Sans Text" pitchFamily="2" charset="0"/>
                <a:cs typeface="Segoe Sans Text" pitchFamily="2" charset="0"/>
              </a:defRPr>
            </a:lvl3pPr>
            <a:lvl4pPr>
              <a:defRPr lang="en-US" sz="1400" b="0" i="0">
                <a:solidFill>
                  <a:schemeClr val="bg1"/>
                </a:solidFill>
                <a:latin typeface="Segoe Sans Text" pitchFamily="2" charset="0"/>
                <a:cs typeface="Segoe Sans Text" pitchFamily="2" charset="0"/>
              </a:defRPr>
            </a:lvl4pPr>
            <a:lvl5pPr>
              <a:defRPr lang="en-US" sz="1400" b="0" i="0" dirty="0">
                <a:solidFill>
                  <a:schemeClr val="bg1"/>
                </a:solidFill>
                <a:latin typeface="Segoe Sans Text" pitchFamily="2" charset="0"/>
                <a:cs typeface="Segoe Sans Text" pitchFamily="2" charset="0"/>
              </a:defRPr>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 name="Footer Placeholder 1">
            <a:extLst>
              <a:ext uri="{FF2B5EF4-FFF2-40B4-BE49-F238E27FC236}">
                <a16:creationId xmlns:a16="http://schemas.microsoft.com/office/drawing/2014/main" id="{27DE33E5-6954-B444-55A5-6015C6741C18}"/>
              </a:ext>
            </a:extLst>
          </p:cNvPr>
          <p:cNvSpPr>
            <a:spLocks noGrp="1"/>
          </p:cNvSpPr>
          <p:nvPr>
            <p:ph type="ftr" sz="quarter" idx="23"/>
          </p:nvPr>
        </p:nvSpPr>
        <p:spPr/>
        <p:txBody>
          <a:bodyPr/>
          <a:lstStyle/>
          <a:p>
            <a:r>
              <a:rPr lang="en-US"/>
              <a:t>Microsoft Fabric</a:t>
            </a:r>
          </a:p>
        </p:txBody>
      </p:sp>
      <p:sp>
        <p:nvSpPr>
          <p:cNvPr id="5" name="Slide Number Placeholder 4">
            <a:extLst>
              <a:ext uri="{FF2B5EF4-FFF2-40B4-BE49-F238E27FC236}">
                <a16:creationId xmlns:a16="http://schemas.microsoft.com/office/drawing/2014/main" id="{A5A292A6-CA27-2B42-77C8-37597917DB6C}"/>
              </a:ext>
            </a:extLst>
          </p:cNvPr>
          <p:cNvSpPr>
            <a:spLocks noGrp="1"/>
          </p:cNvSpPr>
          <p:nvPr>
            <p:ph type="sldNum" sz="quarter" idx="24"/>
          </p:nvPr>
        </p:nvSpPr>
        <p:spPr/>
        <p:txBody>
          <a:bodyPr/>
          <a:lstStyle/>
          <a:p>
            <a:fld id="{B1356FBF-028C-F74E-A7B4-9B8ED246DD1B}" type="slidenum">
              <a:rPr lang="en-US" smtClean="0"/>
              <a:pPr/>
              <a:t>‹#›</a:t>
            </a:fld>
            <a:endParaRPr lang="en-US"/>
          </a:p>
        </p:txBody>
      </p:sp>
      <p:sp>
        <p:nvSpPr>
          <p:cNvPr id="7" name="Title 6">
            <a:extLst>
              <a:ext uri="{FF2B5EF4-FFF2-40B4-BE49-F238E27FC236}">
                <a16:creationId xmlns:a16="http://schemas.microsoft.com/office/drawing/2014/main" id="{65977756-BA94-F3FB-96B3-E4BFDB1DFD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4783518"/>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Four Column Bullet with Subtitles">
    <p:bg>
      <p:bgPr>
        <a:solidFill>
          <a:srgbClr val="FFFDF9"/>
        </a:solidFill>
        <a:effectLst/>
      </p:bgPr>
    </p:bg>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b="0" i="0" dirty="0">
                <a:solidFill>
                  <a:schemeClr val="bg1"/>
                </a:solidFill>
                <a:latin typeface="Segoe Sans Text" pitchFamily="2" charset="0"/>
                <a:cs typeface="Segoe Sans Text" pitchFamily="2" charset="0"/>
              </a:defRPr>
            </a:lvl1pPr>
            <a:lvl2pPr>
              <a:defRPr lang="en-US" sz="1600" b="0" i="0" dirty="0">
                <a:solidFill>
                  <a:schemeClr val="bg1"/>
                </a:solidFill>
                <a:latin typeface="Segoe Sans Text" pitchFamily="2" charset="0"/>
                <a:cs typeface="Segoe Sans Text" pitchFamily="2" charset="0"/>
              </a:defRPr>
            </a:lvl2pPr>
            <a:lvl3pPr>
              <a:defRPr lang="en-US" sz="1600" b="0" i="0" dirty="0">
                <a:solidFill>
                  <a:schemeClr val="bg1"/>
                </a:solidFill>
                <a:latin typeface="Segoe Sans Text" pitchFamily="2" charset="0"/>
                <a:cs typeface="Segoe Sans Text" pitchFamily="2" charset="0"/>
              </a:defRPr>
            </a:lvl3pPr>
            <a:lvl4pPr>
              <a:defRPr lang="en-US" sz="1400" b="0" i="0" dirty="0">
                <a:solidFill>
                  <a:schemeClr val="bg1"/>
                </a:solidFill>
                <a:latin typeface="Segoe Sans Text" pitchFamily="2" charset="0"/>
                <a:cs typeface="Segoe Sans Text" pitchFamily="2" charset="0"/>
              </a:defRPr>
            </a:lvl4pPr>
            <a:lvl5pPr>
              <a:defRPr lang="en-US" sz="1400" b="0" i="0" dirty="0">
                <a:solidFill>
                  <a:schemeClr val="bg1"/>
                </a:solidFill>
                <a:latin typeface="Segoe Sans Text" pitchFamily="2" charset="0"/>
                <a:cs typeface="Segoe Sans Text" pitchFamily="2" charset="0"/>
              </a:defRPr>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b="0" i="0" dirty="0">
                <a:solidFill>
                  <a:schemeClr val="bg1"/>
                </a:solidFill>
                <a:latin typeface="Segoe Sans Text" pitchFamily="2" charset="0"/>
                <a:cs typeface="Segoe Sans Text" pitchFamily="2" charset="0"/>
              </a:defRPr>
            </a:lvl1pPr>
            <a:lvl2pPr>
              <a:defRPr lang="en-US" sz="1600" b="0" i="0" dirty="0">
                <a:solidFill>
                  <a:schemeClr val="bg1"/>
                </a:solidFill>
                <a:latin typeface="Segoe Sans Text" pitchFamily="2" charset="0"/>
                <a:cs typeface="Segoe Sans Text" pitchFamily="2" charset="0"/>
              </a:defRPr>
            </a:lvl2pPr>
            <a:lvl3pPr>
              <a:defRPr lang="en-US" sz="1600" b="0" i="0" dirty="0">
                <a:solidFill>
                  <a:schemeClr val="bg1"/>
                </a:solidFill>
                <a:latin typeface="Segoe Sans Text" pitchFamily="2" charset="0"/>
                <a:cs typeface="Segoe Sans Text" pitchFamily="2" charset="0"/>
              </a:defRPr>
            </a:lvl3pPr>
            <a:lvl4pPr>
              <a:defRPr lang="en-US" sz="1400" b="0" i="0" dirty="0">
                <a:solidFill>
                  <a:schemeClr val="bg1"/>
                </a:solidFill>
                <a:latin typeface="Segoe Sans Text" pitchFamily="2" charset="0"/>
                <a:cs typeface="Segoe Sans Text" pitchFamily="2" charset="0"/>
              </a:defRPr>
            </a:lvl4pPr>
            <a:lvl5pPr>
              <a:defRPr lang="en-US" sz="1400" b="0" i="0" dirty="0">
                <a:solidFill>
                  <a:schemeClr val="bg1"/>
                </a:solidFill>
                <a:latin typeface="Segoe Sans Text" pitchFamily="2" charset="0"/>
                <a:cs typeface="Segoe Sans Text" pitchFamily="2" charset="0"/>
              </a:defRPr>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b="0" i="0" dirty="0">
                <a:solidFill>
                  <a:schemeClr val="bg1"/>
                </a:solidFill>
                <a:latin typeface="Segoe Sans Text" pitchFamily="2" charset="0"/>
                <a:cs typeface="Segoe Sans Text" pitchFamily="2" charset="0"/>
              </a:defRPr>
            </a:lvl1pPr>
            <a:lvl2pPr>
              <a:defRPr lang="en-US" sz="1600" b="0" i="0" dirty="0">
                <a:solidFill>
                  <a:schemeClr val="bg1"/>
                </a:solidFill>
                <a:latin typeface="Segoe Sans Text" pitchFamily="2" charset="0"/>
                <a:cs typeface="Segoe Sans Text" pitchFamily="2" charset="0"/>
              </a:defRPr>
            </a:lvl2pPr>
            <a:lvl3pPr>
              <a:defRPr lang="en-US" sz="1600" b="0" i="0" dirty="0">
                <a:solidFill>
                  <a:schemeClr val="bg1"/>
                </a:solidFill>
                <a:latin typeface="Segoe Sans Text" pitchFamily="2" charset="0"/>
                <a:cs typeface="Segoe Sans Text" pitchFamily="2" charset="0"/>
              </a:defRPr>
            </a:lvl3pPr>
            <a:lvl4pPr>
              <a:defRPr lang="en-US" sz="1400" b="0" i="0" dirty="0">
                <a:solidFill>
                  <a:schemeClr val="bg1"/>
                </a:solidFill>
                <a:latin typeface="Segoe Sans Text" pitchFamily="2" charset="0"/>
                <a:cs typeface="Segoe Sans Text" pitchFamily="2" charset="0"/>
              </a:defRPr>
            </a:lvl4pPr>
            <a:lvl5pPr>
              <a:defRPr lang="en-US" sz="1400" b="0" i="0" dirty="0">
                <a:solidFill>
                  <a:schemeClr val="bg1"/>
                </a:solidFill>
                <a:latin typeface="Segoe Sans Text" pitchFamily="2" charset="0"/>
                <a:cs typeface="Segoe Sans Text" pitchFamily="2" charset="0"/>
              </a:defRPr>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b="0" i="0">
                <a:solidFill>
                  <a:schemeClr val="bg1"/>
                </a:solidFill>
                <a:latin typeface="Segoe Sans Text" pitchFamily="2" charset="0"/>
                <a:cs typeface="Segoe Sans Text" pitchFamily="2" charset="0"/>
              </a:defRPr>
            </a:lvl1pPr>
            <a:lvl2pPr>
              <a:defRPr lang="en-US" sz="1600" b="0" i="0">
                <a:solidFill>
                  <a:schemeClr val="bg1"/>
                </a:solidFill>
                <a:latin typeface="Segoe Sans Text" pitchFamily="2" charset="0"/>
                <a:cs typeface="Segoe Sans Text" pitchFamily="2" charset="0"/>
              </a:defRPr>
            </a:lvl2pPr>
            <a:lvl3pPr>
              <a:defRPr lang="en-US" sz="1600" b="0" i="0">
                <a:solidFill>
                  <a:schemeClr val="bg1"/>
                </a:solidFill>
                <a:latin typeface="Segoe Sans Text" pitchFamily="2" charset="0"/>
                <a:cs typeface="Segoe Sans Text" pitchFamily="2" charset="0"/>
              </a:defRPr>
            </a:lvl3pPr>
            <a:lvl4pPr>
              <a:defRPr lang="en-US" sz="1400" b="0" i="0">
                <a:solidFill>
                  <a:schemeClr val="bg1"/>
                </a:solidFill>
                <a:latin typeface="Segoe Sans Text" pitchFamily="2" charset="0"/>
                <a:cs typeface="Segoe Sans Text" pitchFamily="2" charset="0"/>
              </a:defRPr>
            </a:lvl4pPr>
            <a:lvl5pPr>
              <a:defRPr lang="en-US" sz="1400" b="0" i="0" dirty="0">
                <a:solidFill>
                  <a:schemeClr val="bg1"/>
                </a:solidFill>
                <a:latin typeface="Segoe Sans Text" pitchFamily="2" charset="0"/>
                <a:cs typeface="Segoe Sans Text" pitchFamily="2" charset="0"/>
              </a:defRPr>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2" name="Footer Placeholder 1">
            <a:extLst>
              <a:ext uri="{FF2B5EF4-FFF2-40B4-BE49-F238E27FC236}">
                <a16:creationId xmlns:a16="http://schemas.microsoft.com/office/drawing/2014/main" id="{B9BB0BA5-1ADB-0BE4-6A6F-8CF20C73E037}"/>
              </a:ext>
            </a:extLst>
          </p:cNvPr>
          <p:cNvSpPr>
            <a:spLocks noGrp="1"/>
          </p:cNvSpPr>
          <p:nvPr>
            <p:ph type="ftr" sz="quarter" idx="22"/>
          </p:nvPr>
        </p:nvSpPr>
        <p:spPr/>
        <p:txBody>
          <a:bodyPr/>
          <a:lstStyle/>
          <a:p>
            <a:r>
              <a:rPr lang="en-US"/>
              <a:t>Microsoft Fabric</a:t>
            </a:r>
          </a:p>
        </p:txBody>
      </p:sp>
      <p:sp>
        <p:nvSpPr>
          <p:cNvPr id="4" name="Slide Number Placeholder 3">
            <a:extLst>
              <a:ext uri="{FF2B5EF4-FFF2-40B4-BE49-F238E27FC236}">
                <a16:creationId xmlns:a16="http://schemas.microsoft.com/office/drawing/2014/main" id="{047B7E16-B9F8-0973-FA29-A04394026CC3}"/>
              </a:ext>
            </a:extLst>
          </p:cNvPr>
          <p:cNvSpPr>
            <a:spLocks noGrp="1"/>
          </p:cNvSpPr>
          <p:nvPr>
            <p:ph type="sldNum" sz="quarter" idx="23"/>
          </p:nvPr>
        </p:nvSpPr>
        <p:spPr/>
        <p:txBody>
          <a:bodyPr/>
          <a:lstStyle/>
          <a:p>
            <a:fld id="{B1356FBF-028C-F74E-A7B4-9B8ED246DD1B}" type="slidenum">
              <a:rPr lang="en-US" smtClean="0"/>
              <a:pPr/>
              <a:t>‹#›</a:t>
            </a:fld>
            <a:endParaRPr lang="en-US"/>
          </a:p>
        </p:txBody>
      </p:sp>
      <p:sp>
        <p:nvSpPr>
          <p:cNvPr id="5" name="Title 4">
            <a:extLst>
              <a:ext uri="{FF2B5EF4-FFF2-40B4-BE49-F238E27FC236}">
                <a16:creationId xmlns:a16="http://schemas.microsoft.com/office/drawing/2014/main" id="{0A908C1F-D1D9-0F57-2BCC-FA3CFDC18B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7377362"/>
      </p:ext>
    </p:extLst>
  </p:cSld>
  <p:clrMapOvr>
    <a:masterClrMapping/>
  </p:clrMapOvr>
  <p:transition>
    <p:fade/>
  </p:transition>
  <p:extLst>
    <p:ext uri="{DCECCB84-F9BA-43D5-87BE-67443E8EF086}">
      <p15:sldGuideLst xmlns:p15="http://schemas.microsoft.com/office/powerpoint/2012/main">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Five Column Bullet with Subtitles">
    <p:bg>
      <p:bgPr>
        <a:solidFill>
          <a:srgbClr val="FFFDF9"/>
        </a:solidFill>
        <a:effectLst/>
      </p:bgPr>
    </p:bg>
    <p:spTree>
      <p:nvGrpSpPr>
        <p:cNvPr id="1" name=""/>
        <p:cNvGrpSpPr/>
        <p:nvPr/>
      </p:nvGrpSpPr>
      <p:grpSpPr>
        <a:xfrm>
          <a:off x="0" y="0"/>
          <a:ext cx="0" cy="0"/>
          <a:chOff x="0" y="0"/>
          <a:chExt cx="0" cy="0"/>
        </a:xfrm>
      </p:grpSpPr>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600438"/>
          </a:xfrm>
        </p:spPr>
        <p:txBody>
          <a:bodyPr wrap="square">
            <a:spAutoFit/>
          </a:bodyPr>
          <a:lstStyle>
            <a:lvl1pPr marL="141288" indent="-141288">
              <a:defRPr lang="en-US" sz="1600" b="0" i="0" dirty="0">
                <a:solidFill>
                  <a:schemeClr val="bg1"/>
                </a:solidFill>
                <a:latin typeface="Segoe Sans Text" pitchFamily="2" charset="0"/>
                <a:cs typeface="Segoe Sans Text" pitchFamily="2" charset="0"/>
              </a:defRPr>
            </a:lvl1pPr>
            <a:lvl2pPr marL="285750" indent="-125413">
              <a:defRPr lang="en-US" sz="1600" b="0" i="0" dirty="0">
                <a:solidFill>
                  <a:schemeClr val="bg1"/>
                </a:solidFill>
                <a:latin typeface="Segoe Sans Text" pitchFamily="2" charset="0"/>
                <a:cs typeface="Segoe Sans Text" pitchFamily="2" charset="0"/>
              </a:defRPr>
            </a:lvl2pPr>
            <a:lvl3pPr marL="438150" indent="-133350">
              <a:defRPr lang="en-US" sz="1600" b="0" i="0" dirty="0">
                <a:solidFill>
                  <a:schemeClr val="bg1"/>
                </a:solidFill>
                <a:latin typeface="Segoe Sans Text" pitchFamily="2" charset="0"/>
                <a:cs typeface="Segoe Sans Text" pitchFamily="2" charset="0"/>
              </a:defRPr>
            </a:lvl3pPr>
            <a:lvl4pPr marL="566738" indent="-114300">
              <a:defRPr lang="en-US" sz="1400" b="0" i="0" dirty="0">
                <a:solidFill>
                  <a:schemeClr val="bg1"/>
                </a:solidFill>
                <a:latin typeface="Segoe Sans Text" pitchFamily="2" charset="0"/>
                <a:cs typeface="Segoe Sans Text" pitchFamily="2" charset="0"/>
              </a:defRPr>
            </a:lvl4pPr>
            <a:lvl5pPr marL="685800" indent="-109538">
              <a:defRPr lang="en-US" sz="1400" b="0" i="0" dirty="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600438"/>
          </a:xfrm>
        </p:spPr>
        <p:txBody>
          <a:bodyPr wrap="square">
            <a:spAutoFit/>
          </a:bodyPr>
          <a:lstStyle>
            <a:lvl1pPr marL="141288" indent="-141288">
              <a:defRPr lang="en-US" sz="1600" b="0" i="0" dirty="0">
                <a:solidFill>
                  <a:schemeClr val="bg1"/>
                </a:solidFill>
                <a:latin typeface="Segoe Sans Text" pitchFamily="2" charset="0"/>
                <a:cs typeface="Segoe Sans Text" pitchFamily="2" charset="0"/>
              </a:defRPr>
            </a:lvl1pPr>
            <a:lvl2pPr marL="285750" indent="-125413">
              <a:defRPr lang="en-US" sz="1600" b="0" i="0" dirty="0">
                <a:solidFill>
                  <a:schemeClr val="bg1"/>
                </a:solidFill>
                <a:latin typeface="Segoe Sans Text" pitchFamily="2" charset="0"/>
                <a:cs typeface="Segoe Sans Text" pitchFamily="2" charset="0"/>
              </a:defRPr>
            </a:lvl2pPr>
            <a:lvl3pPr marL="438150" indent="-133350">
              <a:defRPr lang="en-US" sz="1600" b="0" i="0" dirty="0">
                <a:solidFill>
                  <a:schemeClr val="bg1"/>
                </a:solidFill>
                <a:latin typeface="Segoe Sans Text" pitchFamily="2" charset="0"/>
                <a:cs typeface="Segoe Sans Text" pitchFamily="2" charset="0"/>
              </a:defRPr>
            </a:lvl3pPr>
            <a:lvl4pPr marL="566738" indent="-114300">
              <a:defRPr lang="en-US" sz="1400" b="0" i="0" dirty="0">
                <a:solidFill>
                  <a:schemeClr val="bg1"/>
                </a:solidFill>
                <a:latin typeface="Segoe Sans Text" pitchFamily="2" charset="0"/>
                <a:cs typeface="Segoe Sans Text" pitchFamily="2" charset="0"/>
              </a:defRPr>
            </a:lvl4pPr>
            <a:lvl5pPr marL="685800" indent="-109538">
              <a:defRPr lang="en-US" sz="1400" b="0" i="0" dirty="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600438"/>
          </a:xfrm>
        </p:spPr>
        <p:txBody>
          <a:bodyPr wrap="square">
            <a:spAutoFit/>
          </a:bodyPr>
          <a:lstStyle>
            <a:lvl1pPr marL="141288" indent="-141288">
              <a:defRPr lang="en-US" sz="1600" b="0" i="0" dirty="0">
                <a:solidFill>
                  <a:schemeClr val="bg1"/>
                </a:solidFill>
                <a:latin typeface="Segoe Sans Text" pitchFamily="2" charset="0"/>
                <a:cs typeface="Segoe Sans Text" pitchFamily="2" charset="0"/>
              </a:defRPr>
            </a:lvl1pPr>
            <a:lvl2pPr marL="285750" indent="-125413">
              <a:defRPr lang="en-US" sz="1600" b="0" i="0" dirty="0">
                <a:solidFill>
                  <a:schemeClr val="bg1"/>
                </a:solidFill>
                <a:latin typeface="Segoe Sans Text" pitchFamily="2" charset="0"/>
                <a:cs typeface="Segoe Sans Text" pitchFamily="2" charset="0"/>
              </a:defRPr>
            </a:lvl2pPr>
            <a:lvl3pPr marL="438150" indent="-133350">
              <a:defRPr lang="en-US" sz="1600" b="0" i="0" dirty="0">
                <a:solidFill>
                  <a:schemeClr val="bg1"/>
                </a:solidFill>
                <a:latin typeface="Segoe Sans Text" pitchFamily="2" charset="0"/>
                <a:cs typeface="Segoe Sans Text" pitchFamily="2" charset="0"/>
              </a:defRPr>
            </a:lvl3pPr>
            <a:lvl4pPr marL="566738" indent="-114300">
              <a:defRPr lang="en-US" sz="1400" b="0" i="0" dirty="0">
                <a:solidFill>
                  <a:schemeClr val="bg1"/>
                </a:solidFill>
                <a:latin typeface="Segoe Sans Text" pitchFamily="2" charset="0"/>
                <a:cs typeface="Segoe Sans Text" pitchFamily="2" charset="0"/>
              </a:defRPr>
            </a:lvl4pPr>
            <a:lvl5pPr marL="685800" indent="-109538">
              <a:defRPr lang="en-US" sz="1400" b="0" i="0" dirty="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600438"/>
          </a:xfrm>
        </p:spPr>
        <p:txBody>
          <a:bodyPr wrap="square">
            <a:spAutoFit/>
          </a:bodyPr>
          <a:lstStyle>
            <a:lvl1pPr marL="141288" indent="-141288">
              <a:defRPr lang="en-US" sz="1600" b="0" i="0" dirty="0">
                <a:solidFill>
                  <a:schemeClr val="bg1"/>
                </a:solidFill>
                <a:latin typeface="Segoe Sans Text" pitchFamily="2" charset="0"/>
                <a:cs typeface="Segoe Sans Text" pitchFamily="2" charset="0"/>
              </a:defRPr>
            </a:lvl1pPr>
            <a:lvl2pPr marL="285750" indent="-125413">
              <a:defRPr lang="en-US" sz="1600" b="0" i="0" dirty="0">
                <a:solidFill>
                  <a:schemeClr val="bg1"/>
                </a:solidFill>
                <a:latin typeface="Segoe Sans Text" pitchFamily="2" charset="0"/>
                <a:cs typeface="Segoe Sans Text" pitchFamily="2" charset="0"/>
              </a:defRPr>
            </a:lvl2pPr>
            <a:lvl3pPr marL="438150" indent="-133350">
              <a:defRPr lang="en-US" sz="1600" b="0" i="0" dirty="0">
                <a:solidFill>
                  <a:schemeClr val="bg1"/>
                </a:solidFill>
                <a:latin typeface="Segoe Sans Text" pitchFamily="2" charset="0"/>
                <a:cs typeface="Segoe Sans Text" pitchFamily="2" charset="0"/>
              </a:defRPr>
            </a:lvl3pPr>
            <a:lvl4pPr marL="566738" indent="-114300">
              <a:defRPr lang="en-US" sz="1400" b="0" i="0" dirty="0">
                <a:solidFill>
                  <a:schemeClr val="bg1"/>
                </a:solidFill>
                <a:latin typeface="Segoe Sans Text" pitchFamily="2" charset="0"/>
                <a:cs typeface="Segoe Sans Text" pitchFamily="2" charset="0"/>
              </a:defRPr>
            </a:lvl4pPr>
            <a:lvl5pPr marL="685800" indent="-109538">
              <a:defRPr lang="en-US" sz="1400" b="0" i="0" dirty="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615553"/>
          </a:xfrm>
        </p:spPr>
        <p:txBody>
          <a:bodyPr anchor="t"/>
          <a:lstStyle>
            <a:lvl1pPr marL="0" indent="0">
              <a:spcBef>
                <a:spcPts val="0"/>
              </a:spcBef>
              <a:buNone/>
              <a:defRPr sz="2000" b="0" i="0">
                <a:solidFill>
                  <a:schemeClr val="bg1"/>
                </a:solidFill>
                <a:latin typeface="Segoe Sans Text" pitchFamily="2" charset="0"/>
                <a:cs typeface="Segoe Sans Text" pitchFamily="2" charset="0"/>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600438"/>
          </a:xfrm>
        </p:spPr>
        <p:txBody>
          <a:bodyPr wrap="square">
            <a:spAutoFit/>
          </a:bodyPr>
          <a:lstStyle>
            <a:lvl1pPr marL="141288" indent="-141288">
              <a:defRPr lang="en-US" sz="1600" b="0" i="0" dirty="0">
                <a:solidFill>
                  <a:schemeClr val="bg1"/>
                </a:solidFill>
                <a:latin typeface="Segoe Sans Text" pitchFamily="2" charset="0"/>
                <a:cs typeface="Segoe Sans Text" pitchFamily="2" charset="0"/>
              </a:defRPr>
            </a:lvl1pPr>
            <a:lvl2pPr marL="285750" indent="-125413">
              <a:defRPr lang="en-US" sz="1600" b="0" i="0" dirty="0">
                <a:solidFill>
                  <a:schemeClr val="bg1"/>
                </a:solidFill>
                <a:latin typeface="Segoe Sans Text" pitchFamily="2" charset="0"/>
                <a:cs typeface="Segoe Sans Text" pitchFamily="2" charset="0"/>
              </a:defRPr>
            </a:lvl2pPr>
            <a:lvl3pPr marL="438150" indent="-133350">
              <a:defRPr lang="en-US" sz="1600" b="0" i="0" dirty="0">
                <a:solidFill>
                  <a:schemeClr val="bg1"/>
                </a:solidFill>
                <a:latin typeface="Segoe Sans Text" pitchFamily="2" charset="0"/>
                <a:cs typeface="Segoe Sans Text" pitchFamily="2" charset="0"/>
              </a:defRPr>
            </a:lvl3pPr>
            <a:lvl4pPr marL="566738" indent="-114300">
              <a:defRPr lang="en-US" sz="1400" b="0" i="0" dirty="0">
                <a:solidFill>
                  <a:schemeClr val="bg1"/>
                </a:solidFill>
                <a:latin typeface="Segoe Sans Text" pitchFamily="2" charset="0"/>
                <a:cs typeface="Segoe Sans Text" pitchFamily="2" charset="0"/>
              </a:defRPr>
            </a:lvl4pPr>
            <a:lvl5pPr marL="685800" indent="-109538">
              <a:defRPr lang="en-US" sz="1400" b="0" i="0" dirty="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A441D4F-5142-2162-9200-DDD161E2169B}"/>
              </a:ext>
            </a:extLst>
          </p:cNvPr>
          <p:cNvSpPr>
            <a:spLocks noGrp="1"/>
          </p:cNvSpPr>
          <p:nvPr>
            <p:ph type="ftr" sz="quarter" idx="24"/>
          </p:nvPr>
        </p:nvSpPr>
        <p:spPr/>
        <p:txBody>
          <a:bodyPr/>
          <a:lstStyle/>
          <a:p>
            <a:r>
              <a:rPr lang="en-US"/>
              <a:t>Microsoft Fabric</a:t>
            </a:r>
          </a:p>
        </p:txBody>
      </p:sp>
      <p:sp>
        <p:nvSpPr>
          <p:cNvPr id="4" name="Slide Number Placeholder 3">
            <a:extLst>
              <a:ext uri="{FF2B5EF4-FFF2-40B4-BE49-F238E27FC236}">
                <a16:creationId xmlns:a16="http://schemas.microsoft.com/office/drawing/2014/main" id="{41CA2B6B-AB48-A19D-029F-60742DE2D551}"/>
              </a:ext>
            </a:extLst>
          </p:cNvPr>
          <p:cNvSpPr>
            <a:spLocks noGrp="1"/>
          </p:cNvSpPr>
          <p:nvPr>
            <p:ph type="sldNum" sz="quarter" idx="25"/>
          </p:nvPr>
        </p:nvSpPr>
        <p:spPr/>
        <p:txBody>
          <a:bodyPr/>
          <a:lstStyle/>
          <a:p>
            <a:fld id="{B1356FBF-028C-F74E-A7B4-9B8ED246DD1B}" type="slidenum">
              <a:rPr lang="en-US" smtClean="0"/>
              <a:pPr/>
              <a:t>‹#›</a:t>
            </a:fld>
            <a:endParaRPr lang="en-US"/>
          </a:p>
        </p:txBody>
      </p:sp>
      <p:sp>
        <p:nvSpPr>
          <p:cNvPr id="5" name="Title 4">
            <a:extLst>
              <a:ext uri="{FF2B5EF4-FFF2-40B4-BE49-F238E27FC236}">
                <a16:creationId xmlns:a16="http://schemas.microsoft.com/office/drawing/2014/main" id="{7E3857C6-390C-6C6C-F606-956BD6D777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0890818"/>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nk Title Slide w/ content_1">
    <p:bg>
      <p:bgPr>
        <a:solidFill>
          <a:schemeClr val="bg1"/>
        </a:solidFill>
        <a:effectLst/>
      </p:bgPr>
    </p:bg>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EF0A9DA5-F5CF-372B-8D03-AC0C47BFBF8B}"/>
              </a:ext>
            </a:extLst>
          </p:cNvPr>
          <p:cNvSpPr>
            <a:spLocks noGrp="1"/>
          </p:cNvSpPr>
          <p:nvPr>
            <p:ph type="subTitle" idx="1" hasCustomPrompt="1"/>
          </p:nvPr>
        </p:nvSpPr>
        <p:spPr>
          <a:xfrm>
            <a:off x="607808" y="1316736"/>
            <a:ext cx="10974592" cy="365126"/>
          </a:xfrm>
          <a:prstGeom prst="rect">
            <a:avLst/>
          </a:prstGeom>
        </p:spPr>
        <p:txBody>
          <a:bodyPr lIns="0" tIns="0" rIns="0" bIns="0">
            <a:noAutofit/>
          </a:bodyPr>
          <a:lstStyle>
            <a:lvl1pPr marL="0" indent="0" algn="l">
              <a:lnSpc>
                <a:spcPct val="100000"/>
              </a:lnSpc>
              <a:buNone/>
              <a:defRPr sz="2200" b="0" i="0">
                <a:solidFill>
                  <a:schemeClr val="accent1"/>
                </a:solidFill>
                <a:latin typeface="+mn-lt"/>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3" name="Text Placeholder 24">
            <a:extLst>
              <a:ext uri="{FF2B5EF4-FFF2-40B4-BE49-F238E27FC236}">
                <a16:creationId xmlns:a16="http://schemas.microsoft.com/office/drawing/2014/main" id="{B2DB3E49-003A-A0CB-C3E8-B286A13631D4}"/>
              </a:ext>
            </a:extLst>
          </p:cNvPr>
          <p:cNvSpPr>
            <a:spLocks noGrp="1"/>
          </p:cNvSpPr>
          <p:nvPr>
            <p:ph type="body" sz="quarter" idx="23" hasCustomPrompt="1"/>
          </p:nvPr>
        </p:nvSpPr>
        <p:spPr>
          <a:xfrm>
            <a:off x="607808" y="609600"/>
            <a:ext cx="10974592" cy="593740"/>
          </a:xfrm>
          <a:prstGeom prst="rect">
            <a:avLst/>
          </a:prstGeom>
        </p:spPr>
        <p:txBody>
          <a:bodyPr lIns="0" tIns="0" rIns="0" bIns="0">
            <a:noAutofit/>
          </a:bodyPr>
          <a:lstStyle>
            <a:lvl1pPr marL="0" indent="0" algn="l" defTabSz="914400" rtl="0" eaLnBrk="1" latinLnBrk="0" hangingPunct="1">
              <a:lnSpc>
                <a:spcPct val="10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lvl="0"/>
            <a:r>
              <a:rPr lang="en-US"/>
              <a:t>Page title</a:t>
            </a:r>
          </a:p>
        </p:txBody>
      </p:sp>
      <p:sp>
        <p:nvSpPr>
          <p:cNvPr id="2" name="Footer Placeholder 1">
            <a:extLst>
              <a:ext uri="{FF2B5EF4-FFF2-40B4-BE49-F238E27FC236}">
                <a16:creationId xmlns:a16="http://schemas.microsoft.com/office/drawing/2014/main" id="{72118B99-EDB8-26F6-D931-6B76FBD84D01}"/>
              </a:ext>
            </a:extLst>
          </p:cNvPr>
          <p:cNvSpPr>
            <a:spLocks noGrp="1"/>
          </p:cNvSpPr>
          <p:nvPr>
            <p:ph type="ftr" sz="quarter" idx="24"/>
          </p:nvPr>
        </p:nvSpPr>
        <p:spPr/>
        <p:txBody>
          <a:bodyPr/>
          <a:lstStyle/>
          <a:p>
            <a:r>
              <a:rPr lang="en-US"/>
              <a:t>Microsoft Fabric / Section title</a:t>
            </a:r>
          </a:p>
        </p:txBody>
      </p:sp>
      <p:sp>
        <p:nvSpPr>
          <p:cNvPr id="3" name="Slide Number Placeholder 2">
            <a:extLst>
              <a:ext uri="{FF2B5EF4-FFF2-40B4-BE49-F238E27FC236}">
                <a16:creationId xmlns:a16="http://schemas.microsoft.com/office/drawing/2014/main" id="{322B802A-624A-BC0C-4635-AE7C26664AA9}"/>
              </a:ext>
            </a:extLst>
          </p:cNvPr>
          <p:cNvSpPr>
            <a:spLocks noGrp="1"/>
          </p:cNvSpPr>
          <p:nvPr>
            <p:ph type="sldNum" sz="quarter" idx="2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91034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rgbClr val="FFFDF9"/>
        </a:solidFill>
        <a:effectLst/>
      </p:bgPr>
    </p:bg>
    <p:spTree>
      <p:nvGrpSpPr>
        <p:cNvPr id="1" name=""/>
        <p:cNvGrpSpPr/>
        <p:nvPr/>
      </p:nvGrpSpPr>
      <p:grpSpPr>
        <a:xfrm>
          <a:off x="0" y="0"/>
          <a:ext cx="0" cy="0"/>
          <a:chOff x="0" y="0"/>
          <a:chExt cx="0" cy="0"/>
        </a:xfrm>
      </p:grpSpPr>
      <p:pic>
        <p:nvPicPr>
          <p:cNvPr id="3" name="Picture 2" descr="A close up of a hexagon&#10;&#10;Description automatically generated">
            <a:extLst>
              <a:ext uri="{FF2B5EF4-FFF2-40B4-BE49-F238E27FC236}">
                <a16:creationId xmlns:a16="http://schemas.microsoft.com/office/drawing/2014/main" id="{8E137068-7BA3-6088-0C65-0CB23AC063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23409" y="5814699"/>
            <a:ext cx="868680" cy="796908"/>
          </a:xfrm>
          <a:prstGeom prst="rect">
            <a:avLst/>
          </a:prstGeom>
        </p:spPr>
      </p:pic>
      <p:sp>
        <p:nvSpPr>
          <p:cNvPr id="6" name="Footer Placeholder 5">
            <a:extLst>
              <a:ext uri="{FF2B5EF4-FFF2-40B4-BE49-F238E27FC236}">
                <a16:creationId xmlns:a16="http://schemas.microsoft.com/office/drawing/2014/main" id="{BBF18DD5-394A-4676-966A-43A5BAC6E006}"/>
              </a:ext>
            </a:extLst>
          </p:cNvPr>
          <p:cNvSpPr>
            <a:spLocks noGrp="1"/>
          </p:cNvSpPr>
          <p:nvPr>
            <p:ph type="ftr" sz="quarter" idx="10"/>
          </p:nvPr>
        </p:nvSpPr>
        <p:spPr/>
        <p:txBody>
          <a:bodyPr/>
          <a:lstStyle/>
          <a:p>
            <a:r>
              <a:rPr lang="en-US"/>
              <a:t>Microsoft Fabric</a:t>
            </a:r>
          </a:p>
        </p:txBody>
      </p:sp>
      <p:sp>
        <p:nvSpPr>
          <p:cNvPr id="7" name="Slide Number Placeholder 6">
            <a:extLst>
              <a:ext uri="{FF2B5EF4-FFF2-40B4-BE49-F238E27FC236}">
                <a16:creationId xmlns:a16="http://schemas.microsoft.com/office/drawing/2014/main" id="{2A399517-6D70-91AD-1227-F9D6955CDA7B}"/>
              </a:ext>
            </a:extLst>
          </p:cNvPr>
          <p:cNvSpPr>
            <a:spLocks noGrp="1"/>
          </p:cNvSpPr>
          <p:nvPr>
            <p:ph type="sldNum" sz="quarter" idx="11"/>
          </p:nvPr>
        </p:nvSpPr>
        <p:spPr/>
        <p:txBody>
          <a:bodyPr/>
          <a:lstStyle/>
          <a:p>
            <a:fld id="{B1356FBF-028C-F74E-A7B4-9B8ED246DD1B}" type="slidenum">
              <a:rPr lang="en-US" smtClean="0"/>
              <a:pPr/>
              <a:t>‹#›</a:t>
            </a:fld>
            <a:endParaRPr lang="en-US"/>
          </a:p>
        </p:txBody>
      </p:sp>
      <p:sp>
        <p:nvSpPr>
          <p:cNvPr id="10" name="Title 9">
            <a:extLst>
              <a:ext uri="{FF2B5EF4-FFF2-40B4-BE49-F238E27FC236}">
                <a16:creationId xmlns:a16="http://schemas.microsoft.com/office/drawing/2014/main" id="{2536199F-AFBB-90E6-3138-4F79DE029AB5}"/>
              </a:ext>
            </a:extLst>
          </p:cNvPr>
          <p:cNvSpPr>
            <a:spLocks noGrp="1"/>
          </p:cNvSpPr>
          <p:nvPr>
            <p:ph type="title"/>
          </p:nvPr>
        </p:nvSpPr>
        <p:spPr>
          <a:xfrm>
            <a:off x="581025" y="365125"/>
            <a:ext cx="11029949" cy="549275"/>
          </a:xfrm>
        </p:spPr>
        <p:txBody>
          <a:bodyPr anchor="b">
            <a:noAutofit/>
          </a:bodyPr>
          <a:lstStyle/>
          <a:p>
            <a:r>
              <a:rPr lang="en-US"/>
              <a:t>Click to edit Master title style</a:t>
            </a:r>
          </a:p>
        </p:txBody>
      </p:sp>
    </p:spTree>
    <p:extLst>
      <p:ext uri="{BB962C8B-B14F-4D97-AF65-F5344CB8AC3E}">
        <p14:creationId xmlns:p14="http://schemas.microsoft.com/office/powerpoint/2010/main" val="2381949925"/>
      </p:ext>
    </p:extLst>
  </p:cSld>
  <p:clrMapOvr>
    <a:masterClrMapping/>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5" pos="3338">
          <p15:clr>
            <a:srgbClr val="A4A3A4"/>
          </p15:clr>
        </p15:guide>
        <p15:guide id="18" pos="4343">
          <p15:clr>
            <a:srgbClr val="A4A3A4"/>
          </p15:clr>
        </p15:guide>
        <p15:guide id="19" pos="4526">
          <p15:clr>
            <a:srgbClr val="A4A3A4"/>
          </p15:clr>
        </p15:guide>
        <p15:guide id="21" pos="5120">
          <p15:clr>
            <a:srgbClr val="A4A3A4"/>
          </p15:clr>
        </p15:guide>
        <p15:guide id="25" pos="6308">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wo picture content">
    <p:bg>
      <p:bgPr>
        <a:solidFill>
          <a:srgbClr val="FFFDF9"/>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l">
              <a:spcBef>
                <a:spcPts val="0"/>
              </a:spcBef>
              <a:buNone/>
              <a:defRPr sz="16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l">
              <a:spcBef>
                <a:spcPts val="0"/>
              </a:spcBef>
              <a:buNone/>
              <a:defRPr sz="16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02B2ED45-381C-706B-5BC7-C19F6565D636}"/>
              </a:ext>
            </a:extLst>
          </p:cNvPr>
          <p:cNvSpPr>
            <a:spLocks noGrp="1"/>
          </p:cNvSpPr>
          <p:nvPr>
            <p:ph type="ftr" sz="quarter" idx="19"/>
          </p:nvPr>
        </p:nvSpPr>
        <p:spPr/>
        <p:txBody>
          <a:bodyPr/>
          <a:lstStyle/>
          <a:p>
            <a:r>
              <a:rPr lang="en-US"/>
              <a:t>Microsoft Fabric</a:t>
            </a:r>
          </a:p>
        </p:txBody>
      </p:sp>
      <p:sp>
        <p:nvSpPr>
          <p:cNvPr id="5" name="Slide Number Placeholder 4">
            <a:extLst>
              <a:ext uri="{FF2B5EF4-FFF2-40B4-BE49-F238E27FC236}">
                <a16:creationId xmlns:a16="http://schemas.microsoft.com/office/drawing/2014/main" id="{D3B1BE3F-58E4-9741-37BF-05CCFCA595C5}"/>
              </a:ext>
            </a:extLst>
          </p:cNvPr>
          <p:cNvSpPr>
            <a:spLocks noGrp="1"/>
          </p:cNvSpPr>
          <p:nvPr>
            <p:ph type="sldNum" sz="quarter" idx="20"/>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698248559"/>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hree picture content">
    <p:bg>
      <p:bgPr>
        <a:solidFill>
          <a:srgbClr val="FFFDF9"/>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l">
              <a:spcBef>
                <a:spcPts val="0"/>
              </a:spcBef>
              <a:buNone/>
              <a:defRPr sz="16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l">
              <a:spcBef>
                <a:spcPts val="0"/>
              </a:spcBef>
              <a:buNone/>
              <a:defRPr sz="16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l">
              <a:spcBef>
                <a:spcPts val="0"/>
              </a:spcBef>
              <a:buNone/>
              <a:defRPr sz="1600" b="0" i="0">
                <a:solidFill>
                  <a:schemeClr val="bg1"/>
                </a:solidFill>
                <a:latin typeface="Segoe Sans Text" pitchFamily="2" charset="0"/>
                <a:cs typeface="Segoe Sans Text" pitchFamily="2" charset="0"/>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8E46CC4B-F9E1-86D2-1E44-9FC3579001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080037"/>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Only">
    <p:bg>
      <p:bgPr>
        <a:gradFill flip="none" rotWithShape="1">
          <a:gsLst>
            <a:gs pos="0">
              <a:schemeClr val="accent2"/>
            </a:gs>
            <a:gs pos="100000">
              <a:schemeClr val="bg2"/>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26639120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Title Only">
    <p:bg>
      <p:bgPr>
        <a:gradFill flip="none" rotWithShape="1">
          <a:gsLst>
            <a:gs pos="0">
              <a:schemeClr val="accent2"/>
            </a:gs>
            <a:gs pos="100000">
              <a:schemeClr val="accent3"/>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8030635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95356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2233748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Quote slide_option two">
    <p:bg>
      <p:bgPr>
        <a:gradFill flip="none" rotWithShape="1">
          <a:gsLst>
            <a:gs pos="0">
              <a:srgbClr val="49C5B1"/>
            </a:gs>
            <a:gs pos="100000">
              <a:srgbClr val="0078D4"/>
            </a:gs>
          </a:gsLst>
          <a:lin ang="5400000" scaled="1"/>
          <a:tileRect/>
        </a:gra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4450432" y="647231"/>
            <a:ext cx="6444247" cy="3714512"/>
          </a:xfrm>
          <a:prstGeom prst="rect">
            <a:avLst/>
          </a:prstGeom>
        </p:spPr>
        <p:txBody>
          <a:bodyPr>
            <a:noAutofit/>
          </a:bodyPr>
          <a:lstStyle>
            <a:lvl1pPr marL="0" indent="0">
              <a:buNone/>
              <a:defRPr sz="2600" b="0" i="0">
                <a:solidFill>
                  <a:srgbClr val="FFFFFF"/>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r>
              <a:rPr lang="en-US"/>
              <a:t>.”</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4450432" y="4662502"/>
            <a:ext cx="6444247" cy="338554"/>
          </a:xfrm>
          <a:prstGeom prst="rect">
            <a:avLst/>
          </a:prstGeom>
        </p:spPr>
        <p:txBody>
          <a:bodyPr>
            <a:normAutofit/>
          </a:bodyPr>
          <a:lstStyle>
            <a:lvl1pPr marL="0" indent="0">
              <a:buNone/>
              <a:defRPr sz="1000" b="1" i="0">
                <a:solidFill>
                  <a:srgbClr val="FFFFFF"/>
                </a:solidFill>
                <a:latin typeface="Segoe Sans Small Semibold" pitchFamily="2" charset="0"/>
                <a:cs typeface="Segoe Sans Small Semibold" pitchFamily="2"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lvl1pPr>
              <a:defRPr>
                <a:solidFill>
                  <a:srgbClr val="FFFFFF"/>
                </a:solidFill>
              </a:defRPr>
            </a:lvl1pPr>
          </a:lstStyle>
          <a:p>
            <a:r>
              <a:rPr lang="en-US"/>
              <a:t>Microsoft Fabric</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lvl1pPr>
              <a:defRPr>
                <a:solidFill>
                  <a:srgbClr val="FFFFFF"/>
                </a:solidFill>
              </a:defRPr>
            </a:lvl1pPr>
          </a:lstStyle>
          <a:p>
            <a:fld id="{B1356FBF-028C-F74E-A7B4-9B8ED246DD1B}" type="slidenum">
              <a:rPr lang="en-US" smtClean="0"/>
              <a:pPr/>
              <a:t>‹#›</a:t>
            </a:fld>
            <a:endParaRPr lang="en-US"/>
          </a:p>
        </p:txBody>
      </p:sp>
      <p:sp>
        <p:nvSpPr>
          <p:cNvPr id="3" name="Text Placeholder 24">
            <a:extLst>
              <a:ext uri="{FF2B5EF4-FFF2-40B4-BE49-F238E27FC236}">
                <a16:creationId xmlns:a16="http://schemas.microsoft.com/office/drawing/2014/main" id="{58875558-892B-B10B-6AC9-01A99F86FC30}"/>
              </a:ext>
            </a:extLst>
          </p:cNvPr>
          <p:cNvSpPr>
            <a:spLocks noGrp="1"/>
          </p:cNvSpPr>
          <p:nvPr>
            <p:ph type="body" sz="quarter" idx="23" hasCustomPrompt="1"/>
          </p:nvPr>
        </p:nvSpPr>
        <p:spPr>
          <a:xfrm>
            <a:off x="635035" y="647231"/>
            <a:ext cx="3236878" cy="593740"/>
          </a:xfrm>
          <a:prstGeom prst="rect">
            <a:avLst/>
          </a:prstGeom>
        </p:spPr>
        <p:txBody>
          <a:bodyPr>
            <a:normAutofit/>
          </a:bodyPr>
          <a:lstStyle>
            <a:lvl1pPr marL="0" indent="0">
              <a:buNone/>
              <a:defRPr sz="3600" b="0" i="0">
                <a:solidFill>
                  <a:srgbClr val="005C63"/>
                </a:solidFill>
                <a:latin typeface="Segoe Sans Display" pitchFamily="2" charset="0"/>
                <a:cs typeface="Segoe Sans Display" pitchFamily="2" charset="0"/>
              </a:defRPr>
            </a:lvl1pPr>
          </a:lstStyle>
          <a:p>
            <a:pPr lvl="0"/>
            <a:r>
              <a:rPr lang="en-US"/>
              <a:t>Page title</a:t>
            </a:r>
          </a:p>
        </p:txBody>
      </p:sp>
    </p:spTree>
    <p:extLst>
      <p:ext uri="{BB962C8B-B14F-4D97-AF65-F5344CB8AC3E}">
        <p14:creationId xmlns:p14="http://schemas.microsoft.com/office/powerpoint/2010/main" val="3939853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Quote slide_option two">
    <p:bg>
      <p:bgPr>
        <a:gradFill>
          <a:gsLst>
            <a:gs pos="0">
              <a:srgbClr val="C03BC4"/>
            </a:gs>
            <a:gs pos="99000">
              <a:srgbClr val="F4364C"/>
            </a:gs>
          </a:gsLst>
          <a:lin ang="0" scaled="1"/>
        </a:gra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4450432" y="647231"/>
            <a:ext cx="6444247" cy="3714512"/>
          </a:xfrm>
          <a:prstGeom prst="rect">
            <a:avLst/>
          </a:prstGeom>
        </p:spPr>
        <p:txBody>
          <a:bodyPr>
            <a:noAutofit/>
          </a:bodyPr>
          <a:lstStyle>
            <a:lvl1pPr marL="0" indent="0">
              <a:buNone/>
              <a:defRPr sz="2600" b="0" i="0">
                <a:solidFill>
                  <a:srgbClr val="FFFFFF"/>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r>
              <a:rPr lang="en-US"/>
              <a:t>.”</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4450432" y="4662502"/>
            <a:ext cx="6444247" cy="338554"/>
          </a:xfrm>
          <a:prstGeom prst="rect">
            <a:avLst/>
          </a:prstGeom>
        </p:spPr>
        <p:txBody>
          <a:bodyPr>
            <a:normAutofit/>
          </a:bodyPr>
          <a:lstStyle>
            <a:lvl1pPr marL="0" indent="0">
              <a:buNone/>
              <a:defRPr sz="1000" b="1" i="0">
                <a:solidFill>
                  <a:srgbClr val="FFFFFF"/>
                </a:solidFill>
                <a:latin typeface="Segoe Sans Small Semibold" pitchFamily="2" charset="0"/>
                <a:cs typeface="Segoe Sans Small Semibold" pitchFamily="2"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lvl1pPr>
              <a:defRPr>
                <a:solidFill>
                  <a:srgbClr val="FFFFFF"/>
                </a:solidFill>
              </a:defRPr>
            </a:lvl1pPr>
          </a:lstStyle>
          <a:p>
            <a:r>
              <a:rPr lang="en-US"/>
              <a:t>Microsoft Fabric</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lvl1pPr>
              <a:defRPr>
                <a:solidFill>
                  <a:srgbClr val="FFFFFF"/>
                </a:solidFill>
              </a:defRPr>
            </a:lvl1pPr>
          </a:lstStyle>
          <a:p>
            <a:fld id="{B1356FBF-028C-F74E-A7B4-9B8ED246DD1B}" type="slidenum">
              <a:rPr lang="en-US" smtClean="0"/>
              <a:pPr/>
              <a:t>‹#›</a:t>
            </a:fld>
            <a:endParaRPr lang="en-US"/>
          </a:p>
        </p:txBody>
      </p:sp>
      <p:sp>
        <p:nvSpPr>
          <p:cNvPr id="3" name="Text Placeholder 24">
            <a:extLst>
              <a:ext uri="{FF2B5EF4-FFF2-40B4-BE49-F238E27FC236}">
                <a16:creationId xmlns:a16="http://schemas.microsoft.com/office/drawing/2014/main" id="{58875558-892B-B10B-6AC9-01A99F86FC30}"/>
              </a:ext>
            </a:extLst>
          </p:cNvPr>
          <p:cNvSpPr>
            <a:spLocks noGrp="1"/>
          </p:cNvSpPr>
          <p:nvPr>
            <p:ph type="body" sz="quarter" idx="23" hasCustomPrompt="1"/>
          </p:nvPr>
        </p:nvSpPr>
        <p:spPr>
          <a:xfrm>
            <a:off x="635035" y="647231"/>
            <a:ext cx="3236878" cy="593740"/>
          </a:xfrm>
          <a:prstGeom prst="rect">
            <a:avLst/>
          </a:prstGeom>
        </p:spPr>
        <p:txBody>
          <a:bodyPr>
            <a:normAutofit/>
          </a:bodyPr>
          <a:lstStyle>
            <a:lvl1pPr marL="0" indent="0">
              <a:buNone/>
              <a:defRPr sz="3600" b="0" i="0">
                <a:solidFill>
                  <a:srgbClr val="FFFFFF"/>
                </a:solidFill>
                <a:latin typeface="Segoe Sans Display" pitchFamily="2" charset="0"/>
                <a:cs typeface="Segoe Sans Display" pitchFamily="2" charset="0"/>
              </a:defRPr>
            </a:lvl1pPr>
          </a:lstStyle>
          <a:p>
            <a:pPr lvl="0"/>
            <a:r>
              <a:rPr lang="en-US"/>
              <a:t>Page title</a:t>
            </a:r>
          </a:p>
        </p:txBody>
      </p:sp>
    </p:spTree>
    <p:extLst>
      <p:ext uri="{BB962C8B-B14F-4D97-AF65-F5344CB8AC3E}">
        <p14:creationId xmlns:p14="http://schemas.microsoft.com/office/powerpoint/2010/main" val="22047655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slide">
    <p:bg>
      <p:bgPr>
        <a:solidFill>
          <a:srgbClr val="0078D4"/>
        </a:soli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4450433" y="647232"/>
            <a:ext cx="6444247" cy="1257768"/>
          </a:xfrm>
          <a:prstGeom prst="rect">
            <a:avLst/>
          </a:prstGeom>
        </p:spPr>
        <p:txBody>
          <a:bodyPr>
            <a:noAutofit/>
          </a:bodyPr>
          <a:lstStyle>
            <a:lvl1pPr marL="0" indent="0">
              <a:buNone/>
              <a:defRPr sz="2600" b="0" i="0">
                <a:solidFill>
                  <a:srgbClr val="FFFFFF"/>
                </a:solidFill>
                <a:latin typeface="Segoe Sans Display" pitchFamily="2" charset="0"/>
                <a:cs typeface="Segoe Sans Display" pitchFamily="2" charset="0"/>
              </a:defRPr>
            </a:lvl1pPr>
          </a:lstStyle>
          <a:p>
            <a:pPr lvl="0"/>
            <a:r>
              <a:rPr lang="en-US"/>
              <a:t>Headline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tempo.</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4447963" y="4855637"/>
            <a:ext cx="6444247" cy="279397"/>
          </a:xfrm>
          <a:prstGeom prst="rect">
            <a:avLst/>
          </a:prstGeom>
        </p:spPr>
        <p:txBody>
          <a:bodyPr>
            <a:normAutofit/>
          </a:bodyPr>
          <a:lstStyle>
            <a:lvl1pPr marL="0" indent="0">
              <a:buNone/>
              <a:defRPr sz="1000" b="1" i="0">
                <a:solidFill>
                  <a:srgbClr val="FFFFFF"/>
                </a:solidFill>
                <a:latin typeface="Segoe Sans Small Semibold" pitchFamily="2" charset="0"/>
                <a:cs typeface="Segoe Sans Small Semibold" pitchFamily="2"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lvl1pPr>
              <a:defRPr>
                <a:solidFill>
                  <a:srgbClr val="FFFFFF"/>
                </a:solidFill>
              </a:defRPr>
            </a:lvl1pPr>
          </a:lstStyle>
          <a:p>
            <a:r>
              <a:rPr lang="en-US"/>
              <a:t>Microsoft Fabric</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lvl1pPr>
              <a:defRPr>
                <a:solidFill>
                  <a:srgbClr val="FFFFFF"/>
                </a:solidFill>
              </a:defRPr>
            </a:lvl1pPr>
          </a:lstStyle>
          <a:p>
            <a:fld id="{B1356FBF-028C-F74E-A7B4-9B8ED246DD1B}" type="slidenum">
              <a:rPr lang="en-US" smtClean="0"/>
              <a:pPr/>
              <a:t>‹#›</a:t>
            </a:fld>
            <a:endParaRPr lang="en-US"/>
          </a:p>
        </p:txBody>
      </p:sp>
      <p:sp>
        <p:nvSpPr>
          <p:cNvPr id="2" name="Content Placeholder 96">
            <a:extLst>
              <a:ext uri="{FF2B5EF4-FFF2-40B4-BE49-F238E27FC236}">
                <a16:creationId xmlns:a16="http://schemas.microsoft.com/office/drawing/2014/main" id="{5B3E7DDA-4DFD-B7AA-C818-90435BE0818D}"/>
              </a:ext>
            </a:extLst>
          </p:cNvPr>
          <p:cNvSpPr>
            <a:spLocks noGrp="1"/>
          </p:cNvSpPr>
          <p:nvPr>
            <p:ph sz="quarter" idx="27" hasCustomPrompt="1"/>
          </p:nvPr>
        </p:nvSpPr>
        <p:spPr>
          <a:xfrm>
            <a:off x="4450432" y="2626843"/>
            <a:ext cx="6444247" cy="1898591"/>
          </a:xfrm>
          <a:prstGeom prst="rect">
            <a:avLst/>
          </a:prstGeom>
        </p:spPr>
        <p:txBody>
          <a:bodyPr>
            <a:noAutofit/>
          </a:bodyPr>
          <a:lstStyle>
            <a:lvl1pPr marL="285750" indent="-285750">
              <a:buFont typeface="Arial" panose="020B0604020202020204" pitchFamily="34" charset="0"/>
              <a:buChar char="•"/>
              <a:defRPr sz="1400" b="0" i="0">
                <a:solidFill>
                  <a:srgbClr val="FFFFFF"/>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rur</a:t>
            </a:r>
            <a:r>
              <a:rPr lang="en-US"/>
              <a:t> </a:t>
            </a:r>
            <a:r>
              <a:rPr lang="en-US" err="1"/>
              <a:t>sint</a:t>
            </a:r>
            <a:r>
              <a:rPr lang="en-US"/>
              <a:t> </a:t>
            </a:r>
            <a:r>
              <a:rPr lang="en-US" err="1"/>
              <a:t>occae</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endParaRPr lang="en-US"/>
          </a:p>
        </p:txBody>
      </p:sp>
      <p:sp>
        <p:nvSpPr>
          <p:cNvPr id="3" name="Text Placeholder 24">
            <a:extLst>
              <a:ext uri="{FF2B5EF4-FFF2-40B4-BE49-F238E27FC236}">
                <a16:creationId xmlns:a16="http://schemas.microsoft.com/office/drawing/2014/main" id="{7C213266-236D-8FDB-6BC7-EA330441FC90}"/>
              </a:ext>
            </a:extLst>
          </p:cNvPr>
          <p:cNvSpPr>
            <a:spLocks noGrp="1"/>
          </p:cNvSpPr>
          <p:nvPr>
            <p:ph type="body" sz="quarter" idx="28" hasCustomPrompt="1"/>
          </p:nvPr>
        </p:nvSpPr>
        <p:spPr>
          <a:xfrm>
            <a:off x="4447963" y="2236346"/>
            <a:ext cx="1721666" cy="322761"/>
          </a:xfrm>
          <a:prstGeom prst="rect">
            <a:avLst/>
          </a:prstGeom>
        </p:spPr>
        <p:txBody>
          <a:bodyPr>
            <a:normAutofit/>
          </a:bodyPr>
          <a:lstStyle>
            <a:lvl1pPr marL="0" indent="0">
              <a:buNone/>
              <a:defRPr sz="1200" b="1" i="0">
                <a:solidFill>
                  <a:srgbClr val="8DE971"/>
                </a:solidFill>
                <a:latin typeface="Segoe Sans Small Semibold" pitchFamily="2" charset="0"/>
                <a:cs typeface="Segoe Sans Small Semibold" pitchFamily="2" charset="0"/>
              </a:defRPr>
            </a:lvl1pPr>
          </a:lstStyle>
          <a:p>
            <a:pPr lvl="0"/>
            <a:r>
              <a:rPr lang="en-US"/>
              <a:t>Page subtitle</a:t>
            </a:r>
          </a:p>
        </p:txBody>
      </p:sp>
      <p:sp>
        <p:nvSpPr>
          <p:cNvPr id="4" name="Text Placeholder 24">
            <a:extLst>
              <a:ext uri="{FF2B5EF4-FFF2-40B4-BE49-F238E27FC236}">
                <a16:creationId xmlns:a16="http://schemas.microsoft.com/office/drawing/2014/main" id="{7937AAC8-3F22-E515-FF02-2A4754831905}"/>
              </a:ext>
            </a:extLst>
          </p:cNvPr>
          <p:cNvSpPr>
            <a:spLocks noGrp="1"/>
          </p:cNvSpPr>
          <p:nvPr>
            <p:ph type="body" sz="quarter" idx="23" hasCustomPrompt="1"/>
          </p:nvPr>
        </p:nvSpPr>
        <p:spPr>
          <a:xfrm>
            <a:off x="635035" y="647231"/>
            <a:ext cx="3236878" cy="593740"/>
          </a:xfrm>
          <a:prstGeom prst="rect">
            <a:avLst/>
          </a:prstGeom>
        </p:spPr>
        <p:txBody>
          <a:bodyPr>
            <a:normAutofit/>
          </a:bodyPr>
          <a:lstStyle>
            <a:lvl1pPr marL="0" indent="0">
              <a:buNone/>
              <a:defRPr sz="3600" b="0" i="0">
                <a:solidFill>
                  <a:srgbClr val="8DE971"/>
                </a:solidFill>
                <a:latin typeface="Segoe Sans Display" pitchFamily="2" charset="0"/>
                <a:cs typeface="Segoe Sans Display" pitchFamily="2" charset="0"/>
              </a:defRPr>
            </a:lvl1pPr>
          </a:lstStyle>
          <a:p>
            <a:pPr lvl="0"/>
            <a:r>
              <a:rPr lang="en-US"/>
              <a:t>Page title</a:t>
            </a:r>
          </a:p>
        </p:txBody>
      </p:sp>
    </p:spTree>
    <p:extLst>
      <p:ext uri="{BB962C8B-B14F-4D97-AF65-F5344CB8AC3E}">
        <p14:creationId xmlns:p14="http://schemas.microsoft.com/office/powerpoint/2010/main" val="3958681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38110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and content slide">
    <p:bg>
      <p:bgPr>
        <a:gradFill>
          <a:gsLst>
            <a:gs pos="0">
              <a:srgbClr val="C03BC4"/>
            </a:gs>
            <a:gs pos="99000">
              <a:srgbClr val="F4364C"/>
            </a:gs>
          </a:gsLst>
          <a:lin ang="0" scaled="1"/>
        </a:gradFill>
        <a:effectLst/>
      </p:bgPr>
    </p:bg>
    <p:spTree>
      <p:nvGrpSpPr>
        <p:cNvPr id="1" name=""/>
        <p:cNvGrpSpPr/>
        <p:nvPr/>
      </p:nvGrpSpPr>
      <p:grpSpPr>
        <a:xfrm>
          <a:off x="0" y="0"/>
          <a:ext cx="0" cy="0"/>
          <a:chOff x="0" y="0"/>
          <a:chExt cx="0" cy="0"/>
        </a:xfrm>
      </p:grpSpPr>
      <p:sp>
        <p:nvSpPr>
          <p:cNvPr id="10" name="Content Placeholder 96">
            <a:extLst>
              <a:ext uri="{FF2B5EF4-FFF2-40B4-BE49-F238E27FC236}">
                <a16:creationId xmlns:a16="http://schemas.microsoft.com/office/drawing/2014/main" id="{09D8FACC-399B-9204-41ED-0EB2EA66C15B}"/>
              </a:ext>
            </a:extLst>
          </p:cNvPr>
          <p:cNvSpPr>
            <a:spLocks noGrp="1"/>
          </p:cNvSpPr>
          <p:nvPr>
            <p:ph sz="quarter" idx="10" hasCustomPrompt="1"/>
          </p:nvPr>
        </p:nvSpPr>
        <p:spPr>
          <a:xfrm>
            <a:off x="4450433" y="647232"/>
            <a:ext cx="6444247" cy="1257768"/>
          </a:xfrm>
          <a:prstGeom prst="rect">
            <a:avLst/>
          </a:prstGeom>
        </p:spPr>
        <p:txBody>
          <a:bodyPr>
            <a:noAutofit/>
          </a:bodyPr>
          <a:lstStyle>
            <a:lvl1pPr marL="0" indent="0">
              <a:buNone/>
              <a:defRPr sz="2600" b="0" i="0">
                <a:solidFill>
                  <a:srgbClr val="FFFFFF"/>
                </a:solidFill>
                <a:latin typeface="Segoe Sans Display" pitchFamily="2" charset="0"/>
                <a:cs typeface="Segoe Sans Display" pitchFamily="2" charset="0"/>
              </a:defRPr>
            </a:lvl1pPr>
          </a:lstStyle>
          <a:p>
            <a:pPr lvl="0"/>
            <a:r>
              <a:rPr lang="en-US"/>
              <a:t>Headline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tempo.</a:t>
            </a:r>
          </a:p>
        </p:txBody>
      </p:sp>
      <p:sp>
        <p:nvSpPr>
          <p:cNvPr id="11" name="Text Placeholder 24">
            <a:extLst>
              <a:ext uri="{FF2B5EF4-FFF2-40B4-BE49-F238E27FC236}">
                <a16:creationId xmlns:a16="http://schemas.microsoft.com/office/drawing/2014/main" id="{B6A085E4-DB82-1DA8-55A5-C46C84AEBDAF}"/>
              </a:ext>
            </a:extLst>
          </p:cNvPr>
          <p:cNvSpPr>
            <a:spLocks noGrp="1"/>
          </p:cNvSpPr>
          <p:nvPr>
            <p:ph type="body" sz="quarter" idx="24" hasCustomPrompt="1"/>
          </p:nvPr>
        </p:nvSpPr>
        <p:spPr>
          <a:xfrm>
            <a:off x="4447963" y="4855637"/>
            <a:ext cx="6444247" cy="279397"/>
          </a:xfrm>
          <a:prstGeom prst="rect">
            <a:avLst/>
          </a:prstGeom>
        </p:spPr>
        <p:txBody>
          <a:bodyPr>
            <a:normAutofit/>
          </a:bodyPr>
          <a:lstStyle>
            <a:lvl1pPr marL="0" indent="0">
              <a:buNone/>
              <a:defRPr sz="1000" b="1" i="0">
                <a:solidFill>
                  <a:srgbClr val="FFFFFF"/>
                </a:solidFill>
                <a:latin typeface="Segoe Sans Small Semibold" pitchFamily="2" charset="0"/>
                <a:cs typeface="Segoe Sans Small Semibold" pitchFamily="2" charset="0"/>
              </a:defRPr>
            </a:lvl1pPr>
          </a:lstStyle>
          <a:p>
            <a:pPr lvl="0"/>
            <a:r>
              <a:rPr lang="en-US"/>
              <a:t>&gt;link to source</a:t>
            </a:r>
          </a:p>
        </p:txBody>
      </p:sp>
      <p:sp>
        <p:nvSpPr>
          <p:cNvPr id="12" name="Footer Placeholder 25">
            <a:extLst>
              <a:ext uri="{FF2B5EF4-FFF2-40B4-BE49-F238E27FC236}">
                <a16:creationId xmlns:a16="http://schemas.microsoft.com/office/drawing/2014/main" id="{7775372A-30F8-70D3-5F93-AB55D46328E0}"/>
              </a:ext>
            </a:extLst>
          </p:cNvPr>
          <p:cNvSpPr>
            <a:spLocks noGrp="1"/>
          </p:cNvSpPr>
          <p:nvPr>
            <p:ph type="ftr" sz="quarter" idx="25"/>
          </p:nvPr>
        </p:nvSpPr>
        <p:spPr>
          <a:xfrm>
            <a:off x="1007097" y="6311900"/>
            <a:ext cx="2078736" cy="365125"/>
          </a:xfrm>
        </p:spPr>
        <p:txBody>
          <a:bodyPr/>
          <a:lstStyle>
            <a:lvl1pPr>
              <a:defRPr>
                <a:solidFill>
                  <a:srgbClr val="FFFFFF"/>
                </a:solidFill>
              </a:defRPr>
            </a:lvl1pPr>
          </a:lstStyle>
          <a:p>
            <a:r>
              <a:rPr lang="en-US"/>
              <a:t>Microsoft Fabric</a:t>
            </a:r>
          </a:p>
        </p:txBody>
      </p:sp>
      <p:sp>
        <p:nvSpPr>
          <p:cNvPr id="13" name="Slide Number Placeholder 26">
            <a:extLst>
              <a:ext uri="{FF2B5EF4-FFF2-40B4-BE49-F238E27FC236}">
                <a16:creationId xmlns:a16="http://schemas.microsoft.com/office/drawing/2014/main" id="{A85E68D9-DAFB-EE1E-5D51-D2225CF6475B}"/>
              </a:ext>
            </a:extLst>
          </p:cNvPr>
          <p:cNvSpPr>
            <a:spLocks noGrp="1"/>
          </p:cNvSpPr>
          <p:nvPr>
            <p:ph type="sldNum" sz="quarter" idx="26"/>
          </p:nvPr>
        </p:nvSpPr>
        <p:spPr>
          <a:xfrm>
            <a:off x="607809" y="6311900"/>
            <a:ext cx="399288" cy="365125"/>
          </a:xfrm>
        </p:spPr>
        <p:txBody>
          <a:bodyPr/>
          <a:lstStyle>
            <a:lvl1pPr>
              <a:defRPr>
                <a:solidFill>
                  <a:srgbClr val="FFFFFF"/>
                </a:solidFill>
              </a:defRPr>
            </a:lvl1pPr>
          </a:lstStyle>
          <a:p>
            <a:fld id="{B1356FBF-028C-F74E-A7B4-9B8ED246DD1B}" type="slidenum">
              <a:rPr lang="en-US" smtClean="0"/>
              <a:pPr/>
              <a:t>‹#›</a:t>
            </a:fld>
            <a:endParaRPr lang="en-US"/>
          </a:p>
        </p:txBody>
      </p:sp>
      <p:sp>
        <p:nvSpPr>
          <p:cNvPr id="2" name="Content Placeholder 96">
            <a:extLst>
              <a:ext uri="{FF2B5EF4-FFF2-40B4-BE49-F238E27FC236}">
                <a16:creationId xmlns:a16="http://schemas.microsoft.com/office/drawing/2014/main" id="{5B3E7DDA-4DFD-B7AA-C818-90435BE0818D}"/>
              </a:ext>
            </a:extLst>
          </p:cNvPr>
          <p:cNvSpPr>
            <a:spLocks noGrp="1"/>
          </p:cNvSpPr>
          <p:nvPr>
            <p:ph sz="quarter" idx="27" hasCustomPrompt="1"/>
          </p:nvPr>
        </p:nvSpPr>
        <p:spPr>
          <a:xfrm>
            <a:off x="4450432" y="2626843"/>
            <a:ext cx="6444247" cy="1898591"/>
          </a:xfrm>
          <a:prstGeom prst="rect">
            <a:avLst/>
          </a:prstGeom>
        </p:spPr>
        <p:txBody>
          <a:bodyPr>
            <a:noAutofit/>
          </a:bodyPr>
          <a:lstStyle>
            <a:lvl1pPr marL="285750" indent="-285750">
              <a:buFont typeface="Arial" panose="020B0604020202020204" pitchFamily="34" charset="0"/>
              <a:buChar char="•"/>
              <a:defRPr sz="1400" b="0" i="0">
                <a:solidFill>
                  <a:srgbClr val="FFFFFF"/>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a:p>
            <a:pPr lvl="0"/>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a:p>
            <a:pPr lvl="0"/>
            <a:r>
              <a:rPr lang="en-US" err="1"/>
              <a:t>Excepterur</a:t>
            </a:r>
            <a:r>
              <a:rPr lang="en-US"/>
              <a:t> </a:t>
            </a:r>
            <a:r>
              <a:rPr lang="en-US" err="1"/>
              <a:t>sint</a:t>
            </a:r>
            <a:r>
              <a:rPr lang="en-US"/>
              <a:t> </a:t>
            </a:r>
            <a:r>
              <a:rPr lang="en-US" err="1"/>
              <a:t>occae</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endParaRPr lang="en-US"/>
          </a:p>
        </p:txBody>
      </p:sp>
      <p:sp>
        <p:nvSpPr>
          <p:cNvPr id="3" name="Text Placeholder 24">
            <a:extLst>
              <a:ext uri="{FF2B5EF4-FFF2-40B4-BE49-F238E27FC236}">
                <a16:creationId xmlns:a16="http://schemas.microsoft.com/office/drawing/2014/main" id="{7C213266-236D-8FDB-6BC7-EA330441FC90}"/>
              </a:ext>
            </a:extLst>
          </p:cNvPr>
          <p:cNvSpPr>
            <a:spLocks noGrp="1"/>
          </p:cNvSpPr>
          <p:nvPr>
            <p:ph type="body" sz="quarter" idx="28" hasCustomPrompt="1"/>
          </p:nvPr>
        </p:nvSpPr>
        <p:spPr>
          <a:xfrm>
            <a:off x="4447963" y="2236346"/>
            <a:ext cx="1721666" cy="322761"/>
          </a:xfrm>
          <a:prstGeom prst="rect">
            <a:avLst/>
          </a:prstGeom>
        </p:spPr>
        <p:txBody>
          <a:bodyPr>
            <a:normAutofit/>
          </a:bodyPr>
          <a:lstStyle>
            <a:lvl1pPr marL="0" indent="0">
              <a:buNone/>
              <a:defRPr sz="1200" b="1" i="0">
                <a:solidFill>
                  <a:srgbClr val="FFFFFF"/>
                </a:solidFill>
                <a:latin typeface="Segoe Sans Small Semibold" pitchFamily="2" charset="0"/>
                <a:cs typeface="Segoe Sans Small Semibold" pitchFamily="2" charset="0"/>
              </a:defRPr>
            </a:lvl1pPr>
          </a:lstStyle>
          <a:p>
            <a:pPr lvl="0"/>
            <a:r>
              <a:rPr lang="en-US"/>
              <a:t>Page subtitle</a:t>
            </a:r>
          </a:p>
        </p:txBody>
      </p:sp>
      <p:sp>
        <p:nvSpPr>
          <p:cNvPr id="4" name="Text Placeholder 24">
            <a:extLst>
              <a:ext uri="{FF2B5EF4-FFF2-40B4-BE49-F238E27FC236}">
                <a16:creationId xmlns:a16="http://schemas.microsoft.com/office/drawing/2014/main" id="{7937AAC8-3F22-E515-FF02-2A4754831905}"/>
              </a:ext>
            </a:extLst>
          </p:cNvPr>
          <p:cNvSpPr>
            <a:spLocks noGrp="1"/>
          </p:cNvSpPr>
          <p:nvPr>
            <p:ph type="body" sz="quarter" idx="23" hasCustomPrompt="1"/>
          </p:nvPr>
        </p:nvSpPr>
        <p:spPr>
          <a:xfrm>
            <a:off x="635035" y="647231"/>
            <a:ext cx="3236878" cy="593740"/>
          </a:xfrm>
          <a:prstGeom prst="rect">
            <a:avLst/>
          </a:prstGeom>
        </p:spPr>
        <p:txBody>
          <a:bodyPr>
            <a:normAutofit/>
          </a:bodyPr>
          <a:lstStyle>
            <a:lvl1pPr marL="0" indent="0">
              <a:buNone/>
              <a:defRPr sz="3600" b="0" i="0">
                <a:solidFill>
                  <a:srgbClr val="FFFFFF"/>
                </a:solidFill>
                <a:latin typeface="Segoe Sans Display" pitchFamily="2" charset="0"/>
                <a:cs typeface="Segoe Sans Display" pitchFamily="2" charset="0"/>
              </a:defRPr>
            </a:lvl1pPr>
          </a:lstStyle>
          <a:p>
            <a:pPr lvl="0"/>
            <a:r>
              <a:rPr lang="en-US"/>
              <a:t>Page title</a:t>
            </a:r>
          </a:p>
        </p:txBody>
      </p:sp>
    </p:spTree>
    <p:extLst>
      <p:ext uri="{BB962C8B-B14F-4D97-AF65-F5344CB8AC3E}">
        <p14:creationId xmlns:p14="http://schemas.microsoft.com/office/powerpoint/2010/main" val="12522048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flip="none" rotWithShape="1">
          <a:gsLst>
            <a:gs pos="0">
              <a:srgbClr val="49C5B1"/>
            </a:gs>
            <a:gs pos="73000">
              <a:srgbClr val="225B62"/>
            </a:gs>
          </a:gsLst>
          <a:lin ang="5400000" scaled="1"/>
          <a:tileRect/>
        </a:gra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1058D45-8450-4565-AB15-454122DC117D}"/>
              </a:ext>
            </a:extLst>
          </p:cNvPr>
          <p:cNvSpPr>
            <a:spLocks noGrp="1"/>
          </p:cNvSpPr>
          <p:nvPr>
            <p:ph type="body" sz="quarter" idx="12" hasCustomPrompt="1"/>
          </p:nvPr>
        </p:nvSpPr>
        <p:spPr>
          <a:xfrm>
            <a:off x="607809" y="2333625"/>
            <a:ext cx="4656137" cy="686301"/>
          </a:xfrm>
          <a:prstGeom prst="rect">
            <a:avLst/>
          </a:prstGeom>
        </p:spPr>
        <p:txBody>
          <a:bodyPr/>
          <a:lstStyle>
            <a:lvl1pPr marL="0" indent="0">
              <a:buNone/>
              <a:defRPr sz="3200" b="0" i="0">
                <a:solidFill>
                  <a:srgbClr val="FFFFFF"/>
                </a:solidFill>
                <a:latin typeface="Segoe Sans Display" pitchFamily="2" charset="0"/>
                <a:cs typeface="Segoe Sans Display" pitchFamily="2" charset="0"/>
              </a:defRPr>
            </a:lvl1pPr>
          </a:lstStyle>
          <a:p>
            <a:pPr lvl="0"/>
            <a:r>
              <a:rPr lang="en-US"/>
              <a:t>Title</a:t>
            </a:r>
          </a:p>
        </p:txBody>
      </p:sp>
      <p:sp>
        <p:nvSpPr>
          <p:cNvPr id="7" name="Content Placeholder 96">
            <a:extLst>
              <a:ext uri="{FF2B5EF4-FFF2-40B4-BE49-F238E27FC236}">
                <a16:creationId xmlns:a16="http://schemas.microsoft.com/office/drawing/2014/main" id="{49EE3493-6646-9879-57FA-A6EF319E3C2D}"/>
              </a:ext>
            </a:extLst>
          </p:cNvPr>
          <p:cNvSpPr>
            <a:spLocks noGrp="1"/>
          </p:cNvSpPr>
          <p:nvPr>
            <p:ph sz="quarter" idx="13" hasCustomPrompt="1"/>
          </p:nvPr>
        </p:nvSpPr>
        <p:spPr>
          <a:xfrm>
            <a:off x="607809" y="3705726"/>
            <a:ext cx="4656137" cy="2261937"/>
          </a:xfrm>
          <a:prstGeom prst="rect">
            <a:avLst/>
          </a:prstGeom>
        </p:spPr>
        <p:txBody>
          <a:bodyPr>
            <a:noAutofit/>
          </a:bodyPr>
          <a:lstStyle>
            <a:lvl1pPr marL="0" indent="0">
              <a:buNone/>
              <a:defRPr sz="1400" b="0" i="0">
                <a:solidFill>
                  <a:srgbClr val="FFFFFF"/>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e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dolar</a:t>
            </a:r>
            <a:r>
              <a:rPr lang="en-US"/>
              <a:t>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rur</a:t>
            </a:r>
            <a:r>
              <a:rPr lang="en-US"/>
              <a:t> </a:t>
            </a:r>
            <a:r>
              <a:rPr lang="en-US" err="1"/>
              <a:t>sint</a:t>
            </a:r>
            <a:r>
              <a:rPr lang="en-US"/>
              <a:t> </a:t>
            </a:r>
            <a:r>
              <a:rPr lang="en-US" err="1"/>
              <a:t>occae</a:t>
            </a:r>
            <a:r>
              <a:rPr lang="en-US"/>
              <a:t>.</a:t>
            </a:r>
          </a:p>
        </p:txBody>
      </p:sp>
      <p:sp>
        <p:nvSpPr>
          <p:cNvPr id="2" name="Footer Placeholder 1">
            <a:extLst>
              <a:ext uri="{FF2B5EF4-FFF2-40B4-BE49-F238E27FC236}">
                <a16:creationId xmlns:a16="http://schemas.microsoft.com/office/drawing/2014/main" id="{18D5CAD9-39D0-25E0-F33A-1695316FC25B}"/>
              </a:ext>
            </a:extLst>
          </p:cNvPr>
          <p:cNvSpPr>
            <a:spLocks noGrp="1"/>
          </p:cNvSpPr>
          <p:nvPr>
            <p:ph type="ftr" sz="quarter" idx="14"/>
          </p:nvPr>
        </p:nvSpPr>
        <p:spPr/>
        <p:txBody>
          <a:bodyPr/>
          <a:lstStyle/>
          <a:p>
            <a:r>
              <a:rPr lang="en-US"/>
              <a:t>Microsoft Fabric</a:t>
            </a:r>
          </a:p>
        </p:txBody>
      </p:sp>
      <p:sp>
        <p:nvSpPr>
          <p:cNvPr id="5" name="Slide Number Placeholder 4">
            <a:extLst>
              <a:ext uri="{FF2B5EF4-FFF2-40B4-BE49-F238E27FC236}">
                <a16:creationId xmlns:a16="http://schemas.microsoft.com/office/drawing/2014/main" id="{2AF58B94-422B-D4B4-6A03-1C3476377AC3}"/>
              </a:ext>
            </a:extLst>
          </p:cNvPr>
          <p:cNvSpPr>
            <a:spLocks noGrp="1"/>
          </p:cNvSpPr>
          <p:nvPr>
            <p:ph type="sldNum" sz="quarter" idx="1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33209419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creenshot">
    <p:bg>
      <p:bgPr>
        <a:gradFill flip="none" rotWithShape="1">
          <a:gsLst>
            <a:gs pos="0">
              <a:srgbClr val="FAF1EA"/>
            </a:gs>
            <a:gs pos="80000">
              <a:srgbClr val="FDF9F2"/>
            </a:gs>
          </a:gsLst>
          <a:lin ang="13500000" scaled="1"/>
          <a:tileRect/>
        </a:gradFill>
        <a:effectLst/>
      </p:bgPr>
    </p:bg>
    <p:spTree>
      <p:nvGrpSpPr>
        <p:cNvPr id="1" name=""/>
        <p:cNvGrpSpPr/>
        <p:nvPr/>
      </p:nvGrpSpPr>
      <p:grpSpPr>
        <a:xfrm>
          <a:off x="0" y="0"/>
          <a:ext cx="0" cy="0"/>
          <a:chOff x="0" y="0"/>
          <a:chExt cx="0" cy="0"/>
        </a:xfrm>
      </p:grpSpPr>
      <p:pic>
        <p:nvPicPr>
          <p:cNvPr id="10" name="Picture 9" descr="A black screen with a black background&#10;&#10;Description automatically generated">
            <a:extLst>
              <a:ext uri="{FF2B5EF4-FFF2-40B4-BE49-F238E27FC236}">
                <a16:creationId xmlns:a16="http://schemas.microsoft.com/office/drawing/2014/main" id="{1B734122-BEE1-29E0-F586-EFFB1DCFD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2651" y="1222097"/>
            <a:ext cx="7772400" cy="5272365"/>
          </a:xfrm>
          <a:prstGeom prst="rect">
            <a:avLst/>
          </a:prstGeom>
        </p:spPr>
      </p:pic>
      <p:sp>
        <p:nvSpPr>
          <p:cNvPr id="7" name="Text Placeholder 5">
            <a:extLst>
              <a:ext uri="{FF2B5EF4-FFF2-40B4-BE49-F238E27FC236}">
                <a16:creationId xmlns:a16="http://schemas.microsoft.com/office/drawing/2014/main" id="{246C884B-A516-8321-84E7-6BD5B14004E7}"/>
              </a:ext>
            </a:extLst>
          </p:cNvPr>
          <p:cNvSpPr>
            <a:spLocks noGrp="1"/>
          </p:cNvSpPr>
          <p:nvPr>
            <p:ph type="body" sz="quarter" idx="10"/>
          </p:nvPr>
        </p:nvSpPr>
        <p:spPr>
          <a:xfrm>
            <a:off x="584200" y="1307306"/>
            <a:ext cx="4103303" cy="4613434"/>
          </a:xfrm>
        </p:spPr>
        <p:txBody>
          <a:bodyPr/>
          <a:lstStyle>
            <a:lvl1pPr>
              <a:defRPr sz="1600" b="0" i="0">
                <a:solidFill>
                  <a:schemeClr val="bg1"/>
                </a:solidFill>
                <a:latin typeface="Segoe Sans Text" pitchFamily="2" charset="0"/>
                <a:cs typeface="Segoe Sans Text" pitchFamily="2" charset="0"/>
              </a:defRPr>
            </a:lvl1pPr>
            <a:lvl2pPr>
              <a:defRPr sz="1600" b="0" i="0">
                <a:solidFill>
                  <a:schemeClr val="bg1"/>
                </a:solidFill>
                <a:latin typeface="Segoe Sans Text" pitchFamily="2" charset="0"/>
                <a:cs typeface="Segoe Sans Text" pitchFamily="2" charset="0"/>
              </a:defRPr>
            </a:lvl2pPr>
            <a:lvl3pPr>
              <a:defRPr sz="1600" b="0" i="0">
                <a:solidFill>
                  <a:schemeClr val="bg1"/>
                </a:solidFill>
                <a:latin typeface="Segoe Sans Text" pitchFamily="2" charset="0"/>
                <a:cs typeface="Segoe Sans Text" pitchFamily="2" charset="0"/>
              </a:defRPr>
            </a:lvl3pPr>
            <a:lvl4pPr>
              <a:defRPr sz="1600" b="0" i="0">
                <a:solidFill>
                  <a:schemeClr val="bg1"/>
                </a:solidFill>
                <a:latin typeface="Segoe Sans Text" pitchFamily="2" charset="0"/>
                <a:cs typeface="Segoe Sans Text" pitchFamily="2" charset="0"/>
              </a:defRPr>
            </a:lvl4pPr>
            <a:lvl5pPr>
              <a:defRPr sz="1600" b="0" i="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ACB69100-F767-7203-4CD8-43A1C6210E44}"/>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9" name="Footer Placeholder 9">
            <a:extLst>
              <a:ext uri="{FF2B5EF4-FFF2-40B4-BE49-F238E27FC236}">
                <a16:creationId xmlns:a16="http://schemas.microsoft.com/office/drawing/2014/main" id="{0AD17E15-8914-A320-A69A-BA903D959B31}"/>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Fabric</a:t>
            </a:r>
          </a:p>
        </p:txBody>
      </p:sp>
      <p:sp>
        <p:nvSpPr>
          <p:cNvPr id="17" name="Picture Placeholder 16">
            <a:extLst>
              <a:ext uri="{FF2B5EF4-FFF2-40B4-BE49-F238E27FC236}">
                <a16:creationId xmlns:a16="http://schemas.microsoft.com/office/drawing/2014/main" id="{E5CFD0C7-08DE-79B6-78CB-093AAADB3390}"/>
              </a:ext>
            </a:extLst>
          </p:cNvPr>
          <p:cNvSpPr>
            <a:spLocks noGrp="1"/>
          </p:cNvSpPr>
          <p:nvPr>
            <p:ph type="pic" sz="quarter" idx="12"/>
          </p:nvPr>
        </p:nvSpPr>
        <p:spPr>
          <a:xfrm>
            <a:off x="5153725" y="1520825"/>
            <a:ext cx="7175500" cy="4032250"/>
          </a:xfrm>
          <a:prstGeom prst="rect">
            <a:avLst/>
          </a:prstGeom>
        </p:spPr>
        <p:txBody>
          <a:bodyPr/>
          <a:lstStyle>
            <a:lvl1pPr marL="0" indent="0">
              <a:buNone/>
              <a:defRPr sz="1200">
                <a:solidFill>
                  <a:schemeClr val="tx1"/>
                </a:solidFill>
              </a:defRPr>
            </a:lvl1pPr>
          </a:lstStyle>
          <a:p>
            <a:endParaRPr lang="en-US"/>
          </a:p>
        </p:txBody>
      </p:sp>
      <p:pic>
        <p:nvPicPr>
          <p:cNvPr id="19" name="Picture 18" descr="A close up of a circular object&#10;&#10;Description automatically generated">
            <a:extLst>
              <a:ext uri="{FF2B5EF4-FFF2-40B4-BE49-F238E27FC236}">
                <a16:creationId xmlns:a16="http://schemas.microsoft.com/office/drawing/2014/main" id="{6B603636-B67F-886F-F7B4-E397F61F54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41855" y="5222321"/>
            <a:ext cx="1456444" cy="1454704"/>
          </a:xfrm>
          <a:prstGeom prst="rect">
            <a:avLst/>
          </a:prstGeom>
        </p:spPr>
      </p:pic>
      <p:sp>
        <p:nvSpPr>
          <p:cNvPr id="2" name="Title 1">
            <a:extLst>
              <a:ext uri="{FF2B5EF4-FFF2-40B4-BE49-F238E27FC236}">
                <a16:creationId xmlns:a16="http://schemas.microsoft.com/office/drawing/2014/main" id="{BE7179FE-CDD6-88AA-57D5-4371AC3FE2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324506"/>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guide id="5" orient="horz" pos="90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rgbClr val="F5F1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588262" y="882690"/>
            <a:ext cx="6061920" cy="553998"/>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584200" y="2025650"/>
            <a:ext cx="4458856" cy="4243388"/>
          </a:xfrm>
        </p:spPr>
        <p:txBody>
          <a:bodyPr/>
          <a:lstStyle>
            <a:lvl1pPr>
              <a:defRPr sz="1600" b="0" i="0">
                <a:solidFill>
                  <a:schemeClr val="bg1"/>
                </a:solidFill>
                <a:latin typeface="Segoe Sans Text" pitchFamily="2" charset="0"/>
                <a:cs typeface="Segoe Sans Text" pitchFamily="2" charset="0"/>
              </a:defRPr>
            </a:lvl1pPr>
            <a:lvl2pPr>
              <a:defRPr sz="1600" b="0" i="0">
                <a:solidFill>
                  <a:schemeClr val="bg1"/>
                </a:solidFill>
                <a:latin typeface="Segoe Sans Text" pitchFamily="2" charset="0"/>
                <a:cs typeface="Segoe Sans Text" pitchFamily="2" charset="0"/>
              </a:defRPr>
            </a:lvl2pPr>
            <a:lvl3pPr>
              <a:defRPr sz="1600" b="0" i="0">
                <a:solidFill>
                  <a:schemeClr val="bg1"/>
                </a:solidFill>
                <a:latin typeface="Segoe Sans Text" pitchFamily="2" charset="0"/>
                <a:cs typeface="Segoe Sans Text" pitchFamily="2" charset="0"/>
              </a:defRPr>
            </a:lvl3pPr>
            <a:lvl4pPr>
              <a:defRPr sz="1600" b="0" i="0">
                <a:solidFill>
                  <a:schemeClr val="bg1"/>
                </a:solidFill>
                <a:latin typeface="Segoe Sans Text" pitchFamily="2" charset="0"/>
                <a:cs typeface="Segoe Sans Text" pitchFamily="2" charset="0"/>
              </a:defRPr>
            </a:lvl4pPr>
            <a:lvl5pPr>
              <a:defRPr sz="1600" b="0" i="0">
                <a:solidFill>
                  <a:schemeClr val="bg1"/>
                </a:solidFill>
                <a:latin typeface="Segoe Sans Text" pitchFamily="2" charset="0"/>
                <a:cs typeface="Segoe Sans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560D4059-8C07-7C46-13EE-577BE9B28E67}"/>
              </a:ext>
            </a:extLst>
          </p:cNvPr>
          <p:cNvSpPr>
            <a:spLocks noGrp="1"/>
          </p:cNvSpPr>
          <p:nvPr>
            <p:ph type="pic" sz="quarter" idx="11" hasCustomPrompt="1"/>
          </p:nvPr>
        </p:nvSpPr>
        <p:spPr>
          <a:xfrm>
            <a:off x="7785848" y="922057"/>
            <a:ext cx="2383621" cy="5166360"/>
          </a:xfrm>
          <a:prstGeom prst="roundRect">
            <a:avLst>
              <a:gd name="adj" fmla="val 3755"/>
            </a:avLst>
          </a:prstGeom>
          <a:blipFill>
            <a:blip r:embed="rId2" cstate="screen">
              <a:extLst>
                <a:ext uri="{28A0092B-C50C-407E-A947-70E740481C1C}">
                  <a14:useLocalDpi xmlns:a14="http://schemas.microsoft.com/office/drawing/2010/main"/>
                </a:ext>
              </a:extLst>
            </a:blip>
            <a:stretch>
              <a:fillRect/>
            </a:stretch>
          </a:blipFill>
          <a:ln w="254000">
            <a:gradFill>
              <a:gsLst>
                <a:gs pos="0">
                  <a:srgbClr val="FFFFFF"/>
                </a:gs>
                <a:gs pos="100000">
                  <a:srgbClr val="F2F2F2"/>
                </a:gs>
              </a:gsLst>
              <a:lin ang="2700000" scaled="0"/>
            </a:gradFill>
          </a:ln>
          <a:effectLst>
            <a:outerShdw blurRad="127000" dist="63500" dir="2700000" algn="ctr" rotWithShape="0">
              <a:srgbClr val="000000">
                <a:alpha val="25000"/>
              </a:srgbClr>
            </a:outerShdw>
          </a:effectLst>
        </p:spPr>
        <p:txBody>
          <a:bodyPr bIns="1005840" anchor="ctr" anchorCtr="0">
            <a:noAutofit/>
          </a:bodyPr>
          <a:lstStyle>
            <a:lvl1pPr marL="0" indent="0" algn="ctr">
              <a:buNone/>
              <a:defRPr sz="1200">
                <a:solidFill>
                  <a:srgbClr val="FFFFFF"/>
                </a:solidFill>
                <a:latin typeface="+mj-lt"/>
              </a:defRPr>
            </a:lvl1pPr>
          </a:lstStyle>
          <a:p>
            <a:r>
              <a:rPr lang="en-US"/>
              <a:t>Drag and drop your photo</a:t>
            </a:r>
            <a:br>
              <a:rPr lang="en-US"/>
            </a:br>
            <a:r>
              <a:rPr lang="en-US"/>
              <a:t>here or click or tap icon</a:t>
            </a:r>
            <a:br>
              <a:rPr lang="en-US"/>
            </a:br>
            <a:r>
              <a:rPr lang="en-US"/>
              <a:t>below to insert</a:t>
            </a:r>
          </a:p>
        </p:txBody>
      </p:sp>
      <p:sp>
        <p:nvSpPr>
          <p:cNvPr id="9" name="Slide Number Placeholder 5">
            <a:extLst>
              <a:ext uri="{FF2B5EF4-FFF2-40B4-BE49-F238E27FC236}">
                <a16:creationId xmlns:a16="http://schemas.microsoft.com/office/drawing/2014/main" id="{9A063765-15E7-85FF-60E7-FDCC15091FCB}"/>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E3E83E49-B5DC-D1B4-05CB-3AC528B38C4D}"/>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Fabric</a:t>
            </a:r>
          </a:p>
        </p:txBody>
      </p:sp>
      <p:pic>
        <p:nvPicPr>
          <p:cNvPr id="5" name="Picture 4" descr="A close up of a hexagon&#10;&#10;Description automatically generated">
            <a:extLst>
              <a:ext uri="{FF2B5EF4-FFF2-40B4-BE49-F238E27FC236}">
                <a16:creationId xmlns:a16="http://schemas.microsoft.com/office/drawing/2014/main" id="{EB88C326-2E42-D73D-98EA-98D1AB36DE1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08304" y="4305938"/>
            <a:ext cx="2584636" cy="2371087"/>
          </a:xfrm>
          <a:prstGeom prst="rect">
            <a:avLst/>
          </a:prstGeom>
        </p:spPr>
      </p:pic>
    </p:spTree>
    <p:extLst>
      <p:ext uri="{BB962C8B-B14F-4D97-AF65-F5344CB8AC3E}">
        <p14:creationId xmlns:p14="http://schemas.microsoft.com/office/powerpoint/2010/main" val="3921040179"/>
      </p:ext>
    </p:extLst>
  </p:cSld>
  <p:clrMapOvr>
    <a:masterClrMapping/>
  </p:clrMapOvr>
  <p:extLst>
    <p:ext uri="{DCECCB84-F9BA-43D5-87BE-67443E8EF086}">
      <p15:sldGuideLst xmlns:p15="http://schemas.microsoft.com/office/powerpoint/2012/main">
        <p15:guide id="2" pos="3840">
          <p15:clr>
            <a:srgbClr val="FBAE40"/>
          </p15:clr>
        </p15:guide>
        <p15:guide id="3" pos="3474">
          <p15:clr>
            <a:srgbClr val="FBAE40"/>
          </p15:clr>
        </p15:guide>
        <p15:guide id="4" orient="horz" pos="1276">
          <p15:clr>
            <a:srgbClr val="FBAE40"/>
          </p15:clr>
        </p15:guide>
        <p15:guide id="5" orient="horz" pos="90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slide_logo v1">
    <p:bg>
      <p:bgPr>
        <a:solidFill>
          <a:srgbClr val="FFFFFF"/>
        </a:solidFill>
        <a:effectLst/>
      </p:bgPr>
    </p:bg>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B01B2829-96EF-EDD4-F5DC-8F6DFAFBCAD3}"/>
              </a:ext>
            </a:extLst>
          </p:cNvPr>
          <p:cNvSpPr>
            <a:spLocks noGrp="1"/>
          </p:cNvSpPr>
          <p:nvPr>
            <p:ph type="title" hasCustomPrompt="1"/>
          </p:nvPr>
        </p:nvSpPr>
        <p:spPr>
          <a:xfrm>
            <a:off x="607810" y="3423718"/>
            <a:ext cx="3252990" cy="527045"/>
          </a:xfrm>
        </p:spPr>
        <p:txBody>
          <a:bodyPr>
            <a:noAutofit/>
          </a:bodyPr>
          <a:lstStyle>
            <a:lvl1pPr algn="l">
              <a:defRPr sz="3600" b="0" i="0">
                <a:gradFill flip="none" rotWithShape="1">
                  <a:gsLst>
                    <a:gs pos="0">
                      <a:srgbClr val="49C5B1"/>
                    </a:gs>
                    <a:gs pos="82000">
                      <a:srgbClr val="8551C5"/>
                    </a:gs>
                  </a:gsLst>
                  <a:lin ang="10800000" scaled="1"/>
                  <a:tileRect/>
                </a:gradFill>
                <a:latin typeface="Segoe Sans Display" pitchFamily="2" charset="0"/>
                <a:cs typeface="Segoe Sans Display" pitchFamily="2" charset="0"/>
              </a:defRPr>
            </a:lvl1pPr>
          </a:lstStyle>
          <a:p>
            <a:r>
              <a:rPr lang="en-US"/>
              <a:t>Thank you</a:t>
            </a:r>
          </a:p>
        </p:txBody>
      </p:sp>
      <p:pic>
        <p:nvPicPr>
          <p:cNvPr id="2" name="Picture 4">
            <a:extLst>
              <a:ext uri="{FF2B5EF4-FFF2-40B4-BE49-F238E27FC236}">
                <a16:creationId xmlns:a16="http://schemas.microsoft.com/office/drawing/2014/main" id="{9CDA471C-44FF-1A4B-B9F4-35DBB6FB41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spTree>
    <p:extLst>
      <p:ext uri="{BB962C8B-B14F-4D97-AF65-F5344CB8AC3E}">
        <p14:creationId xmlns:p14="http://schemas.microsoft.com/office/powerpoint/2010/main" val="41849246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hank you slide_logo v2">
    <p:bg>
      <p:bgPr>
        <a:solidFill>
          <a:srgbClr val="FFFFFF"/>
        </a:solidFill>
        <a:effectLst/>
      </p:bgPr>
    </p:bg>
    <p:spTree>
      <p:nvGrpSpPr>
        <p:cNvPr id="1" name=""/>
        <p:cNvGrpSpPr/>
        <p:nvPr/>
      </p:nvGrpSpPr>
      <p:grpSpPr>
        <a:xfrm>
          <a:off x="0" y="0"/>
          <a:ext cx="0" cy="0"/>
          <a:chOff x="0" y="0"/>
          <a:chExt cx="0" cy="0"/>
        </a:xfrm>
      </p:grpSpPr>
      <p:pic>
        <p:nvPicPr>
          <p:cNvPr id="26" name="Picture 25" descr="A colorful gradient on a black background&#10;&#10;Description automatically generated">
            <a:extLst>
              <a:ext uri="{FF2B5EF4-FFF2-40B4-BE49-F238E27FC236}">
                <a16:creationId xmlns:a16="http://schemas.microsoft.com/office/drawing/2014/main" id="{D6C2DFF6-28F5-B649-E46C-FF9F0D298CB8}"/>
              </a:ext>
            </a:extLst>
          </p:cNvPr>
          <p:cNvPicPr>
            <a:picLocks noChangeAspect="1"/>
          </p:cNvPicPr>
          <p:nvPr userDrawn="1"/>
        </p:nvPicPr>
        <p:blipFill>
          <a:blip r:embed="rId2"/>
          <a:stretch>
            <a:fillRect/>
          </a:stretch>
        </p:blipFill>
        <p:spPr>
          <a:xfrm>
            <a:off x="6232452" y="2394970"/>
            <a:ext cx="3505200" cy="3619500"/>
          </a:xfrm>
          <a:prstGeom prst="rect">
            <a:avLst/>
          </a:prstGeom>
        </p:spPr>
      </p:pic>
      <p:sp>
        <p:nvSpPr>
          <p:cNvPr id="17" name="Rectangle 16">
            <a:extLst>
              <a:ext uri="{FF2B5EF4-FFF2-40B4-BE49-F238E27FC236}">
                <a16:creationId xmlns:a16="http://schemas.microsoft.com/office/drawing/2014/main" id="{67A38457-5CA0-B034-C984-0BEA0E67A34C}"/>
              </a:ext>
            </a:extLst>
          </p:cNvPr>
          <p:cNvSpPr/>
          <p:nvPr userDrawn="1"/>
        </p:nvSpPr>
        <p:spPr>
          <a:xfrm>
            <a:off x="5316279" y="0"/>
            <a:ext cx="6875721" cy="6858000"/>
          </a:xfrm>
          <a:prstGeom prst="rect">
            <a:avLst/>
          </a:prstGeom>
          <a:gradFill>
            <a:gsLst>
              <a:gs pos="28000">
                <a:schemeClr val="bg1">
                  <a:alpha val="0"/>
                </a:schemeClr>
              </a:gs>
              <a:gs pos="72000">
                <a:srgbClr val="B9DCD2"/>
              </a:gs>
            </a:gsLst>
            <a:lin ang="189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6">
            <a:extLst>
              <a:ext uri="{FF2B5EF4-FFF2-40B4-BE49-F238E27FC236}">
                <a16:creationId xmlns:a16="http://schemas.microsoft.com/office/drawing/2014/main" id="{14E65585-B070-1706-B64C-AAF8F24C2351}"/>
              </a:ext>
            </a:extLst>
          </p:cNvPr>
          <p:cNvSpPr>
            <a:spLocks noGrp="1"/>
          </p:cNvSpPr>
          <p:nvPr>
            <p:ph type="title" hasCustomPrompt="1"/>
          </p:nvPr>
        </p:nvSpPr>
        <p:spPr>
          <a:xfrm>
            <a:off x="607810" y="3423718"/>
            <a:ext cx="3252990" cy="527045"/>
          </a:xfrm>
        </p:spPr>
        <p:txBody>
          <a:bodyPr>
            <a:noAutofit/>
          </a:bodyPr>
          <a:lstStyle>
            <a:lvl1pPr algn="l">
              <a:defRPr sz="3600" b="0" i="0">
                <a:gradFill flip="none" rotWithShape="1">
                  <a:gsLst>
                    <a:gs pos="0">
                      <a:srgbClr val="49C5B1"/>
                    </a:gs>
                    <a:gs pos="82000">
                      <a:srgbClr val="8551C5"/>
                    </a:gs>
                  </a:gsLst>
                  <a:lin ang="10800000" scaled="1"/>
                  <a:tileRect/>
                </a:gradFill>
                <a:latin typeface="Segoe Sans Display" pitchFamily="2" charset="0"/>
                <a:cs typeface="Segoe Sans Display" pitchFamily="2" charset="0"/>
              </a:defRPr>
            </a:lvl1pPr>
          </a:lstStyle>
          <a:p>
            <a:r>
              <a:rPr lang="en-US"/>
              <a:t>Thank you</a:t>
            </a:r>
          </a:p>
        </p:txBody>
      </p:sp>
      <p:sp>
        <p:nvSpPr>
          <p:cNvPr id="21" name="Picture Placeholder 20">
            <a:extLst>
              <a:ext uri="{FF2B5EF4-FFF2-40B4-BE49-F238E27FC236}">
                <a16:creationId xmlns:a16="http://schemas.microsoft.com/office/drawing/2014/main" id="{11134832-8ACB-10D9-AE0D-177AD4889C6C}"/>
              </a:ext>
            </a:extLst>
          </p:cNvPr>
          <p:cNvSpPr>
            <a:spLocks noGrp="1"/>
          </p:cNvSpPr>
          <p:nvPr>
            <p:ph type="pic" sz="quarter" idx="10"/>
          </p:nvPr>
        </p:nvSpPr>
        <p:spPr>
          <a:xfrm>
            <a:off x="7283450" y="6426"/>
            <a:ext cx="4908550" cy="4706938"/>
          </a:xfrm>
          <a:prstGeom prst="rect">
            <a:avLst/>
          </a:prstGeom>
        </p:spPr>
        <p:txBody>
          <a:bodyPr/>
          <a:lstStyle>
            <a:lvl1pPr>
              <a:defRPr>
                <a:solidFill>
                  <a:schemeClr val="tx1"/>
                </a:solidFill>
              </a:defRPr>
            </a:lvl1pPr>
          </a:lstStyle>
          <a:p>
            <a:r>
              <a:rPr lang="en-US"/>
              <a:t>Click icon to add picture</a:t>
            </a:r>
          </a:p>
        </p:txBody>
      </p:sp>
      <p:cxnSp>
        <p:nvCxnSpPr>
          <p:cNvPr id="2" name="Straight Connector 1">
            <a:extLst>
              <a:ext uri="{FF2B5EF4-FFF2-40B4-BE49-F238E27FC236}">
                <a16:creationId xmlns:a16="http://schemas.microsoft.com/office/drawing/2014/main" id="{9F6E5A67-4D1A-60CB-A10E-401571A9C5C1}"/>
              </a:ext>
            </a:extLst>
          </p:cNvPr>
          <p:cNvCxnSpPr/>
          <p:nvPr userDrawn="1"/>
        </p:nvCxnSpPr>
        <p:spPr>
          <a:xfrm>
            <a:off x="2354717" y="365352"/>
            <a:ext cx="0" cy="452582"/>
          </a:xfrm>
          <a:prstGeom prst="line">
            <a:avLst/>
          </a:prstGeom>
          <a:ln w="12700">
            <a:solidFill>
              <a:srgbClr val="66666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D75B57B-900E-BEA6-33D1-8C75A6D37E08}"/>
              </a:ext>
            </a:extLst>
          </p:cNvPr>
          <p:cNvSpPr txBox="1"/>
          <p:nvPr userDrawn="1"/>
        </p:nvSpPr>
        <p:spPr>
          <a:xfrm>
            <a:off x="2500629" y="456464"/>
            <a:ext cx="1471941" cy="307777"/>
          </a:xfrm>
          <a:prstGeom prst="rect">
            <a:avLst/>
          </a:prstGeom>
          <a:noFill/>
        </p:spPr>
        <p:txBody>
          <a:bodyPr wrap="none" rtlCol="0">
            <a:spAutoFit/>
          </a:bodyPr>
          <a:lstStyle/>
          <a:p>
            <a:r>
              <a:rPr lang="en-US" sz="1400" b="0" i="0">
                <a:solidFill>
                  <a:srgbClr val="666666"/>
                </a:solidFill>
                <a:latin typeface="Segoe Sans Display" pitchFamily="2" charset="0"/>
                <a:cs typeface="Segoe Sans Display" pitchFamily="2" charset="0"/>
              </a:rPr>
              <a:t>Microsoft Fabric</a:t>
            </a:r>
          </a:p>
        </p:txBody>
      </p:sp>
      <p:pic>
        <p:nvPicPr>
          <p:cNvPr id="8" name="Picture 4">
            <a:extLst>
              <a:ext uri="{FF2B5EF4-FFF2-40B4-BE49-F238E27FC236}">
                <a16:creationId xmlns:a16="http://schemas.microsoft.com/office/drawing/2014/main" id="{52C4C54F-1B86-4636-4014-A85675E342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3390"/>
          <a:stretch/>
        </p:blipFill>
        <p:spPr>
          <a:xfrm>
            <a:off x="594808" y="293628"/>
            <a:ext cx="1566909" cy="544002"/>
          </a:xfrm>
          <a:prstGeom prst="rect">
            <a:avLst/>
          </a:prstGeom>
        </p:spPr>
      </p:pic>
    </p:spTree>
    <p:extLst>
      <p:ext uri="{BB962C8B-B14F-4D97-AF65-F5344CB8AC3E}">
        <p14:creationId xmlns:p14="http://schemas.microsoft.com/office/powerpoint/2010/main" val="21744809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Appendix Slide">
    <p:bg>
      <p:bgPr>
        <a:gradFill>
          <a:gsLst>
            <a:gs pos="0">
              <a:srgbClr val="49C5B1"/>
            </a:gs>
            <a:gs pos="100000">
              <a:srgbClr val="0078D4"/>
            </a:gs>
          </a:gsLst>
          <a:lin ang="5400000" scaled="1"/>
        </a:gradFill>
        <a:effectLst/>
      </p:bgPr>
    </p:bg>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DCBF74EE-C73A-35DF-577D-87FEEBCB50F8}"/>
              </a:ext>
            </a:extLst>
          </p:cNvPr>
          <p:cNvSpPr>
            <a:spLocks noGrp="1"/>
          </p:cNvSpPr>
          <p:nvPr>
            <p:ph type="title" hasCustomPrompt="1"/>
          </p:nvPr>
        </p:nvSpPr>
        <p:spPr>
          <a:xfrm>
            <a:off x="607810" y="5824018"/>
            <a:ext cx="3532390" cy="527045"/>
          </a:xfrm>
        </p:spPr>
        <p:txBody>
          <a:bodyPr>
            <a:noAutofit/>
          </a:bodyPr>
          <a:lstStyle>
            <a:lvl1pPr algn="l">
              <a:defRPr sz="3600" b="1" i="0">
                <a:solidFill>
                  <a:srgbClr val="FFFFFF"/>
                </a:solidFill>
                <a:latin typeface="Segoe UI Semibold" panose="020B0502040204020203" pitchFamily="34" charset="0"/>
                <a:cs typeface="Segoe UI Semibold" panose="020B0502040204020203" pitchFamily="34" charset="0"/>
              </a:defRPr>
            </a:lvl1pPr>
          </a:lstStyle>
          <a:p>
            <a:r>
              <a:rPr lang="en-US"/>
              <a:t>Appendix</a:t>
            </a:r>
          </a:p>
        </p:txBody>
      </p:sp>
    </p:spTree>
    <p:extLst>
      <p:ext uri="{BB962C8B-B14F-4D97-AF65-F5344CB8AC3E}">
        <p14:creationId xmlns:p14="http://schemas.microsoft.com/office/powerpoint/2010/main" val="7079352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4_Large Number Divider 1">
    <p:bg>
      <p:bgPr>
        <a:solidFill>
          <a:srgbClr val="FFFFFF"/>
        </a:solidFill>
        <a:effectLst/>
      </p:bgPr>
    </p:bg>
    <p:spTree>
      <p:nvGrpSpPr>
        <p:cNvPr id="1" name=""/>
        <p:cNvGrpSpPr/>
        <p:nvPr/>
      </p:nvGrpSpPr>
      <p:grpSpPr>
        <a:xfrm>
          <a:off x="0" y="0"/>
          <a:ext cx="0" cy="0"/>
          <a:chOff x="0" y="0"/>
          <a:chExt cx="0" cy="0"/>
        </a:xfrm>
      </p:grpSpPr>
      <p:pic>
        <p:nvPicPr>
          <p:cNvPr id="2" name="Picture 1" descr="A purple circle in the dark&#10;&#10;Description automatically generated">
            <a:extLst>
              <a:ext uri="{FF2B5EF4-FFF2-40B4-BE49-F238E27FC236}">
                <a16:creationId xmlns:a16="http://schemas.microsoft.com/office/drawing/2014/main" id="{3CBEDED0-2F8D-60CB-73EC-D8A926F1B190}"/>
              </a:ext>
            </a:extLst>
          </p:cNvPr>
          <p:cNvPicPr>
            <a:picLocks noChangeAspect="1"/>
          </p:cNvPicPr>
          <p:nvPr userDrawn="1"/>
        </p:nvPicPr>
        <p:blipFill rotWithShape="1">
          <a:blip r:embed="rId2" cstate="screen">
            <a:alphaModFix amt="62000"/>
            <a:extLst>
              <a:ext uri="{28A0092B-C50C-407E-A947-70E740481C1C}">
                <a14:useLocalDpi xmlns:a14="http://schemas.microsoft.com/office/drawing/2010/main"/>
              </a:ext>
            </a:extLst>
          </a:blip>
          <a:srcRect t="51535" b="4494"/>
          <a:stretch/>
        </p:blipFill>
        <p:spPr>
          <a:xfrm>
            <a:off x="-539045" y="807238"/>
            <a:ext cx="7730955" cy="6050762"/>
          </a:xfrm>
          <a:prstGeom prst="rect">
            <a:avLst/>
          </a:prstGeom>
        </p:spPr>
      </p:pic>
      <p:sp>
        <p:nvSpPr>
          <p:cNvPr id="3" name="Slide Number Placeholder 5">
            <a:extLst>
              <a:ext uri="{FF2B5EF4-FFF2-40B4-BE49-F238E27FC236}">
                <a16:creationId xmlns:a16="http://schemas.microsoft.com/office/drawing/2014/main" id="{D451A2C5-1E75-8EE3-22E6-59C938C37DB8}"/>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4" name="Footer Placeholder 9">
            <a:extLst>
              <a:ext uri="{FF2B5EF4-FFF2-40B4-BE49-F238E27FC236}">
                <a16:creationId xmlns:a16="http://schemas.microsoft.com/office/drawing/2014/main" id="{7C14C3DD-159F-0E37-FA23-5C89134B7DDF}"/>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Fabric</a:t>
            </a:r>
          </a:p>
        </p:txBody>
      </p:sp>
    </p:spTree>
    <p:extLst>
      <p:ext uri="{BB962C8B-B14F-4D97-AF65-F5344CB8AC3E}">
        <p14:creationId xmlns:p14="http://schemas.microsoft.com/office/powerpoint/2010/main" val="1364514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9E7EB12-65FC-643E-0176-52947BFA932E}"/>
              </a:ext>
            </a:extLst>
          </p:cNvPr>
          <p:cNvSpPr>
            <a:spLocks noGrp="1"/>
          </p:cNvSpPr>
          <p:nvPr>
            <p:ph type="sldNum" sz="quarter" idx="10"/>
          </p:nvPr>
        </p:nvSpPr>
        <p:spPr/>
        <p:txBody>
          <a:bodyPr/>
          <a:lstStyle/>
          <a:p>
            <a:fld id="{B1356FBF-028C-F74E-A7B4-9B8ED246DD1B}" type="slidenum">
              <a:rPr lang="en-US" smtClean="0"/>
              <a:pPr/>
              <a:t>‹#›</a:t>
            </a:fld>
            <a:endParaRPr lang="en-US"/>
          </a:p>
        </p:txBody>
      </p:sp>
      <p:sp>
        <p:nvSpPr>
          <p:cNvPr id="4" name="Footer Placeholder 3">
            <a:extLst>
              <a:ext uri="{FF2B5EF4-FFF2-40B4-BE49-F238E27FC236}">
                <a16:creationId xmlns:a16="http://schemas.microsoft.com/office/drawing/2014/main" id="{21F17F31-F4C0-C97A-C10B-6C9854C006B5}"/>
              </a:ext>
            </a:extLst>
          </p:cNvPr>
          <p:cNvSpPr>
            <a:spLocks noGrp="1"/>
          </p:cNvSpPr>
          <p:nvPr>
            <p:ph type="ftr" sz="quarter" idx="11"/>
          </p:nvPr>
        </p:nvSpPr>
        <p:spPr/>
        <p:txBody>
          <a:bodyPr/>
          <a:lstStyle/>
          <a:p>
            <a:r>
              <a:rPr lang="en-US"/>
              <a:t>Microsoft Fabric</a:t>
            </a:r>
          </a:p>
        </p:txBody>
      </p:sp>
    </p:spTree>
    <p:extLst>
      <p:ext uri="{BB962C8B-B14F-4D97-AF65-F5344CB8AC3E}">
        <p14:creationId xmlns:p14="http://schemas.microsoft.com/office/powerpoint/2010/main" val="13877243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 List Slid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3C849A-49C3-A874-DC36-4C268B37F7F0}"/>
              </a:ext>
            </a:extLst>
          </p:cNvPr>
          <p:cNvSpPr/>
          <p:nvPr userDrawn="1"/>
        </p:nvSpPr>
        <p:spPr>
          <a:xfrm>
            <a:off x="0" y="0"/>
            <a:ext cx="4648200" cy="6858000"/>
          </a:xfrm>
          <a:prstGeom prst="rect">
            <a:avLst/>
          </a:prstGeom>
          <a:gradFill>
            <a:gsLst>
              <a:gs pos="0">
                <a:srgbClr val="49C5B1"/>
              </a:gs>
              <a:gs pos="100000">
                <a:srgbClr val="0078D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Text Placeholder 24">
            <a:extLst>
              <a:ext uri="{FF2B5EF4-FFF2-40B4-BE49-F238E27FC236}">
                <a16:creationId xmlns:a16="http://schemas.microsoft.com/office/drawing/2014/main" id="{61393929-3876-7075-DBB0-3529420A50A0}"/>
              </a:ext>
            </a:extLst>
          </p:cNvPr>
          <p:cNvSpPr>
            <a:spLocks noGrp="1"/>
          </p:cNvSpPr>
          <p:nvPr>
            <p:ph type="body" sz="quarter" idx="24" hasCustomPrompt="1"/>
          </p:nvPr>
        </p:nvSpPr>
        <p:spPr>
          <a:xfrm>
            <a:off x="6639648" y="3427061"/>
            <a:ext cx="4218852" cy="685329"/>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17" name="Text Placeholder 24">
            <a:extLst>
              <a:ext uri="{FF2B5EF4-FFF2-40B4-BE49-F238E27FC236}">
                <a16:creationId xmlns:a16="http://schemas.microsoft.com/office/drawing/2014/main" id="{C0401A82-7B82-4288-EBCA-1F0D7C80F5CE}"/>
              </a:ext>
            </a:extLst>
          </p:cNvPr>
          <p:cNvSpPr>
            <a:spLocks noGrp="1"/>
          </p:cNvSpPr>
          <p:nvPr>
            <p:ph type="body" sz="quarter" idx="27" hasCustomPrompt="1"/>
          </p:nvPr>
        </p:nvSpPr>
        <p:spPr>
          <a:xfrm>
            <a:off x="6639648" y="4237514"/>
            <a:ext cx="4218852" cy="254563"/>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2" name="Oval 1">
            <a:extLst>
              <a:ext uri="{FF2B5EF4-FFF2-40B4-BE49-F238E27FC236}">
                <a16:creationId xmlns:a16="http://schemas.microsoft.com/office/drawing/2014/main" id="{D991BD81-BC2D-10FF-E174-E99151F13F0D}"/>
              </a:ext>
            </a:extLst>
          </p:cNvPr>
          <p:cNvSpPr/>
          <p:nvPr userDrawn="1"/>
        </p:nvSpPr>
        <p:spPr>
          <a:xfrm>
            <a:off x="5471348" y="3393377"/>
            <a:ext cx="816470" cy="816470"/>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24">
            <a:extLst>
              <a:ext uri="{FF2B5EF4-FFF2-40B4-BE49-F238E27FC236}">
                <a16:creationId xmlns:a16="http://schemas.microsoft.com/office/drawing/2014/main" id="{5BC16637-3DC2-093E-ED78-9E326F16B5BC}"/>
              </a:ext>
            </a:extLst>
          </p:cNvPr>
          <p:cNvSpPr>
            <a:spLocks noGrp="1"/>
          </p:cNvSpPr>
          <p:nvPr>
            <p:ph type="body" sz="quarter" idx="29" hasCustomPrompt="1"/>
          </p:nvPr>
        </p:nvSpPr>
        <p:spPr>
          <a:xfrm>
            <a:off x="6639648" y="4754414"/>
            <a:ext cx="4218852" cy="685329"/>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36" name="Text Placeholder 24">
            <a:extLst>
              <a:ext uri="{FF2B5EF4-FFF2-40B4-BE49-F238E27FC236}">
                <a16:creationId xmlns:a16="http://schemas.microsoft.com/office/drawing/2014/main" id="{E7512EE7-80FF-7215-72A9-E9A34189C407}"/>
              </a:ext>
            </a:extLst>
          </p:cNvPr>
          <p:cNvSpPr>
            <a:spLocks noGrp="1"/>
          </p:cNvSpPr>
          <p:nvPr>
            <p:ph type="body" sz="quarter" idx="30" hasCustomPrompt="1"/>
          </p:nvPr>
        </p:nvSpPr>
        <p:spPr>
          <a:xfrm>
            <a:off x="6639648" y="5537201"/>
            <a:ext cx="4218852" cy="282230"/>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38" name="Oval 37">
            <a:extLst>
              <a:ext uri="{FF2B5EF4-FFF2-40B4-BE49-F238E27FC236}">
                <a16:creationId xmlns:a16="http://schemas.microsoft.com/office/drawing/2014/main" id="{9BB1551E-5B3E-869A-6135-AE7A22CC015A}"/>
              </a:ext>
            </a:extLst>
          </p:cNvPr>
          <p:cNvSpPr/>
          <p:nvPr userDrawn="1"/>
        </p:nvSpPr>
        <p:spPr>
          <a:xfrm>
            <a:off x="5471348" y="4720730"/>
            <a:ext cx="816470" cy="816470"/>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 Placeholder 24">
            <a:extLst>
              <a:ext uri="{FF2B5EF4-FFF2-40B4-BE49-F238E27FC236}">
                <a16:creationId xmlns:a16="http://schemas.microsoft.com/office/drawing/2014/main" id="{CC58FE4C-0CF5-19B7-6C33-9C78DEEDDA7C}"/>
              </a:ext>
            </a:extLst>
          </p:cNvPr>
          <p:cNvSpPr>
            <a:spLocks noGrp="1"/>
          </p:cNvSpPr>
          <p:nvPr>
            <p:ph type="body" sz="quarter" idx="31" hasCustomPrompt="1"/>
          </p:nvPr>
        </p:nvSpPr>
        <p:spPr>
          <a:xfrm>
            <a:off x="6639648" y="735408"/>
            <a:ext cx="4218852" cy="685329"/>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1" name="Text Placeholder 24">
            <a:extLst>
              <a:ext uri="{FF2B5EF4-FFF2-40B4-BE49-F238E27FC236}">
                <a16:creationId xmlns:a16="http://schemas.microsoft.com/office/drawing/2014/main" id="{489D481E-CF83-F3BA-0DC5-78E3AA7F3821}"/>
              </a:ext>
            </a:extLst>
          </p:cNvPr>
          <p:cNvSpPr>
            <a:spLocks noGrp="1"/>
          </p:cNvSpPr>
          <p:nvPr>
            <p:ph type="body" sz="quarter" idx="32" hasCustomPrompt="1"/>
          </p:nvPr>
        </p:nvSpPr>
        <p:spPr>
          <a:xfrm>
            <a:off x="6639648" y="1545861"/>
            <a:ext cx="4218852" cy="280432"/>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63" name="Oval 62">
            <a:extLst>
              <a:ext uri="{FF2B5EF4-FFF2-40B4-BE49-F238E27FC236}">
                <a16:creationId xmlns:a16="http://schemas.microsoft.com/office/drawing/2014/main" id="{FF3478D9-FB39-1DA5-3C24-3D9811940F23}"/>
              </a:ext>
            </a:extLst>
          </p:cNvPr>
          <p:cNvSpPr/>
          <p:nvPr userDrawn="1"/>
        </p:nvSpPr>
        <p:spPr>
          <a:xfrm>
            <a:off x="5480251" y="738671"/>
            <a:ext cx="816470" cy="816470"/>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 Placeholder 24">
            <a:extLst>
              <a:ext uri="{FF2B5EF4-FFF2-40B4-BE49-F238E27FC236}">
                <a16:creationId xmlns:a16="http://schemas.microsoft.com/office/drawing/2014/main" id="{0F65F7C1-8345-4E14-FA55-602499AB13DB}"/>
              </a:ext>
            </a:extLst>
          </p:cNvPr>
          <p:cNvSpPr>
            <a:spLocks noGrp="1"/>
          </p:cNvSpPr>
          <p:nvPr>
            <p:ph type="body" sz="quarter" idx="33" hasCustomPrompt="1"/>
          </p:nvPr>
        </p:nvSpPr>
        <p:spPr>
          <a:xfrm>
            <a:off x="6639648" y="2094169"/>
            <a:ext cx="4218852" cy="685329"/>
          </a:xfrm>
          <a:prstGeom prst="rect">
            <a:avLst/>
          </a:prstGeom>
        </p:spPr>
        <p:txBody>
          <a:bodyPr>
            <a:noAutofit/>
          </a:bodyPr>
          <a:lstStyle>
            <a:lvl1pPr marL="0" indent="0">
              <a:lnSpc>
                <a:spcPct val="100000"/>
              </a:lnSpc>
              <a:buFontTx/>
              <a:buNone/>
              <a:defRPr sz="1400" b="0" i="0">
                <a:solidFill>
                  <a:schemeClr val="tx1"/>
                </a:solidFill>
                <a:latin typeface="Segoe Sans Text Semilight" pitchFamily="2" charset="0"/>
                <a:cs typeface="Segoe Sans Text Semilight" pitchFamily="2"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p>
        </p:txBody>
      </p:sp>
      <p:sp>
        <p:nvSpPr>
          <p:cNvPr id="66" name="Text Placeholder 24">
            <a:extLst>
              <a:ext uri="{FF2B5EF4-FFF2-40B4-BE49-F238E27FC236}">
                <a16:creationId xmlns:a16="http://schemas.microsoft.com/office/drawing/2014/main" id="{5721C4C8-F297-F5D8-6089-68C9CE1AA59A}"/>
              </a:ext>
            </a:extLst>
          </p:cNvPr>
          <p:cNvSpPr>
            <a:spLocks noGrp="1"/>
          </p:cNvSpPr>
          <p:nvPr>
            <p:ph type="body" sz="quarter" idx="34" hasCustomPrompt="1"/>
          </p:nvPr>
        </p:nvSpPr>
        <p:spPr>
          <a:xfrm>
            <a:off x="6639648" y="2904622"/>
            <a:ext cx="4218852" cy="254563"/>
          </a:xfrm>
          <a:prstGeom prst="rect">
            <a:avLst/>
          </a:prstGeom>
        </p:spPr>
        <p:txBody>
          <a:bodyPr>
            <a:noAutofit/>
          </a:bodyPr>
          <a:lstStyle>
            <a:lvl1pPr marL="0" indent="0">
              <a:buNone/>
              <a:defRPr sz="1000" b="1" i="0">
                <a:solidFill>
                  <a:schemeClr val="tx1"/>
                </a:solidFill>
                <a:latin typeface="Segoe Sans Small" pitchFamily="2" charset="0"/>
                <a:cs typeface="Segoe Sans Small" pitchFamily="2" charset="0"/>
              </a:defRPr>
            </a:lvl1pPr>
          </a:lstStyle>
          <a:p>
            <a:pPr lvl="0"/>
            <a:r>
              <a:rPr lang="en-US"/>
              <a:t>&gt;link to source</a:t>
            </a:r>
          </a:p>
        </p:txBody>
      </p:sp>
      <p:sp>
        <p:nvSpPr>
          <p:cNvPr id="68" name="Oval 67">
            <a:extLst>
              <a:ext uri="{FF2B5EF4-FFF2-40B4-BE49-F238E27FC236}">
                <a16:creationId xmlns:a16="http://schemas.microsoft.com/office/drawing/2014/main" id="{37FB65EC-6C01-B60C-3A3E-9488DDC82D69}"/>
              </a:ext>
            </a:extLst>
          </p:cNvPr>
          <p:cNvSpPr/>
          <p:nvPr userDrawn="1"/>
        </p:nvSpPr>
        <p:spPr>
          <a:xfrm>
            <a:off x="5480251" y="2066024"/>
            <a:ext cx="816470" cy="816470"/>
          </a:xfrm>
          <a:prstGeom prst="ellips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ooter Placeholder 25">
            <a:extLst>
              <a:ext uri="{FF2B5EF4-FFF2-40B4-BE49-F238E27FC236}">
                <a16:creationId xmlns:a16="http://schemas.microsoft.com/office/drawing/2014/main" id="{8155CD25-AE0B-5F1F-AA06-BCFBEF9FFEA3}"/>
              </a:ext>
            </a:extLst>
          </p:cNvPr>
          <p:cNvSpPr>
            <a:spLocks noGrp="1"/>
          </p:cNvSpPr>
          <p:nvPr>
            <p:ph type="ftr" sz="quarter" idx="25"/>
          </p:nvPr>
        </p:nvSpPr>
        <p:spPr>
          <a:xfrm>
            <a:off x="1007097" y="6311900"/>
            <a:ext cx="2078736" cy="365125"/>
          </a:xfrm>
        </p:spPr>
        <p:txBody>
          <a:bodyPr/>
          <a:lstStyle>
            <a:lvl1pPr>
              <a:defRPr>
                <a:solidFill>
                  <a:srgbClr val="FFFFFF"/>
                </a:solidFill>
              </a:defRPr>
            </a:lvl1pPr>
          </a:lstStyle>
          <a:p>
            <a:r>
              <a:rPr lang="en-US"/>
              <a:t>Microsoft Fabric</a:t>
            </a:r>
          </a:p>
        </p:txBody>
      </p:sp>
      <p:sp>
        <p:nvSpPr>
          <p:cNvPr id="72" name="Slide Number Placeholder 26">
            <a:extLst>
              <a:ext uri="{FF2B5EF4-FFF2-40B4-BE49-F238E27FC236}">
                <a16:creationId xmlns:a16="http://schemas.microsoft.com/office/drawing/2014/main" id="{CE37AFC0-3C55-9058-D569-D055B7BA3CF3}"/>
              </a:ext>
            </a:extLst>
          </p:cNvPr>
          <p:cNvSpPr>
            <a:spLocks noGrp="1"/>
          </p:cNvSpPr>
          <p:nvPr>
            <p:ph type="sldNum" sz="quarter" idx="26"/>
          </p:nvPr>
        </p:nvSpPr>
        <p:spPr>
          <a:xfrm>
            <a:off x="607809" y="6311900"/>
            <a:ext cx="399288" cy="365125"/>
          </a:xfrm>
        </p:spPr>
        <p:txBody>
          <a:bodyPr/>
          <a:lstStyle>
            <a:lvl1pPr>
              <a:defRPr>
                <a:solidFill>
                  <a:srgbClr val="FFFFFF"/>
                </a:solidFill>
              </a:defRPr>
            </a:lvl1pPr>
          </a:lstStyle>
          <a:p>
            <a:fld id="{B1356FBF-028C-F74E-A7B4-9B8ED246DD1B}" type="slidenum">
              <a:rPr lang="en-US" smtClean="0"/>
              <a:pPr/>
              <a:t>‹#›</a:t>
            </a:fld>
            <a:endParaRPr lang="en-US"/>
          </a:p>
        </p:txBody>
      </p:sp>
      <p:sp>
        <p:nvSpPr>
          <p:cNvPr id="5" name="Text Placeholder 24">
            <a:extLst>
              <a:ext uri="{FF2B5EF4-FFF2-40B4-BE49-F238E27FC236}">
                <a16:creationId xmlns:a16="http://schemas.microsoft.com/office/drawing/2014/main" id="{BAE9C7F4-0CD6-2B48-A6E4-242D4489F9BD}"/>
              </a:ext>
            </a:extLst>
          </p:cNvPr>
          <p:cNvSpPr>
            <a:spLocks noGrp="1"/>
          </p:cNvSpPr>
          <p:nvPr>
            <p:ph type="body" sz="quarter" idx="23" hasCustomPrompt="1"/>
          </p:nvPr>
        </p:nvSpPr>
        <p:spPr>
          <a:xfrm>
            <a:off x="635035" y="647231"/>
            <a:ext cx="3314666" cy="558114"/>
          </a:xfrm>
          <a:prstGeom prst="rect">
            <a:avLst/>
          </a:prstGeom>
        </p:spPr>
        <p:txBody>
          <a:bodyPr>
            <a:noAutofit/>
          </a:bodyPr>
          <a:lstStyle>
            <a:lvl1pPr marL="0" indent="0">
              <a:buNone/>
              <a:defRPr sz="3600" b="0" i="0">
                <a:solidFill>
                  <a:srgbClr val="FFFFFF"/>
                </a:solidFill>
                <a:latin typeface="Segoe Sans Display" pitchFamily="2" charset="0"/>
                <a:cs typeface="Segoe Sans Display" pitchFamily="2" charset="0"/>
              </a:defRPr>
            </a:lvl1pPr>
          </a:lstStyle>
          <a:p>
            <a:pPr lvl="0"/>
            <a:r>
              <a:rPr lang="en-US"/>
              <a:t>Get started today</a:t>
            </a:r>
          </a:p>
        </p:txBody>
      </p:sp>
    </p:spTree>
    <p:extLst>
      <p:ext uri="{BB962C8B-B14F-4D97-AF65-F5344CB8AC3E}">
        <p14:creationId xmlns:p14="http://schemas.microsoft.com/office/powerpoint/2010/main" val="3292074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Blank Title Slide w/ content_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2118B99-EDB8-26F6-D931-6B76FBD84D01}"/>
              </a:ext>
            </a:extLst>
          </p:cNvPr>
          <p:cNvSpPr>
            <a:spLocks noGrp="1"/>
          </p:cNvSpPr>
          <p:nvPr>
            <p:ph type="ftr" sz="quarter" idx="24"/>
          </p:nvPr>
        </p:nvSpPr>
        <p:spPr/>
        <p:txBody>
          <a:bodyPr/>
          <a:lstStyle/>
          <a:p>
            <a:r>
              <a:rPr lang="en-US"/>
              <a:t>Microsoft Fabric / Section title</a:t>
            </a:r>
          </a:p>
        </p:txBody>
      </p:sp>
      <p:sp>
        <p:nvSpPr>
          <p:cNvPr id="3" name="Slide Number Placeholder 2">
            <a:extLst>
              <a:ext uri="{FF2B5EF4-FFF2-40B4-BE49-F238E27FC236}">
                <a16:creationId xmlns:a16="http://schemas.microsoft.com/office/drawing/2014/main" id="{322B802A-624A-BC0C-4635-AE7C26664AA9}"/>
              </a:ext>
            </a:extLst>
          </p:cNvPr>
          <p:cNvSpPr>
            <a:spLocks noGrp="1"/>
          </p:cNvSpPr>
          <p:nvPr>
            <p:ph type="sldNum" sz="quarter" idx="25"/>
          </p:nvPr>
        </p:nvSpPr>
        <p:spPr/>
        <p:txBody>
          <a:bodyPr/>
          <a:lstStyle/>
          <a:p>
            <a:fld id="{B1356FBF-028C-F74E-A7B4-9B8ED246DD1B}" type="slidenum">
              <a:rPr lang="en-US" smtClean="0"/>
              <a:pPr/>
              <a:t>‹#›</a:t>
            </a:fld>
            <a:endParaRPr lang="en-US"/>
          </a:p>
        </p:txBody>
      </p:sp>
    </p:spTree>
    <p:extLst>
      <p:ext uri="{BB962C8B-B14F-4D97-AF65-F5344CB8AC3E}">
        <p14:creationId xmlns:p14="http://schemas.microsoft.com/office/powerpoint/2010/main" val="281881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theme" Target="../theme/theme6.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image" Target="../media/image25.emf"/><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oleObject" Target="../embeddings/oleObject1.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tags" Target="../tags/tag1.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20" Type="http://schemas.openxmlformats.org/officeDocument/2006/relationships/slideLayout" Target="../slideLayouts/slideLayout68.xml"/><Relationship Id="rId41"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r>
              <a:rPr lang="en-US"/>
              <a:t>Microsoft Fabric</a:t>
            </a:r>
          </a:p>
        </p:txBody>
      </p:sp>
      <p:sp>
        <p:nvSpPr>
          <p:cNvPr id="11" name="Text Placeholder 24">
            <a:extLst>
              <a:ext uri="{FF2B5EF4-FFF2-40B4-BE49-F238E27FC236}">
                <a16:creationId xmlns:a16="http://schemas.microsoft.com/office/drawing/2014/main" id="{A41A843D-6071-0BB8-7523-AACC729D297E}"/>
              </a:ext>
            </a:extLst>
          </p:cNvPr>
          <p:cNvSpPr txBox="1">
            <a:spLocks/>
          </p:cNvSpPr>
          <p:nvPr userDrawn="1"/>
        </p:nvSpPr>
        <p:spPr>
          <a:xfrm>
            <a:off x="607807" y="609600"/>
            <a:ext cx="10974591" cy="593740"/>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3600" b="1" i="0" kern="1200">
                <a:solidFill>
                  <a:schemeClr val="tx1"/>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itle Slides</a:t>
            </a:r>
          </a:p>
        </p:txBody>
      </p:sp>
    </p:spTree>
    <p:extLst>
      <p:ext uri="{BB962C8B-B14F-4D97-AF65-F5344CB8AC3E}">
        <p14:creationId xmlns:p14="http://schemas.microsoft.com/office/powerpoint/2010/main" val="937585569"/>
      </p:ext>
    </p:extLst>
  </p:cSld>
  <p:clrMap bg1="lt1" tx1="dk1" bg2="lt2" tx2="dk2" accent1="accent1" accent2="accent2" accent3="accent3" accent4="accent4" accent5="accent5" accent6="accent6" hlink="hlink" folHlink="folHlink"/>
  <p:sldLayoutIdLst>
    <p:sldLayoutId id="2147486432" r:id="rId1"/>
    <p:sldLayoutId id="2147486433" r:id="rId2"/>
    <p:sldLayoutId id="2147486470" r:id="rId3"/>
    <p:sldLayoutId id="2147486471" r:id="rId4"/>
    <p:sldLayoutId id="2147486472" r:id="rId5"/>
    <p:sldLayoutId id="2147486478" r:id="rId6"/>
    <p:sldLayoutId id="2147486479" r:id="rId7"/>
    <p:sldLayoutId id="2147486480" r:id="rId8"/>
    <p:sldLayoutId id="2147486483"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200" b="1" i="0" kern="1200">
          <a:solidFill>
            <a:schemeClr val="tx1"/>
          </a:solidFill>
          <a:latin typeface="Segoe UI Semibold" panose="020B0502040204020203" pitchFamily="34" charset="0"/>
          <a:ea typeface="+mj-ea"/>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pos="384">
          <p15:clr>
            <a:srgbClr val="F26B43"/>
          </p15:clr>
        </p15:guide>
        <p15:guide id="4" orient="horz" pos="384">
          <p15:clr>
            <a:srgbClr val="F26B43"/>
          </p15:clr>
        </p15:guide>
        <p15:guide id="5" orient="horz" pos="3936">
          <p15:clr>
            <a:srgbClr val="F26B43"/>
          </p15:clr>
        </p15:guide>
        <p15:guide id="6" orient="horz" pos="4128">
          <p15:clr>
            <a:srgbClr val="A4A3A4"/>
          </p15:clr>
        </p15:guide>
        <p15:guide id="7" pos="7296">
          <p15:clr>
            <a:srgbClr val="F26B43"/>
          </p15:clr>
        </p15:guide>
        <p15:guide id="8" pos="748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r>
              <a:rPr lang="en-US"/>
              <a:t>Microsoft Fabric</a:t>
            </a:r>
          </a:p>
        </p:txBody>
      </p:sp>
      <p:sp>
        <p:nvSpPr>
          <p:cNvPr id="8" name="Title Placeholder 1">
            <a:extLst>
              <a:ext uri="{FF2B5EF4-FFF2-40B4-BE49-F238E27FC236}">
                <a16:creationId xmlns:a16="http://schemas.microsoft.com/office/drawing/2014/main" id="{A767757E-A702-A75E-85A5-38EBC5512AF7}"/>
              </a:ext>
            </a:extLst>
          </p:cNvPr>
          <p:cNvSpPr>
            <a:spLocks noGrp="1"/>
          </p:cNvSpPr>
          <p:nvPr>
            <p:ph type="title"/>
          </p:nvPr>
        </p:nvSpPr>
        <p:spPr>
          <a:xfrm>
            <a:off x="607808" y="697316"/>
            <a:ext cx="10974591" cy="498598"/>
          </a:xfrm>
          <a:prstGeom prst="rect">
            <a:avLst/>
          </a:prstGeom>
        </p:spPr>
        <p:txBody>
          <a:bodyPr vert="horz" lIns="0" tIns="0" rIns="0" bIns="0" rtlCol="0" anchor="ctr">
            <a:spAutoFit/>
          </a:bodyPr>
          <a:lstStyle/>
          <a:p>
            <a:r>
              <a:rPr lang="en-US"/>
              <a:t>Content / Agenda Slides</a:t>
            </a:r>
          </a:p>
        </p:txBody>
      </p:sp>
    </p:spTree>
    <p:extLst>
      <p:ext uri="{BB962C8B-B14F-4D97-AF65-F5344CB8AC3E}">
        <p14:creationId xmlns:p14="http://schemas.microsoft.com/office/powerpoint/2010/main" val="2338573637"/>
      </p:ext>
    </p:extLst>
  </p:cSld>
  <p:clrMap bg1="lt1" tx1="dk1" bg2="lt2" tx2="dk2" accent1="accent1" accent2="accent2" accent3="accent3" accent4="accent4" accent5="accent5" accent6="accent6" hlink="hlink" folHlink="folHlink"/>
  <p:sldLayoutIdLst>
    <p:sldLayoutId id="2147486435" r:id="rId1"/>
    <p:sldLayoutId id="2147486436"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algn="l" defTabSz="914400" rtl="0" eaLnBrk="1" latinLnBrk="0" hangingPunct="1">
        <a:lnSpc>
          <a:spcPct val="90000"/>
        </a:lnSpc>
        <a:spcBef>
          <a:spcPct val="0"/>
        </a:spcBef>
        <a:buNone/>
        <a:defRPr lang="en-US" sz="3600" b="1" i="0" kern="1200" dirty="0">
          <a:solidFill>
            <a:schemeClr val="tx1"/>
          </a:solidFill>
          <a:latin typeface="Segoe UI Semibold" panose="020B0502040204020203" pitchFamily="34" charset="0"/>
          <a:ea typeface="+mj-ea"/>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
          <p15:clr>
            <a:srgbClr val="F26B43"/>
          </p15:clr>
        </p15:guide>
        <p15:guide id="2" pos="192">
          <p15:clr>
            <a:srgbClr val="A4A3A4"/>
          </p15:clr>
        </p15:guide>
        <p15:guide id="3" orient="horz" pos="192">
          <p15:clr>
            <a:srgbClr val="A4A3A4"/>
          </p15:clr>
        </p15:guide>
        <p15:guide id="4" orient="horz" pos="4128">
          <p15:clr>
            <a:srgbClr val="A4A3A4"/>
          </p15:clr>
        </p15:guide>
        <p15:guide id="5" orient="horz" pos="3936">
          <p15:clr>
            <a:srgbClr val="F26B43"/>
          </p15:clr>
        </p15:guide>
        <p15:guide id="6" pos="7296">
          <p15:clr>
            <a:srgbClr val="F26B43"/>
          </p15:clr>
        </p15:guide>
        <p15:guide id="7" pos="7488">
          <p15:clr>
            <a:srgbClr val="A4A3A4"/>
          </p15:clr>
        </p15:guide>
        <p15:guide id="8"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r>
              <a:rPr lang="en-US"/>
              <a:t>Microsoft Fabric</a:t>
            </a:r>
          </a:p>
        </p:txBody>
      </p:sp>
      <p:sp>
        <p:nvSpPr>
          <p:cNvPr id="9" name="Title Placeholder 1">
            <a:extLst>
              <a:ext uri="{FF2B5EF4-FFF2-40B4-BE49-F238E27FC236}">
                <a16:creationId xmlns:a16="http://schemas.microsoft.com/office/drawing/2014/main" id="{24F617CE-1C1F-4370-E90B-82EB8BF8CB3B}"/>
              </a:ext>
            </a:extLst>
          </p:cNvPr>
          <p:cNvSpPr>
            <a:spLocks noGrp="1"/>
          </p:cNvSpPr>
          <p:nvPr>
            <p:ph type="title"/>
          </p:nvPr>
        </p:nvSpPr>
        <p:spPr>
          <a:xfrm>
            <a:off x="607808" y="655766"/>
            <a:ext cx="10974591" cy="498598"/>
          </a:xfrm>
          <a:prstGeom prst="rect">
            <a:avLst/>
          </a:prstGeom>
        </p:spPr>
        <p:txBody>
          <a:bodyPr vert="horz" lIns="0" tIns="0" rIns="0" bIns="0" rtlCol="0" anchor="ctr">
            <a:spAutoFit/>
          </a:bodyPr>
          <a:lstStyle/>
          <a:p>
            <a:r>
              <a:rPr lang="en-US"/>
              <a:t>Section Title Slides</a:t>
            </a:r>
          </a:p>
        </p:txBody>
      </p:sp>
    </p:spTree>
    <p:extLst>
      <p:ext uri="{BB962C8B-B14F-4D97-AF65-F5344CB8AC3E}">
        <p14:creationId xmlns:p14="http://schemas.microsoft.com/office/powerpoint/2010/main" val="2761684999"/>
      </p:ext>
    </p:extLst>
  </p:cSld>
  <p:clrMap bg1="lt1" tx1="dk1" bg2="lt2" tx2="dk2" accent1="accent1" accent2="accent2" accent3="accent3" accent4="accent4" accent5="accent5" accent6="accent6" hlink="hlink" folHlink="folHlink"/>
  <p:sldLayoutIdLst>
    <p:sldLayoutId id="2147486469" r:id="rId1"/>
    <p:sldLayoutId id="2147486438" r:id="rId2"/>
    <p:sldLayoutId id="2147486439" r:id="rId3"/>
    <p:sldLayoutId id="2147486440" r:id="rId4"/>
    <p:sldLayoutId id="2147486441" r:id="rId5"/>
    <p:sldLayoutId id="2147486442" r:id="rId6"/>
    <p:sldLayoutId id="2147486481"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indent="0" algn="l" defTabSz="914400" rtl="0" eaLnBrk="1" latinLnBrk="0" hangingPunct="1">
        <a:lnSpc>
          <a:spcPct val="90000"/>
        </a:lnSpc>
        <a:spcBef>
          <a:spcPts val="1000"/>
        </a:spcBef>
        <a:buFont typeface="Arial" panose="020B0604020202020204" pitchFamily="34" charset="0"/>
        <a:buNone/>
        <a:defRPr lang="en-US" sz="3600" b="0" i="0" kern="1200" dirty="0">
          <a:solidFill>
            <a:schemeClr val="tx1"/>
          </a:solidFill>
          <a:latin typeface="Segoe UI Semibold" panose="020B0502040204020203" pitchFamily="34" charset="0"/>
          <a:ea typeface="+mn-ea"/>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28">
          <p15:clr>
            <a:srgbClr val="A4A3A4"/>
          </p15:clr>
        </p15:guide>
        <p15:guide id="2" pos="192">
          <p15:clr>
            <a:srgbClr val="A4A3A4"/>
          </p15:clr>
        </p15:guide>
        <p15:guide id="3" orient="horz" pos="3936">
          <p15:clr>
            <a:srgbClr val="F26B43"/>
          </p15:clr>
        </p15:guide>
        <p15:guide id="4" pos="384">
          <p15:clr>
            <a:srgbClr val="F26B43"/>
          </p15:clr>
        </p15:guide>
        <p15:guide id="5" pos="7296">
          <p15:clr>
            <a:srgbClr val="F26B43"/>
          </p15:clr>
        </p15:guide>
        <p15:guide id="6" pos="7488">
          <p15:clr>
            <a:srgbClr val="A4A3A4"/>
          </p15:clr>
        </p15:guide>
        <p15:guide id="7" orient="horz" pos="192">
          <p15:clr>
            <a:srgbClr val="A4A3A4"/>
          </p15:clr>
        </p15:guide>
        <p15:guide id="8" orient="horz"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607808" y="655766"/>
            <a:ext cx="10974591" cy="581698"/>
          </a:xfrm>
          <a:prstGeom prst="rect">
            <a:avLst/>
          </a:prstGeom>
        </p:spPr>
        <p:txBody>
          <a:bodyPr vert="horz" lIns="0" tIns="0" rIns="0" bIns="0" rtlCol="0" anchor="ctr">
            <a:spAutoFit/>
          </a:bodyPr>
          <a:lstStyle/>
          <a:p>
            <a:r>
              <a:rPr lang="en-US"/>
              <a:t>Body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r>
              <a:rPr lang="en-US"/>
              <a:t>Microsoft Fabric</a:t>
            </a:r>
          </a:p>
        </p:txBody>
      </p:sp>
    </p:spTree>
    <p:extLst>
      <p:ext uri="{BB962C8B-B14F-4D97-AF65-F5344CB8AC3E}">
        <p14:creationId xmlns:p14="http://schemas.microsoft.com/office/powerpoint/2010/main" val="2074138462"/>
      </p:ext>
    </p:extLst>
  </p:cSld>
  <p:clrMap bg1="lt1" tx1="dk1" bg2="lt2" tx2="dk2" accent1="accent1" accent2="accent2" accent3="accent3" accent4="accent4" accent5="accent5" accent6="accent6" hlink="hlink" folHlink="folHlink"/>
  <p:sldLayoutIdLst>
    <p:sldLayoutId id="2147486467" r:id="rId1"/>
    <p:sldLayoutId id="2147486445" r:id="rId2"/>
    <p:sldLayoutId id="2147486468" r:id="rId3"/>
    <p:sldLayoutId id="2147486446" r:id="rId4"/>
    <p:sldLayoutId id="2147486447" r:id="rId5"/>
    <p:sldLayoutId id="2147486448" r:id="rId6"/>
    <p:sldLayoutId id="2147486449" r:id="rId7"/>
    <p:sldLayoutId id="2147486450" r:id="rId8"/>
    <p:sldLayoutId id="2147486451" r:id="rId9"/>
    <p:sldLayoutId id="2147486452" r:id="rId10"/>
    <p:sldLayoutId id="2147486453" r:id="rId11"/>
    <p:sldLayoutId id="2147486454" r:id="rId12"/>
    <p:sldLayoutId id="2147486455" r:id="rId13"/>
    <p:sldLayoutId id="2147486456" r:id="rId14"/>
    <p:sldLayoutId id="2147486457" r:id="rId15"/>
    <p:sldLayoutId id="2147486458" r:id="rId16"/>
    <p:sldLayoutId id="2147486459" r:id="rId17"/>
    <p:sldLayoutId id="2147486460" r:id="rId18"/>
    <p:sldLayoutId id="2147486461" r:id="rId19"/>
    <p:sldLayoutId id="2147486462" r:id="rId20"/>
    <p:sldLayoutId id="2147486463" r:id="rId21"/>
    <p:sldLayoutId id="2147486473" r:id="rId22"/>
    <p:sldLayoutId id="2147486474" r:id="rId23"/>
    <p:sldLayoutId id="2147486475" r:id="rId24"/>
    <p:sldLayoutId id="2147486476" r:id="rId25"/>
    <p:sldLayoutId id="2147486477" r:id="rId26"/>
    <p:sldLayoutId id="2147486482" r:id="rId27"/>
    <p:sldLayoutId id="214748652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algn="l" defTabSz="914400" rtl="0" eaLnBrk="1" latinLnBrk="0" hangingPunct="1">
        <a:lnSpc>
          <a:spcPct val="9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A4A3A4"/>
          </p15:clr>
        </p15:guide>
        <p15:guide id="2" pos="7488">
          <p15:clr>
            <a:srgbClr val="A4A3A4"/>
          </p15:clr>
        </p15:guide>
        <p15:guide id="3" pos="384">
          <p15:clr>
            <a:srgbClr val="F26B43"/>
          </p15:clr>
        </p15:guide>
        <p15:guide id="6" pos="7296">
          <p15:clr>
            <a:srgbClr val="F26B43"/>
          </p15:clr>
        </p15:guide>
        <p15:guide id="7" orient="horz" pos="192">
          <p15:clr>
            <a:srgbClr val="A4A3A4"/>
          </p15:clr>
        </p15:guide>
        <p15:guide id="8" orient="horz" pos="3936">
          <p15:clr>
            <a:srgbClr val="F26B43"/>
          </p15:clr>
        </p15:guide>
        <p15:guide id="10" orient="horz" pos="384">
          <p15:clr>
            <a:srgbClr val="F26B43"/>
          </p15:clr>
        </p15:guide>
        <p15:guide id="12" orient="horz" pos="4128">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607808" y="623450"/>
            <a:ext cx="10974591" cy="646331"/>
          </a:xfrm>
          <a:prstGeom prst="rect">
            <a:avLst/>
          </a:prstGeom>
        </p:spPr>
        <p:txBody>
          <a:bodyPr vert="horz" lIns="91440" tIns="45720" rIns="91440" bIns="45720" rtlCol="0" anchor="ctr">
            <a:spAutoFit/>
          </a:bodyPr>
          <a:lstStyle/>
          <a:p>
            <a:r>
              <a:rPr lang="en-US"/>
              <a:t>Thank You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07809" y="6311900"/>
            <a:ext cx="399288"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07097" y="6311900"/>
            <a:ext cx="2078736" cy="365125"/>
          </a:xfrm>
          <a:prstGeom prst="rect">
            <a:avLst/>
          </a:prstGeom>
        </p:spPr>
        <p:txBody>
          <a:bodyPr vert="horz" lIns="91440" tIns="45720" rIns="91440" bIns="45720" rtlCol="0" anchor="ctr"/>
          <a:lstStyle>
            <a:lvl1pPr algn="l">
              <a:defRPr sz="1000" b="0" i="0">
                <a:solidFill>
                  <a:schemeClr val="tx1">
                    <a:tint val="75000"/>
                  </a:schemeClr>
                </a:solidFill>
                <a:latin typeface="Segoe UI Semilight" panose="020B0402040204020203" pitchFamily="34" charset="0"/>
                <a:cs typeface="Segoe UI Semilight" panose="020B0402040204020203" pitchFamily="34" charset="0"/>
              </a:defRPr>
            </a:lvl1pPr>
          </a:lstStyle>
          <a:p>
            <a:r>
              <a:rPr lang="en-US"/>
              <a:t>Microsoft Fabric</a:t>
            </a:r>
          </a:p>
        </p:txBody>
      </p:sp>
    </p:spTree>
    <p:extLst>
      <p:ext uri="{BB962C8B-B14F-4D97-AF65-F5344CB8AC3E}">
        <p14:creationId xmlns:p14="http://schemas.microsoft.com/office/powerpoint/2010/main" val="1902443793"/>
      </p:ext>
    </p:extLst>
  </p:cSld>
  <p:clrMap bg1="lt1" tx1="dk1" bg2="lt2" tx2="dk2" accent1="accent1" accent2="accent2" accent3="accent3" accent4="accent4" accent5="accent5" accent6="accent6" hlink="hlink" folHlink="folHlink"/>
  <p:sldLayoutIdLst>
    <p:sldLayoutId id="2147486465" r:id="rId1"/>
    <p:sldLayoutId id="2147486466"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000" b="1" i="0" kern="1200">
          <a:solidFill>
            <a:schemeClr val="tx1"/>
          </a:solidFill>
          <a:latin typeface="Segoe UI Semibold" panose="020B0502040204020203" pitchFamily="34" charset="0"/>
          <a:ea typeface="+mj-ea"/>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
          <p15:clr>
            <a:srgbClr val="F26B43"/>
          </p15:clr>
        </p15:guide>
        <p15:guide id="2" pos="7488">
          <p15:clr>
            <a:srgbClr val="A4A3A4"/>
          </p15:clr>
        </p15:guide>
        <p15:guide id="3" orient="horz" pos="4128">
          <p15:clr>
            <a:srgbClr val="A4A3A4"/>
          </p15:clr>
        </p15:guide>
        <p15:guide id="4" orient="horz" pos="3936">
          <p15:clr>
            <a:srgbClr val="F26B43"/>
          </p15:clr>
        </p15:guide>
        <p15:guide id="5" pos="7296">
          <p15:clr>
            <a:srgbClr val="F26B43"/>
          </p15:clr>
        </p15:guide>
        <p15:guide id="6" orient="horz" pos="192">
          <p15:clr>
            <a:srgbClr val="A4A3A4"/>
          </p15:clr>
        </p15:guide>
        <p15:guide id="7" pos="192">
          <p15:clr>
            <a:srgbClr val="A4A3A4"/>
          </p15:clr>
        </p15:guide>
        <p15:guide id="8"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DF9"/>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9B5728-1D33-9E0D-152D-CDDC5FCE9D1C}"/>
              </a:ext>
            </a:extLst>
          </p:cNvPr>
          <p:cNvGraphicFramePr>
            <a:graphicFrameLocks noChangeAspect="1"/>
          </p:cNvGraphicFramePr>
          <p:nvPr userDrawn="1">
            <p:custDataLst>
              <p:tags r:id="rId43"/>
            </p:custDataLst>
            <p:extLst>
              <p:ext uri="{D42A27DB-BD31-4B8C-83A1-F6EECF244321}">
                <p14:modId xmlns:p14="http://schemas.microsoft.com/office/powerpoint/2010/main" val="1329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32" imgH="533" progId="TCLayout.ActiveDocument.1">
                  <p:embed/>
                </p:oleObj>
              </mc:Choice>
              <mc:Fallback>
                <p:oleObj name="think-cell Slide" r:id="rId44" imgW="532" imgH="533" progId="TCLayout.ActiveDocument.1">
                  <p:embed/>
                  <p:pic>
                    <p:nvPicPr>
                      <p:cNvPr id="4" name="think-cell data - do not delete" hidden="1">
                        <a:extLst>
                          <a:ext uri="{FF2B5EF4-FFF2-40B4-BE49-F238E27FC236}">
                            <a16:creationId xmlns:a16="http://schemas.microsoft.com/office/drawing/2014/main" id="{999B5728-1D33-9E0D-152D-CDDC5FCE9D1C}"/>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0E9EE7-FB3C-7D1F-A2DB-596E0938886E}"/>
              </a:ext>
            </a:extLst>
          </p:cNvPr>
          <p:cNvSpPr>
            <a:spLocks noGrp="1"/>
          </p:cNvSpPr>
          <p:nvPr>
            <p:ph type="title"/>
          </p:nvPr>
        </p:nvSpPr>
        <p:spPr>
          <a:xfrm>
            <a:off x="581025" y="365125"/>
            <a:ext cx="11029949" cy="828675"/>
          </a:xfrm>
          <a:prstGeom prst="rect">
            <a:avLst/>
          </a:prstGeom>
        </p:spPr>
        <p:txBody>
          <a:bodyPr vert="horz" lIns="0" tIns="0" rIns="0" bIns="0" rtlCol="0" anchor="ctr">
            <a:normAutofit/>
          </a:bodyPr>
          <a:lstStyle/>
          <a:p>
            <a:r>
              <a:rPr lang="en-US"/>
              <a:t>Title Slides</a:t>
            </a:r>
          </a:p>
        </p:txBody>
      </p:sp>
      <p:sp>
        <p:nvSpPr>
          <p:cNvPr id="6" name="Slide Number Placeholder 5">
            <a:extLst>
              <a:ext uri="{FF2B5EF4-FFF2-40B4-BE49-F238E27FC236}">
                <a16:creationId xmlns:a16="http://schemas.microsoft.com/office/drawing/2014/main" id="{6127FA82-318A-3A34-2934-24B034B5805F}"/>
              </a:ext>
            </a:extLst>
          </p:cNvPr>
          <p:cNvSpPr>
            <a:spLocks noGrp="1"/>
          </p:cNvSpPr>
          <p:nvPr>
            <p:ph type="sldNum" sz="quarter" idx="4"/>
          </p:nvPr>
        </p:nvSpPr>
        <p:spPr>
          <a:xfrm>
            <a:off x="612571" y="6309519"/>
            <a:ext cx="399288"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fld id="{B1356FBF-028C-F74E-A7B4-9B8ED246DD1B}" type="slidenum">
              <a:rPr lang="en-US" smtClean="0"/>
              <a:pPr/>
              <a:t>‹#›</a:t>
            </a:fld>
            <a:endParaRPr lang="en-US"/>
          </a:p>
        </p:txBody>
      </p:sp>
      <p:sp>
        <p:nvSpPr>
          <p:cNvPr id="10" name="Footer Placeholder 9">
            <a:extLst>
              <a:ext uri="{FF2B5EF4-FFF2-40B4-BE49-F238E27FC236}">
                <a16:creationId xmlns:a16="http://schemas.microsoft.com/office/drawing/2014/main" id="{8E92EE12-E16C-066A-7EFA-7E3A5BF6D573}"/>
              </a:ext>
            </a:extLst>
          </p:cNvPr>
          <p:cNvSpPr>
            <a:spLocks noGrp="1"/>
          </p:cNvSpPr>
          <p:nvPr>
            <p:ph type="ftr" sz="quarter" idx="3"/>
          </p:nvPr>
        </p:nvSpPr>
        <p:spPr>
          <a:xfrm>
            <a:off x="1011859" y="6309519"/>
            <a:ext cx="2078736" cy="365125"/>
          </a:xfrm>
          <a:prstGeom prst="rect">
            <a:avLst/>
          </a:prstGeom>
        </p:spPr>
        <p:txBody>
          <a:bodyPr vert="horz" lIns="91440" tIns="45720" rIns="91440" bIns="45720" rtlCol="0" anchor="ctr"/>
          <a:lstStyle>
            <a:lvl1pPr algn="l">
              <a:defRPr sz="800" b="0" i="0">
                <a:solidFill>
                  <a:schemeClr val="tx1">
                    <a:tint val="75000"/>
                  </a:schemeClr>
                </a:solidFill>
                <a:latin typeface="Segoe Sans Small Semilight" pitchFamily="2" charset="0"/>
                <a:cs typeface="Segoe Sans Small Semilight" pitchFamily="2" charset="0"/>
              </a:defRPr>
            </a:lvl1pPr>
          </a:lstStyle>
          <a:p>
            <a:r>
              <a:rPr lang="en-US"/>
              <a:t>Microsoft Fabric</a:t>
            </a:r>
          </a:p>
        </p:txBody>
      </p:sp>
    </p:spTree>
    <p:extLst>
      <p:ext uri="{BB962C8B-B14F-4D97-AF65-F5344CB8AC3E}">
        <p14:creationId xmlns:p14="http://schemas.microsoft.com/office/powerpoint/2010/main" val="1586586386"/>
      </p:ext>
    </p:extLst>
  </p:cSld>
  <p:clrMap bg1="lt1" tx1="dk1" bg2="lt2" tx2="dk2" accent1="accent1" accent2="accent2" accent3="accent3" accent4="accent4" accent5="accent5" accent6="accent6" hlink="hlink" folHlink="folHlink"/>
  <p:sldLayoutIdLst>
    <p:sldLayoutId id="2147486485" r:id="rId1"/>
    <p:sldLayoutId id="2147486486" r:id="rId2"/>
    <p:sldLayoutId id="2147486487" r:id="rId3"/>
    <p:sldLayoutId id="2147486488" r:id="rId4"/>
    <p:sldLayoutId id="2147486489" r:id="rId5"/>
    <p:sldLayoutId id="2147486490" r:id="rId6"/>
    <p:sldLayoutId id="2147486491" r:id="rId7"/>
    <p:sldLayoutId id="2147486492" r:id="rId8"/>
    <p:sldLayoutId id="2147486493" r:id="rId9"/>
    <p:sldLayoutId id="2147486494" r:id="rId10"/>
    <p:sldLayoutId id="2147486495" r:id="rId11"/>
    <p:sldLayoutId id="2147486496" r:id="rId12"/>
    <p:sldLayoutId id="2147486497" r:id="rId13"/>
    <p:sldLayoutId id="2147486498" r:id="rId14"/>
    <p:sldLayoutId id="2147486499" r:id="rId15"/>
    <p:sldLayoutId id="2147486500" r:id="rId16"/>
    <p:sldLayoutId id="2147486501" r:id="rId17"/>
    <p:sldLayoutId id="2147486502" r:id="rId18"/>
    <p:sldLayoutId id="2147486503" r:id="rId19"/>
    <p:sldLayoutId id="2147486504" r:id="rId20"/>
    <p:sldLayoutId id="2147486505" r:id="rId21"/>
    <p:sldLayoutId id="2147486506" r:id="rId22"/>
    <p:sldLayoutId id="2147486507" r:id="rId23"/>
    <p:sldLayoutId id="2147486508" r:id="rId24"/>
    <p:sldLayoutId id="2147486509" r:id="rId25"/>
    <p:sldLayoutId id="2147486510" r:id="rId26"/>
    <p:sldLayoutId id="2147486511" r:id="rId27"/>
    <p:sldLayoutId id="2147486512" r:id="rId28"/>
    <p:sldLayoutId id="2147486513" r:id="rId29"/>
    <p:sldLayoutId id="2147486514" r:id="rId30"/>
    <p:sldLayoutId id="2147486515" r:id="rId31"/>
    <p:sldLayoutId id="2147486516" r:id="rId32"/>
    <p:sldLayoutId id="2147486517" r:id="rId33"/>
    <p:sldLayoutId id="2147486518" r:id="rId34"/>
    <p:sldLayoutId id="2147486519" r:id="rId35"/>
    <p:sldLayoutId id="2147486520" r:id="rId36"/>
    <p:sldLayoutId id="2147486521" r:id="rId37"/>
    <p:sldLayoutId id="2147486522" r:id="rId38"/>
    <p:sldLayoutId id="2147486523" r:id="rId39"/>
    <p:sldLayoutId id="2147486524" r:id="rId40"/>
    <p:sldLayoutId id="2147486525" r:id="rId41"/>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9">
          <p15:clr>
            <a:srgbClr val="F26B43"/>
          </p15:clr>
        </p15:guide>
        <p15:guide id="2" pos="366">
          <p15:clr>
            <a:srgbClr val="F26B43"/>
          </p15:clr>
        </p15:guide>
        <p15:guide id="4" pos="7314">
          <p15:clr>
            <a:srgbClr val="F26B43"/>
          </p15:clr>
        </p15:guide>
        <p15:guide id="5" orient="horz" pos="576">
          <p15:clr>
            <a:srgbClr val="F26B43"/>
          </p15:clr>
        </p15:guide>
        <p15:guide id="6" orient="horz" pos="760">
          <p15:clr>
            <a:srgbClr val="F26B43"/>
          </p15:clr>
        </p15:guide>
        <p15:guide id="7" orient="horz" pos="1070">
          <p15:clr>
            <a:srgbClr val="F26B43"/>
          </p15:clr>
        </p15:guide>
        <p15:guide id="8" orient="horz" pos="3973">
          <p15:clr>
            <a:srgbClr val="F26B43"/>
          </p15:clr>
        </p15:guide>
        <p15:guide id="9" pos="1968">
          <p15:clr>
            <a:srgbClr val="A4A3A4"/>
          </p15:clr>
        </p15:guide>
        <p15:guide id="10" pos="2148">
          <p15:clr>
            <a:srgbClr val="A4A3A4"/>
          </p15:clr>
        </p15:guide>
        <p15:guide id="11" pos="3750">
          <p15:clr>
            <a:srgbClr val="A4A3A4"/>
          </p15:clr>
        </p15:guide>
        <p15:guide id="12" pos="3930">
          <p15:clr>
            <a:srgbClr val="A4A3A4"/>
          </p15:clr>
        </p15:guide>
        <p15:guide id="13" pos="5532">
          <p15:clr>
            <a:srgbClr val="A4A3A4"/>
          </p15:clr>
        </p15:guide>
        <p15:guide id="14" pos="5712">
          <p15:clr>
            <a:srgbClr val="A4A3A4"/>
          </p15:clr>
        </p15:guide>
        <p15:guide id="15" pos="7496">
          <p15:clr>
            <a:srgbClr val="A4A3A4"/>
          </p15:clr>
        </p15:guide>
        <p15:guide id="16" pos="186">
          <p15:clr>
            <a:srgbClr val="A4A3A4"/>
          </p15:clr>
        </p15:guide>
        <p15:guide id="17" pos="780">
          <p15:clr>
            <a:srgbClr val="A4A3A4"/>
          </p15:clr>
        </p15:guide>
        <p15:guide id="18" pos="957">
          <p15:clr>
            <a:srgbClr val="A4A3A4"/>
          </p15:clr>
        </p15:guide>
        <p15:guide id="19" pos="1374">
          <p15:clr>
            <a:srgbClr val="A4A3A4"/>
          </p15:clr>
        </p15:guide>
        <p15:guide id="20" pos="1554">
          <p15:clr>
            <a:srgbClr val="A4A3A4"/>
          </p15:clr>
        </p15:guide>
        <p15:guide id="21" pos="2562">
          <p15:clr>
            <a:srgbClr val="A4A3A4"/>
          </p15:clr>
        </p15:guide>
        <p15:guide id="22" pos="2739">
          <p15:clr>
            <a:srgbClr val="A4A3A4"/>
          </p15:clr>
        </p15:guide>
        <p15:guide id="23" pos="3156">
          <p15:clr>
            <a:srgbClr val="A4A3A4"/>
          </p15:clr>
        </p15:guide>
        <p15:guide id="24" pos="3336">
          <p15:clr>
            <a:srgbClr val="A4A3A4"/>
          </p15:clr>
        </p15:guide>
        <p15:guide id="25" pos="4344">
          <p15:clr>
            <a:srgbClr val="A4A3A4"/>
          </p15:clr>
        </p15:guide>
        <p15:guide id="26" pos="4526">
          <p15:clr>
            <a:srgbClr val="A4A3A4"/>
          </p15:clr>
        </p15:guide>
        <p15:guide id="27" pos="4938">
          <p15:clr>
            <a:srgbClr val="A4A3A4"/>
          </p15:clr>
        </p15:guide>
        <p15:guide id="28" pos="5120">
          <p15:clr>
            <a:srgbClr val="A4A3A4"/>
          </p15:clr>
        </p15:guide>
        <p15:guide id="29" pos="6126">
          <p15:clr>
            <a:srgbClr val="A4A3A4"/>
          </p15:clr>
        </p15:guide>
        <p15:guide id="30" pos="6308">
          <p15:clr>
            <a:srgbClr val="A4A3A4"/>
          </p15:clr>
        </p15:guide>
        <p15:guide id="31" pos="6720">
          <p15:clr>
            <a:srgbClr val="A4A3A4"/>
          </p15:clr>
        </p15:guide>
        <p15:guide id="32" pos="6902">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88.xml"/></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51.png"/><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4.png"/><Relationship Id="rId2" Type="http://schemas.openxmlformats.org/officeDocument/2006/relationships/notesSlide" Target="../notesSlides/notesSlide6.xml"/><Relationship Id="rId16" Type="http://schemas.openxmlformats.org/officeDocument/2006/relationships/image" Target="../media/image50.png"/><Relationship Id="rId1" Type="http://schemas.openxmlformats.org/officeDocument/2006/relationships/slideLayout" Target="../slideLayouts/slideLayout21.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5" Type="http://schemas.openxmlformats.org/officeDocument/2006/relationships/image" Target="../media/image6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 Id="rId14" Type="http://schemas.openxmlformats.org/officeDocument/2006/relationships/image" Target="../media/image6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8.xml"/></Relationships>
</file>

<file path=ppt/slides/_rels/slide1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4.xml"/><Relationship Id="rId6" Type="http://schemas.openxmlformats.org/officeDocument/2006/relationships/image" Target="../media/image69.sv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svg"/></Relationships>
</file>

<file path=ppt/slides/_rels/slide17.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58.png"/><Relationship Id="rId18" Type="http://schemas.openxmlformats.org/officeDocument/2006/relationships/image" Target="../media/image71.png"/><Relationship Id="rId3" Type="http://schemas.openxmlformats.org/officeDocument/2006/relationships/image" Target="../media/image52.png"/><Relationship Id="rId7" Type="http://schemas.openxmlformats.org/officeDocument/2006/relationships/image" Target="../media/image62.png"/><Relationship Id="rId12" Type="http://schemas.openxmlformats.org/officeDocument/2006/relationships/image" Target="../media/image57.svg"/><Relationship Id="rId17" Type="http://schemas.openxmlformats.org/officeDocument/2006/relationships/image" Target="../media/image64.png"/><Relationship Id="rId2" Type="http://schemas.openxmlformats.org/officeDocument/2006/relationships/notesSlide" Target="../notesSlides/notesSlide11.xml"/><Relationship Id="rId16" Type="http://schemas.openxmlformats.org/officeDocument/2006/relationships/image" Target="../media/image75.svg"/><Relationship Id="rId20" Type="http://schemas.openxmlformats.org/officeDocument/2006/relationships/image" Target="../media/image73.png"/><Relationship Id="rId1" Type="http://schemas.openxmlformats.org/officeDocument/2006/relationships/slideLayout" Target="../slideLayouts/slideLayout4.xml"/><Relationship Id="rId6" Type="http://schemas.openxmlformats.org/officeDocument/2006/relationships/image" Target="../media/image61.svg"/><Relationship Id="rId11" Type="http://schemas.openxmlformats.org/officeDocument/2006/relationships/image" Target="../media/image56.png"/><Relationship Id="rId5" Type="http://schemas.openxmlformats.org/officeDocument/2006/relationships/image" Target="../media/image60.png"/><Relationship Id="rId15" Type="http://schemas.openxmlformats.org/officeDocument/2006/relationships/image" Target="../media/image74.png"/><Relationship Id="rId10" Type="http://schemas.openxmlformats.org/officeDocument/2006/relationships/image" Target="../media/image55.svg"/><Relationship Id="rId19" Type="http://schemas.openxmlformats.org/officeDocument/2006/relationships/image" Target="../media/image72.svg"/><Relationship Id="rId4" Type="http://schemas.openxmlformats.org/officeDocument/2006/relationships/image" Target="../media/image53.svg"/><Relationship Id="rId9" Type="http://schemas.openxmlformats.org/officeDocument/2006/relationships/image" Target="../media/image54.png"/><Relationship Id="rId14" Type="http://schemas.openxmlformats.org/officeDocument/2006/relationships/image" Target="../media/image59.svg"/></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9.jpeg"/><Relationship Id="rId7" Type="http://schemas.openxmlformats.org/officeDocument/2006/relationships/image" Target="../media/image82.png"/><Relationship Id="rId12" Type="http://schemas.openxmlformats.org/officeDocument/2006/relationships/image" Target="../media/image87.svg"/><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image" Target="../media/image81.jpeg"/><Relationship Id="rId11" Type="http://schemas.openxmlformats.org/officeDocument/2006/relationships/image" Target="../media/image86.png"/><Relationship Id="rId5" Type="http://schemas.openxmlformats.org/officeDocument/2006/relationships/image" Target="../media/image80.jpeg"/><Relationship Id="rId10" Type="http://schemas.openxmlformats.org/officeDocument/2006/relationships/image" Target="../media/image85.svg"/><Relationship Id="rId4" Type="http://schemas.openxmlformats.org/officeDocument/2006/relationships/image" Target="../media/image12.jpeg"/><Relationship Id="rId9" Type="http://schemas.openxmlformats.org/officeDocument/2006/relationships/image" Target="../media/image84.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image" Target="../media/image71.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72.svg"/><Relationship Id="rId9" Type="http://schemas.openxmlformats.org/officeDocument/2006/relationships/image" Target="../media/image93.png"/></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fabric/security/security-conditional-access" TargetMode="External"/><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image" Target="../media/image9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image" Target="../media/image101.svg"/><Relationship Id="rId21" Type="http://schemas.openxmlformats.org/officeDocument/2006/relationships/image" Target="../media/image117.svg"/><Relationship Id="rId7" Type="http://schemas.openxmlformats.org/officeDocument/2006/relationships/image" Target="../media/image105.svg"/><Relationship Id="rId12" Type="http://schemas.openxmlformats.org/officeDocument/2006/relationships/image" Target="../media/image69.svg"/><Relationship Id="rId17" Type="http://schemas.openxmlformats.org/officeDocument/2006/relationships/image" Target="../media/image113.svg"/><Relationship Id="rId2" Type="http://schemas.openxmlformats.org/officeDocument/2006/relationships/image" Target="../media/image100.png"/><Relationship Id="rId16" Type="http://schemas.openxmlformats.org/officeDocument/2006/relationships/image" Target="../media/image112.png"/><Relationship Id="rId20" Type="http://schemas.openxmlformats.org/officeDocument/2006/relationships/image" Target="../media/image116.png"/><Relationship Id="rId1" Type="http://schemas.openxmlformats.org/officeDocument/2006/relationships/slideLayout" Target="../slideLayouts/slideLayout20.xml"/><Relationship Id="rId6" Type="http://schemas.openxmlformats.org/officeDocument/2006/relationships/image" Target="../media/image104.png"/><Relationship Id="rId11" Type="http://schemas.openxmlformats.org/officeDocument/2006/relationships/image" Target="../media/image68.png"/><Relationship Id="rId5" Type="http://schemas.openxmlformats.org/officeDocument/2006/relationships/image" Target="../media/image103.svg"/><Relationship Id="rId15" Type="http://schemas.openxmlformats.org/officeDocument/2006/relationships/image" Target="../media/image111.png"/><Relationship Id="rId23" Type="http://schemas.openxmlformats.org/officeDocument/2006/relationships/image" Target="../media/image61.svg"/><Relationship Id="rId10" Type="http://schemas.openxmlformats.org/officeDocument/2006/relationships/image" Target="../media/image108.svg"/><Relationship Id="rId19" Type="http://schemas.openxmlformats.org/officeDocument/2006/relationships/image" Target="../media/image115.sv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0.svg"/><Relationship Id="rId22" Type="http://schemas.openxmlformats.org/officeDocument/2006/relationships/image" Target="../media/image60.png"/></Relationships>
</file>

<file path=ppt/slides/_rels/slide3.xml.rels><?xml version="1.0" encoding="UTF-8" standalone="yes"?>
<Relationships xmlns="http://schemas.openxmlformats.org/package/2006/relationships"><Relationship Id="rId2" Type="http://schemas.openxmlformats.org/officeDocument/2006/relationships/hyperlink" Target="https://aka.ms/MSFabricSecurity" TargetMode="External"/><Relationship Id="rId1" Type="http://schemas.openxmlformats.org/officeDocument/2006/relationships/slideLayout" Target="../slideLayouts/slideLayout87.xml"/></Relationships>
</file>

<file path=ppt/slides/_rels/slide30.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61.svg"/><Relationship Id="rId3" Type="http://schemas.openxmlformats.org/officeDocument/2006/relationships/image" Target="../media/image71.png"/><Relationship Id="rId7" Type="http://schemas.openxmlformats.org/officeDocument/2006/relationships/image" Target="../media/image95.png"/><Relationship Id="rId12"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94.png"/><Relationship Id="rId11" Type="http://schemas.openxmlformats.org/officeDocument/2006/relationships/image" Target="../media/image106.png"/><Relationship Id="rId5" Type="http://schemas.openxmlformats.org/officeDocument/2006/relationships/image" Target="../media/image93.png"/><Relationship Id="rId10" Type="http://schemas.openxmlformats.org/officeDocument/2006/relationships/image" Target="../media/image105.svg"/><Relationship Id="rId4" Type="http://schemas.openxmlformats.org/officeDocument/2006/relationships/image" Target="../media/image72.svg"/><Relationship Id="rId9" Type="http://schemas.openxmlformats.org/officeDocument/2006/relationships/image" Target="../media/image10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8" Type="http://schemas.openxmlformats.org/officeDocument/2006/relationships/image" Target="../media/image124.svg"/><Relationship Id="rId13" Type="http://schemas.openxmlformats.org/officeDocument/2006/relationships/image" Target="../media/image127.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05.svg"/><Relationship Id="rId2" Type="http://schemas.openxmlformats.org/officeDocument/2006/relationships/image" Target="../media/image118.png"/><Relationship Id="rId1" Type="http://schemas.openxmlformats.org/officeDocument/2006/relationships/slideLayout" Target="../slideLayouts/slideLayout70.xml"/><Relationship Id="rId6" Type="http://schemas.openxmlformats.org/officeDocument/2006/relationships/image" Target="../media/image122.svg"/><Relationship Id="rId11" Type="http://schemas.openxmlformats.org/officeDocument/2006/relationships/image" Target="../media/image104.png"/><Relationship Id="rId5" Type="http://schemas.openxmlformats.org/officeDocument/2006/relationships/image" Target="../media/image121.png"/><Relationship Id="rId15" Type="http://schemas.openxmlformats.org/officeDocument/2006/relationships/image" Target="../media/image129.svg"/><Relationship Id="rId10" Type="http://schemas.openxmlformats.org/officeDocument/2006/relationships/image" Target="../media/image126.svg"/><Relationship Id="rId4" Type="http://schemas.openxmlformats.org/officeDocument/2006/relationships/image" Target="../media/image120.svg"/><Relationship Id="rId9" Type="http://schemas.openxmlformats.org/officeDocument/2006/relationships/image" Target="../media/image125.png"/><Relationship Id="rId14" Type="http://schemas.openxmlformats.org/officeDocument/2006/relationships/image" Target="../media/image128.png"/></Relationships>
</file>

<file path=ppt/slides/_rels/slide33.xml.rels><?xml version="1.0" encoding="UTF-8" standalone="yes"?>
<Relationships xmlns="http://schemas.openxmlformats.org/package/2006/relationships"><Relationship Id="rId8" Type="http://schemas.openxmlformats.org/officeDocument/2006/relationships/image" Target="../media/image124.svg"/><Relationship Id="rId13" Type="http://schemas.openxmlformats.org/officeDocument/2006/relationships/image" Target="../media/image127.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05.svg"/><Relationship Id="rId2" Type="http://schemas.openxmlformats.org/officeDocument/2006/relationships/image" Target="../media/image118.png"/><Relationship Id="rId1" Type="http://schemas.openxmlformats.org/officeDocument/2006/relationships/slideLayout" Target="../slideLayouts/slideLayout70.xml"/><Relationship Id="rId6" Type="http://schemas.openxmlformats.org/officeDocument/2006/relationships/image" Target="../media/image122.svg"/><Relationship Id="rId11" Type="http://schemas.openxmlformats.org/officeDocument/2006/relationships/image" Target="../media/image104.png"/><Relationship Id="rId5" Type="http://schemas.openxmlformats.org/officeDocument/2006/relationships/image" Target="../media/image121.png"/><Relationship Id="rId15" Type="http://schemas.openxmlformats.org/officeDocument/2006/relationships/image" Target="../media/image129.svg"/><Relationship Id="rId10" Type="http://schemas.openxmlformats.org/officeDocument/2006/relationships/image" Target="../media/image126.svg"/><Relationship Id="rId4" Type="http://schemas.openxmlformats.org/officeDocument/2006/relationships/image" Target="../media/image120.svg"/><Relationship Id="rId9" Type="http://schemas.openxmlformats.org/officeDocument/2006/relationships/image" Target="../media/image125.png"/><Relationship Id="rId14" Type="http://schemas.openxmlformats.org/officeDocument/2006/relationships/image" Target="../media/image12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7.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23.xml"/><Relationship Id="rId1" Type="http://schemas.openxmlformats.org/officeDocument/2006/relationships/slideLayout" Target="../slideLayouts/slideLayout70.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1.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notesSlide" Target="../notesSlides/notesSlide24.xml"/><Relationship Id="rId1" Type="http://schemas.openxmlformats.org/officeDocument/2006/relationships/slideLayout" Target="../slideLayouts/slideLayout45.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42.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notesSlide" Target="../notesSlides/notesSlide25.xml"/><Relationship Id="rId1" Type="http://schemas.openxmlformats.org/officeDocument/2006/relationships/slideLayout" Target="../slideLayouts/slideLayout45.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 Id="rId9" Type="http://schemas.openxmlformats.org/officeDocument/2006/relationships/image" Target="../media/image149.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D49065-6674-1BCF-197C-D0CF3B60142E}"/>
              </a:ext>
            </a:extLst>
          </p:cNvPr>
          <p:cNvSpPr>
            <a:spLocks noGrp="1"/>
          </p:cNvSpPr>
          <p:nvPr>
            <p:ph type="title"/>
          </p:nvPr>
        </p:nvSpPr>
        <p:spPr>
          <a:xfrm>
            <a:off x="7376991" y="2655538"/>
            <a:ext cx="4205405" cy="2031325"/>
          </a:xfrm>
        </p:spPr>
        <p:txBody>
          <a:bodyPr/>
          <a:lstStyle/>
          <a:p>
            <a:r>
              <a:rPr lang="en-US"/>
              <a:t>Fabric security: everything you need to know!</a:t>
            </a:r>
          </a:p>
        </p:txBody>
      </p:sp>
      <p:sp>
        <p:nvSpPr>
          <p:cNvPr id="6" name="Subtitle 5">
            <a:extLst>
              <a:ext uri="{FF2B5EF4-FFF2-40B4-BE49-F238E27FC236}">
                <a16:creationId xmlns:a16="http://schemas.microsoft.com/office/drawing/2014/main" id="{587D8E2E-5DB2-8E9D-915C-CD3AAF5A1926}"/>
              </a:ext>
            </a:extLst>
          </p:cNvPr>
          <p:cNvSpPr>
            <a:spLocks noGrp="1"/>
          </p:cNvSpPr>
          <p:nvPr>
            <p:ph type="subTitle" idx="1"/>
          </p:nvPr>
        </p:nvSpPr>
        <p:spPr/>
        <p:txBody>
          <a:bodyPr/>
          <a:lstStyle/>
          <a:p>
            <a:endParaRPr lang="en-NL"/>
          </a:p>
        </p:txBody>
      </p:sp>
    </p:spTree>
    <p:extLst>
      <p:ext uri="{BB962C8B-B14F-4D97-AF65-F5344CB8AC3E}">
        <p14:creationId xmlns:p14="http://schemas.microsoft.com/office/powerpoint/2010/main" val="69321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10" name="Rounded Rectangle 38">
            <a:extLst>
              <a:ext uri="{FF2B5EF4-FFF2-40B4-BE49-F238E27FC236}">
                <a16:creationId xmlns:a16="http://schemas.microsoft.com/office/drawing/2014/main" id="{25CD2C72-2374-48B7-369C-7A386B641132}"/>
              </a:ext>
            </a:extLst>
          </p:cNvPr>
          <p:cNvSpPr/>
          <p:nvPr/>
        </p:nvSpPr>
        <p:spPr bwMode="auto">
          <a:xfrm>
            <a:off x="609600" y="2023936"/>
            <a:ext cx="10972800" cy="3892770"/>
          </a:xfrm>
          <a:prstGeom prst="roundRect">
            <a:avLst>
              <a:gd name="adj" fmla="val 3641"/>
            </a:avLst>
          </a:prstGeom>
          <a:solidFill>
            <a:srgbClr val="091F2C"/>
          </a:solidFill>
          <a:ln w="19050">
            <a:solidFill>
              <a:srgbClr val="D2D2D2"/>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gradFill>
                <a:gsLst>
                  <a:gs pos="3909">
                    <a:srgbClr val="FFFFFF"/>
                  </a:gs>
                  <a:gs pos="17264">
                    <a:srgbClr val="FFFFFF"/>
                  </a:gs>
                </a:gsLst>
                <a:lin ang="2700000" scaled="0"/>
              </a:gradFill>
              <a:effectLst/>
              <a:uLnTx/>
              <a:uFillTx/>
              <a:latin typeface="Segoe UI Semibold"/>
              <a:ea typeface="+mn-ea"/>
              <a:cs typeface="+mn-cs"/>
            </a:endParaRPr>
          </a:p>
        </p:txBody>
      </p:sp>
      <p:pic>
        <p:nvPicPr>
          <p:cNvPr id="6" name="Picture 5" descr="Icon&#10;&#10;Description automatically generated">
            <a:extLst>
              <a:ext uri="{FF2B5EF4-FFF2-40B4-BE49-F238E27FC236}">
                <a16:creationId xmlns:a16="http://schemas.microsoft.com/office/drawing/2014/main" id="{C67B66BC-8D59-1700-CB20-EE431B1B16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8410" y="627310"/>
            <a:ext cx="723347" cy="723347"/>
          </a:xfrm>
          <a:prstGeom prst="rect">
            <a:avLst/>
          </a:prstGeom>
        </p:spPr>
      </p:pic>
      <p:cxnSp>
        <p:nvCxnSpPr>
          <p:cNvPr id="7" name="Straight Connector 6">
            <a:extLst>
              <a:ext uri="{FF2B5EF4-FFF2-40B4-BE49-F238E27FC236}">
                <a16:creationId xmlns:a16="http://schemas.microsoft.com/office/drawing/2014/main" id="{88428ED9-B16A-7B03-D785-D4117E0C50F1}"/>
              </a:ext>
            </a:extLst>
          </p:cNvPr>
          <p:cNvCxnSpPr>
            <a:cxnSpLocks/>
          </p:cNvCxnSpPr>
          <p:nvPr/>
        </p:nvCxnSpPr>
        <p:spPr>
          <a:xfrm>
            <a:off x="1918658" y="493476"/>
            <a:ext cx="0" cy="991014"/>
          </a:xfrm>
          <a:prstGeom prst="line">
            <a:avLst/>
          </a:prstGeom>
          <a:ln w="190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CAP">
            <a:extLst>
              <a:ext uri="{FF2B5EF4-FFF2-40B4-BE49-F238E27FC236}">
                <a16:creationId xmlns:a16="http://schemas.microsoft.com/office/drawing/2014/main" id="{D207C4A3-CFE9-5EC6-7C75-D59CEC76A0F0}"/>
              </a:ext>
              <a:ext uri="{C183D7F6-B498-43B3-948B-1728B52AA6E4}">
                <adec:decorative xmlns:adec="http://schemas.microsoft.com/office/drawing/2017/decorative" val="1"/>
              </a:ext>
            </a:extLst>
          </p:cNvPr>
          <p:cNvSpPr>
            <a:spLocks/>
          </p:cNvSpPr>
          <p:nvPr/>
        </p:nvSpPr>
        <p:spPr bwMode="auto">
          <a:xfrm>
            <a:off x="878410" y="2315796"/>
            <a:ext cx="5012027" cy="3309051"/>
          </a:xfrm>
          <a:prstGeom prst="roundRect">
            <a:avLst>
              <a:gd name="adj" fmla="val 2824"/>
            </a:avLst>
          </a:prstGeom>
          <a:solidFill>
            <a:srgbClr val="091F2C"/>
          </a:solidFill>
          <a:ln>
            <a:noFill/>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3" name="Rectangle: Rounded Corners 5">
            <a:extLst>
              <a:ext uri="{FF2B5EF4-FFF2-40B4-BE49-F238E27FC236}">
                <a16:creationId xmlns:a16="http://schemas.microsoft.com/office/drawing/2014/main" id="{2F0D3A13-F8B0-7166-0E80-81BAC81D3613}"/>
              </a:ext>
            </a:extLst>
          </p:cNvPr>
          <p:cNvSpPr>
            <a:spLocks/>
          </p:cNvSpPr>
          <p:nvPr/>
        </p:nvSpPr>
        <p:spPr bwMode="auto">
          <a:xfrm>
            <a:off x="972282" y="2730712"/>
            <a:ext cx="4330984" cy="9848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88000" tIns="0" rIns="28800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Segoe UI"/>
              </a:rPr>
              <a:t>Complete Analytics Platform</a:t>
            </a:r>
          </a:p>
        </p:txBody>
      </p:sp>
      <p:sp>
        <p:nvSpPr>
          <p:cNvPr id="14" name="TextBox 13">
            <a:extLst>
              <a:ext uri="{FF2B5EF4-FFF2-40B4-BE49-F238E27FC236}">
                <a16:creationId xmlns:a16="http://schemas.microsoft.com/office/drawing/2014/main" id="{43445424-D386-D061-4E3C-802085DAA2D9}"/>
              </a:ext>
            </a:extLst>
          </p:cNvPr>
          <p:cNvSpPr txBox="1">
            <a:spLocks/>
          </p:cNvSpPr>
          <p:nvPr/>
        </p:nvSpPr>
        <p:spPr>
          <a:xfrm>
            <a:off x="972283" y="3965154"/>
            <a:ext cx="3709287" cy="1220847"/>
          </a:xfrm>
          <a:prstGeom prst="rect">
            <a:avLst/>
          </a:prstGeom>
          <a:noFill/>
        </p:spPr>
        <p:txBody>
          <a:bodyPr wrap="square" lIns="288000" rIns="288000">
            <a:spAutoFit/>
          </a:bodyPr>
          <a:lstStyle/>
          <a:p>
            <a:pPr marL="0" marR="0" lvl="0" indent="0" algn="l" defTabSz="932472" rtl="0" eaLnBrk="1" fontAlgn="base" latinLnBrk="0" hangingPunct="1">
              <a:lnSpc>
                <a:spcPct val="100000"/>
              </a:lnSpc>
              <a:spcBef>
                <a:spcPts val="16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Unified product, experience, and architecture</a:t>
            </a:r>
          </a:p>
          <a:p>
            <a:pPr marL="0" marR="0" lvl="0" indent="0" algn="l" defTabSz="932472" rtl="0" eaLnBrk="1" fontAlgn="base" latinLnBrk="0" hangingPunct="1">
              <a:lnSpc>
                <a:spcPct val="100000"/>
              </a:lnSpc>
              <a:spcBef>
                <a:spcPts val="16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Delivered as </a:t>
            </a:r>
            <a:r>
              <a:rPr kumimoji="0" lang="en-US" sz="2400" b="0" i="0" u="none" strike="noStrike" kern="0" cap="none" spc="0" normalizeH="0" baseline="0" noProof="0">
                <a:ln>
                  <a:noFill/>
                </a:ln>
                <a:solidFill>
                  <a:srgbClr val="FFFFFF"/>
                </a:solidFill>
                <a:effectLst/>
                <a:uLnTx/>
                <a:uFillTx/>
                <a:latin typeface="Segoe UI Semibold"/>
                <a:ea typeface="+mn-ea"/>
                <a:cs typeface="Segoe UI" pitchFamily="34" charset="0"/>
              </a:rPr>
              <a:t>SaaS</a:t>
            </a:r>
            <a:endPar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cxnSp>
        <p:nvCxnSpPr>
          <p:cNvPr id="15" name="!!SL1">
            <a:extLst>
              <a:ext uri="{FF2B5EF4-FFF2-40B4-BE49-F238E27FC236}">
                <a16:creationId xmlns:a16="http://schemas.microsoft.com/office/drawing/2014/main" id="{5FDB629C-5295-EDEA-0B18-EF803A6B76F0}"/>
              </a:ext>
            </a:extLst>
          </p:cNvPr>
          <p:cNvCxnSpPr>
            <a:cxnSpLocks/>
          </p:cNvCxnSpPr>
          <p:nvPr/>
        </p:nvCxnSpPr>
        <p:spPr>
          <a:xfrm>
            <a:off x="1231089" y="4661702"/>
            <a:ext cx="4152859" cy="0"/>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LCO">
            <a:extLst>
              <a:ext uri="{FF2B5EF4-FFF2-40B4-BE49-F238E27FC236}">
                <a16:creationId xmlns:a16="http://schemas.microsoft.com/office/drawing/2014/main" id="{A32A12A0-39B6-571B-C980-18E2A7EA1080}"/>
              </a:ext>
              <a:ext uri="{C183D7F6-B498-43B3-948B-1728B52AA6E4}">
                <adec:decorative xmlns:adec="http://schemas.microsoft.com/office/drawing/2017/decorative" val="1"/>
              </a:ext>
            </a:extLst>
          </p:cNvPr>
          <p:cNvSpPr>
            <a:spLocks/>
          </p:cNvSpPr>
          <p:nvPr/>
        </p:nvSpPr>
        <p:spPr bwMode="auto">
          <a:xfrm>
            <a:off x="6301563" y="2315796"/>
            <a:ext cx="5012027" cy="3309051"/>
          </a:xfrm>
          <a:prstGeom prst="roundRect">
            <a:avLst>
              <a:gd name="adj" fmla="val 2824"/>
            </a:avLst>
          </a:prstGeom>
          <a:solidFill>
            <a:srgbClr val="091F2C"/>
          </a:solidFill>
          <a:ln>
            <a:noFill/>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24" name="Rectangle: Rounded Corners 5">
            <a:extLst>
              <a:ext uri="{FF2B5EF4-FFF2-40B4-BE49-F238E27FC236}">
                <a16:creationId xmlns:a16="http://schemas.microsoft.com/office/drawing/2014/main" id="{97328CBF-B0C6-9350-DF77-9BD64BFEA719}"/>
              </a:ext>
            </a:extLst>
          </p:cNvPr>
          <p:cNvSpPr>
            <a:spLocks/>
          </p:cNvSpPr>
          <p:nvPr/>
        </p:nvSpPr>
        <p:spPr bwMode="auto">
          <a:xfrm>
            <a:off x="6409139" y="2730712"/>
            <a:ext cx="3120023" cy="9848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88000" tIns="0" rIns="28800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Segoe UI"/>
              </a:rPr>
              <a:t>Lake Centric and Open</a:t>
            </a:r>
          </a:p>
        </p:txBody>
      </p:sp>
      <p:sp>
        <p:nvSpPr>
          <p:cNvPr id="5" name="TextBox 4">
            <a:extLst>
              <a:ext uri="{FF2B5EF4-FFF2-40B4-BE49-F238E27FC236}">
                <a16:creationId xmlns:a16="http://schemas.microsoft.com/office/drawing/2014/main" id="{74AD3B4F-4D0E-0C34-022D-A1BF36BE5645}"/>
              </a:ext>
            </a:extLst>
          </p:cNvPr>
          <p:cNvSpPr txBox="1">
            <a:spLocks/>
          </p:cNvSpPr>
          <p:nvPr/>
        </p:nvSpPr>
        <p:spPr>
          <a:xfrm>
            <a:off x="6409140" y="3965154"/>
            <a:ext cx="4035806" cy="1467068"/>
          </a:xfrm>
          <a:prstGeom prst="rect">
            <a:avLst/>
          </a:prstGeom>
          <a:noFill/>
        </p:spPr>
        <p:txBody>
          <a:bodyPr wrap="square" lIns="288000" rIns="288000">
            <a:spAutoFit/>
          </a:bodyPr>
          <a:lstStyle/>
          <a:p>
            <a:pPr marL="0" marR="0" lvl="0" indent="0" algn="l" defTabSz="932472" rtl="0" eaLnBrk="1" fontAlgn="base" latinLnBrk="0" hangingPunct="1">
              <a:lnSpc>
                <a:spcPct val="100000"/>
              </a:lnSpc>
              <a:spcBef>
                <a:spcPts val="16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Common SaaS data lake</a:t>
            </a:r>
            <a:r>
              <a:rPr kumimoji="0" lang="en-US" sz="2000" b="0" i="0" u="none" strike="noStrike" kern="0" cap="none" spc="0" normalizeH="0" baseline="0" noProof="0">
                <a:ln>
                  <a:noFill/>
                </a:ln>
                <a:solidFill>
                  <a:srgbClr val="FFFFFF"/>
                </a:solidFill>
                <a:effectLst/>
                <a:uLnTx/>
                <a:uFillTx/>
                <a:latin typeface="Segoe UI Semibold"/>
                <a:ea typeface="+mn-ea"/>
                <a:cs typeface="Segoe UI" pitchFamily="34" charset="0"/>
              </a:rPr>
              <a:t> </a:t>
            </a:r>
            <a:r>
              <a:rPr kumimoji="0" lang="en-US" sz="2000" b="1" i="0" u="none" strike="noStrike" kern="0" cap="none" spc="0" normalizeH="0" baseline="0" noProof="0">
                <a:ln>
                  <a:noFill/>
                </a:ln>
                <a:solidFill>
                  <a:srgbClr val="FFFFFF"/>
                </a:solidFill>
                <a:effectLst/>
                <a:uLnTx/>
                <a:uFillTx/>
                <a:latin typeface="Segoe UI Semibold"/>
                <a:ea typeface="+mn-ea"/>
                <a:cs typeface="Segoe UI" pitchFamily="34" charset="0"/>
              </a:rPr>
              <a:t>shared by all compute engines</a:t>
            </a:r>
          </a:p>
          <a:p>
            <a:pPr marL="0" marR="0" lvl="0" indent="0" algn="l" defTabSz="932472" rtl="0" eaLnBrk="1" fontAlgn="base" latinLnBrk="0" hangingPunct="1">
              <a:lnSpc>
                <a:spcPct val="100000"/>
              </a:lnSpc>
              <a:spcBef>
                <a:spcPts val="16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Deep commitment for open formats and APIs</a:t>
            </a:r>
          </a:p>
        </p:txBody>
      </p:sp>
      <p:cxnSp>
        <p:nvCxnSpPr>
          <p:cNvPr id="25" name="!!SL2">
            <a:extLst>
              <a:ext uri="{FF2B5EF4-FFF2-40B4-BE49-F238E27FC236}">
                <a16:creationId xmlns:a16="http://schemas.microsoft.com/office/drawing/2014/main" id="{77CD4314-3B84-8764-6DFD-2A80E124DB62}"/>
              </a:ext>
            </a:extLst>
          </p:cNvPr>
          <p:cNvCxnSpPr>
            <a:cxnSpLocks/>
          </p:cNvCxnSpPr>
          <p:nvPr/>
        </p:nvCxnSpPr>
        <p:spPr>
          <a:xfrm>
            <a:off x="6605082" y="4661702"/>
            <a:ext cx="4152859" cy="0"/>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9DE74ED2-BA6C-561D-64D5-C962BCDCF58E}"/>
              </a:ext>
            </a:extLst>
          </p:cNvPr>
          <p:cNvSpPr txBox="1">
            <a:spLocks/>
          </p:cNvSpPr>
          <p:nvPr/>
        </p:nvSpPr>
        <p:spPr>
          <a:xfrm>
            <a:off x="2179645" y="494908"/>
            <a:ext cx="9427138"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3600" b="0" i="0" u="none" strike="noStrike" kern="1200" cap="none" spc="-30" normalizeH="0" baseline="0" noProof="0">
                <a:ln w="3175">
                  <a:noFill/>
                </a:ln>
                <a:effectLst/>
                <a:uLnTx/>
                <a:uFillTx/>
                <a:latin typeface="Segoe UI Semibold"/>
                <a:ea typeface="+mn-ea"/>
                <a:cs typeface="Segoe UI" pitchFamily="34" charset="0"/>
              </a:rPr>
              <a:t>Microsoft Fabric</a:t>
            </a:r>
          </a:p>
        </p:txBody>
      </p:sp>
      <p:sp>
        <p:nvSpPr>
          <p:cNvPr id="43" name="Text Placeholder 103">
            <a:extLst>
              <a:ext uri="{FF2B5EF4-FFF2-40B4-BE49-F238E27FC236}">
                <a16:creationId xmlns:a16="http://schemas.microsoft.com/office/drawing/2014/main" id="{73778BA0-08C4-912F-F679-5B59FF7D328F}"/>
              </a:ext>
            </a:extLst>
          </p:cNvPr>
          <p:cNvSpPr txBox="1">
            <a:spLocks/>
          </p:cNvSpPr>
          <p:nvPr/>
        </p:nvSpPr>
        <p:spPr>
          <a:xfrm>
            <a:off x="2179645" y="1039774"/>
            <a:ext cx="9427138" cy="430887"/>
          </a:xfrm>
          <a:prstGeom prst="rect">
            <a:avLst/>
          </a:prstGeom>
        </p:spPr>
        <p:txBody>
          <a:bodyPr vert="horz" wrap="square" lIns="0" tIns="0" rIns="0" bIns="0" rtlCol="0" anchor="t">
            <a:spAutoFit/>
          </a:bodyPr>
          <a:lstStyle>
            <a:lvl1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70000">
                      <a:srgbClr val="49C5B1"/>
                    </a:gs>
                    <a:gs pos="0">
                      <a:srgbClr val="8DE971"/>
                    </a:gs>
                  </a:gsLst>
                  <a:path path="circle">
                    <a:fillToRect l="100000" t="100000"/>
                  </a:path>
                </a:gradFill>
                <a:latin typeface="+mj-lt"/>
                <a:ea typeface="+mn-ea"/>
                <a:cs typeface="Segoe UI" panose="020B0502040204020203" pitchFamily="34" charset="0"/>
              </a:defRPr>
            </a:lvl1pPr>
            <a:lvl2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2pPr>
            <a:lvl3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3pPr>
            <a:lvl4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4pPr>
            <a:lvl5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70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49C5B1"/>
                </a:solidFill>
                <a:effectLst/>
                <a:uLnTx/>
                <a:uFillTx/>
                <a:latin typeface="Segoe UI Semibold"/>
                <a:ea typeface="+mn-ea"/>
                <a:cs typeface="Segoe UI" panose="020B0502040204020203" pitchFamily="34" charset="0"/>
              </a:rPr>
              <a:t>Data analytics for the era of AI</a:t>
            </a:r>
          </a:p>
        </p:txBody>
      </p:sp>
      <p:sp>
        <p:nvSpPr>
          <p:cNvPr id="2" name="TextBox 1">
            <a:extLst>
              <a:ext uri="{FF2B5EF4-FFF2-40B4-BE49-F238E27FC236}">
                <a16:creationId xmlns:a16="http://schemas.microsoft.com/office/drawing/2014/main" id="{C4B88ECD-841A-B5F6-3AEF-D9194ED39CCB}"/>
              </a:ext>
            </a:extLst>
          </p:cNvPr>
          <p:cNvSpPr txBox="1"/>
          <p:nvPr/>
        </p:nvSpPr>
        <p:spPr>
          <a:xfrm>
            <a:off x="28989" y="6469981"/>
            <a:ext cx="2403389" cy="363946"/>
          </a:xfrm>
          <a:prstGeom prst="rect">
            <a:avLst/>
          </a:prstGeom>
          <a:solidFill>
            <a:srgbClr val="F2F2F2"/>
          </a:solidFill>
        </p:spPr>
        <p:txBody>
          <a:bodyPr wrap="square" rtlCol="0">
            <a:spAutoFit/>
          </a:bodyPr>
          <a:lstStyle/>
          <a:p>
            <a:endParaRPr lang="en-NL"/>
          </a:p>
        </p:txBody>
      </p:sp>
    </p:spTree>
    <p:extLst>
      <p:ext uri="{BB962C8B-B14F-4D97-AF65-F5344CB8AC3E}">
        <p14:creationId xmlns:p14="http://schemas.microsoft.com/office/powerpoint/2010/main" val="38277814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13" name="Rounded Rectangle 48">
            <a:extLst>
              <a:ext uri="{FF2B5EF4-FFF2-40B4-BE49-F238E27FC236}">
                <a16:creationId xmlns:a16="http://schemas.microsoft.com/office/drawing/2014/main" id="{0D034D72-530C-4F89-E7A1-EA16979E36E3}"/>
              </a:ext>
              <a:ext uri="{C183D7F6-B498-43B3-948B-1728B52AA6E4}">
                <adec:decorative xmlns:adec="http://schemas.microsoft.com/office/drawing/2017/decorative" val="1"/>
              </a:ext>
            </a:extLst>
          </p:cNvPr>
          <p:cNvSpPr/>
          <p:nvPr/>
        </p:nvSpPr>
        <p:spPr bwMode="auto">
          <a:xfrm>
            <a:off x="609600" y="1884485"/>
            <a:ext cx="10972800" cy="4437606"/>
          </a:xfrm>
          <a:prstGeom prst="roundRect">
            <a:avLst>
              <a:gd name="adj" fmla="val 364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14943">
                    <a:srgbClr val="000000"/>
                  </a:gs>
                  <a:gs pos="26437">
                    <a:srgbClr val="000000"/>
                  </a:gs>
                </a:gsLst>
                <a:lin ang="2700000" scaled="0"/>
              </a:gradFill>
              <a:effectLst/>
              <a:uLnTx/>
              <a:uFillTx/>
              <a:latin typeface="Segoe UI"/>
              <a:ea typeface="Open Sans" panose="020B0606030504020204" pitchFamily="34" charset="0"/>
              <a:cs typeface="Open Sans" panose="020B0606030504020204" pitchFamily="34" charset="0"/>
            </a:endParaRPr>
          </a:p>
        </p:txBody>
      </p:sp>
      <p:grpSp>
        <p:nvGrpSpPr>
          <p:cNvPr id="23" name="Group 22">
            <a:extLst>
              <a:ext uri="{FF2B5EF4-FFF2-40B4-BE49-F238E27FC236}">
                <a16:creationId xmlns:a16="http://schemas.microsoft.com/office/drawing/2014/main" id="{B1A14DA5-FD9F-66AA-17A6-3BBC19C9F93D}"/>
              </a:ext>
              <a:ext uri="{C183D7F6-B498-43B3-948B-1728B52AA6E4}">
                <adec:decorative xmlns:adec="http://schemas.microsoft.com/office/drawing/2017/decorative" val="1"/>
              </a:ext>
            </a:extLst>
          </p:cNvPr>
          <p:cNvGrpSpPr/>
          <p:nvPr/>
        </p:nvGrpSpPr>
        <p:grpSpPr>
          <a:xfrm>
            <a:off x="1631134" y="2733866"/>
            <a:ext cx="9074353" cy="3347659"/>
            <a:chOff x="1631134" y="2733866"/>
            <a:chExt cx="9074353" cy="3347659"/>
          </a:xfrm>
        </p:grpSpPr>
        <p:sp>
          <p:nvSpPr>
            <p:cNvPr id="26" name="Rounded Rectangle 45">
              <a:extLst>
                <a:ext uri="{FF2B5EF4-FFF2-40B4-BE49-F238E27FC236}">
                  <a16:creationId xmlns:a16="http://schemas.microsoft.com/office/drawing/2014/main" id="{5547481B-E431-A40B-581B-AA65ECA6E417}"/>
                </a:ext>
              </a:extLst>
            </p:cNvPr>
            <p:cNvSpPr/>
            <p:nvPr/>
          </p:nvSpPr>
          <p:spPr>
            <a:xfrm>
              <a:off x="1631134" y="2733866"/>
              <a:ext cx="9074353" cy="3347659"/>
            </a:xfrm>
            <a:prstGeom prst="roundRect">
              <a:avLst>
                <a:gd name="adj" fmla="val 3289"/>
              </a:avLst>
            </a:prstGeom>
            <a:solidFill>
              <a:schemeClr val="accent1"/>
            </a:solidFill>
            <a:ln>
              <a:noFill/>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28" name="TextBox 27">
              <a:extLst>
                <a:ext uri="{FF2B5EF4-FFF2-40B4-BE49-F238E27FC236}">
                  <a16:creationId xmlns:a16="http://schemas.microsoft.com/office/drawing/2014/main" id="{68826BA6-77C7-B267-6846-250F87467948}"/>
                </a:ext>
              </a:extLst>
            </p:cNvPr>
            <p:cNvSpPr txBox="1"/>
            <p:nvPr/>
          </p:nvSpPr>
          <p:spPr>
            <a:xfrm>
              <a:off x="2478637" y="5714786"/>
              <a:ext cx="7327154"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sp>
        <p:nvSpPr>
          <p:cNvPr id="30" name="Rounded Rectangle 48">
            <a:extLst>
              <a:ext uri="{FF2B5EF4-FFF2-40B4-BE49-F238E27FC236}">
                <a16:creationId xmlns:a16="http://schemas.microsoft.com/office/drawing/2014/main" id="{4159472C-98F7-8E2D-C2F8-C62CBE5786BA}"/>
              </a:ext>
              <a:ext uri="{C183D7F6-B498-43B3-948B-1728B52AA6E4}">
                <adec:decorative xmlns:adec="http://schemas.microsoft.com/office/drawing/2017/decorative" val="1"/>
              </a:ext>
            </a:extLst>
          </p:cNvPr>
          <p:cNvSpPr/>
          <p:nvPr/>
        </p:nvSpPr>
        <p:spPr>
          <a:xfrm>
            <a:off x="1854804" y="3468084"/>
            <a:ext cx="8627016" cy="2152966"/>
          </a:xfrm>
          <a:prstGeom prst="roundRect">
            <a:avLst>
              <a:gd name="adj" fmla="val 6034"/>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grpSp>
        <p:nvGrpSpPr>
          <p:cNvPr id="73" name="Group 72">
            <a:extLst>
              <a:ext uri="{FF2B5EF4-FFF2-40B4-BE49-F238E27FC236}">
                <a16:creationId xmlns:a16="http://schemas.microsoft.com/office/drawing/2014/main" id="{2A8A2E26-F41B-D1C0-6236-5A9243D6E899}"/>
              </a:ext>
              <a:ext uri="{C183D7F6-B498-43B3-948B-1728B52AA6E4}">
                <adec:decorative xmlns:adec="http://schemas.microsoft.com/office/drawing/2017/decorative" val="1"/>
              </a:ext>
            </a:extLst>
          </p:cNvPr>
          <p:cNvGrpSpPr/>
          <p:nvPr/>
        </p:nvGrpSpPr>
        <p:grpSpPr>
          <a:xfrm>
            <a:off x="1760308" y="2208822"/>
            <a:ext cx="8816006" cy="1127697"/>
            <a:chOff x="1760308" y="2208822"/>
            <a:chExt cx="8816006" cy="1127697"/>
          </a:xfrm>
        </p:grpSpPr>
        <p:grpSp>
          <p:nvGrpSpPr>
            <p:cNvPr id="72" name="Group 71">
              <a:extLst>
                <a:ext uri="{FF2B5EF4-FFF2-40B4-BE49-F238E27FC236}">
                  <a16:creationId xmlns:a16="http://schemas.microsoft.com/office/drawing/2014/main" id="{F6E3C169-CED3-2378-0D04-CCE1EC1CA060}"/>
                </a:ext>
              </a:extLst>
            </p:cNvPr>
            <p:cNvGrpSpPr/>
            <p:nvPr/>
          </p:nvGrpSpPr>
          <p:grpSpPr>
            <a:xfrm>
              <a:off x="1760308" y="2208822"/>
              <a:ext cx="8816006" cy="1127697"/>
              <a:chOff x="1760308" y="2208822"/>
              <a:chExt cx="8816006" cy="1127697"/>
            </a:xfrm>
          </p:grpSpPr>
          <p:sp>
            <p:nvSpPr>
              <p:cNvPr id="46" name="Rounded Rectangle 19">
                <a:extLst>
                  <a:ext uri="{FF2B5EF4-FFF2-40B4-BE49-F238E27FC236}">
                    <a16:creationId xmlns:a16="http://schemas.microsoft.com/office/drawing/2014/main" id="{DDB2075C-807C-D133-47D9-0CE480044610}"/>
                  </a:ext>
                </a:extLst>
              </p:cNvPr>
              <p:cNvSpPr/>
              <p:nvPr/>
            </p:nvSpPr>
            <p:spPr>
              <a:xfrm>
                <a:off x="9401350" y="2208822"/>
                <a:ext cx="1174964" cy="1127697"/>
              </a:xfrm>
              <a:prstGeom prst="roundRect">
                <a:avLst>
                  <a:gd name="adj" fmla="val 6586"/>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sp>
            <p:nvSpPr>
              <p:cNvPr id="47" name="Rounded Rectangle 19">
                <a:extLst>
                  <a:ext uri="{FF2B5EF4-FFF2-40B4-BE49-F238E27FC236}">
                    <a16:creationId xmlns:a16="http://schemas.microsoft.com/office/drawing/2014/main" id="{C751B94C-7194-C27C-C9B1-5D32347288C5}"/>
                  </a:ext>
                </a:extLst>
              </p:cNvPr>
              <p:cNvSpPr/>
              <p:nvPr/>
            </p:nvSpPr>
            <p:spPr>
              <a:xfrm>
                <a:off x="9396798" y="2955952"/>
                <a:ext cx="1174964" cy="159841"/>
              </a:xfrm>
              <a:prstGeom prst="roundRect">
                <a:avLst>
                  <a:gd name="adj" fmla="val 6586"/>
                </a:avLst>
              </a:prstGeom>
              <a:noFill/>
              <a:ln>
                <a:noFill/>
              </a:ln>
              <a:effectLst/>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Data Activator </a:t>
                </a:r>
              </a:p>
            </p:txBody>
          </p:sp>
          <p:pic>
            <p:nvPicPr>
              <p:cNvPr id="48" name="Picture 47" descr="Icon&#10;&#10;Description automatically generated">
                <a:extLst>
                  <a:ext uri="{FF2B5EF4-FFF2-40B4-BE49-F238E27FC236}">
                    <a16:creationId xmlns:a16="http://schemas.microsoft.com/office/drawing/2014/main" id="{EA1AE8D3-0639-9976-DDBB-2C7527D7B9C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16" r="-7916"/>
              <a:stretch/>
            </p:blipFill>
            <p:spPr>
              <a:xfrm>
                <a:off x="9693823" y="2357036"/>
                <a:ext cx="571902" cy="469986"/>
              </a:xfrm>
              <a:prstGeom prst="rect">
                <a:avLst/>
              </a:prstGeom>
            </p:spPr>
          </p:pic>
          <p:sp>
            <p:nvSpPr>
              <p:cNvPr id="49" name="Rounded Rectangle 15">
                <a:extLst>
                  <a:ext uri="{FF2B5EF4-FFF2-40B4-BE49-F238E27FC236}">
                    <a16:creationId xmlns:a16="http://schemas.microsoft.com/office/drawing/2014/main" id="{3B368A9C-FB25-D2F7-8DFB-1A9F678EDD0B}"/>
                  </a:ext>
                </a:extLst>
              </p:cNvPr>
              <p:cNvSpPr/>
              <p:nvPr/>
            </p:nvSpPr>
            <p:spPr>
              <a:xfrm>
                <a:off x="1764860" y="2214485"/>
                <a:ext cx="1174964" cy="1122033"/>
              </a:xfrm>
              <a:prstGeom prst="roundRect">
                <a:avLst>
                  <a:gd name="adj" fmla="val 6586"/>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sp>
            <p:nvSpPr>
              <p:cNvPr id="50" name="Rounded Rectangle 14">
                <a:extLst>
                  <a:ext uri="{FF2B5EF4-FFF2-40B4-BE49-F238E27FC236}">
                    <a16:creationId xmlns:a16="http://schemas.microsoft.com/office/drawing/2014/main" id="{B6001EDC-E97B-74CC-DF42-E0B062C6CDA1}"/>
                  </a:ext>
                </a:extLst>
              </p:cNvPr>
              <p:cNvSpPr/>
              <p:nvPr/>
            </p:nvSpPr>
            <p:spPr>
              <a:xfrm>
                <a:off x="1760308" y="2875274"/>
                <a:ext cx="1174964" cy="319683"/>
              </a:xfrm>
              <a:prstGeom prst="roundRect">
                <a:avLst>
                  <a:gd name="adj" fmla="val 6586"/>
                </a:avLst>
              </a:prstGeom>
              <a:noFill/>
              <a:ln>
                <a:noFill/>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Factory</a:t>
                </a:r>
              </a:p>
            </p:txBody>
          </p:sp>
          <p:pic>
            <p:nvPicPr>
              <p:cNvPr id="51" name="Graphic 12">
                <a:extLst>
                  <a:ext uri="{FF2B5EF4-FFF2-40B4-BE49-F238E27FC236}">
                    <a16:creationId xmlns:a16="http://schemas.microsoft.com/office/drawing/2014/main" id="{8AEF9221-AA15-10F9-98F0-21315828D7BD}"/>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7916" r="-7916"/>
              <a:stretch/>
            </p:blipFill>
            <p:spPr>
              <a:xfrm>
                <a:off x="2102409" y="2373759"/>
                <a:ext cx="458730" cy="423416"/>
              </a:xfrm>
              <a:prstGeom prst="rect">
                <a:avLst/>
              </a:prstGeom>
            </p:spPr>
          </p:pic>
          <p:sp>
            <p:nvSpPr>
              <p:cNvPr id="52" name="Rounded Rectangle 17">
                <a:extLst>
                  <a:ext uri="{FF2B5EF4-FFF2-40B4-BE49-F238E27FC236}">
                    <a16:creationId xmlns:a16="http://schemas.microsoft.com/office/drawing/2014/main" id="{F0642665-5AAC-7195-517E-EF595EACDEE2}"/>
                  </a:ext>
                </a:extLst>
              </p:cNvPr>
              <p:cNvSpPr/>
              <p:nvPr/>
            </p:nvSpPr>
            <p:spPr>
              <a:xfrm>
                <a:off x="4310356" y="2214485"/>
                <a:ext cx="1174965" cy="1122033"/>
              </a:xfrm>
              <a:prstGeom prst="roundRect">
                <a:avLst>
                  <a:gd name="adj" fmla="val 6586"/>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sp>
            <p:nvSpPr>
              <p:cNvPr id="53" name="Rounded Rectangle 15">
                <a:extLst>
                  <a:ext uri="{FF2B5EF4-FFF2-40B4-BE49-F238E27FC236}">
                    <a16:creationId xmlns:a16="http://schemas.microsoft.com/office/drawing/2014/main" id="{6798BE45-9D23-7099-B73E-0EE259830A92}"/>
                  </a:ext>
                </a:extLst>
              </p:cNvPr>
              <p:cNvSpPr/>
              <p:nvPr/>
            </p:nvSpPr>
            <p:spPr>
              <a:xfrm>
                <a:off x="4305804" y="2875274"/>
                <a:ext cx="1174965" cy="319683"/>
              </a:xfrm>
              <a:prstGeom prst="roundRect">
                <a:avLst>
                  <a:gd name="adj" fmla="val 6586"/>
                </a:avLst>
              </a:prstGeom>
              <a:noFill/>
              <a:ln>
                <a:noFill/>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Synapse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Science</a:t>
                </a:r>
              </a:p>
            </p:txBody>
          </p:sp>
          <p:sp>
            <p:nvSpPr>
              <p:cNvPr id="55" name="Rounded Rectangle 16">
                <a:extLst>
                  <a:ext uri="{FF2B5EF4-FFF2-40B4-BE49-F238E27FC236}">
                    <a16:creationId xmlns:a16="http://schemas.microsoft.com/office/drawing/2014/main" id="{403A41DA-BBA4-8EE7-96B1-C1E240556067}"/>
                  </a:ext>
                </a:extLst>
              </p:cNvPr>
              <p:cNvSpPr/>
              <p:nvPr/>
            </p:nvSpPr>
            <p:spPr>
              <a:xfrm>
                <a:off x="5583105" y="2214485"/>
                <a:ext cx="1174965" cy="1122033"/>
              </a:xfrm>
              <a:prstGeom prst="roundRect">
                <a:avLst>
                  <a:gd name="adj" fmla="val 6586"/>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sp>
            <p:nvSpPr>
              <p:cNvPr id="56" name="Rounded Rectangle 17">
                <a:extLst>
                  <a:ext uri="{FF2B5EF4-FFF2-40B4-BE49-F238E27FC236}">
                    <a16:creationId xmlns:a16="http://schemas.microsoft.com/office/drawing/2014/main" id="{C11E452A-B26E-7884-7945-1773CA1FF3C0}"/>
                  </a:ext>
                </a:extLst>
              </p:cNvPr>
              <p:cNvSpPr/>
              <p:nvPr/>
            </p:nvSpPr>
            <p:spPr>
              <a:xfrm>
                <a:off x="5578553" y="2875274"/>
                <a:ext cx="1174965" cy="319683"/>
              </a:xfrm>
              <a:prstGeom prst="roundRect">
                <a:avLst>
                  <a:gd name="adj" fmla="val 6586"/>
                </a:avLst>
              </a:prstGeom>
              <a:noFill/>
              <a:ln>
                <a:noFill/>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Synapse Data</a:t>
                </a:r>
                <a:br>
                  <a:rPr kumimoji="0" lang="en-US" sz="1000" b="0" i="0" u="none" strike="noStrike" kern="0" cap="none" spc="0" normalizeH="0" baseline="0" noProof="0">
                    <a:ln>
                      <a:noFill/>
                    </a:ln>
                    <a:solidFill>
                      <a:srgbClr val="000000"/>
                    </a:solidFill>
                    <a:effectLst/>
                    <a:uLnTx/>
                    <a:uFillTx/>
                    <a:latin typeface="Segoe UI Semibold"/>
                    <a:ea typeface="+mn-ea"/>
                    <a:cs typeface="+mn-cs"/>
                  </a:rPr>
                </a:br>
                <a:r>
                  <a:rPr kumimoji="0" lang="en-US" sz="1000" b="0" i="0" u="none" strike="noStrike" kern="0" cap="none" spc="0" normalizeH="0" baseline="0" noProof="0">
                    <a:ln>
                      <a:noFill/>
                    </a:ln>
                    <a:solidFill>
                      <a:srgbClr val="000000"/>
                    </a:solidFill>
                    <a:effectLst/>
                    <a:uLnTx/>
                    <a:uFillTx/>
                    <a:latin typeface="Segoe UI Semibold"/>
                    <a:ea typeface="+mn-ea"/>
                    <a:cs typeface="+mn-cs"/>
                  </a:rPr>
                  <a:t>Warehousing</a:t>
                </a:r>
              </a:p>
            </p:txBody>
          </p:sp>
          <p:pic>
            <p:nvPicPr>
              <p:cNvPr id="71" name="Graphic 70">
                <a:extLst>
                  <a:ext uri="{FF2B5EF4-FFF2-40B4-BE49-F238E27FC236}">
                    <a16:creationId xmlns:a16="http://schemas.microsoft.com/office/drawing/2014/main" id="{677C65B8-1F80-F3FA-7A71-E1B9DDFED9F9}"/>
                  </a:ext>
                </a:extLst>
              </p:cNvPr>
              <p:cNvPicPr>
                <a:picLocks/>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7916" r="-7916"/>
              <a:stretch/>
            </p:blipFill>
            <p:spPr>
              <a:xfrm>
                <a:off x="5920918" y="2374900"/>
                <a:ext cx="499339" cy="431090"/>
              </a:xfrm>
              <a:prstGeom prst="rect">
                <a:avLst/>
              </a:prstGeom>
            </p:spPr>
          </p:pic>
          <p:sp>
            <p:nvSpPr>
              <p:cNvPr id="58" name="Rounded Rectangle 13">
                <a:extLst>
                  <a:ext uri="{FF2B5EF4-FFF2-40B4-BE49-F238E27FC236}">
                    <a16:creationId xmlns:a16="http://schemas.microsoft.com/office/drawing/2014/main" id="{E84C0998-CADE-84EE-81BF-5FBE0E2251DE}"/>
                  </a:ext>
                </a:extLst>
              </p:cNvPr>
              <p:cNvSpPr/>
              <p:nvPr/>
            </p:nvSpPr>
            <p:spPr>
              <a:xfrm>
                <a:off x="3037607" y="2214485"/>
                <a:ext cx="1174965" cy="1122033"/>
              </a:xfrm>
              <a:prstGeom prst="roundRect">
                <a:avLst>
                  <a:gd name="adj" fmla="val 6586"/>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sp>
            <p:nvSpPr>
              <p:cNvPr id="59" name="Rounded Rectangle 16">
                <a:extLst>
                  <a:ext uri="{FF2B5EF4-FFF2-40B4-BE49-F238E27FC236}">
                    <a16:creationId xmlns:a16="http://schemas.microsoft.com/office/drawing/2014/main" id="{03A56397-D017-F5C2-4C50-4C9E66B13945}"/>
                  </a:ext>
                </a:extLst>
              </p:cNvPr>
              <p:cNvSpPr/>
              <p:nvPr/>
            </p:nvSpPr>
            <p:spPr>
              <a:xfrm>
                <a:off x="3033055" y="2875274"/>
                <a:ext cx="1174965" cy="319683"/>
              </a:xfrm>
              <a:prstGeom prst="roundRect">
                <a:avLst>
                  <a:gd name="adj" fmla="val 6586"/>
                </a:avLst>
              </a:prstGeom>
              <a:noFill/>
              <a:ln>
                <a:noFill/>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Synapse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Engineering</a:t>
                </a:r>
              </a:p>
            </p:txBody>
          </p:sp>
          <p:sp>
            <p:nvSpPr>
              <p:cNvPr id="61" name="Rounded Rectangle 20">
                <a:extLst>
                  <a:ext uri="{FF2B5EF4-FFF2-40B4-BE49-F238E27FC236}">
                    <a16:creationId xmlns:a16="http://schemas.microsoft.com/office/drawing/2014/main" id="{0A1CEFD9-9A36-C361-969C-6A5CBB4450A3}"/>
                  </a:ext>
                </a:extLst>
              </p:cNvPr>
              <p:cNvSpPr/>
              <p:nvPr/>
            </p:nvSpPr>
            <p:spPr>
              <a:xfrm>
                <a:off x="6855854" y="2214485"/>
                <a:ext cx="1174965" cy="1122033"/>
              </a:xfrm>
              <a:prstGeom prst="roundRect">
                <a:avLst>
                  <a:gd name="adj" fmla="val 6586"/>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sp>
            <p:nvSpPr>
              <p:cNvPr id="62" name="Rounded Rectangle 18">
                <a:extLst>
                  <a:ext uri="{FF2B5EF4-FFF2-40B4-BE49-F238E27FC236}">
                    <a16:creationId xmlns:a16="http://schemas.microsoft.com/office/drawing/2014/main" id="{AC63E01B-5783-1ADF-0C55-B7C3AFCC7524}"/>
                  </a:ext>
                </a:extLst>
              </p:cNvPr>
              <p:cNvSpPr/>
              <p:nvPr/>
            </p:nvSpPr>
            <p:spPr>
              <a:xfrm>
                <a:off x="6851302" y="2875274"/>
                <a:ext cx="1174965" cy="319683"/>
              </a:xfrm>
              <a:prstGeom prst="roundRect">
                <a:avLst>
                  <a:gd name="adj" fmla="val 6586"/>
                </a:avLst>
              </a:prstGeom>
              <a:noFill/>
              <a:ln>
                <a:noFill/>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Synapse Re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mn-cs"/>
                  </a:rPr>
                  <a:t>Time Analytics</a:t>
                </a:r>
              </a:p>
            </p:txBody>
          </p:sp>
          <p:pic>
            <p:nvPicPr>
              <p:cNvPr id="63" name="Graphic 24">
                <a:extLst>
                  <a:ext uri="{FF2B5EF4-FFF2-40B4-BE49-F238E27FC236}">
                    <a16:creationId xmlns:a16="http://schemas.microsoft.com/office/drawing/2014/main" id="{2CA5B95C-2860-D1F7-7061-AF847A245DC3}"/>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7916" r="-7916"/>
              <a:stretch/>
            </p:blipFill>
            <p:spPr>
              <a:xfrm>
                <a:off x="7150536" y="2361938"/>
                <a:ext cx="509187" cy="469986"/>
              </a:xfrm>
              <a:prstGeom prst="rect">
                <a:avLst/>
              </a:prstGeom>
            </p:spPr>
          </p:pic>
          <p:sp>
            <p:nvSpPr>
              <p:cNvPr id="64" name="Rounded Rectangle 22">
                <a:extLst>
                  <a:ext uri="{FF2B5EF4-FFF2-40B4-BE49-F238E27FC236}">
                    <a16:creationId xmlns:a16="http://schemas.microsoft.com/office/drawing/2014/main" id="{0A2308E8-700D-3688-2194-C667F9BE40F0}"/>
                  </a:ext>
                </a:extLst>
              </p:cNvPr>
              <p:cNvSpPr/>
              <p:nvPr/>
            </p:nvSpPr>
            <p:spPr>
              <a:xfrm>
                <a:off x="8128602" y="2214485"/>
                <a:ext cx="1174965" cy="1122033"/>
              </a:xfrm>
              <a:prstGeom prst="roundRect">
                <a:avLst>
                  <a:gd name="adj" fmla="val 6586"/>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w="3175">
                    <a:noFill/>
                  </a:ln>
                  <a:gradFill>
                    <a:gsLst>
                      <a:gs pos="8621">
                        <a:srgbClr val="000000"/>
                      </a:gs>
                      <a:gs pos="20225">
                        <a:srgbClr val="000000"/>
                      </a:gs>
                    </a:gsLst>
                    <a:lin ang="5400000" scaled="1"/>
                  </a:gradFill>
                  <a:effectLst/>
                  <a:uLnTx/>
                  <a:uFillTx/>
                  <a:latin typeface="Segoe UI Semibold"/>
                  <a:ea typeface="+mn-ea"/>
                  <a:cs typeface="Segoe UI" pitchFamily="34" charset="0"/>
                </a:endParaRPr>
              </a:p>
            </p:txBody>
          </p:sp>
          <p:sp>
            <p:nvSpPr>
              <p:cNvPr id="65" name="Rounded Rectangle 19">
                <a:extLst>
                  <a:ext uri="{FF2B5EF4-FFF2-40B4-BE49-F238E27FC236}">
                    <a16:creationId xmlns:a16="http://schemas.microsoft.com/office/drawing/2014/main" id="{4153C39C-9999-1AA7-4503-28D89BED1172}"/>
                  </a:ext>
                </a:extLst>
              </p:cNvPr>
              <p:cNvSpPr/>
              <p:nvPr/>
            </p:nvSpPr>
            <p:spPr>
              <a:xfrm>
                <a:off x="8124049" y="2954271"/>
                <a:ext cx="1174965" cy="159841"/>
              </a:xfrm>
              <a:prstGeom prst="roundRect">
                <a:avLst>
                  <a:gd name="adj" fmla="val 6586"/>
                </a:avLst>
              </a:prstGeom>
              <a:noFill/>
              <a:ln>
                <a:noFill/>
              </a:ln>
              <a:effectLst/>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Power BI</a:t>
                </a:r>
              </a:p>
            </p:txBody>
          </p:sp>
          <p:pic>
            <p:nvPicPr>
              <p:cNvPr id="66" name="Graphic 27">
                <a:extLst>
                  <a:ext uri="{FF2B5EF4-FFF2-40B4-BE49-F238E27FC236}">
                    <a16:creationId xmlns:a16="http://schemas.microsoft.com/office/drawing/2014/main" id="{1384DFF5-70F5-BD2E-1430-D3A5E8A58122}"/>
                  </a:ext>
                </a:extLst>
              </p:cNvPr>
              <p:cNvPicPr>
                <a:picLocks noChangeAspect="1"/>
              </p:cNvPicPr>
              <p:nvPr/>
            </p:nvPicPr>
            <p:blipFill rotWithShape="1">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l="-7916" r="-7916"/>
              <a:stretch/>
            </p:blipFill>
            <p:spPr>
              <a:xfrm>
                <a:off x="8430911" y="2361938"/>
                <a:ext cx="509185" cy="469986"/>
              </a:xfrm>
              <a:prstGeom prst="rect">
                <a:avLst/>
              </a:prstGeom>
            </p:spPr>
          </p:pic>
        </p:grpSp>
        <p:pic>
          <p:nvPicPr>
            <p:cNvPr id="2" name="Graphic 1">
              <a:extLst>
                <a:ext uri="{FF2B5EF4-FFF2-40B4-BE49-F238E27FC236}">
                  <a16:creationId xmlns:a16="http://schemas.microsoft.com/office/drawing/2014/main" id="{782487B4-2052-CBD9-E915-9E023BAA9291}"/>
                </a:ext>
              </a:extLst>
            </p:cNvPr>
            <p:cNvPicPr>
              <a:picLocks noChangeAspect="1"/>
            </p:cNvPicPr>
            <p:nvPr/>
          </p:nvPicPr>
          <p:blipFill rotWithShape="1">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rcRect l="-7916" r="-7916"/>
            <a:stretch/>
          </p:blipFill>
          <p:spPr>
            <a:xfrm>
              <a:off x="3364246" y="2350474"/>
              <a:ext cx="472383" cy="407818"/>
            </a:xfrm>
            <a:prstGeom prst="rect">
              <a:avLst/>
            </a:prstGeom>
          </p:spPr>
        </p:pic>
        <p:pic>
          <p:nvPicPr>
            <p:cNvPr id="4" name="Graphic 3">
              <a:extLst>
                <a:ext uri="{FF2B5EF4-FFF2-40B4-BE49-F238E27FC236}">
                  <a16:creationId xmlns:a16="http://schemas.microsoft.com/office/drawing/2014/main" id="{B42F7E3C-FE04-2F60-C115-6FB184E8F82D}"/>
                </a:ext>
              </a:extLst>
            </p:cNvPr>
            <p:cNvPicPr>
              <a:picLocks noChangeAspect="1"/>
            </p:cNvPicPr>
            <p:nvPr/>
          </p:nvPicPr>
          <p:blipFill rotWithShape="1">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rcRect l="-7916" r="-7916"/>
            <a:stretch/>
          </p:blipFill>
          <p:spPr>
            <a:xfrm>
              <a:off x="4661647" y="2338260"/>
              <a:ext cx="472385" cy="407820"/>
            </a:xfrm>
            <a:prstGeom prst="rect">
              <a:avLst/>
            </a:prstGeom>
          </p:spPr>
        </p:pic>
      </p:grpSp>
      <p:cxnSp>
        <p:nvCxnSpPr>
          <p:cNvPr id="5" name="Straight Connector 4">
            <a:extLst>
              <a:ext uri="{FF2B5EF4-FFF2-40B4-BE49-F238E27FC236}">
                <a16:creationId xmlns:a16="http://schemas.microsoft.com/office/drawing/2014/main" id="{B2BE6C43-0EBA-CED1-07BA-5D95BCC0B89D}"/>
              </a:ext>
              <a:ext uri="{C183D7F6-B498-43B3-948B-1728B52AA6E4}">
                <adec:decorative xmlns:adec="http://schemas.microsoft.com/office/drawing/2017/decorative" val="1"/>
              </a:ext>
            </a:extLst>
          </p:cNvPr>
          <p:cNvCxnSpPr>
            <a:cxnSpLocks/>
          </p:cNvCxnSpPr>
          <p:nvPr/>
        </p:nvCxnSpPr>
        <p:spPr>
          <a:xfrm>
            <a:off x="1693610" y="707833"/>
            <a:ext cx="0" cy="991014"/>
          </a:xfrm>
          <a:prstGeom prst="line">
            <a:avLst/>
          </a:prstGeom>
          <a:ln w="15875">
            <a:gradFill>
              <a:gsLst>
                <a:gs pos="0">
                  <a:schemeClr val="accent1">
                    <a:lumMod val="5000"/>
                    <a:lumOff val="95000"/>
                    <a:alpha val="0"/>
                  </a:schemeClr>
                </a:gs>
                <a:gs pos="77000">
                  <a:schemeClr val="accent2"/>
                </a:gs>
                <a:gs pos="28000">
                  <a:schemeClr val="accent2"/>
                </a:gs>
                <a:gs pos="100000">
                  <a:schemeClr val="tx1">
                    <a:alpha val="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12">
            <a:extLst>
              <a:ext uri="{FF2B5EF4-FFF2-40B4-BE49-F238E27FC236}">
                <a16:creationId xmlns:a16="http://schemas.microsoft.com/office/drawing/2014/main" id="{67188CA9-2946-0F84-3C06-A3757DD4FAA8}"/>
              </a:ext>
            </a:extLst>
          </p:cNvPr>
          <p:cNvSpPr txBox="1">
            <a:spLocks noGrp="1"/>
          </p:cNvSpPr>
          <p:nvPr>
            <p:ph type="title" idx="4294967295"/>
          </p:nvPr>
        </p:nvSpPr>
        <p:spPr>
          <a:xfrm>
            <a:off x="1954596" y="609600"/>
            <a:ext cx="3942426" cy="64633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algn="l" defTabSz="914400" rtl="0" eaLnBrk="1" latinLnBrk="0" hangingPunct="1">
              <a:lnSpc>
                <a:spcPct val="9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lang="en-US">
                <a:solidFill>
                  <a:srgbClr val="225B61"/>
                </a:solidFill>
              </a:rPr>
              <a:t>Microsoft Fabric      </a:t>
            </a:r>
          </a:p>
        </p:txBody>
      </p:sp>
      <p:pic>
        <p:nvPicPr>
          <p:cNvPr id="37" name="Picture 36" descr="Microsoft Fabric logo">
            <a:extLst>
              <a:ext uri="{FF2B5EF4-FFF2-40B4-BE49-F238E27FC236}">
                <a16:creationId xmlns:a16="http://schemas.microsoft.com/office/drawing/2014/main" id="{58E16AFE-090B-88A3-AC23-23EA56FBF28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53362" y="841667"/>
            <a:ext cx="723347" cy="723347"/>
          </a:xfrm>
          <a:prstGeom prst="rect">
            <a:avLst/>
          </a:prstGeom>
        </p:spPr>
      </p:pic>
      <p:sp>
        <p:nvSpPr>
          <p:cNvPr id="57" name="Subtitle 11">
            <a:extLst>
              <a:ext uri="{FF2B5EF4-FFF2-40B4-BE49-F238E27FC236}">
                <a16:creationId xmlns:a16="http://schemas.microsoft.com/office/drawing/2014/main" id="{ED51B56A-8B2E-51D7-AC41-02A9F8DE5723}"/>
              </a:ext>
            </a:extLst>
          </p:cNvPr>
          <p:cNvSpPr txBox="1">
            <a:spLocks/>
          </p:cNvSpPr>
          <p:nvPr/>
        </p:nvSpPr>
        <p:spPr>
          <a:xfrm>
            <a:off x="1954596" y="1316736"/>
            <a:ext cx="5681299" cy="332399"/>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117865"/>
                </a:solidFill>
                <a:effectLst/>
                <a:uLnTx/>
                <a:uFillTx/>
                <a:latin typeface="Segoe UI" panose="020B0502040204020203" pitchFamily="34" charset="0"/>
                <a:ea typeface="+mn-ea"/>
                <a:cs typeface="Segoe UI" panose="020B0502040204020203" pitchFamily="34" charset="0"/>
              </a:rPr>
              <a:t>The unified data platform for the era of AI</a:t>
            </a:r>
          </a:p>
        </p:txBody>
      </p:sp>
      <p:sp>
        <p:nvSpPr>
          <p:cNvPr id="74" name="Rectangle 73" descr="Seven small boxes namely Data Factory, Synapse Data Engineering, Synapse Data Science, Synapse Data Warehousing, Synapse Real Time Analytics, Power BI, Data Activator enclosed by a larger box named OneLake&#10;">
            <a:extLst>
              <a:ext uri="{FF2B5EF4-FFF2-40B4-BE49-F238E27FC236}">
                <a16:creationId xmlns:a16="http://schemas.microsoft.com/office/drawing/2014/main" id="{C12B6FB6-A118-9120-48DC-0A28178FA62E}"/>
              </a:ext>
            </a:extLst>
          </p:cNvPr>
          <p:cNvSpPr/>
          <p:nvPr/>
        </p:nvSpPr>
        <p:spPr>
          <a:xfrm>
            <a:off x="653362" y="1698847"/>
            <a:ext cx="178865" cy="1788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1" name="Group 30" descr="One Lake Product icon">
            <a:extLst>
              <a:ext uri="{FF2B5EF4-FFF2-40B4-BE49-F238E27FC236}">
                <a16:creationId xmlns:a16="http://schemas.microsoft.com/office/drawing/2014/main" id="{D46CCF91-3503-AA5C-F645-7DE4C8EC2F9B}"/>
              </a:ext>
            </a:extLst>
          </p:cNvPr>
          <p:cNvGrpSpPr/>
          <p:nvPr/>
        </p:nvGrpSpPr>
        <p:grpSpPr>
          <a:xfrm>
            <a:off x="5578553" y="3897344"/>
            <a:ext cx="1128777" cy="1421698"/>
            <a:chOff x="5736652" y="3926296"/>
            <a:chExt cx="954914" cy="1202717"/>
          </a:xfrm>
        </p:grpSpPr>
        <p:sp>
          <p:nvSpPr>
            <p:cNvPr id="33" name="Rounded Rectangle 45">
              <a:extLst>
                <a:ext uri="{FF2B5EF4-FFF2-40B4-BE49-F238E27FC236}">
                  <a16:creationId xmlns:a16="http://schemas.microsoft.com/office/drawing/2014/main" id="{A97F079F-35FD-7D93-E68C-BFB9A1FECC5E}"/>
                </a:ext>
              </a:extLst>
            </p:cNvPr>
            <p:cNvSpPr/>
            <p:nvPr/>
          </p:nvSpPr>
          <p:spPr>
            <a:xfrm>
              <a:off x="5788221" y="4863606"/>
              <a:ext cx="850543" cy="265407"/>
            </a:xfrm>
            <a:prstGeom prst="roundRect">
              <a:avLst>
                <a:gd name="adj" fmla="val 4528"/>
              </a:avLst>
            </a:prstGeom>
            <a:noFill/>
            <a:ln>
              <a:noFill/>
            </a:ln>
          </p:spPr>
          <p:style>
            <a:lnRef idx="0">
              <a:scrgbClr r="0" g="0" b="0"/>
            </a:lnRef>
            <a:fillRef idx="0">
              <a:scrgbClr r="0" g="0" b="0"/>
            </a:fillRef>
            <a:effectRef idx="0">
              <a:scrgbClr r="0" g="0" b="0"/>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OneLake</a:t>
              </a:r>
            </a:p>
          </p:txBody>
        </p:sp>
        <p:pic>
          <p:nvPicPr>
            <p:cNvPr id="34" name="Picture 33" descr="Logo, company name&#10;&#10;Description automatically generated">
              <a:extLst>
                <a:ext uri="{FF2B5EF4-FFF2-40B4-BE49-F238E27FC236}">
                  <a16:creationId xmlns:a16="http://schemas.microsoft.com/office/drawing/2014/main" id="{5F9BDFA0-2BFC-64C9-5088-0F334FF518B8}"/>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l="-7916" r="-7916"/>
            <a:stretch/>
          </p:blipFill>
          <p:spPr>
            <a:xfrm>
              <a:off x="5736652" y="3926296"/>
              <a:ext cx="954914" cy="826010"/>
            </a:xfrm>
            <a:prstGeom prst="rect">
              <a:avLst/>
            </a:prstGeom>
          </p:spPr>
        </p:pic>
      </p:grpSp>
      <p:sp>
        <p:nvSpPr>
          <p:cNvPr id="3" name="TextBox 2">
            <a:extLst>
              <a:ext uri="{FF2B5EF4-FFF2-40B4-BE49-F238E27FC236}">
                <a16:creationId xmlns:a16="http://schemas.microsoft.com/office/drawing/2014/main" id="{D35A7D87-60AF-4343-7107-C3FD59AE3220}"/>
              </a:ext>
            </a:extLst>
          </p:cNvPr>
          <p:cNvSpPr txBox="1"/>
          <p:nvPr/>
        </p:nvSpPr>
        <p:spPr>
          <a:xfrm>
            <a:off x="-28079" y="6413245"/>
            <a:ext cx="2403389" cy="363946"/>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128958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8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80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42" presetClass="path" presetSubtype="0" decel="50000" fill="hold" grpId="1" nodeType="withEffect">
                                  <p:stCondLst>
                                    <p:cond delay="0"/>
                                  </p:stCondLst>
                                  <p:childTnLst>
                                    <p:animMotion origin="layout" path="M -0.01745 0.00093 L 0.00091 0.00093 " pathEditMode="relative" rAng="0" ptsTypes="AA">
                                      <p:cBhvr>
                                        <p:cTn id="21" dur="500" fill="hold"/>
                                        <p:tgtEl>
                                          <p:spTgt spid="10"/>
                                        </p:tgtEl>
                                        <p:attrNameLst>
                                          <p:attrName>ppt_x</p:attrName>
                                          <p:attrName>ppt_y</p:attrName>
                                        </p:attrNameLst>
                                      </p:cBhvr>
                                      <p:rCtr x="911" y="0"/>
                                    </p:animMotion>
                                  </p:childTnLst>
                                </p:cTn>
                              </p:par>
                              <p:par>
                                <p:cTn id="22" presetID="10" presetClass="entr" presetSubtype="0" fill="hold" grpId="0" nodeType="with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500"/>
                                        <p:tgtEl>
                                          <p:spTgt spid="57"/>
                                        </p:tgtEl>
                                      </p:cBhvr>
                                    </p:animEffect>
                                  </p:childTnLst>
                                </p:cTn>
                              </p:par>
                              <p:par>
                                <p:cTn id="25" presetID="42" presetClass="path" presetSubtype="0" decel="50000" fill="hold" grpId="1" nodeType="withEffect">
                                  <p:stCondLst>
                                    <p:cond delay="0"/>
                                  </p:stCondLst>
                                  <p:childTnLst>
                                    <p:animMotion origin="layout" path="M -0.01745 0.00093 L 0.00091 0.00093 " pathEditMode="relative" rAng="0" ptsTypes="AA">
                                      <p:cBhvr>
                                        <p:cTn id="26" dur="500" fill="hold"/>
                                        <p:tgtEl>
                                          <p:spTgt spid="57"/>
                                        </p:tgtEl>
                                        <p:attrNameLst>
                                          <p:attrName>ppt_x</p:attrName>
                                          <p:attrName>ppt_y</p:attrName>
                                        </p:attrNameLst>
                                      </p:cBhvr>
                                      <p:rCtr x="911" y="0"/>
                                    </p:animMotion>
                                  </p:childTnLst>
                                </p:cTn>
                              </p:par>
                              <p:par>
                                <p:cTn id="27" presetID="10" presetClass="entr" presetSubtype="0" fill="hold" nodeType="withEffect">
                                  <p:stCondLst>
                                    <p:cond delay="60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par>
                                <p:cTn id="30" presetID="42" presetClass="path" presetSubtype="0" decel="100000" fill="hold" nodeType="withEffect">
                                  <p:stCondLst>
                                    <p:cond delay="600"/>
                                  </p:stCondLst>
                                  <p:childTnLst>
                                    <p:animMotion origin="layout" path="M 2.08333E-7 -3.7037E-6 L 2.08333E-7 0.03542 " pathEditMode="relative" rAng="0" ptsTypes="AA">
                                      <p:cBhvr>
                                        <p:cTn id="31" dur="700" spd="-100000" fill="hold"/>
                                        <p:tgtEl>
                                          <p:spTgt spid="73"/>
                                        </p:tgtEl>
                                        <p:attrNameLst>
                                          <p:attrName>ppt_x</p:attrName>
                                          <p:attrName>ppt_y</p:attrName>
                                        </p:attrNameLst>
                                      </p:cBhvr>
                                      <p:rCtr x="0" y="1759"/>
                                    </p:animMotion>
                                  </p:childTnLst>
                                </p:cTn>
                              </p:par>
                              <p:par>
                                <p:cTn id="32" presetID="10" presetClass="entr" presetSubtype="0" fill="hold" nodeType="withEffect">
                                  <p:stCondLst>
                                    <p:cond delay="60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par>
                                <p:cTn id="35" presetID="42" presetClass="path" presetSubtype="0" decel="100000" fill="hold" nodeType="withEffect">
                                  <p:stCondLst>
                                    <p:cond delay="600"/>
                                  </p:stCondLst>
                                  <p:childTnLst>
                                    <p:animMotion origin="layout" path="M 2.08333E-7 -3.7037E-6 L 2.08333E-7 0.03542 " pathEditMode="relative" rAng="0" ptsTypes="AA">
                                      <p:cBhvr>
                                        <p:cTn id="36" dur="700" spd="-100000" fill="hold"/>
                                        <p:tgtEl>
                                          <p:spTgt spid="31"/>
                                        </p:tgtEl>
                                        <p:attrNameLst>
                                          <p:attrName>ppt_x</p:attrName>
                                          <p:attrName>ppt_y</p:attrName>
                                        </p:attrNameLst>
                                      </p:cBhvr>
                                      <p:rCtr x="0" y="1759"/>
                                    </p:animMotion>
                                  </p:childTnLst>
                                </p:cTn>
                              </p:par>
                              <p:par>
                                <p:cTn id="37" presetID="10" presetClass="entr" presetSubtype="0" fill="hold" grpId="0" nodeType="withEffect">
                                  <p:stCondLst>
                                    <p:cond delay="60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par>
                                <p:cTn id="40" presetID="42" presetClass="path" presetSubtype="0" decel="100000" fill="hold" grpId="1" nodeType="withEffect">
                                  <p:stCondLst>
                                    <p:cond delay="600"/>
                                  </p:stCondLst>
                                  <p:childTnLst>
                                    <p:animMotion origin="layout" path="M 2.08333E-7 -3.7037E-6 L 2.08333E-7 0.03542 " pathEditMode="relative" rAng="0" ptsTypes="AA">
                                      <p:cBhvr>
                                        <p:cTn id="41" dur="700" spd="-100000" fill="hold"/>
                                        <p:tgtEl>
                                          <p:spTgt spid="3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0" grpId="0" animBg="1"/>
      <p:bldP spid="30" grpId="1" animBg="1"/>
      <p:bldP spid="10" grpId="0"/>
      <p:bldP spid="10" grpId="1"/>
      <p:bldP spid="57" grpId="0"/>
      <p:bldP spid="57" grpId="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203EA-3427-0607-CFB6-7B15065FDC02}"/>
              </a:ext>
            </a:extLst>
          </p:cNvPr>
          <p:cNvSpPr>
            <a:spLocks noGrp="1"/>
          </p:cNvSpPr>
          <p:nvPr>
            <p:ph type="title"/>
          </p:nvPr>
        </p:nvSpPr>
        <p:spPr/>
        <p:txBody>
          <a:bodyPr/>
          <a:lstStyle/>
          <a:p>
            <a:r>
              <a:rPr lang="en-US">
                <a:solidFill>
                  <a:srgbClr val="225B61"/>
                </a:solidFill>
              </a:rPr>
              <a:t>Microsoft Fabric</a:t>
            </a:r>
          </a:p>
        </p:txBody>
      </p:sp>
      <p:grpSp>
        <p:nvGrpSpPr>
          <p:cNvPr id="18" name="!!B1">
            <a:extLst>
              <a:ext uri="{FF2B5EF4-FFF2-40B4-BE49-F238E27FC236}">
                <a16:creationId xmlns:a16="http://schemas.microsoft.com/office/drawing/2014/main" id="{836E793A-2B8B-F127-7AE9-4D3910CB8C7F}"/>
              </a:ext>
            </a:extLst>
          </p:cNvPr>
          <p:cNvGrpSpPr/>
          <p:nvPr/>
        </p:nvGrpSpPr>
        <p:grpSpPr>
          <a:xfrm>
            <a:off x="603132" y="2461185"/>
            <a:ext cx="2631594" cy="3271775"/>
            <a:chOff x="602352" y="2461047"/>
            <a:chExt cx="2631967" cy="3272239"/>
          </a:xfrm>
        </p:grpSpPr>
        <p:sp>
          <p:nvSpPr>
            <p:cNvPr id="105" name="Rectangle: Rounded Corners 5">
              <a:extLst>
                <a:ext uri="{FF2B5EF4-FFF2-40B4-BE49-F238E27FC236}">
                  <a16:creationId xmlns:a16="http://schemas.microsoft.com/office/drawing/2014/main" id="{E83A8F69-3AC0-8846-93E7-7C2AC56DCDC3}"/>
                </a:ext>
              </a:extLst>
            </p:cNvPr>
            <p:cNvSpPr/>
            <p:nvPr/>
          </p:nvSpPr>
          <p:spPr bwMode="auto">
            <a:xfrm>
              <a:off x="602352" y="2461047"/>
              <a:ext cx="2631967" cy="3272239"/>
            </a:xfrm>
            <a:prstGeom prst="roundRect">
              <a:avLst>
                <a:gd name="adj" fmla="val 5521"/>
              </a:avLst>
            </a:prstGeom>
            <a:gradFill flip="none" rotWithShape="1">
              <a:gsLst>
                <a:gs pos="20000">
                  <a:schemeClr val="tx2"/>
                </a:gs>
                <a:gs pos="100000">
                  <a:schemeClr val="accent2"/>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a:solidFill>
                    <a:srgbClr val="FFFFFF"/>
                  </a:solidFill>
                  <a:latin typeface="Segoe UI Semibold"/>
                  <a:cs typeface="Segoe UI"/>
                </a:rPr>
                <a:t>Complete Analytics Platform</a:t>
              </a:r>
            </a:p>
            <a:p>
              <a:pPr defTabSz="932293" fontAlgn="base">
                <a:spcBef>
                  <a:spcPts val="1200"/>
                </a:spcBef>
                <a:spcAft>
                  <a:spcPct val="0"/>
                </a:spcAft>
                <a:defRPr/>
              </a:pPr>
              <a:endParaRPr lang="en-US" sz="3200" b="1" kern="0">
                <a:solidFill>
                  <a:srgbClr val="FFFFFF"/>
                </a:solidFill>
                <a:latin typeface="Segoe UI"/>
                <a:cs typeface="Segoe UI" pitchFamily="34" charset="0"/>
              </a:endParaRPr>
            </a:p>
            <a:p>
              <a:pPr defTabSz="932293" fontAlgn="base">
                <a:spcAft>
                  <a:spcPct val="0"/>
                </a:spcAft>
                <a:defRPr/>
              </a:pPr>
              <a:r>
                <a:rPr lang="en-US" sz="1400" kern="0">
                  <a:solidFill>
                    <a:srgbClr val="FFFFFF"/>
                  </a:solidFill>
                  <a:latin typeface="Segoe UI Semibold"/>
                  <a:cs typeface="Segoe UI" pitchFamily="34" charset="0"/>
                </a:rPr>
                <a:t>Everything, Best of Breed</a:t>
              </a:r>
            </a:p>
            <a:p>
              <a:pPr defTabSz="932293" fontAlgn="base">
                <a:spcBef>
                  <a:spcPts val="1200"/>
                </a:spcBef>
                <a:spcAft>
                  <a:spcPct val="0"/>
                </a:spcAft>
                <a:defRPr/>
              </a:pPr>
              <a:r>
                <a:rPr lang="en-US" sz="1400" kern="0">
                  <a:solidFill>
                    <a:srgbClr val="FFFFFF"/>
                  </a:solidFill>
                  <a:latin typeface="Segoe UI Semibold"/>
                  <a:cs typeface="Segoe UI" pitchFamily="34" charset="0"/>
                </a:rPr>
                <a:t>Unified</a:t>
              </a:r>
            </a:p>
            <a:p>
              <a:pPr defTabSz="932293" fontAlgn="base">
                <a:spcBef>
                  <a:spcPts val="1200"/>
                </a:spcBef>
                <a:spcAft>
                  <a:spcPct val="0"/>
                </a:spcAft>
                <a:defRPr/>
              </a:pPr>
              <a:r>
                <a:rPr lang="en-US" sz="1400" kern="0">
                  <a:solidFill>
                    <a:srgbClr val="FFFFFF"/>
                  </a:solidFill>
                  <a:latin typeface="Segoe UI Semibold"/>
                  <a:cs typeface="Segoe UI" pitchFamily="34" charset="0"/>
                </a:rPr>
                <a:t>Azure </a:t>
              </a:r>
              <a:r>
                <a:rPr lang="en-US" sz="1400" kern="0" err="1">
                  <a:solidFill>
                    <a:srgbClr val="FFFFFF"/>
                  </a:solidFill>
                  <a:latin typeface="Segoe UI Semibold"/>
                  <a:cs typeface="Segoe UI" pitchFamily="34" charset="0"/>
                </a:rPr>
                <a:t>OpenAI</a:t>
              </a:r>
              <a:r>
                <a:rPr lang="en-US" sz="1400" kern="0">
                  <a:solidFill>
                    <a:srgbClr val="FFFFFF"/>
                  </a:solidFill>
                  <a:latin typeface="Segoe UI Semibold"/>
                  <a:cs typeface="Segoe UI" pitchFamily="34" charset="0"/>
                </a:rPr>
                <a:t> Copilots</a:t>
              </a:r>
            </a:p>
          </p:txBody>
        </p:sp>
        <p:cxnSp>
          <p:nvCxnSpPr>
            <p:cNvPr id="40" name="Straight Connector 39">
              <a:extLst>
                <a:ext uri="{FF2B5EF4-FFF2-40B4-BE49-F238E27FC236}">
                  <a16:creationId xmlns:a16="http://schemas.microsoft.com/office/drawing/2014/main" id="{0BB562F2-3A36-9443-94B8-E61300F947C8}"/>
                </a:ext>
              </a:extLst>
            </p:cNvPr>
            <p:cNvCxnSpPr>
              <a:cxnSpLocks/>
            </p:cNvCxnSpPr>
            <p:nvPr/>
          </p:nvCxnSpPr>
          <p:spPr>
            <a:xfrm>
              <a:off x="807980" y="4171287"/>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6D224FC-17D9-6B42-A5F3-9FF30C877AE2}"/>
                </a:ext>
              </a:extLst>
            </p:cNvPr>
            <p:cNvCxnSpPr>
              <a:cxnSpLocks/>
            </p:cNvCxnSpPr>
            <p:nvPr/>
          </p:nvCxnSpPr>
          <p:spPr>
            <a:xfrm>
              <a:off x="807980" y="4525871"/>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 name="Text Placeholder 3">
            <a:extLst>
              <a:ext uri="{FF2B5EF4-FFF2-40B4-BE49-F238E27FC236}">
                <a16:creationId xmlns:a16="http://schemas.microsoft.com/office/drawing/2014/main" id="{79A9CFD7-974B-0BCC-4649-B8ABFD83F562}"/>
              </a:ext>
            </a:extLst>
          </p:cNvPr>
          <p:cNvSpPr txBox="1">
            <a:spLocks/>
          </p:cNvSpPr>
          <p:nvPr/>
        </p:nvSpPr>
        <p:spPr>
          <a:xfrm>
            <a:off x="553237" y="1344988"/>
            <a:ext cx="11085527" cy="778948"/>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0">
                      <a:schemeClr val="accent2"/>
                    </a:gs>
                    <a:gs pos="100000">
                      <a:schemeClr val="tx2"/>
                    </a:gs>
                  </a:gsLst>
                  <a:lin ang="2700000" scaled="0"/>
                </a:gra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200"/>
              </a:spcBef>
              <a:defRPr/>
            </a:pPr>
            <a:r>
              <a:rPr lang="en-US" sz="2400">
                <a:gradFill flip="none" rotWithShape="1">
                  <a:gsLst>
                    <a:gs pos="20000">
                      <a:srgbClr val="243A5E"/>
                    </a:gs>
                    <a:gs pos="100000">
                      <a:srgbClr val="0078D4"/>
                    </a:gs>
                  </a:gsLst>
                  <a:lin ang="2700000" scaled="1"/>
                  <a:tileRect/>
                </a:gradFill>
                <a:latin typeface="Segoe UI Semibold"/>
              </a:rPr>
              <a:t>End-to-end analytics data fabric </a:t>
            </a:r>
          </a:p>
          <a:p>
            <a:pPr defTabSz="932563">
              <a:spcBef>
                <a:spcPts val="200"/>
              </a:spcBef>
              <a:defRPr/>
            </a:pPr>
            <a:r>
              <a:rPr lang="en-US" sz="2400">
                <a:gradFill flip="none" rotWithShape="1">
                  <a:gsLst>
                    <a:gs pos="20000">
                      <a:srgbClr val="243A5E"/>
                    </a:gs>
                    <a:gs pos="100000">
                      <a:srgbClr val="0078D4"/>
                    </a:gs>
                  </a:gsLst>
                  <a:lin ang="2700000" scaled="1"/>
                  <a:tileRect/>
                </a:gradFill>
                <a:latin typeface="Segoe UI Semibold"/>
              </a:rPr>
              <a:t>From the data lake to the business user</a:t>
            </a:r>
          </a:p>
        </p:txBody>
      </p:sp>
      <p:grpSp>
        <p:nvGrpSpPr>
          <p:cNvPr id="20" name="!!B2">
            <a:extLst>
              <a:ext uri="{FF2B5EF4-FFF2-40B4-BE49-F238E27FC236}">
                <a16:creationId xmlns:a16="http://schemas.microsoft.com/office/drawing/2014/main" id="{FEA12532-B133-A08A-DAF0-23E3A585470E}"/>
              </a:ext>
            </a:extLst>
          </p:cNvPr>
          <p:cNvGrpSpPr/>
          <p:nvPr/>
        </p:nvGrpSpPr>
        <p:grpSpPr>
          <a:xfrm>
            <a:off x="3387847" y="2461185"/>
            <a:ext cx="2631594" cy="3271775"/>
            <a:chOff x="3387462" y="2461047"/>
            <a:chExt cx="2631967" cy="3272239"/>
          </a:xfrm>
        </p:grpSpPr>
        <p:sp>
          <p:nvSpPr>
            <p:cNvPr id="7" name="Rectangle: Rounded Corners 5">
              <a:extLst>
                <a:ext uri="{FF2B5EF4-FFF2-40B4-BE49-F238E27FC236}">
                  <a16:creationId xmlns:a16="http://schemas.microsoft.com/office/drawing/2014/main" id="{4E689D4F-4F9E-4680-BB67-5545CAD4BD1A}"/>
                </a:ext>
              </a:extLst>
            </p:cNvPr>
            <p:cNvSpPr/>
            <p:nvPr/>
          </p:nvSpPr>
          <p:spPr bwMode="auto">
            <a:xfrm>
              <a:off x="3387462" y="2461047"/>
              <a:ext cx="2631967" cy="3272239"/>
            </a:xfrm>
            <a:prstGeom prst="roundRect">
              <a:avLst>
                <a:gd name="adj" fmla="val 5521"/>
              </a:avLst>
            </a:prstGeom>
            <a:gradFill flip="none" rotWithShape="1">
              <a:gsLst>
                <a:gs pos="20000">
                  <a:schemeClr val="tx2"/>
                </a:gs>
                <a:gs pos="100000">
                  <a:schemeClr val="accent2"/>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32293" fontAlgn="base">
                <a:spcBef>
                  <a:spcPts val="1200"/>
                </a:spcBef>
                <a:spcAft>
                  <a:spcPct val="0"/>
                </a:spcAft>
                <a:defRPr/>
              </a:pPr>
              <a:r>
                <a:rPr lang="en-US" sz="2000">
                  <a:solidFill>
                    <a:srgbClr val="FFFFFF"/>
                  </a:solidFill>
                  <a:latin typeface="Segoe UI Semibold"/>
                  <a:cs typeface="Segoe UI"/>
                </a:rPr>
                <a:t>Lake centric </a:t>
              </a:r>
              <a:br>
                <a:rPr lang="en-US" sz="2000">
                  <a:solidFill>
                    <a:srgbClr val="FFFFFF"/>
                  </a:solidFill>
                  <a:latin typeface="Segoe UI Semibold"/>
                  <a:cs typeface="Segoe UI"/>
                </a:rPr>
              </a:br>
              <a:r>
                <a:rPr lang="en-US" sz="2000">
                  <a:solidFill>
                    <a:srgbClr val="FFFFFF"/>
                  </a:solidFill>
                  <a:latin typeface="Segoe UI Semibold"/>
                  <a:cs typeface="Segoe UI"/>
                </a:rPr>
                <a:t>and open</a:t>
              </a:r>
            </a:p>
            <a:p>
              <a:pPr defTabSz="932293" fontAlgn="base">
                <a:spcBef>
                  <a:spcPts val="1200"/>
                </a:spcBef>
                <a:spcAft>
                  <a:spcPct val="0"/>
                </a:spcAft>
                <a:defRPr/>
              </a:pPr>
              <a:endParaRPr lang="en-US" sz="3200">
                <a:solidFill>
                  <a:srgbClr val="FFFFFF"/>
                </a:solidFill>
                <a:latin typeface="Segoe UI Semibold"/>
                <a:cs typeface="Segoe UI"/>
              </a:endParaRPr>
            </a:p>
            <a:p>
              <a:pPr defTabSz="932293" fontAlgn="base">
                <a:spcAft>
                  <a:spcPct val="0"/>
                </a:spcAft>
                <a:defRPr/>
              </a:pPr>
              <a:r>
                <a:rPr lang="en-US" sz="1400" kern="0">
                  <a:solidFill>
                    <a:srgbClr val="FFFFFF"/>
                  </a:solidFill>
                  <a:latin typeface="Segoe UI Semibold"/>
                  <a:cs typeface="Segoe UI" pitchFamily="34" charset="0"/>
                </a:rPr>
                <a:t>OneLake</a:t>
              </a:r>
            </a:p>
            <a:p>
              <a:pPr defTabSz="932293" fontAlgn="base">
                <a:spcBef>
                  <a:spcPts val="1200"/>
                </a:spcBef>
                <a:spcAft>
                  <a:spcPct val="0"/>
                </a:spcAft>
                <a:defRPr/>
              </a:pPr>
              <a:r>
                <a:rPr lang="en-US" sz="1400" kern="0">
                  <a:solidFill>
                    <a:srgbClr val="FFFFFF"/>
                  </a:solidFill>
                  <a:latin typeface="Segoe UI Semibold"/>
                  <a:cs typeface="Segoe UI" pitchFamily="34" charset="0"/>
                </a:rPr>
                <a:t>One Copy</a:t>
              </a:r>
            </a:p>
            <a:p>
              <a:pPr defTabSz="932293" fontAlgn="base">
                <a:spcBef>
                  <a:spcPts val="1200"/>
                </a:spcBef>
                <a:spcAft>
                  <a:spcPct val="0"/>
                </a:spcAft>
                <a:defRPr/>
              </a:pPr>
              <a:r>
                <a:rPr lang="en-US" sz="1400" kern="0">
                  <a:solidFill>
                    <a:srgbClr val="FFFFFF"/>
                  </a:solidFill>
                  <a:latin typeface="Segoe UI Semibold"/>
                  <a:cs typeface="Segoe UI" pitchFamily="34" charset="0"/>
                </a:rPr>
                <a:t>Always Synced</a:t>
              </a:r>
            </a:p>
          </p:txBody>
        </p:sp>
        <p:cxnSp>
          <p:nvCxnSpPr>
            <p:cNvPr id="12" name="Straight Connector 11">
              <a:extLst>
                <a:ext uri="{FF2B5EF4-FFF2-40B4-BE49-F238E27FC236}">
                  <a16:creationId xmlns:a16="http://schemas.microsoft.com/office/drawing/2014/main" id="{82696B59-EF8A-D5B0-B627-D9C84F236A7B}"/>
                </a:ext>
              </a:extLst>
            </p:cNvPr>
            <p:cNvCxnSpPr>
              <a:cxnSpLocks/>
            </p:cNvCxnSpPr>
            <p:nvPr/>
          </p:nvCxnSpPr>
          <p:spPr>
            <a:xfrm>
              <a:off x="3596900" y="4171287"/>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153766-C15C-6812-A4C3-145138DB7DED}"/>
                </a:ext>
              </a:extLst>
            </p:cNvPr>
            <p:cNvCxnSpPr>
              <a:cxnSpLocks/>
            </p:cNvCxnSpPr>
            <p:nvPr/>
          </p:nvCxnSpPr>
          <p:spPr>
            <a:xfrm>
              <a:off x="3596900" y="4525871"/>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1" name="!!B3">
            <a:extLst>
              <a:ext uri="{FF2B5EF4-FFF2-40B4-BE49-F238E27FC236}">
                <a16:creationId xmlns:a16="http://schemas.microsoft.com/office/drawing/2014/main" id="{08C0455E-89A4-683D-2C37-B974D770BB6D}"/>
              </a:ext>
            </a:extLst>
          </p:cNvPr>
          <p:cNvGrpSpPr/>
          <p:nvPr/>
        </p:nvGrpSpPr>
        <p:grpSpPr>
          <a:xfrm>
            <a:off x="6172562" y="2461185"/>
            <a:ext cx="2631594" cy="3271775"/>
            <a:chOff x="6172572" y="2461047"/>
            <a:chExt cx="2631967" cy="3272239"/>
          </a:xfrm>
        </p:grpSpPr>
        <p:sp>
          <p:nvSpPr>
            <p:cNvPr id="8" name="Rectangle: Rounded Corners 5">
              <a:extLst>
                <a:ext uri="{FF2B5EF4-FFF2-40B4-BE49-F238E27FC236}">
                  <a16:creationId xmlns:a16="http://schemas.microsoft.com/office/drawing/2014/main" id="{4FE52AA3-6D75-F3A3-7EEB-70C81D570DC2}"/>
                </a:ext>
              </a:extLst>
            </p:cNvPr>
            <p:cNvSpPr/>
            <p:nvPr/>
          </p:nvSpPr>
          <p:spPr bwMode="auto">
            <a:xfrm>
              <a:off x="6172572" y="2461047"/>
              <a:ext cx="2631967" cy="3272239"/>
            </a:xfrm>
            <a:prstGeom prst="roundRect">
              <a:avLst>
                <a:gd name="adj" fmla="val 5521"/>
              </a:avLst>
            </a:prstGeom>
            <a:gradFill flip="none" rotWithShape="1">
              <a:gsLst>
                <a:gs pos="20000">
                  <a:schemeClr val="tx2"/>
                </a:gs>
                <a:gs pos="100000">
                  <a:schemeClr val="accent2"/>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a:solidFill>
                    <a:srgbClr val="FFFFFF"/>
                  </a:solidFill>
                  <a:latin typeface="Segoe UI Semibold"/>
                  <a:cs typeface="Segoe UI"/>
                </a:rPr>
                <a:t>Empower Every Office User</a:t>
              </a:r>
            </a:p>
            <a:p>
              <a:pPr defTabSz="932293" fontAlgn="base">
                <a:spcBef>
                  <a:spcPts val="1200"/>
                </a:spcBef>
                <a:spcAft>
                  <a:spcPct val="0"/>
                </a:spcAft>
                <a:defRPr/>
              </a:pPr>
              <a:endParaRPr lang="en-US" sz="2000">
                <a:solidFill>
                  <a:srgbClr val="FFFFFF"/>
                </a:solidFill>
                <a:latin typeface="Segoe UI Semibold"/>
                <a:cs typeface="Segoe UI"/>
              </a:endParaRPr>
            </a:p>
            <a:p>
              <a:pPr defTabSz="932293" fontAlgn="base">
                <a:spcBef>
                  <a:spcPts val="1200"/>
                </a:spcBef>
                <a:spcAft>
                  <a:spcPct val="0"/>
                </a:spcAft>
                <a:defRPr/>
              </a:pPr>
              <a:r>
                <a:rPr lang="en-US" sz="1400" kern="0">
                  <a:solidFill>
                    <a:srgbClr val="FFFFFF"/>
                  </a:solidFill>
                  <a:latin typeface="Segoe UI Semibold"/>
                  <a:cs typeface="Segoe UI" pitchFamily="34" charset="0"/>
                </a:rPr>
                <a:t>Familiar and intuitive</a:t>
              </a:r>
            </a:p>
            <a:p>
              <a:pPr defTabSz="932293" fontAlgn="base">
                <a:spcBef>
                  <a:spcPts val="1200"/>
                </a:spcBef>
                <a:spcAft>
                  <a:spcPct val="0"/>
                </a:spcAft>
                <a:defRPr/>
              </a:pPr>
              <a:r>
                <a:rPr lang="en-US" sz="1400" kern="0">
                  <a:solidFill>
                    <a:srgbClr val="FFFFFF"/>
                  </a:solidFill>
                  <a:latin typeface="Segoe UI Semibold"/>
                  <a:cs typeface="Segoe UI" pitchFamily="34" charset="0"/>
                </a:rPr>
                <a:t>Built into Office</a:t>
              </a:r>
            </a:p>
            <a:p>
              <a:pPr defTabSz="932293" fontAlgn="base">
                <a:spcBef>
                  <a:spcPts val="1200"/>
                </a:spcBef>
                <a:spcAft>
                  <a:spcPct val="0"/>
                </a:spcAft>
                <a:defRPr/>
              </a:pPr>
              <a:r>
                <a:rPr lang="en-US" sz="1400" kern="0">
                  <a:solidFill>
                    <a:srgbClr val="FFFFFF"/>
                  </a:solidFill>
                  <a:latin typeface="Segoe UI Semibold"/>
                  <a:cs typeface="Segoe UI" pitchFamily="34" charset="0"/>
                </a:rPr>
                <a:t>Insight to action</a:t>
              </a:r>
            </a:p>
          </p:txBody>
        </p:sp>
        <p:cxnSp>
          <p:nvCxnSpPr>
            <p:cNvPr id="14" name="Straight Connector 13">
              <a:extLst>
                <a:ext uri="{FF2B5EF4-FFF2-40B4-BE49-F238E27FC236}">
                  <a16:creationId xmlns:a16="http://schemas.microsoft.com/office/drawing/2014/main" id="{1620708E-FCCC-2073-F0B6-5761D185A386}"/>
                </a:ext>
              </a:extLst>
            </p:cNvPr>
            <p:cNvCxnSpPr>
              <a:cxnSpLocks/>
            </p:cNvCxnSpPr>
            <p:nvPr/>
          </p:nvCxnSpPr>
          <p:spPr>
            <a:xfrm>
              <a:off x="6408680" y="4171287"/>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6D65BB4-8CA8-818A-9F86-A9FE9300285B}"/>
                </a:ext>
              </a:extLst>
            </p:cNvPr>
            <p:cNvCxnSpPr>
              <a:cxnSpLocks/>
            </p:cNvCxnSpPr>
            <p:nvPr/>
          </p:nvCxnSpPr>
          <p:spPr>
            <a:xfrm>
              <a:off x="6408680" y="4525871"/>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2" name="!!B4">
            <a:extLst>
              <a:ext uri="{FF2B5EF4-FFF2-40B4-BE49-F238E27FC236}">
                <a16:creationId xmlns:a16="http://schemas.microsoft.com/office/drawing/2014/main" id="{68BCD542-7977-340E-FA1C-60F232DE0008}"/>
              </a:ext>
            </a:extLst>
          </p:cNvPr>
          <p:cNvGrpSpPr/>
          <p:nvPr/>
        </p:nvGrpSpPr>
        <p:grpSpPr>
          <a:xfrm>
            <a:off x="8957277" y="2461185"/>
            <a:ext cx="2631594" cy="3271775"/>
            <a:chOff x="8957682" y="2461047"/>
            <a:chExt cx="2631967" cy="3272239"/>
          </a:xfrm>
        </p:grpSpPr>
        <p:sp>
          <p:nvSpPr>
            <p:cNvPr id="9" name="Rectangle: Rounded Corners 5">
              <a:extLst>
                <a:ext uri="{FF2B5EF4-FFF2-40B4-BE49-F238E27FC236}">
                  <a16:creationId xmlns:a16="http://schemas.microsoft.com/office/drawing/2014/main" id="{65401727-3C79-85B8-0975-21A27F2F531E}"/>
                </a:ext>
              </a:extLst>
            </p:cNvPr>
            <p:cNvSpPr/>
            <p:nvPr/>
          </p:nvSpPr>
          <p:spPr bwMode="auto">
            <a:xfrm>
              <a:off x="8957682" y="2461047"/>
              <a:ext cx="2631967" cy="3272239"/>
            </a:xfrm>
            <a:prstGeom prst="roundRect">
              <a:avLst>
                <a:gd name="adj" fmla="val 5521"/>
              </a:avLst>
            </a:prstGeom>
            <a:gradFill flip="none" rotWithShape="1">
              <a:gsLst>
                <a:gs pos="20000">
                  <a:schemeClr val="tx2"/>
                </a:gs>
                <a:gs pos="100000">
                  <a:schemeClr val="accent2"/>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a:solidFill>
                    <a:srgbClr val="FFFFFF"/>
                  </a:solidFill>
                  <a:latin typeface="Segoe UI Semibold"/>
                  <a:cs typeface="Segoe UI"/>
                </a:rPr>
                <a:t>Pervasive security </a:t>
              </a:r>
              <a:br>
                <a:rPr lang="en-US" sz="2000">
                  <a:solidFill>
                    <a:srgbClr val="FFFFFF"/>
                  </a:solidFill>
                  <a:latin typeface="Segoe UI Semibold"/>
                  <a:cs typeface="Segoe UI"/>
                </a:rPr>
              </a:br>
              <a:r>
                <a:rPr lang="en-US" sz="2000">
                  <a:solidFill>
                    <a:srgbClr val="FFFFFF"/>
                  </a:solidFill>
                  <a:latin typeface="Segoe UI Semibold"/>
                  <a:cs typeface="Segoe UI"/>
                </a:rPr>
                <a:t>and governance</a:t>
              </a:r>
            </a:p>
            <a:p>
              <a:pPr defTabSz="932293" fontAlgn="base">
                <a:spcBef>
                  <a:spcPts val="1200"/>
                </a:spcBef>
                <a:spcAft>
                  <a:spcPct val="0"/>
                </a:spcAft>
                <a:defRPr/>
              </a:pPr>
              <a:endParaRPr lang="en-US" sz="2000">
                <a:solidFill>
                  <a:srgbClr val="FFFFFF"/>
                </a:solidFill>
                <a:latin typeface="Segoe UI Semibold"/>
                <a:cs typeface="Segoe UI"/>
              </a:endParaRPr>
            </a:p>
            <a:p>
              <a:pPr defTabSz="932293" fontAlgn="base">
                <a:spcBef>
                  <a:spcPts val="1200"/>
                </a:spcBef>
                <a:spcAft>
                  <a:spcPct val="0"/>
                </a:spcAft>
                <a:defRPr/>
              </a:pPr>
              <a:r>
                <a:rPr lang="en-US" sz="1400" kern="0">
                  <a:solidFill>
                    <a:srgbClr val="FFFFFF"/>
                  </a:solidFill>
                  <a:latin typeface="Segoe UI Semibold"/>
                  <a:cs typeface="Segoe UI" pitchFamily="34" charset="0"/>
                </a:rPr>
                <a:t>End to end visibility</a:t>
              </a:r>
            </a:p>
            <a:p>
              <a:pPr defTabSz="932293" fontAlgn="base">
                <a:spcBef>
                  <a:spcPts val="1200"/>
                </a:spcBef>
                <a:spcAft>
                  <a:spcPct val="0"/>
                </a:spcAft>
                <a:defRPr/>
              </a:pPr>
              <a:r>
                <a:rPr lang="en-US" sz="1400" kern="0">
                  <a:solidFill>
                    <a:srgbClr val="FFFFFF"/>
                  </a:solidFill>
                  <a:latin typeface="Segoe UI Semibold"/>
                  <a:cs typeface="Segoe UI" pitchFamily="34" charset="0"/>
                </a:rPr>
                <a:t>Always governed</a:t>
              </a:r>
            </a:p>
            <a:p>
              <a:pPr defTabSz="932293" fontAlgn="base">
                <a:spcBef>
                  <a:spcPts val="1200"/>
                </a:spcBef>
                <a:spcAft>
                  <a:spcPct val="0"/>
                </a:spcAft>
                <a:defRPr/>
              </a:pPr>
              <a:r>
                <a:rPr lang="en-US" sz="1400" kern="0">
                  <a:solidFill>
                    <a:srgbClr val="FFFFFF"/>
                  </a:solidFill>
                  <a:latin typeface="Segoe UI Semibold"/>
                  <a:cs typeface="Segoe UI" pitchFamily="34" charset="0"/>
                </a:rPr>
                <a:t>Secure by default</a:t>
              </a:r>
            </a:p>
          </p:txBody>
        </p:sp>
        <p:cxnSp>
          <p:nvCxnSpPr>
            <p:cNvPr id="16" name="Straight Connector 15">
              <a:extLst>
                <a:ext uri="{FF2B5EF4-FFF2-40B4-BE49-F238E27FC236}">
                  <a16:creationId xmlns:a16="http://schemas.microsoft.com/office/drawing/2014/main" id="{469E79EF-D7BB-990C-161E-2D0C64EA460D}"/>
                </a:ext>
              </a:extLst>
            </p:cNvPr>
            <p:cNvCxnSpPr>
              <a:cxnSpLocks/>
            </p:cNvCxnSpPr>
            <p:nvPr/>
          </p:nvCxnSpPr>
          <p:spPr>
            <a:xfrm>
              <a:off x="9197600" y="4171287"/>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F406806-952A-8968-72F9-71AB4989E33D}"/>
                </a:ext>
              </a:extLst>
            </p:cNvPr>
            <p:cNvCxnSpPr>
              <a:cxnSpLocks/>
            </p:cNvCxnSpPr>
            <p:nvPr/>
          </p:nvCxnSpPr>
          <p:spPr>
            <a:xfrm>
              <a:off x="9197600" y="4525871"/>
              <a:ext cx="2204093" cy="0"/>
            </a:xfrm>
            <a:prstGeom prst="line">
              <a:avLst/>
            </a:prstGeom>
            <a:ln>
              <a:solidFill>
                <a:schemeClr val="bg1">
                  <a:alpha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88415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nodeType="withEffect">
                                  <p:stCondLst>
                                    <p:cond delay="100"/>
                                  </p:stCondLst>
                                  <p:childTnLst>
                                    <p:animMotion origin="layout" path="M -3.95833E-6 4.07407E-6 L -3.95833E-6 0.03472 " pathEditMode="relative" rAng="0" ptsTypes="AA">
                                      <p:cBhvr>
                                        <p:cTn id="9" dur="750" spd="-100000" fill="hold"/>
                                        <p:tgtEl>
                                          <p:spTgt spid="18"/>
                                        </p:tgtEl>
                                        <p:attrNameLst>
                                          <p:attrName>ppt_x</p:attrName>
                                          <p:attrName>ppt_y</p:attrName>
                                        </p:attrNameLst>
                                      </p:cBhvr>
                                      <p:rCtr x="0" y="1736"/>
                                    </p:animMotion>
                                  </p:childTnLst>
                                </p:cTn>
                              </p:par>
                              <p:par>
                                <p:cTn id="10" presetID="10" presetClass="entr" presetSubtype="0" fill="hold" nodeType="withEffect">
                                  <p:stCondLst>
                                    <p:cond delay="2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nodeType="withEffect">
                                  <p:stCondLst>
                                    <p:cond delay="200"/>
                                  </p:stCondLst>
                                  <p:childTnLst>
                                    <p:animMotion origin="layout" path="M -3.95833E-6 4.07407E-6 L -3.95833E-6 0.03472 " pathEditMode="relative" rAng="0" ptsTypes="AA">
                                      <p:cBhvr>
                                        <p:cTn id="14" dur="750" spd="-100000" fill="hold"/>
                                        <p:tgtEl>
                                          <p:spTgt spid="20"/>
                                        </p:tgtEl>
                                        <p:attrNameLst>
                                          <p:attrName>ppt_x</p:attrName>
                                          <p:attrName>ppt_y</p:attrName>
                                        </p:attrNameLst>
                                      </p:cBhvr>
                                      <p:rCtr x="0" y="1736"/>
                                    </p:animMotion>
                                  </p:childTnLst>
                                </p:cTn>
                              </p:par>
                              <p:par>
                                <p:cTn id="15" presetID="10" presetClass="entr" presetSubtype="0" fill="hold" nodeType="withEffect">
                                  <p:stCondLst>
                                    <p:cond delay="3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nodeType="withEffect">
                                  <p:stCondLst>
                                    <p:cond delay="300"/>
                                  </p:stCondLst>
                                  <p:childTnLst>
                                    <p:animMotion origin="layout" path="M -3.95833E-6 4.07407E-6 L -3.95833E-6 0.03472 " pathEditMode="relative" rAng="0" ptsTypes="AA">
                                      <p:cBhvr>
                                        <p:cTn id="19" dur="750" spd="-100000" fill="hold"/>
                                        <p:tgtEl>
                                          <p:spTgt spid="21"/>
                                        </p:tgtEl>
                                        <p:attrNameLst>
                                          <p:attrName>ppt_x</p:attrName>
                                          <p:attrName>ppt_y</p:attrName>
                                        </p:attrNameLst>
                                      </p:cBhvr>
                                      <p:rCtr x="0" y="1736"/>
                                    </p:animMotion>
                                  </p:childTnLst>
                                </p:cTn>
                              </p:par>
                              <p:par>
                                <p:cTn id="20" presetID="10" presetClass="entr" presetSubtype="0" fill="hold" nodeType="withEffect">
                                  <p:stCondLst>
                                    <p:cond delay="40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42" presetClass="path" presetSubtype="0" decel="100000" fill="hold" nodeType="withEffect">
                                  <p:stCondLst>
                                    <p:cond delay="400"/>
                                  </p:stCondLst>
                                  <p:childTnLst>
                                    <p:animMotion origin="layout" path="M -3.95833E-6 4.07407E-6 L -3.95833E-6 0.03472 " pathEditMode="relative" rAng="0" ptsTypes="AA">
                                      <p:cBhvr>
                                        <p:cTn id="24" dur="750" spd="-100000" fill="hold"/>
                                        <p:tgtEl>
                                          <p:spTgt spid="22"/>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9A9CFD7-974B-0BCC-4649-B8ABFD83F562}"/>
              </a:ext>
            </a:extLst>
          </p:cNvPr>
          <p:cNvSpPr txBox="1">
            <a:spLocks/>
          </p:cNvSpPr>
          <p:nvPr/>
        </p:nvSpPr>
        <p:spPr>
          <a:xfrm>
            <a:off x="553237" y="1344988"/>
            <a:ext cx="11085527" cy="76374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0">
                      <a:schemeClr val="accent2"/>
                    </a:gs>
                    <a:gs pos="100000">
                      <a:schemeClr val="tx2"/>
                    </a:gs>
                  </a:gsLst>
                  <a:lin ang="2700000" scaled="0"/>
                </a:gra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ts val="200"/>
              </a:spcBef>
              <a:defRPr/>
            </a:pPr>
            <a:r>
              <a:rPr lang="en-US" sz="2400">
                <a:gradFill flip="none" rotWithShape="1">
                  <a:gsLst>
                    <a:gs pos="20000">
                      <a:srgbClr val="243A5E"/>
                    </a:gs>
                    <a:gs pos="100000">
                      <a:srgbClr val="0078D4"/>
                    </a:gs>
                  </a:gsLst>
                  <a:lin ang="2700000" scaled="1"/>
                  <a:tileRect/>
                </a:gradFill>
                <a:latin typeface="Segoe UI Semibold"/>
              </a:rPr>
              <a:t>Pervasive Security and Governance </a:t>
            </a:r>
          </a:p>
          <a:p>
            <a:pPr defTabSz="932563">
              <a:spcBef>
                <a:spcPts val="200"/>
              </a:spcBef>
              <a:defRPr/>
            </a:pPr>
            <a:r>
              <a:rPr lang="en-US" sz="2400">
                <a:gradFill flip="none" rotWithShape="1">
                  <a:gsLst>
                    <a:gs pos="20000">
                      <a:srgbClr val="243A5E"/>
                    </a:gs>
                    <a:gs pos="100000">
                      <a:srgbClr val="0078D4"/>
                    </a:gs>
                  </a:gsLst>
                  <a:lin ang="2700000" scaled="1"/>
                  <a:tileRect/>
                </a:gradFill>
                <a:latin typeface="Segoe UI Semibold"/>
              </a:rPr>
              <a:t>for the cloud world</a:t>
            </a:r>
          </a:p>
        </p:txBody>
      </p:sp>
      <p:sp>
        <p:nvSpPr>
          <p:cNvPr id="3" name="Rectangle: Rounded Corners 5">
            <a:extLst>
              <a:ext uri="{FF2B5EF4-FFF2-40B4-BE49-F238E27FC236}">
                <a16:creationId xmlns:a16="http://schemas.microsoft.com/office/drawing/2014/main" id="{D538DC63-AE08-125F-551C-8914017FF77E}"/>
              </a:ext>
            </a:extLst>
          </p:cNvPr>
          <p:cNvSpPr/>
          <p:nvPr/>
        </p:nvSpPr>
        <p:spPr bwMode="auto">
          <a:xfrm>
            <a:off x="8800945" y="2413155"/>
            <a:ext cx="2580228" cy="3207914"/>
          </a:xfrm>
          <a:prstGeom prst="roundRect">
            <a:avLst>
              <a:gd name="adj" fmla="val 5521"/>
            </a:avLst>
          </a:prstGeom>
          <a:gradFill>
            <a:gsLst>
              <a:gs pos="20000">
                <a:schemeClr val="tx2"/>
              </a:gs>
              <a:gs pos="100000">
                <a:schemeClr val="accent2"/>
              </a:gs>
            </a:gsLst>
            <a:lin ang="2700000" scaled="0"/>
          </a:gradFill>
          <a:ln>
            <a:noFill/>
          </a:ln>
          <a:effectLst/>
        </p:spPr>
        <p:txBody>
          <a:bodyPr rot="0" spcFirstLastPara="0" vertOverflow="overflow" horzOverflow="overflow" vert="horz" wrap="square" lIns="176462" tIns="176462" rIns="176462" bIns="143428"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1961" kern="0">
                <a:solidFill>
                  <a:srgbClr val="FFFFFF"/>
                </a:solidFill>
                <a:latin typeface="Segoe UI Semibold"/>
                <a:cs typeface="Segoe UI" pitchFamily="34" charset="0"/>
              </a:rPr>
              <a:t>Pervasive Security </a:t>
            </a:r>
            <a:br>
              <a:rPr lang="en-US" sz="1961" kern="0">
                <a:solidFill>
                  <a:srgbClr val="FFFFFF"/>
                </a:solidFill>
                <a:latin typeface="Segoe UI Semibold"/>
                <a:cs typeface="Segoe UI" pitchFamily="34" charset="0"/>
              </a:rPr>
            </a:br>
            <a:r>
              <a:rPr lang="en-US" sz="1961" kern="0">
                <a:solidFill>
                  <a:srgbClr val="FFFFFF"/>
                </a:solidFill>
                <a:latin typeface="Segoe UI Semibold"/>
                <a:cs typeface="Segoe UI" pitchFamily="34" charset="0"/>
              </a:rPr>
              <a:t>and Governance</a:t>
            </a:r>
          </a:p>
          <a:p>
            <a:pPr defTabSz="914102" fontAlgn="base">
              <a:spcBef>
                <a:spcPct val="0"/>
              </a:spcBef>
              <a:spcAft>
                <a:spcPct val="0"/>
              </a:spcAft>
              <a:defRPr/>
            </a:pPr>
            <a:endParaRPr lang="en-US" sz="1961" kern="0">
              <a:solidFill>
                <a:srgbClr val="FFFFFF"/>
              </a:solidFill>
              <a:latin typeface="Segoe UI"/>
              <a:cs typeface="Segoe UI" pitchFamily="34" charset="0"/>
            </a:endParaRPr>
          </a:p>
          <a:p>
            <a:pPr defTabSz="914102" fontAlgn="base">
              <a:spcBef>
                <a:spcPts val="784"/>
              </a:spcBef>
              <a:spcAft>
                <a:spcPct val="0"/>
              </a:spcAft>
              <a:defRPr/>
            </a:pPr>
            <a:r>
              <a:rPr lang="en-US" sz="1372" kern="0">
                <a:solidFill>
                  <a:srgbClr val="FFFFFF"/>
                </a:solidFill>
                <a:latin typeface="Segoe UI Semibold"/>
                <a:cs typeface="Segoe UI" pitchFamily="34" charset="0"/>
              </a:rPr>
              <a:t>Secure by Default</a:t>
            </a:r>
          </a:p>
          <a:p>
            <a:pPr defTabSz="914102" fontAlgn="base">
              <a:spcBef>
                <a:spcPts val="784"/>
              </a:spcBef>
              <a:spcAft>
                <a:spcPct val="0"/>
              </a:spcAft>
              <a:defRPr/>
            </a:pPr>
            <a:r>
              <a:rPr lang="en-US" sz="1372" kern="0">
                <a:solidFill>
                  <a:srgbClr val="FFFFFF"/>
                </a:solidFill>
                <a:latin typeface="Segoe UI Semibold"/>
                <a:cs typeface="Segoe UI" pitchFamily="34" charset="0"/>
              </a:rPr>
              <a:t>End to End Visibility</a:t>
            </a:r>
          </a:p>
          <a:p>
            <a:pPr defTabSz="914102" fontAlgn="base">
              <a:spcBef>
                <a:spcPts val="1176"/>
              </a:spcBef>
              <a:spcAft>
                <a:spcPct val="0"/>
              </a:spcAft>
              <a:defRPr/>
            </a:pPr>
            <a:r>
              <a:rPr lang="en-US" sz="1372" kern="0">
                <a:solidFill>
                  <a:srgbClr val="FFFFFF"/>
                </a:solidFill>
                <a:latin typeface="Segoe UI Semibold"/>
                <a:cs typeface="Segoe UI" pitchFamily="34" charset="0"/>
              </a:rPr>
              <a:t>Always Governed</a:t>
            </a:r>
          </a:p>
        </p:txBody>
      </p:sp>
      <p:sp>
        <p:nvSpPr>
          <p:cNvPr id="4" name="Rectangle: Rounded Corners 5">
            <a:extLst>
              <a:ext uri="{FF2B5EF4-FFF2-40B4-BE49-F238E27FC236}">
                <a16:creationId xmlns:a16="http://schemas.microsoft.com/office/drawing/2014/main" id="{BE415D11-E417-BCC4-0795-6A6CF43F5ADD}"/>
              </a:ext>
            </a:extLst>
          </p:cNvPr>
          <p:cNvSpPr/>
          <p:nvPr/>
        </p:nvSpPr>
        <p:spPr bwMode="auto">
          <a:xfrm>
            <a:off x="6057683" y="2413155"/>
            <a:ext cx="2580228" cy="3207914"/>
          </a:xfrm>
          <a:prstGeom prst="roundRect">
            <a:avLst>
              <a:gd name="adj" fmla="val 5521"/>
            </a:avLst>
          </a:prstGeom>
          <a:solidFill>
            <a:srgbClr val="FCFCFC"/>
          </a:solidFill>
          <a:ln>
            <a:solidFill>
              <a:schemeClr val="bg1">
                <a:lumMod val="95000"/>
              </a:schemeClr>
            </a:solidFill>
          </a:ln>
          <a:effectLst/>
        </p:spPr>
        <p:txBody>
          <a:bodyPr rot="0" spcFirstLastPara="0" vertOverflow="overflow" horzOverflow="overflow" vert="horz" wrap="square" lIns="176462" tIns="176462" rIns="176462" bIns="143428"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1961" kern="0">
                <a:solidFill>
                  <a:srgbClr val="FFFFFF">
                    <a:lumMod val="85000"/>
                  </a:srgbClr>
                </a:solidFill>
                <a:latin typeface="Segoe UI Semibold"/>
                <a:cs typeface="Segoe UI" pitchFamily="34" charset="0"/>
              </a:rPr>
              <a:t>Empower Every Office User</a:t>
            </a:r>
          </a:p>
          <a:p>
            <a:pPr defTabSz="914102" fontAlgn="base">
              <a:spcBef>
                <a:spcPct val="0"/>
              </a:spcBef>
              <a:spcAft>
                <a:spcPct val="0"/>
              </a:spcAft>
              <a:defRPr/>
            </a:pPr>
            <a:endParaRPr lang="en-US" sz="1961" kern="0">
              <a:solidFill>
                <a:srgbClr val="FFFFFF">
                  <a:lumMod val="85000"/>
                </a:srgbClr>
              </a:solidFill>
              <a:latin typeface="Segoe UI Semibold"/>
              <a:cs typeface="Segoe UI" pitchFamily="34" charset="0"/>
            </a:endParaRPr>
          </a:p>
          <a:p>
            <a:pPr defTabSz="914102" fontAlgn="base">
              <a:spcBef>
                <a:spcPts val="784"/>
              </a:spcBef>
              <a:spcAft>
                <a:spcPct val="0"/>
              </a:spcAft>
              <a:defRPr/>
            </a:pPr>
            <a:r>
              <a:rPr lang="en-US" sz="1372" kern="0">
                <a:solidFill>
                  <a:srgbClr val="FFFFFF">
                    <a:lumMod val="85000"/>
                  </a:srgbClr>
                </a:solidFill>
                <a:latin typeface="Segoe UI Semibold"/>
                <a:cs typeface="Segoe UI" pitchFamily="34" charset="0"/>
              </a:rPr>
              <a:t>Familiar and Intuitive</a:t>
            </a:r>
          </a:p>
          <a:p>
            <a:pPr defTabSz="914102" fontAlgn="base">
              <a:spcBef>
                <a:spcPts val="1176"/>
              </a:spcBef>
              <a:spcAft>
                <a:spcPct val="0"/>
              </a:spcAft>
              <a:defRPr/>
            </a:pPr>
            <a:r>
              <a:rPr lang="en-US" sz="1372" kern="0">
                <a:solidFill>
                  <a:srgbClr val="FFFFFF">
                    <a:lumMod val="85000"/>
                  </a:srgbClr>
                </a:solidFill>
                <a:latin typeface="Segoe UI Semibold"/>
                <a:cs typeface="Segoe UI" pitchFamily="34" charset="0"/>
              </a:rPr>
              <a:t>Built into Office</a:t>
            </a:r>
          </a:p>
          <a:p>
            <a:pPr defTabSz="914102" fontAlgn="base">
              <a:spcBef>
                <a:spcPts val="1176"/>
              </a:spcBef>
              <a:spcAft>
                <a:spcPct val="0"/>
              </a:spcAft>
              <a:defRPr/>
            </a:pPr>
            <a:r>
              <a:rPr lang="en-US" sz="1372" kern="0">
                <a:solidFill>
                  <a:srgbClr val="FFFFFF">
                    <a:lumMod val="85000"/>
                  </a:srgbClr>
                </a:solidFill>
                <a:latin typeface="Segoe UI Semibold"/>
                <a:cs typeface="Segoe UI" pitchFamily="34" charset="0"/>
              </a:rPr>
              <a:t>Insight to Action</a:t>
            </a:r>
          </a:p>
        </p:txBody>
      </p:sp>
      <p:sp>
        <p:nvSpPr>
          <p:cNvPr id="5" name="Rectangle: Rounded Corners 5">
            <a:extLst>
              <a:ext uri="{FF2B5EF4-FFF2-40B4-BE49-F238E27FC236}">
                <a16:creationId xmlns:a16="http://schemas.microsoft.com/office/drawing/2014/main" id="{8CA591C9-4125-E5D4-623B-C0CEBACDD147}"/>
              </a:ext>
            </a:extLst>
          </p:cNvPr>
          <p:cNvSpPr/>
          <p:nvPr/>
        </p:nvSpPr>
        <p:spPr bwMode="auto">
          <a:xfrm>
            <a:off x="3314422" y="2413155"/>
            <a:ext cx="2580228" cy="3207914"/>
          </a:xfrm>
          <a:prstGeom prst="roundRect">
            <a:avLst>
              <a:gd name="adj" fmla="val 5521"/>
            </a:avLst>
          </a:prstGeom>
          <a:solidFill>
            <a:srgbClr val="FCFCFC"/>
          </a:solidFill>
          <a:ln>
            <a:solidFill>
              <a:schemeClr val="bg1">
                <a:lumMod val="95000"/>
              </a:schemeClr>
            </a:solidFill>
          </a:ln>
          <a:effectLst/>
        </p:spPr>
        <p:txBody>
          <a:bodyPr rot="0" spcFirstLastPara="0" vertOverflow="overflow" horzOverflow="overflow" vert="horz" wrap="square" lIns="176462" tIns="176462" rIns="176462" bIns="143428"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1961" kern="0">
                <a:solidFill>
                  <a:srgbClr val="FFFFFF">
                    <a:lumMod val="85000"/>
                  </a:srgbClr>
                </a:solidFill>
                <a:latin typeface="Segoe UI Semibold"/>
                <a:cs typeface="Segoe UI" pitchFamily="34" charset="0"/>
              </a:rPr>
              <a:t>Lake Centric </a:t>
            </a:r>
            <a:br>
              <a:rPr lang="en-US" sz="1961" kern="0">
                <a:solidFill>
                  <a:srgbClr val="FFFFFF">
                    <a:lumMod val="85000"/>
                  </a:srgbClr>
                </a:solidFill>
                <a:latin typeface="Segoe UI Semibold"/>
                <a:cs typeface="Segoe UI" pitchFamily="34" charset="0"/>
              </a:rPr>
            </a:br>
            <a:r>
              <a:rPr lang="en-US" sz="1961" kern="0">
                <a:solidFill>
                  <a:srgbClr val="FFFFFF">
                    <a:lumMod val="85000"/>
                  </a:srgbClr>
                </a:solidFill>
                <a:latin typeface="Segoe UI Semibold"/>
                <a:cs typeface="Segoe UI" pitchFamily="34" charset="0"/>
              </a:rPr>
              <a:t>and Open</a:t>
            </a:r>
          </a:p>
          <a:p>
            <a:pPr defTabSz="914102" fontAlgn="base">
              <a:spcBef>
                <a:spcPct val="0"/>
              </a:spcBef>
              <a:spcAft>
                <a:spcPct val="0"/>
              </a:spcAft>
              <a:defRPr/>
            </a:pPr>
            <a:endParaRPr lang="en-US" sz="1961" kern="0">
              <a:solidFill>
                <a:srgbClr val="FFFFFF">
                  <a:lumMod val="85000"/>
                </a:srgbClr>
              </a:solidFill>
              <a:latin typeface="Segoe UI Semibold"/>
              <a:cs typeface="Segoe UI" pitchFamily="34" charset="0"/>
            </a:endParaRPr>
          </a:p>
          <a:p>
            <a:pPr defTabSz="914102" fontAlgn="base">
              <a:spcBef>
                <a:spcPts val="784"/>
              </a:spcBef>
              <a:spcAft>
                <a:spcPct val="0"/>
              </a:spcAft>
              <a:defRPr/>
            </a:pPr>
            <a:r>
              <a:rPr lang="en-US" sz="1372" kern="0">
                <a:solidFill>
                  <a:srgbClr val="FFFFFF">
                    <a:lumMod val="85000"/>
                  </a:srgbClr>
                </a:solidFill>
                <a:latin typeface="Segoe UI Semibold"/>
                <a:cs typeface="Segoe UI" pitchFamily="34" charset="0"/>
              </a:rPr>
              <a:t>One Lake</a:t>
            </a:r>
          </a:p>
          <a:p>
            <a:pPr defTabSz="914102" fontAlgn="base">
              <a:spcBef>
                <a:spcPts val="1176"/>
              </a:spcBef>
              <a:spcAft>
                <a:spcPct val="0"/>
              </a:spcAft>
              <a:defRPr/>
            </a:pPr>
            <a:r>
              <a:rPr lang="en-US" sz="1372" kern="0">
                <a:solidFill>
                  <a:srgbClr val="FFFFFF">
                    <a:lumMod val="85000"/>
                  </a:srgbClr>
                </a:solidFill>
                <a:latin typeface="Segoe UI Semibold"/>
                <a:cs typeface="Segoe UI" pitchFamily="34" charset="0"/>
              </a:rPr>
              <a:t>One Copy</a:t>
            </a:r>
          </a:p>
          <a:p>
            <a:pPr defTabSz="914102" fontAlgn="base">
              <a:spcBef>
                <a:spcPts val="1176"/>
              </a:spcBef>
              <a:spcAft>
                <a:spcPct val="0"/>
              </a:spcAft>
              <a:defRPr/>
            </a:pPr>
            <a:r>
              <a:rPr lang="en-US" sz="1372" kern="0">
                <a:solidFill>
                  <a:srgbClr val="FFFFFF">
                    <a:lumMod val="85000"/>
                  </a:srgbClr>
                </a:solidFill>
                <a:latin typeface="Segoe UI Semibold"/>
                <a:cs typeface="Segoe UI" pitchFamily="34" charset="0"/>
              </a:rPr>
              <a:t>Always Synced</a:t>
            </a:r>
          </a:p>
        </p:txBody>
      </p:sp>
      <p:cxnSp>
        <p:nvCxnSpPr>
          <p:cNvPr id="10" name="Straight Connector 9">
            <a:extLst>
              <a:ext uri="{FF2B5EF4-FFF2-40B4-BE49-F238E27FC236}">
                <a16:creationId xmlns:a16="http://schemas.microsoft.com/office/drawing/2014/main" id="{63844625-EA40-9E41-DFB7-AB9210AFEC4F}"/>
              </a:ext>
            </a:extLst>
          </p:cNvPr>
          <p:cNvCxnSpPr>
            <a:cxnSpLocks/>
          </p:cNvCxnSpPr>
          <p:nvPr/>
        </p:nvCxnSpPr>
        <p:spPr>
          <a:xfrm>
            <a:off x="9010676" y="3920217"/>
            <a:ext cx="2160765" cy="0"/>
          </a:xfrm>
          <a:prstGeom prst="line">
            <a:avLst/>
          </a:prstGeom>
          <a:gradFill>
            <a:gsLst>
              <a:gs pos="20000">
                <a:schemeClr val="tx2"/>
              </a:gs>
              <a:gs pos="100000">
                <a:schemeClr val="accent2"/>
              </a:gs>
            </a:gsLst>
            <a:lin ang="2700000" scaled="0"/>
          </a:gradFill>
          <a:ln w="6350" cap="flat" cmpd="sng" algn="ctr">
            <a:solidFill>
              <a:schemeClr val="tx2">
                <a:lumMod val="20000"/>
                <a:lumOff val="80000"/>
              </a:schemeClr>
            </a:solidFill>
            <a:prstDash val="solid"/>
            <a:headEnd type="none" w="lg" len="med"/>
            <a:tailEnd type="none" w="lg" len="med"/>
          </a:ln>
          <a:effectLst/>
        </p:spPr>
      </p:cxnSp>
      <p:cxnSp>
        <p:nvCxnSpPr>
          <p:cNvPr id="11" name="Straight Connector 10">
            <a:extLst>
              <a:ext uri="{FF2B5EF4-FFF2-40B4-BE49-F238E27FC236}">
                <a16:creationId xmlns:a16="http://schemas.microsoft.com/office/drawing/2014/main" id="{C5D9452D-B1BA-608C-6DEA-5B335228DA29}"/>
              </a:ext>
            </a:extLst>
          </p:cNvPr>
          <p:cNvCxnSpPr>
            <a:cxnSpLocks/>
          </p:cNvCxnSpPr>
          <p:nvPr/>
        </p:nvCxnSpPr>
        <p:spPr>
          <a:xfrm>
            <a:off x="9010676" y="4233049"/>
            <a:ext cx="2160765" cy="0"/>
          </a:xfrm>
          <a:prstGeom prst="line">
            <a:avLst/>
          </a:prstGeom>
          <a:gradFill>
            <a:gsLst>
              <a:gs pos="20000">
                <a:schemeClr val="tx2"/>
              </a:gs>
              <a:gs pos="100000">
                <a:schemeClr val="accent2"/>
              </a:gs>
            </a:gsLst>
            <a:lin ang="2700000" scaled="0"/>
          </a:gradFill>
          <a:ln w="6350" cap="flat" cmpd="sng" algn="ctr">
            <a:solidFill>
              <a:schemeClr val="tx2">
                <a:lumMod val="20000"/>
                <a:lumOff val="80000"/>
              </a:schemeClr>
            </a:solidFill>
            <a:prstDash val="solid"/>
            <a:headEnd type="none" w="lg" len="med"/>
            <a:tailEnd type="none" w="lg" len="med"/>
          </a:ln>
          <a:effectLst/>
        </p:spPr>
      </p:cxnSp>
      <p:cxnSp>
        <p:nvCxnSpPr>
          <p:cNvPr id="19" name="Straight Connector 18">
            <a:extLst>
              <a:ext uri="{FF2B5EF4-FFF2-40B4-BE49-F238E27FC236}">
                <a16:creationId xmlns:a16="http://schemas.microsoft.com/office/drawing/2014/main" id="{86E2FEE4-E0ED-B3A3-D9B8-E6194434BE27}"/>
              </a:ext>
            </a:extLst>
          </p:cNvPr>
          <p:cNvCxnSpPr>
            <a:cxnSpLocks/>
          </p:cNvCxnSpPr>
          <p:nvPr/>
        </p:nvCxnSpPr>
        <p:spPr>
          <a:xfrm>
            <a:off x="6267414" y="3930411"/>
            <a:ext cx="2160765" cy="0"/>
          </a:xfrm>
          <a:prstGeom prst="line">
            <a:avLst/>
          </a:prstGeom>
          <a:gradFill>
            <a:gsLst>
              <a:gs pos="20000">
                <a:schemeClr val="tx2"/>
              </a:gs>
              <a:gs pos="100000">
                <a:schemeClr val="accent2"/>
              </a:gs>
            </a:gsLst>
            <a:lin ang="2700000" scaled="0"/>
          </a:gradFill>
          <a:ln w="6350" cap="flat" cmpd="sng" algn="ctr">
            <a:solidFill>
              <a:schemeClr val="bg1">
                <a:lumMod val="95000"/>
              </a:schemeClr>
            </a:solidFill>
            <a:prstDash val="solid"/>
            <a:headEnd type="none" w="lg" len="med"/>
            <a:tailEnd type="none" w="lg" len="med"/>
          </a:ln>
          <a:effectLst/>
        </p:spPr>
      </p:cxnSp>
      <p:cxnSp>
        <p:nvCxnSpPr>
          <p:cNvPr id="23" name="Straight Connector 22">
            <a:extLst>
              <a:ext uri="{FF2B5EF4-FFF2-40B4-BE49-F238E27FC236}">
                <a16:creationId xmlns:a16="http://schemas.microsoft.com/office/drawing/2014/main" id="{5E914A36-9B82-4231-BBBE-23086243CA9C}"/>
              </a:ext>
            </a:extLst>
          </p:cNvPr>
          <p:cNvCxnSpPr>
            <a:cxnSpLocks/>
          </p:cNvCxnSpPr>
          <p:nvPr/>
        </p:nvCxnSpPr>
        <p:spPr>
          <a:xfrm>
            <a:off x="6267414" y="4275534"/>
            <a:ext cx="2160765" cy="0"/>
          </a:xfrm>
          <a:prstGeom prst="line">
            <a:avLst/>
          </a:prstGeom>
          <a:gradFill>
            <a:gsLst>
              <a:gs pos="20000">
                <a:schemeClr val="tx2"/>
              </a:gs>
              <a:gs pos="100000">
                <a:schemeClr val="accent2"/>
              </a:gs>
            </a:gsLst>
            <a:lin ang="2700000" scaled="0"/>
          </a:gradFill>
          <a:ln w="6350" cap="flat" cmpd="sng" algn="ctr">
            <a:solidFill>
              <a:schemeClr val="bg1">
                <a:lumMod val="95000"/>
              </a:schemeClr>
            </a:solidFill>
            <a:prstDash val="solid"/>
            <a:headEnd type="none" w="lg" len="med"/>
            <a:tailEnd type="none" w="lg" len="med"/>
          </a:ln>
          <a:effectLst/>
        </p:spPr>
      </p:cxnSp>
      <p:cxnSp>
        <p:nvCxnSpPr>
          <p:cNvPr id="24" name="Straight Connector 23">
            <a:extLst>
              <a:ext uri="{FF2B5EF4-FFF2-40B4-BE49-F238E27FC236}">
                <a16:creationId xmlns:a16="http://schemas.microsoft.com/office/drawing/2014/main" id="{92FE4A8C-B4CF-401D-5658-24EFDDACC92B}"/>
              </a:ext>
            </a:extLst>
          </p:cNvPr>
          <p:cNvCxnSpPr>
            <a:cxnSpLocks/>
          </p:cNvCxnSpPr>
          <p:nvPr/>
        </p:nvCxnSpPr>
        <p:spPr>
          <a:xfrm>
            <a:off x="3524153" y="3930411"/>
            <a:ext cx="2160765" cy="0"/>
          </a:xfrm>
          <a:prstGeom prst="line">
            <a:avLst/>
          </a:prstGeom>
          <a:gradFill>
            <a:gsLst>
              <a:gs pos="20000">
                <a:schemeClr val="tx2"/>
              </a:gs>
              <a:gs pos="100000">
                <a:schemeClr val="accent2"/>
              </a:gs>
            </a:gsLst>
            <a:lin ang="2700000" scaled="0"/>
          </a:gradFill>
          <a:ln w="6350" cap="flat" cmpd="sng" algn="ctr">
            <a:solidFill>
              <a:schemeClr val="bg1">
                <a:lumMod val="95000"/>
              </a:schemeClr>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7CFAAA18-E32F-7B8F-8A40-1FF6EAA9D42E}"/>
              </a:ext>
            </a:extLst>
          </p:cNvPr>
          <p:cNvCxnSpPr>
            <a:cxnSpLocks/>
          </p:cNvCxnSpPr>
          <p:nvPr/>
        </p:nvCxnSpPr>
        <p:spPr>
          <a:xfrm>
            <a:off x="3524153" y="4275534"/>
            <a:ext cx="2160765" cy="0"/>
          </a:xfrm>
          <a:prstGeom prst="line">
            <a:avLst/>
          </a:prstGeom>
          <a:gradFill>
            <a:gsLst>
              <a:gs pos="20000">
                <a:schemeClr val="tx2"/>
              </a:gs>
              <a:gs pos="100000">
                <a:schemeClr val="accent2"/>
              </a:gs>
            </a:gsLst>
            <a:lin ang="2700000" scaled="0"/>
          </a:gradFill>
          <a:ln w="6350" cap="flat" cmpd="sng" algn="ctr">
            <a:solidFill>
              <a:schemeClr val="bg1">
                <a:lumMod val="95000"/>
              </a:schemeClr>
            </a:solidFill>
            <a:prstDash val="solid"/>
            <a:headEnd type="none" w="lg" len="med"/>
            <a:tailEnd type="none" w="lg" len="med"/>
          </a:ln>
          <a:effectLst/>
        </p:spPr>
      </p:cxnSp>
      <p:sp>
        <p:nvSpPr>
          <p:cNvPr id="26" name="Rectangle: Rounded Corners 5">
            <a:extLst>
              <a:ext uri="{FF2B5EF4-FFF2-40B4-BE49-F238E27FC236}">
                <a16:creationId xmlns:a16="http://schemas.microsoft.com/office/drawing/2014/main" id="{76D841E3-2D5B-26FD-1196-EE5DB6C9A115}"/>
              </a:ext>
            </a:extLst>
          </p:cNvPr>
          <p:cNvSpPr/>
          <p:nvPr/>
        </p:nvSpPr>
        <p:spPr bwMode="auto">
          <a:xfrm>
            <a:off x="571161" y="2413155"/>
            <a:ext cx="2580228" cy="3207914"/>
          </a:xfrm>
          <a:prstGeom prst="roundRect">
            <a:avLst>
              <a:gd name="adj" fmla="val 5521"/>
            </a:avLst>
          </a:prstGeom>
          <a:solidFill>
            <a:srgbClr val="FCFCFC"/>
          </a:solidFill>
          <a:ln>
            <a:solidFill>
              <a:schemeClr val="bg1">
                <a:lumMod val="95000"/>
              </a:schemeClr>
            </a:solidFill>
          </a:ln>
          <a:effectLst/>
        </p:spPr>
        <p:txBody>
          <a:bodyPr rot="0" spcFirstLastPara="0" vertOverflow="overflow" horzOverflow="overflow" vert="horz" wrap="square" lIns="176462" tIns="176462" rIns="176462" bIns="143428"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1961" kern="0">
                <a:solidFill>
                  <a:srgbClr val="FFFFFF">
                    <a:lumMod val="85000"/>
                  </a:srgbClr>
                </a:solidFill>
                <a:latin typeface="Segoe UI Semibold"/>
                <a:cs typeface="Segoe UI" pitchFamily="34" charset="0"/>
              </a:rPr>
              <a:t>Complete Analytics Platform</a:t>
            </a:r>
          </a:p>
          <a:p>
            <a:pPr defTabSz="914102" fontAlgn="base">
              <a:spcBef>
                <a:spcPct val="0"/>
              </a:spcBef>
              <a:spcAft>
                <a:spcPct val="0"/>
              </a:spcAft>
              <a:defRPr/>
            </a:pPr>
            <a:endParaRPr lang="en-US" sz="1961" kern="0">
              <a:solidFill>
                <a:srgbClr val="FFFFFF"/>
              </a:solidFill>
              <a:latin typeface="Segoe UI"/>
              <a:cs typeface="Segoe UI" pitchFamily="34" charset="0"/>
            </a:endParaRPr>
          </a:p>
          <a:p>
            <a:pPr defTabSz="914102" fontAlgn="base">
              <a:spcBef>
                <a:spcPts val="784"/>
              </a:spcBef>
              <a:spcAft>
                <a:spcPct val="0"/>
              </a:spcAft>
              <a:defRPr/>
            </a:pPr>
            <a:r>
              <a:rPr lang="en-US" sz="1372" kern="0">
                <a:solidFill>
                  <a:srgbClr val="FFFFFF">
                    <a:lumMod val="85000"/>
                  </a:srgbClr>
                </a:solidFill>
                <a:latin typeface="Segoe UI Semibold"/>
                <a:cs typeface="Segoe UI" pitchFamily="34" charset="0"/>
              </a:rPr>
              <a:t>Best of Breed</a:t>
            </a:r>
          </a:p>
          <a:p>
            <a:pPr defTabSz="914102" fontAlgn="base">
              <a:spcBef>
                <a:spcPts val="1176"/>
              </a:spcBef>
              <a:spcAft>
                <a:spcPct val="0"/>
              </a:spcAft>
              <a:defRPr/>
            </a:pPr>
            <a:r>
              <a:rPr lang="en-US" sz="1372" kern="0">
                <a:solidFill>
                  <a:srgbClr val="FFFFFF">
                    <a:lumMod val="85000"/>
                  </a:srgbClr>
                </a:solidFill>
                <a:latin typeface="Segoe UI Semibold"/>
                <a:cs typeface="Segoe UI" pitchFamily="34" charset="0"/>
              </a:rPr>
              <a:t>SaaS-</a:t>
            </a:r>
            <a:r>
              <a:rPr lang="en-US" sz="1372" kern="0" err="1">
                <a:solidFill>
                  <a:srgbClr val="FFFFFF">
                    <a:lumMod val="85000"/>
                  </a:srgbClr>
                </a:solidFill>
                <a:latin typeface="Segoe UI Semibold"/>
                <a:cs typeface="Segoe UI" pitchFamily="34" charset="0"/>
              </a:rPr>
              <a:t>ification</a:t>
            </a:r>
            <a:endParaRPr lang="en-US" sz="1372" kern="0">
              <a:solidFill>
                <a:srgbClr val="FFFFFF">
                  <a:lumMod val="85000"/>
                </a:srgbClr>
              </a:solidFill>
              <a:latin typeface="Segoe UI Semibold"/>
              <a:cs typeface="Segoe UI" pitchFamily="34" charset="0"/>
            </a:endParaRPr>
          </a:p>
          <a:p>
            <a:pPr defTabSz="914102" fontAlgn="base">
              <a:spcBef>
                <a:spcPts val="1176"/>
              </a:spcBef>
              <a:spcAft>
                <a:spcPct val="0"/>
              </a:spcAft>
              <a:defRPr/>
            </a:pPr>
            <a:r>
              <a:rPr lang="en-US" sz="1372" kern="0">
                <a:solidFill>
                  <a:srgbClr val="FFFFFF">
                    <a:lumMod val="85000"/>
                  </a:srgbClr>
                </a:solidFill>
                <a:latin typeface="Segoe UI Semibold"/>
                <a:cs typeface="Segoe UI" pitchFamily="34" charset="0"/>
              </a:rPr>
              <a:t>Low Code Plus Pro Dev</a:t>
            </a:r>
          </a:p>
        </p:txBody>
      </p:sp>
      <p:cxnSp>
        <p:nvCxnSpPr>
          <p:cNvPr id="27" name="Straight Connector 26">
            <a:extLst>
              <a:ext uri="{FF2B5EF4-FFF2-40B4-BE49-F238E27FC236}">
                <a16:creationId xmlns:a16="http://schemas.microsoft.com/office/drawing/2014/main" id="{1A5F1DC4-A1F0-1905-7429-B109F2E89AC2}"/>
              </a:ext>
            </a:extLst>
          </p:cNvPr>
          <p:cNvCxnSpPr>
            <a:cxnSpLocks/>
          </p:cNvCxnSpPr>
          <p:nvPr/>
        </p:nvCxnSpPr>
        <p:spPr>
          <a:xfrm>
            <a:off x="780893" y="3920217"/>
            <a:ext cx="2160765" cy="0"/>
          </a:xfrm>
          <a:prstGeom prst="line">
            <a:avLst/>
          </a:prstGeom>
          <a:gradFill>
            <a:gsLst>
              <a:gs pos="20000">
                <a:schemeClr val="tx2"/>
              </a:gs>
              <a:gs pos="100000">
                <a:schemeClr val="accent2"/>
              </a:gs>
            </a:gsLst>
            <a:lin ang="2700000" scaled="0"/>
          </a:gradFill>
          <a:ln w="6350" cap="flat" cmpd="sng" algn="ctr">
            <a:solidFill>
              <a:schemeClr val="bg1">
                <a:lumMod val="95000"/>
              </a:schemeClr>
            </a:solidFill>
            <a:prstDash val="solid"/>
            <a:headEnd type="none" w="lg" len="med"/>
            <a:tailEnd type="none" w="lg" len="med"/>
          </a:ln>
          <a:effectLst/>
        </p:spPr>
      </p:cxnSp>
      <p:cxnSp>
        <p:nvCxnSpPr>
          <p:cNvPr id="28" name="Straight Connector 27">
            <a:extLst>
              <a:ext uri="{FF2B5EF4-FFF2-40B4-BE49-F238E27FC236}">
                <a16:creationId xmlns:a16="http://schemas.microsoft.com/office/drawing/2014/main" id="{BEA5DF61-E78D-86A2-B46B-28BB601AD967}"/>
              </a:ext>
            </a:extLst>
          </p:cNvPr>
          <p:cNvCxnSpPr>
            <a:cxnSpLocks/>
          </p:cNvCxnSpPr>
          <p:nvPr/>
        </p:nvCxnSpPr>
        <p:spPr>
          <a:xfrm>
            <a:off x="780893" y="4265341"/>
            <a:ext cx="2160765" cy="0"/>
          </a:xfrm>
          <a:prstGeom prst="line">
            <a:avLst/>
          </a:prstGeom>
          <a:gradFill>
            <a:gsLst>
              <a:gs pos="20000">
                <a:schemeClr val="tx2"/>
              </a:gs>
              <a:gs pos="100000">
                <a:schemeClr val="accent2"/>
              </a:gs>
            </a:gsLst>
            <a:lin ang="2700000" scaled="0"/>
          </a:gradFill>
          <a:ln w="6350" cap="flat" cmpd="sng" algn="ctr">
            <a:solidFill>
              <a:schemeClr val="bg1">
                <a:lumMod val="95000"/>
              </a:schemeClr>
            </a:solidFill>
            <a:prstDash val="solid"/>
            <a:headEnd type="none" w="lg" len="med"/>
            <a:tailEnd type="none" w="lg" len="med"/>
          </a:ln>
          <a:effectLst/>
        </p:spPr>
      </p:cxnSp>
      <p:sp>
        <p:nvSpPr>
          <p:cNvPr id="9" name="Title 1">
            <a:extLst>
              <a:ext uri="{FF2B5EF4-FFF2-40B4-BE49-F238E27FC236}">
                <a16:creationId xmlns:a16="http://schemas.microsoft.com/office/drawing/2014/main" id="{58626E4F-F76A-DD35-E226-AC60A08A94D5}"/>
              </a:ext>
            </a:extLst>
          </p:cNvPr>
          <p:cNvSpPr txBox="1">
            <a:spLocks/>
          </p:cNvSpPr>
          <p:nvPr/>
        </p:nvSpPr>
        <p:spPr>
          <a:xfrm>
            <a:off x="669700" y="682933"/>
            <a:ext cx="11026774" cy="553998"/>
          </a:xfrm>
        </p:spPr>
        <p:txBody>
          <a:bodyPr/>
          <a:lstStyle>
            <a:lvl1pPr algn="ctr" defTabSz="914400" rtl="0" eaLnBrk="1" latinLnBrk="0" hangingPunct="1">
              <a:lnSpc>
                <a:spcPct val="90000"/>
              </a:lnSpc>
              <a:spcBef>
                <a:spcPct val="0"/>
              </a:spcBef>
              <a:buNone/>
              <a:defRPr sz="4200" b="1" i="0" kern="1200">
                <a:solidFill>
                  <a:schemeClr val="tx1"/>
                </a:solidFill>
                <a:latin typeface="Segoe UI Semibold" panose="020B0502040204020203" pitchFamily="34" charset="0"/>
                <a:ea typeface="+mj-ea"/>
                <a:cs typeface="Segoe UI Semibold" panose="020B0502040204020203" pitchFamily="34" charset="0"/>
              </a:defRPr>
            </a:lvl1pPr>
          </a:lstStyle>
          <a:p>
            <a:r>
              <a:rPr lang="en-US">
                <a:solidFill>
                  <a:srgbClr val="225B61"/>
                </a:solidFill>
              </a:rPr>
              <a:t>Microsoft Fabric</a:t>
            </a:r>
          </a:p>
        </p:txBody>
      </p:sp>
    </p:spTree>
    <p:extLst>
      <p:ext uri="{BB962C8B-B14F-4D97-AF65-F5344CB8AC3E}">
        <p14:creationId xmlns:p14="http://schemas.microsoft.com/office/powerpoint/2010/main" val="18972600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a:extLst>
            <a:ext uri="{FF2B5EF4-FFF2-40B4-BE49-F238E27FC236}">
              <a16:creationId xmlns:a16="http://schemas.microsoft.com/office/drawing/2014/main" id="{D87B9F43-0E37-AB09-E6B4-EC4D83C0EC90}"/>
            </a:ext>
          </a:extLst>
        </p:cNvPr>
        <p:cNvGrpSpPr/>
        <p:nvPr/>
      </p:nvGrpSpPr>
      <p:grpSpPr>
        <a:xfrm>
          <a:off x="0" y="0"/>
          <a:ext cx="0" cy="0"/>
          <a:chOff x="0" y="0"/>
          <a:chExt cx="0" cy="0"/>
        </a:xfrm>
      </p:grpSpPr>
      <p:sp>
        <p:nvSpPr>
          <p:cNvPr id="10" name="Text Placeholder 12">
            <a:extLst>
              <a:ext uri="{FF2B5EF4-FFF2-40B4-BE49-F238E27FC236}">
                <a16:creationId xmlns:a16="http://schemas.microsoft.com/office/drawing/2014/main" id="{87E4758F-A2A3-6C00-A32B-1B4530F7ED83}"/>
              </a:ext>
            </a:extLst>
          </p:cNvPr>
          <p:cNvSpPr txBox="1">
            <a:spLocks noGrp="1"/>
          </p:cNvSpPr>
          <p:nvPr>
            <p:ph type="title" idx="4294967295"/>
          </p:nvPr>
        </p:nvSpPr>
        <p:spPr>
          <a:xfrm>
            <a:off x="252549" y="537982"/>
            <a:ext cx="11026775" cy="6461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algn="l" defTabSz="914400" rtl="0" eaLnBrk="1" latinLnBrk="0" hangingPunct="1">
              <a:lnSpc>
                <a:spcPct val="9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4200" b="1" i="0" u="none" strike="noStrike" kern="1200" cap="none" spc="0" normalizeH="0" baseline="0" noProof="0">
                <a:ln>
                  <a:noFill/>
                </a:ln>
                <a:solidFill>
                  <a:schemeClr val="tx1"/>
                </a:solidFill>
                <a:effectLst/>
                <a:uLnTx/>
                <a:uFillTx/>
                <a:latin typeface="Segoe UI Semibold" panose="020B0502040204020203" pitchFamily="34" charset="0"/>
                <a:ea typeface="+mj-ea"/>
                <a:cs typeface="Segoe UI Semibold" panose="020B0502040204020203" pitchFamily="34" charset="0"/>
              </a:rPr>
              <a:t>Modern data challenges </a:t>
            </a:r>
          </a:p>
        </p:txBody>
      </p:sp>
      <p:sp>
        <p:nvSpPr>
          <p:cNvPr id="2" name="TextBox 1">
            <a:extLst>
              <a:ext uri="{FF2B5EF4-FFF2-40B4-BE49-F238E27FC236}">
                <a16:creationId xmlns:a16="http://schemas.microsoft.com/office/drawing/2014/main" id="{92AA4554-3771-698E-6117-05C5AF87E7B0}"/>
              </a:ext>
            </a:extLst>
          </p:cNvPr>
          <p:cNvSpPr txBox="1"/>
          <p:nvPr/>
        </p:nvSpPr>
        <p:spPr>
          <a:xfrm>
            <a:off x="716879" y="1472614"/>
            <a:ext cx="11257558" cy="5324535"/>
          </a:xfrm>
          <a:prstGeom prst="rect">
            <a:avLst/>
          </a:prstGeom>
          <a:noFill/>
        </p:spPr>
        <p:txBody>
          <a:bodyPr wrap="square" rtlCol="0">
            <a:spAutoFit/>
          </a:bodyPr>
          <a:lstStyle/>
          <a:p>
            <a:pPr marL="571500" indent="-571500">
              <a:buFont typeface="Arial" panose="020B0604020202020204" pitchFamily="34" charset="0"/>
              <a:buChar char="•"/>
            </a:pPr>
            <a:r>
              <a:rPr lang="en-US" sz="3300"/>
              <a:t>Bring data to the masses, everyone should have access to data to make decisions </a:t>
            </a:r>
          </a:p>
          <a:p>
            <a:pPr marL="571500" indent="-571500">
              <a:buFont typeface="Arial" panose="020B0604020202020204" pitchFamily="34" charset="0"/>
              <a:buChar char="•"/>
            </a:pPr>
            <a:r>
              <a:rPr lang="en-US" sz="3300"/>
              <a:t>Instant access to the latest data, no copying around </a:t>
            </a:r>
          </a:p>
          <a:p>
            <a:pPr marL="571500" indent="-571500">
              <a:buFont typeface="Arial" panose="020B0604020202020204" pitchFamily="34" charset="0"/>
              <a:buChar char="•"/>
            </a:pPr>
            <a:r>
              <a:rPr lang="en-US" sz="3300"/>
              <a:t>Modern workforce, anywhere, any device </a:t>
            </a:r>
          </a:p>
          <a:p>
            <a:pPr marL="571500" indent="-571500">
              <a:buFont typeface="Arial" panose="020B0604020202020204" pitchFamily="34" charset="0"/>
              <a:buChar char="•"/>
            </a:pPr>
            <a:endParaRPr lang="en-US" sz="3300"/>
          </a:p>
          <a:p>
            <a:pPr marL="571500" indent="-571500">
              <a:buFont typeface="Arial" panose="020B0604020202020204" pitchFamily="34" charset="0"/>
              <a:buChar char="•"/>
            </a:pPr>
            <a:r>
              <a:rPr lang="en-US" sz="3300"/>
              <a:t>At the same time, you need to secure, govern and audit your data to protect customers and the company </a:t>
            </a:r>
          </a:p>
          <a:p>
            <a:pPr marL="571500" indent="-571500">
              <a:buFont typeface="Arial" panose="020B0604020202020204" pitchFamily="34" charset="0"/>
              <a:buChar char="•"/>
            </a:pPr>
            <a:r>
              <a:rPr lang="en-US" sz="3300"/>
              <a:t>SaaS platforms are designed with these challenges in mind.</a:t>
            </a:r>
          </a:p>
          <a:p>
            <a:pPr marL="571500" indent="-571500">
              <a:buFont typeface="Arial" panose="020B0604020202020204" pitchFamily="34" charset="0"/>
              <a:buChar char="•"/>
            </a:pPr>
            <a:r>
              <a:rPr lang="en-US" sz="3300"/>
              <a:t>Shift from siloed PaaS to integrated SaaS</a:t>
            </a:r>
          </a:p>
        </p:txBody>
      </p:sp>
    </p:spTree>
    <p:extLst>
      <p:ext uri="{BB962C8B-B14F-4D97-AF65-F5344CB8AC3E}">
        <p14:creationId xmlns:p14="http://schemas.microsoft.com/office/powerpoint/2010/main" val="3185389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50000" fill="hold" grpId="1" nodeType="withEffect">
                                  <p:stCondLst>
                                    <p:cond delay="0"/>
                                  </p:stCondLst>
                                  <p:childTnLst>
                                    <p:animMotion origin="layout" path="M -0.01745 0.00093 L 0.00091 0.00093 " pathEditMode="relative" rAng="0" ptsTypes="AA">
                                      <p:cBhvr>
                                        <p:cTn id="9" dur="500" fill="hold"/>
                                        <p:tgtEl>
                                          <p:spTgt spid="10"/>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a:extLst>
            <a:ext uri="{FF2B5EF4-FFF2-40B4-BE49-F238E27FC236}">
              <a16:creationId xmlns:a16="http://schemas.microsoft.com/office/drawing/2014/main" id="{D87B9F43-0E37-AB09-E6B4-EC4D83C0EC90}"/>
            </a:ext>
          </a:extLst>
        </p:cNvPr>
        <p:cNvGrpSpPr/>
        <p:nvPr/>
      </p:nvGrpSpPr>
      <p:grpSpPr>
        <a:xfrm>
          <a:off x="0" y="0"/>
          <a:ext cx="0" cy="0"/>
          <a:chOff x="0" y="0"/>
          <a:chExt cx="0" cy="0"/>
        </a:xfrm>
      </p:grpSpPr>
      <p:sp>
        <p:nvSpPr>
          <p:cNvPr id="10" name="Text Placeholder 12">
            <a:extLst>
              <a:ext uri="{FF2B5EF4-FFF2-40B4-BE49-F238E27FC236}">
                <a16:creationId xmlns:a16="http://schemas.microsoft.com/office/drawing/2014/main" id="{87E4758F-A2A3-6C00-A32B-1B4530F7ED83}"/>
              </a:ext>
            </a:extLst>
          </p:cNvPr>
          <p:cNvSpPr txBox="1">
            <a:spLocks noGrp="1"/>
          </p:cNvSpPr>
          <p:nvPr>
            <p:ph type="title" idx="4294967295"/>
          </p:nvPr>
        </p:nvSpPr>
        <p:spPr>
          <a:xfrm>
            <a:off x="256903" y="307073"/>
            <a:ext cx="11026775" cy="6461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algn="l" defTabSz="914400" rtl="0" eaLnBrk="1" latinLnBrk="0" hangingPunct="1">
              <a:lnSpc>
                <a:spcPct val="9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lang="en-US"/>
              <a:t>Common</a:t>
            </a:r>
            <a:r>
              <a:rPr kumimoji="0" lang="en-US" sz="4200" b="1" i="0" u="none" strike="noStrike" kern="1200" cap="none" spc="0" normalizeH="0" baseline="0" noProof="0">
                <a:ln>
                  <a:noFill/>
                </a:ln>
                <a:solidFill>
                  <a:schemeClr val="tx1"/>
                </a:solidFill>
                <a:effectLst/>
                <a:uLnTx/>
                <a:uFillTx/>
                <a:latin typeface="Segoe UI Semibold" panose="020B0502040204020203" pitchFamily="34" charset="0"/>
                <a:ea typeface="+mj-ea"/>
                <a:cs typeface="Segoe UI Semibold" panose="020B0502040204020203" pitchFamily="34" charset="0"/>
              </a:rPr>
              <a:t> network security requirements</a:t>
            </a:r>
            <a:r>
              <a:rPr kumimoji="0" lang="en-US" sz="4200" b="1" i="0" u="none" strike="noStrike" kern="1200" cap="none" spc="0" normalizeH="0" noProof="0">
                <a:ln>
                  <a:noFill/>
                </a:ln>
                <a:solidFill>
                  <a:schemeClr val="tx1"/>
                </a:solidFill>
                <a:effectLst/>
                <a:uLnTx/>
                <a:uFillTx/>
                <a:latin typeface="Segoe UI Semibold" panose="020B0502040204020203" pitchFamily="34" charset="0"/>
                <a:ea typeface="+mj-ea"/>
                <a:cs typeface="Segoe UI Semibold" panose="020B0502040204020203" pitchFamily="34" charset="0"/>
              </a:rPr>
              <a:t> </a:t>
            </a:r>
            <a:endParaRPr kumimoji="0" lang="en-US" sz="4200" b="1" i="0" u="none" strike="noStrike" kern="1200" cap="none" spc="0" normalizeH="0" baseline="0" noProof="0">
              <a:ln>
                <a:noFill/>
              </a:ln>
              <a:solidFill>
                <a:schemeClr val="tx1"/>
              </a:solidFill>
              <a:effectLst/>
              <a:uLnTx/>
              <a:uFillTx/>
              <a:latin typeface="Segoe UI Semibold" panose="020B0502040204020203" pitchFamily="34" charset="0"/>
              <a:ea typeface="+mj-ea"/>
              <a:cs typeface="Segoe UI Semibold" panose="020B0502040204020203" pitchFamily="34" charset="0"/>
            </a:endParaRPr>
          </a:p>
        </p:txBody>
      </p:sp>
      <p:sp>
        <p:nvSpPr>
          <p:cNvPr id="2" name="TextBox 1">
            <a:extLst>
              <a:ext uri="{FF2B5EF4-FFF2-40B4-BE49-F238E27FC236}">
                <a16:creationId xmlns:a16="http://schemas.microsoft.com/office/drawing/2014/main" id="{92AA4554-3771-698E-6117-05C5AF87E7B0}"/>
              </a:ext>
            </a:extLst>
          </p:cNvPr>
          <p:cNvSpPr txBox="1"/>
          <p:nvPr/>
        </p:nvSpPr>
        <p:spPr>
          <a:xfrm>
            <a:off x="509795" y="1056893"/>
            <a:ext cx="11352354" cy="4524315"/>
          </a:xfrm>
          <a:prstGeom prst="rect">
            <a:avLst/>
          </a:prstGeom>
          <a:noFill/>
        </p:spPr>
        <p:txBody>
          <a:bodyPr wrap="square" lIns="91440" tIns="45720" rIns="91440" bIns="45720" rtlCol="0" anchor="t">
            <a:spAutoFit/>
          </a:bodyPr>
          <a:lstStyle/>
          <a:p>
            <a:pPr marL="457200" indent="-457200">
              <a:buFont typeface="Arial" panose="020B0604020202020204" pitchFamily="34" charset="0"/>
              <a:buChar char="•"/>
            </a:pPr>
            <a:r>
              <a:rPr lang="en-US" sz="3200" dirty="0">
                <a:cs typeface="Segoe UI"/>
              </a:rPr>
              <a:t>Need to be able to connect to data inside a firewall\private link from Fabric (outbound)</a:t>
            </a:r>
            <a:endParaRPr lang="en-US" sz="3200" dirty="0"/>
          </a:p>
          <a:p>
            <a:pPr marL="457200" indent="-457200">
              <a:buFont typeface="Arial" panose="020B0604020202020204" pitchFamily="34" charset="0"/>
              <a:buChar char="•"/>
            </a:pPr>
            <a:r>
              <a:rPr lang="en-US" sz="3200" dirty="0"/>
              <a:t>Inbound protection (restrict inbound by network location)</a:t>
            </a:r>
          </a:p>
          <a:p>
            <a:pPr marL="457200" indent="-457200">
              <a:buFont typeface="Arial" panose="020B0604020202020204" pitchFamily="34" charset="0"/>
              <a:buChar char="•"/>
            </a:pPr>
            <a:r>
              <a:rPr lang="en-US" sz="3200" dirty="0"/>
              <a:t>Secure access to the “backend services”</a:t>
            </a:r>
          </a:p>
          <a:p>
            <a:pPr marL="457200" indent="-457200">
              <a:buFont typeface="Arial" panose="020B0604020202020204" pitchFamily="34" charset="0"/>
              <a:buChar char="•"/>
            </a:pPr>
            <a:endParaRPr lang="en-US" sz="1600" dirty="0"/>
          </a:p>
          <a:p>
            <a:pPr marL="457200" indent="-457200">
              <a:buFont typeface="Arial" panose="020B0604020202020204" pitchFamily="34" charset="0"/>
              <a:buChar char="•"/>
            </a:pPr>
            <a:endParaRPr lang="en-US" sz="1600" dirty="0"/>
          </a:p>
          <a:p>
            <a:pPr marL="457200" indent="-457200">
              <a:buFont typeface="Arial" panose="020B0604020202020204" pitchFamily="34" charset="0"/>
              <a:buChar char="•"/>
            </a:pPr>
            <a:endParaRPr lang="en-US" sz="3200" dirty="0"/>
          </a:p>
          <a:p>
            <a:pPr marL="457200" indent="-457200">
              <a:buFont typeface="Arial" panose="020B0604020202020204" pitchFamily="34" charset="0"/>
              <a:buChar char="•"/>
            </a:pPr>
            <a:r>
              <a:rPr lang="en-US" sz="3200" dirty="0"/>
              <a:t>More stringent customers (FSI\HLS): </a:t>
            </a:r>
          </a:p>
          <a:p>
            <a:pPr marL="913765" lvl="1" indent="-457200">
              <a:buFont typeface="Arial" panose="020B0604020202020204" pitchFamily="34" charset="0"/>
              <a:buChar char="•"/>
            </a:pPr>
            <a:r>
              <a:rPr lang="en-US" sz="3200" dirty="0"/>
              <a:t>Traffic needs to be private (not via public internet) </a:t>
            </a:r>
            <a:endParaRPr lang="en-US" sz="3200" dirty="0">
              <a:cs typeface="Segoe UI"/>
            </a:endParaRPr>
          </a:p>
          <a:p>
            <a:pPr marL="913765" lvl="1" indent="-457200">
              <a:buFont typeface="Arial" panose="020B0604020202020204" pitchFamily="34" charset="0"/>
              <a:buChar char="•"/>
            </a:pPr>
            <a:r>
              <a:rPr lang="en-US" sz="3200" dirty="0"/>
              <a:t>Endpoints should not be open to the public internet</a:t>
            </a:r>
            <a:endParaRPr lang="en-US" sz="3200" dirty="0">
              <a:cs typeface="Segoe UI"/>
            </a:endParaRPr>
          </a:p>
        </p:txBody>
      </p:sp>
    </p:spTree>
    <p:extLst>
      <p:ext uri="{BB962C8B-B14F-4D97-AF65-F5344CB8AC3E}">
        <p14:creationId xmlns:p14="http://schemas.microsoft.com/office/powerpoint/2010/main" val="3063584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50000" fill="hold" grpId="1" nodeType="withEffect">
                                  <p:stCondLst>
                                    <p:cond delay="0"/>
                                  </p:stCondLst>
                                  <p:childTnLst>
                                    <p:animMotion origin="layout" path="M -0.01745 0.00093 L 0.00091 0.00093 " pathEditMode="relative" rAng="0" ptsTypes="AA">
                                      <p:cBhvr>
                                        <p:cTn id="9" dur="500" fill="hold"/>
                                        <p:tgtEl>
                                          <p:spTgt spid="10"/>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F0C862-800D-6460-BB81-C374687071C0}"/>
              </a:ext>
            </a:extLst>
          </p:cNvPr>
          <p:cNvSpPr>
            <a:spLocks noGrp="1"/>
          </p:cNvSpPr>
          <p:nvPr>
            <p:ph type="title"/>
          </p:nvPr>
        </p:nvSpPr>
        <p:spPr>
          <a:xfrm>
            <a:off x="386969" y="314614"/>
            <a:ext cx="11026774" cy="553998"/>
          </a:xfrm>
        </p:spPr>
        <p:txBody>
          <a:bodyPr lIns="91440" tIns="45720" rIns="91440" bIns="45720" anchor="t"/>
          <a:lstStyle/>
          <a:p>
            <a:pPr algn="l"/>
            <a:r>
              <a:rPr lang="en-US">
                <a:solidFill>
                  <a:srgbClr val="225B61"/>
                </a:solidFill>
              </a:rPr>
              <a:t>Existing PaaS World</a:t>
            </a:r>
          </a:p>
        </p:txBody>
      </p:sp>
      <p:pic>
        <p:nvPicPr>
          <p:cNvPr id="6" name="Picture 5" descr="A picture containing icon&#10;&#10;Description automatically generated">
            <a:extLst>
              <a:ext uri="{FF2B5EF4-FFF2-40B4-BE49-F238E27FC236}">
                <a16:creationId xmlns:a16="http://schemas.microsoft.com/office/drawing/2014/main" id="{6BDF3937-EF23-F40A-8CF0-5AC2CEF7352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36660" y="5530283"/>
            <a:ext cx="940594" cy="785211"/>
          </a:xfrm>
          <a:prstGeom prst="rect">
            <a:avLst/>
          </a:prstGeom>
        </p:spPr>
      </p:pic>
      <p:sp>
        <p:nvSpPr>
          <p:cNvPr id="10" name="Graphic 1033">
            <a:extLst>
              <a:ext uri="{FF2B5EF4-FFF2-40B4-BE49-F238E27FC236}">
                <a16:creationId xmlns:a16="http://schemas.microsoft.com/office/drawing/2014/main" id="{E39EC78A-D04B-4ACC-7DD6-D2EFBC23B72A}"/>
              </a:ext>
            </a:extLst>
          </p:cNvPr>
          <p:cNvSpPr/>
          <p:nvPr/>
        </p:nvSpPr>
        <p:spPr>
          <a:xfrm>
            <a:off x="4363520" y="4546156"/>
            <a:ext cx="516229" cy="451095"/>
          </a:xfrm>
          <a:custGeom>
            <a:avLst/>
            <a:gdLst>
              <a:gd name="connsiteX0" fmla="*/ 83915 w 268509"/>
              <a:gd name="connsiteY0" fmla="*/ 236030 h 236029"/>
              <a:gd name="connsiteX1" fmla="*/ 0 w 268509"/>
              <a:gd name="connsiteY1" fmla="*/ 161830 h 236029"/>
              <a:gd name="connsiteX2" fmla="*/ 83915 w 268509"/>
              <a:gd name="connsiteY2" fmla="*/ 91345 h 236029"/>
              <a:gd name="connsiteX3" fmla="*/ 184595 w 268509"/>
              <a:gd name="connsiteY3" fmla="*/ 236030 h 236029"/>
              <a:gd name="connsiteX4" fmla="*/ 268510 w 268509"/>
              <a:gd name="connsiteY4" fmla="*/ 161830 h 236029"/>
              <a:gd name="connsiteX5" fmla="*/ 184595 w 268509"/>
              <a:gd name="connsiteY5" fmla="*/ 91345 h 236029"/>
              <a:gd name="connsiteX6" fmla="*/ 134207 w 268509"/>
              <a:gd name="connsiteY6" fmla="*/ 40100 h 236029"/>
              <a:gd name="connsiteX7" fmla="*/ 134207 w 268509"/>
              <a:gd name="connsiteY7" fmla="*/ 143637 h 236029"/>
              <a:gd name="connsiteX8" fmla="*/ 134207 w 268509"/>
              <a:gd name="connsiteY8" fmla="*/ 0 h 236029"/>
              <a:gd name="connsiteX9" fmla="*/ 114110 w 268509"/>
              <a:gd name="connsiteY9" fmla="*/ 20098 h 236029"/>
              <a:gd name="connsiteX10" fmla="*/ 134207 w 268509"/>
              <a:gd name="connsiteY10" fmla="*/ 40196 h 236029"/>
              <a:gd name="connsiteX11" fmla="*/ 154305 w 268509"/>
              <a:gd name="connsiteY11" fmla="*/ 20098 h 236029"/>
              <a:gd name="connsiteX12" fmla="*/ 134207 w 268509"/>
              <a:gd name="connsiteY12" fmla="*/ 0 h 236029"/>
              <a:gd name="connsiteX13" fmla="*/ 134207 w 268509"/>
              <a:gd name="connsiteY13" fmla="*/ 143637 h 236029"/>
              <a:gd name="connsiteX14" fmla="*/ 114110 w 268509"/>
              <a:gd name="connsiteY14" fmla="*/ 163735 h 236029"/>
              <a:gd name="connsiteX15" fmla="*/ 134207 w 268509"/>
              <a:gd name="connsiteY15" fmla="*/ 183833 h 236029"/>
              <a:gd name="connsiteX16" fmla="*/ 154305 w 268509"/>
              <a:gd name="connsiteY16" fmla="*/ 163735 h 236029"/>
              <a:gd name="connsiteX17" fmla="*/ 134207 w 268509"/>
              <a:gd name="connsiteY17" fmla="*/ 143637 h 23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509" h="236029">
                <a:moveTo>
                  <a:pt x="83915" y="236030"/>
                </a:moveTo>
                <a:lnTo>
                  <a:pt x="0" y="161830"/>
                </a:lnTo>
                <a:lnTo>
                  <a:pt x="83915" y="91345"/>
                </a:lnTo>
                <a:moveTo>
                  <a:pt x="184595" y="236030"/>
                </a:moveTo>
                <a:lnTo>
                  <a:pt x="268510" y="161830"/>
                </a:lnTo>
                <a:lnTo>
                  <a:pt x="184595" y="91345"/>
                </a:lnTo>
                <a:moveTo>
                  <a:pt x="134207" y="40100"/>
                </a:moveTo>
                <a:lnTo>
                  <a:pt x="134207" y="143637"/>
                </a:lnTo>
                <a:moveTo>
                  <a:pt x="134207" y="0"/>
                </a:moveTo>
                <a:cubicBezTo>
                  <a:pt x="123158" y="0"/>
                  <a:pt x="114110" y="8954"/>
                  <a:pt x="114110" y="20098"/>
                </a:cubicBezTo>
                <a:cubicBezTo>
                  <a:pt x="114110" y="31242"/>
                  <a:pt x="123063" y="40196"/>
                  <a:pt x="134207" y="40196"/>
                </a:cubicBezTo>
                <a:cubicBezTo>
                  <a:pt x="145352" y="40196"/>
                  <a:pt x="154305" y="31242"/>
                  <a:pt x="154305" y="20098"/>
                </a:cubicBezTo>
                <a:cubicBezTo>
                  <a:pt x="154305" y="8954"/>
                  <a:pt x="145256" y="0"/>
                  <a:pt x="134207" y="0"/>
                </a:cubicBezTo>
                <a:close/>
                <a:moveTo>
                  <a:pt x="134207" y="143637"/>
                </a:moveTo>
                <a:cubicBezTo>
                  <a:pt x="123158" y="143637"/>
                  <a:pt x="114110" y="152591"/>
                  <a:pt x="114110" y="163735"/>
                </a:cubicBezTo>
                <a:cubicBezTo>
                  <a:pt x="114110" y="174784"/>
                  <a:pt x="123063" y="183833"/>
                  <a:pt x="134207" y="183833"/>
                </a:cubicBezTo>
                <a:cubicBezTo>
                  <a:pt x="145352" y="183833"/>
                  <a:pt x="154305" y="174879"/>
                  <a:pt x="154305" y="163735"/>
                </a:cubicBezTo>
                <a:cubicBezTo>
                  <a:pt x="154305" y="152591"/>
                  <a:pt x="145256" y="143637"/>
                  <a:pt x="134207" y="143637"/>
                </a:cubicBezTo>
                <a:close/>
              </a:path>
            </a:pathLst>
          </a:custGeom>
          <a:noFill/>
          <a:ln w="15875" cap="flat">
            <a:solidFill>
              <a:schemeClr val="tx1"/>
            </a:solidFill>
            <a:prstDash val="solid"/>
            <a:miter/>
          </a:ln>
        </p:spPr>
        <p:txBody>
          <a:bodyPr rtlCol="0" anchor="ctr"/>
          <a:lstStyle/>
          <a:p>
            <a:pPr defTabSz="932597">
              <a:defRPr/>
            </a:pPr>
            <a:endParaRPr lang="en-US" sz="1836">
              <a:solidFill>
                <a:srgbClr val="3C3C41"/>
              </a:solidFill>
              <a:latin typeface="Segoe UI"/>
            </a:endParaRPr>
          </a:p>
        </p:txBody>
      </p:sp>
      <p:grpSp>
        <p:nvGrpSpPr>
          <p:cNvPr id="16" name="Group 15">
            <a:extLst>
              <a:ext uri="{FF2B5EF4-FFF2-40B4-BE49-F238E27FC236}">
                <a16:creationId xmlns:a16="http://schemas.microsoft.com/office/drawing/2014/main" id="{AC9252D0-D9E3-A239-48CE-A2707DE1BE04}"/>
              </a:ext>
            </a:extLst>
          </p:cNvPr>
          <p:cNvGrpSpPr/>
          <p:nvPr/>
        </p:nvGrpSpPr>
        <p:grpSpPr>
          <a:xfrm>
            <a:off x="2792495" y="5458930"/>
            <a:ext cx="822960" cy="822960"/>
            <a:chOff x="2394063" y="3715792"/>
            <a:chExt cx="822960" cy="822960"/>
          </a:xfrm>
        </p:grpSpPr>
        <p:sp>
          <p:nvSpPr>
            <p:cNvPr id="12" name="Oval 11">
              <a:extLst>
                <a:ext uri="{FF2B5EF4-FFF2-40B4-BE49-F238E27FC236}">
                  <a16:creationId xmlns:a16="http://schemas.microsoft.com/office/drawing/2014/main" id="{D671A300-A218-9902-211E-87935873A18D}"/>
                </a:ext>
              </a:extLst>
            </p:cNvPr>
            <p:cNvSpPr/>
            <p:nvPr/>
          </p:nvSpPr>
          <p:spPr bwMode="auto">
            <a:xfrm>
              <a:off x="2394063" y="3715792"/>
              <a:ext cx="822960" cy="822960"/>
            </a:xfrm>
            <a:prstGeom prst="ellipse">
              <a:avLst/>
            </a:prstGeom>
            <a:solidFill>
              <a:schemeClr val="bg1"/>
            </a:solidFill>
            <a:ln w="19050">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4" name="Picture 13" descr="Icon&#10;&#10;Description automatically generated">
              <a:extLst>
                <a:ext uri="{FF2B5EF4-FFF2-40B4-BE49-F238E27FC236}">
                  <a16:creationId xmlns:a16="http://schemas.microsoft.com/office/drawing/2014/main" id="{C9D0EFC0-630E-7AAD-DD89-7D461B2FEE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08947" y="3912342"/>
              <a:ext cx="393192" cy="393192"/>
            </a:xfrm>
            <a:prstGeom prst="rect">
              <a:avLst/>
            </a:prstGeom>
          </p:spPr>
        </p:pic>
      </p:grpSp>
      <p:grpSp>
        <p:nvGrpSpPr>
          <p:cNvPr id="27" name="Group 26">
            <a:extLst>
              <a:ext uri="{FF2B5EF4-FFF2-40B4-BE49-F238E27FC236}">
                <a16:creationId xmlns:a16="http://schemas.microsoft.com/office/drawing/2014/main" id="{92E1F267-5943-39BA-B186-F59DD06CC5DF}"/>
              </a:ext>
            </a:extLst>
          </p:cNvPr>
          <p:cNvGrpSpPr/>
          <p:nvPr/>
        </p:nvGrpSpPr>
        <p:grpSpPr>
          <a:xfrm>
            <a:off x="455086" y="2753084"/>
            <a:ext cx="1273768" cy="905778"/>
            <a:chOff x="455086" y="2753084"/>
            <a:chExt cx="1273768" cy="905778"/>
          </a:xfrm>
        </p:grpSpPr>
        <p:sp>
          <p:nvSpPr>
            <p:cNvPr id="18" name="Hexagon 17">
              <a:extLst>
                <a:ext uri="{FF2B5EF4-FFF2-40B4-BE49-F238E27FC236}">
                  <a16:creationId xmlns:a16="http://schemas.microsoft.com/office/drawing/2014/main" id="{6EFDE2C8-925B-2D9F-54A6-11361BCB14F3}"/>
                </a:ext>
              </a:extLst>
            </p:cNvPr>
            <p:cNvSpPr/>
            <p:nvPr/>
          </p:nvSpPr>
          <p:spPr bwMode="auto">
            <a:xfrm>
              <a:off x="455086" y="2753084"/>
              <a:ext cx="1273768" cy="905778"/>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0" name="TextBox 19">
              <a:extLst>
                <a:ext uri="{FF2B5EF4-FFF2-40B4-BE49-F238E27FC236}">
                  <a16:creationId xmlns:a16="http://schemas.microsoft.com/office/drawing/2014/main" id="{0739476C-DAE4-4A07-C9B6-3D7A14C986CC}"/>
                </a:ext>
              </a:extLst>
            </p:cNvPr>
            <p:cNvSpPr txBox="1"/>
            <p:nvPr/>
          </p:nvSpPr>
          <p:spPr>
            <a:xfrm>
              <a:off x="633502" y="3008734"/>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Data Sources</a:t>
              </a:r>
              <a:endParaRPr lang="en-US">
                <a:ea typeface="+mn-ea"/>
                <a:cs typeface="+mn-cs"/>
              </a:endParaRPr>
            </a:p>
          </p:txBody>
        </p:sp>
      </p:grpSp>
      <p:sp>
        <p:nvSpPr>
          <p:cNvPr id="22" name="TextBox 21">
            <a:extLst>
              <a:ext uri="{FF2B5EF4-FFF2-40B4-BE49-F238E27FC236}">
                <a16:creationId xmlns:a16="http://schemas.microsoft.com/office/drawing/2014/main" id="{D86C7303-35D2-AA36-EEC8-52A2C7D1E462}"/>
              </a:ext>
            </a:extLst>
          </p:cNvPr>
          <p:cNvSpPr txBox="1"/>
          <p:nvPr/>
        </p:nvSpPr>
        <p:spPr>
          <a:xfrm>
            <a:off x="2745188" y="6375478"/>
            <a:ext cx="914692" cy="246221"/>
          </a:xfrm>
          <a:prstGeom prst="rect">
            <a:avLst/>
          </a:prstGeom>
          <a:noFill/>
        </p:spPr>
        <p:txBody>
          <a:bodyPr wrap="square" lIns="91440" tIns="45720" rIns="91440" bIns="45720" anchor="t">
            <a:spAutoFit/>
          </a:bodyPr>
          <a:lstStyle/>
          <a:p>
            <a:pPr marL="0" marR="0" lvl="0" indent="0" algn="ctr" defTabSz="914400">
              <a:lnSpc>
                <a:spcPct val="100000"/>
              </a:lnSpc>
              <a:spcBef>
                <a:spcPts val="0"/>
              </a:spcBef>
              <a:spcAft>
                <a:spcPts val="0"/>
              </a:spcAft>
              <a:buNone/>
              <a:tabLst/>
              <a:defRPr/>
            </a:pPr>
            <a:r>
              <a:rPr lang="en-US" sz="1000">
                <a:solidFill>
                  <a:srgbClr val="000000"/>
                </a:solidFill>
                <a:latin typeface="Segoe UI Semibold"/>
              </a:rPr>
              <a:t>ADF</a:t>
            </a:r>
            <a:endParaRPr lang="en-US">
              <a:ea typeface="+mn-ea"/>
              <a:cs typeface="+mn-cs"/>
            </a:endParaRPr>
          </a:p>
        </p:txBody>
      </p:sp>
      <p:grpSp>
        <p:nvGrpSpPr>
          <p:cNvPr id="26" name="Group 25">
            <a:extLst>
              <a:ext uri="{FF2B5EF4-FFF2-40B4-BE49-F238E27FC236}">
                <a16:creationId xmlns:a16="http://schemas.microsoft.com/office/drawing/2014/main" id="{0022E4ED-BF75-F24E-44D8-30C73350BD6F}"/>
              </a:ext>
            </a:extLst>
          </p:cNvPr>
          <p:cNvGrpSpPr/>
          <p:nvPr/>
        </p:nvGrpSpPr>
        <p:grpSpPr>
          <a:xfrm>
            <a:off x="6252266" y="3481403"/>
            <a:ext cx="1273768" cy="905778"/>
            <a:chOff x="455085" y="4541044"/>
            <a:chExt cx="1273768" cy="905778"/>
          </a:xfrm>
        </p:grpSpPr>
        <p:sp>
          <p:nvSpPr>
            <p:cNvPr id="24" name="Hexagon 23">
              <a:extLst>
                <a:ext uri="{FF2B5EF4-FFF2-40B4-BE49-F238E27FC236}">
                  <a16:creationId xmlns:a16="http://schemas.microsoft.com/office/drawing/2014/main" id="{3696DC0B-5058-0211-6713-D2E8288FDCAD}"/>
                </a:ext>
              </a:extLst>
            </p:cNvPr>
            <p:cNvSpPr/>
            <p:nvPr/>
          </p:nvSpPr>
          <p:spPr bwMode="auto">
            <a:xfrm>
              <a:off x="455085" y="4541044"/>
              <a:ext cx="1273768" cy="905778"/>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5" name="TextBox 24">
              <a:extLst>
                <a:ext uri="{FF2B5EF4-FFF2-40B4-BE49-F238E27FC236}">
                  <a16:creationId xmlns:a16="http://schemas.microsoft.com/office/drawing/2014/main" id="{146D8D68-5F44-ED7E-63F4-B82D9F7936E1}"/>
                </a:ext>
              </a:extLst>
            </p:cNvPr>
            <p:cNvSpPr txBox="1"/>
            <p:nvPr/>
          </p:nvSpPr>
          <p:spPr>
            <a:xfrm>
              <a:off x="633502" y="4736929"/>
              <a:ext cx="1014299"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On-premises data gateway</a:t>
              </a:r>
              <a:endParaRPr lang="en-US">
                <a:ea typeface="+mn-ea"/>
                <a:cs typeface="+mn-cs"/>
              </a:endParaRPr>
            </a:p>
          </p:txBody>
        </p:sp>
      </p:grpSp>
      <p:sp>
        <p:nvSpPr>
          <p:cNvPr id="29" name="Rectangle 28">
            <a:extLst>
              <a:ext uri="{FF2B5EF4-FFF2-40B4-BE49-F238E27FC236}">
                <a16:creationId xmlns:a16="http://schemas.microsoft.com/office/drawing/2014/main" id="{B00C00B9-6FF0-B0E3-CA17-2D4C552A490D}"/>
              </a:ext>
            </a:extLst>
          </p:cNvPr>
          <p:cNvSpPr/>
          <p:nvPr/>
        </p:nvSpPr>
        <p:spPr bwMode="auto">
          <a:xfrm>
            <a:off x="308406" y="2429917"/>
            <a:ext cx="1607816" cy="2930907"/>
          </a:xfrm>
          <a:prstGeom prst="rect">
            <a:avLst/>
          </a:prstGeom>
          <a:noFill/>
          <a:ln w="1905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TextBox 31">
            <a:extLst>
              <a:ext uri="{FF2B5EF4-FFF2-40B4-BE49-F238E27FC236}">
                <a16:creationId xmlns:a16="http://schemas.microsoft.com/office/drawing/2014/main" id="{F46B51D2-0D3F-49D3-15BB-32085B43C17C}"/>
              </a:ext>
            </a:extLst>
          </p:cNvPr>
          <p:cNvSpPr txBox="1"/>
          <p:nvPr/>
        </p:nvSpPr>
        <p:spPr>
          <a:xfrm>
            <a:off x="309776" y="2181988"/>
            <a:ext cx="914692" cy="246221"/>
          </a:xfrm>
          <a:prstGeom prst="rect">
            <a:avLst/>
          </a:prstGeom>
          <a:noFill/>
        </p:spPr>
        <p:txBody>
          <a:bodyPr wrap="square" lIns="91440" tIns="45720" rIns="91440" bIns="45720" anchor="t">
            <a:spAutoFit/>
          </a:bodyPr>
          <a:lstStyle/>
          <a:p>
            <a:pPr marL="0" marR="0" lvl="0" indent="0" algn="ctr" defTabSz="914400">
              <a:lnSpc>
                <a:spcPct val="100000"/>
              </a:lnSpc>
              <a:spcBef>
                <a:spcPts val="0"/>
              </a:spcBef>
              <a:spcAft>
                <a:spcPts val="0"/>
              </a:spcAft>
              <a:buNone/>
              <a:tabLst/>
              <a:defRPr/>
            </a:pPr>
            <a:r>
              <a:rPr lang="en-US" sz="1000">
                <a:solidFill>
                  <a:srgbClr val="000000"/>
                </a:solidFill>
                <a:latin typeface="Segoe UI Semibold"/>
              </a:rPr>
              <a:t>FIREWALL</a:t>
            </a:r>
            <a:endParaRPr lang="en-US">
              <a:ea typeface="+mn-ea"/>
              <a:cs typeface="+mn-cs"/>
            </a:endParaRPr>
          </a:p>
        </p:txBody>
      </p:sp>
      <p:sp>
        <p:nvSpPr>
          <p:cNvPr id="33" name="TextBox 32">
            <a:extLst>
              <a:ext uri="{FF2B5EF4-FFF2-40B4-BE49-F238E27FC236}">
                <a16:creationId xmlns:a16="http://schemas.microsoft.com/office/drawing/2014/main" id="{803EB11C-6CA9-ABC3-5FDB-023E7F99AD04}"/>
              </a:ext>
            </a:extLst>
          </p:cNvPr>
          <p:cNvSpPr txBox="1"/>
          <p:nvPr/>
        </p:nvSpPr>
        <p:spPr>
          <a:xfrm>
            <a:off x="4162562" y="4074789"/>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Private Endpoint</a:t>
            </a:r>
            <a:endParaRPr lang="en-US">
              <a:ea typeface="+mn-ea"/>
              <a:cs typeface="+mn-cs"/>
            </a:endParaRPr>
          </a:p>
        </p:txBody>
      </p:sp>
      <p:sp>
        <p:nvSpPr>
          <p:cNvPr id="35" name="TextBox 34">
            <a:extLst>
              <a:ext uri="{FF2B5EF4-FFF2-40B4-BE49-F238E27FC236}">
                <a16:creationId xmlns:a16="http://schemas.microsoft.com/office/drawing/2014/main" id="{7AC206F6-7A11-324C-77E1-9F7E4E2E6C4F}"/>
              </a:ext>
            </a:extLst>
          </p:cNvPr>
          <p:cNvSpPr txBox="1"/>
          <p:nvPr/>
        </p:nvSpPr>
        <p:spPr>
          <a:xfrm>
            <a:off x="6349631" y="6195076"/>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Public Internet</a:t>
            </a:r>
            <a:endParaRPr lang="en-US">
              <a:ea typeface="+mn-ea"/>
              <a:cs typeface="+mn-cs"/>
            </a:endParaRPr>
          </a:p>
        </p:txBody>
      </p:sp>
      <p:pic>
        <p:nvPicPr>
          <p:cNvPr id="36" name="Picture 35" descr="Web Address Website · Free vector graphic on Pixabay">
            <a:extLst>
              <a:ext uri="{FF2B5EF4-FFF2-40B4-BE49-F238E27FC236}">
                <a16:creationId xmlns:a16="http://schemas.microsoft.com/office/drawing/2014/main" id="{DC84B755-2E08-EC62-F8D5-E85EE54057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4936" y="5561383"/>
            <a:ext cx="559300" cy="589181"/>
          </a:xfrm>
          <a:prstGeom prst="rect">
            <a:avLst/>
          </a:prstGeom>
        </p:spPr>
      </p:pic>
      <p:sp>
        <p:nvSpPr>
          <p:cNvPr id="37" name="Multiplication Sign 36">
            <a:extLst>
              <a:ext uri="{FF2B5EF4-FFF2-40B4-BE49-F238E27FC236}">
                <a16:creationId xmlns:a16="http://schemas.microsoft.com/office/drawing/2014/main" id="{A3EFA10D-6D78-DA45-203F-34708D0BFBA1}"/>
              </a:ext>
            </a:extLst>
          </p:cNvPr>
          <p:cNvSpPr/>
          <p:nvPr/>
        </p:nvSpPr>
        <p:spPr>
          <a:xfrm>
            <a:off x="5626762" y="5666717"/>
            <a:ext cx="398431" cy="448235"/>
          </a:xfrm>
          <a:prstGeom prst="mathMultiply">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Graphic 38">
            <a:extLst>
              <a:ext uri="{FF2B5EF4-FFF2-40B4-BE49-F238E27FC236}">
                <a16:creationId xmlns:a16="http://schemas.microsoft.com/office/drawing/2014/main" id="{F345FF79-1394-5DBD-0FC4-5CE55D08C4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21196" y="1543203"/>
            <a:ext cx="788981" cy="779021"/>
          </a:xfrm>
          <a:prstGeom prst="rect">
            <a:avLst/>
          </a:prstGeom>
        </p:spPr>
      </p:pic>
      <p:sp>
        <p:nvSpPr>
          <p:cNvPr id="40" name="TextBox 39">
            <a:extLst>
              <a:ext uri="{FF2B5EF4-FFF2-40B4-BE49-F238E27FC236}">
                <a16:creationId xmlns:a16="http://schemas.microsoft.com/office/drawing/2014/main" id="{436F3322-E531-1585-E45A-97727A1A7212}"/>
              </a:ext>
            </a:extLst>
          </p:cNvPr>
          <p:cNvSpPr txBox="1"/>
          <p:nvPr/>
        </p:nvSpPr>
        <p:spPr>
          <a:xfrm>
            <a:off x="3972600" y="6343887"/>
            <a:ext cx="117865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Storage Account (ADLS)</a:t>
            </a:r>
            <a:endParaRPr lang="en-US">
              <a:ea typeface="+mn-ea"/>
              <a:cs typeface="+mn-cs"/>
            </a:endParaRPr>
          </a:p>
        </p:txBody>
      </p:sp>
      <p:sp>
        <p:nvSpPr>
          <p:cNvPr id="41" name="TextBox 40">
            <a:extLst>
              <a:ext uri="{FF2B5EF4-FFF2-40B4-BE49-F238E27FC236}">
                <a16:creationId xmlns:a16="http://schemas.microsoft.com/office/drawing/2014/main" id="{A0D30C98-59AD-A362-53E3-DFC5204A06B1}"/>
              </a:ext>
            </a:extLst>
          </p:cNvPr>
          <p:cNvSpPr txBox="1"/>
          <p:nvPr/>
        </p:nvSpPr>
        <p:spPr>
          <a:xfrm>
            <a:off x="4162563" y="1280789"/>
            <a:ext cx="914692" cy="246221"/>
          </a:xfrm>
          <a:prstGeom prst="rect">
            <a:avLst/>
          </a:prstGeom>
          <a:noFill/>
        </p:spPr>
        <p:txBody>
          <a:bodyPr wrap="square" lIns="91440" tIns="45720" rIns="91440" bIns="45720" anchor="t">
            <a:spAutoFit/>
          </a:bodyPr>
          <a:lstStyle/>
          <a:p>
            <a:pPr marL="0" marR="0" lvl="0" indent="0" algn="ctr" defTabSz="914400">
              <a:lnSpc>
                <a:spcPct val="100000"/>
              </a:lnSpc>
              <a:spcBef>
                <a:spcPts val="0"/>
              </a:spcBef>
              <a:spcAft>
                <a:spcPts val="0"/>
              </a:spcAft>
              <a:buNone/>
              <a:tabLst/>
              <a:defRPr/>
            </a:pPr>
            <a:r>
              <a:rPr lang="en-US" sz="1000">
                <a:solidFill>
                  <a:srgbClr val="000000"/>
                </a:solidFill>
                <a:latin typeface="Segoe UI Semibold"/>
              </a:rPr>
              <a:t>Synapse</a:t>
            </a:r>
            <a:endParaRPr lang="en-US">
              <a:ea typeface="+mn-ea"/>
              <a:cs typeface="+mn-cs"/>
            </a:endParaRPr>
          </a:p>
        </p:txBody>
      </p:sp>
      <p:sp>
        <p:nvSpPr>
          <p:cNvPr id="42" name="Graphic 1033">
            <a:extLst>
              <a:ext uri="{FF2B5EF4-FFF2-40B4-BE49-F238E27FC236}">
                <a16:creationId xmlns:a16="http://schemas.microsoft.com/office/drawing/2014/main" id="{031FCF33-7E56-4772-1D8F-8BA02AF0FCFD}"/>
              </a:ext>
            </a:extLst>
          </p:cNvPr>
          <p:cNvSpPr/>
          <p:nvPr/>
        </p:nvSpPr>
        <p:spPr>
          <a:xfrm>
            <a:off x="4373481" y="3380744"/>
            <a:ext cx="516229" cy="451095"/>
          </a:xfrm>
          <a:custGeom>
            <a:avLst/>
            <a:gdLst>
              <a:gd name="connsiteX0" fmla="*/ 83915 w 268509"/>
              <a:gd name="connsiteY0" fmla="*/ 236030 h 236029"/>
              <a:gd name="connsiteX1" fmla="*/ 0 w 268509"/>
              <a:gd name="connsiteY1" fmla="*/ 161830 h 236029"/>
              <a:gd name="connsiteX2" fmla="*/ 83915 w 268509"/>
              <a:gd name="connsiteY2" fmla="*/ 91345 h 236029"/>
              <a:gd name="connsiteX3" fmla="*/ 184595 w 268509"/>
              <a:gd name="connsiteY3" fmla="*/ 236030 h 236029"/>
              <a:gd name="connsiteX4" fmla="*/ 268510 w 268509"/>
              <a:gd name="connsiteY4" fmla="*/ 161830 h 236029"/>
              <a:gd name="connsiteX5" fmla="*/ 184595 w 268509"/>
              <a:gd name="connsiteY5" fmla="*/ 91345 h 236029"/>
              <a:gd name="connsiteX6" fmla="*/ 134207 w 268509"/>
              <a:gd name="connsiteY6" fmla="*/ 40100 h 236029"/>
              <a:gd name="connsiteX7" fmla="*/ 134207 w 268509"/>
              <a:gd name="connsiteY7" fmla="*/ 143637 h 236029"/>
              <a:gd name="connsiteX8" fmla="*/ 134207 w 268509"/>
              <a:gd name="connsiteY8" fmla="*/ 0 h 236029"/>
              <a:gd name="connsiteX9" fmla="*/ 114110 w 268509"/>
              <a:gd name="connsiteY9" fmla="*/ 20098 h 236029"/>
              <a:gd name="connsiteX10" fmla="*/ 134207 w 268509"/>
              <a:gd name="connsiteY10" fmla="*/ 40196 h 236029"/>
              <a:gd name="connsiteX11" fmla="*/ 154305 w 268509"/>
              <a:gd name="connsiteY11" fmla="*/ 20098 h 236029"/>
              <a:gd name="connsiteX12" fmla="*/ 134207 w 268509"/>
              <a:gd name="connsiteY12" fmla="*/ 0 h 236029"/>
              <a:gd name="connsiteX13" fmla="*/ 134207 w 268509"/>
              <a:gd name="connsiteY13" fmla="*/ 143637 h 236029"/>
              <a:gd name="connsiteX14" fmla="*/ 114110 w 268509"/>
              <a:gd name="connsiteY14" fmla="*/ 163735 h 236029"/>
              <a:gd name="connsiteX15" fmla="*/ 134207 w 268509"/>
              <a:gd name="connsiteY15" fmla="*/ 183833 h 236029"/>
              <a:gd name="connsiteX16" fmla="*/ 154305 w 268509"/>
              <a:gd name="connsiteY16" fmla="*/ 163735 h 236029"/>
              <a:gd name="connsiteX17" fmla="*/ 134207 w 268509"/>
              <a:gd name="connsiteY17" fmla="*/ 143637 h 23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509" h="236029">
                <a:moveTo>
                  <a:pt x="83915" y="236030"/>
                </a:moveTo>
                <a:lnTo>
                  <a:pt x="0" y="161830"/>
                </a:lnTo>
                <a:lnTo>
                  <a:pt x="83915" y="91345"/>
                </a:lnTo>
                <a:moveTo>
                  <a:pt x="184595" y="236030"/>
                </a:moveTo>
                <a:lnTo>
                  <a:pt x="268510" y="161830"/>
                </a:lnTo>
                <a:lnTo>
                  <a:pt x="184595" y="91345"/>
                </a:lnTo>
                <a:moveTo>
                  <a:pt x="134207" y="40100"/>
                </a:moveTo>
                <a:lnTo>
                  <a:pt x="134207" y="143637"/>
                </a:lnTo>
                <a:moveTo>
                  <a:pt x="134207" y="0"/>
                </a:moveTo>
                <a:cubicBezTo>
                  <a:pt x="123158" y="0"/>
                  <a:pt x="114110" y="8954"/>
                  <a:pt x="114110" y="20098"/>
                </a:cubicBezTo>
                <a:cubicBezTo>
                  <a:pt x="114110" y="31242"/>
                  <a:pt x="123063" y="40196"/>
                  <a:pt x="134207" y="40196"/>
                </a:cubicBezTo>
                <a:cubicBezTo>
                  <a:pt x="145352" y="40196"/>
                  <a:pt x="154305" y="31242"/>
                  <a:pt x="154305" y="20098"/>
                </a:cubicBezTo>
                <a:cubicBezTo>
                  <a:pt x="154305" y="8954"/>
                  <a:pt x="145256" y="0"/>
                  <a:pt x="134207" y="0"/>
                </a:cubicBezTo>
                <a:close/>
                <a:moveTo>
                  <a:pt x="134207" y="143637"/>
                </a:moveTo>
                <a:cubicBezTo>
                  <a:pt x="123158" y="143637"/>
                  <a:pt x="114110" y="152591"/>
                  <a:pt x="114110" y="163735"/>
                </a:cubicBezTo>
                <a:cubicBezTo>
                  <a:pt x="114110" y="174784"/>
                  <a:pt x="123063" y="183833"/>
                  <a:pt x="134207" y="183833"/>
                </a:cubicBezTo>
                <a:cubicBezTo>
                  <a:pt x="145352" y="183833"/>
                  <a:pt x="154305" y="174879"/>
                  <a:pt x="154305" y="163735"/>
                </a:cubicBezTo>
                <a:cubicBezTo>
                  <a:pt x="154305" y="152591"/>
                  <a:pt x="145256" y="143637"/>
                  <a:pt x="134207" y="143637"/>
                </a:cubicBezTo>
                <a:close/>
              </a:path>
            </a:pathLst>
          </a:custGeom>
          <a:noFill/>
          <a:ln w="15875" cap="flat">
            <a:solidFill>
              <a:schemeClr val="tx1"/>
            </a:solidFill>
            <a:prstDash val="solid"/>
            <a:miter/>
          </a:ln>
        </p:spPr>
        <p:txBody>
          <a:bodyPr rtlCol="0" anchor="ctr"/>
          <a:lstStyle/>
          <a:p>
            <a:pPr defTabSz="932597">
              <a:defRPr/>
            </a:pPr>
            <a:endParaRPr lang="en-US" sz="1836">
              <a:solidFill>
                <a:srgbClr val="3C3C41"/>
              </a:solidFill>
              <a:latin typeface="Segoe UI"/>
            </a:endParaRPr>
          </a:p>
        </p:txBody>
      </p:sp>
      <p:sp>
        <p:nvSpPr>
          <p:cNvPr id="43" name="TextBox 42">
            <a:extLst>
              <a:ext uri="{FF2B5EF4-FFF2-40B4-BE49-F238E27FC236}">
                <a16:creationId xmlns:a16="http://schemas.microsoft.com/office/drawing/2014/main" id="{50F6AD3F-EB9E-9977-4356-B36BEC532691}"/>
              </a:ext>
            </a:extLst>
          </p:cNvPr>
          <p:cNvSpPr txBox="1"/>
          <p:nvPr/>
        </p:nvSpPr>
        <p:spPr>
          <a:xfrm>
            <a:off x="4172523" y="2879494"/>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Private Endpoint</a:t>
            </a:r>
            <a:endParaRPr lang="en-US">
              <a:ea typeface="+mn-ea"/>
              <a:cs typeface="+mn-cs"/>
            </a:endParaRPr>
          </a:p>
        </p:txBody>
      </p:sp>
      <p:sp>
        <p:nvSpPr>
          <p:cNvPr id="44" name="Rectangle 43">
            <a:extLst>
              <a:ext uri="{FF2B5EF4-FFF2-40B4-BE49-F238E27FC236}">
                <a16:creationId xmlns:a16="http://schemas.microsoft.com/office/drawing/2014/main" id="{F38B6D1D-1B6A-720F-0FCD-0AEDE2CF3920}"/>
              </a:ext>
            </a:extLst>
          </p:cNvPr>
          <p:cNvSpPr/>
          <p:nvPr/>
        </p:nvSpPr>
        <p:spPr bwMode="auto">
          <a:xfrm>
            <a:off x="3842447" y="2719031"/>
            <a:ext cx="1652639" cy="2547418"/>
          </a:xfrm>
          <a:prstGeom prst="rect">
            <a:avLst/>
          </a:prstGeom>
          <a:noFill/>
          <a:ln w="1905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5" name="TextBox 44">
            <a:extLst>
              <a:ext uri="{FF2B5EF4-FFF2-40B4-BE49-F238E27FC236}">
                <a16:creationId xmlns:a16="http://schemas.microsoft.com/office/drawing/2014/main" id="{EFC8141A-AE17-AD33-31EA-B8599077705C}"/>
              </a:ext>
            </a:extLst>
          </p:cNvPr>
          <p:cNvSpPr txBox="1"/>
          <p:nvPr/>
        </p:nvSpPr>
        <p:spPr>
          <a:xfrm>
            <a:off x="3216288" y="2530867"/>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Customer VNet</a:t>
            </a:r>
            <a:endParaRPr lang="en-US">
              <a:ea typeface="+mn-ea"/>
              <a:cs typeface="+mn-cs"/>
            </a:endParaRPr>
          </a:p>
        </p:txBody>
      </p:sp>
      <p:grpSp>
        <p:nvGrpSpPr>
          <p:cNvPr id="48" name="Group 47">
            <a:extLst>
              <a:ext uri="{FF2B5EF4-FFF2-40B4-BE49-F238E27FC236}">
                <a16:creationId xmlns:a16="http://schemas.microsoft.com/office/drawing/2014/main" id="{3E9BF596-72DF-26A6-4DBD-28B7B7D23074}"/>
              </a:ext>
            </a:extLst>
          </p:cNvPr>
          <p:cNvGrpSpPr/>
          <p:nvPr/>
        </p:nvGrpSpPr>
        <p:grpSpPr>
          <a:xfrm>
            <a:off x="475006" y="4192416"/>
            <a:ext cx="1273768" cy="905778"/>
            <a:chOff x="455085" y="4501201"/>
            <a:chExt cx="1273768" cy="905778"/>
          </a:xfrm>
        </p:grpSpPr>
        <p:sp>
          <p:nvSpPr>
            <p:cNvPr id="49" name="Hexagon 48">
              <a:extLst>
                <a:ext uri="{FF2B5EF4-FFF2-40B4-BE49-F238E27FC236}">
                  <a16:creationId xmlns:a16="http://schemas.microsoft.com/office/drawing/2014/main" id="{92DDB625-6C21-5886-2A2F-672F9510DCFC}"/>
                </a:ext>
              </a:extLst>
            </p:cNvPr>
            <p:cNvSpPr/>
            <p:nvPr/>
          </p:nvSpPr>
          <p:spPr bwMode="auto">
            <a:xfrm>
              <a:off x="455085" y="4501201"/>
              <a:ext cx="1273768" cy="905778"/>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0" name="TextBox 49">
              <a:extLst>
                <a:ext uri="{FF2B5EF4-FFF2-40B4-BE49-F238E27FC236}">
                  <a16:creationId xmlns:a16="http://schemas.microsoft.com/office/drawing/2014/main" id="{66E9CA7C-14EB-DF26-338D-BF50CFAF6F6A}"/>
                </a:ext>
              </a:extLst>
            </p:cNvPr>
            <p:cNvSpPr txBox="1"/>
            <p:nvPr/>
          </p:nvSpPr>
          <p:spPr>
            <a:xfrm>
              <a:off x="633502" y="4731949"/>
              <a:ext cx="914692" cy="553998"/>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Self-Hosted Integration Runtime</a:t>
              </a:r>
              <a:endParaRPr lang="en-US">
                <a:ea typeface="+mn-ea"/>
                <a:cs typeface="+mn-cs"/>
              </a:endParaRPr>
            </a:p>
          </p:txBody>
        </p:sp>
      </p:grpSp>
      <p:pic>
        <p:nvPicPr>
          <p:cNvPr id="52" name="Picture 51" descr="Icon&#10;&#10;Description automatically generated">
            <a:extLst>
              <a:ext uri="{FF2B5EF4-FFF2-40B4-BE49-F238E27FC236}">
                <a16:creationId xmlns:a16="http://schemas.microsoft.com/office/drawing/2014/main" id="{4B817579-6860-F84B-6AAA-2278588F738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92277" y="3626979"/>
            <a:ext cx="302256" cy="377339"/>
          </a:xfrm>
          <a:prstGeom prst="rect">
            <a:avLst/>
          </a:prstGeom>
        </p:spPr>
      </p:pic>
      <p:sp>
        <p:nvSpPr>
          <p:cNvPr id="54" name="TextBox 53">
            <a:extLst>
              <a:ext uri="{FF2B5EF4-FFF2-40B4-BE49-F238E27FC236}">
                <a16:creationId xmlns:a16="http://schemas.microsoft.com/office/drawing/2014/main" id="{6D3F8F46-6471-E1E7-76CA-5F4939B709AB}"/>
              </a:ext>
            </a:extLst>
          </p:cNvPr>
          <p:cNvSpPr txBox="1"/>
          <p:nvPr/>
        </p:nvSpPr>
        <p:spPr>
          <a:xfrm>
            <a:off x="8302181" y="4074789"/>
            <a:ext cx="116208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Power BI</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56" name="Graphic 55" descr="Female Profile with solid fill">
            <a:extLst>
              <a:ext uri="{FF2B5EF4-FFF2-40B4-BE49-F238E27FC236}">
                <a16:creationId xmlns:a16="http://schemas.microsoft.com/office/drawing/2014/main" id="{39A00E1D-D65A-8B8A-F130-A7BACE72A19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568116" y="1757143"/>
            <a:ext cx="555217" cy="555217"/>
          </a:xfrm>
          <a:prstGeom prst="rect">
            <a:avLst/>
          </a:prstGeom>
        </p:spPr>
      </p:pic>
      <p:sp>
        <p:nvSpPr>
          <p:cNvPr id="58" name="Title 1">
            <a:extLst>
              <a:ext uri="{FF2B5EF4-FFF2-40B4-BE49-F238E27FC236}">
                <a16:creationId xmlns:a16="http://schemas.microsoft.com/office/drawing/2014/main" id="{0C6F0F9C-2694-FB44-DC7B-80B4B63801D0}"/>
              </a:ext>
            </a:extLst>
          </p:cNvPr>
          <p:cNvSpPr txBox="1">
            <a:spLocks/>
          </p:cNvSpPr>
          <p:nvPr/>
        </p:nvSpPr>
        <p:spPr>
          <a:xfrm>
            <a:off x="8497485" y="2301156"/>
            <a:ext cx="688017" cy="110800"/>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90000"/>
              </a:lnSpc>
              <a:spcAft>
                <a:spcPts val="612"/>
              </a:spcAft>
              <a:defRPr/>
            </a:pPr>
            <a:r>
              <a:rPr lang="en-US" sz="800" b="1" spc="0">
                <a:solidFill>
                  <a:srgbClr val="3C3C41"/>
                </a:solidFill>
                <a:latin typeface="Segoe UI"/>
              </a:rPr>
              <a:t>Business</a:t>
            </a:r>
          </a:p>
        </p:txBody>
      </p:sp>
      <p:cxnSp>
        <p:nvCxnSpPr>
          <p:cNvPr id="63" name="Straight Arrow Connector 62">
            <a:extLst>
              <a:ext uri="{FF2B5EF4-FFF2-40B4-BE49-F238E27FC236}">
                <a16:creationId xmlns:a16="http://schemas.microsoft.com/office/drawing/2014/main" id="{DAA383BA-F490-1908-1B81-90C2CD279B60}"/>
              </a:ext>
            </a:extLst>
          </p:cNvPr>
          <p:cNvCxnSpPr/>
          <p:nvPr/>
        </p:nvCxnSpPr>
        <p:spPr>
          <a:xfrm>
            <a:off x="1058707" y="3621118"/>
            <a:ext cx="7970" cy="6653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724C6422-C970-41A5-8B6F-8366D2FB3F56}"/>
              </a:ext>
            </a:extLst>
          </p:cNvPr>
          <p:cNvCxnSpPr>
            <a:cxnSpLocks/>
          </p:cNvCxnSpPr>
          <p:nvPr/>
        </p:nvCxnSpPr>
        <p:spPr>
          <a:xfrm>
            <a:off x="1500105" y="5026628"/>
            <a:ext cx="1269348" cy="834411"/>
          </a:xfrm>
          <a:prstGeom prst="bentConnector3">
            <a:avLst>
              <a:gd name="adj1" fmla="val 22957"/>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A06DB636-39E3-5B02-14CA-9FF68E2743D0}"/>
              </a:ext>
            </a:extLst>
          </p:cNvPr>
          <p:cNvCxnSpPr>
            <a:cxnSpLocks/>
          </p:cNvCxnSpPr>
          <p:nvPr/>
        </p:nvCxnSpPr>
        <p:spPr>
          <a:xfrm>
            <a:off x="1855839" y="4632992"/>
            <a:ext cx="2242078" cy="393078"/>
          </a:xfrm>
          <a:prstGeom prst="bentConnector3">
            <a:avLst>
              <a:gd name="adj1" fmla="val 50000"/>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977D39AB-3E7E-CA52-B5D4-179FCE76BA5D}"/>
              </a:ext>
            </a:extLst>
          </p:cNvPr>
          <p:cNvCxnSpPr>
            <a:cxnSpLocks/>
            <a:stCxn id="42" idx="4"/>
          </p:cNvCxnSpPr>
          <p:nvPr/>
        </p:nvCxnSpPr>
        <p:spPr>
          <a:xfrm>
            <a:off x="4889712" y="3690031"/>
            <a:ext cx="1459919" cy="653"/>
          </a:xfrm>
          <a:prstGeom prst="bentConnector3">
            <a:avLst>
              <a:gd name="adj1" fmla="val 50000"/>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4E821A7D-3602-B75E-2ACF-86CBDE4FC43A}"/>
              </a:ext>
            </a:extLst>
          </p:cNvPr>
          <p:cNvCxnSpPr>
            <a:cxnSpLocks/>
          </p:cNvCxnSpPr>
          <p:nvPr/>
        </p:nvCxnSpPr>
        <p:spPr>
          <a:xfrm flipV="1">
            <a:off x="4885640" y="4141126"/>
            <a:ext cx="1463991" cy="722031"/>
          </a:xfrm>
          <a:prstGeom prst="bentConnector3">
            <a:avLst>
              <a:gd name="adj1" fmla="val 50000"/>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F8A31698-F9D4-9710-9B2F-554018ACA17F}"/>
              </a:ext>
            </a:extLst>
          </p:cNvPr>
          <p:cNvCxnSpPr>
            <a:cxnSpLocks/>
            <a:stCxn id="24" idx="0"/>
          </p:cNvCxnSpPr>
          <p:nvPr/>
        </p:nvCxnSpPr>
        <p:spPr>
          <a:xfrm>
            <a:off x="7526034" y="3934292"/>
            <a:ext cx="1114199"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9" name="Title 1">
            <a:extLst>
              <a:ext uri="{FF2B5EF4-FFF2-40B4-BE49-F238E27FC236}">
                <a16:creationId xmlns:a16="http://schemas.microsoft.com/office/drawing/2014/main" id="{B56EC9C5-B234-FB5E-F7F4-E580B5DFAD2C}"/>
              </a:ext>
            </a:extLst>
          </p:cNvPr>
          <p:cNvSpPr txBox="1">
            <a:spLocks/>
          </p:cNvSpPr>
          <p:nvPr/>
        </p:nvSpPr>
        <p:spPr>
          <a:xfrm>
            <a:off x="7599250" y="3416307"/>
            <a:ext cx="891265" cy="415498"/>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90000"/>
              </a:lnSpc>
              <a:spcAft>
                <a:spcPts val="612"/>
              </a:spcAft>
              <a:defRPr/>
            </a:pPr>
            <a:r>
              <a:rPr lang="en-US" sz="1000" b="1" spc="0">
                <a:solidFill>
                  <a:srgbClr val="3C3C41"/>
                </a:solidFill>
                <a:latin typeface="Segoe UI"/>
              </a:rPr>
              <a:t>Data is moved out or through GW </a:t>
            </a:r>
          </a:p>
        </p:txBody>
      </p:sp>
      <p:cxnSp>
        <p:nvCxnSpPr>
          <p:cNvPr id="81" name="Straight Arrow Connector 80">
            <a:extLst>
              <a:ext uri="{FF2B5EF4-FFF2-40B4-BE49-F238E27FC236}">
                <a16:creationId xmlns:a16="http://schemas.microsoft.com/office/drawing/2014/main" id="{3DF77008-1C1C-88E6-B30D-0594F75628A4}"/>
              </a:ext>
            </a:extLst>
          </p:cNvPr>
          <p:cNvCxnSpPr>
            <a:cxnSpLocks/>
          </p:cNvCxnSpPr>
          <p:nvPr/>
        </p:nvCxnSpPr>
        <p:spPr>
          <a:xfrm flipH="1" flipV="1">
            <a:off x="8820823" y="2423040"/>
            <a:ext cx="4982" cy="109248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D115CBD5-C874-A906-8095-8A1C1CEDD5EF}"/>
              </a:ext>
            </a:extLst>
          </p:cNvPr>
          <p:cNvSpPr txBox="1">
            <a:spLocks/>
          </p:cNvSpPr>
          <p:nvPr/>
        </p:nvSpPr>
        <p:spPr>
          <a:xfrm>
            <a:off x="2100036" y="3423400"/>
            <a:ext cx="688017" cy="110800"/>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90000"/>
              </a:lnSpc>
              <a:spcAft>
                <a:spcPts val="612"/>
              </a:spcAft>
              <a:defRPr/>
            </a:pPr>
            <a:r>
              <a:rPr lang="en-US" sz="800" b="1" spc="0">
                <a:solidFill>
                  <a:srgbClr val="3C3C41"/>
                </a:solidFill>
                <a:latin typeface="Segoe UI"/>
              </a:rPr>
              <a:t>Developers</a:t>
            </a:r>
          </a:p>
        </p:txBody>
      </p:sp>
      <p:pic>
        <p:nvPicPr>
          <p:cNvPr id="85" name="Graphic 84" descr="Female Profile with solid fill">
            <a:extLst>
              <a:ext uri="{FF2B5EF4-FFF2-40B4-BE49-F238E27FC236}">
                <a16:creationId xmlns:a16="http://schemas.microsoft.com/office/drawing/2014/main" id="{948C9C15-BB13-161E-8445-E0554DDCF14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166341" y="2885754"/>
            <a:ext cx="555217" cy="555217"/>
          </a:xfrm>
          <a:prstGeom prst="rect">
            <a:avLst/>
          </a:prstGeom>
        </p:spPr>
      </p:pic>
      <p:cxnSp>
        <p:nvCxnSpPr>
          <p:cNvPr id="86" name="Connector: Elbow 85">
            <a:extLst>
              <a:ext uri="{FF2B5EF4-FFF2-40B4-BE49-F238E27FC236}">
                <a16:creationId xmlns:a16="http://schemas.microsoft.com/office/drawing/2014/main" id="{4BCE2D4A-85BF-89C7-9C39-8D106E7A88F3}"/>
              </a:ext>
            </a:extLst>
          </p:cNvPr>
          <p:cNvCxnSpPr>
            <a:cxnSpLocks/>
          </p:cNvCxnSpPr>
          <p:nvPr/>
        </p:nvCxnSpPr>
        <p:spPr>
          <a:xfrm>
            <a:off x="2679710" y="3303484"/>
            <a:ext cx="1373383" cy="855998"/>
          </a:xfrm>
          <a:prstGeom prst="bentConnector3">
            <a:avLst>
              <a:gd name="adj1" fmla="val 50000"/>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1DB5390D-794D-8C77-E9F8-68D80AFC983E}"/>
              </a:ext>
            </a:extLst>
          </p:cNvPr>
          <p:cNvCxnSpPr>
            <a:cxnSpLocks/>
          </p:cNvCxnSpPr>
          <p:nvPr/>
        </p:nvCxnSpPr>
        <p:spPr>
          <a:xfrm flipH="1">
            <a:off x="5095959" y="5874420"/>
            <a:ext cx="1426964" cy="771"/>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88" name="Picture 87" descr="Web Address Website · Free vector graphic on Pixabay">
            <a:extLst>
              <a:ext uri="{FF2B5EF4-FFF2-40B4-BE49-F238E27FC236}">
                <a16:creationId xmlns:a16="http://schemas.microsoft.com/office/drawing/2014/main" id="{A89EDE2C-7E86-B849-760A-41C8850EBA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3979" y="1568328"/>
            <a:ext cx="559300" cy="589181"/>
          </a:xfrm>
          <a:prstGeom prst="rect">
            <a:avLst/>
          </a:prstGeom>
        </p:spPr>
      </p:pic>
      <p:sp>
        <p:nvSpPr>
          <p:cNvPr id="89" name="Multiplication Sign 88">
            <a:extLst>
              <a:ext uri="{FF2B5EF4-FFF2-40B4-BE49-F238E27FC236}">
                <a16:creationId xmlns:a16="http://schemas.microsoft.com/office/drawing/2014/main" id="{B008491C-C197-FF88-5565-1FA28DAA3C64}"/>
              </a:ext>
            </a:extLst>
          </p:cNvPr>
          <p:cNvSpPr/>
          <p:nvPr/>
        </p:nvSpPr>
        <p:spPr>
          <a:xfrm>
            <a:off x="5625805" y="1673662"/>
            <a:ext cx="398431" cy="448235"/>
          </a:xfrm>
          <a:prstGeom prst="mathMultiply">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0" name="Straight Arrow Connector 89">
            <a:extLst>
              <a:ext uri="{FF2B5EF4-FFF2-40B4-BE49-F238E27FC236}">
                <a16:creationId xmlns:a16="http://schemas.microsoft.com/office/drawing/2014/main" id="{97C0C53F-27B8-B32D-166E-4A46256F25DC}"/>
              </a:ext>
            </a:extLst>
          </p:cNvPr>
          <p:cNvCxnSpPr>
            <a:cxnSpLocks/>
          </p:cNvCxnSpPr>
          <p:nvPr/>
        </p:nvCxnSpPr>
        <p:spPr>
          <a:xfrm flipH="1">
            <a:off x="5095002" y="1881365"/>
            <a:ext cx="1426964" cy="771"/>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C0BD927C-FA76-7519-684A-57C97C538FD2}"/>
              </a:ext>
            </a:extLst>
          </p:cNvPr>
          <p:cNvCxnSpPr>
            <a:cxnSpLocks/>
          </p:cNvCxnSpPr>
          <p:nvPr/>
        </p:nvCxnSpPr>
        <p:spPr>
          <a:xfrm flipH="1">
            <a:off x="4610513" y="2363000"/>
            <a:ext cx="1207" cy="572114"/>
          </a:xfrm>
          <a:prstGeom prst="bentConnector3">
            <a:avLst>
              <a:gd name="adj1" fmla="val 50000"/>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1479DC42-097D-9DBD-E805-644DB841F4D8}"/>
              </a:ext>
            </a:extLst>
          </p:cNvPr>
          <p:cNvCxnSpPr>
            <a:cxnSpLocks/>
          </p:cNvCxnSpPr>
          <p:nvPr/>
        </p:nvCxnSpPr>
        <p:spPr>
          <a:xfrm flipV="1">
            <a:off x="4611891" y="5024201"/>
            <a:ext cx="3774" cy="473767"/>
          </a:xfrm>
          <a:prstGeom prst="bentConnector3">
            <a:avLst>
              <a:gd name="adj1" fmla="val 50000"/>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44C7FD33-43B6-193D-E6B2-0E068A39D9B4}"/>
              </a:ext>
            </a:extLst>
          </p:cNvPr>
          <p:cNvSpPr txBox="1"/>
          <p:nvPr/>
        </p:nvSpPr>
        <p:spPr>
          <a:xfrm>
            <a:off x="6358915" y="2207141"/>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Public Internet</a:t>
            </a:r>
            <a:endParaRPr lang="en-US">
              <a:ea typeface="+mn-ea"/>
              <a:cs typeface="+mn-cs"/>
            </a:endParaRPr>
          </a:p>
        </p:txBody>
      </p:sp>
      <p:pic>
        <p:nvPicPr>
          <p:cNvPr id="2" name="Picture 1" descr="A blue and white logo&#10;&#10;Description automatically generated">
            <a:extLst>
              <a:ext uri="{FF2B5EF4-FFF2-40B4-BE49-F238E27FC236}">
                <a16:creationId xmlns:a16="http://schemas.microsoft.com/office/drawing/2014/main" id="{642D6E34-F247-B9B8-0A6F-27491FF62804}"/>
              </a:ext>
            </a:extLst>
          </p:cNvPr>
          <p:cNvPicPr>
            <a:picLocks noChangeAspect="1"/>
          </p:cNvPicPr>
          <p:nvPr/>
        </p:nvPicPr>
        <p:blipFill>
          <a:blip r:embed="rId10"/>
          <a:stretch>
            <a:fillRect/>
          </a:stretch>
        </p:blipFill>
        <p:spPr>
          <a:xfrm>
            <a:off x="8603542" y="2689266"/>
            <a:ext cx="444523" cy="342918"/>
          </a:xfrm>
          <a:prstGeom prst="rect">
            <a:avLst/>
          </a:prstGeom>
        </p:spPr>
      </p:pic>
      <p:grpSp>
        <p:nvGrpSpPr>
          <p:cNvPr id="9" name="Group 8">
            <a:extLst>
              <a:ext uri="{FF2B5EF4-FFF2-40B4-BE49-F238E27FC236}">
                <a16:creationId xmlns:a16="http://schemas.microsoft.com/office/drawing/2014/main" id="{3F3968EB-E54A-1F39-B901-79990080417B}"/>
              </a:ext>
              <a:ext uri="{C183D7F6-B498-43B3-948B-1728B52AA6E4}">
                <adec:decorative xmlns:adec="http://schemas.microsoft.com/office/drawing/2017/decorative" val="1"/>
              </a:ext>
            </a:extLst>
          </p:cNvPr>
          <p:cNvGrpSpPr/>
          <p:nvPr/>
        </p:nvGrpSpPr>
        <p:grpSpPr>
          <a:xfrm>
            <a:off x="9410223" y="1726446"/>
            <a:ext cx="160019" cy="4355034"/>
            <a:chOff x="9099255" y="1893366"/>
            <a:chExt cx="160019" cy="4355034"/>
          </a:xfrm>
        </p:grpSpPr>
        <p:cxnSp>
          <p:nvCxnSpPr>
            <p:cNvPr id="11" name="Straight Connector 10">
              <a:extLst>
                <a:ext uri="{FF2B5EF4-FFF2-40B4-BE49-F238E27FC236}">
                  <a16:creationId xmlns:a16="http://schemas.microsoft.com/office/drawing/2014/main" id="{A808CDAA-4ED8-A046-BB73-566F298143CB}"/>
                </a:ext>
                <a:ext uri="{C183D7F6-B498-43B3-948B-1728B52AA6E4}">
                  <adec:decorative xmlns:adec="http://schemas.microsoft.com/office/drawing/2017/decorative" val="1"/>
                </a:ext>
              </a:extLst>
            </p:cNvPr>
            <p:cNvCxnSpPr>
              <a:cxnSpLocks/>
            </p:cNvCxnSpPr>
            <p:nvPr/>
          </p:nvCxnSpPr>
          <p:spPr>
            <a:xfrm flipH="1">
              <a:off x="9162258" y="1893366"/>
              <a:ext cx="27213" cy="4355034"/>
            </a:xfrm>
            <a:prstGeom prst="line">
              <a:avLst/>
            </a:prstGeom>
            <a:ln w="9525">
              <a:gradFill>
                <a:gsLst>
                  <a:gs pos="0">
                    <a:schemeClr val="accent1">
                      <a:lumMod val="5000"/>
                      <a:lumOff val="95000"/>
                      <a:alpha val="0"/>
                    </a:schemeClr>
                  </a:gs>
                  <a:gs pos="88000">
                    <a:schemeClr val="accent2"/>
                  </a:gs>
                  <a:gs pos="12000">
                    <a:schemeClr val="accent2"/>
                  </a:gs>
                  <a:gs pos="100000">
                    <a:schemeClr val="tx1">
                      <a:alpha val="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97CC08B5-BDA8-151D-D493-BBDE637BD75E}"/>
                </a:ext>
                <a:ext uri="{C183D7F6-B498-43B3-948B-1728B52AA6E4}">
                  <adec:decorative xmlns:adec="http://schemas.microsoft.com/office/drawing/2017/decorative" val="1"/>
                </a:ext>
              </a:extLst>
            </p:cNvPr>
            <p:cNvSpPr/>
            <p:nvPr/>
          </p:nvSpPr>
          <p:spPr bwMode="auto">
            <a:xfrm>
              <a:off x="9133268" y="1893366"/>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0" kern="0">
                <a:gradFill flip="none" rotWithShape="1">
                  <a:gsLst>
                    <a:gs pos="1629">
                      <a:srgbClr val="2F2F2F"/>
                    </a:gs>
                    <a:gs pos="39000">
                      <a:srgbClr val="2F2F2F"/>
                    </a:gs>
                  </a:gsLst>
                  <a:lin ang="2700000" scaled="1"/>
                  <a:tileRect/>
                </a:gradFill>
                <a:latin typeface="Segoe UI Semibold"/>
              </a:endParaRPr>
            </a:p>
          </p:txBody>
        </p:sp>
        <p:sp>
          <p:nvSpPr>
            <p:cNvPr id="15" name="Oval 14">
              <a:extLst>
                <a:ext uri="{FF2B5EF4-FFF2-40B4-BE49-F238E27FC236}">
                  <a16:creationId xmlns:a16="http://schemas.microsoft.com/office/drawing/2014/main" id="{B557EE66-3371-1892-9FBF-DDEE8730845A}"/>
                </a:ext>
                <a:ext uri="{C183D7F6-B498-43B3-948B-1728B52AA6E4}">
                  <adec:decorative xmlns:adec="http://schemas.microsoft.com/office/drawing/2017/decorative" val="1"/>
                </a:ext>
              </a:extLst>
            </p:cNvPr>
            <p:cNvSpPr/>
            <p:nvPr/>
          </p:nvSpPr>
          <p:spPr bwMode="auto">
            <a:xfrm>
              <a:off x="9117244" y="3882797"/>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0" kern="0">
                <a:gradFill flip="none" rotWithShape="1">
                  <a:gsLst>
                    <a:gs pos="1629">
                      <a:srgbClr val="2F2F2F"/>
                    </a:gs>
                    <a:gs pos="39000">
                      <a:srgbClr val="2F2F2F"/>
                    </a:gs>
                  </a:gsLst>
                  <a:lin ang="2700000" scaled="1"/>
                  <a:tileRect/>
                </a:gradFill>
                <a:latin typeface="Segoe UI Semibold"/>
              </a:endParaRPr>
            </a:p>
          </p:txBody>
        </p:sp>
        <p:sp>
          <p:nvSpPr>
            <p:cNvPr id="17" name="Oval 16">
              <a:extLst>
                <a:ext uri="{FF2B5EF4-FFF2-40B4-BE49-F238E27FC236}">
                  <a16:creationId xmlns:a16="http://schemas.microsoft.com/office/drawing/2014/main" id="{6D0EDB8D-72E4-3B8D-9877-4DD24016E482}"/>
                </a:ext>
                <a:ext uri="{C183D7F6-B498-43B3-948B-1728B52AA6E4}">
                  <adec:decorative xmlns:adec="http://schemas.microsoft.com/office/drawing/2017/decorative" val="1"/>
                </a:ext>
              </a:extLst>
            </p:cNvPr>
            <p:cNvSpPr/>
            <p:nvPr/>
          </p:nvSpPr>
          <p:spPr bwMode="auto">
            <a:xfrm>
              <a:off x="9112861" y="4770964"/>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0" kern="0">
                <a:gradFill flip="none" rotWithShape="1">
                  <a:gsLst>
                    <a:gs pos="1629">
                      <a:srgbClr val="2F2F2F"/>
                    </a:gs>
                    <a:gs pos="39000">
                      <a:srgbClr val="2F2F2F"/>
                    </a:gs>
                  </a:gsLst>
                  <a:lin ang="2700000" scaled="1"/>
                  <a:tileRect/>
                </a:gradFill>
                <a:latin typeface="Segoe UI Semibold"/>
              </a:endParaRPr>
            </a:p>
          </p:txBody>
        </p:sp>
        <p:sp>
          <p:nvSpPr>
            <p:cNvPr id="19" name="Oval 18">
              <a:extLst>
                <a:ext uri="{FF2B5EF4-FFF2-40B4-BE49-F238E27FC236}">
                  <a16:creationId xmlns:a16="http://schemas.microsoft.com/office/drawing/2014/main" id="{6C436A62-FDE6-0E80-48D4-763755AD7AA4}"/>
                </a:ext>
                <a:ext uri="{C183D7F6-B498-43B3-948B-1728B52AA6E4}">
                  <adec:decorative xmlns:adec="http://schemas.microsoft.com/office/drawing/2017/decorative" val="1"/>
                </a:ext>
              </a:extLst>
            </p:cNvPr>
            <p:cNvSpPr/>
            <p:nvPr/>
          </p:nvSpPr>
          <p:spPr bwMode="auto">
            <a:xfrm>
              <a:off x="9099255" y="5746796"/>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0" kern="0">
                <a:gradFill flip="none" rotWithShape="1">
                  <a:gsLst>
                    <a:gs pos="1629">
                      <a:srgbClr val="2F2F2F"/>
                    </a:gs>
                    <a:gs pos="39000">
                      <a:srgbClr val="2F2F2F"/>
                    </a:gs>
                  </a:gsLst>
                  <a:lin ang="2700000" scaled="1"/>
                  <a:tileRect/>
                </a:gradFill>
                <a:latin typeface="Segoe UI Semibold"/>
              </a:endParaRPr>
            </a:p>
          </p:txBody>
        </p:sp>
      </p:grpSp>
      <p:sp>
        <p:nvSpPr>
          <p:cNvPr id="21" name="TextBox 20">
            <a:extLst>
              <a:ext uri="{FF2B5EF4-FFF2-40B4-BE49-F238E27FC236}">
                <a16:creationId xmlns:a16="http://schemas.microsoft.com/office/drawing/2014/main" id="{0B35CBF1-F58B-ED88-FC55-81C6982E6AEB}"/>
              </a:ext>
            </a:extLst>
          </p:cNvPr>
          <p:cNvSpPr txBox="1"/>
          <p:nvPr/>
        </p:nvSpPr>
        <p:spPr>
          <a:xfrm>
            <a:off x="9807362" y="2476144"/>
            <a:ext cx="2088817" cy="553998"/>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indent="0" defTabSz="914400">
              <a:spcBef>
                <a:spcPts val="1600"/>
              </a:spcBef>
              <a:buNone/>
              <a:defRPr/>
            </a:pPr>
            <a:r>
              <a:rPr lang="en-US" sz="1200" kern="0">
                <a:latin typeface="+mn-lt"/>
                <a:cs typeface="Segoe UI"/>
              </a:rPr>
              <a:t>All communications between the services are configured to go through private endpoint</a:t>
            </a:r>
            <a:endParaRPr lang="en-US">
              <a:ea typeface="+mn-ea"/>
              <a:cs typeface="Segoe UI"/>
            </a:endParaRPr>
          </a:p>
        </p:txBody>
      </p:sp>
      <p:sp>
        <p:nvSpPr>
          <p:cNvPr id="23" name="TextBox 22">
            <a:extLst>
              <a:ext uri="{FF2B5EF4-FFF2-40B4-BE49-F238E27FC236}">
                <a16:creationId xmlns:a16="http://schemas.microsoft.com/office/drawing/2014/main" id="{C922475F-012E-5832-19F6-2DA5A934777D}"/>
              </a:ext>
            </a:extLst>
          </p:cNvPr>
          <p:cNvSpPr txBox="1"/>
          <p:nvPr/>
        </p:nvSpPr>
        <p:spPr>
          <a:xfrm>
            <a:off x="9834905" y="3532125"/>
            <a:ext cx="2088817" cy="553998"/>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indent="0" defTabSz="914400">
              <a:spcBef>
                <a:spcPts val="1600"/>
              </a:spcBef>
              <a:buNone/>
              <a:defRPr/>
            </a:pPr>
            <a:r>
              <a:rPr lang="en-US" sz="1200" kern="0">
                <a:latin typeface="+mn-lt"/>
                <a:cs typeface="Segoe UI"/>
              </a:rPr>
              <a:t>Developers connect to a VPN and connect to the backend services</a:t>
            </a:r>
            <a:endParaRPr lang="en-US" sz="1200" kern="0"/>
          </a:p>
        </p:txBody>
      </p:sp>
      <p:sp>
        <p:nvSpPr>
          <p:cNvPr id="28" name="TextBox 27">
            <a:extLst>
              <a:ext uri="{FF2B5EF4-FFF2-40B4-BE49-F238E27FC236}">
                <a16:creationId xmlns:a16="http://schemas.microsoft.com/office/drawing/2014/main" id="{CEB0B561-9134-F7A0-A8CC-1A46130A74FD}"/>
              </a:ext>
            </a:extLst>
          </p:cNvPr>
          <p:cNvSpPr txBox="1"/>
          <p:nvPr/>
        </p:nvSpPr>
        <p:spPr>
          <a:xfrm>
            <a:off x="9829041" y="1625148"/>
            <a:ext cx="2088817" cy="369332"/>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indent="0" defTabSz="914400">
              <a:spcBef>
                <a:spcPts val="1600"/>
              </a:spcBef>
              <a:buNone/>
              <a:defRPr/>
            </a:pPr>
            <a:r>
              <a:rPr lang="en-US" sz="1200" kern="0">
                <a:latin typeface="+mn-lt"/>
                <a:cs typeface="Segoe UI"/>
              </a:rPr>
              <a:t>PaaS services are disconnected from the Public internet.</a:t>
            </a:r>
            <a:endParaRPr lang="en-US">
              <a:ea typeface="+mn-ea"/>
            </a:endParaRPr>
          </a:p>
        </p:txBody>
      </p:sp>
      <p:sp>
        <p:nvSpPr>
          <p:cNvPr id="30" name="TextBox 29">
            <a:extLst>
              <a:ext uri="{FF2B5EF4-FFF2-40B4-BE49-F238E27FC236}">
                <a16:creationId xmlns:a16="http://schemas.microsoft.com/office/drawing/2014/main" id="{099374D1-D008-18D7-7A4E-0EA415055F1D}"/>
              </a:ext>
            </a:extLst>
          </p:cNvPr>
          <p:cNvSpPr txBox="1"/>
          <p:nvPr/>
        </p:nvSpPr>
        <p:spPr>
          <a:xfrm>
            <a:off x="9807362" y="5415382"/>
            <a:ext cx="2088817" cy="738664"/>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indent="0" defTabSz="914400">
              <a:spcBef>
                <a:spcPts val="1600"/>
              </a:spcBef>
              <a:buNone/>
              <a:defRPr/>
            </a:pPr>
            <a:r>
              <a:rPr lang="en-US" sz="1200" kern="0">
                <a:latin typeface="+mn-lt"/>
                <a:cs typeface="Segoe UI"/>
              </a:rPr>
              <a:t>When the CEO access the data in Power BI Report, the data is imported into Power BI or through the GW with DQ.</a:t>
            </a:r>
            <a:endParaRPr lang="en-US">
              <a:ea typeface="+mn-ea"/>
            </a:endParaRPr>
          </a:p>
        </p:txBody>
      </p:sp>
      <p:sp>
        <p:nvSpPr>
          <p:cNvPr id="38" name="TextBox 37">
            <a:extLst>
              <a:ext uri="{FF2B5EF4-FFF2-40B4-BE49-F238E27FC236}">
                <a16:creationId xmlns:a16="http://schemas.microsoft.com/office/drawing/2014/main" id="{5E8FC8B5-A528-73D4-0E1B-D47EE9F0F7C3}"/>
              </a:ext>
            </a:extLst>
          </p:cNvPr>
          <p:cNvSpPr txBox="1"/>
          <p:nvPr/>
        </p:nvSpPr>
        <p:spPr>
          <a:xfrm>
            <a:off x="9807362" y="4405207"/>
            <a:ext cx="2088817" cy="553998"/>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indent="0" defTabSz="914400">
              <a:spcBef>
                <a:spcPts val="1600"/>
              </a:spcBef>
              <a:buNone/>
              <a:defRPr/>
            </a:pPr>
            <a:r>
              <a:rPr lang="en-US" sz="1200" kern="0">
                <a:latin typeface="+mn-lt"/>
                <a:cs typeface="Segoe UI"/>
              </a:rPr>
              <a:t>Data sources are connected through the self-hosted runtime inside the firewall</a:t>
            </a:r>
            <a:endParaRPr lang="en-US" sz="1200" kern="0"/>
          </a:p>
        </p:txBody>
      </p:sp>
      <p:pic>
        <p:nvPicPr>
          <p:cNvPr id="47" name="Picture 46" descr="Web Address Website · Free vector graphic on Pixabay">
            <a:extLst>
              <a:ext uri="{FF2B5EF4-FFF2-40B4-BE49-F238E27FC236}">
                <a16:creationId xmlns:a16="http://schemas.microsoft.com/office/drawing/2014/main" id="{763CCD66-3863-6C98-6545-05EC20E07A5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18681" y="5084005"/>
            <a:ext cx="559300" cy="589181"/>
          </a:xfrm>
          <a:prstGeom prst="rect">
            <a:avLst/>
          </a:prstGeom>
        </p:spPr>
      </p:pic>
      <p:cxnSp>
        <p:nvCxnSpPr>
          <p:cNvPr id="51" name="Straight Arrow Connector 50">
            <a:extLst>
              <a:ext uri="{FF2B5EF4-FFF2-40B4-BE49-F238E27FC236}">
                <a16:creationId xmlns:a16="http://schemas.microsoft.com/office/drawing/2014/main" id="{6D01E4C4-32C2-B151-C574-7BCB91C6618E}"/>
              </a:ext>
            </a:extLst>
          </p:cNvPr>
          <p:cNvCxnSpPr>
            <a:cxnSpLocks/>
            <a:stCxn id="47" idx="0"/>
            <a:endCxn id="54" idx="2"/>
          </p:cNvCxnSpPr>
          <p:nvPr/>
        </p:nvCxnSpPr>
        <p:spPr>
          <a:xfrm flipH="1" flipV="1">
            <a:off x="8883222" y="4321010"/>
            <a:ext cx="15109" cy="762995"/>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96269F4-9107-F967-C5D4-90DCEC5E0053}"/>
              </a:ext>
            </a:extLst>
          </p:cNvPr>
          <p:cNvSpPr txBox="1"/>
          <p:nvPr/>
        </p:nvSpPr>
        <p:spPr>
          <a:xfrm>
            <a:off x="8470115" y="5725509"/>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Public Internet</a:t>
            </a:r>
            <a:endParaRPr lang="en-US">
              <a:ea typeface="+mn-ea"/>
              <a:cs typeface="+mn-cs"/>
            </a:endParaRPr>
          </a:p>
        </p:txBody>
      </p:sp>
      <p:sp>
        <p:nvSpPr>
          <p:cNvPr id="62" name="Oval 61">
            <a:extLst>
              <a:ext uri="{FF2B5EF4-FFF2-40B4-BE49-F238E27FC236}">
                <a16:creationId xmlns:a16="http://schemas.microsoft.com/office/drawing/2014/main" id="{06854B61-68C1-26E8-8958-762700CBB034}"/>
              </a:ext>
              <a:ext uri="{C183D7F6-B498-43B3-948B-1728B52AA6E4}">
                <adec:decorative xmlns:adec="http://schemas.microsoft.com/office/drawing/2017/decorative" val="1"/>
              </a:ext>
            </a:extLst>
          </p:cNvPr>
          <p:cNvSpPr/>
          <p:nvPr/>
        </p:nvSpPr>
        <p:spPr bwMode="auto">
          <a:xfrm>
            <a:off x="9423829" y="2670290"/>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2000" kern="0">
              <a:gradFill flip="none" rotWithShape="1">
                <a:gsLst>
                  <a:gs pos="1629">
                    <a:srgbClr val="2F2F2F"/>
                  </a:gs>
                  <a:gs pos="39000">
                    <a:srgbClr val="2F2F2F"/>
                  </a:gs>
                </a:gsLst>
                <a:lin ang="2700000" scaled="1"/>
                <a:tileRect/>
              </a:gradFill>
              <a:latin typeface="Segoe UI Semibold"/>
            </a:endParaRPr>
          </a:p>
        </p:txBody>
      </p:sp>
    </p:spTree>
    <p:extLst>
      <p:ext uri="{BB962C8B-B14F-4D97-AF65-F5344CB8AC3E}">
        <p14:creationId xmlns:p14="http://schemas.microsoft.com/office/powerpoint/2010/main" val="2570170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nodeType="withEffect">
                                  <p:stCondLst>
                                    <p:cond delay="2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50000" fill="hold" nodeType="withEffect">
                                  <p:stCondLst>
                                    <p:cond delay="200"/>
                                  </p:stCondLst>
                                  <p:childTnLst>
                                    <p:animMotion origin="layout" path="M 4.58333E-6 -3.7037E-6 L 0.02057 0.00047 " pathEditMode="relative" rAng="0" ptsTypes="AA">
                                      <p:cBhvr>
                                        <p:cTn id="9" dur="500" spd="-100000" fill="hold"/>
                                        <p:tgtEl>
                                          <p:spTgt spid="9"/>
                                        </p:tgtEl>
                                        <p:attrNameLst>
                                          <p:attrName>ppt_x</p:attrName>
                                          <p:attrName>ppt_y</p:attrName>
                                        </p:attrNameLst>
                                      </p:cBhvr>
                                      <p:rCtr x="1029" y="23"/>
                                    </p:animMotion>
                                  </p:childTnLst>
                                </p:cTn>
                              </p:par>
                              <p:par>
                                <p:cTn id="10" presetID="10" presetClass="entr" presetSubtype="0" decel="50000" fill="hold" grpId="0" nodeType="withEffect">
                                  <p:stCondLst>
                                    <p:cond delay="2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50000" fill="hold" grpId="1" nodeType="withEffect">
                                  <p:stCondLst>
                                    <p:cond delay="200"/>
                                  </p:stCondLst>
                                  <p:childTnLst>
                                    <p:animMotion origin="layout" path="M 4.58333E-6 -3.7037E-6 L 0.02057 0.00047 " pathEditMode="relative" rAng="0" ptsTypes="AA">
                                      <p:cBhvr>
                                        <p:cTn id="14" dur="500" spd="-100000" fill="hold"/>
                                        <p:tgtEl>
                                          <p:spTgt spid="21"/>
                                        </p:tgtEl>
                                        <p:attrNameLst>
                                          <p:attrName>ppt_x</p:attrName>
                                          <p:attrName>ppt_y</p:attrName>
                                        </p:attrNameLst>
                                      </p:cBhvr>
                                      <p:rCtr x="1029" y="23"/>
                                    </p:animMotion>
                                  </p:childTnLst>
                                </p:cTn>
                              </p:par>
                              <p:par>
                                <p:cTn id="15" presetID="10" presetClass="entr" presetSubtype="0" decel="50000" fill="hold" grpId="0" nodeType="withEffect">
                                  <p:stCondLst>
                                    <p:cond delay="2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decel="50000" fill="hold" grpId="1" nodeType="withEffect">
                                  <p:stCondLst>
                                    <p:cond delay="200"/>
                                  </p:stCondLst>
                                  <p:childTnLst>
                                    <p:animMotion origin="layout" path="M 4.58333E-6 -3.7037E-6 L 0.02057 0.00047 " pathEditMode="relative" rAng="0" ptsTypes="AA">
                                      <p:cBhvr>
                                        <p:cTn id="19" dur="500" spd="-100000" fill="hold"/>
                                        <p:tgtEl>
                                          <p:spTgt spid="23"/>
                                        </p:tgtEl>
                                        <p:attrNameLst>
                                          <p:attrName>ppt_x</p:attrName>
                                          <p:attrName>ppt_y</p:attrName>
                                        </p:attrNameLst>
                                      </p:cBhvr>
                                      <p:rCtr x="1029" y="23"/>
                                    </p:animMotion>
                                  </p:childTnLst>
                                </p:cTn>
                              </p:par>
                              <p:par>
                                <p:cTn id="20" presetID="10" presetClass="entr" presetSubtype="0" decel="50000" fill="hold" grpId="0" nodeType="withEffect">
                                  <p:stCondLst>
                                    <p:cond delay="20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42" presetClass="path" presetSubtype="0" decel="50000" fill="hold" grpId="1" nodeType="withEffect">
                                  <p:stCondLst>
                                    <p:cond delay="200"/>
                                  </p:stCondLst>
                                  <p:childTnLst>
                                    <p:animMotion origin="layout" path="M 4.58333E-6 -3.7037E-6 L 0.02057 0.00047 " pathEditMode="relative" rAng="0" ptsTypes="AA">
                                      <p:cBhvr>
                                        <p:cTn id="24" dur="500" spd="-100000" fill="hold"/>
                                        <p:tgtEl>
                                          <p:spTgt spid="28"/>
                                        </p:tgtEl>
                                        <p:attrNameLst>
                                          <p:attrName>ppt_x</p:attrName>
                                          <p:attrName>ppt_y</p:attrName>
                                        </p:attrNameLst>
                                      </p:cBhvr>
                                      <p:rCtr x="1029" y="23"/>
                                    </p:animMotion>
                                  </p:childTnLst>
                                </p:cTn>
                              </p:par>
                              <p:par>
                                <p:cTn id="25" presetID="10" presetClass="entr" presetSubtype="0" decel="50000" fill="hold" grpId="0" nodeType="withEffect">
                                  <p:stCondLst>
                                    <p:cond delay="20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par>
                                <p:cTn id="28" presetID="42" presetClass="path" presetSubtype="0" decel="50000" fill="hold" grpId="1" nodeType="withEffect">
                                  <p:stCondLst>
                                    <p:cond delay="200"/>
                                  </p:stCondLst>
                                  <p:childTnLst>
                                    <p:animMotion origin="layout" path="M 4.58333E-6 -3.7037E-6 L 0.02057 0.00047 " pathEditMode="relative" rAng="0" ptsTypes="AA">
                                      <p:cBhvr>
                                        <p:cTn id="29" dur="500" spd="-100000" fill="hold"/>
                                        <p:tgtEl>
                                          <p:spTgt spid="30"/>
                                        </p:tgtEl>
                                        <p:attrNameLst>
                                          <p:attrName>ppt_x</p:attrName>
                                          <p:attrName>ppt_y</p:attrName>
                                        </p:attrNameLst>
                                      </p:cBhvr>
                                      <p:rCtr x="1029" y="23"/>
                                    </p:animMotion>
                                  </p:childTnLst>
                                </p:cTn>
                              </p:par>
                              <p:par>
                                <p:cTn id="30" presetID="10" presetClass="entr" presetSubtype="0" decel="50000" fill="hold" grpId="0" nodeType="withEffect">
                                  <p:stCondLst>
                                    <p:cond delay="20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42" presetClass="path" presetSubtype="0" decel="50000" fill="hold" grpId="1" nodeType="withEffect">
                                  <p:stCondLst>
                                    <p:cond delay="200"/>
                                  </p:stCondLst>
                                  <p:childTnLst>
                                    <p:animMotion origin="layout" path="M 4.58333E-6 -3.7037E-6 L 0.02057 0.00047 " pathEditMode="relative" rAng="0" ptsTypes="AA">
                                      <p:cBhvr>
                                        <p:cTn id="34" dur="500" spd="-100000" fill="hold"/>
                                        <p:tgtEl>
                                          <p:spTgt spid="38"/>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23" grpId="0"/>
      <p:bldP spid="23" grpId="1"/>
      <p:bldP spid="28" grpId="0"/>
      <p:bldP spid="28" grpId="1"/>
      <p:bldP spid="30" grpId="0"/>
      <p:bldP spid="30" grpId="1"/>
      <p:bldP spid="38" grpId="0"/>
      <p:bldP spid="38"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3" name="Rounded Rectangle 38">
            <a:extLst>
              <a:ext uri="{FF2B5EF4-FFF2-40B4-BE49-F238E27FC236}">
                <a16:creationId xmlns:a16="http://schemas.microsoft.com/office/drawing/2014/main" id="{D70EBC0E-14FB-67DD-1D84-495806A7D567}"/>
              </a:ext>
              <a:ext uri="{C183D7F6-B498-43B3-948B-1728B52AA6E4}">
                <adec:decorative xmlns:adec="http://schemas.microsoft.com/office/drawing/2017/decorative" val="1"/>
              </a:ext>
            </a:extLst>
          </p:cNvPr>
          <p:cNvSpPr>
            <a:spLocks/>
          </p:cNvSpPr>
          <p:nvPr/>
        </p:nvSpPr>
        <p:spPr bwMode="auto">
          <a:xfrm>
            <a:off x="642256" y="1893366"/>
            <a:ext cx="8253058" cy="4355034"/>
          </a:xfrm>
          <a:prstGeom prst="roundRect">
            <a:avLst>
              <a:gd name="adj" fmla="val 3641"/>
            </a:avLst>
          </a:prstGeom>
          <a:solidFill>
            <a:schemeClr val="bg1">
              <a:alpha val="94000"/>
            </a:schemeClr>
          </a:solidFill>
          <a:ln>
            <a:noFill/>
            <a:headEnd type="none" w="med" len="med"/>
            <a:tailEnd type="none" w="med" len="med"/>
          </a:ln>
          <a:effectLst>
            <a:outerShdw blurRad="214438"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1400">
              <a:solidFill>
                <a:schemeClr val="tx1"/>
              </a:solidFill>
              <a:latin typeface="+mj-lt"/>
              <a:cs typeface="Segoe UI" panose="020B0502040204020203" pitchFamily="34" charset="0"/>
            </a:endParaRPr>
          </a:p>
        </p:txBody>
      </p:sp>
      <p:grpSp>
        <p:nvGrpSpPr>
          <p:cNvPr id="9" name="Group 8" descr="Data Factory">
            <a:extLst>
              <a:ext uri="{FF2B5EF4-FFF2-40B4-BE49-F238E27FC236}">
                <a16:creationId xmlns:a16="http://schemas.microsoft.com/office/drawing/2014/main" id="{E87AABF6-1F44-9647-82F5-22C0ADEFAA61}"/>
              </a:ext>
            </a:extLst>
          </p:cNvPr>
          <p:cNvGrpSpPr/>
          <p:nvPr/>
        </p:nvGrpSpPr>
        <p:grpSpPr>
          <a:xfrm>
            <a:off x="819435" y="2076729"/>
            <a:ext cx="1044990" cy="1094495"/>
            <a:chOff x="819435" y="2076729"/>
            <a:chExt cx="1044990" cy="1094495"/>
          </a:xfrm>
        </p:grpSpPr>
        <p:sp>
          <p:nvSpPr>
            <p:cNvPr id="19" name="Rounded Rectangle 14">
              <a:extLst>
                <a:ext uri="{FF2B5EF4-FFF2-40B4-BE49-F238E27FC236}">
                  <a16:creationId xmlns:a16="http://schemas.microsoft.com/office/drawing/2014/main" id="{03FCFE6C-7C7F-4DC9-51F2-308F03322AA3}"/>
                </a:ext>
                <a:ext uri="{C183D7F6-B498-43B3-948B-1728B52AA6E4}">
                  <adec:decorative xmlns:adec="http://schemas.microsoft.com/office/drawing/2017/decorative" val="1"/>
                </a:ext>
              </a:extLst>
            </p:cNvPr>
            <p:cNvSpPr>
              <a:spLocks/>
            </p:cNvSpPr>
            <p:nvPr/>
          </p:nvSpPr>
          <p:spPr>
            <a:xfrm>
              <a:off x="819435" y="2076729"/>
              <a:ext cx="1044990" cy="1094495"/>
            </a:xfrm>
            <a:prstGeom prst="roundRect">
              <a:avLst>
                <a:gd name="adj" fmla="val 65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p>
              <a:pPr algn="ctr" defTabSz="914400"/>
              <a:endParaRPr lang="en-US" sz="1400">
                <a:gradFill>
                  <a:gsLst>
                    <a:gs pos="14943">
                      <a:srgbClr val="000000"/>
                    </a:gs>
                    <a:gs pos="26437">
                      <a:srgbClr val="000000"/>
                    </a:gs>
                  </a:gsLst>
                  <a:lin ang="2700000" scaled="0"/>
                </a:gradFill>
                <a:latin typeface="Segoe UI"/>
                <a:ea typeface="Open Sans" panose="020B0606030504020204" pitchFamily="34" charset="0"/>
                <a:cs typeface="Open Sans" panose="020B0606030504020204" pitchFamily="34" charset="0"/>
              </a:endParaRPr>
            </a:p>
          </p:txBody>
        </p:sp>
        <p:sp>
          <p:nvSpPr>
            <p:cNvPr id="20" name="Rounded Rectangle 14">
              <a:extLst>
                <a:ext uri="{FF2B5EF4-FFF2-40B4-BE49-F238E27FC236}">
                  <a16:creationId xmlns:a16="http://schemas.microsoft.com/office/drawing/2014/main" id="{3443F0AB-3F99-D283-112B-11BE44BA5B3F}"/>
                </a:ext>
              </a:extLst>
            </p:cNvPr>
            <p:cNvSpPr>
              <a:spLocks/>
            </p:cNvSpPr>
            <p:nvPr/>
          </p:nvSpPr>
          <p:spPr>
            <a:xfrm>
              <a:off x="978058" y="2658985"/>
              <a:ext cx="726245"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Factory</a:t>
              </a:r>
            </a:p>
          </p:txBody>
        </p:sp>
        <p:pic>
          <p:nvPicPr>
            <p:cNvPr id="21" name="Graphic 20">
              <a:extLst>
                <a:ext uri="{FF2B5EF4-FFF2-40B4-BE49-F238E27FC236}">
                  <a16:creationId xmlns:a16="http://schemas.microsoft.com/office/drawing/2014/main" id="{5768304D-EB65-DEBC-CD64-2956C751C8E8}"/>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5296" r="-5296"/>
            <a:stretch/>
          </p:blipFill>
          <p:spPr>
            <a:xfrm>
              <a:off x="1158978" y="2248195"/>
              <a:ext cx="364404" cy="329502"/>
            </a:xfrm>
            <a:prstGeom prst="rect">
              <a:avLst/>
            </a:prstGeom>
            <a:effectLst/>
          </p:spPr>
        </p:pic>
      </p:grpSp>
      <p:grpSp>
        <p:nvGrpSpPr>
          <p:cNvPr id="22" name="Group 21" descr="Synapse Data Engineering">
            <a:extLst>
              <a:ext uri="{FF2B5EF4-FFF2-40B4-BE49-F238E27FC236}">
                <a16:creationId xmlns:a16="http://schemas.microsoft.com/office/drawing/2014/main" id="{BA159702-F8E8-8C31-5F57-C8F6878514F5}"/>
              </a:ext>
            </a:extLst>
          </p:cNvPr>
          <p:cNvGrpSpPr/>
          <p:nvPr/>
        </p:nvGrpSpPr>
        <p:grpSpPr>
          <a:xfrm>
            <a:off x="1961720" y="2076729"/>
            <a:ext cx="1044990" cy="1094495"/>
            <a:chOff x="1961720" y="2076729"/>
            <a:chExt cx="1044990" cy="1094495"/>
          </a:xfrm>
        </p:grpSpPr>
        <p:sp>
          <p:nvSpPr>
            <p:cNvPr id="23" name="Rounded Rectangle 15">
              <a:extLst>
                <a:ext uri="{FF2B5EF4-FFF2-40B4-BE49-F238E27FC236}">
                  <a16:creationId xmlns:a16="http://schemas.microsoft.com/office/drawing/2014/main" id="{D13DE8BC-58C2-DD92-D0DA-AFF1A11E6CD7}"/>
                </a:ext>
                <a:ext uri="{C183D7F6-B498-43B3-948B-1728B52AA6E4}">
                  <adec:decorative xmlns:adec="http://schemas.microsoft.com/office/drawing/2017/decorative" val="1"/>
                </a:ext>
              </a:extLst>
            </p:cNvPr>
            <p:cNvSpPr>
              <a:spLocks/>
            </p:cNvSpPr>
            <p:nvPr/>
          </p:nvSpPr>
          <p:spPr>
            <a:xfrm>
              <a:off x="1961720" y="2076729"/>
              <a:ext cx="1044990" cy="1094495"/>
            </a:xfrm>
            <a:prstGeom prst="roundRect">
              <a:avLst>
                <a:gd name="adj" fmla="val 65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p>
              <a:pPr algn="ctr" defTabSz="914400"/>
              <a:endParaRPr lang="en-US" sz="1400">
                <a:gradFill>
                  <a:gsLst>
                    <a:gs pos="14943">
                      <a:srgbClr val="000000"/>
                    </a:gs>
                    <a:gs pos="26437">
                      <a:srgbClr val="000000"/>
                    </a:gs>
                  </a:gsLst>
                  <a:lin ang="2700000" scaled="0"/>
                </a:gradFill>
                <a:latin typeface="Segoe UI"/>
                <a:ea typeface="Open Sans" panose="020B0606030504020204" pitchFamily="34" charset="0"/>
                <a:cs typeface="Open Sans" panose="020B0606030504020204" pitchFamily="34" charset="0"/>
              </a:endParaRPr>
            </a:p>
          </p:txBody>
        </p:sp>
        <p:pic>
          <p:nvPicPr>
            <p:cNvPr id="24" name="Graphic 23" descr="Synapse Data Engineering product icon">
              <a:extLst>
                <a:ext uri="{FF2B5EF4-FFF2-40B4-BE49-F238E27FC236}">
                  <a16:creationId xmlns:a16="http://schemas.microsoft.com/office/drawing/2014/main" id="{D0DDB5FE-02A8-A102-75B1-00977AA92BCB}"/>
                </a:ext>
              </a:extLst>
            </p:cNvPr>
            <p:cNvPicPr>
              <a:picLocks/>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5296" r="-5296"/>
            <a:stretch/>
          </p:blipFill>
          <p:spPr>
            <a:xfrm>
              <a:off x="2301263" y="2229115"/>
              <a:ext cx="364403" cy="329500"/>
            </a:xfrm>
            <a:prstGeom prst="rect">
              <a:avLst/>
            </a:prstGeom>
            <a:effectLst/>
          </p:spPr>
        </p:pic>
        <p:sp>
          <p:nvSpPr>
            <p:cNvPr id="25" name="Rounded Rectangle 15">
              <a:extLst>
                <a:ext uri="{FF2B5EF4-FFF2-40B4-BE49-F238E27FC236}">
                  <a16:creationId xmlns:a16="http://schemas.microsoft.com/office/drawing/2014/main" id="{DEFF456D-1E2A-3941-0084-BB5405F26048}"/>
                </a:ext>
              </a:extLst>
            </p:cNvPr>
            <p:cNvSpPr>
              <a:spLocks/>
            </p:cNvSpPr>
            <p:nvPr/>
          </p:nvSpPr>
          <p:spPr>
            <a:xfrm>
              <a:off x="2023957" y="2658986"/>
              <a:ext cx="919014"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Synapse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Engineering</a:t>
              </a:r>
            </a:p>
          </p:txBody>
        </p:sp>
      </p:grpSp>
      <p:grpSp>
        <p:nvGrpSpPr>
          <p:cNvPr id="26" name="Group 25" descr="Synapse Data Science">
            <a:extLst>
              <a:ext uri="{FF2B5EF4-FFF2-40B4-BE49-F238E27FC236}">
                <a16:creationId xmlns:a16="http://schemas.microsoft.com/office/drawing/2014/main" id="{1E8E9F40-06E8-315F-B452-458C0224F3AD}"/>
              </a:ext>
            </a:extLst>
          </p:cNvPr>
          <p:cNvGrpSpPr/>
          <p:nvPr/>
        </p:nvGrpSpPr>
        <p:grpSpPr>
          <a:xfrm>
            <a:off x="3104005" y="2076729"/>
            <a:ext cx="1044990" cy="1094495"/>
            <a:chOff x="3104005" y="2076729"/>
            <a:chExt cx="1044990" cy="1094495"/>
          </a:xfrm>
        </p:grpSpPr>
        <p:sp>
          <p:nvSpPr>
            <p:cNvPr id="27" name="Rounded Rectangle 17">
              <a:extLst>
                <a:ext uri="{FF2B5EF4-FFF2-40B4-BE49-F238E27FC236}">
                  <a16:creationId xmlns:a16="http://schemas.microsoft.com/office/drawing/2014/main" id="{8B8E3922-94E8-0EA1-1E1F-E879DBF7516D}"/>
                </a:ext>
                <a:ext uri="{C183D7F6-B498-43B3-948B-1728B52AA6E4}">
                  <adec:decorative xmlns:adec="http://schemas.microsoft.com/office/drawing/2017/decorative" val="1"/>
                </a:ext>
              </a:extLst>
            </p:cNvPr>
            <p:cNvSpPr>
              <a:spLocks/>
            </p:cNvSpPr>
            <p:nvPr/>
          </p:nvSpPr>
          <p:spPr>
            <a:xfrm>
              <a:off x="3104005" y="2076729"/>
              <a:ext cx="1044990" cy="1094495"/>
            </a:xfrm>
            <a:prstGeom prst="roundRect">
              <a:avLst>
                <a:gd name="adj" fmla="val 65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p>
              <a:pPr algn="ctr" defTabSz="914400"/>
              <a:endParaRPr lang="en-US" sz="1400">
                <a:gradFill>
                  <a:gsLst>
                    <a:gs pos="14943">
                      <a:srgbClr val="000000"/>
                    </a:gs>
                    <a:gs pos="26437">
                      <a:srgbClr val="000000"/>
                    </a:gs>
                  </a:gsLst>
                  <a:lin ang="2700000" scaled="0"/>
                </a:gradFill>
                <a:latin typeface="Segoe UI"/>
                <a:ea typeface="Open Sans" panose="020B0606030504020204" pitchFamily="34" charset="0"/>
                <a:cs typeface="Open Sans" panose="020B0606030504020204" pitchFamily="34" charset="0"/>
              </a:endParaRPr>
            </a:p>
          </p:txBody>
        </p:sp>
        <p:pic>
          <p:nvPicPr>
            <p:cNvPr id="28" name="Graphic 27" descr="Synapse Data Science product icon&#10;">
              <a:extLst>
                <a:ext uri="{FF2B5EF4-FFF2-40B4-BE49-F238E27FC236}">
                  <a16:creationId xmlns:a16="http://schemas.microsoft.com/office/drawing/2014/main" id="{DA778235-51B0-7ED3-4146-EB43F8073318}"/>
                </a:ext>
              </a:extLst>
            </p:cNvPr>
            <p:cNvPicPr>
              <a:picLocks/>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5296" r="-5296"/>
            <a:stretch/>
          </p:blipFill>
          <p:spPr>
            <a:xfrm>
              <a:off x="3443547" y="2229114"/>
              <a:ext cx="364404" cy="329502"/>
            </a:xfrm>
            <a:prstGeom prst="rect">
              <a:avLst/>
            </a:prstGeom>
            <a:effectLst/>
          </p:spPr>
        </p:pic>
        <p:sp>
          <p:nvSpPr>
            <p:cNvPr id="30" name="Rounded Rectangle 17">
              <a:extLst>
                <a:ext uri="{FF2B5EF4-FFF2-40B4-BE49-F238E27FC236}">
                  <a16:creationId xmlns:a16="http://schemas.microsoft.com/office/drawing/2014/main" id="{84ACC355-B87D-DE0C-8FEE-925C666E7BD1}"/>
                </a:ext>
              </a:extLst>
            </p:cNvPr>
            <p:cNvSpPr>
              <a:spLocks/>
            </p:cNvSpPr>
            <p:nvPr/>
          </p:nvSpPr>
          <p:spPr>
            <a:xfrm>
              <a:off x="3186416" y="2658986"/>
              <a:ext cx="878668"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Synapse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Science</a:t>
              </a:r>
            </a:p>
          </p:txBody>
        </p:sp>
      </p:grpSp>
      <p:grpSp>
        <p:nvGrpSpPr>
          <p:cNvPr id="31" name="Group 30" descr="Synapse Data warehousing">
            <a:extLst>
              <a:ext uri="{FF2B5EF4-FFF2-40B4-BE49-F238E27FC236}">
                <a16:creationId xmlns:a16="http://schemas.microsoft.com/office/drawing/2014/main" id="{C3C5D380-FAD9-225D-7A31-B099AE95D289}"/>
              </a:ext>
            </a:extLst>
          </p:cNvPr>
          <p:cNvGrpSpPr/>
          <p:nvPr/>
        </p:nvGrpSpPr>
        <p:grpSpPr>
          <a:xfrm>
            <a:off x="4246290" y="2076730"/>
            <a:ext cx="1044990" cy="1094495"/>
            <a:chOff x="4246290" y="2076730"/>
            <a:chExt cx="1044990" cy="1094495"/>
          </a:xfrm>
        </p:grpSpPr>
        <p:sp>
          <p:nvSpPr>
            <p:cNvPr id="32" name="Rounded Rectangle 16">
              <a:extLst>
                <a:ext uri="{FF2B5EF4-FFF2-40B4-BE49-F238E27FC236}">
                  <a16:creationId xmlns:a16="http://schemas.microsoft.com/office/drawing/2014/main" id="{6F3D8F09-65AB-87CF-7579-83253AF8623D}"/>
                </a:ext>
                <a:ext uri="{C183D7F6-B498-43B3-948B-1728B52AA6E4}">
                  <adec:decorative xmlns:adec="http://schemas.microsoft.com/office/drawing/2017/decorative" val="1"/>
                </a:ext>
              </a:extLst>
            </p:cNvPr>
            <p:cNvSpPr>
              <a:spLocks/>
            </p:cNvSpPr>
            <p:nvPr/>
          </p:nvSpPr>
          <p:spPr>
            <a:xfrm>
              <a:off x="4246290" y="2076730"/>
              <a:ext cx="1044990" cy="1094495"/>
            </a:xfrm>
            <a:prstGeom prst="roundRect">
              <a:avLst>
                <a:gd name="adj" fmla="val 65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p>
              <a:pPr algn="ctr" defTabSz="914400"/>
              <a:endParaRPr lang="en-US" sz="1400">
                <a:gradFill>
                  <a:gsLst>
                    <a:gs pos="14943">
                      <a:srgbClr val="000000"/>
                    </a:gs>
                    <a:gs pos="26437">
                      <a:srgbClr val="000000"/>
                    </a:gs>
                  </a:gsLst>
                  <a:lin ang="2700000" scaled="0"/>
                </a:gradFill>
                <a:latin typeface="Segoe UI"/>
                <a:ea typeface="Open Sans" panose="020B0606030504020204" pitchFamily="34" charset="0"/>
                <a:cs typeface="Open Sans" panose="020B0606030504020204" pitchFamily="34" charset="0"/>
              </a:endParaRPr>
            </a:p>
          </p:txBody>
        </p:sp>
        <p:pic>
          <p:nvPicPr>
            <p:cNvPr id="33" name="Graphic 32" descr="Synapse Data Warehousing product icon&#10;">
              <a:extLst>
                <a:ext uri="{FF2B5EF4-FFF2-40B4-BE49-F238E27FC236}">
                  <a16:creationId xmlns:a16="http://schemas.microsoft.com/office/drawing/2014/main" id="{A00B59AD-0973-F8CA-3CA6-0BD35163D644}"/>
                </a:ext>
              </a:extLst>
            </p:cNvPr>
            <p:cNvPicPr>
              <a:picLocks/>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l="-5296" r="-5296"/>
            <a:stretch/>
          </p:blipFill>
          <p:spPr>
            <a:xfrm>
              <a:off x="4575436" y="2219714"/>
              <a:ext cx="385197" cy="348303"/>
            </a:xfrm>
            <a:prstGeom prst="rect">
              <a:avLst/>
            </a:prstGeom>
            <a:effectLst/>
          </p:spPr>
        </p:pic>
        <p:sp>
          <p:nvSpPr>
            <p:cNvPr id="34" name="Rounded Rectangle 16">
              <a:extLst>
                <a:ext uri="{FF2B5EF4-FFF2-40B4-BE49-F238E27FC236}">
                  <a16:creationId xmlns:a16="http://schemas.microsoft.com/office/drawing/2014/main" id="{DC67F7A9-DCEB-84E6-CA9D-232371A6E4E9}"/>
                </a:ext>
              </a:extLst>
            </p:cNvPr>
            <p:cNvSpPr>
              <a:spLocks/>
            </p:cNvSpPr>
            <p:nvPr/>
          </p:nvSpPr>
          <p:spPr>
            <a:xfrm>
              <a:off x="4328701" y="2658985"/>
              <a:ext cx="878668"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Synapse Data</a:t>
              </a:r>
              <a:br>
                <a:rPr kumimoji="0" lang="en-US" sz="1100" b="0" i="0" u="none" strike="noStrike" kern="0" cap="none" spc="0" normalizeH="0" baseline="0" noProof="0">
                  <a:ln>
                    <a:noFill/>
                  </a:ln>
                  <a:uLnTx/>
                  <a:uFillTx/>
                  <a:latin typeface="+mj-lt"/>
                  <a:ea typeface="+mn-ea"/>
                  <a:cs typeface="+mn-cs"/>
                </a:rPr>
              </a:br>
              <a:r>
                <a:rPr kumimoji="0" lang="en-US" sz="1100" b="0" i="0" u="none" strike="noStrike" kern="0" cap="none" spc="0" normalizeH="0" baseline="0" noProof="0">
                  <a:ln>
                    <a:noFill/>
                  </a:ln>
                  <a:uLnTx/>
                  <a:uFillTx/>
                  <a:latin typeface="+mj-lt"/>
                  <a:ea typeface="+mn-ea"/>
                  <a:cs typeface="+mn-cs"/>
                </a:rPr>
                <a:t>Warehousing</a:t>
              </a:r>
            </a:p>
          </p:txBody>
        </p:sp>
      </p:grpSp>
      <p:grpSp>
        <p:nvGrpSpPr>
          <p:cNvPr id="35" name="Group 34" descr="Synapse Real Time Analytics">
            <a:extLst>
              <a:ext uri="{FF2B5EF4-FFF2-40B4-BE49-F238E27FC236}">
                <a16:creationId xmlns:a16="http://schemas.microsoft.com/office/drawing/2014/main" id="{C5BB47B4-DE7C-EDB6-1FFB-306BD8A176C2}"/>
              </a:ext>
            </a:extLst>
          </p:cNvPr>
          <p:cNvGrpSpPr/>
          <p:nvPr/>
        </p:nvGrpSpPr>
        <p:grpSpPr>
          <a:xfrm>
            <a:off x="5388575" y="2076729"/>
            <a:ext cx="1044990" cy="1094495"/>
            <a:chOff x="5388575" y="2076729"/>
            <a:chExt cx="1044990" cy="1094495"/>
          </a:xfrm>
        </p:grpSpPr>
        <p:sp>
          <p:nvSpPr>
            <p:cNvPr id="36" name="Rounded Rectangle 18">
              <a:extLst>
                <a:ext uri="{FF2B5EF4-FFF2-40B4-BE49-F238E27FC236}">
                  <a16:creationId xmlns:a16="http://schemas.microsoft.com/office/drawing/2014/main" id="{BF6915E0-A19F-1EEF-49AF-95E544D7C187}"/>
                </a:ext>
                <a:ext uri="{C183D7F6-B498-43B3-948B-1728B52AA6E4}">
                  <adec:decorative xmlns:adec="http://schemas.microsoft.com/office/drawing/2017/decorative" val="1"/>
                </a:ext>
              </a:extLst>
            </p:cNvPr>
            <p:cNvSpPr>
              <a:spLocks/>
            </p:cNvSpPr>
            <p:nvPr/>
          </p:nvSpPr>
          <p:spPr>
            <a:xfrm>
              <a:off x="5388575" y="2076729"/>
              <a:ext cx="1044990" cy="1094495"/>
            </a:xfrm>
            <a:prstGeom prst="roundRect">
              <a:avLst>
                <a:gd name="adj" fmla="val 65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p>
              <a:pPr algn="ctr" defTabSz="914400"/>
              <a:endParaRPr lang="en-US" sz="1400">
                <a:gradFill>
                  <a:gsLst>
                    <a:gs pos="14943">
                      <a:srgbClr val="000000"/>
                    </a:gs>
                    <a:gs pos="26437">
                      <a:srgbClr val="000000"/>
                    </a:gs>
                  </a:gsLst>
                  <a:lin ang="2700000" scaled="0"/>
                </a:gradFill>
                <a:latin typeface="Segoe UI"/>
                <a:ea typeface="Open Sans" panose="020B0606030504020204" pitchFamily="34" charset="0"/>
                <a:cs typeface="Open Sans" panose="020B0606030504020204" pitchFamily="34" charset="0"/>
              </a:endParaRPr>
            </a:p>
          </p:txBody>
        </p:sp>
        <p:pic>
          <p:nvPicPr>
            <p:cNvPr id="37" name="Graphic 36" descr="Synapse Real Time Analytics product icon&#10;">
              <a:extLst>
                <a:ext uri="{FF2B5EF4-FFF2-40B4-BE49-F238E27FC236}">
                  <a16:creationId xmlns:a16="http://schemas.microsoft.com/office/drawing/2014/main" id="{CC728749-4181-D2B0-FC7D-47A938A50F46}"/>
                </a:ext>
              </a:extLst>
            </p:cNvPr>
            <p:cNvPicPr>
              <a:picLocks/>
            </p:cNvPicPr>
            <p:nvPr/>
          </p:nvPicPr>
          <p:blipFill rotWithShape="1">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l="-5296" r="-5296"/>
            <a:stretch/>
          </p:blipFill>
          <p:spPr>
            <a:xfrm>
              <a:off x="5719753" y="2221551"/>
              <a:ext cx="381134" cy="344629"/>
            </a:xfrm>
            <a:prstGeom prst="rect">
              <a:avLst/>
            </a:prstGeom>
            <a:effectLst/>
          </p:spPr>
        </p:pic>
        <p:sp>
          <p:nvSpPr>
            <p:cNvPr id="38" name="Rounded Rectangle 18">
              <a:extLst>
                <a:ext uri="{FF2B5EF4-FFF2-40B4-BE49-F238E27FC236}">
                  <a16:creationId xmlns:a16="http://schemas.microsoft.com/office/drawing/2014/main" id="{DA12BF85-F849-7544-9EF7-7ED24430757E}"/>
                </a:ext>
              </a:extLst>
            </p:cNvPr>
            <p:cNvSpPr>
              <a:spLocks/>
            </p:cNvSpPr>
            <p:nvPr/>
          </p:nvSpPr>
          <p:spPr>
            <a:xfrm>
              <a:off x="5391627" y="2658985"/>
              <a:ext cx="1037387"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Synapse Real </a:t>
              </a:r>
              <a:br>
                <a:rPr kumimoji="0" lang="en-US" sz="1100" b="0" i="0" u="none" strike="noStrike" kern="0" cap="none" spc="0" normalizeH="0" baseline="0" noProof="0">
                  <a:ln>
                    <a:noFill/>
                  </a:ln>
                  <a:uLnTx/>
                  <a:uFillTx/>
                  <a:latin typeface="+mj-lt"/>
                  <a:ea typeface="+mn-ea"/>
                  <a:cs typeface="+mn-cs"/>
                </a:rPr>
              </a:br>
              <a:r>
                <a:rPr kumimoji="0" lang="en-US" sz="1100" b="0" i="0" u="none" strike="noStrike" kern="0" cap="none" spc="0" normalizeH="0" baseline="0" noProof="0">
                  <a:ln>
                    <a:noFill/>
                  </a:ln>
                  <a:uLnTx/>
                  <a:uFillTx/>
                  <a:latin typeface="+mj-lt"/>
                  <a:ea typeface="+mn-ea"/>
                  <a:cs typeface="+mn-cs"/>
                </a:rPr>
                <a:t>Time Analytics</a:t>
              </a:r>
            </a:p>
          </p:txBody>
        </p:sp>
      </p:grpSp>
      <p:grpSp>
        <p:nvGrpSpPr>
          <p:cNvPr id="39" name="Group 38" descr="Power BI">
            <a:extLst>
              <a:ext uri="{FF2B5EF4-FFF2-40B4-BE49-F238E27FC236}">
                <a16:creationId xmlns:a16="http://schemas.microsoft.com/office/drawing/2014/main" id="{DFFBBF41-02FF-779D-391E-7A0514DA0514}"/>
              </a:ext>
            </a:extLst>
          </p:cNvPr>
          <p:cNvGrpSpPr/>
          <p:nvPr/>
        </p:nvGrpSpPr>
        <p:grpSpPr>
          <a:xfrm>
            <a:off x="6530860" y="2076729"/>
            <a:ext cx="1044990" cy="1094495"/>
            <a:chOff x="6530860" y="2076729"/>
            <a:chExt cx="1044990" cy="1094495"/>
          </a:xfrm>
        </p:grpSpPr>
        <p:sp>
          <p:nvSpPr>
            <p:cNvPr id="40" name="Rounded Rectangle 19">
              <a:extLst>
                <a:ext uri="{FF2B5EF4-FFF2-40B4-BE49-F238E27FC236}">
                  <a16:creationId xmlns:a16="http://schemas.microsoft.com/office/drawing/2014/main" id="{A86A05FB-CF1A-E9EC-B543-AC5A8F03C6F4}"/>
                </a:ext>
                <a:ext uri="{C183D7F6-B498-43B3-948B-1728B52AA6E4}">
                  <adec:decorative xmlns:adec="http://schemas.microsoft.com/office/drawing/2017/decorative" val="1"/>
                </a:ext>
              </a:extLst>
            </p:cNvPr>
            <p:cNvSpPr>
              <a:spLocks/>
            </p:cNvSpPr>
            <p:nvPr/>
          </p:nvSpPr>
          <p:spPr>
            <a:xfrm>
              <a:off x="6530860" y="2076729"/>
              <a:ext cx="1044990" cy="1094495"/>
            </a:xfrm>
            <a:prstGeom prst="roundRect">
              <a:avLst>
                <a:gd name="adj" fmla="val 65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p>
              <a:pPr algn="ctr" defTabSz="914400"/>
              <a:endParaRPr lang="en-US" sz="1400">
                <a:gradFill>
                  <a:gsLst>
                    <a:gs pos="14943">
                      <a:srgbClr val="000000"/>
                    </a:gs>
                    <a:gs pos="26437">
                      <a:srgbClr val="000000"/>
                    </a:gs>
                  </a:gsLst>
                  <a:lin ang="2700000" scaled="0"/>
                </a:gradFill>
                <a:latin typeface="Segoe UI"/>
                <a:ea typeface="Open Sans" panose="020B0606030504020204" pitchFamily="34" charset="0"/>
                <a:cs typeface="Open Sans" panose="020B0606030504020204" pitchFamily="34" charset="0"/>
              </a:endParaRPr>
            </a:p>
          </p:txBody>
        </p:sp>
        <p:pic>
          <p:nvPicPr>
            <p:cNvPr id="41" name="Graphic 40" descr="Power BI product icon">
              <a:extLst>
                <a:ext uri="{FF2B5EF4-FFF2-40B4-BE49-F238E27FC236}">
                  <a16:creationId xmlns:a16="http://schemas.microsoft.com/office/drawing/2014/main" id="{BEEAFD64-1575-427C-F44F-86068F77051B}"/>
                </a:ext>
              </a:extLst>
            </p:cNvPr>
            <p:cNvPicPr>
              <a:picLocks/>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l="-5296" r="-5296"/>
            <a:stretch/>
          </p:blipFill>
          <p:spPr>
            <a:xfrm>
              <a:off x="6870402" y="2229114"/>
              <a:ext cx="364404" cy="329502"/>
            </a:xfrm>
            <a:prstGeom prst="rect">
              <a:avLst/>
            </a:prstGeom>
            <a:effectLst/>
          </p:spPr>
        </p:pic>
        <p:sp>
          <p:nvSpPr>
            <p:cNvPr id="42" name="Rounded Rectangle 19">
              <a:extLst>
                <a:ext uri="{FF2B5EF4-FFF2-40B4-BE49-F238E27FC236}">
                  <a16:creationId xmlns:a16="http://schemas.microsoft.com/office/drawing/2014/main" id="{48AD02B9-1923-C552-84BB-25B0A86D39C9}"/>
                </a:ext>
              </a:extLst>
            </p:cNvPr>
            <p:cNvSpPr>
              <a:spLocks/>
            </p:cNvSpPr>
            <p:nvPr/>
          </p:nvSpPr>
          <p:spPr>
            <a:xfrm>
              <a:off x="6673791" y="2658984"/>
              <a:ext cx="757627" cy="175826"/>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uLnTx/>
                  <a:uFillTx/>
                  <a:latin typeface="+mj-lt"/>
                  <a:ea typeface="+mn-ea"/>
                  <a:cs typeface="+mn-cs"/>
                </a:rPr>
                <a:t>Power BI</a:t>
              </a:r>
            </a:p>
          </p:txBody>
        </p:sp>
      </p:grpSp>
      <p:grpSp>
        <p:nvGrpSpPr>
          <p:cNvPr id="43" name="Group 42" descr="Data Activator">
            <a:extLst>
              <a:ext uri="{FF2B5EF4-FFF2-40B4-BE49-F238E27FC236}">
                <a16:creationId xmlns:a16="http://schemas.microsoft.com/office/drawing/2014/main" id="{CBA90A88-A48F-9593-C10B-3A103294D1B0}"/>
              </a:ext>
            </a:extLst>
          </p:cNvPr>
          <p:cNvGrpSpPr/>
          <p:nvPr/>
        </p:nvGrpSpPr>
        <p:grpSpPr>
          <a:xfrm>
            <a:off x="7673148" y="2076729"/>
            <a:ext cx="1044990" cy="1094495"/>
            <a:chOff x="7673148" y="2076729"/>
            <a:chExt cx="1044990" cy="1094495"/>
          </a:xfrm>
        </p:grpSpPr>
        <p:sp>
          <p:nvSpPr>
            <p:cNvPr id="44" name="Rounded Rectangle 19">
              <a:extLst>
                <a:ext uri="{FF2B5EF4-FFF2-40B4-BE49-F238E27FC236}">
                  <a16:creationId xmlns:a16="http://schemas.microsoft.com/office/drawing/2014/main" id="{10A5A29A-81B9-3BD2-FE44-38DF711CCF7E}"/>
                </a:ext>
                <a:ext uri="{C183D7F6-B498-43B3-948B-1728B52AA6E4}">
                  <adec:decorative xmlns:adec="http://schemas.microsoft.com/office/drawing/2017/decorative" val="1"/>
                </a:ext>
              </a:extLst>
            </p:cNvPr>
            <p:cNvSpPr>
              <a:spLocks/>
            </p:cNvSpPr>
            <p:nvPr/>
          </p:nvSpPr>
          <p:spPr>
            <a:xfrm>
              <a:off x="7673148" y="2076729"/>
              <a:ext cx="1044990" cy="1094495"/>
            </a:xfrm>
            <a:prstGeom prst="roundRect">
              <a:avLst>
                <a:gd name="adj" fmla="val 65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274320" rIns="182880" bIns="146304" numCol="1" spcCol="0" rtlCol="0" fromWordArt="0" anchor="t" anchorCtr="0" forceAA="0" compatLnSpc="1">
              <a:prstTxWarp prst="textNoShape">
                <a:avLst/>
              </a:prstTxWarp>
              <a:noAutofit/>
            </a:bodyPr>
            <a:lstStyle/>
            <a:p>
              <a:pPr algn="ctr" defTabSz="914400"/>
              <a:endParaRPr lang="en-US" sz="1400">
                <a:gradFill>
                  <a:gsLst>
                    <a:gs pos="14943">
                      <a:srgbClr val="000000"/>
                    </a:gs>
                    <a:gs pos="26437">
                      <a:srgbClr val="000000"/>
                    </a:gs>
                  </a:gsLst>
                  <a:lin ang="2700000" scaled="0"/>
                </a:gradFill>
                <a:latin typeface="Segoe UI"/>
                <a:ea typeface="Open Sans" panose="020B0606030504020204" pitchFamily="34" charset="0"/>
                <a:cs typeface="Open Sans" panose="020B0606030504020204" pitchFamily="34" charset="0"/>
              </a:endParaRPr>
            </a:p>
          </p:txBody>
        </p:sp>
        <p:pic>
          <p:nvPicPr>
            <p:cNvPr id="45" name="Graphic 44" descr="Data Activator product icon">
              <a:extLst>
                <a:ext uri="{FF2B5EF4-FFF2-40B4-BE49-F238E27FC236}">
                  <a16:creationId xmlns:a16="http://schemas.microsoft.com/office/drawing/2014/main" id="{EB07496B-B68A-0472-D34F-57890437A182}"/>
                </a:ext>
              </a:extLst>
            </p:cNvPr>
            <p:cNvPicPr>
              <a:picLocks/>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065903" y="2263618"/>
              <a:ext cx="259480" cy="260494"/>
            </a:xfrm>
            <a:prstGeom prst="rect">
              <a:avLst/>
            </a:prstGeom>
            <a:effectLst/>
          </p:spPr>
        </p:pic>
        <p:sp>
          <p:nvSpPr>
            <p:cNvPr id="46" name="Rounded Rectangle 19">
              <a:extLst>
                <a:ext uri="{FF2B5EF4-FFF2-40B4-BE49-F238E27FC236}">
                  <a16:creationId xmlns:a16="http://schemas.microsoft.com/office/drawing/2014/main" id="{EA7BEE9C-B25C-0BB2-47D3-1000D81F674D}"/>
                </a:ext>
              </a:extLst>
            </p:cNvPr>
            <p:cNvSpPr>
              <a:spLocks/>
            </p:cNvSpPr>
            <p:nvPr/>
          </p:nvSpPr>
          <p:spPr>
            <a:xfrm>
              <a:off x="7749585" y="2658985"/>
              <a:ext cx="892114" cy="351651"/>
            </a:xfrm>
            <a:prstGeom prst="roundRect">
              <a:avLst>
                <a:gd name="adj" fmla="val 6586"/>
              </a:avLst>
            </a:prstGeom>
            <a:noFill/>
            <a:ln>
              <a:noFill/>
            </a:ln>
            <a:effectLst/>
          </p:spPr>
          <p:txBody>
            <a:bodyPr rot="0" spcFirstLastPara="0" vertOverflow="overflow" horzOverflow="overflow" vert="horz" wrap="none" lIns="182880" tIns="146304" rIns="18360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Data</a:t>
              </a:r>
              <a:br>
                <a:rPr kumimoji="0" lang="en-US" sz="1100" b="0" i="0" u="none" strike="noStrike" kern="0" cap="none" spc="0" normalizeH="0" baseline="0" noProof="0">
                  <a:ln>
                    <a:noFill/>
                  </a:ln>
                  <a:uLnTx/>
                  <a:uFillTx/>
                  <a:latin typeface="+mj-lt"/>
                  <a:ea typeface="+mn-ea"/>
                  <a:cs typeface="+mn-cs"/>
                </a:rPr>
              </a:br>
              <a:r>
                <a:rPr kumimoji="0" lang="en-US" sz="1100" b="0" i="0" u="none" strike="noStrike" kern="0" cap="none" spc="0" normalizeH="0" baseline="0" noProof="0">
                  <a:ln>
                    <a:noFill/>
                  </a:ln>
                  <a:uLnTx/>
                  <a:uFillTx/>
                  <a:latin typeface="+mj-lt"/>
                  <a:ea typeface="+mn-ea"/>
                  <a:cs typeface="+mn-cs"/>
                </a:rPr>
                <a:t>Activator</a:t>
              </a:r>
            </a:p>
          </p:txBody>
        </p:sp>
      </p:grpSp>
      <p:grpSp>
        <p:nvGrpSpPr>
          <p:cNvPr id="5" name="Group 4" descr="Arrows connecting downwards to">
            <a:extLst>
              <a:ext uri="{FF2B5EF4-FFF2-40B4-BE49-F238E27FC236}">
                <a16:creationId xmlns:a16="http://schemas.microsoft.com/office/drawing/2014/main" id="{AED254E5-568A-E94B-BCC6-17E3DCDE0CAB}"/>
              </a:ext>
            </a:extLst>
          </p:cNvPr>
          <p:cNvGrpSpPr/>
          <p:nvPr/>
        </p:nvGrpSpPr>
        <p:grpSpPr>
          <a:xfrm>
            <a:off x="1341930" y="3171225"/>
            <a:ext cx="6853713" cy="622319"/>
            <a:chOff x="1341930" y="3171225"/>
            <a:chExt cx="6853713" cy="622319"/>
          </a:xfrm>
        </p:grpSpPr>
        <p:cxnSp>
          <p:nvCxnSpPr>
            <p:cNvPr id="47" name="Straight Connector 46">
              <a:extLst>
                <a:ext uri="{FF2B5EF4-FFF2-40B4-BE49-F238E27FC236}">
                  <a16:creationId xmlns:a16="http://schemas.microsoft.com/office/drawing/2014/main" id="{B4CC9687-AFDD-845D-D94C-B5CA93AA8512}"/>
                </a:ext>
                <a:ext uri="{C183D7F6-B498-43B3-948B-1728B52AA6E4}">
                  <adec:decorative xmlns:adec="http://schemas.microsoft.com/office/drawing/2017/decorative" val="1"/>
                </a:ext>
              </a:extLst>
            </p:cNvPr>
            <p:cNvCxnSpPr>
              <a:cxnSpLocks/>
            </p:cNvCxnSpPr>
            <p:nvPr/>
          </p:nvCxnSpPr>
          <p:spPr>
            <a:xfrm>
              <a:off x="1341930" y="3171225"/>
              <a:ext cx="0" cy="622319"/>
            </a:xfrm>
            <a:prstGeom prst="line">
              <a:avLst/>
            </a:prstGeom>
            <a:noFill/>
            <a:ln w="6350" cap="rnd" cmpd="sng" algn="ctr">
              <a:solidFill>
                <a:schemeClr val="accent1"/>
              </a:solidFill>
              <a:prstDash val="solid"/>
              <a:headEnd type="none" w="med" len="med"/>
              <a:tailEnd type="arrow" w="med" len="sm"/>
            </a:ln>
            <a:effectLst/>
          </p:spPr>
        </p:cxnSp>
        <p:cxnSp>
          <p:nvCxnSpPr>
            <p:cNvPr id="48" name="Straight Connector 47">
              <a:extLst>
                <a:ext uri="{FF2B5EF4-FFF2-40B4-BE49-F238E27FC236}">
                  <a16:creationId xmlns:a16="http://schemas.microsoft.com/office/drawing/2014/main" id="{35F35216-A0A3-7D59-E649-2C3A1F423610}"/>
                </a:ext>
                <a:ext uri="{C183D7F6-B498-43B3-948B-1728B52AA6E4}">
                  <adec:decorative xmlns:adec="http://schemas.microsoft.com/office/drawing/2017/decorative" val="1"/>
                </a:ext>
              </a:extLst>
            </p:cNvPr>
            <p:cNvCxnSpPr>
              <a:cxnSpLocks/>
            </p:cNvCxnSpPr>
            <p:nvPr/>
          </p:nvCxnSpPr>
          <p:spPr>
            <a:xfrm>
              <a:off x="2484840" y="3171225"/>
              <a:ext cx="0" cy="622319"/>
            </a:xfrm>
            <a:prstGeom prst="line">
              <a:avLst/>
            </a:prstGeom>
            <a:noFill/>
            <a:ln w="6350" cap="rnd" cmpd="sng" algn="ctr">
              <a:solidFill>
                <a:schemeClr val="accent1"/>
              </a:solidFill>
              <a:prstDash val="solid"/>
              <a:headEnd type="none" w="med" len="med"/>
              <a:tailEnd type="arrow" w="med" len="sm"/>
            </a:ln>
            <a:effectLst/>
          </p:spPr>
        </p:cxnSp>
        <p:cxnSp>
          <p:nvCxnSpPr>
            <p:cNvPr id="49" name="Straight Connector 48">
              <a:extLst>
                <a:ext uri="{FF2B5EF4-FFF2-40B4-BE49-F238E27FC236}">
                  <a16:creationId xmlns:a16="http://schemas.microsoft.com/office/drawing/2014/main" id="{0579661F-11B6-86E9-AF14-78C29DBE712B}"/>
                </a:ext>
                <a:ext uri="{C183D7F6-B498-43B3-948B-1728B52AA6E4}">
                  <adec:decorative xmlns:adec="http://schemas.microsoft.com/office/drawing/2017/decorative" val="1"/>
                </a:ext>
              </a:extLst>
            </p:cNvPr>
            <p:cNvCxnSpPr>
              <a:cxnSpLocks/>
            </p:cNvCxnSpPr>
            <p:nvPr/>
          </p:nvCxnSpPr>
          <p:spPr>
            <a:xfrm>
              <a:off x="3626999" y="3171225"/>
              <a:ext cx="0" cy="622319"/>
            </a:xfrm>
            <a:prstGeom prst="line">
              <a:avLst/>
            </a:prstGeom>
            <a:noFill/>
            <a:ln w="6350" cap="rnd" cmpd="sng" algn="ctr">
              <a:solidFill>
                <a:schemeClr val="accent1"/>
              </a:solidFill>
              <a:prstDash val="solid"/>
              <a:headEnd type="none" w="med" len="med"/>
              <a:tailEnd type="arrow" w="med" len="sm"/>
            </a:ln>
            <a:effectLst/>
          </p:spPr>
        </p:cxnSp>
        <p:cxnSp>
          <p:nvCxnSpPr>
            <p:cNvPr id="50" name="Straight Connector 49">
              <a:extLst>
                <a:ext uri="{FF2B5EF4-FFF2-40B4-BE49-F238E27FC236}">
                  <a16:creationId xmlns:a16="http://schemas.microsoft.com/office/drawing/2014/main" id="{B06FE2DA-6996-618C-D73D-2D3E421BF052}"/>
                </a:ext>
                <a:ext uri="{C183D7F6-B498-43B3-948B-1728B52AA6E4}">
                  <adec:decorative xmlns:adec="http://schemas.microsoft.com/office/drawing/2017/decorative" val="1"/>
                </a:ext>
              </a:extLst>
            </p:cNvPr>
            <p:cNvCxnSpPr>
              <a:cxnSpLocks/>
            </p:cNvCxnSpPr>
            <p:nvPr/>
          </p:nvCxnSpPr>
          <p:spPr>
            <a:xfrm>
              <a:off x="4769160" y="3171225"/>
              <a:ext cx="0" cy="622319"/>
            </a:xfrm>
            <a:prstGeom prst="line">
              <a:avLst/>
            </a:prstGeom>
            <a:noFill/>
            <a:ln w="6350" cap="rnd" cmpd="sng" algn="ctr">
              <a:solidFill>
                <a:schemeClr val="accent1"/>
              </a:solidFill>
              <a:prstDash val="solid"/>
              <a:headEnd type="none" w="med" len="med"/>
              <a:tailEnd type="arrow" w="med" len="sm"/>
            </a:ln>
            <a:effectLst/>
          </p:spPr>
        </p:cxnSp>
        <p:cxnSp>
          <p:nvCxnSpPr>
            <p:cNvPr id="51" name="Straight Connector 50">
              <a:extLst>
                <a:ext uri="{FF2B5EF4-FFF2-40B4-BE49-F238E27FC236}">
                  <a16:creationId xmlns:a16="http://schemas.microsoft.com/office/drawing/2014/main" id="{2ADEB100-9B88-6D63-47A1-3C4C1F7C6FE1}"/>
                </a:ext>
                <a:ext uri="{C183D7F6-B498-43B3-948B-1728B52AA6E4}">
                  <adec:decorative xmlns:adec="http://schemas.microsoft.com/office/drawing/2017/decorative" val="1"/>
                </a:ext>
              </a:extLst>
            </p:cNvPr>
            <p:cNvCxnSpPr>
              <a:cxnSpLocks/>
            </p:cNvCxnSpPr>
            <p:nvPr/>
          </p:nvCxnSpPr>
          <p:spPr>
            <a:xfrm>
              <a:off x="5910570" y="3171225"/>
              <a:ext cx="0" cy="622319"/>
            </a:xfrm>
            <a:prstGeom prst="line">
              <a:avLst/>
            </a:prstGeom>
            <a:noFill/>
            <a:ln w="6350" cap="rnd" cmpd="sng" algn="ctr">
              <a:solidFill>
                <a:schemeClr val="accent1"/>
              </a:solidFill>
              <a:prstDash val="solid"/>
              <a:headEnd type="none" w="med" len="med"/>
              <a:tailEnd type="arrow" w="med" len="sm"/>
            </a:ln>
            <a:effectLst/>
          </p:spPr>
        </p:cxnSp>
        <p:cxnSp>
          <p:nvCxnSpPr>
            <p:cNvPr id="52" name="Straight Connector 51">
              <a:extLst>
                <a:ext uri="{FF2B5EF4-FFF2-40B4-BE49-F238E27FC236}">
                  <a16:creationId xmlns:a16="http://schemas.microsoft.com/office/drawing/2014/main" id="{4AEC78AE-490A-3F9E-84AA-B3187E02AFC9}"/>
                </a:ext>
                <a:ext uri="{C183D7F6-B498-43B3-948B-1728B52AA6E4}">
                  <adec:decorative xmlns:adec="http://schemas.microsoft.com/office/drawing/2017/decorative" val="1"/>
                </a:ext>
              </a:extLst>
            </p:cNvPr>
            <p:cNvCxnSpPr>
              <a:cxnSpLocks/>
            </p:cNvCxnSpPr>
            <p:nvPr/>
          </p:nvCxnSpPr>
          <p:spPr>
            <a:xfrm>
              <a:off x="7053480" y="3171225"/>
              <a:ext cx="0" cy="622319"/>
            </a:xfrm>
            <a:prstGeom prst="line">
              <a:avLst/>
            </a:prstGeom>
            <a:noFill/>
            <a:ln w="6350" cap="rnd" cmpd="sng" algn="ctr">
              <a:solidFill>
                <a:schemeClr val="accent1"/>
              </a:solidFill>
              <a:prstDash val="solid"/>
              <a:headEnd type="none" w="med" len="med"/>
              <a:tailEnd type="arrow" w="med" len="sm"/>
            </a:ln>
            <a:effectLst/>
          </p:spPr>
        </p:cxnSp>
        <p:cxnSp>
          <p:nvCxnSpPr>
            <p:cNvPr id="53" name="Straight Connector 52">
              <a:extLst>
                <a:ext uri="{FF2B5EF4-FFF2-40B4-BE49-F238E27FC236}">
                  <a16:creationId xmlns:a16="http://schemas.microsoft.com/office/drawing/2014/main" id="{37AA133A-5EFA-2B4A-0BEB-386030E95177}"/>
                </a:ext>
                <a:ext uri="{C183D7F6-B498-43B3-948B-1728B52AA6E4}">
                  <adec:decorative xmlns:adec="http://schemas.microsoft.com/office/drawing/2017/decorative" val="1"/>
                </a:ext>
              </a:extLst>
            </p:cNvPr>
            <p:cNvCxnSpPr>
              <a:cxnSpLocks/>
            </p:cNvCxnSpPr>
            <p:nvPr/>
          </p:nvCxnSpPr>
          <p:spPr>
            <a:xfrm>
              <a:off x="8195643" y="3171225"/>
              <a:ext cx="0" cy="622319"/>
            </a:xfrm>
            <a:prstGeom prst="line">
              <a:avLst/>
            </a:prstGeom>
            <a:noFill/>
            <a:ln w="6350" cap="rnd" cmpd="sng" algn="ctr">
              <a:solidFill>
                <a:schemeClr val="accent1"/>
              </a:solidFill>
              <a:prstDash val="solid"/>
              <a:headEnd type="none" w="med" len="med"/>
              <a:tailEnd type="arrow" w="med" len="sm"/>
            </a:ln>
            <a:effectLst/>
          </p:spPr>
        </p:cxnSp>
      </p:grpSp>
      <p:grpSp>
        <p:nvGrpSpPr>
          <p:cNvPr id="54" name="Group 53" descr="OneLake">
            <a:extLst>
              <a:ext uri="{FF2B5EF4-FFF2-40B4-BE49-F238E27FC236}">
                <a16:creationId xmlns:a16="http://schemas.microsoft.com/office/drawing/2014/main" id="{C6100CE5-19CF-AB66-D451-7DA140D5F5E6}"/>
              </a:ext>
            </a:extLst>
          </p:cNvPr>
          <p:cNvGrpSpPr/>
          <p:nvPr/>
        </p:nvGrpSpPr>
        <p:grpSpPr>
          <a:xfrm>
            <a:off x="819435" y="3866890"/>
            <a:ext cx="7898703" cy="1812935"/>
            <a:chOff x="819435" y="3866890"/>
            <a:chExt cx="7898703" cy="1812935"/>
          </a:xfrm>
        </p:grpSpPr>
        <p:sp>
          <p:nvSpPr>
            <p:cNvPr id="55" name="Rounded Rectangle 45">
              <a:extLst>
                <a:ext uri="{FF2B5EF4-FFF2-40B4-BE49-F238E27FC236}">
                  <a16:creationId xmlns:a16="http://schemas.microsoft.com/office/drawing/2014/main" id="{220271C7-79CB-1EBC-23ED-8B534FC06F06}"/>
                </a:ext>
                <a:ext uri="{C183D7F6-B498-43B3-948B-1728B52AA6E4}">
                  <adec:decorative xmlns:adec="http://schemas.microsoft.com/office/drawing/2017/decorative" val="1"/>
                </a:ext>
              </a:extLst>
            </p:cNvPr>
            <p:cNvSpPr>
              <a:spLocks/>
            </p:cNvSpPr>
            <p:nvPr/>
          </p:nvSpPr>
          <p:spPr>
            <a:xfrm>
              <a:off x="819435" y="3866890"/>
              <a:ext cx="7898703" cy="1812935"/>
            </a:xfrm>
            <a:prstGeom prst="roundRect">
              <a:avLst>
                <a:gd name="adj" fmla="val 4142"/>
              </a:avLst>
            </a:prstGeom>
            <a:solidFill>
              <a:schemeClr val="accent1"/>
            </a:solidFill>
            <a:ln>
              <a:noFill/>
              <a:headEnd type="none" w="med" len="med"/>
              <a:tailEnd type="none" w="med" len="med"/>
            </a:ln>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005840"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cs typeface="Segoe UI" pitchFamily="34" charset="0"/>
              </a:endParaRPr>
            </a:p>
          </p:txBody>
        </p:sp>
        <p:grpSp>
          <p:nvGrpSpPr>
            <p:cNvPr id="56" name="Group 55">
              <a:extLst>
                <a:ext uri="{FF2B5EF4-FFF2-40B4-BE49-F238E27FC236}">
                  <a16:creationId xmlns:a16="http://schemas.microsoft.com/office/drawing/2014/main" id="{32CDD33B-8C57-8593-3487-B7AE48F69025}"/>
                </a:ext>
              </a:extLst>
            </p:cNvPr>
            <p:cNvGrpSpPr/>
            <p:nvPr/>
          </p:nvGrpSpPr>
          <p:grpSpPr>
            <a:xfrm>
              <a:off x="4315553" y="4214529"/>
              <a:ext cx="906466" cy="1117657"/>
              <a:chOff x="4314801" y="4334633"/>
              <a:chExt cx="906466" cy="1117657"/>
            </a:xfrm>
          </p:grpSpPr>
          <p:pic>
            <p:nvPicPr>
              <p:cNvPr id="57" name="Picture 56" descr="OneLake product icon">
                <a:extLst>
                  <a:ext uri="{FF2B5EF4-FFF2-40B4-BE49-F238E27FC236}">
                    <a16:creationId xmlns:a16="http://schemas.microsoft.com/office/drawing/2014/main" id="{C5B3FDD0-1E9B-EA8C-D62B-AE5746660986}"/>
                  </a:ext>
                </a:extLst>
              </p:cNvPr>
              <p:cNvPicPr>
                <a:picLocks/>
              </p:cNvPicPr>
              <p:nvPr/>
            </p:nvPicPr>
            <p:blipFill rotWithShape="1">
              <a:blip r:embed="rId17" cstate="screen">
                <a:extLst>
                  <a:ext uri="{28A0092B-C50C-407E-A947-70E740481C1C}">
                    <a14:useLocalDpi xmlns:a14="http://schemas.microsoft.com/office/drawing/2010/main"/>
                  </a:ext>
                </a:extLst>
              </a:blip>
              <a:srcRect/>
              <a:stretch/>
            </p:blipFill>
            <p:spPr>
              <a:xfrm>
                <a:off x="4444462" y="4334633"/>
                <a:ext cx="648648" cy="649914"/>
              </a:xfrm>
              <a:prstGeom prst="rect">
                <a:avLst/>
              </a:prstGeom>
            </p:spPr>
          </p:pic>
          <p:sp>
            <p:nvSpPr>
              <p:cNvPr id="58" name="TextBox 57">
                <a:extLst>
                  <a:ext uri="{FF2B5EF4-FFF2-40B4-BE49-F238E27FC236}">
                    <a16:creationId xmlns:a16="http://schemas.microsoft.com/office/drawing/2014/main" id="{1D9CB28D-A148-3FD9-E4EE-96A76753FEFA}"/>
                  </a:ext>
                </a:extLst>
              </p:cNvPr>
              <p:cNvSpPr txBox="1"/>
              <p:nvPr/>
            </p:nvSpPr>
            <p:spPr>
              <a:xfrm>
                <a:off x="4314801" y="5175291"/>
                <a:ext cx="906466" cy="276999"/>
              </a:xfrm>
              <a:prstGeom prst="rect">
                <a:avLst/>
              </a:prstGeom>
              <a:noFill/>
            </p:spPr>
            <p:txBody>
              <a:bodyPr wrap="square" lIns="0" tIns="0" rIns="0" bIns="0">
                <a:spAutoFit/>
              </a:bodyPr>
              <a:lstStyle/>
              <a:p>
                <a:pPr algn="ctr" defTabSz="932472" fontAlgn="base">
                  <a:spcBef>
                    <a:spcPct val="0"/>
                  </a:spcBef>
                  <a:spcAft>
                    <a:spcPct val="0"/>
                  </a:spcAft>
                </a:pPr>
                <a:r>
                  <a:rPr lang="en-US" sz="1800">
                    <a:solidFill>
                      <a:schemeClr val="bg1"/>
                    </a:solidFill>
                    <a:latin typeface="+mj-lt"/>
                    <a:cs typeface="Segoe UI" pitchFamily="34" charset="0"/>
                  </a:rPr>
                  <a:t>OneLake</a:t>
                </a:r>
              </a:p>
            </p:txBody>
          </p:sp>
        </p:grpSp>
      </p:grpSp>
      <p:sp>
        <p:nvSpPr>
          <p:cNvPr id="59" name="Rounded Rectangle 45">
            <a:extLst>
              <a:ext uri="{FF2B5EF4-FFF2-40B4-BE49-F238E27FC236}">
                <a16:creationId xmlns:a16="http://schemas.microsoft.com/office/drawing/2014/main" id="{D25428A6-B612-7A72-DE63-356A91970BD5}"/>
              </a:ext>
            </a:extLst>
          </p:cNvPr>
          <p:cNvSpPr>
            <a:spLocks/>
          </p:cNvSpPr>
          <p:nvPr/>
        </p:nvSpPr>
        <p:spPr>
          <a:xfrm>
            <a:off x="3230687" y="5828692"/>
            <a:ext cx="3076201" cy="282357"/>
          </a:xfrm>
          <a:prstGeom prst="roundRect">
            <a:avLst>
              <a:gd name="adj" fmla="val 4528"/>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chemeClr val="accent1"/>
                </a:solidFill>
                <a:effectLst/>
                <a:uLnTx/>
                <a:uFillTx/>
                <a:latin typeface="Segoe UI Semibold"/>
                <a:ea typeface="+mn-ea"/>
                <a:cs typeface="Segoe UI" panose="020B0502040204020203" pitchFamily="34" charset="0"/>
              </a:rPr>
              <a:t>Intelligent data foundation</a:t>
            </a:r>
          </a:p>
        </p:txBody>
      </p:sp>
      <p:pic>
        <p:nvPicPr>
          <p:cNvPr id="4" name="Graphic 3" descr="Female Profile with solid fill">
            <a:extLst>
              <a:ext uri="{FF2B5EF4-FFF2-40B4-BE49-F238E27FC236}">
                <a16:creationId xmlns:a16="http://schemas.microsoft.com/office/drawing/2014/main" id="{C1D99893-6036-730E-54C3-CBECF749EF96}"/>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238995" y="1077403"/>
            <a:ext cx="555217" cy="555217"/>
          </a:xfrm>
          <a:prstGeom prst="rect">
            <a:avLst/>
          </a:prstGeom>
        </p:spPr>
      </p:pic>
      <p:pic>
        <p:nvPicPr>
          <p:cNvPr id="8" name="Picture 7" descr="A blue and white logo&#10;&#10;Description automatically generated">
            <a:extLst>
              <a:ext uri="{FF2B5EF4-FFF2-40B4-BE49-F238E27FC236}">
                <a16:creationId xmlns:a16="http://schemas.microsoft.com/office/drawing/2014/main" id="{FC38E9C4-C27F-124B-5E50-7E7BC438048D}"/>
              </a:ext>
            </a:extLst>
          </p:cNvPr>
          <p:cNvPicPr>
            <a:picLocks noChangeAspect="1"/>
          </p:cNvPicPr>
          <p:nvPr/>
        </p:nvPicPr>
        <p:blipFill>
          <a:blip r:embed="rId20"/>
          <a:stretch>
            <a:fillRect/>
          </a:stretch>
        </p:blipFill>
        <p:spPr>
          <a:xfrm>
            <a:off x="4530310" y="1219304"/>
            <a:ext cx="444523" cy="342918"/>
          </a:xfrm>
          <a:prstGeom prst="rect">
            <a:avLst/>
          </a:prstGeom>
        </p:spPr>
      </p:pic>
      <p:sp>
        <p:nvSpPr>
          <p:cNvPr id="11" name="Title 1">
            <a:extLst>
              <a:ext uri="{FF2B5EF4-FFF2-40B4-BE49-F238E27FC236}">
                <a16:creationId xmlns:a16="http://schemas.microsoft.com/office/drawing/2014/main" id="{3929ACC7-246C-4A62-ACF5-0FF6CC7E45CC}"/>
              </a:ext>
            </a:extLst>
          </p:cNvPr>
          <p:cNvSpPr txBox="1">
            <a:spLocks/>
          </p:cNvSpPr>
          <p:nvPr/>
        </p:nvSpPr>
        <p:spPr>
          <a:xfrm>
            <a:off x="3172594" y="1631116"/>
            <a:ext cx="688017" cy="110800"/>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90000"/>
              </a:lnSpc>
              <a:spcAft>
                <a:spcPts val="612"/>
              </a:spcAft>
              <a:defRPr/>
            </a:pPr>
            <a:r>
              <a:rPr lang="en-US" sz="800" b="1" spc="0">
                <a:solidFill>
                  <a:srgbClr val="3C3C41"/>
                </a:solidFill>
                <a:latin typeface="Segoe UI"/>
              </a:rPr>
              <a:t>Business</a:t>
            </a:r>
          </a:p>
        </p:txBody>
      </p:sp>
      <p:pic>
        <p:nvPicPr>
          <p:cNvPr id="12" name="Graphic 11" descr="Female Profile with solid fill">
            <a:extLst>
              <a:ext uri="{FF2B5EF4-FFF2-40B4-BE49-F238E27FC236}">
                <a16:creationId xmlns:a16="http://schemas.microsoft.com/office/drawing/2014/main" id="{A19ED6CB-84C1-6CC5-E09F-30F5AD78B120}"/>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741365" y="1039773"/>
            <a:ext cx="555217" cy="555217"/>
          </a:xfrm>
          <a:prstGeom prst="rect">
            <a:avLst/>
          </a:prstGeom>
        </p:spPr>
      </p:pic>
      <p:sp>
        <p:nvSpPr>
          <p:cNvPr id="13" name="Title 1">
            <a:extLst>
              <a:ext uri="{FF2B5EF4-FFF2-40B4-BE49-F238E27FC236}">
                <a16:creationId xmlns:a16="http://schemas.microsoft.com/office/drawing/2014/main" id="{BE46B675-EDAF-97AF-16FC-F52A80B97F7D}"/>
              </a:ext>
            </a:extLst>
          </p:cNvPr>
          <p:cNvSpPr txBox="1">
            <a:spLocks/>
          </p:cNvSpPr>
          <p:nvPr/>
        </p:nvSpPr>
        <p:spPr>
          <a:xfrm>
            <a:off x="5674964" y="1593486"/>
            <a:ext cx="688017" cy="110800"/>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90000"/>
              </a:lnSpc>
              <a:spcAft>
                <a:spcPts val="612"/>
              </a:spcAft>
              <a:defRPr/>
            </a:pPr>
            <a:r>
              <a:rPr lang="en-US" sz="800" b="1" spc="0">
                <a:solidFill>
                  <a:srgbClr val="3C3C41"/>
                </a:solidFill>
                <a:latin typeface="Segoe UI"/>
                <a:cs typeface="Segoe UI"/>
              </a:rPr>
              <a:t>Developers</a:t>
            </a:r>
            <a:endParaRPr lang="en-US"/>
          </a:p>
        </p:txBody>
      </p:sp>
      <p:sp>
        <p:nvSpPr>
          <p:cNvPr id="16" name="Title 1">
            <a:extLst>
              <a:ext uri="{FF2B5EF4-FFF2-40B4-BE49-F238E27FC236}">
                <a16:creationId xmlns:a16="http://schemas.microsoft.com/office/drawing/2014/main" id="{BDAF99FA-5777-97A3-2171-385DD5248AD8}"/>
              </a:ext>
            </a:extLst>
          </p:cNvPr>
          <p:cNvSpPr txBox="1">
            <a:spLocks/>
          </p:cNvSpPr>
          <p:nvPr/>
        </p:nvSpPr>
        <p:spPr>
          <a:xfrm>
            <a:off x="4409668" y="1076079"/>
            <a:ext cx="688017" cy="110800"/>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90000"/>
              </a:lnSpc>
              <a:spcAft>
                <a:spcPts val="612"/>
              </a:spcAft>
              <a:defRPr/>
            </a:pPr>
            <a:r>
              <a:rPr lang="en-US" sz="800" b="1" spc="0">
                <a:solidFill>
                  <a:srgbClr val="3C3C41"/>
                </a:solidFill>
                <a:latin typeface="Segoe UI"/>
                <a:cs typeface="Segoe UI"/>
              </a:rPr>
              <a:t>Entra ID</a:t>
            </a:r>
            <a:endParaRPr lang="en-US" sz="800" b="1" spc="0">
              <a:solidFill>
                <a:srgbClr val="3C3C41"/>
              </a:solidFill>
              <a:latin typeface="Segoe UI"/>
            </a:endParaRPr>
          </a:p>
        </p:txBody>
      </p:sp>
      <p:sp>
        <p:nvSpPr>
          <p:cNvPr id="2" name="Title 1">
            <a:extLst>
              <a:ext uri="{FF2B5EF4-FFF2-40B4-BE49-F238E27FC236}">
                <a16:creationId xmlns:a16="http://schemas.microsoft.com/office/drawing/2014/main" id="{53B75473-1F28-8D0A-8760-149A00222756}"/>
              </a:ext>
            </a:extLst>
          </p:cNvPr>
          <p:cNvSpPr>
            <a:spLocks noGrp="1"/>
          </p:cNvSpPr>
          <p:nvPr>
            <p:ph type="title"/>
          </p:nvPr>
        </p:nvSpPr>
        <p:spPr>
          <a:xfrm>
            <a:off x="265114" y="209751"/>
            <a:ext cx="11026774" cy="553998"/>
          </a:xfrm>
        </p:spPr>
        <p:txBody>
          <a:bodyPr/>
          <a:lstStyle/>
          <a:p>
            <a:pPr algn="l"/>
            <a:r>
              <a:rPr lang="en-CA">
                <a:solidFill>
                  <a:srgbClr val="225B61"/>
                </a:solidFill>
              </a:rPr>
              <a:t>Microsoft Fabric – SaaS World</a:t>
            </a:r>
            <a:endParaRPr lang="en-NL">
              <a:solidFill>
                <a:srgbClr val="225B61"/>
              </a:solidFill>
            </a:endParaRPr>
          </a:p>
        </p:txBody>
      </p:sp>
      <p:grpSp>
        <p:nvGrpSpPr>
          <p:cNvPr id="6" name="Group 5">
            <a:extLst>
              <a:ext uri="{FF2B5EF4-FFF2-40B4-BE49-F238E27FC236}">
                <a16:creationId xmlns:a16="http://schemas.microsoft.com/office/drawing/2014/main" id="{A25A44D4-25A7-06CB-6269-4DCB8281DC32}"/>
              </a:ext>
              <a:ext uri="{C183D7F6-B498-43B3-948B-1728B52AA6E4}">
                <adec:decorative xmlns:adec="http://schemas.microsoft.com/office/drawing/2017/decorative" val="1"/>
              </a:ext>
            </a:extLst>
          </p:cNvPr>
          <p:cNvGrpSpPr/>
          <p:nvPr/>
        </p:nvGrpSpPr>
        <p:grpSpPr>
          <a:xfrm>
            <a:off x="9477852" y="1893366"/>
            <a:ext cx="139610" cy="4355034"/>
            <a:chOff x="9119664" y="1893366"/>
            <a:chExt cx="139610" cy="4355034"/>
          </a:xfrm>
        </p:grpSpPr>
        <p:cxnSp>
          <p:nvCxnSpPr>
            <p:cNvPr id="7" name="Straight Connector 6">
              <a:extLst>
                <a:ext uri="{FF2B5EF4-FFF2-40B4-BE49-F238E27FC236}">
                  <a16:creationId xmlns:a16="http://schemas.microsoft.com/office/drawing/2014/main" id="{BF526186-0A24-3DD1-44A7-100D1905B979}"/>
                </a:ext>
                <a:ext uri="{C183D7F6-B498-43B3-948B-1728B52AA6E4}">
                  <adec:decorative xmlns:adec="http://schemas.microsoft.com/office/drawing/2017/decorative" val="1"/>
                </a:ext>
              </a:extLst>
            </p:cNvPr>
            <p:cNvCxnSpPr>
              <a:cxnSpLocks/>
            </p:cNvCxnSpPr>
            <p:nvPr/>
          </p:nvCxnSpPr>
          <p:spPr>
            <a:xfrm flipH="1">
              <a:off x="9162258" y="1893366"/>
              <a:ext cx="27213" cy="4355034"/>
            </a:xfrm>
            <a:prstGeom prst="line">
              <a:avLst/>
            </a:prstGeom>
            <a:ln w="9525">
              <a:gradFill>
                <a:gsLst>
                  <a:gs pos="0">
                    <a:schemeClr val="accent1">
                      <a:lumMod val="5000"/>
                      <a:lumOff val="95000"/>
                      <a:alpha val="0"/>
                    </a:schemeClr>
                  </a:gs>
                  <a:gs pos="88000">
                    <a:schemeClr val="accent2"/>
                  </a:gs>
                  <a:gs pos="12000">
                    <a:schemeClr val="accent2"/>
                  </a:gs>
                  <a:gs pos="100000">
                    <a:schemeClr val="tx1">
                      <a:alpha val="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2C99A15D-9D80-6EC6-E618-0BA44AD78409}"/>
                </a:ext>
                <a:ext uri="{C183D7F6-B498-43B3-948B-1728B52AA6E4}">
                  <adec:decorative xmlns:adec="http://schemas.microsoft.com/office/drawing/2017/decorative" val="1"/>
                </a:ext>
              </a:extLst>
            </p:cNvPr>
            <p:cNvSpPr/>
            <p:nvPr/>
          </p:nvSpPr>
          <p:spPr bwMode="auto">
            <a:xfrm>
              <a:off x="9133268" y="2320932"/>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sp>
          <p:nvSpPr>
            <p:cNvPr id="14" name="Oval 13">
              <a:extLst>
                <a:ext uri="{FF2B5EF4-FFF2-40B4-BE49-F238E27FC236}">
                  <a16:creationId xmlns:a16="http://schemas.microsoft.com/office/drawing/2014/main" id="{9BA763DE-E9BB-F873-0E54-BF270395C3CF}"/>
                </a:ext>
                <a:ext uri="{C183D7F6-B498-43B3-948B-1728B52AA6E4}">
                  <adec:decorative xmlns:adec="http://schemas.microsoft.com/office/drawing/2017/decorative" val="1"/>
                </a:ext>
              </a:extLst>
            </p:cNvPr>
            <p:cNvSpPr/>
            <p:nvPr/>
          </p:nvSpPr>
          <p:spPr bwMode="auto">
            <a:xfrm>
              <a:off x="9119664" y="3220565"/>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sp>
          <p:nvSpPr>
            <p:cNvPr id="15" name="Oval 14">
              <a:extLst>
                <a:ext uri="{FF2B5EF4-FFF2-40B4-BE49-F238E27FC236}">
                  <a16:creationId xmlns:a16="http://schemas.microsoft.com/office/drawing/2014/main" id="{18D0CF2E-6EC5-0645-D9BD-B18CCC030BF3}"/>
                </a:ext>
                <a:ext uri="{C183D7F6-B498-43B3-948B-1728B52AA6E4}">
                  <adec:decorative xmlns:adec="http://schemas.microsoft.com/office/drawing/2017/decorative" val="1"/>
                </a:ext>
              </a:extLst>
            </p:cNvPr>
            <p:cNvSpPr/>
            <p:nvPr/>
          </p:nvSpPr>
          <p:spPr bwMode="auto">
            <a:xfrm>
              <a:off x="9119664" y="4445688"/>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sp>
          <p:nvSpPr>
            <p:cNvPr id="17" name="Oval 16">
              <a:extLst>
                <a:ext uri="{FF2B5EF4-FFF2-40B4-BE49-F238E27FC236}">
                  <a16:creationId xmlns:a16="http://schemas.microsoft.com/office/drawing/2014/main" id="{B8DCF40E-DF70-1EEE-830B-570699FA24BD}"/>
                </a:ext>
                <a:ext uri="{C183D7F6-B498-43B3-948B-1728B52AA6E4}">
                  <adec:decorative xmlns:adec="http://schemas.microsoft.com/office/drawing/2017/decorative" val="1"/>
                </a:ext>
              </a:extLst>
            </p:cNvPr>
            <p:cNvSpPr/>
            <p:nvPr/>
          </p:nvSpPr>
          <p:spPr bwMode="auto">
            <a:xfrm>
              <a:off x="9119664" y="5694737"/>
              <a:ext cx="126006" cy="126006"/>
            </a:xfrm>
            <a:prstGeom prst="ellipse">
              <a:avLst/>
            </a:prstGeom>
            <a:gradFill flip="none" rotWithShape="1">
              <a:gsLst>
                <a:gs pos="0">
                  <a:schemeClr val="accent2"/>
                </a:gs>
                <a:gs pos="100000">
                  <a:schemeClr val="accent1"/>
                </a:gs>
              </a:gsLst>
              <a:lin ang="2700000" scaled="1"/>
              <a:tileRect/>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grpSp>
      <p:sp>
        <p:nvSpPr>
          <p:cNvPr id="18" name="TextBox 17">
            <a:extLst>
              <a:ext uri="{FF2B5EF4-FFF2-40B4-BE49-F238E27FC236}">
                <a16:creationId xmlns:a16="http://schemas.microsoft.com/office/drawing/2014/main" id="{872AB462-631D-B3D6-1E6F-A29973EC59F8}"/>
              </a:ext>
            </a:extLst>
          </p:cNvPr>
          <p:cNvSpPr txBox="1"/>
          <p:nvPr/>
        </p:nvSpPr>
        <p:spPr>
          <a:xfrm>
            <a:off x="9856146" y="4034693"/>
            <a:ext cx="2088817" cy="738664"/>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200" b="0" i="0" u="none" strike="noStrike" kern="0" cap="none" spc="0" normalizeH="0" baseline="0" noProof="0">
                <a:ln>
                  <a:noFill/>
                </a:ln>
                <a:solidFill>
                  <a:srgbClr val="001919"/>
                </a:solidFill>
                <a:effectLst/>
                <a:uLnTx/>
                <a:uFillTx/>
                <a:latin typeface="Segoe UI"/>
                <a:ea typeface="+mn-ea"/>
                <a:cs typeface="Segoe UI"/>
              </a:rPr>
              <a:t>All internal communications between the experiences happens through MS  backbone network</a:t>
            </a:r>
            <a:endParaRPr kumimoji="0" lang="en-US" sz="1600" b="0" i="0" u="none" strike="noStrike" kern="1200" cap="none" spc="0" normalizeH="0" baseline="0" noProof="0">
              <a:ln>
                <a:noFill/>
              </a:ln>
              <a:solidFill>
                <a:srgbClr val="001919"/>
              </a:solidFill>
              <a:effectLst/>
              <a:uLnTx/>
              <a:uFillTx/>
              <a:latin typeface="Segoe UI" panose="020B0502040204020203" pitchFamily="34" charset="0"/>
              <a:ea typeface="+mn-ea"/>
              <a:cs typeface="Segoe UI"/>
            </a:endParaRPr>
          </a:p>
        </p:txBody>
      </p:sp>
      <p:sp>
        <p:nvSpPr>
          <p:cNvPr id="29" name="TextBox 28">
            <a:extLst>
              <a:ext uri="{FF2B5EF4-FFF2-40B4-BE49-F238E27FC236}">
                <a16:creationId xmlns:a16="http://schemas.microsoft.com/office/drawing/2014/main" id="{D4BD66F8-757C-49B5-6530-EDF3B2F386A9}"/>
              </a:ext>
            </a:extLst>
          </p:cNvPr>
          <p:cNvSpPr txBox="1"/>
          <p:nvPr/>
        </p:nvSpPr>
        <p:spPr>
          <a:xfrm>
            <a:off x="9818048" y="2198272"/>
            <a:ext cx="2088817" cy="369332"/>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200" b="0" i="0" u="none" strike="noStrike" kern="0" cap="none" spc="0" normalizeH="0" baseline="0" noProof="0">
                <a:ln>
                  <a:noFill/>
                </a:ln>
                <a:solidFill>
                  <a:srgbClr val="001919"/>
                </a:solidFill>
                <a:effectLst/>
                <a:uLnTx/>
                <a:uFillTx/>
                <a:latin typeface="Segoe UI"/>
                <a:ea typeface="+mn-ea"/>
                <a:cs typeface="Segoe UI"/>
              </a:rPr>
              <a:t>Users connect to the SaaS service from global network</a:t>
            </a:r>
            <a:endParaRPr kumimoji="0" lang="en-US" sz="1200" b="0" i="0" u="none" strike="noStrike" kern="0" cap="none" spc="0" normalizeH="0" baseline="0" noProof="0">
              <a:ln>
                <a:noFill/>
              </a:ln>
              <a:solidFill>
                <a:srgbClr val="001919"/>
              </a:solidFill>
              <a:effectLst/>
              <a:uLnTx/>
              <a:uFillTx/>
              <a:latin typeface="Segoe UI" panose="020B0502040204020203" pitchFamily="34" charset="0"/>
              <a:ea typeface="+mn-ea"/>
              <a:cs typeface="Segoe UI" panose="020B0502040204020203" pitchFamily="34" charset="0"/>
            </a:endParaRPr>
          </a:p>
        </p:txBody>
      </p:sp>
      <p:sp>
        <p:nvSpPr>
          <p:cNvPr id="61" name="TextBox 60">
            <a:extLst>
              <a:ext uri="{FF2B5EF4-FFF2-40B4-BE49-F238E27FC236}">
                <a16:creationId xmlns:a16="http://schemas.microsoft.com/office/drawing/2014/main" id="{3642A3E5-B725-F05D-8CE0-B010BDE0B9C4}"/>
              </a:ext>
            </a:extLst>
          </p:cNvPr>
          <p:cNvSpPr txBox="1"/>
          <p:nvPr/>
        </p:nvSpPr>
        <p:spPr>
          <a:xfrm>
            <a:off x="9856145" y="3100004"/>
            <a:ext cx="2088817" cy="369332"/>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200" b="0" i="0" u="none" strike="noStrike" kern="0" cap="none" spc="0" normalizeH="0" baseline="0" noProof="0">
                <a:ln>
                  <a:noFill/>
                </a:ln>
                <a:solidFill>
                  <a:srgbClr val="001919"/>
                </a:solidFill>
                <a:effectLst/>
                <a:uLnTx/>
                <a:uFillTx/>
                <a:latin typeface="Segoe UI"/>
                <a:ea typeface="+mn-ea"/>
                <a:cs typeface="Segoe UI"/>
              </a:rPr>
              <a:t>Endpoints and access are protected using </a:t>
            </a:r>
            <a:r>
              <a:rPr kumimoji="0" lang="en-US" sz="1200" b="0" i="0" u="none" strike="noStrike" kern="0" cap="none" spc="0" normalizeH="0" baseline="0" noProof="0" err="1">
                <a:ln>
                  <a:noFill/>
                </a:ln>
                <a:solidFill>
                  <a:srgbClr val="001919"/>
                </a:solidFill>
                <a:effectLst/>
                <a:uLnTx/>
                <a:uFillTx/>
                <a:latin typeface="Segoe UI"/>
                <a:ea typeface="+mn-ea"/>
                <a:cs typeface="Segoe UI"/>
              </a:rPr>
              <a:t>Entra</a:t>
            </a:r>
            <a:r>
              <a:rPr kumimoji="0" lang="en-US" sz="1200" b="0" i="0" u="none" strike="noStrike" kern="0" cap="none" spc="0" normalizeH="0" baseline="0" noProof="0">
                <a:ln>
                  <a:noFill/>
                </a:ln>
                <a:solidFill>
                  <a:srgbClr val="001919"/>
                </a:solidFill>
                <a:effectLst/>
                <a:uLnTx/>
                <a:uFillTx/>
                <a:latin typeface="Segoe UI"/>
                <a:ea typeface="+mn-ea"/>
                <a:cs typeface="Segoe UI"/>
              </a:rPr>
              <a:t> ID</a:t>
            </a:r>
            <a:endParaRPr kumimoji="0" lang="en-US" sz="1600" b="0" i="0" u="none" strike="noStrike" kern="1200" cap="none" spc="0" normalizeH="0" baseline="0" noProof="0">
              <a:ln>
                <a:noFill/>
              </a:ln>
              <a:solidFill>
                <a:srgbClr val="001919"/>
              </a:solidFill>
              <a:effectLst/>
              <a:uLnTx/>
              <a:uFillTx/>
              <a:latin typeface="Segoe UI" panose="020B0502040204020203" pitchFamily="34" charset="0"/>
              <a:ea typeface="+mn-ea"/>
              <a:cs typeface="Segoe UI" panose="020B0502040204020203" pitchFamily="34" charset="0"/>
            </a:endParaRPr>
          </a:p>
        </p:txBody>
      </p:sp>
      <p:sp>
        <p:nvSpPr>
          <p:cNvPr id="64" name="TextBox 63">
            <a:extLst>
              <a:ext uri="{FF2B5EF4-FFF2-40B4-BE49-F238E27FC236}">
                <a16:creationId xmlns:a16="http://schemas.microsoft.com/office/drawing/2014/main" id="{998358B2-5B61-B586-6275-938C5F780BE4}"/>
              </a:ext>
            </a:extLst>
          </p:cNvPr>
          <p:cNvSpPr txBox="1"/>
          <p:nvPr/>
        </p:nvSpPr>
        <p:spPr>
          <a:xfrm>
            <a:off x="9856147" y="5316630"/>
            <a:ext cx="2088817" cy="923330"/>
          </a:xfrm>
          <a:prstGeom prst="rect">
            <a:avLst/>
          </a:prstGeom>
          <a:noFill/>
        </p:spPr>
        <p:txBody>
          <a:bodyPr wrap="square" lIns="0" tIns="0" rIns="0" bIns="0" rtlCol="0" anchor="t">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en-US" sz="1200" b="0" i="0" u="none" strike="noStrike" kern="0" cap="none" spc="0" normalizeH="0" baseline="0" noProof="0">
                <a:ln>
                  <a:noFill/>
                </a:ln>
                <a:solidFill>
                  <a:srgbClr val="001919"/>
                </a:solidFill>
                <a:effectLst/>
                <a:uLnTx/>
                <a:uFillTx/>
                <a:latin typeface="Segoe UI"/>
                <a:ea typeface="+mn-ea"/>
                <a:cs typeface="Segoe UI"/>
              </a:rPr>
              <a:t>When the CEO access the data in Power BI Report, the data is fetched directly from the </a:t>
            </a:r>
            <a:r>
              <a:rPr kumimoji="0" lang="en-US" sz="1200" b="0" i="0" u="none" strike="noStrike" kern="0" cap="none" spc="0" normalizeH="0" baseline="0" noProof="0" err="1">
                <a:ln>
                  <a:noFill/>
                </a:ln>
                <a:solidFill>
                  <a:srgbClr val="001919"/>
                </a:solidFill>
                <a:effectLst/>
                <a:uLnTx/>
                <a:uFillTx/>
                <a:latin typeface="Segoe UI"/>
                <a:ea typeface="+mn-ea"/>
                <a:cs typeface="Segoe UI"/>
              </a:rPr>
              <a:t>OneLake</a:t>
            </a:r>
            <a:r>
              <a:rPr kumimoji="0" lang="en-US" sz="1200" b="0" i="0" u="none" strike="noStrike" kern="0" cap="none" spc="0" normalizeH="0" baseline="0" noProof="0">
                <a:ln>
                  <a:noFill/>
                </a:ln>
                <a:solidFill>
                  <a:srgbClr val="001919"/>
                </a:solidFill>
                <a:effectLst/>
                <a:uLnTx/>
                <a:uFillTx/>
                <a:latin typeface="Segoe UI"/>
                <a:ea typeface="+mn-ea"/>
                <a:cs typeface="Segoe UI"/>
              </a:rPr>
              <a:t> instantly and securely without copying or moving</a:t>
            </a:r>
            <a:endParaRPr kumimoji="0" lang="en-US" sz="1600" b="0" i="0" u="none" strike="noStrike" kern="1200" cap="none" spc="0" normalizeH="0" baseline="0" noProof="0">
              <a:ln>
                <a:noFill/>
              </a:ln>
              <a:solidFill>
                <a:srgbClr val="001919"/>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507242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0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59"/>
                                        </p:tgtEl>
                                        <p:attrNameLst>
                                          <p:attrName>style.visibility</p:attrName>
                                        </p:attrNameLst>
                                      </p:cBhvr>
                                      <p:to>
                                        <p:strVal val="visible"/>
                                      </p:to>
                                    </p:set>
                                    <p:animEffect transition="in" filter="fade">
                                      <p:cBhvr>
                                        <p:cTn id="13" dur="500"/>
                                        <p:tgtEl>
                                          <p:spTgt spid="59"/>
                                        </p:tgtEl>
                                      </p:cBhvr>
                                    </p:animEffect>
                                  </p:childTnLst>
                                </p:cTn>
                              </p:par>
                              <p:par>
                                <p:cTn id="14" presetID="10" presetClass="entr" presetSubtype="0" fill="hold" nodeType="withEffect">
                                  <p:stCondLst>
                                    <p:cond delay="2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nodeType="withEffect">
                                  <p:stCondLst>
                                    <p:cond delay="20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nodeType="withEffect">
                                  <p:stCondLst>
                                    <p:cond delay="2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ntr" presetSubtype="0" fill="hold" nodeType="withEffect">
                                  <p:stCondLst>
                                    <p:cond delay="20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nodeType="withEffect">
                                  <p:stCondLst>
                                    <p:cond delay="20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nodeType="withEffect">
                                  <p:stCondLst>
                                    <p:cond delay="20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10" presetClass="entr" presetSubtype="0" fill="hold" nodeType="withEffect">
                                  <p:stCondLst>
                                    <p:cond delay="20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par>
                                <p:cTn id="35" presetID="22" presetClass="entr" presetSubtype="1" fill="hold" nodeType="withEffect">
                                  <p:stCondLst>
                                    <p:cond delay="200"/>
                                  </p:stCondLst>
                                  <p:childTnLst>
                                    <p:set>
                                      <p:cBhvr>
                                        <p:cTn id="36" dur="1" fill="hold">
                                          <p:stCondLst>
                                            <p:cond delay="0"/>
                                          </p:stCondLst>
                                        </p:cTn>
                                        <p:tgtEl>
                                          <p:spTgt spid="5"/>
                                        </p:tgtEl>
                                        <p:attrNameLst>
                                          <p:attrName>style.visibility</p:attrName>
                                        </p:attrNameLst>
                                      </p:cBhvr>
                                      <p:to>
                                        <p:strVal val="visible"/>
                                      </p:to>
                                    </p:set>
                                    <p:animEffect transition="in" filter="wipe(up)">
                                      <p:cBhvr>
                                        <p:cTn id="37" dur="500"/>
                                        <p:tgtEl>
                                          <p:spTgt spid="5"/>
                                        </p:tgtEl>
                                      </p:cBhvr>
                                    </p:animEffect>
                                  </p:childTnLst>
                                </p:cTn>
                              </p:par>
                              <p:par>
                                <p:cTn id="38" presetID="10" presetClass="entr" presetSubtype="0" decel="50000" fill="hold" nodeType="withEffect">
                                  <p:stCondLst>
                                    <p:cond delay="20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par>
                                <p:cTn id="41" presetID="42" presetClass="path" presetSubtype="0" decel="50000" fill="hold" nodeType="withEffect">
                                  <p:stCondLst>
                                    <p:cond delay="200"/>
                                  </p:stCondLst>
                                  <p:childTnLst>
                                    <p:animMotion origin="layout" path="M 4.58333E-6 -3.7037E-6 L 0.02057 0.00047 " pathEditMode="relative" rAng="0" ptsTypes="AA">
                                      <p:cBhvr>
                                        <p:cTn id="42" dur="500" spd="-100000" fill="hold"/>
                                        <p:tgtEl>
                                          <p:spTgt spid="6"/>
                                        </p:tgtEl>
                                        <p:attrNameLst>
                                          <p:attrName>ppt_x</p:attrName>
                                          <p:attrName>ppt_y</p:attrName>
                                        </p:attrNameLst>
                                      </p:cBhvr>
                                      <p:rCtr x="1029" y="23"/>
                                    </p:animMotion>
                                  </p:childTnLst>
                                </p:cTn>
                              </p:par>
                              <p:par>
                                <p:cTn id="43" presetID="10" presetClass="entr" presetSubtype="0" decel="50000" fill="hold" grpId="0" nodeType="withEffect">
                                  <p:stCondLst>
                                    <p:cond delay="20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par>
                                <p:cTn id="46" presetID="42" presetClass="path" presetSubtype="0" decel="50000" fill="hold" grpId="1" nodeType="withEffect">
                                  <p:stCondLst>
                                    <p:cond delay="200"/>
                                  </p:stCondLst>
                                  <p:childTnLst>
                                    <p:animMotion origin="layout" path="M 4.58333E-6 -3.7037E-6 L 0.02057 0.00047 " pathEditMode="relative" rAng="0" ptsTypes="AA">
                                      <p:cBhvr>
                                        <p:cTn id="47" dur="500" spd="-100000" fill="hold"/>
                                        <p:tgtEl>
                                          <p:spTgt spid="18"/>
                                        </p:tgtEl>
                                        <p:attrNameLst>
                                          <p:attrName>ppt_x</p:attrName>
                                          <p:attrName>ppt_y</p:attrName>
                                        </p:attrNameLst>
                                      </p:cBhvr>
                                      <p:rCtr x="1029" y="23"/>
                                    </p:animMotion>
                                  </p:childTnLst>
                                </p:cTn>
                              </p:par>
                              <p:par>
                                <p:cTn id="48" presetID="10" presetClass="entr" presetSubtype="0" decel="50000" fill="hold" grpId="0" nodeType="withEffect">
                                  <p:stCondLst>
                                    <p:cond delay="20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42" presetClass="path" presetSubtype="0" decel="50000" fill="hold" grpId="1" nodeType="withEffect">
                                  <p:stCondLst>
                                    <p:cond delay="200"/>
                                  </p:stCondLst>
                                  <p:childTnLst>
                                    <p:animMotion origin="layout" path="M 4.58333E-6 -3.7037E-6 L 0.02057 0.00047 " pathEditMode="relative" rAng="0" ptsTypes="AA">
                                      <p:cBhvr>
                                        <p:cTn id="52" dur="500" spd="-100000" fill="hold"/>
                                        <p:tgtEl>
                                          <p:spTgt spid="29"/>
                                        </p:tgtEl>
                                        <p:attrNameLst>
                                          <p:attrName>ppt_x</p:attrName>
                                          <p:attrName>ppt_y</p:attrName>
                                        </p:attrNameLst>
                                      </p:cBhvr>
                                      <p:rCtr x="1029" y="23"/>
                                    </p:animMotion>
                                  </p:childTnLst>
                                </p:cTn>
                              </p:par>
                              <p:par>
                                <p:cTn id="53" presetID="10" presetClass="entr" presetSubtype="0" decel="50000" fill="hold" grpId="0" nodeType="withEffect">
                                  <p:stCondLst>
                                    <p:cond delay="200"/>
                                  </p:stCondLst>
                                  <p:childTnLst>
                                    <p:set>
                                      <p:cBhvr>
                                        <p:cTn id="54" dur="1" fill="hold">
                                          <p:stCondLst>
                                            <p:cond delay="0"/>
                                          </p:stCondLst>
                                        </p:cTn>
                                        <p:tgtEl>
                                          <p:spTgt spid="61"/>
                                        </p:tgtEl>
                                        <p:attrNameLst>
                                          <p:attrName>style.visibility</p:attrName>
                                        </p:attrNameLst>
                                      </p:cBhvr>
                                      <p:to>
                                        <p:strVal val="visible"/>
                                      </p:to>
                                    </p:set>
                                    <p:animEffect transition="in" filter="fade">
                                      <p:cBhvr>
                                        <p:cTn id="55" dur="500"/>
                                        <p:tgtEl>
                                          <p:spTgt spid="61"/>
                                        </p:tgtEl>
                                      </p:cBhvr>
                                    </p:animEffect>
                                  </p:childTnLst>
                                </p:cTn>
                              </p:par>
                              <p:par>
                                <p:cTn id="56" presetID="42" presetClass="path" presetSubtype="0" decel="50000" fill="hold" grpId="1" nodeType="withEffect">
                                  <p:stCondLst>
                                    <p:cond delay="200"/>
                                  </p:stCondLst>
                                  <p:childTnLst>
                                    <p:animMotion origin="layout" path="M 4.58333E-6 -3.7037E-6 L 0.02057 0.00047 " pathEditMode="relative" rAng="0" ptsTypes="AA">
                                      <p:cBhvr>
                                        <p:cTn id="57" dur="500" spd="-100000" fill="hold"/>
                                        <p:tgtEl>
                                          <p:spTgt spid="61"/>
                                        </p:tgtEl>
                                        <p:attrNameLst>
                                          <p:attrName>ppt_x</p:attrName>
                                          <p:attrName>ppt_y</p:attrName>
                                        </p:attrNameLst>
                                      </p:cBhvr>
                                      <p:rCtr x="1029" y="23"/>
                                    </p:animMotion>
                                  </p:childTnLst>
                                </p:cTn>
                              </p:par>
                              <p:par>
                                <p:cTn id="58" presetID="10" presetClass="entr" presetSubtype="0" decel="50000" fill="hold" grpId="0" nodeType="withEffect">
                                  <p:stCondLst>
                                    <p:cond delay="200"/>
                                  </p:stCondLst>
                                  <p:childTnLst>
                                    <p:set>
                                      <p:cBhvr>
                                        <p:cTn id="59" dur="1" fill="hold">
                                          <p:stCondLst>
                                            <p:cond delay="0"/>
                                          </p:stCondLst>
                                        </p:cTn>
                                        <p:tgtEl>
                                          <p:spTgt spid="64"/>
                                        </p:tgtEl>
                                        <p:attrNameLst>
                                          <p:attrName>style.visibility</p:attrName>
                                        </p:attrNameLst>
                                      </p:cBhvr>
                                      <p:to>
                                        <p:strVal val="visible"/>
                                      </p:to>
                                    </p:set>
                                    <p:animEffect transition="in" filter="fade">
                                      <p:cBhvr>
                                        <p:cTn id="60" dur="500"/>
                                        <p:tgtEl>
                                          <p:spTgt spid="64"/>
                                        </p:tgtEl>
                                      </p:cBhvr>
                                    </p:animEffect>
                                  </p:childTnLst>
                                </p:cTn>
                              </p:par>
                              <p:par>
                                <p:cTn id="61" presetID="42" presetClass="path" presetSubtype="0" decel="50000" fill="hold" grpId="1" nodeType="withEffect">
                                  <p:stCondLst>
                                    <p:cond delay="200"/>
                                  </p:stCondLst>
                                  <p:childTnLst>
                                    <p:animMotion origin="layout" path="M 4.58333E-6 -3.7037E-6 L 0.02057 0.00047 " pathEditMode="relative" rAng="0" ptsTypes="AA">
                                      <p:cBhvr>
                                        <p:cTn id="62" dur="500" spd="-100000" fill="hold"/>
                                        <p:tgtEl>
                                          <p:spTgt spid="64"/>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9" grpId="0"/>
      <p:bldP spid="18" grpId="0"/>
      <p:bldP spid="18" grpId="1"/>
      <p:bldP spid="29" grpId="0"/>
      <p:bldP spid="29" grpId="1"/>
      <p:bldP spid="61" grpId="0"/>
      <p:bldP spid="61" grpId="1"/>
      <p:bldP spid="64" grpId="0"/>
      <p:bldP spid="64" grpId="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a:extLst>
            <a:ext uri="{FF2B5EF4-FFF2-40B4-BE49-F238E27FC236}">
              <a16:creationId xmlns:a16="http://schemas.microsoft.com/office/drawing/2014/main" id="{EB7F300D-309C-B3BB-91DB-4864EA3F9C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154225-EB64-49EC-2C46-424233320889}"/>
              </a:ext>
            </a:extLst>
          </p:cNvPr>
          <p:cNvSpPr>
            <a:spLocks noGrp="1"/>
          </p:cNvSpPr>
          <p:nvPr>
            <p:ph type="title"/>
          </p:nvPr>
        </p:nvSpPr>
        <p:spPr/>
        <p:txBody>
          <a:bodyPr/>
          <a:lstStyle/>
          <a:p>
            <a:pPr algn="l"/>
            <a:r>
              <a:rPr lang="en-US">
                <a:solidFill>
                  <a:srgbClr val="225B61"/>
                </a:solidFill>
              </a:rPr>
              <a:t>Microsoft Fabric Architecture</a:t>
            </a:r>
            <a:br>
              <a:rPr lang="en-US"/>
            </a:br>
            <a:endParaRPr lang="en-NL"/>
          </a:p>
        </p:txBody>
      </p:sp>
      <p:sp>
        <p:nvSpPr>
          <p:cNvPr id="5" name="Subtitle 3">
            <a:extLst>
              <a:ext uri="{FF2B5EF4-FFF2-40B4-BE49-F238E27FC236}">
                <a16:creationId xmlns:a16="http://schemas.microsoft.com/office/drawing/2014/main" id="{E6AD1EC8-5E0E-7E77-959D-8292BF929922}"/>
              </a:ext>
            </a:extLst>
          </p:cNvPr>
          <p:cNvSpPr txBox="1">
            <a:spLocks/>
          </p:cNvSpPr>
          <p:nvPr/>
        </p:nvSpPr>
        <p:spPr>
          <a:xfrm>
            <a:off x="607808" y="1316736"/>
            <a:ext cx="10974592" cy="3651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a:t>Fabrics is built as a SaaS product. </a:t>
            </a:r>
          </a:p>
        </p:txBody>
      </p:sp>
      <p:pic>
        <p:nvPicPr>
          <p:cNvPr id="8" name="Picture 7" descr="A diagram of a computer program&#10;&#10;Description automatically generated">
            <a:extLst>
              <a:ext uri="{FF2B5EF4-FFF2-40B4-BE49-F238E27FC236}">
                <a16:creationId xmlns:a16="http://schemas.microsoft.com/office/drawing/2014/main" id="{732ADC95-928F-68C2-0AE4-631D5F4D241F}"/>
              </a:ext>
            </a:extLst>
          </p:cNvPr>
          <p:cNvPicPr>
            <a:picLocks noChangeAspect="1"/>
          </p:cNvPicPr>
          <p:nvPr/>
        </p:nvPicPr>
        <p:blipFill>
          <a:blip r:embed="rId3"/>
          <a:stretch>
            <a:fillRect/>
          </a:stretch>
        </p:blipFill>
        <p:spPr>
          <a:xfrm>
            <a:off x="1000458" y="1878358"/>
            <a:ext cx="9671775" cy="3505533"/>
          </a:xfrm>
          <a:prstGeom prst="rect">
            <a:avLst/>
          </a:prstGeom>
        </p:spPr>
      </p:pic>
      <p:sp>
        <p:nvSpPr>
          <p:cNvPr id="4" name="TextBox 3">
            <a:extLst>
              <a:ext uri="{FF2B5EF4-FFF2-40B4-BE49-F238E27FC236}">
                <a16:creationId xmlns:a16="http://schemas.microsoft.com/office/drawing/2014/main" id="{A3CC54AD-963D-D3B1-61B6-A5A4421BF337}"/>
              </a:ext>
            </a:extLst>
          </p:cNvPr>
          <p:cNvSpPr txBox="1"/>
          <p:nvPr/>
        </p:nvSpPr>
        <p:spPr>
          <a:xfrm>
            <a:off x="607808" y="4979642"/>
            <a:ext cx="11026774" cy="1722010"/>
          </a:xfrm>
          <a:prstGeom prst="rect">
            <a:avLst/>
          </a:prstGeom>
          <a:noFill/>
        </p:spPr>
        <p:txBody>
          <a:bodyPr wrap="square">
            <a:spAutoFit/>
          </a:bodyPr>
          <a:lstStyle/>
          <a:p>
            <a:endParaRPr lang="en-US"/>
          </a:p>
          <a:p>
            <a:pPr marL="285750" indent="-285750">
              <a:buFont typeface="Arial" panose="020B0604020202020204" pitchFamily="34" charset="0"/>
              <a:buChar char="•"/>
            </a:pPr>
            <a:r>
              <a:rPr lang="en-US"/>
              <a:t>Users connect only to “Front End Services” and we are using “</a:t>
            </a:r>
            <a:r>
              <a:rPr lang="en-US" err="1"/>
              <a:t>Entra</a:t>
            </a:r>
            <a:r>
              <a:rPr lang="en-US"/>
              <a:t> ID” to authenticate and </a:t>
            </a:r>
            <a:r>
              <a:rPr lang="en-US" b="1"/>
              <a:t>trust all requests</a:t>
            </a:r>
            <a:r>
              <a:rPr lang="en-US"/>
              <a:t>.</a:t>
            </a:r>
          </a:p>
          <a:p>
            <a:pPr marL="285750" indent="-285750">
              <a:buFont typeface="Arial" panose="020B0604020202020204" pitchFamily="34" charset="0"/>
              <a:buChar char="•"/>
            </a:pPr>
            <a:r>
              <a:rPr lang="en-US"/>
              <a:t>All the clusters </a:t>
            </a:r>
            <a:r>
              <a:rPr lang="en-US" b="1"/>
              <a:t>are protected behind “back-end services” and v-nets.</a:t>
            </a:r>
          </a:p>
          <a:p>
            <a:pPr marL="285750" indent="-285750">
              <a:buFont typeface="Arial" panose="020B0604020202020204" pitchFamily="34" charset="0"/>
              <a:buChar char="•"/>
            </a:pPr>
            <a:r>
              <a:rPr lang="en-US"/>
              <a:t>Traffic between experiences is </a:t>
            </a:r>
            <a:r>
              <a:rPr lang="en-US" b="1"/>
              <a:t>going over MS backend network</a:t>
            </a:r>
          </a:p>
          <a:p>
            <a:pPr marL="285750" indent="-285750">
              <a:buFont typeface="Arial" panose="020B0604020202020204" pitchFamily="34" charset="0"/>
              <a:buChar char="•"/>
            </a:pPr>
            <a:r>
              <a:rPr lang="en-US"/>
              <a:t>Traffic to Fabric will be using at </a:t>
            </a:r>
            <a:r>
              <a:rPr lang="en-US" b="1"/>
              <a:t>least TLS 1.2</a:t>
            </a:r>
          </a:p>
        </p:txBody>
      </p:sp>
    </p:spTree>
    <p:extLst>
      <p:ext uri="{BB962C8B-B14F-4D97-AF65-F5344CB8AC3E}">
        <p14:creationId xmlns:p14="http://schemas.microsoft.com/office/powerpoint/2010/main" val="269357402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DF9"/>
        </a:solidFill>
        <a:effectLst/>
      </p:bgPr>
    </p:bg>
    <p:spTree>
      <p:nvGrpSpPr>
        <p:cNvPr id="1" name="">
          <a:extLst>
            <a:ext uri="{FF2B5EF4-FFF2-40B4-BE49-F238E27FC236}">
              <a16:creationId xmlns:a16="http://schemas.microsoft.com/office/drawing/2014/main" id="{31FA8BF2-289E-9115-24BA-605613E31D21}"/>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295468E6-19B0-201B-45D4-082505E84490}"/>
              </a:ext>
            </a:extLst>
          </p:cNvPr>
          <p:cNvSpPr>
            <a:spLocks noGrp="1"/>
          </p:cNvSpPr>
          <p:nvPr>
            <p:ph type="subTitle" idx="4294967295"/>
          </p:nvPr>
        </p:nvSpPr>
        <p:spPr>
          <a:xfrm>
            <a:off x="306823" y="937185"/>
            <a:ext cx="10974388" cy="365125"/>
          </a:xfrm>
          <a:prstGeom prst="rect">
            <a:avLst/>
          </a:prstGeom>
        </p:spPr>
        <p:txBody>
          <a:bodyPr/>
          <a:lstStyle/>
          <a:p>
            <a:pPr marL="0" indent="0">
              <a:buNone/>
            </a:pPr>
            <a:r>
              <a:rPr lang="en-US"/>
              <a:t>Microsoft </a:t>
            </a:r>
            <a:r>
              <a:rPr lang="en-US" err="1"/>
              <a:t>Entra</a:t>
            </a:r>
            <a:r>
              <a:rPr lang="en-US"/>
              <a:t> ID at the hearth of your security</a:t>
            </a:r>
          </a:p>
        </p:txBody>
      </p:sp>
      <p:sp>
        <p:nvSpPr>
          <p:cNvPr id="4" name="Footer Placeholder 3">
            <a:extLst>
              <a:ext uri="{FF2B5EF4-FFF2-40B4-BE49-F238E27FC236}">
                <a16:creationId xmlns:a16="http://schemas.microsoft.com/office/drawing/2014/main" id="{ED6C8B68-F349-36D7-14E6-F4F2C928EC27}"/>
              </a:ext>
            </a:extLst>
          </p:cNvPr>
          <p:cNvSpPr>
            <a:spLocks noGrp="1"/>
          </p:cNvSpPr>
          <p:nvPr>
            <p:ph type="ftr" sz="quarter" idx="4294967295"/>
          </p:nvPr>
        </p:nvSpPr>
        <p:spPr>
          <a:xfrm>
            <a:off x="0" y="6311900"/>
            <a:ext cx="2079625" cy="365125"/>
          </a:xfrm>
        </p:spPr>
        <p:txBody>
          <a:bodyPr/>
          <a:lstStyle/>
          <a:p>
            <a:r>
              <a:rPr lang="en-US"/>
              <a:t>Microsoft Fabric / Section title</a:t>
            </a:r>
          </a:p>
        </p:txBody>
      </p:sp>
      <p:sp>
        <p:nvSpPr>
          <p:cNvPr id="5" name="Slide Number Placeholder 4">
            <a:extLst>
              <a:ext uri="{FF2B5EF4-FFF2-40B4-BE49-F238E27FC236}">
                <a16:creationId xmlns:a16="http://schemas.microsoft.com/office/drawing/2014/main" id="{CFA8927D-D6B6-850B-DD28-B9F80A3E31CD}"/>
              </a:ext>
            </a:extLst>
          </p:cNvPr>
          <p:cNvSpPr>
            <a:spLocks noGrp="1"/>
          </p:cNvSpPr>
          <p:nvPr>
            <p:ph type="sldNum" sz="quarter" idx="4294967295"/>
          </p:nvPr>
        </p:nvSpPr>
        <p:spPr>
          <a:xfrm>
            <a:off x="0" y="6311900"/>
            <a:ext cx="398463" cy="365125"/>
          </a:xfrm>
        </p:spPr>
        <p:txBody>
          <a:bodyPr/>
          <a:lstStyle/>
          <a:p>
            <a:fld id="{B1356FBF-028C-F74E-A7B4-9B8ED246DD1B}" type="slidenum">
              <a:rPr lang="en-US" smtClean="0"/>
              <a:pPr/>
              <a:t>19</a:t>
            </a:fld>
            <a:endParaRPr lang="en-US"/>
          </a:p>
        </p:txBody>
      </p:sp>
      <p:pic>
        <p:nvPicPr>
          <p:cNvPr id="1028" name="Picture 4" descr="An infographic showing how Microsoft Entra ID is a holistic integrated cloud identity and access solution.">
            <a:extLst>
              <a:ext uri="{FF2B5EF4-FFF2-40B4-BE49-F238E27FC236}">
                <a16:creationId xmlns:a16="http://schemas.microsoft.com/office/drawing/2014/main" id="{E4141256-B6E1-66AC-0929-C98778A791C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09613" y="1766026"/>
            <a:ext cx="7689160" cy="4544695"/>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27">
            <a:extLst>
              <a:ext uri="{FF2B5EF4-FFF2-40B4-BE49-F238E27FC236}">
                <a16:creationId xmlns:a16="http://schemas.microsoft.com/office/drawing/2014/main" id="{497EF00A-C6F5-8696-41F8-45BA81DF7339}"/>
              </a:ext>
            </a:extLst>
          </p:cNvPr>
          <p:cNvSpPr txBox="1">
            <a:spLocks/>
          </p:cNvSpPr>
          <p:nvPr/>
        </p:nvSpPr>
        <p:spPr>
          <a:xfrm>
            <a:off x="306823" y="249227"/>
            <a:ext cx="11026774" cy="646331"/>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algn="l" defTabSz="914400" rtl="0" eaLnBrk="1" latinLnBrk="0" hangingPunct="1">
              <a:lnSpc>
                <a:spcPct val="90000"/>
              </a:lnSpc>
              <a:spcBef>
                <a:spcPct val="0"/>
              </a:spcBef>
              <a:buNone/>
              <a:defRPr lang="en-US" sz="4200" b="1" i="0" kern="1200" dirty="0">
                <a:solidFill>
                  <a:schemeClr val="tx1"/>
                </a:solidFill>
                <a:latin typeface="Segoe UI Semibold" panose="020B0502040204020203" pitchFamily="34" charset="0"/>
                <a:ea typeface="+mj-ea"/>
                <a:cs typeface="Segoe UI Semibold" panose="020B0502040204020203" pitchFamily="34" charset="0"/>
              </a:defRPr>
            </a:lvl1pPr>
          </a:lstStyle>
          <a:p>
            <a:pPr>
              <a:lnSpc>
                <a:spcPct val="100000"/>
              </a:lnSpc>
              <a:buFont typeface="Arial" panose="020B0604020202020204" pitchFamily="34" charset="0"/>
              <a:buNone/>
              <a:defRPr/>
            </a:pPr>
            <a:r>
              <a:rPr lang="en-US">
                <a:solidFill>
                  <a:srgbClr val="225B61"/>
                </a:solidFill>
              </a:rPr>
              <a:t>Authentication</a:t>
            </a:r>
            <a:r>
              <a:rPr lang="en-US"/>
              <a:t> </a:t>
            </a:r>
          </a:p>
        </p:txBody>
      </p:sp>
      <p:sp>
        <p:nvSpPr>
          <p:cNvPr id="3" name="TextBox 2">
            <a:extLst>
              <a:ext uri="{FF2B5EF4-FFF2-40B4-BE49-F238E27FC236}">
                <a16:creationId xmlns:a16="http://schemas.microsoft.com/office/drawing/2014/main" id="{4DE29376-8BC8-ECF8-9CC8-66AA15DB8AFF}"/>
              </a:ext>
            </a:extLst>
          </p:cNvPr>
          <p:cNvSpPr txBox="1"/>
          <p:nvPr/>
        </p:nvSpPr>
        <p:spPr>
          <a:xfrm>
            <a:off x="0" y="6311900"/>
            <a:ext cx="2403389" cy="363946"/>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208378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6F163E9-9B3B-3312-99C4-D752BD2F1290}"/>
              </a:ext>
            </a:extLst>
          </p:cNvPr>
          <p:cNvSpPr>
            <a:spLocks noGrp="1"/>
          </p:cNvSpPr>
          <p:nvPr>
            <p:ph type="ftr" sz="quarter" idx="24"/>
          </p:nvPr>
        </p:nvSpPr>
        <p:spPr/>
        <p:txBody>
          <a:bodyPr/>
          <a:lstStyle/>
          <a:p>
            <a:r>
              <a:rPr lang="en-US"/>
              <a:t>Micrsoft Fabric</a:t>
            </a:r>
          </a:p>
        </p:txBody>
      </p:sp>
      <p:sp>
        <p:nvSpPr>
          <p:cNvPr id="5" name="Slide Number Placeholder 4">
            <a:extLst>
              <a:ext uri="{FF2B5EF4-FFF2-40B4-BE49-F238E27FC236}">
                <a16:creationId xmlns:a16="http://schemas.microsoft.com/office/drawing/2014/main" id="{B70BF684-B8C6-D73E-1D97-6DA5B4A0F192}"/>
              </a:ext>
            </a:extLst>
          </p:cNvPr>
          <p:cNvSpPr>
            <a:spLocks noGrp="1"/>
          </p:cNvSpPr>
          <p:nvPr>
            <p:ph type="sldNum" sz="quarter" idx="25"/>
          </p:nvPr>
        </p:nvSpPr>
        <p:spPr/>
        <p:txBody>
          <a:bodyPr/>
          <a:lstStyle/>
          <a:p>
            <a:fld id="{B1356FBF-028C-F74E-A7B4-9B8ED246DD1B}" type="slidenum">
              <a:rPr lang="en-US" smtClean="0"/>
              <a:t>2</a:t>
            </a:fld>
            <a:endParaRPr lang="en-US"/>
          </a:p>
        </p:txBody>
      </p:sp>
      <p:sp>
        <p:nvSpPr>
          <p:cNvPr id="6" name="TextBox 5">
            <a:extLst>
              <a:ext uri="{FF2B5EF4-FFF2-40B4-BE49-F238E27FC236}">
                <a16:creationId xmlns:a16="http://schemas.microsoft.com/office/drawing/2014/main" id="{934F2D8C-5F72-37FD-964F-748F8590603C}"/>
              </a:ext>
            </a:extLst>
          </p:cNvPr>
          <p:cNvSpPr txBox="1"/>
          <p:nvPr/>
        </p:nvSpPr>
        <p:spPr>
          <a:xfrm>
            <a:off x="1365183" y="1419039"/>
            <a:ext cx="8756468" cy="3416320"/>
          </a:xfrm>
          <a:prstGeom prst="rect">
            <a:avLst/>
          </a:prstGeom>
          <a:noFill/>
        </p:spPr>
        <p:txBody>
          <a:bodyPr wrap="square" rtlCol="0">
            <a:spAutoFit/>
          </a:bodyPr>
          <a:lstStyle/>
          <a:p>
            <a:r>
              <a:rPr lang="en-US" sz="3600" dirty="0"/>
              <a:t>PLEASE DO NOT COPY THIS SLIDE. THERE WILL BE MANY UPDATES IN THE NEXT FEW MONTHS AND IT IS IMPORTANT TO STAY UP TO DATE. </a:t>
            </a:r>
          </a:p>
          <a:p>
            <a:endParaRPr lang="en-US" sz="3600" dirty="0"/>
          </a:p>
          <a:p>
            <a:r>
              <a:rPr lang="en-US" sz="3600" dirty="0"/>
              <a:t>Please make sure you update regularly.</a:t>
            </a:r>
            <a:endParaRPr lang="en-NL" sz="3600" dirty="0"/>
          </a:p>
        </p:txBody>
      </p:sp>
      <p:sp>
        <p:nvSpPr>
          <p:cNvPr id="2" name="TextBox 1">
            <a:extLst>
              <a:ext uri="{FF2B5EF4-FFF2-40B4-BE49-F238E27FC236}">
                <a16:creationId xmlns:a16="http://schemas.microsoft.com/office/drawing/2014/main" id="{CA927A3A-3336-F1BA-BD57-820122629081}"/>
              </a:ext>
            </a:extLst>
          </p:cNvPr>
          <p:cNvSpPr txBox="1"/>
          <p:nvPr/>
        </p:nvSpPr>
        <p:spPr>
          <a:xfrm>
            <a:off x="32005" y="6306532"/>
            <a:ext cx="2893952" cy="487460"/>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93950849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DF9"/>
        </a:solidFill>
        <a:effectLst/>
      </p:bgPr>
    </p:bg>
    <p:spTree>
      <p:nvGrpSpPr>
        <p:cNvPr id="1" name="">
          <a:extLst>
            <a:ext uri="{FF2B5EF4-FFF2-40B4-BE49-F238E27FC236}">
              <a16:creationId xmlns:a16="http://schemas.microsoft.com/office/drawing/2014/main" id="{CD094CC5-6553-3D51-5E96-63795C84B5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D0E8E4-2A4E-69F8-5F90-5DAD290C43DF}"/>
              </a:ext>
            </a:extLst>
          </p:cNvPr>
          <p:cNvSpPr>
            <a:spLocks noGrp="1"/>
          </p:cNvSpPr>
          <p:nvPr>
            <p:ph type="title"/>
          </p:nvPr>
        </p:nvSpPr>
        <p:spPr>
          <a:xfrm>
            <a:off x="206993" y="361410"/>
            <a:ext cx="11026774" cy="553998"/>
          </a:xfrm>
        </p:spPr>
        <p:txBody>
          <a:bodyPr/>
          <a:lstStyle/>
          <a:p>
            <a:pPr algn="l"/>
            <a:r>
              <a:rPr lang="en-US">
                <a:solidFill>
                  <a:srgbClr val="225B61"/>
                </a:solidFill>
              </a:rPr>
              <a:t>Inbound protection options</a:t>
            </a:r>
            <a:endParaRPr lang="en-NL">
              <a:solidFill>
                <a:srgbClr val="225B61"/>
              </a:solidFill>
            </a:endParaRPr>
          </a:p>
        </p:txBody>
      </p:sp>
      <p:sp>
        <p:nvSpPr>
          <p:cNvPr id="5" name="Text Placeholder 4">
            <a:extLst>
              <a:ext uri="{FF2B5EF4-FFF2-40B4-BE49-F238E27FC236}">
                <a16:creationId xmlns:a16="http://schemas.microsoft.com/office/drawing/2014/main" id="{398BB166-EA9E-EF9A-B5C5-699F7D9E573F}"/>
              </a:ext>
            </a:extLst>
          </p:cNvPr>
          <p:cNvSpPr>
            <a:spLocks noGrp="1"/>
          </p:cNvSpPr>
          <p:nvPr>
            <p:ph type="body" sz="quarter" idx="4294967295"/>
          </p:nvPr>
        </p:nvSpPr>
        <p:spPr>
          <a:xfrm>
            <a:off x="1380139" y="1267841"/>
            <a:ext cx="4194452" cy="593725"/>
          </a:xfrm>
          <a:prstGeom prst="rect">
            <a:avLst/>
          </a:prstGeom>
        </p:spPr>
        <p:txBody>
          <a:bodyPr/>
          <a:lstStyle/>
          <a:p>
            <a:pPr marL="0" indent="0">
              <a:buNone/>
            </a:pPr>
            <a:r>
              <a:rPr lang="en-US"/>
              <a:t>Perimeter Network Security</a:t>
            </a:r>
          </a:p>
        </p:txBody>
      </p:sp>
      <p:sp>
        <p:nvSpPr>
          <p:cNvPr id="3" name="Text Placeholder 2">
            <a:extLst>
              <a:ext uri="{FF2B5EF4-FFF2-40B4-BE49-F238E27FC236}">
                <a16:creationId xmlns:a16="http://schemas.microsoft.com/office/drawing/2014/main" id="{BA619517-5E73-CA05-4920-AD5C6BFA3430}"/>
              </a:ext>
            </a:extLst>
          </p:cNvPr>
          <p:cNvSpPr txBox="1">
            <a:spLocks/>
          </p:cNvSpPr>
          <p:nvPr/>
        </p:nvSpPr>
        <p:spPr>
          <a:xfrm>
            <a:off x="6032231" y="1267841"/>
            <a:ext cx="5329447" cy="5937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accent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b="0" i="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t>Zero Trust Approach</a:t>
            </a:r>
          </a:p>
        </p:txBody>
      </p:sp>
      <p:pic>
        <p:nvPicPr>
          <p:cNvPr id="1028" name="Picture 4" descr="Zero Trust applies to both known and unknown locations.">
            <a:extLst>
              <a:ext uri="{FF2B5EF4-FFF2-40B4-BE49-F238E27FC236}">
                <a16:creationId xmlns:a16="http://schemas.microsoft.com/office/drawing/2014/main" id="{7464D872-5B48-053F-96D1-E3F5B7E7521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503886" y="1682384"/>
            <a:ext cx="8587005" cy="5175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732683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4CF1A77-B524-9B88-677D-3979604FDD7E}"/>
              </a:ext>
            </a:extLst>
          </p:cNvPr>
          <p:cNvSpPr>
            <a:spLocks noGrp="1"/>
          </p:cNvSpPr>
          <p:nvPr>
            <p:ph type="body" sz="quarter" idx="11"/>
          </p:nvPr>
        </p:nvSpPr>
        <p:spPr>
          <a:xfrm>
            <a:off x="6446258" y="4007569"/>
            <a:ext cx="4992449" cy="1398587"/>
          </a:xfrm>
        </p:spPr>
        <p:txBody>
          <a:bodyPr>
            <a:normAutofit fontScale="85000" lnSpcReduction="10000"/>
          </a:bodyPr>
          <a:lstStyle/>
          <a:p>
            <a:r>
              <a:rPr lang="en-US"/>
              <a:t>Securing inbound connections </a:t>
            </a:r>
          </a:p>
          <a:p>
            <a:r>
              <a:rPr lang="en-US"/>
              <a:t>Using Zero Trust with </a:t>
            </a:r>
            <a:r>
              <a:rPr lang="en-US" err="1"/>
              <a:t>Entra</a:t>
            </a:r>
            <a:r>
              <a:rPr lang="en-US"/>
              <a:t> CA </a:t>
            </a:r>
          </a:p>
          <a:p>
            <a:endParaRPr lang="en-US"/>
          </a:p>
        </p:txBody>
      </p:sp>
      <p:sp>
        <p:nvSpPr>
          <p:cNvPr id="4" name="Footer Placeholder 3">
            <a:extLst>
              <a:ext uri="{FF2B5EF4-FFF2-40B4-BE49-F238E27FC236}">
                <a16:creationId xmlns:a16="http://schemas.microsoft.com/office/drawing/2014/main" id="{0A9D396C-7503-5652-B572-ED5111C25232}"/>
              </a:ext>
            </a:extLst>
          </p:cNvPr>
          <p:cNvSpPr>
            <a:spLocks noGrp="1"/>
          </p:cNvSpPr>
          <p:nvPr>
            <p:ph type="ftr" sz="quarter" idx="4294967295"/>
          </p:nvPr>
        </p:nvSpPr>
        <p:spPr>
          <a:xfrm>
            <a:off x="0" y="6316663"/>
            <a:ext cx="2079625" cy="365125"/>
          </a:xfrm>
        </p:spPr>
        <p:txBody>
          <a:bodyPr/>
          <a:lstStyle/>
          <a:p>
            <a:r>
              <a:rPr lang="en-US"/>
              <a:t>Microsoft Fabric</a:t>
            </a:r>
          </a:p>
        </p:txBody>
      </p:sp>
      <p:sp>
        <p:nvSpPr>
          <p:cNvPr id="5" name="Slide Number Placeholder 4">
            <a:extLst>
              <a:ext uri="{FF2B5EF4-FFF2-40B4-BE49-F238E27FC236}">
                <a16:creationId xmlns:a16="http://schemas.microsoft.com/office/drawing/2014/main" id="{C60888A5-3E3F-C14B-6562-7DB1D2A9F497}"/>
              </a:ext>
            </a:extLst>
          </p:cNvPr>
          <p:cNvSpPr>
            <a:spLocks noGrp="1"/>
          </p:cNvSpPr>
          <p:nvPr>
            <p:ph type="sldNum" sz="quarter" idx="4294967295"/>
          </p:nvPr>
        </p:nvSpPr>
        <p:spPr>
          <a:xfrm>
            <a:off x="0" y="6316663"/>
            <a:ext cx="398463" cy="365125"/>
          </a:xfrm>
        </p:spPr>
        <p:txBody>
          <a:bodyPr/>
          <a:lstStyle/>
          <a:p>
            <a:fld id="{B1356FBF-028C-F74E-A7B4-9B8ED246DD1B}" type="slidenum">
              <a:rPr lang="en-US" smtClean="0"/>
              <a:t>21</a:t>
            </a:fld>
            <a:endParaRPr lang="en-US"/>
          </a:p>
        </p:txBody>
      </p:sp>
    </p:spTree>
    <p:extLst>
      <p:ext uri="{BB962C8B-B14F-4D97-AF65-F5344CB8AC3E}">
        <p14:creationId xmlns:p14="http://schemas.microsoft.com/office/powerpoint/2010/main" val="3911519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D7F5F-D7BE-41D2-B638-E6609F7772FA}"/>
              </a:ext>
            </a:extLst>
          </p:cNvPr>
          <p:cNvSpPr>
            <a:spLocks noGrp="1"/>
          </p:cNvSpPr>
          <p:nvPr>
            <p:ph type="title"/>
          </p:nvPr>
        </p:nvSpPr>
        <p:spPr>
          <a:xfrm>
            <a:off x="588263" y="484900"/>
            <a:ext cx="11018520" cy="498598"/>
          </a:xfrm>
        </p:spPr>
        <p:txBody>
          <a:bodyPr/>
          <a:lstStyle/>
          <a:p>
            <a:r>
              <a:rPr lang="en-US">
                <a:solidFill>
                  <a:srgbClr val="225B61"/>
                </a:solidFill>
                <a:latin typeface="Segoe Sans Display"/>
                <a:ea typeface="+mj-ea"/>
                <a:cs typeface="Segoe Sans Display" pitchFamily="2" charset="0"/>
              </a:rPr>
              <a:t>New principles for Zero Trust in today’s reality</a:t>
            </a:r>
          </a:p>
        </p:txBody>
      </p:sp>
      <p:pic>
        <p:nvPicPr>
          <p:cNvPr id="15" name="!!Verify Explicitly Photo" descr="person using a laptop at an outdoor table">
            <a:extLst>
              <a:ext uri="{FF2B5EF4-FFF2-40B4-BE49-F238E27FC236}">
                <a16:creationId xmlns:a16="http://schemas.microsoft.com/office/drawing/2014/main" id="{18658994-8747-491D-AF7B-E5B190FEB0F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ltGray">
          <a:xfrm>
            <a:off x="582612" y="2025651"/>
            <a:ext cx="3474720" cy="3474720"/>
          </a:xfrm>
          <a:prstGeom prst="rect">
            <a:avLst/>
          </a:prstGeom>
          <a:blipFill>
            <a:blip r:embed="rId4">
              <a:extLst>
                <a:ext uri="{28A0092B-C50C-407E-A947-70E740481C1C}">
                  <a14:useLocalDpi xmlns:a14="http://schemas.microsoft.com/office/drawing/2010/main"/>
                </a:ext>
              </a:extLst>
            </a:blip>
            <a:stretch>
              <a:fillRect/>
            </a:stretch>
          </a:blipFill>
          <a:effectLst/>
        </p:spPr>
      </p:pic>
      <p:sp>
        <p:nvSpPr>
          <p:cNvPr id="33" name="Text Placeholder 2">
            <a:extLst>
              <a:ext uri="{FF2B5EF4-FFF2-40B4-BE49-F238E27FC236}">
                <a16:creationId xmlns:a16="http://schemas.microsoft.com/office/drawing/2014/main" id="{AAF6DB20-EA57-D046-AA11-A305FA2C9228}"/>
              </a:ext>
            </a:extLst>
          </p:cNvPr>
          <p:cNvSpPr>
            <a:spLocks noGrp="1"/>
          </p:cNvSpPr>
          <p:nvPr>
            <p:ph type="body" sz="quarter" idx="16"/>
          </p:nvPr>
        </p:nvSpPr>
        <p:spPr/>
        <p:txBody>
          <a:bodyPr/>
          <a:lstStyle/>
          <a:p>
            <a:r>
              <a:rPr lang="en-US" sz="2000">
                <a:solidFill>
                  <a:schemeClr val="accent2"/>
                </a:solidFill>
              </a:rPr>
              <a:t>Verify explicitly</a:t>
            </a:r>
          </a:p>
        </p:txBody>
      </p:sp>
      <p:pic>
        <p:nvPicPr>
          <p:cNvPr id="5" name="Picture 4" descr="A person sitting at a table using a laptop">
            <a:extLst>
              <a:ext uri="{FF2B5EF4-FFF2-40B4-BE49-F238E27FC236}">
                <a16:creationId xmlns:a16="http://schemas.microsoft.com/office/drawing/2014/main" id="{82C689FD-248F-D44B-99D9-8BEA238E250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358069" y="2023703"/>
            <a:ext cx="3472686" cy="3474720"/>
          </a:xfrm>
          <a:prstGeom prst="rect">
            <a:avLst/>
          </a:prstGeom>
        </p:spPr>
      </p:pic>
      <p:sp>
        <p:nvSpPr>
          <p:cNvPr id="34" name="Text Placeholder 3">
            <a:extLst>
              <a:ext uri="{FF2B5EF4-FFF2-40B4-BE49-F238E27FC236}">
                <a16:creationId xmlns:a16="http://schemas.microsoft.com/office/drawing/2014/main" id="{C3C1A37A-705E-BD4F-967A-499DBB8DAB6F}"/>
              </a:ext>
            </a:extLst>
          </p:cNvPr>
          <p:cNvSpPr>
            <a:spLocks noGrp="1"/>
          </p:cNvSpPr>
          <p:nvPr>
            <p:ph type="body" sz="quarter" idx="17"/>
          </p:nvPr>
        </p:nvSpPr>
        <p:spPr/>
        <p:txBody>
          <a:bodyPr/>
          <a:lstStyle/>
          <a:p>
            <a:r>
              <a:rPr lang="en-US" sz="2000">
                <a:solidFill>
                  <a:schemeClr val="accent2"/>
                </a:solidFill>
              </a:rPr>
              <a:t>Use least privilege access</a:t>
            </a:r>
          </a:p>
        </p:txBody>
      </p:sp>
      <p:pic>
        <p:nvPicPr>
          <p:cNvPr id="23" name="Picture 22" descr="A person wearing a hardhat and safety vest, using a tablet">
            <a:extLst>
              <a:ext uri="{FF2B5EF4-FFF2-40B4-BE49-F238E27FC236}">
                <a16:creationId xmlns:a16="http://schemas.microsoft.com/office/drawing/2014/main" id="{0159003F-CC2D-DD40-A21F-7BC984DEA37F}"/>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11275" y="2023702"/>
            <a:ext cx="3492904" cy="3474719"/>
          </a:xfrm>
          <a:prstGeom prst="rect">
            <a:avLst/>
          </a:prstGeom>
        </p:spPr>
      </p:pic>
      <p:sp>
        <p:nvSpPr>
          <p:cNvPr id="35" name="Text Placeholder 4">
            <a:extLst>
              <a:ext uri="{FF2B5EF4-FFF2-40B4-BE49-F238E27FC236}">
                <a16:creationId xmlns:a16="http://schemas.microsoft.com/office/drawing/2014/main" id="{42D239E1-D808-D241-85EB-608C0A873601}"/>
              </a:ext>
            </a:extLst>
          </p:cNvPr>
          <p:cNvSpPr>
            <a:spLocks noGrp="1"/>
          </p:cNvSpPr>
          <p:nvPr>
            <p:ph type="body" sz="quarter" idx="18"/>
          </p:nvPr>
        </p:nvSpPr>
        <p:spPr/>
        <p:txBody>
          <a:bodyPr/>
          <a:lstStyle/>
          <a:p>
            <a:r>
              <a:rPr lang="en-US" sz="2000">
                <a:solidFill>
                  <a:schemeClr val="accent2"/>
                </a:solidFill>
              </a:rPr>
              <a:t>Assume breach</a:t>
            </a:r>
          </a:p>
        </p:txBody>
      </p:sp>
      <p:sp>
        <p:nvSpPr>
          <p:cNvPr id="3" name="Rectangle 2">
            <a:extLst>
              <a:ext uri="{FF2B5EF4-FFF2-40B4-BE49-F238E27FC236}">
                <a16:creationId xmlns:a16="http://schemas.microsoft.com/office/drawing/2014/main" id="{7FF4FAC4-78E6-BF4A-A29D-A9409D5E1AF1}"/>
              </a:ext>
              <a:ext uri="{C183D7F6-B498-43B3-948B-1728B52AA6E4}">
                <adec:decorative xmlns:adec="http://schemas.microsoft.com/office/drawing/2017/decorative" val="1"/>
              </a:ext>
            </a:extLst>
          </p:cNvPr>
          <p:cNvSpPr/>
          <p:nvPr/>
        </p:nvSpPr>
        <p:spPr bwMode="auto">
          <a:xfrm>
            <a:off x="3090547" y="2025651"/>
            <a:ext cx="966785" cy="9667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C7864633-91C6-BC4D-9106-64D3099F83B0}"/>
              </a:ext>
              <a:ext uri="{C183D7F6-B498-43B3-948B-1728B52AA6E4}">
                <adec:decorative xmlns:adec="http://schemas.microsoft.com/office/drawing/2017/decorative" val="1"/>
              </a:ext>
            </a:extLst>
          </p:cNvPr>
          <p:cNvSpPr/>
          <p:nvPr/>
        </p:nvSpPr>
        <p:spPr bwMode="auto">
          <a:xfrm>
            <a:off x="6863970" y="2025651"/>
            <a:ext cx="966785" cy="9667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85958115-8CC6-A94B-A8F1-FD4E8DBCBEBC}"/>
              </a:ext>
              <a:ext uri="{C183D7F6-B498-43B3-948B-1728B52AA6E4}">
                <adec:decorative xmlns:adec="http://schemas.microsoft.com/office/drawing/2017/decorative" val="1"/>
              </a:ext>
            </a:extLst>
          </p:cNvPr>
          <p:cNvSpPr/>
          <p:nvPr/>
        </p:nvSpPr>
        <p:spPr bwMode="auto">
          <a:xfrm>
            <a:off x="10639998" y="2025651"/>
            <a:ext cx="966785" cy="966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1" name="Graphic 20">
            <a:extLst>
              <a:ext uri="{FF2B5EF4-FFF2-40B4-BE49-F238E27FC236}">
                <a16:creationId xmlns:a16="http://schemas.microsoft.com/office/drawing/2014/main" id="{36163D82-ED81-C44C-B9AE-797D95F5AE23}"/>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276822" y="2211926"/>
            <a:ext cx="594234" cy="594234"/>
          </a:xfrm>
          <a:prstGeom prst="rect">
            <a:avLst/>
          </a:prstGeom>
        </p:spPr>
      </p:pic>
      <p:pic>
        <p:nvPicPr>
          <p:cNvPr id="24" name="Graphic 23">
            <a:extLst>
              <a:ext uri="{FF2B5EF4-FFF2-40B4-BE49-F238E27FC236}">
                <a16:creationId xmlns:a16="http://schemas.microsoft.com/office/drawing/2014/main" id="{27F9035C-BC21-F24B-AFC5-B22F10FD54CA}"/>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26273" y="2211926"/>
            <a:ext cx="594234" cy="594234"/>
          </a:xfrm>
          <a:prstGeom prst="rect">
            <a:avLst/>
          </a:prstGeom>
        </p:spPr>
      </p:pic>
      <p:pic>
        <p:nvPicPr>
          <p:cNvPr id="27" name="Graphic 26">
            <a:extLst>
              <a:ext uri="{FF2B5EF4-FFF2-40B4-BE49-F238E27FC236}">
                <a16:creationId xmlns:a16="http://schemas.microsoft.com/office/drawing/2014/main" id="{2B53CB30-B342-A743-AF21-A5DA584FC49E}"/>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050245" y="2211926"/>
            <a:ext cx="594234" cy="594234"/>
          </a:xfrm>
          <a:prstGeom prst="rect">
            <a:avLst/>
          </a:prstGeom>
        </p:spPr>
      </p:pic>
      <p:sp>
        <p:nvSpPr>
          <p:cNvPr id="4" name="TextBox 3">
            <a:extLst>
              <a:ext uri="{FF2B5EF4-FFF2-40B4-BE49-F238E27FC236}">
                <a16:creationId xmlns:a16="http://schemas.microsoft.com/office/drawing/2014/main" id="{21F35313-0BFF-3BE8-8A9D-8FD9FBD2493C}"/>
              </a:ext>
            </a:extLst>
          </p:cNvPr>
          <p:cNvSpPr txBox="1"/>
          <p:nvPr/>
        </p:nvSpPr>
        <p:spPr>
          <a:xfrm>
            <a:off x="33363" y="6458267"/>
            <a:ext cx="2403389" cy="363946"/>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242526791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221" name="!! Secure">
            <a:extLst>
              <a:ext uri="{FF2B5EF4-FFF2-40B4-BE49-F238E27FC236}">
                <a16:creationId xmlns:a16="http://schemas.microsoft.com/office/drawing/2014/main" id="{C60243CB-D1A0-456F-AE75-8F32DFE21CF7}"/>
              </a:ext>
            </a:extLst>
          </p:cNvPr>
          <p:cNvSpPr txBox="1">
            <a:spLocks noGrp="1"/>
          </p:cNvSpPr>
          <p:nvPr>
            <p:ph type="title"/>
          </p:nvPr>
        </p:nvSpPr>
        <p:spPr>
          <a:xfrm>
            <a:off x="584984" y="457622"/>
            <a:ext cx="10746906" cy="553920"/>
          </a:xfrm>
          <a:noFill/>
          <a:ln>
            <a:noFill/>
            <a:prstDash/>
          </a:ln>
          <a:effectLst/>
        </p:spPr>
        <p:txBody>
          <a:bodyPr rot="0" spcFirstLastPara="0" vertOverflow="overflow" horzOverflow="overflow" vert="horz" wrap="square" lIns="0" tIns="45713" rIns="91427" bIns="45713" numCol="1" spcCol="0" rtlCol="0" fromWordArt="0" anchor="ctr" anchorCtr="0" forceAA="0" compatLnSpc="1">
            <a:prstTxWarp prst="textNoShape">
              <a:avLst/>
            </a:prstTxWarp>
            <a:no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gradFill>
                  <a:gsLst>
                    <a:gs pos="0">
                      <a:schemeClr val="tx1"/>
                    </a:gs>
                    <a:gs pos="100000">
                      <a:schemeClr val="tx1"/>
                    </a:gs>
                  </a:gsLst>
                  <a:lin ang="5400000" scaled="0"/>
                </a:gra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gradFill>
                  <a:gsLst>
                    <a:gs pos="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gradFill>
                  <a:gsLst>
                    <a:gs pos="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gradFill>
                  <a:gsLst>
                    <a:gs pos="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gradFill>
                  <a:gsLst>
                    <a:gs pos="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40">
              <a:lnSpc>
                <a:spcPct val="100000"/>
              </a:lnSpc>
              <a:spcBef>
                <a:spcPct val="0"/>
              </a:spcBef>
            </a:pPr>
            <a:r>
              <a:rPr lang="en-US" sz="3600" b="0">
                <a:solidFill>
                  <a:srgbClr val="225B61"/>
                </a:solidFill>
                <a:latin typeface="Segoe Sans Display"/>
                <a:ea typeface="+mj-ea"/>
                <a:cs typeface="Segoe Sans Display" pitchFamily="2" charset="0"/>
              </a:rPr>
              <a:t>Fabric leverages </a:t>
            </a:r>
            <a:r>
              <a:rPr lang="en-US" sz="3600" b="0" err="1">
                <a:solidFill>
                  <a:srgbClr val="225B61"/>
                </a:solidFill>
                <a:latin typeface="Segoe Sans Display"/>
                <a:ea typeface="+mj-ea"/>
                <a:cs typeface="Segoe Sans Display" pitchFamily="2" charset="0"/>
              </a:rPr>
              <a:t>Entra</a:t>
            </a:r>
            <a:r>
              <a:rPr lang="en-US" sz="3600" b="0">
                <a:solidFill>
                  <a:srgbClr val="225B61"/>
                </a:solidFill>
                <a:latin typeface="Segoe Sans Display"/>
                <a:ea typeface="+mj-ea"/>
                <a:cs typeface="Segoe Sans Display" pitchFamily="2" charset="0"/>
              </a:rPr>
              <a:t> ID for secure adaptive access</a:t>
            </a:r>
          </a:p>
        </p:txBody>
      </p:sp>
      <p:sp>
        <p:nvSpPr>
          <p:cNvPr id="3" name="Text Placeholder 2">
            <a:extLst>
              <a:ext uri="{FF2B5EF4-FFF2-40B4-BE49-F238E27FC236}">
                <a16:creationId xmlns:a16="http://schemas.microsoft.com/office/drawing/2014/main" id="{3937D854-17B1-49D7-8196-15035E506138}"/>
              </a:ext>
            </a:extLst>
          </p:cNvPr>
          <p:cNvSpPr>
            <a:spLocks noGrp="1"/>
          </p:cNvSpPr>
          <p:nvPr>
            <p:ph type="body" sz="quarter" idx="10"/>
          </p:nvPr>
        </p:nvSpPr>
        <p:spPr>
          <a:xfrm>
            <a:off x="551878" y="1053129"/>
            <a:ext cx="11020426" cy="301727"/>
          </a:xfrm>
        </p:spPr>
        <p:txBody>
          <a:bodyPr/>
          <a:lstStyle/>
          <a:p>
            <a:pPr algn="ctr">
              <a:defRPr/>
            </a:pPr>
            <a:r>
              <a:rPr lang="en-US" sz="1961">
                <a:gradFill>
                  <a:gsLst>
                    <a:gs pos="0">
                      <a:schemeClr val="tx2"/>
                    </a:gs>
                    <a:gs pos="100000">
                      <a:schemeClr val="accent2"/>
                    </a:gs>
                  </a:gsLst>
                  <a:lin ang="2700000" scaled="0"/>
                </a:gradFill>
              </a:rPr>
              <a:t>Protect access to resources and data with strong authentication and risk-based access policies</a:t>
            </a:r>
          </a:p>
        </p:txBody>
      </p:sp>
      <p:sp>
        <p:nvSpPr>
          <p:cNvPr id="44" name="TextBox 43">
            <a:extLst>
              <a:ext uri="{FF2B5EF4-FFF2-40B4-BE49-F238E27FC236}">
                <a16:creationId xmlns:a16="http://schemas.microsoft.com/office/drawing/2014/main" id="{D5599542-02D2-42A8-B248-E190CD828BF7}"/>
              </a:ext>
            </a:extLst>
          </p:cNvPr>
          <p:cNvSpPr txBox="1"/>
          <p:nvPr/>
        </p:nvSpPr>
        <p:spPr>
          <a:xfrm>
            <a:off x="586569" y="4423340"/>
            <a:ext cx="3481978" cy="664797"/>
          </a:xfrm>
          <a:prstGeom prst="rect">
            <a:avLst/>
          </a:prstGeom>
          <a:noFill/>
        </p:spPr>
        <p:txBody>
          <a:bodyPr wrap="square" lIns="0" tIns="0" rIns="0" bIns="0" rtlCol="0" anchor="t">
            <a:spAutoFit/>
          </a:bodyPr>
          <a:lstStyle/>
          <a:p>
            <a:pPr algn="ctr" defTabSz="914087">
              <a:lnSpc>
                <a:spcPct val="90000"/>
              </a:lnSpc>
              <a:buSzPct val="90000"/>
              <a:defRPr/>
            </a:pPr>
            <a:r>
              <a:rPr lang="en-US" sz="1600">
                <a:gradFill>
                  <a:gsLst>
                    <a:gs pos="83000">
                      <a:srgbClr val="000000"/>
                    </a:gs>
                    <a:gs pos="100000">
                      <a:srgbClr val="000000"/>
                    </a:gs>
                  </a:gsLst>
                  <a:lin ang="5400000" scaled="1"/>
                </a:gradFill>
                <a:latin typeface="Segoe UI Semibold"/>
                <a:cs typeface="Segoe UI"/>
              </a:rPr>
              <a:t>User-friendly multifactor authentication (MFA) and </a:t>
            </a:r>
            <a:r>
              <a:rPr lang="en-US" sz="1600" err="1">
                <a:gradFill>
                  <a:gsLst>
                    <a:gs pos="83000">
                      <a:srgbClr val="000000"/>
                    </a:gs>
                    <a:gs pos="100000">
                      <a:srgbClr val="000000"/>
                    </a:gs>
                  </a:gsLst>
                  <a:lin ang="5400000" scaled="1"/>
                </a:gradFill>
                <a:latin typeface="Segoe UI Semibold"/>
                <a:cs typeface="Segoe UI"/>
              </a:rPr>
              <a:t>Passwordless</a:t>
            </a:r>
            <a:r>
              <a:rPr lang="en-US" sz="1600">
                <a:gradFill>
                  <a:gsLst>
                    <a:gs pos="83000">
                      <a:srgbClr val="000000"/>
                    </a:gs>
                    <a:gs pos="100000">
                      <a:srgbClr val="000000"/>
                    </a:gs>
                  </a:gsLst>
                  <a:lin ang="5400000" scaled="1"/>
                </a:gradFill>
                <a:latin typeface="Segoe UI Semibold"/>
                <a:cs typeface="Segoe UI"/>
              </a:rPr>
              <a:t> authentication support</a:t>
            </a:r>
            <a:endParaRPr lang="en-US" sz="1600">
              <a:gradFill>
                <a:gsLst>
                  <a:gs pos="83000">
                    <a:srgbClr val="000000"/>
                  </a:gs>
                  <a:gs pos="100000">
                    <a:srgbClr val="000000"/>
                  </a:gs>
                </a:gsLst>
                <a:lin ang="5400000" scaled="1"/>
              </a:gradFill>
              <a:latin typeface="Segoe UI Semibold"/>
              <a:cs typeface="Segoe UI" pitchFamily="34" charset="0"/>
            </a:endParaRPr>
          </a:p>
        </p:txBody>
      </p:sp>
      <p:sp>
        <p:nvSpPr>
          <p:cNvPr id="45" name="TextBox 44">
            <a:extLst>
              <a:ext uri="{FF2B5EF4-FFF2-40B4-BE49-F238E27FC236}">
                <a16:creationId xmlns:a16="http://schemas.microsoft.com/office/drawing/2014/main" id="{8E9C227C-912E-4348-B10E-A84D3A42F917}"/>
              </a:ext>
            </a:extLst>
          </p:cNvPr>
          <p:cNvSpPr txBox="1"/>
          <p:nvPr/>
        </p:nvSpPr>
        <p:spPr>
          <a:xfrm>
            <a:off x="4494874" y="4423339"/>
            <a:ext cx="3268398" cy="687559"/>
          </a:xfrm>
          <a:prstGeom prst="rect">
            <a:avLst/>
          </a:prstGeom>
          <a:noFill/>
        </p:spPr>
        <p:txBody>
          <a:bodyPr wrap="square" lIns="0" tIns="0" rIns="0" bIns="0" rtlCol="0">
            <a:spAutoFit/>
          </a:bodyPr>
          <a:lstStyle/>
          <a:p>
            <a:pPr algn="ctr" defTabSz="914087">
              <a:lnSpc>
                <a:spcPct val="90000"/>
              </a:lnSpc>
              <a:buSzPct val="90000"/>
              <a:defRPr/>
            </a:pPr>
            <a:r>
              <a:rPr lang="en-US" sz="1600">
                <a:gradFill>
                  <a:gsLst>
                    <a:gs pos="83000">
                      <a:srgbClr val="000000"/>
                    </a:gs>
                    <a:gs pos="100000">
                      <a:srgbClr val="000000"/>
                    </a:gs>
                  </a:gsLst>
                  <a:lin ang="5400000" scaled="1"/>
                </a:gradFill>
                <a:latin typeface="Segoe UI Semibold"/>
                <a:cs typeface="Segoe UI" pitchFamily="34" charset="0"/>
              </a:rPr>
              <a:t>Configurable Conditional Access policies based on context </a:t>
            </a:r>
            <a:br>
              <a:rPr lang="en-US" sz="1600">
                <a:gradFill>
                  <a:gsLst>
                    <a:gs pos="83000">
                      <a:srgbClr val="000000"/>
                    </a:gs>
                    <a:gs pos="100000">
                      <a:srgbClr val="000000"/>
                    </a:gs>
                  </a:gsLst>
                  <a:lin ang="5400000" scaled="1"/>
                </a:gradFill>
                <a:latin typeface="Segoe UI Semibold"/>
                <a:cs typeface="Segoe UI" pitchFamily="34" charset="0"/>
              </a:rPr>
            </a:br>
            <a:r>
              <a:rPr lang="en-US" sz="1600">
                <a:gradFill>
                  <a:gsLst>
                    <a:gs pos="83000">
                      <a:srgbClr val="000000"/>
                    </a:gs>
                    <a:gs pos="100000">
                      <a:srgbClr val="000000"/>
                    </a:gs>
                  </a:gsLst>
                  <a:lin ang="5400000" scaled="1"/>
                </a:gradFill>
                <a:latin typeface="Segoe UI Semibold"/>
                <a:cs typeface="Segoe UI" pitchFamily="34" charset="0"/>
              </a:rPr>
              <a:t>and risk assessment </a:t>
            </a:r>
            <a:r>
              <a:rPr lang="en-US" sz="1730" i="1" baseline="30000"/>
              <a:t>1</a:t>
            </a:r>
            <a:endParaRPr lang="en-US" sz="1600">
              <a:gradFill>
                <a:gsLst>
                  <a:gs pos="83000">
                    <a:srgbClr val="000000"/>
                  </a:gs>
                  <a:gs pos="100000">
                    <a:srgbClr val="000000"/>
                  </a:gs>
                </a:gsLst>
                <a:lin ang="5400000" scaled="1"/>
              </a:gradFill>
              <a:latin typeface="Segoe UI Semibold"/>
              <a:cs typeface="Segoe UI" pitchFamily="34" charset="0"/>
            </a:endParaRPr>
          </a:p>
        </p:txBody>
      </p:sp>
      <p:sp>
        <p:nvSpPr>
          <p:cNvPr id="46" name="TextBox 45">
            <a:extLst>
              <a:ext uri="{FF2B5EF4-FFF2-40B4-BE49-F238E27FC236}">
                <a16:creationId xmlns:a16="http://schemas.microsoft.com/office/drawing/2014/main" id="{21B09151-7383-4662-9A63-635EAECD7F7D}"/>
              </a:ext>
            </a:extLst>
          </p:cNvPr>
          <p:cNvSpPr txBox="1"/>
          <p:nvPr/>
        </p:nvSpPr>
        <p:spPr>
          <a:xfrm>
            <a:off x="8189601" y="4423339"/>
            <a:ext cx="3415832" cy="687559"/>
          </a:xfrm>
          <a:prstGeom prst="rect">
            <a:avLst/>
          </a:prstGeom>
          <a:noFill/>
        </p:spPr>
        <p:txBody>
          <a:bodyPr wrap="square" lIns="0" tIns="0" rIns="0" bIns="0" rtlCol="0">
            <a:spAutoFit/>
          </a:bodyPr>
          <a:lstStyle/>
          <a:p>
            <a:pPr algn="ctr" defTabSz="914087">
              <a:lnSpc>
                <a:spcPct val="90000"/>
              </a:lnSpc>
              <a:buSzPct val="90000"/>
              <a:defRPr/>
            </a:pPr>
            <a:r>
              <a:rPr lang="en-US" sz="1600">
                <a:gradFill>
                  <a:gsLst>
                    <a:gs pos="83000">
                      <a:srgbClr val="000000"/>
                    </a:gs>
                    <a:gs pos="100000">
                      <a:srgbClr val="000000"/>
                    </a:gs>
                  </a:gsLst>
                  <a:lin ang="5400000" scaled="1"/>
                </a:gradFill>
                <a:latin typeface="Segoe UI Semibold"/>
                <a:cs typeface="Segoe UI" pitchFamily="34" charset="0"/>
              </a:rPr>
              <a:t>User and entity behavior analytics (UEBA) to automatically protect against identity compromise </a:t>
            </a:r>
            <a:r>
              <a:rPr lang="en-US" sz="1730" i="1" baseline="30000"/>
              <a:t>2</a:t>
            </a:r>
            <a:endParaRPr lang="en-US" sz="1600">
              <a:gradFill>
                <a:gsLst>
                  <a:gs pos="83000">
                    <a:srgbClr val="000000"/>
                  </a:gs>
                  <a:gs pos="100000">
                    <a:srgbClr val="000000"/>
                  </a:gs>
                </a:gsLst>
                <a:lin ang="5400000" scaled="1"/>
              </a:gradFill>
              <a:latin typeface="Segoe UI Semibold"/>
              <a:cs typeface="Segoe UI" pitchFamily="34" charset="0"/>
            </a:endParaRPr>
          </a:p>
        </p:txBody>
      </p:sp>
      <p:grpSp>
        <p:nvGrpSpPr>
          <p:cNvPr id="47" name="Group 46">
            <a:extLst>
              <a:ext uri="{FF2B5EF4-FFF2-40B4-BE49-F238E27FC236}">
                <a16:creationId xmlns:a16="http://schemas.microsoft.com/office/drawing/2014/main" id="{5EEB8F96-AD84-4670-AC45-579C275A57E0}"/>
              </a:ext>
              <a:ext uri="{C183D7F6-B498-43B3-948B-1728B52AA6E4}">
                <adec:decorative xmlns:adec="http://schemas.microsoft.com/office/drawing/2017/decorative" val="1"/>
              </a:ext>
            </a:extLst>
          </p:cNvPr>
          <p:cNvGrpSpPr/>
          <p:nvPr/>
        </p:nvGrpSpPr>
        <p:grpSpPr>
          <a:xfrm>
            <a:off x="1603265" y="2599097"/>
            <a:ext cx="1388502" cy="1388496"/>
            <a:chOff x="1602627" y="2598979"/>
            <a:chExt cx="1388699" cy="1388693"/>
          </a:xfrm>
          <a:solidFill>
            <a:schemeClr val="accent2"/>
          </a:solidFill>
        </p:grpSpPr>
        <p:sp>
          <p:nvSpPr>
            <p:cNvPr id="48" name="Oval 47">
              <a:extLst>
                <a:ext uri="{FF2B5EF4-FFF2-40B4-BE49-F238E27FC236}">
                  <a16:creationId xmlns:a16="http://schemas.microsoft.com/office/drawing/2014/main" id="{031F059A-4EF7-4A8F-8AB0-FC3AFB29B83F}"/>
                </a:ext>
              </a:extLst>
            </p:cNvPr>
            <p:cNvSpPr/>
            <p:nvPr/>
          </p:nvSpPr>
          <p:spPr bwMode="auto">
            <a:xfrm>
              <a:off x="1602627" y="2598979"/>
              <a:ext cx="1388699" cy="1388693"/>
            </a:xfrm>
            <a:prstGeom prst="ellipse">
              <a:avLst/>
            </a:prstGeom>
            <a:grp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defTabSz="932186" fontAlgn="base">
                <a:spcBef>
                  <a:spcPct val="0"/>
                </a:spcBef>
                <a:spcAft>
                  <a:spcPct val="0"/>
                </a:spcAft>
                <a:defRPr/>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49" name="Group 48">
              <a:extLst>
                <a:ext uri="{FF2B5EF4-FFF2-40B4-BE49-F238E27FC236}">
                  <a16:creationId xmlns:a16="http://schemas.microsoft.com/office/drawing/2014/main" id="{DF86A2E4-6145-424A-A679-E918CEA5ABA1}"/>
                </a:ext>
              </a:extLst>
            </p:cNvPr>
            <p:cNvGrpSpPr/>
            <p:nvPr/>
          </p:nvGrpSpPr>
          <p:grpSpPr>
            <a:xfrm>
              <a:off x="1915706" y="3060703"/>
              <a:ext cx="762541" cy="465245"/>
              <a:chOff x="1898821" y="3029529"/>
              <a:chExt cx="762541" cy="465245"/>
            </a:xfrm>
            <a:grpFill/>
          </p:grpSpPr>
          <p:sp>
            <p:nvSpPr>
              <p:cNvPr id="50" name="Devices3_EA6C">
                <a:extLst>
                  <a:ext uri="{FF2B5EF4-FFF2-40B4-BE49-F238E27FC236}">
                    <a16:creationId xmlns:a16="http://schemas.microsoft.com/office/drawing/2014/main" id="{288C48A8-8931-464B-A4C1-EA37F6051F9E}"/>
                  </a:ext>
                </a:extLst>
              </p:cNvPr>
              <p:cNvSpPr>
                <a:spLocks noChangeAspect="1" noEditPoints="1"/>
              </p:cNvSpPr>
              <p:nvPr/>
            </p:nvSpPr>
            <p:spPr bwMode="auto">
              <a:xfrm>
                <a:off x="1898821" y="3029529"/>
                <a:ext cx="587526" cy="407026"/>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grpFill/>
              <a:ln w="15875" cap="sq">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882" kern="0">
                  <a:gradFill>
                    <a:gsLst>
                      <a:gs pos="0">
                        <a:srgbClr val="505050"/>
                      </a:gs>
                      <a:gs pos="100000">
                        <a:srgbClr val="505050"/>
                      </a:gs>
                    </a:gsLst>
                  </a:gradFill>
                </a:endParaRPr>
              </a:p>
            </p:txBody>
          </p:sp>
          <p:grpSp>
            <p:nvGrpSpPr>
              <p:cNvPr id="51" name="Group 50">
                <a:extLst>
                  <a:ext uri="{FF2B5EF4-FFF2-40B4-BE49-F238E27FC236}">
                    <a16:creationId xmlns:a16="http://schemas.microsoft.com/office/drawing/2014/main" id="{A8CB883D-D8EE-4D9B-B654-FA0CE0BE2D6A}"/>
                  </a:ext>
                </a:extLst>
              </p:cNvPr>
              <p:cNvGrpSpPr/>
              <p:nvPr/>
            </p:nvGrpSpPr>
            <p:grpSpPr>
              <a:xfrm>
                <a:off x="2311953" y="3148299"/>
                <a:ext cx="349409" cy="346475"/>
                <a:chOff x="7919361" y="6258105"/>
                <a:chExt cx="349409" cy="346475"/>
              </a:xfrm>
              <a:grpFill/>
            </p:grpSpPr>
            <p:sp>
              <p:nvSpPr>
                <p:cNvPr id="52" name="Oval 51">
                  <a:extLst>
                    <a:ext uri="{FF2B5EF4-FFF2-40B4-BE49-F238E27FC236}">
                      <a16:creationId xmlns:a16="http://schemas.microsoft.com/office/drawing/2014/main" id="{44B1A9DD-7732-4094-ABA9-A2C1E50A6783}"/>
                    </a:ext>
                  </a:extLst>
                </p:cNvPr>
                <p:cNvSpPr/>
                <p:nvPr/>
              </p:nvSpPr>
              <p:spPr bwMode="auto">
                <a:xfrm>
                  <a:off x="7919361" y="6258105"/>
                  <a:ext cx="346450" cy="34645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check 3">
                  <a:extLst>
                    <a:ext uri="{FF2B5EF4-FFF2-40B4-BE49-F238E27FC236}">
                      <a16:creationId xmlns:a16="http://schemas.microsoft.com/office/drawing/2014/main" id="{DAF17DE5-F3AE-4DC3-B96B-A7A6892DDF97}"/>
                    </a:ext>
                  </a:extLst>
                </p:cNvPr>
                <p:cNvSpPr>
                  <a:spLocks noChangeAspect="1" noEditPoints="1"/>
                </p:cNvSpPr>
                <p:nvPr/>
              </p:nvSpPr>
              <p:spPr bwMode="auto">
                <a:xfrm>
                  <a:off x="7951141" y="6288793"/>
                  <a:ext cx="317629" cy="315787"/>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grpFill/>
                <a:ln w="15875" cap="sq">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29" kern="0">
                    <a:solidFill>
                      <a:srgbClr val="000000"/>
                    </a:solidFill>
                  </a:endParaRPr>
                </a:p>
              </p:txBody>
            </p:sp>
          </p:grpSp>
        </p:grpSp>
      </p:grpSp>
      <p:grpSp>
        <p:nvGrpSpPr>
          <p:cNvPr id="54" name="Group 53">
            <a:extLst>
              <a:ext uri="{FF2B5EF4-FFF2-40B4-BE49-F238E27FC236}">
                <a16:creationId xmlns:a16="http://schemas.microsoft.com/office/drawing/2014/main" id="{0F905D7B-3B0D-49F0-BB55-8F64F08226D4}"/>
              </a:ext>
              <a:ext uri="{C183D7F6-B498-43B3-948B-1728B52AA6E4}">
                <adec:decorative xmlns:adec="http://schemas.microsoft.com/office/drawing/2017/decorative" val="1"/>
              </a:ext>
            </a:extLst>
          </p:cNvPr>
          <p:cNvGrpSpPr/>
          <p:nvPr/>
        </p:nvGrpSpPr>
        <p:grpSpPr>
          <a:xfrm>
            <a:off x="5367840" y="2599097"/>
            <a:ext cx="1388502" cy="1388496"/>
            <a:chOff x="5367736" y="2598979"/>
            <a:chExt cx="1388699" cy="1388693"/>
          </a:xfrm>
          <a:solidFill>
            <a:schemeClr val="accent2"/>
          </a:solidFill>
        </p:grpSpPr>
        <p:sp>
          <p:nvSpPr>
            <p:cNvPr id="55" name="Oval 54">
              <a:extLst>
                <a:ext uri="{FF2B5EF4-FFF2-40B4-BE49-F238E27FC236}">
                  <a16:creationId xmlns:a16="http://schemas.microsoft.com/office/drawing/2014/main" id="{F6C47251-E439-4F08-868B-61FB4553CC8E}"/>
                </a:ext>
              </a:extLst>
            </p:cNvPr>
            <p:cNvSpPr/>
            <p:nvPr/>
          </p:nvSpPr>
          <p:spPr bwMode="auto">
            <a:xfrm>
              <a:off x="5367736" y="2598979"/>
              <a:ext cx="1388699" cy="1388693"/>
            </a:xfrm>
            <a:prstGeom prst="ellipse">
              <a:avLst/>
            </a:prstGeom>
            <a:grp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defTabSz="932186" fontAlgn="base">
                <a:spcBef>
                  <a:spcPct val="0"/>
                </a:spcBef>
                <a:spcAft>
                  <a:spcPct val="0"/>
                </a:spcAft>
                <a:defRPr/>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56" name="Group 55">
              <a:extLst>
                <a:ext uri="{FF2B5EF4-FFF2-40B4-BE49-F238E27FC236}">
                  <a16:creationId xmlns:a16="http://schemas.microsoft.com/office/drawing/2014/main" id="{9266CA97-A289-435A-B7DD-6A5AF761FFD6}"/>
                </a:ext>
              </a:extLst>
            </p:cNvPr>
            <p:cNvGrpSpPr/>
            <p:nvPr/>
          </p:nvGrpSpPr>
          <p:grpSpPr>
            <a:xfrm>
              <a:off x="5677368" y="3029705"/>
              <a:ext cx="769434" cy="527240"/>
              <a:chOff x="5597319" y="2954953"/>
              <a:chExt cx="962621" cy="659618"/>
            </a:xfrm>
            <a:grpFill/>
          </p:grpSpPr>
          <p:sp>
            <p:nvSpPr>
              <p:cNvPr id="57" name="list_4">
                <a:extLst>
                  <a:ext uri="{FF2B5EF4-FFF2-40B4-BE49-F238E27FC236}">
                    <a16:creationId xmlns:a16="http://schemas.microsoft.com/office/drawing/2014/main" id="{5C884903-B762-464D-817B-8D596EE98379}"/>
                  </a:ext>
                </a:extLst>
              </p:cNvPr>
              <p:cNvSpPr>
                <a:spLocks noChangeAspect="1" noEditPoints="1"/>
              </p:cNvSpPr>
              <p:nvPr/>
            </p:nvSpPr>
            <p:spPr bwMode="auto">
              <a:xfrm>
                <a:off x="5683386" y="2954953"/>
                <a:ext cx="876554" cy="592454"/>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grpFill/>
              <a:ln w="15875" cap="flat">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29" kern="0">
                  <a:solidFill>
                    <a:srgbClr val="000000"/>
                  </a:solidFill>
                </a:endParaRPr>
              </a:p>
            </p:txBody>
          </p:sp>
          <p:sp>
            <p:nvSpPr>
              <p:cNvPr id="58" name="Rectangle 57">
                <a:extLst>
                  <a:ext uri="{FF2B5EF4-FFF2-40B4-BE49-F238E27FC236}">
                    <a16:creationId xmlns:a16="http://schemas.microsoft.com/office/drawing/2014/main" id="{CC06DC3D-F715-4ED5-B8D7-1AAE5CEFAEB6}"/>
                  </a:ext>
                </a:extLst>
              </p:cNvPr>
              <p:cNvSpPr/>
              <p:nvPr/>
            </p:nvSpPr>
            <p:spPr bwMode="auto">
              <a:xfrm>
                <a:off x="5597319" y="3189476"/>
                <a:ext cx="370137" cy="2995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Warning_E7BA">
                <a:extLst>
                  <a:ext uri="{FF2B5EF4-FFF2-40B4-BE49-F238E27FC236}">
                    <a16:creationId xmlns:a16="http://schemas.microsoft.com/office/drawing/2014/main" id="{3CB288CF-156C-4B95-A812-AC46FBC07FE8}"/>
                  </a:ext>
                </a:extLst>
              </p:cNvPr>
              <p:cNvSpPr>
                <a:spLocks noChangeAspect="1" noEditPoints="1"/>
              </p:cNvSpPr>
              <p:nvPr/>
            </p:nvSpPr>
            <p:spPr bwMode="auto">
              <a:xfrm>
                <a:off x="5683386" y="3421874"/>
                <a:ext cx="192599" cy="192697"/>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grpFill/>
              <a:ln w="15875" cap="sq">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29" kern="0">
                  <a:gradFill>
                    <a:gsLst>
                      <a:gs pos="0">
                        <a:srgbClr val="505050"/>
                      </a:gs>
                      <a:gs pos="100000">
                        <a:srgbClr val="505050"/>
                      </a:gs>
                    </a:gsLst>
                    <a:lin ang="5400000" scaled="1"/>
                  </a:gradFill>
                </a:endParaRPr>
              </a:p>
            </p:txBody>
          </p:sp>
          <p:sp>
            <p:nvSpPr>
              <p:cNvPr id="60" name="plus">
                <a:extLst>
                  <a:ext uri="{FF2B5EF4-FFF2-40B4-BE49-F238E27FC236}">
                    <a16:creationId xmlns:a16="http://schemas.microsoft.com/office/drawing/2014/main" id="{C6A7F505-56F3-4BDB-9312-D71AF44C52ED}"/>
                  </a:ext>
                </a:extLst>
              </p:cNvPr>
              <p:cNvSpPr>
                <a:spLocks noChangeAspect="1" noEditPoints="1"/>
              </p:cNvSpPr>
              <p:nvPr/>
            </p:nvSpPr>
            <p:spPr bwMode="auto">
              <a:xfrm rot="2700000">
                <a:off x="5666100" y="3175160"/>
                <a:ext cx="214668" cy="21466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grpFill/>
              <a:ln w="15875" cap="sq">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29" kern="0">
                  <a:gradFill>
                    <a:gsLst>
                      <a:gs pos="0">
                        <a:srgbClr val="505050"/>
                      </a:gs>
                      <a:gs pos="100000">
                        <a:srgbClr val="505050"/>
                      </a:gs>
                    </a:gsLst>
                    <a:lin ang="5400000" scaled="1"/>
                  </a:gradFill>
                </a:endParaRPr>
              </a:p>
            </p:txBody>
          </p:sp>
        </p:grpSp>
      </p:grpSp>
      <p:grpSp>
        <p:nvGrpSpPr>
          <p:cNvPr id="61" name="Group 60">
            <a:extLst>
              <a:ext uri="{FF2B5EF4-FFF2-40B4-BE49-F238E27FC236}">
                <a16:creationId xmlns:a16="http://schemas.microsoft.com/office/drawing/2014/main" id="{FA14A633-3472-4986-8436-B70D55FF9E0B}"/>
              </a:ext>
              <a:ext uri="{C183D7F6-B498-43B3-948B-1728B52AA6E4}">
                <adec:decorative xmlns:adec="http://schemas.microsoft.com/office/drawing/2017/decorative" val="1"/>
              </a:ext>
            </a:extLst>
          </p:cNvPr>
          <p:cNvGrpSpPr/>
          <p:nvPr/>
        </p:nvGrpSpPr>
        <p:grpSpPr>
          <a:xfrm>
            <a:off x="9099343" y="2599097"/>
            <a:ext cx="1388502" cy="1388496"/>
            <a:chOff x="9099768" y="2598979"/>
            <a:chExt cx="1388699" cy="1388693"/>
          </a:xfrm>
          <a:solidFill>
            <a:schemeClr val="accent2"/>
          </a:solidFill>
        </p:grpSpPr>
        <p:sp>
          <p:nvSpPr>
            <p:cNvPr id="62" name="Oval 61">
              <a:extLst>
                <a:ext uri="{FF2B5EF4-FFF2-40B4-BE49-F238E27FC236}">
                  <a16:creationId xmlns:a16="http://schemas.microsoft.com/office/drawing/2014/main" id="{62E3DE71-E49C-4E33-9F16-8BD8C65D7AC6}"/>
                </a:ext>
              </a:extLst>
            </p:cNvPr>
            <p:cNvSpPr/>
            <p:nvPr/>
          </p:nvSpPr>
          <p:spPr bwMode="auto">
            <a:xfrm>
              <a:off x="9099768" y="2598979"/>
              <a:ext cx="1388699" cy="1388693"/>
            </a:xfrm>
            <a:prstGeom prst="ellipse">
              <a:avLst/>
            </a:prstGeom>
            <a:grp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defTabSz="932186" fontAlgn="base">
                <a:spcBef>
                  <a:spcPct val="0"/>
                </a:spcBef>
                <a:spcAft>
                  <a:spcPct val="0"/>
                </a:spcAft>
                <a:defRPr/>
              </a:pPr>
              <a:endParaRPr lang="en-US" sz="2000" err="1">
                <a:gradFill>
                  <a:gsLst>
                    <a:gs pos="0">
                      <a:srgbClr val="FFFFFF"/>
                    </a:gs>
                    <a:gs pos="100000">
                      <a:srgbClr val="FFFFFF"/>
                    </a:gs>
                  </a:gsLst>
                  <a:lin ang="5400000" scaled="0"/>
                </a:gradFill>
                <a:latin typeface="Segoe UI"/>
                <a:cs typeface="Segoe UI" pitchFamily="34" charset="0"/>
              </a:endParaRPr>
            </a:p>
          </p:txBody>
        </p:sp>
        <p:grpSp>
          <p:nvGrpSpPr>
            <p:cNvPr id="63" name="Group 62">
              <a:extLst>
                <a:ext uri="{FF2B5EF4-FFF2-40B4-BE49-F238E27FC236}">
                  <a16:creationId xmlns:a16="http://schemas.microsoft.com/office/drawing/2014/main" id="{81123C44-71ED-4F9C-9F8A-B4407B09AD20}"/>
                </a:ext>
              </a:extLst>
            </p:cNvPr>
            <p:cNvGrpSpPr/>
            <p:nvPr/>
          </p:nvGrpSpPr>
          <p:grpSpPr>
            <a:xfrm>
              <a:off x="9494980" y="2898387"/>
              <a:ext cx="598275" cy="789877"/>
              <a:chOff x="9539132" y="1613008"/>
              <a:chExt cx="598275" cy="789877"/>
            </a:xfrm>
            <a:grpFill/>
          </p:grpSpPr>
          <p:sp>
            <p:nvSpPr>
              <p:cNvPr id="64" name="people_4">
                <a:extLst>
                  <a:ext uri="{FF2B5EF4-FFF2-40B4-BE49-F238E27FC236}">
                    <a16:creationId xmlns:a16="http://schemas.microsoft.com/office/drawing/2014/main" id="{036F3893-E011-4934-B1F1-395AB98F5019}"/>
                  </a:ext>
                </a:extLst>
              </p:cNvPr>
              <p:cNvSpPr>
                <a:spLocks noChangeAspect="1" noEditPoints="1"/>
              </p:cNvSpPr>
              <p:nvPr/>
            </p:nvSpPr>
            <p:spPr bwMode="auto">
              <a:xfrm>
                <a:off x="9539132" y="1613008"/>
                <a:ext cx="478633" cy="53510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5875" cap="sq">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1729" kern="0">
                  <a:solidFill>
                    <a:srgbClr val="000000"/>
                  </a:solidFill>
                </a:endParaRPr>
              </a:p>
            </p:txBody>
          </p:sp>
          <p:sp>
            <p:nvSpPr>
              <p:cNvPr id="65" name="Rectangle 64">
                <a:extLst>
                  <a:ext uri="{FF2B5EF4-FFF2-40B4-BE49-F238E27FC236}">
                    <a16:creationId xmlns:a16="http://schemas.microsoft.com/office/drawing/2014/main" id="{3ED0919A-CBF7-4E21-93BF-C5B4AB5B2DCA}"/>
                  </a:ext>
                </a:extLst>
              </p:cNvPr>
              <p:cNvSpPr/>
              <p:nvPr/>
            </p:nvSpPr>
            <p:spPr bwMode="auto">
              <a:xfrm rot="2793313">
                <a:off x="9963196" y="2047754"/>
                <a:ext cx="108534" cy="15358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6" name="Financial_E7BB">
                <a:extLst>
                  <a:ext uri="{FF2B5EF4-FFF2-40B4-BE49-F238E27FC236}">
                    <a16:creationId xmlns:a16="http://schemas.microsoft.com/office/drawing/2014/main" id="{2249B06E-C5E0-4680-83DA-27CA861B244F}"/>
                  </a:ext>
                </a:extLst>
              </p:cNvPr>
              <p:cNvSpPr>
                <a:spLocks noChangeAspect="1" noEditPoints="1"/>
              </p:cNvSpPr>
              <p:nvPr/>
            </p:nvSpPr>
            <p:spPr bwMode="auto">
              <a:xfrm>
                <a:off x="9735437" y="2044315"/>
                <a:ext cx="401970" cy="35857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grpFill/>
              <a:ln w="15875" cap="flat">
                <a:solidFill>
                  <a:schemeClr val="bg1"/>
                </a:solidFill>
                <a:prstDash val="solid"/>
                <a:miter lim="800000"/>
                <a:headEnd/>
                <a:tailEnd/>
              </a:ln>
            </p:spPr>
            <p:txBody>
              <a:bodyPr vert="horz" wrap="square" lIns="89630" tIns="44814" rIns="89630" bIns="44814" numCol="1" anchor="t" anchorCtr="0" compatLnSpc="1">
                <a:prstTxWarp prst="textNoShape">
                  <a:avLst/>
                </a:prstTxWarp>
              </a:bodyPr>
              <a:lstStyle/>
              <a:p>
                <a:pPr defTabSz="914192">
                  <a:defRPr/>
                </a:pPr>
                <a:endParaRPr lang="en-US" sz="882" kern="0">
                  <a:gradFill>
                    <a:gsLst>
                      <a:gs pos="0">
                        <a:srgbClr val="505050"/>
                      </a:gs>
                      <a:gs pos="100000">
                        <a:srgbClr val="505050"/>
                      </a:gs>
                    </a:gsLst>
                    <a:lin ang="5400000" scaled="1"/>
                  </a:gradFill>
                </a:endParaRPr>
              </a:p>
            </p:txBody>
          </p:sp>
        </p:grpSp>
      </p:grpSp>
      <p:sp>
        <p:nvSpPr>
          <p:cNvPr id="2" name="Rectangle 1">
            <a:extLst>
              <a:ext uri="{FF2B5EF4-FFF2-40B4-BE49-F238E27FC236}">
                <a16:creationId xmlns:a16="http://schemas.microsoft.com/office/drawing/2014/main" id="{538A96F9-2583-D572-4F2C-1649CB417B5C}"/>
              </a:ext>
            </a:extLst>
          </p:cNvPr>
          <p:cNvSpPr/>
          <p:nvPr/>
        </p:nvSpPr>
        <p:spPr bwMode="auto">
          <a:xfrm>
            <a:off x="2361149" y="6473650"/>
            <a:ext cx="3578344" cy="21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14225">
              <a:spcBef>
                <a:spcPts val="1200"/>
              </a:spcBef>
              <a:buClr>
                <a:srgbClr val="000000"/>
              </a:buClr>
              <a:buSzPct val="100000"/>
              <a:defRPr/>
            </a:pPr>
            <a:r>
              <a:rPr lang="en-US" sz="1400" i="1" baseline="30000">
                <a:solidFill>
                  <a:schemeClr val="tx1"/>
                </a:solidFill>
                <a:latin typeface="+mj-lt"/>
              </a:rPr>
              <a:t>1</a:t>
            </a:r>
            <a:r>
              <a:rPr lang="en-US" sz="1400" i="1">
                <a:solidFill>
                  <a:schemeClr val="tx1"/>
                </a:solidFill>
                <a:latin typeface="+mj-lt"/>
              </a:rPr>
              <a:t>Microsoft </a:t>
            </a:r>
            <a:r>
              <a:rPr lang="en-US" sz="1400" i="1" err="1">
                <a:solidFill>
                  <a:schemeClr val="tx1"/>
                </a:solidFill>
                <a:latin typeface="+mj-lt"/>
              </a:rPr>
              <a:t>Entra</a:t>
            </a:r>
            <a:r>
              <a:rPr lang="en-US" sz="1400" i="1">
                <a:solidFill>
                  <a:schemeClr val="tx1"/>
                </a:solidFill>
                <a:latin typeface="+mj-lt"/>
              </a:rPr>
              <a:t> ID P1 \ E3 license required</a:t>
            </a:r>
          </a:p>
        </p:txBody>
      </p:sp>
      <p:pic>
        <p:nvPicPr>
          <p:cNvPr id="4" name="Picture 3" descr="Microsoft 365">
            <a:extLst>
              <a:ext uri="{FF2B5EF4-FFF2-40B4-BE49-F238E27FC236}">
                <a16:creationId xmlns:a16="http://schemas.microsoft.com/office/drawing/2014/main" id="{C9A7BC14-EDFC-4D78-FD83-3ACB7E25022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25335" y="6444564"/>
            <a:ext cx="248969" cy="273592"/>
          </a:xfrm>
          <a:prstGeom prst="rect">
            <a:avLst/>
          </a:prstGeom>
        </p:spPr>
      </p:pic>
      <p:sp>
        <p:nvSpPr>
          <p:cNvPr id="5" name="Rectangle 4">
            <a:extLst>
              <a:ext uri="{FF2B5EF4-FFF2-40B4-BE49-F238E27FC236}">
                <a16:creationId xmlns:a16="http://schemas.microsoft.com/office/drawing/2014/main" id="{FB45F542-85CA-AAD8-4DDC-DD6EAFB4ADB2}"/>
              </a:ext>
            </a:extLst>
          </p:cNvPr>
          <p:cNvSpPr/>
          <p:nvPr/>
        </p:nvSpPr>
        <p:spPr bwMode="auto">
          <a:xfrm>
            <a:off x="6272305" y="6473650"/>
            <a:ext cx="3512551" cy="2154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14225">
              <a:spcBef>
                <a:spcPts val="1200"/>
              </a:spcBef>
              <a:buClr>
                <a:srgbClr val="000000"/>
              </a:buClr>
              <a:buSzPct val="100000"/>
              <a:defRPr/>
            </a:pPr>
            <a:r>
              <a:rPr lang="en-US" sz="1400" i="1" baseline="30000">
                <a:solidFill>
                  <a:schemeClr val="tx1"/>
                </a:solidFill>
                <a:latin typeface="+mj-lt"/>
              </a:rPr>
              <a:t>2</a:t>
            </a:r>
            <a:r>
              <a:rPr lang="en-US" sz="1400" i="1">
                <a:solidFill>
                  <a:schemeClr val="tx1"/>
                </a:solidFill>
                <a:latin typeface="+mj-lt"/>
              </a:rPr>
              <a:t>Microsoft </a:t>
            </a:r>
            <a:r>
              <a:rPr lang="en-US" sz="1400" i="1" err="1">
                <a:solidFill>
                  <a:schemeClr val="tx1"/>
                </a:solidFill>
                <a:latin typeface="+mj-lt"/>
              </a:rPr>
              <a:t>Entra</a:t>
            </a:r>
            <a:r>
              <a:rPr lang="en-US" sz="1400" i="1">
                <a:solidFill>
                  <a:schemeClr val="tx1"/>
                </a:solidFill>
                <a:latin typeface="+mj-lt"/>
              </a:rPr>
              <a:t> ID P2 \ E5 license required</a:t>
            </a:r>
          </a:p>
        </p:txBody>
      </p:sp>
      <p:sp>
        <p:nvSpPr>
          <p:cNvPr id="6" name="TextBox 5">
            <a:extLst>
              <a:ext uri="{FF2B5EF4-FFF2-40B4-BE49-F238E27FC236}">
                <a16:creationId xmlns:a16="http://schemas.microsoft.com/office/drawing/2014/main" id="{DF478567-5AC5-1C8D-9F3D-1016DD347BEE}"/>
              </a:ext>
            </a:extLst>
          </p:cNvPr>
          <p:cNvSpPr txBox="1"/>
          <p:nvPr/>
        </p:nvSpPr>
        <p:spPr>
          <a:xfrm>
            <a:off x="42507" y="6444564"/>
            <a:ext cx="2120641" cy="363946"/>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2946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42" presetClass="path" presetSubtype="0" decel="100000" fill="hold" nodeType="withEffect">
                                  <p:stCondLst>
                                    <p:cond delay="0"/>
                                  </p:stCondLst>
                                  <p:childTnLst>
                                    <p:animMotion origin="layout" path="M 1.94444E-6 0.03889 L 1.94444E-6 3.08642E-6 " pathEditMode="relative" rAng="0" ptsTypes="AA">
                                      <p:cBhvr>
                                        <p:cTn id="9" dur="500" fill="hold"/>
                                        <p:tgtEl>
                                          <p:spTgt spid="47"/>
                                        </p:tgtEl>
                                        <p:attrNameLst>
                                          <p:attrName>ppt_x</p:attrName>
                                          <p:attrName>ppt_y</p:attrName>
                                        </p:attrNameLst>
                                      </p:cBhvr>
                                      <p:rCtr x="0" y="-1944"/>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42" presetClass="path" presetSubtype="0" decel="100000" fill="hold" grpId="1" nodeType="withEffect">
                                  <p:stCondLst>
                                    <p:cond delay="0"/>
                                  </p:stCondLst>
                                  <p:childTnLst>
                                    <p:animMotion origin="layout" path="M 1.94444E-6 0.03888 L 1.94444E-6 3.95062E-6 " pathEditMode="relative" rAng="0" ptsTypes="AA">
                                      <p:cBhvr>
                                        <p:cTn id="14" dur="500" fill="hold"/>
                                        <p:tgtEl>
                                          <p:spTgt spid="44"/>
                                        </p:tgtEl>
                                        <p:attrNameLst>
                                          <p:attrName>ppt_x</p:attrName>
                                          <p:attrName>ppt_y</p:attrName>
                                        </p:attrNameLst>
                                      </p:cBhvr>
                                      <p:rCtr x="0" y="-1944"/>
                                    </p:animMotion>
                                  </p:childTnLst>
                                </p:cTn>
                              </p:par>
                              <p:par>
                                <p:cTn id="15" presetID="10" presetClass="entr" presetSubtype="0" fill="hold" nodeType="withEffect">
                                  <p:stCondLst>
                                    <p:cond delay="25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par>
                                <p:cTn id="18" presetID="42" presetClass="path" presetSubtype="0" decel="100000" fill="hold" nodeType="withEffect">
                                  <p:stCondLst>
                                    <p:cond delay="250"/>
                                  </p:stCondLst>
                                  <p:childTnLst>
                                    <p:animMotion origin="layout" path="M 1.94444E-6 0.03889 L 1.94444E-6 3.08642E-6 " pathEditMode="relative" rAng="0" ptsTypes="AA">
                                      <p:cBhvr>
                                        <p:cTn id="19" dur="500" fill="hold"/>
                                        <p:tgtEl>
                                          <p:spTgt spid="54"/>
                                        </p:tgtEl>
                                        <p:attrNameLst>
                                          <p:attrName>ppt_x</p:attrName>
                                          <p:attrName>ppt_y</p:attrName>
                                        </p:attrNameLst>
                                      </p:cBhvr>
                                      <p:rCtr x="0" y="-1944"/>
                                    </p:animMotion>
                                  </p:childTnLst>
                                </p:cTn>
                              </p:par>
                              <p:par>
                                <p:cTn id="20" presetID="10" presetClass="entr" presetSubtype="0" fill="hold" grpId="0" nodeType="withEffect">
                                  <p:stCondLst>
                                    <p:cond delay="25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42" presetClass="path" presetSubtype="0" decel="100000" fill="hold" grpId="1" nodeType="withEffect">
                                  <p:stCondLst>
                                    <p:cond delay="250"/>
                                  </p:stCondLst>
                                  <p:childTnLst>
                                    <p:animMotion origin="layout" path="M -4.16667E-6 0.03889 L -4.16667E-6 2.96296E-6 " pathEditMode="relative" rAng="0" ptsTypes="AA">
                                      <p:cBhvr>
                                        <p:cTn id="24" dur="500" fill="hold"/>
                                        <p:tgtEl>
                                          <p:spTgt spid="45"/>
                                        </p:tgtEl>
                                        <p:attrNameLst>
                                          <p:attrName>ppt_x</p:attrName>
                                          <p:attrName>ppt_y</p:attrName>
                                        </p:attrNameLst>
                                      </p:cBhvr>
                                      <p:rCtr x="0" y="-1944"/>
                                    </p:animMotion>
                                  </p:childTnLst>
                                </p:cTn>
                              </p:par>
                              <p:par>
                                <p:cTn id="25" presetID="10" presetClass="entr" presetSubtype="0" fill="hold" nodeType="withEffect">
                                  <p:stCondLst>
                                    <p:cond delay="50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par>
                                <p:cTn id="28" presetID="42" presetClass="path" presetSubtype="0" decel="100000" fill="hold" nodeType="withEffect">
                                  <p:stCondLst>
                                    <p:cond delay="500"/>
                                  </p:stCondLst>
                                  <p:childTnLst>
                                    <p:animMotion origin="layout" path="M 1.94444E-6 0.03889 L 1.94444E-6 3.08642E-6 " pathEditMode="relative" rAng="0" ptsTypes="AA">
                                      <p:cBhvr>
                                        <p:cTn id="29" dur="500" fill="hold"/>
                                        <p:tgtEl>
                                          <p:spTgt spid="61"/>
                                        </p:tgtEl>
                                        <p:attrNameLst>
                                          <p:attrName>ppt_x</p:attrName>
                                          <p:attrName>ppt_y</p:attrName>
                                        </p:attrNameLst>
                                      </p:cBhvr>
                                      <p:rCtr x="0" y="-1944"/>
                                    </p:animMotion>
                                  </p:childTnLst>
                                </p:cTn>
                              </p:par>
                              <p:par>
                                <p:cTn id="30" presetID="10" presetClass="entr" presetSubtype="0" fill="hold" grpId="0" nodeType="withEffect">
                                  <p:stCondLst>
                                    <p:cond delay="50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42" presetClass="path" presetSubtype="0" decel="100000" fill="hold" grpId="1" nodeType="withEffect">
                                  <p:stCondLst>
                                    <p:cond delay="500"/>
                                  </p:stCondLst>
                                  <p:childTnLst>
                                    <p:animMotion origin="layout" path="M 1.94444E-6 0.03889 L 1.94444E-6 3.08642E-6 " pathEditMode="relative" rAng="0" ptsTypes="AA">
                                      <p:cBhvr>
                                        <p:cTn id="34" dur="500" fill="hold"/>
                                        <p:tgtEl>
                                          <p:spTgt spid="46"/>
                                        </p:tgtEl>
                                        <p:attrNameLst>
                                          <p:attrName>ppt_x</p:attrName>
                                          <p:attrName>ppt_y</p:attrName>
                                        </p:attrNameLst>
                                      </p:cBhvr>
                                      <p:rCtr x="0" y="-1944"/>
                                    </p:animMotion>
                                  </p:childTnLst>
                                </p:cTn>
                              </p:par>
                              <p:par>
                                <p:cTn id="35" presetID="10" presetClass="entr" presetSubtype="0" fill="hold" nodeType="with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par>
                                <p:cTn id="38" presetID="42" presetClass="path" presetSubtype="0" decel="100000" fill="hold" nodeType="withEffect">
                                  <p:stCondLst>
                                    <p:cond delay="0"/>
                                  </p:stCondLst>
                                  <p:childTnLst>
                                    <p:animMotion origin="layout" path="M 3.54167E-6 4.44444E-6 L 3.54167E-6 0.03541 " pathEditMode="relative" rAng="0" ptsTypes="AA">
                                      <p:cBhvr>
                                        <p:cTn id="39"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45" grpId="0"/>
      <p:bldP spid="45" grpId="1"/>
      <p:bldP spid="46" grpId="0"/>
      <p:bldP spid="46"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D0D21C-2A74-F6F2-9D01-4D022690BB33}"/>
              </a:ext>
            </a:extLst>
          </p:cNvPr>
          <p:cNvSpPr>
            <a:spLocks noGrp="1"/>
          </p:cNvSpPr>
          <p:nvPr>
            <p:ph type="body" sz="quarter" idx="23"/>
          </p:nvPr>
        </p:nvSpPr>
        <p:spPr>
          <a:xfrm>
            <a:off x="619053" y="417304"/>
            <a:ext cx="10974592" cy="593740"/>
          </a:xfrm>
        </p:spPr>
        <p:txBody>
          <a:bodyPr/>
          <a:lstStyle/>
          <a:p>
            <a:r>
              <a:rPr lang="en-US" sz="3600" b="0">
                <a:solidFill>
                  <a:srgbClr val="225B61"/>
                </a:solidFill>
                <a:latin typeface="Segoe Sans Display"/>
                <a:cs typeface="Segoe Sans Display" pitchFamily="2" charset="0"/>
              </a:rPr>
              <a:t>Conditional Access Policies</a:t>
            </a:r>
          </a:p>
        </p:txBody>
      </p:sp>
      <p:sp>
        <p:nvSpPr>
          <p:cNvPr id="4" name="Footer Placeholder 3">
            <a:extLst>
              <a:ext uri="{FF2B5EF4-FFF2-40B4-BE49-F238E27FC236}">
                <a16:creationId xmlns:a16="http://schemas.microsoft.com/office/drawing/2014/main" id="{67CBFD1C-FC00-32B0-CAEC-A60217A9F2A4}"/>
              </a:ext>
            </a:extLst>
          </p:cNvPr>
          <p:cNvSpPr>
            <a:spLocks noGrp="1"/>
          </p:cNvSpPr>
          <p:nvPr>
            <p:ph type="ftr" sz="quarter" idx="24"/>
          </p:nvPr>
        </p:nvSpPr>
        <p:spPr/>
        <p:txBody>
          <a:bodyPr/>
          <a:lstStyle/>
          <a:p>
            <a:r>
              <a:rPr lang="en-US"/>
              <a:t>Microsoft Fabric / Section title</a:t>
            </a:r>
          </a:p>
        </p:txBody>
      </p:sp>
      <p:sp>
        <p:nvSpPr>
          <p:cNvPr id="5" name="Slide Number Placeholder 4">
            <a:extLst>
              <a:ext uri="{FF2B5EF4-FFF2-40B4-BE49-F238E27FC236}">
                <a16:creationId xmlns:a16="http://schemas.microsoft.com/office/drawing/2014/main" id="{D6FFC7BF-67C8-0369-5971-132901F388F0}"/>
              </a:ext>
            </a:extLst>
          </p:cNvPr>
          <p:cNvSpPr>
            <a:spLocks noGrp="1"/>
          </p:cNvSpPr>
          <p:nvPr>
            <p:ph type="sldNum" sz="quarter" idx="25"/>
          </p:nvPr>
        </p:nvSpPr>
        <p:spPr/>
        <p:txBody>
          <a:bodyPr/>
          <a:lstStyle/>
          <a:p>
            <a:fld id="{B1356FBF-028C-F74E-A7B4-9B8ED246DD1B}" type="slidenum">
              <a:rPr lang="en-US" smtClean="0"/>
              <a:pPr/>
              <a:t>24</a:t>
            </a:fld>
            <a:endParaRPr lang="en-US"/>
          </a:p>
        </p:txBody>
      </p:sp>
      <p:sp>
        <p:nvSpPr>
          <p:cNvPr id="7" name="TextBox 6">
            <a:extLst>
              <a:ext uri="{FF2B5EF4-FFF2-40B4-BE49-F238E27FC236}">
                <a16:creationId xmlns:a16="http://schemas.microsoft.com/office/drawing/2014/main" id="{C59C4AB1-FCA2-1F29-4AAC-C4DDEBACCDAE}"/>
              </a:ext>
            </a:extLst>
          </p:cNvPr>
          <p:cNvSpPr txBox="1"/>
          <p:nvPr/>
        </p:nvSpPr>
        <p:spPr>
          <a:xfrm>
            <a:off x="878998" y="1005120"/>
            <a:ext cx="4988611" cy="363946"/>
          </a:xfrm>
          <a:prstGeom prst="rect">
            <a:avLst/>
          </a:prstGeom>
          <a:noFill/>
        </p:spPr>
        <p:txBody>
          <a:bodyPr wrap="square" rtlCol="0">
            <a:spAutoFit/>
          </a:bodyPr>
          <a:lstStyle/>
          <a:p>
            <a:r>
              <a:rPr lang="en-US">
                <a:solidFill>
                  <a:schemeClr val="accent2"/>
                </a:solidFill>
              </a:rPr>
              <a:t>Common Decisions – Block, Grant, Require MFA</a:t>
            </a:r>
          </a:p>
        </p:txBody>
      </p:sp>
      <p:pic>
        <p:nvPicPr>
          <p:cNvPr id="11" name="Graphic 10" descr="Female Profile with solid fill">
            <a:extLst>
              <a:ext uri="{FF2B5EF4-FFF2-40B4-BE49-F238E27FC236}">
                <a16:creationId xmlns:a16="http://schemas.microsoft.com/office/drawing/2014/main" id="{F8B4BD54-6B7E-27FC-40D3-A9C837BF1A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375240" y="3302669"/>
            <a:ext cx="555217" cy="555217"/>
          </a:xfrm>
          <a:prstGeom prst="rect">
            <a:avLst/>
          </a:prstGeom>
        </p:spPr>
      </p:pic>
      <p:pic>
        <p:nvPicPr>
          <p:cNvPr id="13" name="Picture 12">
            <a:extLst>
              <a:ext uri="{FF2B5EF4-FFF2-40B4-BE49-F238E27FC236}">
                <a16:creationId xmlns:a16="http://schemas.microsoft.com/office/drawing/2014/main" id="{DAF6BB56-17CF-887B-60B2-2E5AAA0BA7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22999" y="1864165"/>
            <a:ext cx="801128" cy="816684"/>
          </a:xfrm>
          <a:prstGeom prst="rect">
            <a:avLst/>
          </a:prstGeom>
        </p:spPr>
      </p:pic>
      <p:pic>
        <p:nvPicPr>
          <p:cNvPr id="14" name="Picture 13">
            <a:extLst>
              <a:ext uri="{FF2B5EF4-FFF2-40B4-BE49-F238E27FC236}">
                <a16:creationId xmlns:a16="http://schemas.microsoft.com/office/drawing/2014/main" id="{AE1BF10F-471D-BD4A-11FA-58A92DDF60B5}"/>
              </a:ext>
            </a:extLst>
          </p:cNvPr>
          <p:cNvPicPr>
            <a:picLocks noChangeAspect="1"/>
          </p:cNvPicPr>
          <p:nvPr/>
        </p:nvPicPr>
        <p:blipFill>
          <a:blip r:embed="rId6"/>
          <a:stretch>
            <a:fillRect/>
          </a:stretch>
        </p:blipFill>
        <p:spPr>
          <a:xfrm>
            <a:off x="1100604" y="2923799"/>
            <a:ext cx="830883" cy="718601"/>
          </a:xfrm>
          <a:prstGeom prst="rect">
            <a:avLst/>
          </a:prstGeom>
        </p:spPr>
      </p:pic>
      <p:pic>
        <p:nvPicPr>
          <p:cNvPr id="15" name="Picture 14">
            <a:extLst>
              <a:ext uri="{FF2B5EF4-FFF2-40B4-BE49-F238E27FC236}">
                <a16:creationId xmlns:a16="http://schemas.microsoft.com/office/drawing/2014/main" id="{267CC2B1-F1E0-72A9-B9FD-892426DD2D95}"/>
              </a:ext>
            </a:extLst>
          </p:cNvPr>
          <p:cNvPicPr>
            <a:picLocks noChangeAspect="1"/>
          </p:cNvPicPr>
          <p:nvPr/>
        </p:nvPicPr>
        <p:blipFill>
          <a:blip r:embed="rId7"/>
          <a:stretch>
            <a:fillRect/>
          </a:stretch>
        </p:blipFill>
        <p:spPr>
          <a:xfrm>
            <a:off x="1118961" y="3981636"/>
            <a:ext cx="812526" cy="812526"/>
          </a:xfrm>
          <a:prstGeom prst="rect">
            <a:avLst/>
          </a:prstGeom>
        </p:spPr>
      </p:pic>
      <p:pic>
        <p:nvPicPr>
          <p:cNvPr id="16" name="Picture 15">
            <a:extLst>
              <a:ext uri="{FF2B5EF4-FFF2-40B4-BE49-F238E27FC236}">
                <a16:creationId xmlns:a16="http://schemas.microsoft.com/office/drawing/2014/main" id="{1645FF85-24B1-8A75-5E79-01A7E5F7F1D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34387" y="4463625"/>
            <a:ext cx="801129" cy="779766"/>
          </a:xfrm>
          <a:prstGeom prst="rect">
            <a:avLst/>
          </a:prstGeom>
        </p:spPr>
      </p:pic>
      <p:cxnSp>
        <p:nvCxnSpPr>
          <p:cNvPr id="17" name="Straight Connector 16">
            <a:extLst>
              <a:ext uri="{FF2B5EF4-FFF2-40B4-BE49-F238E27FC236}">
                <a16:creationId xmlns:a16="http://schemas.microsoft.com/office/drawing/2014/main" id="{7D00273E-B16D-A361-BE2A-1F2F29A2903B}"/>
              </a:ext>
            </a:extLst>
          </p:cNvPr>
          <p:cNvCxnSpPr>
            <a:cxnSpLocks/>
            <a:stCxn id="13" idx="2"/>
          </p:cNvCxnSpPr>
          <p:nvPr/>
        </p:nvCxnSpPr>
        <p:spPr>
          <a:xfrm>
            <a:off x="2723563" y="2680849"/>
            <a:ext cx="1540806" cy="845201"/>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C1F6ECCC-B241-61B8-9E0A-C713A2610F90}"/>
              </a:ext>
            </a:extLst>
          </p:cNvPr>
          <p:cNvCxnSpPr>
            <a:cxnSpLocks/>
            <a:stCxn id="14" idx="3"/>
          </p:cNvCxnSpPr>
          <p:nvPr/>
        </p:nvCxnSpPr>
        <p:spPr>
          <a:xfrm>
            <a:off x="1931487" y="3283100"/>
            <a:ext cx="2373835" cy="284600"/>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ED9240C-1624-E830-9258-1CE57B6AF8A2}"/>
              </a:ext>
            </a:extLst>
          </p:cNvPr>
          <p:cNvCxnSpPr>
            <a:cxnSpLocks/>
            <a:stCxn id="15" idx="3"/>
          </p:cNvCxnSpPr>
          <p:nvPr/>
        </p:nvCxnSpPr>
        <p:spPr>
          <a:xfrm flipV="1">
            <a:off x="1931487" y="3574500"/>
            <a:ext cx="2276472" cy="813399"/>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EB8F4A6E-B97C-7D8B-0E3A-998B7270A536}"/>
              </a:ext>
            </a:extLst>
          </p:cNvPr>
          <p:cNvCxnSpPr>
            <a:cxnSpLocks/>
            <a:stCxn id="16" idx="0"/>
            <a:endCxn id="11" idx="1"/>
          </p:cNvCxnSpPr>
          <p:nvPr/>
        </p:nvCxnSpPr>
        <p:spPr>
          <a:xfrm flipV="1">
            <a:off x="3234952" y="3580278"/>
            <a:ext cx="1140288" cy="883347"/>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1" name="Title 1">
            <a:extLst>
              <a:ext uri="{FF2B5EF4-FFF2-40B4-BE49-F238E27FC236}">
                <a16:creationId xmlns:a16="http://schemas.microsoft.com/office/drawing/2014/main" id="{2CB44CE3-F0FF-5BA7-194F-C5229D4CBFF4}"/>
              </a:ext>
            </a:extLst>
          </p:cNvPr>
          <p:cNvSpPr txBox="1">
            <a:spLocks/>
          </p:cNvSpPr>
          <p:nvPr/>
        </p:nvSpPr>
        <p:spPr>
          <a:xfrm>
            <a:off x="5115904" y="3149280"/>
            <a:ext cx="1398905" cy="376770"/>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224" spc="0" err="1">
                <a:solidFill>
                  <a:srgbClr val="3C3C41"/>
                </a:solidFill>
                <a:latin typeface="Segoe UI"/>
              </a:rPr>
              <a:t>Entra</a:t>
            </a:r>
            <a:r>
              <a:rPr lang="en-US" sz="1224" spc="0">
                <a:solidFill>
                  <a:srgbClr val="3C3C41"/>
                </a:solidFill>
                <a:latin typeface="Segoe UI"/>
              </a:rPr>
              <a:t> Conditional Access Policies</a:t>
            </a:r>
          </a:p>
        </p:txBody>
      </p:sp>
      <p:sp>
        <p:nvSpPr>
          <p:cNvPr id="22" name="Title 1">
            <a:extLst>
              <a:ext uri="{FF2B5EF4-FFF2-40B4-BE49-F238E27FC236}">
                <a16:creationId xmlns:a16="http://schemas.microsoft.com/office/drawing/2014/main" id="{04F8AF91-135C-D307-42B6-2433126AF804}"/>
              </a:ext>
            </a:extLst>
          </p:cNvPr>
          <p:cNvSpPr txBox="1">
            <a:spLocks/>
          </p:cNvSpPr>
          <p:nvPr/>
        </p:nvSpPr>
        <p:spPr>
          <a:xfrm>
            <a:off x="2975704" y="2157208"/>
            <a:ext cx="1730511" cy="18838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224" spc="0">
                <a:solidFill>
                  <a:srgbClr val="3C3C41"/>
                </a:solidFill>
                <a:latin typeface="Segoe UI"/>
              </a:rPr>
              <a:t>Users and Groups</a:t>
            </a:r>
          </a:p>
        </p:txBody>
      </p:sp>
      <p:sp>
        <p:nvSpPr>
          <p:cNvPr id="23" name="Title 1">
            <a:extLst>
              <a:ext uri="{FF2B5EF4-FFF2-40B4-BE49-F238E27FC236}">
                <a16:creationId xmlns:a16="http://schemas.microsoft.com/office/drawing/2014/main" id="{8B1057C7-53CE-D2F4-1CE4-F212DCA4FF01}"/>
              </a:ext>
            </a:extLst>
          </p:cNvPr>
          <p:cNvSpPr txBox="1">
            <a:spLocks/>
          </p:cNvSpPr>
          <p:nvPr/>
        </p:nvSpPr>
        <p:spPr>
          <a:xfrm>
            <a:off x="2219431" y="5372992"/>
            <a:ext cx="1730511" cy="18838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224" spc="0">
                <a:solidFill>
                  <a:srgbClr val="3C3C41"/>
                </a:solidFill>
                <a:latin typeface="Segoe UI"/>
              </a:rPr>
              <a:t>Devices</a:t>
            </a:r>
          </a:p>
        </p:txBody>
      </p:sp>
      <p:cxnSp>
        <p:nvCxnSpPr>
          <p:cNvPr id="25" name="Straight Arrow Connector 24">
            <a:extLst>
              <a:ext uri="{FF2B5EF4-FFF2-40B4-BE49-F238E27FC236}">
                <a16:creationId xmlns:a16="http://schemas.microsoft.com/office/drawing/2014/main" id="{0103A6DF-DC99-E10F-D948-67DD6BC2F1D7}"/>
              </a:ext>
            </a:extLst>
          </p:cNvPr>
          <p:cNvCxnSpPr>
            <a:cxnSpLocks/>
          </p:cNvCxnSpPr>
          <p:nvPr/>
        </p:nvCxnSpPr>
        <p:spPr>
          <a:xfrm>
            <a:off x="4930457" y="3567700"/>
            <a:ext cx="2017200" cy="108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itle 1">
            <a:extLst>
              <a:ext uri="{FF2B5EF4-FFF2-40B4-BE49-F238E27FC236}">
                <a16:creationId xmlns:a16="http://schemas.microsoft.com/office/drawing/2014/main" id="{A1E6A01A-B704-DCEF-8CB5-4E392561046E}"/>
              </a:ext>
            </a:extLst>
          </p:cNvPr>
          <p:cNvSpPr txBox="1">
            <a:spLocks/>
          </p:cNvSpPr>
          <p:nvPr/>
        </p:nvSpPr>
        <p:spPr>
          <a:xfrm>
            <a:off x="5097738" y="3629826"/>
            <a:ext cx="1398905" cy="138499"/>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900" b="1" spc="0">
                <a:solidFill>
                  <a:schemeClr val="accent5"/>
                </a:solidFill>
                <a:latin typeface="Segoe UI"/>
              </a:rPr>
              <a:t>Inbound</a:t>
            </a:r>
          </a:p>
        </p:txBody>
      </p:sp>
      <p:grpSp>
        <p:nvGrpSpPr>
          <p:cNvPr id="27" name="Group 26">
            <a:extLst>
              <a:ext uri="{FF2B5EF4-FFF2-40B4-BE49-F238E27FC236}">
                <a16:creationId xmlns:a16="http://schemas.microsoft.com/office/drawing/2014/main" id="{20504444-B17B-1BF1-F3EE-5D4A9990307B}"/>
              </a:ext>
            </a:extLst>
          </p:cNvPr>
          <p:cNvGrpSpPr/>
          <p:nvPr/>
        </p:nvGrpSpPr>
        <p:grpSpPr>
          <a:xfrm>
            <a:off x="7054143" y="2458790"/>
            <a:ext cx="3362707" cy="1975967"/>
            <a:chOff x="4202409" y="2882558"/>
            <a:chExt cx="2718334" cy="2068657"/>
          </a:xfrm>
        </p:grpSpPr>
        <p:sp>
          <p:nvSpPr>
            <p:cNvPr id="28" name="Rectangle 27">
              <a:extLst>
                <a:ext uri="{FF2B5EF4-FFF2-40B4-BE49-F238E27FC236}">
                  <a16:creationId xmlns:a16="http://schemas.microsoft.com/office/drawing/2014/main" id="{D72513C1-66BC-B5EF-ECBA-0DA1E51D2E17}"/>
                </a:ext>
              </a:extLst>
            </p:cNvPr>
            <p:cNvSpPr/>
            <p:nvPr/>
          </p:nvSpPr>
          <p:spPr bwMode="auto">
            <a:xfrm>
              <a:off x="4202409" y="2882558"/>
              <a:ext cx="2510694" cy="1805541"/>
            </a:xfrm>
            <a:prstGeom prst="rect">
              <a:avLst/>
            </a:prstGeom>
            <a:noFill/>
            <a:ln>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Title 1">
              <a:extLst>
                <a:ext uri="{FF2B5EF4-FFF2-40B4-BE49-F238E27FC236}">
                  <a16:creationId xmlns:a16="http://schemas.microsoft.com/office/drawing/2014/main" id="{17DDD1A1-CCF6-F25A-614B-A3BFE7D38FD1}"/>
                </a:ext>
              </a:extLst>
            </p:cNvPr>
            <p:cNvSpPr txBox="1">
              <a:spLocks/>
            </p:cNvSpPr>
            <p:nvPr/>
          </p:nvSpPr>
          <p:spPr>
            <a:xfrm>
              <a:off x="5521838" y="4759080"/>
              <a:ext cx="1398905" cy="19213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224" spc="0">
                  <a:solidFill>
                    <a:srgbClr val="3C3C41"/>
                  </a:solidFill>
                  <a:latin typeface="Segoe UI"/>
                </a:rPr>
                <a:t>Microsoft Fabric</a:t>
              </a:r>
            </a:p>
          </p:txBody>
        </p:sp>
        <p:sp>
          <p:nvSpPr>
            <p:cNvPr id="30" name="Rectangle: Rounded Corners 29">
              <a:extLst>
                <a:ext uri="{FF2B5EF4-FFF2-40B4-BE49-F238E27FC236}">
                  <a16:creationId xmlns:a16="http://schemas.microsoft.com/office/drawing/2014/main" id="{45B938EF-C473-D03E-7264-DA43E4E08F54}"/>
                </a:ext>
              </a:extLst>
            </p:cNvPr>
            <p:cNvSpPr/>
            <p:nvPr/>
          </p:nvSpPr>
          <p:spPr>
            <a:xfrm>
              <a:off x="4747807" y="3869746"/>
              <a:ext cx="1379871" cy="487521"/>
            </a:xfrm>
            <a:prstGeom prst="roundRect">
              <a:avLst/>
            </a:prstGeom>
            <a:no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OneLake</a:t>
              </a:r>
            </a:p>
          </p:txBody>
        </p:sp>
      </p:grpSp>
      <p:pic>
        <p:nvPicPr>
          <p:cNvPr id="31" name="Picture 30">
            <a:extLst>
              <a:ext uri="{FF2B5EF4-FFF2-40B4-BE49-F238E27FC236}">
                <a16:creationId xmlns:a16="http://schemas.microsoft.com/office/drawing/2014/main" id="{E4524D83-78C9-3652-042A-C4A0A1F43441}"/>
              </a:ext>
            </a:extLst>
          </p:cNvPr>
          <p:cNvPicPr>
            <a:picLocks noChangeAspect="1"/>
          </p:cNvPicPr>
          <p:nvPr/>
        </p:nvPicPr>
        <p:blipFill>
          <a:blip r:embed="rId9"/>
          <a:stretch>
            <a:fillRect/>
          </a:stretch>
        </p:blipFill>
        <p:spPr>
          <a:xfrm>
            <a:off x="8109425" y="2836153"/>
            <a:ext cx="462063" cy="480182"/>
          </a:xfrm>
          <a:prstGeom prst="rect">
            <a:avLst/>
          </a:prstGeom>
        </p:spPr>
      </p:pic>
      <p:pic>
        <p:nvPicPr>
          <p:cNvPr id="32" name="Picture 31">
            <a:extLst>
              <a:ext uri="{FF2B5EF4-FFF2-40B4-BE49-F238E27FC236}">
                <a16:creationId xmlns:a16="http://schemas.microsoft.com/office/drawing/2014/main" id="{A1FBCB96-FAF5-1D23-2DDF-07C59267EB6F}"/>
              </a:ext>
            </a:extLst>
          </p:cNvPr>
          <p:cNvPicPr>
            <a:picLocks noChangeAspect="1"/>
          </p:cNvPicPr>
          <p:nvPr/>
        </p:nvPicPr>
        <p:blipFill>
          <a:blip r:embed="rId10"/>
          <a:stretch>
            <a:fillRect/>
          </a:stretch>
        </p:blipFill>
        <p:spPr>
          <a:xfrm>
            <a:off x="8572562" y="2841429"/>
            <a:ext cx="547052" cy="461240"/>
          </a:xfrm>
          <a:prstGeom prst="rect">
            <a:avLst/>
          </a:prstGeom>
        </p:spPr>
      </p:pic>
      <p:pic>
        <p:nvPicPr>
          <p:cNvPr id="33" name="Picture 32">
            <a:extLst>
              <a:ext uri="{FF2B5EF4-FFF2-40B4-BE49-F238E27FC236}">
                <a16:creationId xmlns:a16="http://schemas.microsoft.com/office/drawing/2014/main" id="{849979FA-7FF0-A941-4A58-E99136976444}"/>
              </a:ext>
            </a:extLst>
          </p:cNvPr>
          <p:cNvPicPr>
            <a:picLocks noChangeAspect="1"/>
          </p:cNvPicPr>
          <p:nvPr/>
        </p:nvPicPr>
        <p:blipFill>
          <a:blip r:embed="rId11"/>
          <a:stretch>
            <a:fillRect/>
          </a:stretch>
        </p:blipFill>
        <p:spPr>
          <a:xfrm>
            <a:off x="9110822" y="2843563"/>
            <a:ext cx="614589" cy="479171"/>
          </a:xfrm>
          <a:prstGeom prst="rect">
            <a:avLst/>
          </a:prstGeom>
        </p:spPr>
      </p:pic>
      <p:pic>
        <p:nvPicPr>
          <p:cNvPr id="34" name="Picture 33">
            <a:extLst>
              <a:ext uri="{FF2B5EF4-FFF2-40B4-BE49-F238E27FC236}">
                <a16:creationId xmlns:a16="http://schemas.microsoft.com/office/drawing/2014/main" id="{63153B97-D0D9-4D22-98D7-D93884254BEC}"/>
              </a:ext>
            </a:extLst>
          </p:cNvPr>
          <p:cNvPicPr>
            <a:picLocks noChangeAspect="1"/>
          </p:cNvPicPr>
          <p:nvPr/>
        </p:nvPicPr>
        <p:blipFill>
          <a:blip r:embed="rId12"/>
          <a:stretch>
            <a:fillRect/>
          </a:stretch>
        </p:blipFill>
        <p:spPr>
          <a:xfrm>
            <a:off x="7594316" y="2828959"/>
            <a:ext cx="499138" cy="508381"/>
          </a:xfrm>
          <a:prstGeom prst="rect">
            <a:avLst/>
          </a:prstGeom>
        </p:spPr>
      </p:pic>
      <p:pic>
        <p:nvPicPr>
          <p:cNvPr id="36" name="Picture 2" descr="Diagram showing concept of Conditional Access signals plus decision to enforce organizational policy.">
            <a:extLst>
              <a:ext uri="{FF2B5EF4-FFF2-40B4-BE49-F238E27FC236}">
                <a16:creationId xmlns:a16="http://schemas.microsoft.com/office/drawing/2014/main" id="{90353BAA-EA5C-189B-E228-EA203460DA31}"/>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34917" y="4980664"/>
            <a:ext cx="5750502" cy="1512502"/>
          </a:xfrm>
          <a:prstGeom prst="rect">
            <a:avLst/>
          </a:prstGeom>
          <a:noFill/>
          <a:extLst>
            <a:ext uri="{909E8E84-426E-40DD-AFC4-6F175D3DCCD1}">
              <a14:hiddenFill xmlns:a14="http://schemas.microsoft.com/office/drawing/2010/main">
                <a:solidFill>
                  <a:srgbClr val="FFFFFF"/>
                </a:solidFill>
              </a14:hiddenFill>
            </a:ext>
          </a:extLst>
        </p:spPr>
      </p:pic>
      <p:sp>
        <p:nvSpPr>
          <p:cNvPr id="37" name="Title 1">
            <a:extLst>
              <a:ext uri="{FF2B5EF4-FFF2-40B4-BE49-F238E27FC236}">
                <a16:creationId xmlns:a16="http://schemas.microsoft.com/office/drawing/2014/main" id="{00050DA4-7E1B-0402-6EDF-1BD31D8459CC}"/>
              </a:ext>
            </a:extLst>
          </p:cNvPr>
          <p:cNvSpPr txBox="1">
            <a:spLocks/>
          </p:cNvSpPr>
          <p:nvPr/>
        </p:nvSpPr>
        <p:spPr>
          <a:xfrm>
            <a:off x="709178" y="4904278"/>
            <a:ext cx="1730511" cy="18838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224" spc="0">
                <a:solidFill>
                  <a:srgbClr val="3C3C41"/>
                </a:solidFill>
                <a:latin typeface="Segoe UI"/>
              </a:rPr>
              <a:t>Applications</a:t>
            </a:r>
          </a:p>
        </p:txBody>
      </p:sp>
      <p:sp>
        <p:nvSpPr>
          <p:cNvPr id="45" name="Title 1">
            <a:extLst>
              <a:ext uri="{FF2B5EF4-FFF2-40B4-BE49-F238E27FC236}">
                <a16:creationId xmlns:a16="http://schemas.microsoft.com/office/drawing/2014/main" id="{E47E8DA5-5089-7E07-39D2-3DECCAA34213}"/>
              </a:ext>
            </a:extLst>
          </p:cNvPr>
          <p:cNvSpPr txBox="1">
            <a:spLocks/>
          </p:cNvSpPr>
          <p:nvPr/>
        </p:nvSpPr>
        <p:spPr>
          <a:xfrm>
            <a:off x="579339" y="2626478"/>
            <a:ext cx="1730511" cy="169277"/>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100" spc="0">
                <a:solidFill>
                  <a:srgbClr val="3C3C41"/>
                </a:solidFill>
                <a:latin typeface="Segoe UI"/>
              </a:rPr>
              <a:t>Network Location</a:t>
            </a:r>
          </a:p>
        </p:txBody>
      </p:sp>
      <p:sp>
        <p:nvSpPr>
          <p:cNvPr id="2" name="TextBox 1">
            <a:extLst>
              <a:ext uri="{FF2B5EF4-FFF2-40B4-BE49-F238E27FC236}">
                <a16:creationId xmlns:a16="http://schemas.microsoft.com/office/drawing/2014/main" id="{B21A17AA-B97E-F7EF-9F49-572D041F7385}"/>
              </a:ext>
            </a:extLst>
          </p:cNvPr>
          <p:cNvSpPr txBox="1"/>
          <p:nvPr/>
        </p:nvSpPr>
        <p:spPr>
          <a:xfrm>
            <a:off x="1" y="6493166"/>
            <a:ext cx="1892808" cy="287448"/>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6647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1E3BF97-09B9-90CE-1570-9DD345AAB138}"/>
              </a:ext>
            </a:extLst>
          </p:cNvPr>
          <p:cNvSpPr>
            <a:spLocks noGrp="1"/>
          </p:cNvSpPr>
          <p:nvPr>
            <p:ph type="subTitle" idx="1"/>
          </p:nvPr>
        </p:nvSpPr>
        <p:spPr/>
        <p:txBody>
          <a:bodyPr/>
          <a:lstStyle/>
          <a:p>
            <a:r>
              <a:rPr lang="en-US"/>
              <a:t>Example</a:t>
            </a:r>
          </a:p>
        </p:txBody>
      </p:sp>
      <p:sp>
        <p:nvSpPr>
          <p:cNvPr id="3" name="Text Placeholder 2">
            <a:extLst>
              <a:ext uri="{FF2B5EF4-FFF2-40B4-BE49-F238E27FC236}">
                <a16:creationId xmlns:a16="http://schemas.microsoft.com/office/drawing/2014/main" id="{CEA6574C-E47C-EBFC-7A83-B880697FC653}"/>
              </a:ext>
            </a:extLst>
          </p:cNvPr>
          <p:cNvSpPr>
            <a:spLocks noGrp="1"/>
          </p:cNvSpPr>
          <p:nvPr>
            <p:ph type="body" sz="quarter" idx="23"/>
          </p:nvPr>
        </p:nvSpPr>
        <p:spPr/>
        <p:txBody>
          <a:bodyPr/>
          <a:lstStyle/>
          <a:p>
            <a:r>
              <a:rPr lang="en-US"/>
              <a:t>Setting up Conditional Access for Fabric​</a:t>
            </a:r>
          </a:p>
        </p:txBody>
      </p:sp>
      <p:sp>
        <p:nvSpPr>
          <p:cNvPr id="4" name="Footer Placeholder 3">
            <a:extLst>
              <a:ext uri="{FF2B5EF4-FFF2-40B4-BE49-F238E27FC236}">
                <a16:creationId xmlns:a16="http://schemas.microsoft.com/office/drawing/2014/main" id="{9FCD533B-6B9E-D350-7BCF-8C297B48C4C4}"/>
              </a:ext>
            </a:extLst>
          </p:cNvPr>
          <p:cNvSpPr>
            <a:spLocks noGrp="1"/>
          </p:cNvSpPr>
          <p:nvPr>
            <p:ph type="ftr" sz="quarter" idx="24"/>
          </p:nvPr>
        </p:nvSpPr>
        <p:spPr/>
        <p:txBody>
          <a:bodyPr/>
          <a:lstStyle/>
          <a:p>
            <a:r>
              <a:rPr lang="en-US"/>
              <a:t>Microsoft Fabric / Section title</a:t>
            </a:r>
          </a:p>
        </p:txBody>
      </p:sp>
      <p:sp>
        <p:nvSpPr>
          <p:cNvPr id="5" name="Slide Number Placeholder 4">
            <a:extLst>
              <a:ext uri="{FF2B5EF4-FFF2-40B4-BE49-F238E27FC236}">
                <a16:creationId xmlns:a16="http://schemas.microsoft.com/office/drawing/2014/main" id="{E8EACE9C-C548-5340-4276-790F0C6EA7BF}"/>
              </a:ext>
            </a:extLst>
          </p:cNvPr>
          <p:cNvSpPr>
            <a:spLocks noGrp="1"/>
          </p:cNvSpPr>
          <p:nvPr>
            <p:ph type="sldNum" sz="quarter" idx="25"/>
          </p:nvPr>
        </p:nvSpPr>
        <p:spPr/>
        <p:txBody>
          <a:bodyPr/>
          <a:lstStyle/>
          <a:p>
            <a:fld id="{B1356FBF-028C-F74E-A7B4-9B8ED246DD1B}" type="slidenum">
              <a:rPr lang="en-US" smtClean="0"/>
              <a:pPr/>
              <a:t>25</a:t>
            </a:fld>
            <a:endParaRPr lang="en-US"/>
          </a:p>
        </p:txBody>
      </p:sp>
      <p:sp>
        <p:nvSpPr>
          <p:cNvPr id="11" name="TextBox 10">
            <a:extLst>
              <a:ext uri="{FF2B5EF4-FFF2-40B4-BE49-F238E27FC236}">
                <a16:creationId xmlns:a16="http://schemas.microsoft.com/office/drawing/2014/main" id="{CD936E4A-1DF5-965D-702C-A4D6629732DF}"/>
              </a:ext>
            </a:extLst>
          </p:cNvPr>
          <p:cNvSpPr txBox="1"/>
          <p:nvPr/>
        </p:nvSpPr>
        <p:spPr>
          <a:xfrm>
            <a:off x="395167" y="5802981"/>
            <a:ext cx="6095234" cy="363946"/>
          </a:xfrm>
          <a:prstGeom prst="rect">
            <a:avLst/>
          </a:prstGeom>
          <a:noFill/>
        </p:spPr>
        <p:txBody>
          <a:bodyPr wrap="square">
            <a:spAutoFit/>
          </a:bodyPr>
          <a:lstStyle/>
          <a:p>
            <a:r>
              <a:rPr lang="en-US">
                <a:hlinkClick r:id="rId3"/>
              </a:rPr>
              <a:t>Conditional access - Microsoft Fabric | Microsoft Learn</a:t>
            </a:r>
            <a:endParaRPr lang="en-US"/>
          </a:p>
        </p:txBody>
      </p:sp>
      <p:sp>
        <p:nvSpPr>
          <p:cNvPr id="12" name="TextBox 11">
            <a:extLst>
              <a:ext uri="{FF2B5EF4-FFF2-40B4-BE49-F238E27FC236}">
                <a16:creationId xmlns:a16="http://schemas.microsoft.com/office/drawing/2014/main" id="{43A5AC66-E9B5-BCB6-AF7C-642563D25466}"/>
              </a:ext>
            </a:extLst>
          </p:cNvPr>
          <p:cNvSpPr txBox="1"/>
          <p:nvPr/>
        </p:nvSpPr>
        <p:spPr>
          <a:xfrm>
            <a:off x="395167" y="5523324"/>
            <a:ext cx="5665604" cy="363946"/>
          </a:xfrm>
          <a:prstGeom prst="rect">
            <a:avLst/>
          </a:prstGeom>
          <a:noFill/>
        </p:spPr>
        <p:txBody>
          <a:bodyPr wrap="square" rtlCol="0">
            <a:spAutoFit/>
          </a:bodyPr>
          <a:lstStyle/>
          <a:p>
            <a:r>
              <a:rPr lang="en-US"/>
              <a:t>Refer to our Fabric documentation to learn more:</a:t>
            </a:r>
          </a:p>
        </p:txBody>
      </p:sp>
      <p:pic>
        <p:nvPicPr>
          <p:cNvPr id="7" name="Picture 6">
            <a:extLst>
              <a:ext uri="{FF2B5EF4-FFF2-40B4-BE49-F238E27FC236}">
                <a16:creationId xmlns:a16="http://schemas.microsoft.com/office/drawing/2014/main" id="{0CCCB063-080B-DF4B-B0D4-C0ABFE47E85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43731" y="1274724"/>
            <a:ext cx="4338669" cy="5219738"/>
          </a:xfrm>
          <a:prstGeom prst="rect">
            <a:avLst/>
          </a:prstGeom>
        </p:spPr>
      </p:pic>
      <p:sp>
        <p:nvSpPr>
          <p:cNvPr id="10" name="TextBox 1">
            <a:extLst>
              <a:ext uri="{FF2B5EF4-FFF2-40B4-BE49-F238E27FC236}">
                <a16:creationId xmlns:a16="http://schemas.microsoft.com/office/drawing/2014/main" id="{27361733-81FB-4ADD-5C14-D45A562F1C5F}"/>
              </a:ext>
            </a:extLst>
          </p:cNvPr>
          <p:cNvSpPr txBox="1"/>
          <p:nvPr/>
        </p:nvSpPr>
        <p:spPr>
          <a:xfrm>
            <a:off x="509833" y="2038415"/>
            <a:ext cx="5716358" cy="2808461"/>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285750" indent="-285750" algn="l">
              <a:buFont typeface="Arial" panose="020B0604020202020204" pitchFamily="34" charset="0"/>
              <a:buChar char="•"/>
            </a:pPr>
            <a:r>
              <a:rPr lang="en-US" b="0" i="0">
                <a:solidFill>
                  <a:srgbClr val="161616"/>
                </a:solidFill>
                <a:effectLst/>
                <a:latin typeface="Segoe UI" panose="020B0502040204020203" pitchFamily="34" charset="0"/>
              </a:rPr>
              <a:t>Configure a single, common, conditional access policy for Power BI Service, Azure Storage, Azure SQL Database, and Azure Data Explorer</a:t>
            </a:r>
            <a:r>
              <a:rPr lang="en-US">
                <a:solidFill>
                  <a:srgbClr val="161616"/>
                </a:solidFill>
                <a:latin typeface="Segoe UI" panose="020B0502040204020203" pitchFamily="34" charset="0"/>
              </a:rPr>
              <a:t>.</a:t>
            </a:r>
          </a:p>
          <a:p>
            <a:pPr marL="285750" indent="-285750" algn="l">
              <a:buFont typeface="Arial" panose="020B0604020202020204" pitchFamily="34" charset="0"/>
              <a:buChar char="•"/>
            </a:pPr>
            <a:endParaRPr lang="en-US" b="0" i="0">
              <a:solidFill>
                <a:srgbClr val="161616"/>
              </a:solidFill>
              <a:effectLst/>
              <a:latin typeface="Segoe UI" panose="020B0502040204020203" pitchFamily="34" charset="0"/>
            </a:endParaRPr>
          </a:p>
          <a:p>
            <a:pPr marL="285750" indent="-285750" algn="l">
              <a:buFont typeface="Arial" panose="020B0604020202020204" pitchFamily="34" charset="0"/>
              <a:buChar char="•"/>
            </a:pPr>
            <a:endParaRPr lang="en-US">
              <a:solidFill>
                <a:srgbClr val="161616"/>
              </a:solidFill>
              <a:latin typeface="Segoe UI" panose="020B0502040204020203" pitchFamily="34" charset="0"/>
            </a:endParaRPr>
          </a:p>
          <a:p>
            <a:pPr marL="285750" indent="-285750" algn="l">
              <a:buFont typeface="Arial" panose="020B0604020202020204" pitchFamily="34" charset="0"/>
              <a:buChar char="•"/>
            </a:pPr>
            <a:r>
              <a:rPr lang="en-US" b="0" i="0">
                <a:solidFill>
                  <a:srgbClr val="161616"/>
                </a:solidFill>
                <a:effectLst/>
                <a:latin typeface="Segoe UI" panose="020B0502040204020203" pitchFamily="34" charset="0"/>
              </a:rPr>
              <a:t>Configure a conditional access policy that combines IP location, device type, user identity, and much more to allow/deny access to Fabric, or challenge with MFA.</a:t>
            </a:r>
            <a:endParaRPr lang="en-US" b="0" i="0">
              <a:solidFill>
                <a:srgbClr val="161616"/>
              </a:solidFill>
              <a:effectLst/>
              <a:highlight>
                <a:srgbClr val="FFFF00"/>
              </a:highlight>
              <a:latin typeface="Segoe UI" panose="020B0502040204020203" pitchFamily="34" charset="0"/>
            </a:endParaRPr>
          </a:p>
          <a:p>
            <a:pPr algn="l">
              <a:buFont typeface="Arial" panose="020B0604020202020204" pitchFamily="34" charset="0"/>
              <a:buNone/>
            </a:pPr>
            <a:endParaRPr lang="en-US" b="0" i="0">
              <a:solidFill>
                <a:srgbClr val="161616"/>
              </a:solidFill>
              <a:effectLst/>
              <a:latin typeface="Segoe UI" panose="020B0502040204020203" pitchFamily="34" charset="0"/>
            </a:endParaRPr>
          </a:p>
        </p:txBody>
      </p:sp>
      <p:sp>
        <p:nvSpPr>
          <p:cNvPr id="6" name="TextBox 5">
            <a:extLst>
              <a:ext uri="{FF2B5EF4-FFF2-40B4-BE49-F238E27FC236}">
                <a16:creationId xmlns:a16="http://schemas.microsoft.com/office/drawing/2014/main" id="{01C73E90-5222-0FEE-EBD2-BF732BC67BB8}"/>
              </a:ext>
            </a:extLst>
          </p:cNvPr>
          <p:cNvSpPr txBox="1"/>
          <p:nvPr/>
        </p:nvSpPr>
        <p:spPr>
          <a:xfrm>
            <a:off x="0" y="6446584"/>
            <a:ext cx="2403389" cy="363946"/>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326466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943EC-801C-9372-834B-AC140B97B8F9}"/>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884412B3-FAC5-F94F-D981-9F0EE4D7EF4B}"/>
              </a:ext>
            </a:extLst>
          </p:cNvPr>
          <p:cNvSpPr>
            <a:spLocks noGrp="1"/>
          </p:cNvSpPr>
          <p:nvPr>
            <p:ph type="body" sz="quarter" idx="11"/>
          </p:nvPr>
        </p:nvSpPr>
        <p:spPr>
          <a:xfrm>
            <a:off x="5954644" y="3923197"/>
            <a:ext cx="5981148" cy="1398587"/>
          </a:xfrm>
        </p:spPr>
        <p:txBody>
          <a:bodyPr>
            <a:normAutofit/>
          </a:bodyPr>
          <a:lstStyle/>
          <a:p>
            <a:pPr marL="0" indent="0">
              <a:buNone/>
            </a:pPr>
            <a:r>
              <a:rPr lang="en-US"/>
              <a:t>Securing inbound connections </a:t>
            </a:r>
          </a:p>
          <a:p>
            <a:pPr marL="0" indent="0">
              <a:buNone/>
            </a:pPr>
            <a:r>
              <a:rPr lang="en-US"/>
              <a:t>using Private Links</a:t>
            </a:r>
          </a:p>
          <a:p>
            <a:endParaRPr lang="en-US"/>
          </a:p>
        </p:txBody>
      </p:sp>
    </p:spTree>
    <p:extLst>
      <p:ext uri="{BB962C8B-B14F-4D97-AF65-F5344CB8AC3E}">
        <p14:creationId xmlns:p14="http://schemas.microsoft.com/office/powerpoint/2010/main" val="39625119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53E17B2-13FB-2922-0B56-6E75F9294508}"/>
              </a:ext>
            </a:extLst>
          </p:cNvPr>
          <p:cNvSpPr>
            <a:spLocks noGrp="1"/>
          </p:cNvSpPr>
          <p:nvPr>
            <p:ph type="subTitle" idx="1"/>
          </p:nvPr>
        </p:nvSpPr>
        <p:spPr>
          <a:xfrm>
            <a:off x="704752" y="954152"/>
            <a:ext cx="10974592" cy="365126"/>
          </a:xfrm>
        </p:spPr>
        <p:txBody>
          <a:bodyPr/>
          <a:lstStyle/>
          <a:p>
            <a:r>
              <a:rPr lang="en-US">
                <a:solidFill>
                  <a:schemeClr val="accent2"/>
                </a:solidFill>
              </a:rPr>
              <a:t>Perimeter Network Security for your tenant </a:t>
            </a:r>
          </a:p>
        </p:txBody>
      </p:sp>
      <p:sp>
        <p:nvSpPr>
          <p:cNvPr id="3" name="Text Placeholder 2">
            <a:extLst>
              <a:ext uri="{FF2B5EF4-FFF2-40B4-BE49-F238E27FC236}">
                <a16:creationId xmlns:a16="http://schemas.microsoft.com/office/drawing/2014/main" id="{555BE264-9B2D-A26C-C783-4E849022EB81}"/>
              </a:ext>
            </a:extLst>
          </p:cNvPr>
          <p:cNvSpPr>
            <a:spLocks noGrp="1"/>
          </p:cNvSpPr>
          <p:nvPr>
            <p:ph type="body" sz="quarter" idx="23"/>
          </p:nvPr>
        </p:nvSpPr>
        <p:spPr>
          <a:xfrm>
            <a:off x="608704" y="450708"/>
            <a:ext cx="10974592" cy="593740"/>
          </a:xfrm>
        </p:spPr>
        <p:txBody>
          <a:bodyPr/>
          <a:lstStyle/>
          <a:p>
            <a:r>
              <a:rPr lang="en-US" sz="3200" b="0">
                <a:solidFill>
                  <a:srgbClr val="225B61"/>
                </a:solidFill>
                <a:latin typeface="Segoe Sans Display"/>
                <a:cs typeface="Segoe Sans Display" pitchFamily="2" charset="0"/>
              </a:rPr>
              <a:t>Private Link for Fabric</a:t>
            </a:r>
          </a:p>
        </p:txBody>
      </p:sp>
      <p:sp>
        <p:nvSpPr>
          <p:cNvPr id="4" name="TextBox 3">
            <a:extLst>
              <a:ext uri="{FF2B5EF4-FFF2-40B4-BE49-F238E27FC236}">
                <a16:creationId xmlns:a16="http://schemas.microsoft.com/office/drawing/2014/main" id="{A2B5A0CE-3BB7-C244-1270-BB79D296A666}"/>
              </a:ext>
            </a:extLst>
          </p:cNvPr>
          <p:cNvSpPr txBox="1"/>
          <p:nvPr/>
        </p:nvSpPr>
        <p:spPr>
          <a:xfrm>
            <a:off x="7966608" y="1620279"/>
            <a:ext cx="3916019" cy="4989828"/>
          </a:xfrm>
          <a:prstGeom prst="rect">
            <a:avLst/>
          </a:prstGeom>
          <a:noFill/>
        </p:spPr>
        <p:txBody>
          <a:bodyPr wrap="square" lIns="91440" tIns="45720" rIns="91440" bIns="45720" rtlCol="0" anchor="t">
            <a:spAutoFit/>
          </a:bodyPr>
          <a:lstStyle/>
          <a:p>
            <a:r>
              <a:rPr lang="en-US" sz="1750">
                <a:cs typeface="Segoe UI"/>
              </a:rPr>
              <a:t>What it means:</a:t>
            </a:r>
            <a:endParaRPr lang="en-US"/>
          </a:p>
          <a:p>
            <a:pPr marL="342900" indent="-342900">
              <a:buFont typeface="+mj-lt"/>
              <a:buAutoNum type="arabicPeriod"/>
            </a:pPr>
            <a:endParaRPr lang="en-US" sz="1750"/>
          </a:p>
          <a:p>
            <a:pPr marL="342900" indent="-342900">
              <a:buAutoNum type="arabicPeriod"/>
            </a:pPr>
            <a:r>
              <a:rPr lang="en-US" sz="1750"/>
              <a:t>Fabric is disconnected from the public internet</a:t>
            </a:r>
            <a:endParaRPr lang="en-US" sz="1750">
              <a:cs typeface="Segoe UI"/>
            </a:endParaRPr>
          </a:p>
          <a:p>
            <a:pPr marL="342900" indent="-342900">
              <a:buAutoNum type="arabicPeriod"/>
            </a:pPr>
            <a:r>
              <a:rPr lang="en-US" sz="1750"/>
              <a:t>Every users needs to connect to the private network to get access on every device</a:t>
            </a:r>
          </a:p>
          <a:p>
            <a:pPr marL="342900" indent="-342900">
              <a:buAutoNum type="arabicPeriod"/>
            </a:pPr>
            <a:r>
              <a:rPr lang="en-US" sz="1750"/>
              <a:t>No longer able to load resources locally (slower reports)</a:t>
            </a:r>
            <a:endParaRPr lang="en-US" sz="1750">
              <a:cs typeface="Segoe UI"/>
            </a:endParaRPr>
          </a:p>
          <a:p>
            <a:pPr marL="342900" indent="-342900">
              <a:buFont typeface="+mj-lt"/>
              <a:buAutoNum type="arabicPeriod"/>
            </a:pPr>
            <a:r>
              <a:rPr lang="en-US" sz="1800"/>
              <a:t>Increases ExpressRoute bandwidth and added costs for Private Links</a:t>
            </a:r>
            <a:endParaRPr lang="en-US"/>
          </a:p>
          <a:p>
            <a:pPr marL="342900" indent="-342900">
              <a:buAutoNum type="arabicPeriod"/>
            </a:pPr>
            <a:r>
              <a:rPr lang="en-US" sz="1800">
                <a:cs typeface="Segoe UI"/>
              </a:rPr>
              <a:t>Several product limitations (like on-prem data gateway)</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cs typeface="Segoe UI"/>
            </a:endParaRPr>
          </a:p>
          <a:p>
            <a:endParaRPr lang="en-NL">
              <a:cs typeface="Segoe UI"/>
            </a:endParaRPr>
          </a:p>
        </p:txBody>
      </p:sp>
      <p:sp>
        <p:nvSpPr>
          <p:cNvPr id="5" name="TextBox 4">
            <a:extLst>
              <a:ext uri="{FF2B5EF4-FFF2-40B4-BE49-F238E27FC236}">
                <a16:creationId xmlns:a16="http://schemas.microsoft.com/office/drawing/2014/main" id="{E8A9B947-AAB8-444F-D758-E1D9C8B9597A}"/>
              </a:ext>
            </a:extLst>
          </p:cNvPr>
          <p:cNvSpPr txBox="1"/>
          <p:nvPr/>
        </p:nvSpPr>
        <p:spPr>
          <a:xfrm>
            <a:off x="-25003" y="6411688"/>
            <a:ext cx="2403389" cy="363946"/>
          </a:xfrm>
          <a:prstGeom prst="rect">
            <a:avLst/>
          </a:prstGeom>
          <a:solidFill>
            <a:schemeClr val="bg1"/>
          </a:solidFill>
        </p:spPr>
        <p:txBody>
          <a:bodyPr wrap="square" rtlCol="0">
            <a:spAutoFit/>
          </a:bodyPr>
          <a:lstStyle/>
          <a:p>
            <a:endParaRPr lang="en-NL"/>
          </a:p>
        </p:txBody>
      </p:sp>
      <p:pic>
        <p:nvPicPr>
          <p:cNvPr id="64" name="Picture 63">
            <a:extLst>
              <a:ext uri="{FF2B5EF4-FFF2-40B4-BE49-F238E27FC236}">
                <a16:creationId xmlns:a16="http://schemas.microsoft.com/office/drawing/2014/main" id="{73C3875C-07B9-B553-3B17-12B3FBADA8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7867" y="1695780"/>
            <a:ext cx="6818063" cy="4113906"/>
          </a:xfrm>
          <a:prstGeom prst="rect">
            <a:avLst/>
          </a:prstGeom>
        </p:spPr>
      </p:pic>
    </p:spTree>
    <p:extLst>
      <p:ext uri="{BB962C8B-B14F-4D97-AF65-F5344CB8AC3E}">
        <p14:creationId xmlns:p14="http://schemas.microsoft.com/office/powerpoint/2010/main" val="31465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E33674C-5430-C1F3-AADA-EA7CFEE16176}"/>
              </a:ext>
            </a:extLst>
          </p:cNvPr>
          <p:cNvSpPr>
            <a:spLocks noGrp="1"/>
          </p:cNvSpPr>
          <p:nvPr>
            <p:ph type="body" sz="quarter" idx="11"/>
          </p:nvPr>
        </p:nvSpPr>
        <p:spPr>
          <a:xfrm>
            <a:off x="6339839" y="4007569"/>
            <a:ext cx="5129349" cy="1398587"/>
          </a:xfrm>
        </p:spPr>
        <p:txBody>
          <a:bodyPr/>
          <a:lstStyle/>
          <a:p>
            <a:r>
              <a:rPr lang="en-US"/>
              <a:t>Getting secured data </a:t>
            </a:r>
          </a:p>
          <a:p>
            <a:r>
              <a:rPr lang="en-US"/>
              <a:t>into Fabric</a:t>
            </a:r>
          </a:p>
        </p:txBody>
      </p:sp>
    </p:spTree>
    <p:extLst>
      <p:ext uri="{BB962C8B-B14F-4D97-AF65-F5344CB8AC3E}">
        <p14:creationId xmlns:p14="http://schemas.microsoft.com/office/powerpoint/2010/main" val="32350110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a:extLst>
            <a:ext uri="{FF2B5EF4-FFF2-40B4-BE49-F238E27FC236}">
              <a16:creationId xmlns:a16="http://schemas.microsoft.com/office/drawing/2014/main" id="{9E1794D9-9202-6581-D7C2-77358571E702}"/>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576776A1-2E60-D245-6D44-146591E0B2C8}"/>
              </a:ext>
            </a:extLst>
          </p:cNvPr>
          <p:cNvSpPr>
            <a:spLocks noGrp="1"/>
          </p:cNvSpPr>
          <p:nvPr>
            <p:ph type="subTitle" idx="1"/>
          </p:nvPr>
        </p:nvSpPr>
        <p:spPr>
          <a:xfrm>
            <a:off x="725374" y="1085679"/>
            <a:ext cx="10974592" cy="365126"/>
          </a:xfrm>
        </p:spPr>
        <p:txBody>
          <a:bodyPr lIns="0" tIns="0" rIns="0" bIns="0" anchor="t">
            <a:noAutofit/>
          </a:bodyPr>
          <a:lstStyle/>
          <a:p>
            <a:r>
              <a:rPr lang="en-US" sz="2000">
                <a:solidFill>
                  <a:schemeClr val="accent2"/>
                </a:solidFill>
                <a:cs typeface="Segoe UI"/>
              </a:rPr>
              <a:t>How to connect/load data in the VNET from Fabric</a:t>
            </a:r>
            <a:endParaRPr lang="en-US" sz="2000">
              <a:solidFill>
                <a:schemeClr val="accent2"/>
              </a:solidFill>
            </a:endParaRPr>
          </a:p>
        </p:txBody>
      </p:sp>
      <p:sp>
        <p:nvSpPr>
          <p:cNvPr id="3" name="Text Placeholder 2">
            <a:extLst>
              <a:ext uri="{FF2B5EF4-FFF2-40B4-BE49-F238E27FC236}">
                <a16:creationId xmlns:a16="http://schemas.microsoft.com/office/drawing/2014/main" id="{463674A1-F0C3-1A96-46A4-FBA3B50CA291}"/>
              </a:ext>
            </a:extLst>
          </p:cNvPr>
          <p:cNvSpPr>
            <a:spLocks noGrp="1"/>
          </p:cNvSpPr>
          <p:nvPr>
            <p:ph type="body" sz="quarter" idx="23"/>
          </p:nvPr>
        </p:nvSpPr>
        <p:spPr>
          <a:xfrm>
            <a:off x="622180" y="526545"/>
            <a:ext cx="10974592" cy="593740"/>
          </a:xfrm>
        </p:spPr>
        <p:txBody>
          <a:bodyPr lIns="0" tIns="0" rIns="0" bIns="0" anchor="t">
            <a:noAutofit/>
          </a:bodyPr>
          <a:lstStyle/>
          <a:p>
            <a:r>
              <a:rPr lang="en-US" sz="3200" b="0">
                <a:solidFill>
                  <a:srgbClr val="225B61"/>
                </a:solidFill>
                <a:latin typeface="Segoe Sans Display"/>
                <a:cs typeface="Segoe Sans Display" pitchFamily="2" charset="0"/>
              </a:rPr>
              <a:t>Getting data into Fabric</a:t>
            </a:r>
          </a:p>
        </p:txBody>
      </p:sp>
      <p:sp>
        <p:nvSpPr>
          <p:cNvPr id="4" name="Footer Placeholder 3">
            <a:extLst>
              <a:ext uri="{FF2B5EF4-FFF2-40B4-BE49-F238E27FC236}">
                <a16:creationId xmlns:a16="http://schemas.microsoft.com/office/drawing/2014/main" id="{AD84ADEC-0A7F-E44E-82E6-1EC0DE3716E6}"/>
              </a:ext>
            </a:extLst>
          </p:cNvPr>
          <p:cNvSpPr>
            <a:spLocks noGrp="1"/>
          </p:cNvSpPr>
          <p:nvPr>
            <p:ph type="ftr" sz="quarter" idx="24"/>
          </p:nvPr>
        </p:nvSpPr>
        <p:spPr/>
        <p:txBody>
          <a:bodyPr/>
          <a:lstStyle/>
          <a:p>
            <a:r>
              <a:rPr lang="en-US"/>
              <a:t>Microsoft Fabric / Section title</a:t>
            </a:r>
          </a:p>
        </p:txBody>
      </p:sp>
      <p:sp>
        <p:nvSpPr>
          <p:cNvPr id="5" name="Slide Number Placeholder 4">
            <a:extLst>
              <a:ext uri="{FF2B5EF4-FFF2-40B4-BE49-F238E27FC236}">
                <a16:creationId xmlns:a16="http://schemas.microsoft.com/office/drawing/2014/main" id="{D4EACA3D-9061-B6C4-7C18-36D2C9D10032}"/>
              </a:ext>
            </a:extLst>
          </p:cNvPr>
          <p:cNvSpPr>
            <a:spLocks noGrp="1"/>
          </p:cNvSpPr>
          <p:nvPr>
            <p:ph type="sldNum" sz="quarter" idx="25"/>
          </p:nvPr>
        </p:nvSpPr>
        <p:spPr/>
        <p:txBody>
          <a:bodyPr/>
          <a:lstStyle/>
          <a:p>
            <a:fld id="{B1356FBF-028C-F74E-A7B4-9B8ED246DD1B}" type="slidenum">
              <a:rPr lang="en-US" smtClean="0"/>
              <a:pPr/>
              <a:t>29</a:t>
            </a:fld>
            <a:endParaRPr lang="en-US"/>
          </a:p>
        </p:txBody>
      </p:sp>
      <p:pic>
        <p:nvPicPr>
          <p:cNvPr id="7" name="Graphic 6">
            <a:extLst>
              <a:ext uri="{FF2B5EF4-FFF2-40B4-BE49-F238E27FC236}">
                <a16:creationId xmlns:a16="http://schemas.microsoft.com/office/drawing/2014/main" id="{F24B20E3-68E5-C836-B606-8D4BC13013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16876" y="1920567"/>
            <a:ext cx="492241" cy="511645"/>
          </a:xfrm>
          <a:prstGeom prst="rect">
            <a:avLst/>
          </a:prstGeom>
        </p:spPr>
      </p:pic>
      <p:pic>
        <p:nvPicPr>
          <p:cNvPr id="8" name="Graphic 7">
            <a:extLst>
              <a:ext uri="{FF2B5EF4-FFF2-40B4-BE49-F238E27FC236}">
                <a16:creationId xmlns:a16="http://schemas.microsoft.com/office/drawing/2014/main" id="{633FCBA3-DBC3-7454-1A4D-F0B23AFF9E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31050" y="3938280"/>
            <a:ext cx="448688" cy="477970"/>
          </a:xfrm>
          <a:prstGeom prst="rect">
            <a:avLst/>
          </a:prstGeom>
        </p:spPr>
      </p:pic>
      <p:pic>
        <p:nvPicPr>
          <p:cNvPr id="10" name="Graphic 9">
            <a:extLst>
              <a:ext uri="{FF2B5EF4-FFF2-40B4-BE49-F238E27FC236}">
                <a16:creationId xmlns:a16="http://schemas.microsoft.com/office/drawing/2014/main" id="{3C000CFC-FC90-B804-8C6A-268186E297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74310" y="2173406"/>
            <a:ext cx="519070" cy="537510"/>
          </a:xfrm>
          <a:prstGeom prst="rect">
            <a:avLst/>
          </a:prstGeom>
        </p:spPr>
      </p:pic>
      <p:pic>
        <p:nvPicPr>
          <p:cNvPr id="12" name="Picture 11" descr="A logo of a cylinder&#10;&#10;Description automatically generated">
            <a:extLst>
              <a:ext uri="{FF2B5EF4-FFF2-40B4-BE49-F238E27FC236}">
                <a16:creationId xmlns:a16="http://schemas.microsoft.com/office/drawing/2014/main" id="{A0D79F08-3C0D-2731-AE4B-35307BAD9FD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267376" y="2101695"/>
            <a:ext cx="541094" cy="588009"/>
          </a:xfrm>
          <a:prstGeom prst="rect">
            <a:avLst/>
          </a:prstGeom>
        </p:spPr>
      </p:pic>
      <p:sp>
        <p:nvSpPr>
          <p:cNvPr id="14" name="Rounded Rectangle 14">
            <a:extLst>
              <a:ext uri="{FF2B5EF4-FFF2-40B4-BE49-F238E27FC236}">
                <a16:creationId xmlns:a16="http://schemas.microsoft.com/office/drawing/2014/main" id="{D6364BA8-EF92-A313-A1A4-AC85F084C9A9}"/>
              </a:ext>
            </a:extLst>
          </p:cNvPr>
          <p:cNvSpPr/>
          <p:nvPr/>
        </p:nvSpPr>
        <p:spPr>
          <a:xfrm>
            <a:off x="426457" y="4073855"/>
            <a:ext cx="1004828"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Azure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uLnTx/>
                <a:uFillTx/>
                <a:latin typeface="+mj-lt"/>
                <a:ea typeface="+mn-ea"/>
                <a:cs typeface="+mn-cs"/>
              </a:rPr>
              <a:t>Factory</a:t>
            </a:r>
          </a:p>
        </p:txBody>
      </p:sp>
      <p:pic>
        <p:nvPicPr>
          <p:cNvPr id="16" name="Graphic 15">
            <a:extLst>
              <a:ext uri="{FF2B5EF4-FFF2-40B4-BE49-F238E27FC236}">
                <a16:creationId xmlns:a16="http://schemas.microsoft.com/office/drawing/2014/main" id="{2663EB9E-887A-BC65-EEDD-783AB4DD79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5036" y="3754788"/>
            <a:ext cx="284614" cy="284614"/>
          </a:xfrm>
          <a:prstGeom prst="rect">
            <a:avLst/>
          </a:prstGeom>
        </p:spPr>
      </p:pic>
      <p:sp>
        <p:nvSpPr>
          <p:cNvPr id="18" name="Rounded Rectangle 14">
            <a:extLst>
              <a:ext uri="{FF2B5EF4-FFF2-40B4-BE49-F238E27FC236}">
                <a16:creationId xmlns:a16="http://schemas.microsoft.com/office/drawing/2014/main" id="{4E412D8D-B31F-137B-6F4A-FCBFFAB94561}"/>
              </a:ext>
            </a:extLst>
          </p:cNvPr>
          <p:cNvSpPr/>
          <p:nvPr/>
        </p:nvSpPr>
        <p:spPr>
          <a:xfrm>
            <a:off x="931552" y="4854269"/>
            <a:ext cx="1099230"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a:latin typeface="+mj-lt"/>
              </a:rPr>
              <a:t>Azure Synapse Analytics (Spark)</a:t>
            </a:r>
            <a:endParaRPr kumimoji="0" lang="en-US" sz="1100" b="0" i="0" u="none" strike="noStrike" kern="0" cap="none" spc="0" normalizeH="0" baseline="0" noProof="0">
              <a:ln>
                <a:noFill/>
              </a:ln>
              <a:uLnTx/>
              <a:uFillTx/>
              <a:latin typeface="+mj-lt"/>
              <a:ea typeface="+mn-ea"/>
              <a:cs typeface="+mn-cs"/>
            </a:endParaRPr>
          </a:p>
        </p:txBody>
      </p:sp>
      <p:pic>
        <p:nvPicPr>
          <p:cNvPr id="20" name="Graphic 19">
            <a:extLst>
              <a:ext uri="{FF2B5EF4-FFF2-40B4-BE49-F238E27FC236}">
                <a16:creationId xmlns:a16="http://schemas.microsoft.com/office/drawing/2014/main" id="{8A849F0B-9872-1BD0-8543-7427DB68E3C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9711" y="4459959"/>
            <a:ext cx="381000" cy="381000"/>
          </a:xfrm>
          <a:prstGeom prst="rect">
            <a:avLst/>
          </a:prstGeom>
        </p:spPr>
      </p:pic>
      <p:sp>
        <p:nvSpPr>
          <p:cNvPr id="22" name="Rounded Rectangle 14">
            <a:extLst>
              <a:ext uri="{FF2B5EF4-FFF2-40B4-BE49-F238E27FC236}">
                <a16:creationId xmlns:a16="http://schemas.microsoft.com/office/drawing/2014/main" id="{EF329C1B-B8B2-644E-255C-0564C597BD56}"/>
              </a:ext>
            </a:extLst>
          </p:cNvPr>
          <p:cNvSpPr/>
          <p:nvPr/>
        </p:nvSpPr>
        <p:spPr>
          <a:xfrm>
            <a:off x="1395041" y="4103098"/>
            <a:ext cx="1099230"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a:latin typeface="+mj-lt"/>
              </a:rPr>
              <a:t>Azur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a:latin typeface="+mj-lt"/>
              </a:rPr>
              <a:t>Databricks</a:t>
            </a:r>
            <a:endParaRPr kumimoji="0" lang="en-US" sz="1100" b="0" i="0" u="none" strike="noStrike" kern="0" cap="none" spc="0" normalizeH="0" baseline="0" noProof="0">
              <a:ln>
                <a:noFill/>
              </a:ln>
              <a:uLnTx/>
              <a:uFillTx/>
              <a:latin typeface="+mj-lt"/>
              <a:ea typeface="+mn-ea"/>
              <a:cs typeface="+mn-cs"/>
            </a:endParaRPr>
          </a:p>
        </p:txBody>
      </p:sp>
      <p:pic>
        <p:nvPicPr>
          <p:cNvPr id="24" name="Graphic 23">
            <a:extLst>
              <a:ext uri="{FF2B5EF4-FFF2-40B4-BE49-F238E27FC236}">
                <a16:creationId xmlns:a16="http://schemas.microsoft.com/office/drawing/2014/main" id="{9BEED3E6-32B6-CA61-6DE0-19F20C701C7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02258" y="3720334"/>
            <a:ext cx="353521" cy="353521"/>
          </a:xfrm>
          <a:prstGeom prst="rect">
            <a:avLst/>
          </a:prstGeom>
        </p:spPr>
      </p:pic>
      <p:pic>
        <p:nvPicPr>
          <p:cNvPr id="25" name="Picture 24" descr="Microsoft Azure Logo, symbol, meaning, history, PNG, brand">
            <a:extLst>
              <a:ext uri="{FF2B5EF4-FFF2-40B4-BE49-F238E27FC236}">
                <a16:creationId xmlns:a16="http://schemas.microsoft.com/office/drawing/2014/main" id="{494CD105-51CC-6A7A-22EF-7498A866697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43982" y="1955198"/>
            <a:ext cx="702117" cy="392919"/>
          </a:xfrm>
          <a:prstGeom prst="rect">
            <a:avLst/>
          </a:prstGeom>
        </p:spPr>
      </p:pic>
      <p:sp>
        <p:nvSpPr>
          <p:cNvPr id="26" name="Rounded Rectangle 14">
            <a:extLst>
              <a:ext uri="{FF2B5EF4-FFF2-40B4-BE49-F238E27FC236}">
                <a16:creationId xmlns:a16="http://schemas.microsoft.com/office/drawing/2014/main" id="{86CAEC82-86FB-C375-534A-89C847C80FF8}"/>
              </a:ext>
            </a:extLst>
          </p:cNvPr>
          <p:cNvSpPr/>
          <p:nvPr/>
        </p:nvSpPr>
        <p:spPr>
          <a:xfrm>
            <a:off x="933743" y="2415217"/>
            <a:ext cx="968493" cy="191810"/>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200" kern="0">
                <a:latin typeface="Segoe UI Semibold"/>
                <a:cs typeface="Segoe UI Semibold"/>
              </a:rPr>
              <a:t>Azure PaaS</a:t>
            </a:r>
          </a:p>
        </p:txBody>
      </p:sp>
      <p:sp>
        <p:nvSpPr>
          <p:cNvPr id="29" name="Rounded Rectangle 14">
            <a:extLst>
              <a:ext uri="{FF2B5EF4-FFF2-40B4-BE49-F238E27FC236}">
                <a16:creationId xmlns:a16="http://schemas.microsoft.com/office/drawing/2014/main" id="{D21615CB-77AF-3D72-334E-2E26880632FA}"/>
              </a:ext>
            </a:extLst>
          </p:cNvPr>
          <p:cNvSpPr/>
          <p:nvPr/>
        </p:nvSpPr>
        <p:spPr>
          <a:xfrm>
            <a:off x="3506306" y="2484381"/>
            <a:ext cx="1004828" cy="383619"/>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200" kern="0">
                <a:latin typeface="Segoe UI Semibold"/>
                <a:cs typeface="Segoe UI Semibold"/>
              </a:rPr>
              <a:t>Dataflows Gen2</a:t>
            </a:r>
            <a:endParaRPr lang="en-US" sz="1200"/>
          </a:p>
        </p:txBody>
      </p:sp>
      <p:sp>
        <p:nvSpPr>
          <p:cNvPr id="30" name="Rounded Rectangle 14">
            <a:extLst>
              <a:ext uri="{FF2B5EF4-FFF2-40B4-BE49-F238E27FC236}">
                <a16:creationId xmlns:a16="http://schemas.microsoft.com/office/drawing/2014/main" id="{2845DD5F-2E74-C2F5-419A-D0B031A6415F}"/>
              </a:ext>
            </a:extLst>
          </p:cNvPr>
          <p:cNvSpPr/>
          <p:nvPr/>
        </p:nvSpPr>
        <p:spPr>
          <a:xfrm>
            <a:off x="5861995" y="4402228"/>
            <a:ext cx="1186797" cy="383619"/>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200" kern="0">
                <a:latin typeface="Segoe UI Semibold"/>
                <a:cs typeface="Segoe UI Semibold"/>
              </a:rPr>
              <a:t>Fabric Pipelines (COPY)</a:t>
            </a:r>
            <a:endParaRPr lang="en-US" sz="1200"/>
          </a:p>
        </p:txBody>
      </p:sp>
      <p:sp>
        <p:nvSpPr>
          <p:cNvPr id="31" name="Rounded Rectangle 14">
            <a:extLst>
              <a:ext uri="{FF2B5EF4-FFF2-40B4-BE49-F238E27FC236}">
                <a16:creationId xmlns:a16="http://schemas.microsoft.com/office/drawing/2014/main" id="{D4084F4D-7235-A4A0-BF0C-0A75CC78264C}"/>
              </a:ext>
            </a:extLst>
          </p:cNvPr>
          <p:cNvSpPr/>
          <p:nvPr/>
        </p:nvSpPr>
        <p:spPr>
          <a:xfrm>
            <a:off x="8479753" y="2779859"/>
            <a:ext cx="1323275" cy="383619"/>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200" kern="0">
                <a:latin typeface="Segoe UI Semibold"/>
                <a:cs typeface="Segoe UI Semibold"/>
              </a:rPr>
              <a:t>Shortcut to ADLS Gen2</a:t>
            </a:r>
            <a:endParaRPr lang="en-US" sz="1200"/>
          </a:p>
        </p:txBody>
      </p:sp>
      <p:cxnSp>
        <p:nvCxnSpPr>
          <p:cNvPr id="33" name="Connector: Elbow 32">
            <a:extLst>
              <a:ext uri="{FF2B5EF4-FFF2-40B4-BE49-F238E27FC236}">
                <a16:creationId xmlns:a16="http://schemas.microsoft.com/office/drawing/2014/main" id="{F2C750AA-6B67-D1B0-C8FE-9DB050CBB020}"/>
              </a:ext>
            </a:extLst>
          </p:cNvPr>
          <p:cNvCxnSpPr>
            <a:cxnSpLocks/>
          </p:cNvCxnSpPr>
          <p:nvPr/>
        </p:nvCxnSpPr>
        <p:spPr>
          <a:xfrm flipH="1">
            <a:off x="8856233" y="2453789"/>
            <a:ext cx="570314" cy="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26DDA3F4-7E03-D1A7-E829-74AF770E549F}"/>
              </a:ext>
            </a:extLst>
          </p:cNvPr>
          <p:cNvSpPr/>
          <p:nvPr/>
        </p:nvSpPr>
        <p:spPr bwMode="auto">
          <a:xfrm>
            <a:off x="391374" y="1816075"/>
            <a:ext cx="2173778" cy="4602048"/>
          </a:xfrm>
          <a:prstGeom prst="rect">
            <a:avLst/>
          </a:prstGeom>
          <a:noFill/>
          <a:ln w="2222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6" name="Graphic 35">
            <a:extLst>
              <a:ext uri="{FF2B5EF4-FFF2-40B4-BE49-F238E27FC236}">
                <a16:creationId xmlns:a16="http://schemas.microsoft.com/office/drawing/2014/main" id="{D3E2483B-BDBA-4140-72EF-C18EEF445DB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805583" y="4787662"/>
            <a:ext cx="484210" cy="461465"/>
          </a:xfrm>
          <a:prstGeom prst="rect">
            <a:avLst/>
          </a:prstGeom>
        </p:spPr>
      </p:pic>
      <p:pic>
        <p:nvPicPr>
          <p:cNvPr id="37" name="Graphic 36">
            <a:extLst>
              <a:ext uri="{FF2B5EF4-FFF2-40B4-BE49-F238E27FC236}">
                <a16:creationId xmlns:a16="http://schemas.microsoft.com/office/drawing/2014/main" id="{DAF03368-83AA-A763-4E81-1CD6F9E8026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805583" y="3491125"/>
            <a:ext cx="478524" cy="455778"/>
          </a:xfrm>
          <a:prstGeom prst="rect">
            <a:avLst/>
          </a:prstGeom>
        </p:spPr>
      </p:pic>
      <p:sp>
        <p:nvSpPr>
          <p:cNvPr id="38" name="Rounded Rectangle 14">
            <a:extLst>
              <a:ext uri="{FF2B5EF4-FFF2-40B4-BE49-F238E27FC236}">
                <a16:creationId xmlns:a16="http://schemas.microsoft.com/office/drawing/2014/main" id="{638BA86A-ADEB-A328-FD70-FBBE08E1A8CF}"/>
              </a:ext>
            </a:extLst>
          </p:cNvPr>
          <p:cNvSpPr/>
          <p:nvPr/>
        </p:nvSpPr>
        <p:spPr>
          <a:xfrm>
            <a:off x="3543016" y="4050577"/>
            <a:ext cx="1004828"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100" kern="0">
                <a:latin typeface="+mj-lt"/>
              </a:rPr>
              <a:t>On-Prem Data Gateway</a:t>
            </a:r>
            <a:endParaRPr lang="en-US" sz="1100" kern="0">
              <a:latin typeface="Segoe UI Semibold"/>
              <a:cs typeface="Segoe UI Semibold"/>
            </a:endParaRPr>
          </a:p>
        </p:txBody>
      </p:sp>
      <p:sp>
        <p:nvSpPr>
          <p:cNvPr id="39" name="Rounded Rectangle 14">
            <a:extLst>
              <a:ext uri="{FF2B5EF4-FFF2-40B4-BE49-F238E27FC236}">
                <a16:creationId xmlns:a16="http://schemas.microsoft.com/office/drawing/2014/main" id="{20CE1DAE-F735-9CFB-C0AF-EB21AEB84E53}"/>
              </a:ext>
            </a:extLst>
          </p:cNvPr>
          <p:cNvSpPr/>
          <p:nvPr/>
        </p:nvSpPr>
        <p:spPr>
          <a:xfrm>
            <a:off x="3543015" y="5341427"/>
            <a:ext cx="1004828"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100" kern="0">
                <a:latin typeface="+mj-lt"/>
              </a:rPr>
              <a:t>VNet Data Gateway</a:t>
            </a:r>
            <a:endParaRPr lang="en-US" sz="1100" kern="0">
              <a:latin typeface="Segoe UI Semibold"/>
              <a:cs typeface="Segoe UI Semibold"/>
            </a:endParaRPr>
          </a:p>
        </p:txBody>
      </p:sp>
      <p:sp>
        <p:nvSpPr>
          <p:cNvPr id="40" name="Rectangle 39">
            <a:extLst>
              <a:ext uri="{FF2B5EF4-FFF2-40B4-BE49-F238E27FC236}">
                <a16:creationId xmlns:a16="http://schemas.microsoft.com/office/drawing/2014/main" id="{8B596EB4-23FC-1276-5C23-AF1709A755DF}"/>
              </a:ext>
            </a:extLst>
          </p:cNvPr>
          <p:cNvSpPr/>
          <p:nvPr/>
        </p:nvSpPr>
        <p:spPr bwMode="auto">
          <a:xfrm>
            <a:off x="3116432" y="1804703"/>
            <a:ext cx="1893130" cy="4613420"/>
          </a:xfrm>
          <a:prstGeom prst="rect">
            <a:avLst/>
          </a:prstGeom>
          <a:noFill/>
          <a:ln w="2222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1" name="Graphic 40">
            <a:extLst>
              <a:ext uri="{FF2B5EF4-FFF2-40B4-BE49-F238E27FC236}">
                <a16:creationId xmlns:a16="http://schemas.microsoft.com/office/drawing/2014/main" id="{16726765-65A4-D9F6-3B4E-2EF1A9F5B20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268002" y="5202075"/>
            <a:ext cx="478524" cy="455778"/>
          </a:xfrm>
          <a:prstGeom prst="rect">
            <a:avLst/>
          </a:prstGeom>
        </p:spPr>
      </p:pic>
      <p:sp>
        <p:nvSpPr>
          <p:cNvPr id="42" name="Rounded Rectangle 14">
            <a:extLst>
              <a:ext uri="{FF2B5EF4-FFF2-40B4-BE49-F238E27FC236}">
                <a16:creationId xmlns:a16="http://schemas.microsoft.com/office/drawing/2014/main" id="{795F6EF4-333B-B3AC-7078-FFF4D367CE75}"/>
              </a:ext>
            </a:extLst>
          </p:cNvPr>
          <p:cNvSpPr/>
          <p:nvPr/>
        </p:nvSpPr>
        <p:spPr>
          <a:xfrm>
            <a:off x="6005435" y="5761527"/>
            <a:ext cx="1004828"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100" kern="0">
                <a:latin typeface="+mj-lt"/>
              </a:rPr>
              <a:t>On-Prem Data Gateway</a:t>
            </a:r>
            <a:endParaRPr lang="en-US" sz="1100" kern="0">
              <a:latin typeface="Segoe UI Semibold"/>
              <a:cs typeface="Segoe UI Semibold"/>
            </a:endParaRPr>
          </a:p>
        </p:txBody>
      </p:sp>
      <p:sp>
        <p:nvSpPr>
          <p:cNvPr id="51" name="Rectangle 50">
            <a:extLst>
              <a:ext uri="{FF2B5EF4-FFF2-40B4-BE49-F238E27FC236}">
                <a16:creationId xmlns:a16="http://schemas.microsoft.com/office/drawing/2014/main" id="{8FB8BE95-7FC8-4EDB-5F13-16C72484B88D}"/>
              </a:ext>
            </a:extLst>
          </p:cNvPr>
          <p:cNvSpPr/>
          <p:nvPr/>
        </p:nvSpPr>
        <p:spPr bwMode="auto">
          <a:xfrm>
            <a:off x="8098381" y="1834964"/>
            <a:ext cx="2183144" cy="2823182"/>
          </a:xfrm>
          <a:prstGeom prst="rect">
            <a:avLst/>
          </a:prstGeom>
          <a:noFill/>
          <a:ln w="2222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6" name="Graphic 55" descr="Badge Tick with solid fill">
            <a:extLst>
              <a:ext uri="{FF2B5EF4-FFF2-40B4-BE49-F238E27FC236}">
                <a16:creationId xmlns:a16="http://schemas.microsoft.com/office/drawing/2014/main" id="{E67D8552-05D9-B726-05F9-3BD48312C4A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849328" y="3386297"/>
            <a:ext cx="681251" cy="652819"/>
          </a:xfrm>
          <a:prstGeom prst="rect">
            <a:avLst/>
          </a:prstGeom>
        </p:spPr>
      </p:pic>
      <p:sp>
        <p:nvSpPr>
          <p:cNvPr id="6" name="TextBox 5">
            <a:extLst>
              <a:ext uri="{FF2B5EF4-FFF2-40B4-BE49-F238E27FC236}">
                <a16:creationId xmlns:a16="http://schemas.microsoft.com/office/drawing/2014/main" id="{1FA1DD5B-C83D-88CC-5E91-2CD13093CEF1}"/>
              </a:ext>
            </a:extLst>
          </p:cNvPr>
          <p:cNvSpPr txBox="1"/>
          <p:nvPr/>
        </p:nvSpPr>
        <p:spPr>
          <a:xfrm>
            <a:off x="38951" y="6418123"/>
            <a:ext cx="2839716" cy="363946"/>
          </a:xfrm>
          <a:prstGeom prst="rect">
            <a:avLst/>
          </a:prstGeom>
          <a:solidFill>
            <a:schemeClr val="bg1"/>
          </a:solidFill>
        </p:spPr>
        <p:txBody>
          <a:bodyPr wrap="square" rtlCol="0">
            <a:spAutoFit/>
          </a:bodyPr>
          <a:lstStyle/>
          <a:p>
            <a:endParaRPr lang="en-NL"/>
          </a:p>
        </p:txBody>
      </p:sp>
      <p:sp>
        <p:nvSpPr>
          <p:cNvPr id="13" name="TextBox 12">
            <a:extLst>
              <a:ext uri="{FF2B5EF4-FFF2-40B4-BE49-F238E27FC236}">
                <a16:creationId xmlns:a16="http://schemas.microsoft.com/office/drawing/2014/main" id="{414E67C2-F667-2E7F-9187-B007F7CAED1C}"/>
              </a:ext>
            </a:extLst>
          </p:cNvPr>
          <p:cNvSpPr txBox="1"/>
          <p:nvPr/>
        </p:nvSpPr>
        <p:spPr>
          <a:xfrm>
            <a:off x="8234957" y="4101135"/>
            <a:ext cx="2046568" cy="261610"/>
          </a:xfrm>
          <a:prstGeom prst="rect">
            <a:avLst/>
          </a:prstGeom>
          <a:noFill/>
        </p:spPr>
        <p:txBody>
          <a:bodyPr wrap="square">
            <a:spAutoFit/>
          </a:bodyPr>
          <a:lstStyle/>
          <a:p>
            <a:r>
              <a:rPr lang="en-US" sz="1100" b="1" dirty="0">
                <a:solidFill>
                  <a:srgbClr val="161616"/>
                </a:solidFill>
                <a:latin typeface="Segoe UI" panose="020B0502040204020203" pitchFamily="34" charset="0"/>
              </a:rPr>
              <a:t>Trusted Workspace Access</a:t>
            </a:r>
            <a:endParaRPr lang="en-NL" sz="1100" b="1" dirty="0">
              <a:solidFill>
                <a:srgbClr val="161616"/>
              </a:solidFill>
              <a:latin typeface="Segoe UI" panose="020B0502040204020203" pitchFamily="34" charset="0"/>
            </a:endParaRPr>
          </a:p>
        </p:txBody>
      </p:sp>
      <p:sp>
        <p:nvSpPr>
          <p:cNvPr id="17" name="Rounded Rectangle 14">
            <a:extLst>
              <a:ext uri="{FF2B5EF4-FFF2-40B4-BE49-F238E27FC236}">
                <a16:creationId xmlns:a16="http://schemas.microsoft.com/office/drawing/2014/main" id="{DE3F3361-6EDD-6EF3-4E06-2F2B8D8F30B9}"/>
              </a:ext>
            </a:extLst>
          </p:cNvPr>
          <p:cNvSpPr/>
          <p:nvPr/>
        </p:nvSpPr>
        <p:spPr>
          <a:xfrm>
            <a:off x="5653971" y="3338601"/>
            <a:ext cx="1921107" cy="175826"/>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a:r>
              <a:rPr lang="en-US" sz="1100" b="1" i="0">
                <a:solidFill>
                  <a:srgbClr val="161616"/>
                </a:solidFill>
                <a:effectLst/>
                <a:latin typeface="Segoe UI" panose="020B0502040204020203" pitchFamily="34" charset="0"/>
              </a:rPr>
              <a:t>Managed private endpoints</a:t>
            </a:r>
          </a:p>
        </p:txBody>
      </p:sp>
      <p:sp>
        <p:nvSpPr>
          <p:cNvPr id="21" name="Graphic 1033">
            <a:extLst>
              <a:ext uri="{FF2B5EF4-FFF2-40B4-BE49-F238E27FC236}">
                <a16:creationId xmlns:a16="http://schemas.microsoft.com/office/drawing/2014/main" id="{5244AAB0-19A5-C6B7-4952-11C10512A6EC}"/>
              </a:ext>
            </a:extLst>
          </p:cNvPr>
          <p:cNvSpPr/>
          <p:nvPr/>
        </p:nvSpPr>
        <p:spPr>
          <a:xfrm>
            <a:off x="6331858" y="2946416"/>
            <a:ext cx="382351" cy="316541"/>
          </a:xfrm>
          <a:custGeom>
            <a:avLst/>
            <a:gdLst>
              <a:gd name="connsiteX0" fmla="*/ 83915 w 268509"/>
              <a:gd name="connsiteY0" fmla="*/ 236030 h 236029"/>
              <a:gd name="connsiteX1" fmla="*/ 0 w 268509"/>
              <a:gd name="connsiteY1" fmla="*/ 161830 h 236029"/>
              <a:gd name="connsiteX2" fmla="*/ 83915 w 268509"/>
              <a:gd name="connsiteY2" fmla="*/ 91345 h 236029"/>
              <a:gd name="connsiteX3" fmla="*/ 184595 w 268509"/>
              <a:gd name="connsiteY3" fmla="*/ 236030 h 236029"/>
              <a:gd name="connsiteX4" fmla="*/ 268510 w 268509"/>
              <a:gd name="connsiteY4" fmla="*/ 161830 h 236029"/>
              <a:gd name="connsiteX5" fmla="*/ 184595 w 268509"/>
              <a:gd name="connsiteY5" fmla="*/ 91345 h 236029"/>
              <a:gd name="connsiteX6" fmla="*/ 134207 w 268509"/>
              <a:gd name="connsiteY6" fmla="*/ 40100 h 236029"/>
              <a:gd name="connsiteX7" fmla="*/ 134207 w 268509"/>
              <a:gd name="connsiteY7" fmla="*/ 143637 h 236029"/>
              <a:gd name="connsiteX8" fmla="*/ 134207 w 268509"/>
              <a:gd name="connsiteY8" fmla="*/ 0 h 236029"/>
              <a:gd name="connsiteX9" fmla="*/ 114110 w 268509"/>
              <a:gd name="connsiteY9" fmla="*/ 20098 h 236029"/>
              <a:gd name="connsiteX10" fmla="*/ 134207 w 268509"/>
              <a:gd name="connsiteY10" fmla="*/ 40196 h 236029"/>
              <a:gd name="connsiteX11" fmla="*/ 154305 w 268509"/>
              <a:gd name="connsiteY11" fmla="*/ 20098 h 236029"/>
              <a:gd name="connsiteX12" fmla="*/ 134207 w 268509"/>
              <a:gd name="connsiteY12" fmla="*/ 0 h 236029"/>
              <a:gd name="connsiteX13" fmla="*/ 134207 w 268509"/>
              <a:gd name="connsiteY13" fmla="*/ 143637 h 236029"/>
              <a:gd name="connsiteX14" fmla="*/ 114110 w 268509"/>
              <a:gd name="connsiteY14" fmla="*/ 163735 h 236029"/>
              <a:gd name="connsiteX15" fmla="*/ 134207 w 268509"/>
              <a:gd name="connsiteY15" fmla="*/ 183833 h 236029"/>
              <a:gd name="connsiteX16" fmla="*/ 154305 w 268509"/>
              <a:gd name="connsiteY16" fmla="*/ 163735 h 236029"/>
              <a:gd name="connsiteX17" fmla="*/ 134207 w 268509"/>
              <a:gd name="connsiteY17" fmla="*/ 143637 h 23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509" h="236029">
                <a:moveTo>
                  <a:pt x="83915" y="236030"/>
                </a:moveTo>
                <a:lnTo>
                  <a:pt x="0" y="161830"/>
                </a:lnTo>
                <a:lnTo>
                  <a:pt x="83915" y="91345"/>
                </a:lnTo>
                <a:moveTo>
                  <a:pt x="184595" y="236030"/>
                </a:moveTo>
                <a:lnTo>
                  <a:pt x="268510" y="161830"/>
                </a:lnTo>
                <a:lnTo>
                  <a:pt x="184595" y="91345"/>
                </a:lnTo>
                <a:moveTo>
                  <a:pt x="134207" y="40100"/>
                </a:moveTo>
                <a:lnTo>
                  <a:pt x="134207" y="143637"/>
                </a:lnTo>
                <a:moveTo>
                  <a:pt x="134207" y="0"/>
                </a:moveTo>
                <a:cubicBezTo>
                  <a:pt x="123158" y="0"/>
                  <a:pt x="114110" y="8954"/>
                  <a:pt x="114110" y="20098"/>
                </a:cubicBezTo>
                <a:cubicBezTo>
                  <a:pt x="114110" y="31242"/>
                  <a:pt x="123063" y="40196"/>
                  <a:pt x="134207" y="40196"/>
                </a:cubicBezTo>
                <a:cubicBezTo>
                  <a:pt x="145352" y="40196"/>
                  <a:pt x="154305" y="31242"/>
                  <a:pt x="154305" y="20098"/>
                </a:cubicBezTo>
                <a:cubicBezTo>
                  <a:pt x="154305" y="8954"/>
                  <a:pt x="145256" y="0"/>
                  <a:pt x="134207" y="0"/>
                </a:cubicBezTo>
                <a:close/>
                <a:moveTo>
                  <a:pt x="134207" y="143637"/>
                </a:moveTo>
                <a:cubicBezTo>
                  <a:pt x="123158" y="143637"/>
                  <a:pt x="114110" y="152591"/>
                  <a:pt x="114110" y="163735"/>
                </a:cubicBezTo>
                <a:cubicBezTo>
                  <a:pt x="114110" y="174784"/>
                  <a:pt x="123063" y="183833"/>
                  <a:pt x="134207" y="183833"/>
                </a:cubicBezTo>
                <a:cubicBezTo>
                  <a:pt x="145352" y="183833"/>
                  <a:pt x="154305" y="174879"/>
                  <a:pt x="154305" y="163735"/>
                </a:cubicBezTo>
                <a:cubicBezTo>
                  <a:pt x="154305" y="152591"/>
                  <a:pt x="145256" y="143637"/>
                  <a:pt x="134207" y="143637"/>
                </a:cubicBezTo>
                <a:close/>
              </a:path>
            </a:pathLst>
          </a:custGeom>
          <a:noFill/>
          <a:ln w="15875" cap="flat">
            <a:solidFill>
              <a:schemeClr val="tx1"/>
            </a:solidFill>
            <a:prstDash val="solid"/>
            <a:miter/>
          </a:ln>
        </p:spPr>
        <p:txBody>
          <a:bodyPr rtlCol="0" anchor="ctr"/>
          <a:lstStyle/>
          <a:p>
            <a:pPr defTabSz="932597">
              <a:defRPr/>
            </a:pPr>
            <a:endParaRPr lang="en-US" sz="1836">
              <a:solidFill>
                <a:srgbClr val="3C3C41"/>
              </a:solidFill>
              <a:latin typeface="Segoe UI"/>
            </a:endParaRPr>
          </a:p>
        </p:txBody>
      </p:sp>
      <p:sp>
        <p:nvSpPr>
          <p:cNvPr id="23" name="Rectangle 22">
            <a:extLst>
              <a:ext uri="{FF2B5EF4-FFF2-40B4-BE49-F238E27FC236}">
                <a16:creationId xmlns:a16="http://schemas.microsoft.com/office/drawing/2014/main" id="{A919818D-89FD-7CC8-6552-DC50393F238E}"/>
              </a:ext>
            </a:extLst>
          </p:cNvPr>
          <p:cNvSpPr/>
          <p:nvPr/>
        </p:nvSpPr>
        <p:spPr bwMode="auto">
          <a:xfrm>
            <a:off x="5436145" y="1834964"/>
            <a:ext cx="2173778" cy="1801906"/>
          </a:xfrm>
          <a:prstGeom prst="rect">
            <a:avLst/>
          </a:prstGeom>
          <a:noFill/>
          <a:ln w="2222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5DA4DBA3-698E-9DBF-CD41-AA279D80A4D8}"/>
              </a:ext>
            </a:extLst>
          </p:cNvPr>
          <p:cNvSpPr/>
          <p:nvPr/>
        </p:nvSpPr>
        <p:spPr bwMode="auto">
          <a:xfrm>
            <a:off x="5436145" y="3868969"/>
            <a:ext cx="2173778" cy="2545619"/>
          </a:xfrm>
          <a:prstGeom prst="rect">
            <a:avLst/>
          </a:prstGeom>
          <a:noFill/>
          <a:ln w="2222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4" name="Graphic 33">
            <a:extLst>
              <a:ext uri="{FF2B5EF4-FFF2-40B4-BE49-F238E27FC236}">
                <a16:creationId xmlns:a16="http://schemas.microsoft.com/office/drawing/2014/main" id="{F6AAD1FB-113B-3289-439A-5F55066B06F5}"/>
              </a:ext>
            </a:extLst>
          </p:cNvPr>
          <p:cNvPicPr>
            <a:picLocks noChangeAspect="1"/>
          </p:cNvPicPr>
          <p:nvPr/>
        </p:nvPicPr>
        <p:blipFill rotWithShape="1">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rcRect l="-7916" r="-7916"/>
          <a:stretch/>
        </p:blipFill>
        <p:spPr>
          <a:xfrm>
            <a:off x="6268002" y="1984064"/>
            <a:ext cx="458610" cy="395926"/>
          </a:xfrm>
          <a:prstGeom prst="rect">
            <a:avLst/>
          </a:prstGeom>
        </p:spPr>
      </p:pic>
      <p:sp>
        <p:nvSpPr>
          <p:cNvPr id="9" name="Rounded Rectangle 14">
            <a:extLst>
              <a:ext uri="{FF2B5EF4-FFF2-40B4-BE49-F238E27FC236}">
                <a16:creationId xmlns:a16="http://schemas.microsoft.com/office/drawing/2014/main" id="{2292936D-6D40-BBED-B1D8-B0CFD9565FE0}"/>
              </a:ext>
            </a:extLst>
          </p:cNvPr>
          <p:cNvSpPr/>
          <p:nvPr/>
        </p:nvSpPr>
        <p:spPr>
          <a:xfrm>
            <a:off x="5994893" y="2537888"/>
            <a:ext cx="1004828" cy="191810"/>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4400">
              <a:defRPr/>
            </a:pPr>
            <a:r>
              <a:rPr lang="en-US" sz="1200" kern="0">
                <a:latin typeface="Segoe UI Semibold"/>
                <a:cs typeface="Segoe UI Semibold"/>
              </a:rPr>
              <a:t>Fabric Spark</a:t>
            </a:r>
            <a:endParaRPr lang="en-US" sz="1200"/>
          </a:p>
        </p:txBody>
      </p:sp>
    </p:spTree>
    <p:extLst>
      <p:ext uri="{BB962C8B-B14F-4D97-AF65-F5344CB8AC3E}">
        <p14:creationId xmlns:p14="http://schemas.microsoft.com/office/powerpoint/2010/main" val="24633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70BF684-B8C6-D73E-1D97-6DA5B4A0F192}"/>
              </a:ext>
            </a:extLst>
          </p:cNvPr>
          <p:cNvSpPr>
            <a:spLocks noGrp="1"/>
          </p:cNvSpPr>
          <p:nvPr>
            <p:ph type="sldNum" sz="quarter" idx="4"/>
          </p:nvPr>
        </p:nvSpPr>
        <p:spPr/>
        <p:txBody>
          <a:bodyPr/>
          <a:lstStyle/>
          <a:p>
            <a:fld id="{B1356FBF-028C-F74E-A7B4-9B8ED246DD1B}" type="slidenum">
              <a:rPr lang="en-US" smtClean="0"/>
              <a:t>3</a:t>
            </a:fld>
            <a:endParaRPr lang="en-US"/>
          </a:p>
        </p:txBody>
      </p:sp>
      <p:sp>
        <p:nvSpPr>
          <p:cNvPr id="4" name="Footer Placeholder 3">
            <a:extLst>
              <a:ext uri="{FF2B5EF4-FFF2-40B4-BE49-F238E27FC236}">
                <a16:creationId xmlns:a16="http://schemas.microsoft.com/office/drawing/2014/main" id="{A6F163E9-9B3B-3312-99C4-D752BD2F1290}"/>
              </a:ext>
            </a:extLst>
          </p:cNvPr>
          <p:cNvSpPr>
            <a:spLocks noGrp="1"/>
          </p:cNvSpPr>
          <p:nvPr>
            <p:ph type="ftr" sz="quarter" idx="3"/>
          </p:nvPr>
        </p:nvSpPr>
        <p:spPr/>
        <p:txBody>
          <a:bodyPr/>
          <a:lstStyle/>
          <a:p>
            <a:r>
              <a:rPr lang="en-US"/>
              <a:t>Micrsoft Fabric</a:t>
            </a:r>
          </a:p>
        </p:txBody>
      </p:sp>
      <p:sp>
        <p:nvSpPr>
          <p:cNvPr id="6" name="TextBox 5">
            <a:extLst>
              <a:ext uri="{FF2B5EF4-FFF2-40B4-BE49-F238E27FC236}">
                <a16:creationId xmlns:a16="http://schemas.microsoft.com/office/drawing/2014/main" id="{934F2D8C-5F72-37FD-964F-748F8590603C}"/>
              </a:ext>
            </a:extLst>
          </p:cNvPr>
          <p:cNvSpPr txBox="1"/>
          <p:nvPr/>
        </p:nvSpPr>
        <p:spPr>
          <a:xfrm>
            <a:off x="5410900" y="1171010"/>
            <a:ext cx="6542566" cy="1754326"/>
          </a:xfrm>
          <a:prstGeom prst="rect">
            <a:avLst/>
          </a:prstGeom>
          <a:noFill/>
        </p:spPr>
        <p:txBody>
          <a:bodyPr wrap="square" rtlCol="0">
            <a:spAutoFit/>
          </a:bodyPr>
          <a:lstStyle/>
          <a:p>
            <a:r>
              <a:rPr lang="en-US" sz="3600" dirty="0"/>
              <a:t>For all the latest security related information please visit:</a:t>
            </a:r>
          </a:p>
          <a:p>
            <a:r>
              <a:rPr lang="en-US" sz="3600" dirty="0">
                <a:hlinkClick r:id="rId2"/>
              </a:rPr>
              <a:t>https://aka.ms/MSFabricSecurity</a:t>
            </a:r>
            <a:r>
              <a:rPr lang="en-US" sz="3600" dirty="0"/>
              <a:t> </a:t>
            </a:r>
            <a:endParaRPr lang="en-NL" sz="3600" dirty="0"/>
          </a:p>
        </p:txBody>
      </p:sp>
    </p:spTree>
    <p:extLst>
      <p:ext uri="{BB962C8B-B14F-4D97-AF65-F5344CB8AC3E}">
        <p14:creationId xmlns:p14="http://schemas.microsoft.com/office/powerpoint/2010/main" val="12959744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55BE264-9B2D-A26C-C783-4E849022EB81}"/>
              </a:ext>
            </a:extLst>
          </p:cNvPr>
          <p:cNvSpPr>
            <a:spLocks noGrp="1"/>
          </p:cNvSpPr>
          <p:nvPr>
            <p:ph type="body" sz="quarter" idx="23"/>
          </p:nvPr>
        </p:nvSpPr>
        <p:spPr/>
        <p:txBody>
          <a:bodyPr/>
          <a:lstStyle/>
          <a:p>
            <a:r>
              <a:rPr lang="en-US">
                <a:cs typeface="Segoe UI"/>
              </a:rPr>
              <a:t>Connect/load data in the VNET from Fabric</a:t>
            </a:r>
            <a:endParaRPr lang="en-US"/>
          </a:p>
        </p:txBody>
      </p:sp>
      <p:sp>
        <p:nvSpPr>
          <p:cNvPr id="5" name="Slide Number Placeholder 4">
            <a:extLst>
              <a:ext uri="{FF2B5EF4-FFF2-40B4-BE49-F238E27FC236}">
                <a16:creationId xmlns:a16="http://schemas.microsoft.com/office/drawing/2014/main" id="{77C150F4-8D59-F178-9A7A-9D6989E02B0C}"/>
              </a:ext>
            </a:extLst>
          </p:cNvPr>
          <p:cNvSpPr>
            <a:spLocks noGrp="1"/>
          </p:cNvSpPr>
          <p:nvPr>
            <p:ph type="sldNum" sz="quarter" idx="25"/>
          </p:nvPr>
        </p:nvSpPr>
        <p:spPr>
          <a:xfrm>
            <a:off x="456339" y="6311900"/>
            <a:ext cx="399288"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000" b="0" i="0" u="none" strike="noStrike" kern="1200" cap="none" spc="0" normalizeH="0" baseline="0" noProof="0" smtClean="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rPr>
              <a:pPr marL="0" marR="0" lvl="0" indent="0" algn="l" defTabSz="914367"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001919">
                  <a:tint val="75000"/>
                </a:srgbClr>
              </a:solidFill>
              <a:effectLst/>
              <a:uLnTx/>
              <a:uFillTx/>
              <a:latin typeface="Segoe UI Semilight" panose="020B0402040204020203" pitchFamily="34" charset="0"/>
              <a:ea typeface="+mn-ea"/>
              <a:cs typeface="Segoe UI Semilight" panose="020B0402040204020203" pitchFamily="34" charset="0"/>
            </a:endParaRPr>
          </a:p>
        </p:txBody>
      </p:sp>
      <p:sp>
        <p:nvSpPr>
          <p:cNvPr id="87" name="Rounded Rectangle 14">
            <a:extLst>
              <a:ext uri="{FF2B5EF4-FFF2-40B4-BE49-F238E27FC236}">
                <a16:creationId xmlns:a16="http://schemas.microsoft.com/office/drawing/2014/main" id="{00F55B1C-F5AE-B87B-CF1B-7BB1110D8BA3}"/>
              </a:ext>
            </a:extLst>
          </p:cNvPr>
          <p:cNvSpPr/>
          <p:nvPr/>
        </p:nvSpPr>
        <p:spPr>
          <a:xfrm>
            <a:off x="6664803" y="2950606"/>
            <a:ext cx="3670265" cy="35165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1919"/>
                </a:solidFill>
                <a:effectLst/>
                <a:uLnTx/>
                <a:uFillTx/>
                <a:latin typeface="Segoe UI Semibold"/>
                <a:ea typeface="+mn-ea"/>
                <a:cs typeface="+mn-cs"/>
              </a:rPr>
              <a:t>Trusted Access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1919"/>
                </a:solidFill>
                <a:effectLst/>
                <a:uLnTx/>
                <a:uFillTx/>
                <a:latin typeface="Segoe UI Semibold"/>
                <a:ea typeface="+mn-ea"/>
                <a:cs typeface="+mn-cs"/>
              </a:rPr>
              <a:t>Fabric Workspace Identity</a:t>
            </a:r>
          </a:p>
        </p:txBody>
      </p:sp>
      <p:pic>
        <p:nvPicPr>
          <p:cNvPr id="32" name="Graphic 31" descr="Female Profile with solid fill">
            <a:extLst>
              <a:ext uri="{FF2B5EF4-FFF2-40B4-BE49-F238E27FC236}">
                <a16:creationId xmlns:a16="http://schemas.microsoft.com/office/drawing/2014/main" id="{48427FED-6877-B715-89A0-27393C1C26A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5627" y="3706925"/>
            <a:ext cx="555217" cy="555217"/>
          </a:xfrm>
          <a:prstGeom prst="rect">
            <a:avLst/>
          </a:prstGeom>
        </p:spPr>
      </p:pic>
      <p:cxnSp>
        <p:nvCxnSpPr>
          <p:cNvPr id="34" name="Straight Arrow Connector 33">
            <a:extLst>
              <a:ext uri="{FF2B5EF4-FFF2-40B4-BE49-F238E27FC236}">
                <a16:creationId xmlns:a16="http://schemas.microsoft.com/office/drawing/2014/main" id="{90A8E68A-85D8-4126-C7D2-A028F89860E9}"/>
              </a:ext>
            </a:extLst>
          </p:cNvPr>
          <p:cNvCxnSpPr>
            <a:cxnSpLocks/>
          </p:cNvCxnSpPr>
          <p:nvPr/>
        </p:nvCxnSpPr>
        <p:spPr>
          <a:xfrm>
            <a:off x="1464621" y="3998567"/>
            <a:ext cx="149926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6" name="Title 1">
            <a:extLst>
              <a:ext uri="{FF2B5EF4-FFF2-40B4-BE49-F238E27FC236}">
                <a16:creationId xmlns:a16="http://schemas.microsoft.com/office/drawing/2014/main" id="{987CBC38-387A-D15E-F204-4A2E2A79C827}"/>
              </a:ext>
            </a:extLst>
          </p:cNvPr>
          <p:cNvSpPr txBox="1">
            <a:spLocks/>
          </p:cNvSpPr>
          <p:nvPr/>
        </p:nvSpPr>
        <p:spPr>
          <a:xfrm>
            <a:off x="1279505" y="4041987"/>
            <a:ext cx="1398905" cy="138499"/>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900" b="1" spc="0">
                <a:solidFill>
                  <a:schemeClr val="accent5"/>
                </a:solidFill>
                <a:latin typeface="Segoe UI"/>
              </a:rPr>
              <a:t>Inbound</a:t>
            </a:r>
          </a:p>
        </p:txBody>
      </p:sp>
      <p:grpSp>
        <p:nvGrpSpPr>
          <p:cNvPr id="37" name="Group 36">
            <a:extLst>
              <a:ext uri="{FF2B5EF4-FFF2-40B4-BE49-F238E27FC236}">
                <a16:creationId xmlns:a16="http://schemas.microsoft.com/office/drawing/2014/main" id="{18898398-2F8C-AB32-7BC8-DF99D8D7A10B}"/>
              </a:ext>
            </a:extLst>
          </p:cNvPr>
          <p:cNvGrpSpPr/>
          <p:nvPr/>
        </p:nvGrpSpPr>
        <p:grpSpPr>
          <a:xfrm>
            <a:off x="3056658" y="2341074"/>
            <a:ext cx="4275716" cy="3200190"/>
            <a:chOff x="4202409" y="2882559"/>
            <a:chExt cx="2795572" cy="1939542"/>
          </a:xfrm>
        </p:grpSpPr>
        <p:sp>
          <p:nvSpPr>
            <p:cNvPr id="39" name="Rectangle 38">
              <a:extLst>
                <a:ext uri="{FF2B5EF4-FFF2-40B4-BE49-F238E27FC236}">
                  <a16:creationId xmlns:a16="http://schemas.microsoft.com/office/drawing/2014/main" id="{35E689F3-64A3-8D4A-58E6-7DB273BC9B0C}"/>
                </a:ext>
              </a:extLst>
            </p:cNvPr>
            <p:cNvSpPr/>
            <p:nvPr/>
          </p:nvSpPr>
          <p:spPr bwMode="auto">
            <a:xfrm>
              <a:off x="4202409" y="2882559"/>
              <a:ext cx="2795572" cy="1698071"/>
            </a:xfrm>
            <a:prstGeom prst="rect">
              <a:avLst/>
            </a:prstGeom>
            <a:noFill/>
            <a:ln>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Title 1">
              <a:extLst>
                <a:ext uri="{FF2B5EF4-FFF2-40B4-BE49-F238E27FC236}">
                  <a16:creationId xmlns:a16="http://schemas.microsoft.com/office/drawing/2014/main" id="{D9B3845F-5F27-EA54-3318-577A192A3D63}"/>
                </a:ext>
              </a:extLst>
            </p:cNvPr>
            <p:cNvSpPr txBox="1">
              <a:spLocks/>
            </p:cNvSpPr>
            <p:nvPr/>
          </p:nvSpPr>
          <p:spPr>
            <a:xfrm>
              <a:off x="5514001" y="4629966"/>
              <a:ext cx="1398905" cy="19213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224" spc="0">
                  <a:solidFill>
                    <a:srgbClr val="3C3C41"/>
                  </a:solidFill>
                  <a:latin typeface="Segoe UI"/>
                </a:rPr>
                <a:t>Microsoft Fabric</a:t>
              </a:r>
            </a:p>
          </p:txBody>
        </p:sp>
        <p:sp>
          <p:nvSpPr>
            <p:cNvPr id="43" name="Rectangle: Rounded Corners 42">
              <a:extLst>
                <a:ext uri="{FF2B5EF4-FFF2-40B4-BE49-F238E27FC236}">
                  <a16:creationId xmlns:a16="http://schemas.microsoft.com/office/drawing/2014/main" id="{90ACD290-A6BE-EC15-38C3-B4F7669CB361}"/>
                </a:ext>
              </a:extLst>
            </p:cNvPr>
            <p:cNvSpPr/>
            <p:nvPr/>
          </p:nvSpPr>
          <p:spPr>
            <a:xfrm>
              <a:off x="4405573" y="3923241"/>
              <a:ext cx="1172627" cy="213125"/>
            </a:xfrm>
            <a:prstGeom prst="roundRect">
              <a:avLst/>
            </a:prstGeom>
            <a:no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OneLake</a:t>
              </a:r>
            </a:p>
          </p:txBody>
        </p:sp>
      </p:grpSp>
      <p:pic>
        <p:nvPicPr>
          <p:cNvPr id="44" name="Picture 43">
            <a:extLst>
              <a:ext uri="{FF2B5EF4-FFF2-40B4-BE49-F238E27FC236}">
                <a16:creationId xmlns:a16="http://schemas.microsoft.com/office/drawing/2014/main" id="{E7AE8D95-B921-564C-495E-F93966F17218}"/>
              </a:ext>
            </a:extLst>
          </p:cNvPr>
          <p:cNvPicPr>
            <a:picLocks noChangeAspect="1"/>
          </p:cNvPicPr>
          <p:nvPr/>
        </p:nvPicPr>
        <p:blipFill>
          <a:blip r:embed="rId5"/>
          <a:stretch>
            <a:fillRect/>
          </a:stretch>
        </p:blipFill>
        <p:spPr>
          <a:xfrm>
            <a:off x="3685820" y="3393051"/>
            <a:ext cx="462063" cy="480182"/>
          </a:xfrm>
          <a:prstGeom prst="rect">
            <a:avLst/>
          </a:prstGeom>
        </p:spPr>
      </p:pic>
      <p:pic>
        <p:nvPicPr>
          <p:cNvPr id="45" name="Picture 44">
            <a:extLst>
              <a:ext uri="{FF2B5EF4-FFF2-40B4-BE49-F238E27FC236}">
                <a16:creationId xmlns:a16="http://schemas.microsoft.com/office/drawing/2014/main" id="{501592B8-FF5C-BD92-AFAC-A11F3B813A3D}"/>
              </a:ext>
            </a:extLst>
          </p:cNvPr>
          <p:cNvPicPr>
            <a:picLocks noChangeAspect="1"/>
          </p:cNvPicPr>
          <p:nvPr/>
        </p:nvPicPr>
        <p:blipFill>
          <a:blip r:embed="rId6"/>
          <a:stretch>
            <a:fillRect/>
          </a:stretch>
        </p:blipFill>
        <p:spPr>
          <a:xfrm>
            <a:off x="4143560" y="3395314"/>
            <a:ext cx="547052" cy="461240"/>
          </a:xfrm>
          <a:prstGeom prst="rect">
            <a:avLst/>
          </a:prstGeom>
        </p:spPr>
      </p:pic>
      <p:pic>
        <p:nvPicPr>
          <p:cNvPr id="56" name="Picture 55">
            <a:extLst>
              <a:ext uri="{FF2B5EF4-FFF2-40B4-BE49-F238E27FC236}">
                <a16:creationId xmlns:a16="http://schemas.microsoft.com/office/drawing/2014/main" id="{A648EABF-9057-A8A1-106E-66B0CA399846}"/>
              </a:ext>
            </a:extLst>
          </p:cNvPr>
          <p:cNvPicPr>
            <a:picLocks noChangeAspect="1"/>
          </p:cNvPicPr>
          <p:nvPr/>
        </p:nvPicPr>
        <p:blipFill>
          <a:blip r:embed="rId7"/>
          <a:stretch>
            <a:fillRect/>
          </a:stretch>
        </p:blipFill>
        <p:spPr>
          <a:xfrm>
            <a:off x="4676426" y="3401348"/>
            <a:ext cx="614589" cy="479171"/>
          </a:xfrm>
          <a:prstGeom prst="rect">
            <a:avLst/>
          </a:prstGeom>
        </p:spPr>
      </p:pic>
      <p:pic>
        <p:nvPicPr>
          <p:cNvPr id="57" name="Picture 56">
            <a:extLst>
              <a:ext uri="{FF2B5EF4-FFF2-40B4-BE49-F238E27FC236}">
                <a16:creationId xmlns:a16="http://schemas.microsoft.com/office/drawing/2014/main" id="{57041FFD-5C4E-42E6-B776-CCF83EFE2B05}"/>
              </a:ext>
            </a:extLst>
          </p:cNvPr>
          <p:cNvPicPr>
            <a:picLocks noChangeAspect="1"/>
          </p:cNvPicPr>
          <p:nvPr/>
        </p:nvPicPr>
        <p:blipFill>
          <a:blip r:embed="rId8"/>
          <a:stretch>
            <a:fillRect/>
          </a:stretch>
        </p:blipFill>
        <p:spPr>
          <a:xfrm>
            <a:off x="3186682" y="3383679"/>
            <a:ext cx="499138" cy="508381"/>
          </a:xfrm>
          <a:prstGeom prst="rect">
            <a:avLst/>
          </a:prstGeom>
        </p:spPr>
      </p:pic>
      <p:sp>
        <p:nvSpPr>
          <p:cNvPr id="60" name="Rectangle 59">
            <a:extLst>
              <a:ext uri="{FF2B5EF4-FFF2-40B4-BE49-F238E27FC236}">
                <a16:creationId xmlns:a16="http://schemas.microsoft.com/office/drawing/2014/main" id="{70796113-9CEE-1E2B-7663-8DC4EE49A177}"/>
              </a:ext>
            </a:extLst>
          </p:cNvPr>
          <p:cNvSpPr/>
          <p:nvPr/>
        </p:nvSpPr>
        <p:spPr bwMode="auto">
          <a:xfrm>
            <a:off x="9686262" y="2985808"/>
            <a:ext cx="2111373" cy="1634352"/>
          </a:xfrm>
          <a:prstGeom prst="rect">
            <a:avLst/>
          </a:prstGeom>
          <a:noFill/>
          <a:ln w="2222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5" name="Rounded Rectangle 43">
            <a:extLst>
              <a:ext uri="{FF2B5EF4-FFF2-40B4-BE49-F238E27FC236}">
                <a16:creationId xmlns:a16="http://schemas.microsoft.com/office/drawing/2014/main" id="{09280008-E80E-5D07-69F7-372848925CF7}"/>
              </a:ext>
            </a:extLst>
          </p:cNvPr>
          <p:cNvSpPr/>
          <p:nvPr/>
        </p:nvSpPr>
        <p:spPr>
          <a:xfrm>
            <a:off x="5465182" y="2637440"/>
            <a:ext cx="1672811" cy="578314"/>
          </a:xfrm>
          <a:prstGeom prst="roundRect">
            <a:avLst>
              <a:gd name="adj" fmla="val 6586"/>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1919"/>
              </a:solidFill>
              <a:effectLst/>
              <a:uLnTx/>
              <a:uFillTx/>
              <a:latin typeface="Segoe UI Semibold"/>
              <a:ea typeface="+mn-ea"/>
              <a:cs typeface="Segoe UI" pitchFamily="34" charset="0"/>
            </a:endParaRPr>
          </a:p>
        </p:txBody>
      </p:sp>
      <p:sp>
        <p:nvSpPr>
          <p:cNvPr id="67" name="Rounded Rectangle 14">
            <a:extLst>
              <a:ext uri="{FF2B5EF4-FFF2-40B4-BE49-F238E27FC236}">
                <a16:creationId xmlns:a16="http://schemas.microsoft.com/office/drawing/2014/main" id="{1CD0B3D6-22F7-8B06-48C7-9D9129240D4D}"/>
              </a:ext>
            </a:extLst>
          </p:cNvPr>
          <p:cNvSpPr/>
          <p:nvPr/>
        </p:nvSpPr>
        <p:spPr>
          <a:xfrm>
            <a:off x="5565703" y="2836256"/>
            <a:ext cx="870830" cy="175826"/>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1919"/>
                </a:solidFill>
                <a:effectLst/>
                <a:uLnTx/>
                <a:uFillTx/>
                <a:latin typeface="Segoe UI Semibold"/>
                <a:ea typeface="+mn-ea"/>
                <a:cs typeface="+mn-cs"/>
              </a:rPr>
              <a:t>Workspace 1</a:t>
            </a:r>
          </a:p>
        </p:txBody>
      </p:sp>
      <p:cxnSp>
        <p:nvCxnSpPr>
          <p:cNvPr id="81" name="Connector: Elbow 80">
            <a:extLst>
              <a:ext uri="{FF2B5EF4-FFF2-40B4-BE49-F238E27FC236}">
                <a16:creationId xmlns:a16="http://schemas.microsoft.com/office/drawing/2014/main" id="{C523A4A4-D2FB-231F-3A20-6ACABEEDD0C4}"/>
              </a:ext>
            </a:extLst>
          </p:cNvPr>
          <p:cNvCxnSpPr>
            <a:cxnSpLocks/>
          </p:cNvCxnSpPr>
          <p:nvPr/>
        </p:nvCxnSpPr>
        <p:spPr>
          <a:xfrm rot="10800000" flipV="1">
            <a:off x="7356104" y="3419373"/>
            <a:ext cx="2111373" cy="1"/>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5B6C042B-7E1C-402D-ECE7-406ED442528F}"/>
              </a:ext>
            </a:extLst>
          </p:cNvPr>
          <p:cNvSpPr txBox="1">
            <a:spLocks/>
          </p:cNvSpPr>
          <p:nvPr/>
        </p:nvSpPr>
        <p:spPr>
          <a:xfrm>
            <a:off x="9138024" y="4707096"/>
            <a:ext cx="3207847" cy="188385"/>
          </a:xfrm>
          <a:prstGeom prst="rect">
            <a:avLst/>
          </a:prstGeom>
        </p:spPr>
        <p:txBody>
          <a:bodyPr vert="horz" wrap="square" lIns="0" tIns="0" rIns="0" bIns="0" rtlCol="0" anchor="t">
            <a:spAutoFit/>
          </a:bodyPr>
          <a:lstStyle>
            <a:lvl1pPr algn="l" defTabSz="914367" rtl="0" eaLnBrk="1" latinLnBrk="0" hangingPunct="1">
              <a:lnSpc>
                <a:spcPts val="3137"/>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algn="ctr" defTabSz="932563">
              <a:lnSpc>
                <a:spcPct val="100000"/>
              </a:lnSpc>
              <a:spcAft>
                <a:spcPts val="612"/>
              </a:spcAft>
              <a:defRPr/>
            </a:pPr>
            <a:r>
              <a:rPr lang="en-US" sz="1224" spc="0">
                <a:solidFill>
                  <a:srgbClr val="3C3C41"/>
                </a:solidFill>
                <a:latin typeface="Segoe UI"/>
              </a:rPr>
              <a:t>Azure Data Lake Storage Gen2</a:t>
            </a:r>
          </a:p>
        </p:txBody>
      </p:sp>
      <p:sp>
        <p:nvSpPr>
          <p:cNvPr id="84" name="Rounded Rectangle 14">
            <a:extLst>
              <a:ext uri="{FF2B5EF4-FFF2-40B4-BE49-F238E27FC236}">
                <a16:creationId xmlns:a16="http://schemas.microsoft.com/office/drawing/2014/main" id="{8D3B0837-9D7F-B02A-97C2-EA18C14AABD7}"/>
              </a:ext>
            </a:extLst>
          </p:cNvPr>
          <p:cNvSpPr/>
          <p:nvPr/>
        </p:nvSpPr>
        <p:spPr>
          <a:xfrm>
            <a:off x="6460563" y="3029728"/>
            <a:ext cx="726245" cy="15984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uLnTx/>
                <a:uFillTx/>
                <a:latin typeface="+mj-lt"/>
                <a:ea typeface="+mn-ea"/>
                <a:cs typeface="+mn-cs"/>
              </a:rPr>
              <a:t>Shortcuts</a:t>
            </a:r>
          </a:p>
        </p:txBody>
      </p:sp>
      <p:pic>
        <p:nvPicPr>
          <p:cNvPr id="85" name="Graphic 84">
            <a:extLst>
              <a:ext uri="{FF2B5EF4-FFF2-40B4-BE49-F238E27FC236}">
                <a16:creationId xmlns:a16="http://schemas.microsoft.com/office/drawing/2014/main" id="{B96B76CF-6B94-39E4-5A6D-D3BE56A1355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54178" y="2694692"/>
            <a:ext cx="304800" cy="314325"/>
          </a:xfrm>
          <a:prstGeom prst="rect">
            <a:avLst/>
          </a:prstGeom>
        </p:spPr>
      </p:pic>
      <p:pic>
        <p:nvPicPr>
          <p:cNvPr id="4" name="Picture 3">
            <a:extLst>
              <a:ext uri="{FF2B5EF4-FFF2-40B4-BE49-F238E27FC236}">
                <a16:creationId xmlns:a16="http://schemas.microsoft.com/office/drawing/2014/main" id="{AA2C68BE-7AC3-7D69-8B10-2B7A661100A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402368" y="3417870"/>
            <a:ext cx="541094" cy="588009"/>
          </a:xfrm>
          <a:prstGeom prst="rect">
            <a:avLst/>
          </a:prstGeom>
        </p:spPr>
      </p:pic>
      <p:sp>
        <p:nvSpPr>
          <p:cNvPr id="7" name="Rounded Rectangle 43">
            <a:extLst>
              <a:ext uri="{FF2B5EF4-FFF2-40B4-BE49-F238E27FC236}">
                <a16:creationId xmlns:a16="http://schemas.microsoft.com/office/drawing/2014/main" id="{BD7F6033-D530-5F5C-A8F9-52C3E5CB0CDC}"/>
              </a:ext>
            </a:extLst>
          </p:cNvPr>
          <p:cNvSpPr/>
          <p:nvPr/>
        </p:nvSpPr>
        <p:spPr>
          <a:xfrm>
            <a:off x="5430078" y="3505877"/>
            <a:ext cx="1672811" cy="578314"/>
          </a:xfrm>
          <a:prstGeom prst="roundRect">
            <a:avLst>
              <a:gd name="adj" fmla="val 6586"/>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1919"/>
              </a:solidFill>
              <a:effectLst/>
              <a:uLnTx/>
              <a:uFillTx/>
              <a:latin typeface="Segoe UI Semibold"/>
              <a:ea typeface="+mn-ea"/>
              <a:cs typeface="Segoe UI" pitchFamily="34" charset="0"/>
            </a:endParaRPr>
          </a:p>
        </p:txBody>
      </p:sp>
      <p:sp>
        <p:nvSpPr>
          <p:cNvPr id="8" name="Rounded Rectangle 14">
            <a:extLst>
              <a:ext uri="{FF2B5EF4-FFF2-40B4-BE49-F238E27FC236}">
                <a16:creationId xmlns:a16="http://schemas.microsoft.com/office/drawing/2014/main" id="{0AB90473-05D7-9DB7-9D78-0935C1D25C1E}"/>
              </a:ext>
            </a:extLst>
          </p:cNvPr>
          <p:cNvSpPr/>
          <p:nvPr/>
        </p:nvSpPr>
        <p:spPr>
          <a:xfrm>
            <a:off x="5530599" y="3704693"/>
            <a:ext cx="870830" cy="175826"/>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1919"/>
                </a:solidFill>
                <a:effectLst/>
                <a:uLnTx/>
                <a:uFillTx/>
                <a:latin typeface="Segoe UI Semibold"/>
                <a:ea typeface="+mn-ea"/>
                <a:cs typeface="+mn-cs"/>
              </a:rPr>
              <a:t>Workspace 2</a:t>
            </a:r>
          </a:p>
        </p:txBody>
      </p:sp>
      <p:sp>
        <p:nvSpPr>
          <p:cNvPr id="11" name="Rounded Rectangle 14">
            <a:extLst>
              <a:ext uri="{FF2B5EF4-FFF2-40B4-BE49-F238E27FC236}">
                <a16:creationId xmlns:a16="http://schemas.microsoft.com/office/drawing/2014/main" id="{7A9D739C-711A-F793-7974-391D22D24B50}"/>
              </a:ext>
            </a:extLst>
          </p:cNvPr>
          <p:cNvSpPr/>
          <p:nvPr/>
        </p:nvSpPr>
        <p:spPr>
          <a:xfrm>
            <a:off x="6425459" y="3898165"/>
            <a:ext cx="726245" cy="159841"/>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uLnTx/>
                <a:uFillTx/>
                <a:latin typeface="+mj-lt"/>
                <a:ea typeface="+mn-ea"/>
                <a:cs typeface="+mn-cs"/>
              </a:rPr>
              <a:t>Shortcuts</a:t>
            </a:r>
          </a:p>
        </p:txBody>
      </p:sp>
      <p:pic>
        <p:nvPicPr>
          <p:cNvPr id="12" name="Graphic 11">
            <a:extLst>
              <a:ext uri="{FF2B5EF4-FFF2-40B4-BE49-F238E27FC236}">
                <a16:creationId xmlns:a16="http://schemas.microsoft.com/office/drawing/2014/main" id="{709DE8F0-6E8A-6821-6788-D4DF33840B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19074" y="3563129"/>
            <a:ext cx="304800" cy="314325"/>
          </a:xfrm>
          <a:prstGeom prst="rect">
            <a:avLst/>
          </a:prstGeom>
        </p:spPr>
      </p:pic>
      <p:sp>
        <p:nvSpPr>
          <p:cNvPr id="13" name="Rounded Rectangle 43">
            <a:extLst>
              <a:ext uri="{FF2B5EF4-FFF2-40B4-BE49-F238E27FC236}">
                <a16:creationId xmlns:a16="http://schemas.microsoft.com/office/drawing/2014/main" id="{E1CE933B-E8D9-9224-6DF5-38A5386314A0}"/>
              </a:ext>
            </a:extLst>
          </p:cNvPr>
          <p:cNvSpPr/>
          <p:nvPr/>
        </p:nvSpPr>
        <p:spPr>
          <a:xfrm>
            <a:off x="5456347" y="4335773"/>
            <a:ext cx="1646541" cy="578314"/>
          </a:xfrm>
          <a:prstGeom prst="roundRect">
            <a:avLst>
              <a:gd name="adj" fmla="val 6586"/>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1919"/>
              </a:solidFill>
              <a:effectLst/>
              <a:uLnTx/>
              <a:uFillTx/>
              <a:latin typeface="Segoe UI Semibold"/>
              <a:ea typeface="+mn-ea"/>
              <a:cs typeface="Segoe UI" pitchFamily="34" charset="0"/>
            </a:endParaRPr>
          </a:p>
        </p:txBody>
      </p:sp>
      <p:sp>
        <p:nvSpPr>
          <p:cNvPr id="14" name="Rounded Rectangle 14">
            <a:extLst>
              <a:ext uri="{FF2B5EF4-FFF2-40B4-BE49-F238E27FC236}">
                <a16:creationId xmlns:a16="http://schemas.microsoft.com/office/drawing/2014/main" id="{42CABAFE-79A6-5444-3079-E9982AD9BF78}"/>
              </a:ext>
            </a:extLst>
          </p:cNvPr>
          <p:cNvSpPr/>
          <p:nvPr/>
        </p:nvSpPr>
        <p:spPr>
          <a:xfrm>
            <a:off x="5556868" y="4534589"/>
            <a:ext cx="870830" cy="175826"/>
          </a:xfrm>
          <a:prstGeom prst="roundRect">
            <a:avLst>
              <a:gd name="adj" fmla="val 6586"/>
            </a:avLst>
          </a:prstGeom>
          <a:no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1919"/>
                </a:solidFill>
                <a:effectLst/>
                <a:uLnTx/>
                <a:uFillTx/>
                <a:latin typeface="Segoe UI Semibold"/>
                <a:ea typeface="+mn-ea"/>
                <a:cs typeface="+mn-cs"/>
              </a:rPr>
              <a:t>Workspace N</a:t>
            </a:r>
          </a:p>
        </p:txBody>
      </p:sp>
      <p:sp>
        <p:nvSpPr>
          <p:cNvPr id="6" name="TextBox 5">
            <a:extLst>
              <a:ext uri="{FF2B5EF4-FFF2-40B4-BE49-F238E27FC236}">
                <a16:creationId xmlns:a16="http://schemas.microsoft.com/office/drawing/2014/main" id="{2D76E025-552C-DC4A-275E-7C04323A8A92}"/>
              </a:ext>
            </a:extLst>
          </p:cNvPr>
          <p:cNvSpPr txBox="1"/>
          <p:nvPr/>
        </p:nvSpPr>
        <p:spPr>
          <a:xfrm>
            <a:off x="0" y="6396874"/>
            <a:ext cx="2403389" cy="363946"/>
          </a:xfrm>
          <a:prstGeom prst="rect">
            <a:avLst/>
          </a:prstGeom>
          <a:solidFill>
            <a:schemeClr val="bg1"/>
          </a:solidFill>
        </p:spPr>
        <p:txBody>
          <a:bodyPr wrap="square" rtlCol="0">
            <a:spAutoFit/>
          </a:bodyPr>
          <a:lstStyle/>
          <a:p>
            <a:endParaRPr lang="en-NL"/>
          </a:p>
        </p:txBody>
      </p:sp>
      <p:sp>
        <p:nvSpPr>
          <p:cNvPr id="18" name="Subtitle 17">
            <a:extLst>
              <a:ext uri="{FF2B5EF4-FFF2-40B4-BE49-F238E27FC236}">
                <a16:creationId xmlns:a16="http://schemas.microsoft.com/office/drawing/2014/main" id="{8F878FE1-D8FB-7D90-A35A-AB18F36E5C89}"/>
              </a:ext>
            </a:extLst>
          </p:cNvPr>
          <p:cNvSpPr>
            <a:spLocks noGrp="1"/>
          </p:cNvSpPr>
          <p:nvPr>
            <p:ph type="subTitle" idx="1"/>
          </p:nvPr>
        </p:nvSpPr>
        <p:spPr/>
        <p:txBody>
          <a:bodyPr/>
          <a:lstStyle/>
          <a:p>
            <a:endParaRPr lang="en-NL"/>
          </a:p>
        </p:txBody>
      </p:sp>
      <p:sp>
        <p:nvSpPr>
          <p:cNvPr id="21" name="Graphic 1033">
            <a:extLst>
              <a:ext uri="{FF2B5EF4-FFF2-40B4-BE49-F238E27FC236}">
                <a16:creationId xmlns:a16="http://schemas.microsoft.com/office/drawing/2014/main" id="{DE3F2836-8451-0275-4F43-592901365B59}"/>
              </a:ext>
            </a:extLst>
          </p:cNvPr>
          <p:cNvSpPr/>
          <p:nvPr/>
        </p:nvSpPr>
        <p:spPr>
          <a:xfrm>
            <a:off x="8243547" y="4435365"/>
            <a:ext cx="516229" cy="451095"/>
          </a:xfrm>
          <a:custGeom>
            <a:avLst/>
            <a:gdLst>
              <a:gd name="connsiteX0" fmla="*/ 83915 w 268509"/>
              <a:gd name="connsiteY0" fmla="*/ 236030 h 236029"/>
              <a:gd name="connsiteX1" fmla="*/ 0 w 268509"/>
              <a:gd name="connsiteY1" fmla="*/ 161830 h 236029"/>
              <a:gd name="connsiteX2" fmla="*/ 83915 w 268509"/>
              <a:gd name="connsiteY2" fmla="*/ 91345 h 236029"/>
              <a:gd name="connsiteX3" fmla="*/ 184595 w 268509"/>
              <a:gd name="connsiteY3" fmla="*/ 236030 h 236029"/>
              <a:gd name="connsiteX4" fmla="*/ 268510 w 268509"/>
              <a:gd name="connsiteY4" fmla="*/ 161830 h 236029"/>
              <a:gd name="connsiteX5" fmla="*/ 184595 w 268509"/>
              <a:gd name="connsiteY5" fmla="*/ 91345 h 236029"/>
              <a:gd name="connsiteX6" fmla="*/ 134207 w 268509"/>
              <a:gd name="connsiteY6" fmla="*/ 40100 h 236029"/>
              <a:gd name="connsiteX7" fmla="*/ 134207 w 268509"/>
              <a:gd name="connsiteY7" fmla="*/ 143637 h 236029"/>
              <a:gd name="connsiteX8" fmla="*/ 134207 w 268509"/>
              <a:gd name="connsiteY8" fmla="*/ 0 h 236029"/>
              <a:gd name="connsiteX9" fmla="*/ 114110 w 268509"/>
              <a:gd name="connsiteY9" fmla="*/ 20098 h 236029"/>
              <a:gd name="connsiteX10" fmla="*/ 134207 w 268509"/>
              <a:gd name="connsiteY10" fmla="*/ 40196 h 236029"/>
              <a:gd name="connsiteX11" fmla="*/ 154305 w 268509"/>
              <a:gd name="connsiteY11" fmla="*/ 20098 h 236029"/>
              <a:gd name="connsiteX12" fmla="*/ 134207 w 268509"/>
              <a:gd name="connsiteY12" fmla="*/ 0 h 236029"/>
              <a:gd name="connsiteX13" fmla="*/ 134207 w 268509"/>
              <a:gd name="connsiteY13" fmla="*/ 143637 h 236029"/>
              <a:gd name="connsiteX14" fmla="*/ 114110 w 268509"/>
              <a:gd name="connsiteY14" fmla="*/ 163735 h 236029"/>
              <a:gd name="connsiteX15" fmla="*/ 134207 w 268509"/>
              <a:gd name="connsiteY15" fmla="*/ 183833 h 236029"/>
              <a:gd name="connsiteX16" fmla="*/ 154305 w 268509"/>
              <a:gd name="connsiteY16" fmla="*/ 163735 h 236029"/>
              <a:gd name="connsiteX17" fmla="*/ 134207 w 268509"/>
              <a:gd name="connsiteY17" fmla="*/ 143637 h 23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509" h="236029">
                <a:moveTo>
                  <a:pt x="83915" y="236030"/>
                </a:moveTo>
                <a:lnTo>
                  <a:pt x="0" y="161830"/>
                </a:lnTo>
                <a:lnTo>
                  <a:pt x="83915" y="91345"/>
                </a:lnTo>
                <a:moveTo>
                  <a:pt x="184595" y="236030"/>
                </a:moveTo>
                <a:lnTo>
                  <a:pt x="268510" y="161830"/>
                </a:lnTo>
                <a:lnTo>
                  <a:pt x="184595" y="91345"/>
                </a:lnTo>
                <a:moveTo>
                  <a:pt x="134207" y="40100"/>
                </a:moveTo>
                <a:lnTo>
                  <a:pt x="134207" y="143637"/>
                </a:lnTo>
                <a:moveTo>
                  <a:pt x="134207" y="0"/>
                </a:moveTo>
                <a:cubicBezTo>
                  <a:pt x="123158" y="0"/>
                  <a:pt x="114110" y="8954"/>
                  <a:pt x="114110" y="20098"/>
                </a:cubicBezTo>
                <a:cubicBezTo>
                  <a:pt x="114110" y="31242"/>
                  <a:pt x="123063" y="40196"/>
                  <a:pt x="134207" y="40196"/>
                </a:cubicBezTo>
                <a:cubicBezTo>
                  <a:pt x="145352" y="40196"/>
                  <a:pt x="154305" y="31242"/>
                  <a:pt x="154305" y="20098"/>
                </a:cubicBezTo>
                <a:cubicBezTo>
                  <a:pt x="154305" y="8954"/>
                  <a:pt x="145256" y="0"/>
                  <a:pt x="134207" y="0"/>
                </a:cubicBezTo>
                <a:close/>
                <a:moveTo>
                  <a:pt x="134207" y="143637"/>
                </a:moveTo>
                <a:cubicBezTo>
                  <a:pt x="123158" y="143637"/>
                  <a:pt x="114110" y="152591"/>
                  <a:pt x="114110" y="163735"/>
                </a:cubicBezTo>
                <a:cubicBezTo>
                  <a:pt x="114110" y="174784"/>
                  <a:pt x="123063" y="183833"/>
                  <a:pt x="134207" y="183833"/>
                </a:cubicBezTo>
                <a:cubicBezTo>
                  <a:pt x="145352" y="183833"/>
                  <a:pt x="154305" y="174879"/>
                  <a:pt x="154305" y="163735"/>
                </a:cubicBezTo>
                <a:cubicBezTo>
                  <a:pt x="154305" y="152591"/>
                  <a:pt x="145256" y="143637"/>
                  <a:pt x="134207" y="143637"/>
                </a:cubicBezTo>
                <a:close/>
              </a:path>
            </a:pathLst>
          </a:custGeom>
          <a:noFill/>
          <a:ln w="15875" cap="flat">
            <a:solidFill>
              <a:schemeClr val="tx1"/>
            </a:solidFill>
            <a:prstDash val="solid"/>
            <a:miter/>
          </a:ln>
        </p:spPr>
        <p:txBody>
          <a:bodyPr rtlCol="0" anchor="ctr"/>
          <a:lstStyle/>
          <a:p>
            <a:pPr defTabSz="932597">
              <a:defRPr/>
            </a:pPr>
            <a:endParaRPr lang="en-US" sz="1836">
              <a:solidFill>
                <a:srgbClr val="3C3C41"/>
              </a:solidFill>
              <a:latin typeface="Segoe UI"/>
            </a:endParaRPr>
          </a:p>
        </p:txBody>
      </p:sp>
      <p:sp>
        <p:nvSpPr>
          <p:cNvPr id="22" name="TextBox 21">
            <a:extLst>
              <a:ext uri="{FF2B5EF4-FFF2-40B4-BE49-F238E27FC236}">
                <a16:creationId xmlns:a16="http://schemas.microsoft.com/office/drawing/2014/main" id="{B8ECA55B-E314-05D4-6DEF-5FBEEAB9A144}"/>
              </a:ext>
            </a:extLst>
          </p:cNvPr>
          <p:cNvSpPr txBox="1"/>
          <p:nvPr/>
        </p:nvSpPr>
        <p:spPr>
          <a:xfrm>
            <a:off x="7881519" y="3929881"/>
            <a:ext cx="1213223"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Managed Private Endpoint</a:t>
            </a:r>
            <a:endParaRPr lang="en-US">
              <a:ea typeface="+mn-ea"/>
              <a:cs typeface="+mn-cs"/>
            </a:endParaRPr>
          </a:p>
        </p:txBody>
      </p:sp>
      <p:sp>
        <p:nvSpPr>
          <p:cNvPr id="23" name="Rectangle 22">
            <a:extLst>
              <a:ext uri="{FF2B5EF4-FFF2-40B4-BE49-F238E27FC236}">
                <a16:creationId xmlns:a16="http://schemas.microsoft.com/office/drawing/2014/main" id="{C21C6A33-C413-EC27-9CAA-248D4CCA1035}"/>
              </a:ext>
            </a:extLst>
          </p:cNvPr>
          <p:cNvSpPr/>
          <p:nvPr/>
        </p:nvSpPr>
        <p:spPr bwMode="auto">
          <a:xfrm>
            <a:off x="7780235" y="3773901"/>
            <a:ext cx="1425288" cy="1327264"/>
          </a:xfrm>
          <a:prstGeom prst="rect">
            <a:avLst/>
          </a:prstGeom>
          <a:noFill/>
          <a:ln w="1905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DCBC6BB2-05E7-3405-958F-378CA0E92FC5}"/>
              </a:ext>
            </a:extLst>
          </p:cNvPr>
          <p:cNvSpPr txBox="1"/>
          <p:nvPr/>
        </p:nvSpPr>
        <p:spPr>
          <a:xfrm>
            <a:off x="8032592" y="5206746"/>
            <a:ext cx="914692" cy="400110"/>
          </a:xfrm>
          <a:prstGeom prst="rect">
            <a:avLst/>
          </a:prstGeom>
          <a:noFill/>
        </p:spPr>
        <p:txBody>
          <a:bodyPr wrap="square" lIns="91440" tIns="45720" rIns="91440" bIns="45720" anchor="t">
            <a:spAutoFit/>
          </a:bodyPr>
          <a:lstStyle/>
          <a:p>
            <a:pPr algn="ctr" defTabSz="914400">
              <a:defRPr/>
            </a:pPr>
            <a:r>
              <a:rPr lang="en-US" sz="1000">
                <a:solidFill>
                  <a:srgbClr val="000000"/>
                </a:solidFill>
                <a:latin typeface="Segoe UI Semibold"/>
              </a:rPr>
              <a:t>Customer </a:t>
            </a:r>
            <a:r>
              <a:rPr lang="en-US" sz="1000" err="1">
                <a:solidFill>
                  <a:srgbClr val="000000"/>
                </a:solidFill>
                <a:latin typeface="Segoe UI Semibold"/>
              </a:rPr>
              <a:t>VNet</a:t>
            </a:r>
            <a:endParaRPr lang="en-US">
              <a:ea typeface="+mn-ea"/>
              <a:cs typeface="+mn-cs"/>
            </a:endParaRPr>
          </a:p>
        </p:txBody>
      </p:sp>
      <p:cxnSp>
        <p:nvCxnSpPr>
          <p:cNvPr id="28" name="Connector: Elbow 27">
            <a:extLst>
              <a:ext uri="{FF2B5EF4-FFF2-40B4-BE49-F238E27FC236}">
                <a16:creationId xmlns:a16="http://schemas.microsoft.com/office/drawing/2014/main" id="{3B6C0CDD-4A12-54FF-3CBF-D4D18FDC8EA6}"/>
              </a:ext>
            </a:extLst>
          </p:cNvPr>
          <p:cNvCxnSpPr>
            <a:cxnSpLocks/>
          </p:cNvCxnSpPr>
          <p:nvPr/>
        </p:nvCxnSpPr>
        <p:spPr>
          <a:xfrm rot="10800000" flipV="1">
            <a:off x="9205523" y="4258099"/>
            <a:ext cx="470966" cy="1"/>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D426CA43-F041-D348-6C37-3B7180767ACE}"/>
              </a:ext>
            </a:extLst>
          </p:cNvPr>
          <p:cNvCxnSpPr>
            <a:cxnSpLocks/>
          </p:cNvCxnSpPr>
          <p:nvPr/>
        </p:nvCxnSpPr>
        <p:spPr>
          <a:xfrm rot="10800000" flipV="1">
            <a:off x="7352147" y="4616626"/>
            <a:ext cx="392864" cy="2"/>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38" name="Graphic 37">
            <a:extLst>
              <a:ext uri="{FF2B5EF4-FFF2-40B4-BE49-F238E27FC236}">
                <a16:creationId xmlns:a16="http://schemas.microsoft.com/office/drawing/2014/main" id="{17B52575-B000-8846-6F37-373346E9BA44}"/>
              </a:ext>
            </a:extLst>
          </p:cNvPr>
          <p:cNvPicPr>
            <a:picLocks noChangeAspect="1"/>
          </p:cNvPicPr>
          <p:nvPr/>
        </p:nvPicPr>
        <p:blipFill rotWithShape="1">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rcRect l="-7916" r="-7916"/>
          <a:stretch/>
        </p:blipFill>
        <p:spPr>
          <a:xfrm>
            <a:off x="6690376" y="4451775"/>
            <a:ext cx="401268" cy="346422"/>
          </a:xfrm>
          <a:prstGeom prst="rect">
            <a:avLst/>
          </a:prstGeom>
        </p:spPr>
      </p:pic>
    </p:spTree>
    <p:extLst>
      <p:ext uri="{BB962C8B-B14F-4D97-AF65-F5344CB8AC3E}">
        <p14:creationId xmlns:p14="http://schemas.microsoft.com/office/powerpoint/2010/main" val="92963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4CF1A77-B524-9B88-677D-3979604FDD7E}"/>
              </a:ext>
            </a:extLst>
          </p:cNvPr>
          <p:cNvSpPr>
            <a:spLocks noGrp="1"/>
          </p:cNvSpPr>
          <p:nvPr>
            <p:ph type="body" sz="quarter" idx="11"/>
          </p:nvPr>
        </p:nvSpPr>
        <p:spPr>
          <a:xfrm>
            <a:off x="6152606" y="4038049"/>
            <a:ext cx="5177245" cy="1398587"/>
          </a:xfrm>
        </p:spPr>
        <p:txBody>
          <a:bodyPr>
            <a:normAutofit/>
          </a:bodyPr>
          <a:lstStyle/>
          <a:p>
            <a:r>
              <a:rPr lang="en-US"/>
              <a:t>Fine-grained security and access controls in Fabric</a:t>
            </a:r>
          </a:p>
        </p:txBody>
      </p:sp>
    </p:spTree>
    <p:extLst>
      <p:ext uri="{BB962C8B-B14F-4D97-AF65-F5344CB8AC3E}">
        <p14:creationId xmlns:p14="http://schemas.microsoft.com/office/powerpoint/2010/main" val="391455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58E4EA-BA1B-834D-ABB6-23E0A5EA49C4}"/>
              </a:ext>
            </a:extLst>
          </p:cNvPr>
          <p:cNvSpPr>
            <a:spLocks noGrp="1"/>
          </p:cNvSpPr>
          <p:nvPr>
            <p:ph type="title"/>
          </p:nvPr>
        </p:nvSpPr>
        <p:spPr/>
        <p:txBody>
          <a:bodyPr/>
          <a:lstStyle/>
          <a:p>
            <a:r>
              <a:rPr lang="en-US"/>
              <a:t>Multiple layers of security and access control</a:t>
            </a:r>
            <a:endParaRPr lang="en-NL"/>
          </a:p>
        </p:txBody>
      </p:sp>
      <p:sp>
        <p:nvSpPr>
          <p:cNvPr id="4" name="Rectangle: Rounded Corners 3">
            <a:extLst>
              <a:ext uri="{FF2B5EF4-FFF2-40B4-BE49-F238E27FC236}">
                <a16:creationId xmlns:a16="http://schemas.microsoft.com/office/drawing/2014/main" id="{FAE504D8-2D67-6860-C8DF-8DD74A771D0D}"/>
              </a:ext>
            </a:extLst>
          </p:cNvPr>
          <p:cNvSpPr/>
          <p:nvPr/>
        </p:nvSpPr>
        <p:spPr>
          <a:xfrm>
            <a:off x="481316" y="1146136"/>
            <a:ext cx="5760093" cy="5686697"/>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 name="Rectangle: Rounded Corners 4">
            <a:extLst>
              <a:ext uri="{FF2B5EF4-FFF2-40B4-BE49-F238E27FC236}">
                <a16:creationId xmlns:a16="http://schemas.microsoft.com/office/drawing/2014/main" id="{8A2C4F24-F0F2-2956-3AA8-116BBB6B6C9E}"/>
              </a:ext>
            </a:extLst>
          </p:cNvPr>
          <p:cNvSpPr/>
          <p:nvPr/>
        </p:nvSpPr>
        <p:spPr>
          <a:xfrm>
            <a:off x="845171" y="1816696"/>
            <a:ext cx="5077456" cy="26778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Rectangle: Rounded Corners 5">
            <a:extLst>
              <a:ext uri="{FF2B5EF4-FFF2-40B4-BE49-F238E27FC236}">
                <a16:creationId xmlns:a16="http://schemas.microsoft.com/office/drawing/2014/main" id="{345FDF41-C3D7-1179-5F69-585892CC917F}"/>
              </a:ext>
            </a:extLst>
          </p:cNvPr>
          <p:cNvSpPr/>
          <p:nvPr/>
        </p:nvSpPr>
        <p:spPr>
          <a:xfrm>
            <a:off x="885543" y="4695920"/>
            <a:ext cx="5037083" cy="193899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21" name="Picture 20" descr="A green and blue logo&#10;&#10;Description automatically generated">
            <a:extLst>
              <a:ext uri="{FF2B5EF4-FFF2-40B4-BE49-F238E27FC236}">
                <a16:creationId xmlns:a16="http://schemas.microsoft.com/office/drawing/2014/main" id="{6F19231A-8E3E-E1BC-E630-0E663192EB3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2595" y="1365459"/>
            <a:ext cx="378563" cy="378563"/>
          </a:xfrm>
          <a:prstGeom prst="rect">
            <a:avLst/>
          </a:prstGeom>
        </p:spPr>
      </p:pic>
      <p:sp>
        <p:nvSpPr>
          <p:cNvPr id="24" name="Rectangle: Rounded Corners 23">
            <a:extLst>
              <a:ext uri="{FF2B5EF4-FFF2-40B4-BE49-F238E27FC236}">
                <a16:creationId xmlns:a16="http://schemas.microsoft.com/office/drawing/2014/main" id="{8058BB27-81C5-A1D8-C031-970DC8070CD6}"/>
              </a:ext>
            </a:extLst>
          </p:cNvPr>
          <p:cNvSpPr/>
          <p:nvPr/>
        </p:nvSpPr>
        <p:spPr>
          <a:xfrm>
            <a:off x="1045293" y="2318393"/>
            <a:ext cx="4712697" cy="2069980"/>
          </a:xfrm>
          <a:prstGeom prst="roundRect">
            <a:avLst/>
          </a:prstGeom>
          <a:solidFill>
            <a:schemeClr val="tx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4" name="Rectangle: Rounded Corners 33">
            <a:extLst>
              <a:ext uri="{FF2B5EF4-FFF2-40B4-BE49-F238E27FC236}">
                <a16:creationId xmlns:a16="http://schemas.microsoft.com/office/drawing/2014/main" id="{9148469C-8FA7-18D1-03BE-B370C9D4F397}"/>
              </a:ext>
            </a:extLst>
          </p:cNvPr>
          <p:cNvSpPr/>
          <p:nvPr/>
        </p:nvSpPr>
        <p:spPr>
          <a:xfrm>
            <a:off x="1022318" y="5165766"/>
            <a:ext cx="4735672" cy="1357913"/>
          </a:xfrm>
          <a:prstGeom prst="roundRect">
            <a:avLst/>
          </a:prstGeom>
          <a:solidFill>
            <a:schemeClr val="tx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1400"/>
          </a:p>
        </p:txBody>
      </p:sp>
      <p:pic>
        <p:nvPicPr>
          <p:cNvPr id="33" name="Graphic 32">
            <a:extLst>
              <a:ext uri="{FF2B5EF4-FFF2-40B4-BE49-F238E27FC236}">
                <a16:creationId xmlns:a16="http://schemas.microsoft.com/office/drawing/2014/main" id="{A301E0EE-7B67-FDE8-6060-D3D23D4265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25117" y="2502177"/>
            <a:ext cx="304800" cy="304800"/>
          </a:xfrm>
          <a:prstGeom prst="rect">
            <a:avLst/>
          </a:prstGeom>
        </p:spPr>
      </p:pic>
      <p:sp>
        <p:nvSpPr>
          <p:cNvPr id="39" name="Title 1">
            <a:extLst>
              <a:ext uri="{FF2B5EF4-FFF2-40B4-BE49-F238E27FC236}">
                <a16:creationId xmlns:a16="http://schemas.microsoft.com/office/drawing/2014/main" id="{E973B905-EC7A-DBBC-2D15-8ABF089ABB8C}"/>
              </a:ext>
            </a:extLst>
          </p:cNvPr>
          <p:cNvSpPr txBox="1">
            <a:spLocks/>
          </p:cNvSpPr>
          <p:nvPr/>
        </p:nvSpPr>
        <p:spPr>
          <a:xfrm>
            <a:off x="1371579" y="1132173"/>
            <a:ext cx="11026774" cy="553998"/>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600">
                <a:solidFill>
                  <a:srgbClr val="225B61"/>
                </a:solidFill>
              </a:rPr>
              <a:t>Microsoft Fabric </a:t>
            </a:r>
            <a:r>
              <a:rPr lang="en-US" sz="2400">
                <a:solidFill>
                  <a:srgbClr val="225B61"/>
                </a:solidFill>
              </a:rPr>
              <a:t>(SaaS tenant)</a:t>
            </a:r>
            <a:endParaRPr lang="en-NL" sz="2600">
              <a:solidFill>
                <a:srgbClr val="225B61"/>
              </a:solidFill>
            </a:endParaRPr>
          </a:p>
        </p:txBody>
      </p:sp>
      <p:sp>
        <p:nvSpPr>
          <p:cNvPr id="40" name="Title 1">
            <a:extLst>
              <a:ext uri="{FF2B5EF4-FFF2-40B4-BE49-F238E27FC236}">
                <a16:creationId xmlns:a16="http://schemas.microsoft.com/office/drawing/2014/main" id="{18602326-C86D-19F5-AD9E-1117A041F566}"/>
              </a:ext>
            </a:extLst>
          </p:cNvPr>
          <p:cNvSpPr txBox="1">
            <a:spLocks/>
          </p:cNvSpPr>
          <p:nvPr/>
        </p:nvSpPr>
        <p:spPr>
          <a:xfrm>
            <a:off x="1091877" y="1836311"/>
            <a:ext cx="11026774" cy="424459"/>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200">
                <a:solidFill>
                  <a:schemeClr val="bg1"/>
                </a:solidFill>
              </a:rPr>
              <a:t>Domain</a:t>
            </a:r>
            <a:endParaRPr lang="en-NL" sz="2200">
              <a:solidFill>
                <a:schemeClr val="bg1"/>
              </a:solidFill>
            </a:endParaRPr>
          </a:p>
        </p:txBody>
      </p:sp>
      <p:sp>
        <p:nvSpPr>
          <p:cNvPr id="41" name="Title 1">
            <a:extLst>
              <a:ext uri="{FF2B5EF4-FFF2-40B4-BE49-F238E27FC236}">
                <a16:creationId xmlns:a16="http://schemas.microsoft.com/office/drawing/2014/main" id="{4FC20995-A5D3-8248-4EC3-31EAFBEB1988}"/>
              </a:ext>
            </a:extLst>
          </p:cNvPr>
          <p:cNvSpPr txBox="1">
            <a:spLocks/>
          </p:cNvSpPr>
          <p:nvPr/>
        </p:nvSpPr>
        <p:spPr>
          <a:xfrm>
            <a:off x="1172858" y="2476811"/>
            <a:ext cx="1578153" cy="304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200">
                <a:solidFill>
                  <a:schemeClr val="bg1"/>
                </a:solidFill>
              </a:rPr>
              <a:t>Workspace</a:t>
            </a:r>
            <a:endParaRPr lang="en-NL" sz="2200">
              <a:solidFill>
                <a:schemeClr val="bg1"/>
              </a:solidFill>
            </a:endParaRPr>
          </a:p>
        </p:txBody>
      </p:sp>
      <p:sp>
        <p:nvSpPr>
          <p:cNvPr id="42" name="Rectangle: Rounded Corners 41">
            <a:extLst>
              <a:ext uri="{FF2B5EF4-FFF2-40B4-BE49-F238E27FC236}">
                <a16:creationId xmlns:a16="http://schemas.microsoft.com/office/drawing/2014/main" id="{BBFDFDF6-0FB8-B2CE-4A97-130D7E0C6E01}"/>
              </a:ext>
            </a:extLst>
          </p:cNvPr>
          <p:cNvSpPr/>
          <p:nvPr/>
        </p:nvSpPr>
        <p:spPr>
          <a:xfrm>
            <a:off x="1133747" y="3008315"/>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sp>
        <p:nvSpPr>
          <p:cNvPr id="47" name="Rectangle: Rounded Corners 46">
            <a:extLst>
              <a:ext uri="{FF2B5EF4-FFF2-40B4-BE49-F238E27FC236}">
                <a16:creationId xmlns:a16="http://schemas.microsoft.com/office/drawing/2014/main" id="{B8C03744-5750-99A1-7723-CF92AF70D8D0}"/>
              </a:ext>
            </a:extLst>
          </p:cNvPr>
          <p:cNvSpPr/>
          <p:nvPr/>
        </p:nvSpPr>
        <p:spPr>
          <a:xfrm>
            <a:off x="2290995" y="3008315"/>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sp>
        <p:nvSpPr>
          <p:cNvPr id="48" name="Rectangle: Rounded Corners 47">
            <a:extLst>
              <a:ext uri="{FF2B5EF4-FFF2-40B4-BE49-F238E27FC236}">
                <a16:creationId xmlns:a16="http://schemas.microsoft.com/office/drawing/2014/main" id="{571EE50A-5C56-0753-FC71-2EC395E2B417}"/>
              </a:ext>
            </a:extLst>
          </p:cNvPr>
          <p:cNvSpPr/>
          <p:nvPr/>
        </p:nvSpPr>
        <p:spPr>
          <a:xfrm>
            <a:off x="3448243" y="3008315"/>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sp>
        <p:nvSpPr>
          <p:cNvPr id="49" name="Rectangle: Rounded Corners 48">
            <a:extLst>
              <a:ext uri="{FF2B5EF4-FFF2-40B4-BE49-F238E27FC236}">
                <a16:creationId xmlns:a16="http://schemas.microsoft.com/office/drawing/2014/main" id="{EFAAAAB0-8D23-48A1-3DB9-BAA1A46B20D7}"/>
              </a:ext>
            </a:extLst>
          </p:cNvPr>
          <p:cNvSpPr/>
          <p:nvPr/>
        </p:nvSpPr>
        <p:spPr>
          <a:xfrm>
            <a:off x="4605491" y="3008315"/>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pic>
        <p:nvPicPr>
          <p:cNvPr id="51" name="Graphic 50">
            <a:extLst>
              <a:ext uri="{FF2B5EF4-FFF2-40B4-BE49-F238E27FC236}">
                <a16:creationId xmlns:a16="http://schemas.microsoft.com/office/drawing/2014/main" id="{0FA88707-1BA0-810D-D8F8-D2311E4D37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27097" y="3435659"/>
            <a:ext cx="352679" cy="363700"/>
          </a:xfrm>
          <a:prstGeom prst="rect">
            <a:avLst/>
          </a:prstGeom>
        </p:spPr>
      </p:pic>
      <p:pic>
        <p:nvPicPr>
          <p:cNvPr id="52" name="Graphic 51">
            <a:extLst>
              <a:ext uri="{FF2B5EF4-FFF2-40B4-BE49-F238E27FC236}">
                <a16:creationId xmlns:a16="http://schemas.microsoft.com/office/drawing/2014/main" id="{B4A9FEF3-0BCF-A16D-7903-7A7030DF3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13312" y="3410970"/>
            <a:ext cx="400560" cy="413077"/>
          </a:xfrm>
          <a:prstGeom prst="rect">
            <a:avLst/>
          </a:prstGeom>
        </p:spPr>
      </p:pic>
      <p:pic>
        <p:nvPicPr>
          <p:cNvPr id="53" name="Graphic 52">
            <a:extLst>
              <a:ext uri="{FF2B5EF4-FFF2-40B4-BE49-F238E27FC236}">
                <a16:creationId xmlns:a16="http://schemas.microsoft.com/office/drawing/2014/main" id="{D05E9B41-8518-A854-63FC-959E7AABC2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50424" y="3400830"/>
            <a:ext cx="423783" cy="437026"/>
          </a:xfrm>
          <a:prstGeom prst="rect">
            <a:avLst/>
          </a:prstGeom>
        </p:spPr>
      </p:pic>
      <p:pic>
        <p:nvPicPr>
          <p:cNvPr id="55" name="Graphic 54">
            <a:extLst>
              <a:ext uri="{FF2B5EF4-FFF2-40B4-BE49-F238E27FC236}">
                <a16:creationId xmlns:a16="http://schemas.microsoft.com/office/drawing/2014/main" id="{2A82EABF-6547-5CC0-5448-49184D4DCE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28446" y="3437493"/>
            <a:ext cx="352679" cy="363700"/>
          </a:xfrm>
          <a:prstGeom prst="rect">
            <a:avLst/>
          </a:prstGeom>
        </p:spPr>
      </p:pic>
      <p:sp>
        <p:nvSpPr>
          <p:cNvPr id="56" name="Rectangle: Rounded Corners 55">
            <a:extLst>
              <a:ext uri="{FF2B5EF4-FFF2-40B4-BE49-F238E27FC236}">
                <a16:creationId xmlns:a16="http://schemas.microsoft.com/office/drawing/2014/main" id="{0D9F5085-A63D-8B27-838D-9E13292C1789}"/>
              </a:ext>
            </a:extLst>
          </p:cNvPr>
          <p:cNvSpPr/>
          <p:nvPr/>
        </p:nvSpPr>
        <p:spPr>
          <a:xfrm>
            <a:off x="1133747" y="5337118"/>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Files</a:t>
            </a:r>
          </a:p>
          <a:p>
            <a:pPr algn="ctr"/>
            <a:endParaRPr lang="en-US" sz="1400"/>
          </a:p>
          <a:p>
            <a:pPr algn="ctr"/>
            <a:endParaRPr lang="en-US" sz="1400"/>
          </a:p>
          <a:p>
            <a:pPr algn="ctr"/>
            <a:endParaRPr lang="en-NL" sz="1400"/>
          </a:p>
        </p:txBody>
      </p:sp>
      <p:sp>
        <p:nvSpPr>
          <p:cNvPr id="57" name="Rectangle: Rounded Corners 56">
            <a:extLst>
              <a:ext uri="{FF2B5EF4-FFF2-40B4-BE49-F238E27FC236}">
                <a16:creationId xmlns:a16="http://schemas.microsoft.com/office/drawing/2014/main" id="{C485BC2F-1D9D-C9AF-122A-4F4CD86C2371}"/>
              </a:ext>
            </a:extLst>
          </p:cNvPr>
          <p:cNvSpPr/>
          <p:nvPr/>
        </p:nvSpPr>
        <p:spPr>
          <a:xfrm>
            <a:off x="2290995" y="5337118"/>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hortcuts</a:t>
            </a:r>
          </a:p>
          <a:p>
            <a:pPr algn="ctr"/>
            <a:endParaRPr lang="en-US" sz="1400"/>
          </a:p>
          <a:p>
            <a:pPr algn="ctr"/>
            <a:endParaRPr lang="en-US" sz="1400"/>
          </a:p>
          <a:p>
            <a:pPr algn="ctr"/>
            <a:endParaRPr lang="en-NL" sz="1400"/>
          </a:p>
        </p:txBody>
      </p:sp>
      <p:sp>
        <p:nvSpPr>
          <p:cNvPr id="58" name="Rectangle: Rounded Corners 57">
            <a:extLst>
              <a:ext uri="{FF2B5EF4-FFF2-40B4-BE49-F238E27FC236}">
                <a16:creationId xmlns:a16="http://schemas.microsoft.com/office/drawing/2014/main" id="{CC98D617-F433-4A4B-BE5D-8D2C38F99185}"/>
              </a:ext>
            </a:extLst>
          </p:cNvPr>
          <p:cNvSpPr/>
          <p:nvPr/>
        </p:nvSpPr>
        <p:spPr>
          <a:xfrm>
            <a:off x="3448243" y="5337118"/>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ables</a:t>
            </a:r>
          </a:p>
          <a:p>
            <a:pPr algn="ctr"/>
            <a:endParaRPr lang="en-US" sz="1400"/>
          </a:p>
          <a:p>
            <a:pPr algn="ctr"/>
            <a:endParaRPr lang="en-US" sz="1400"/>
          </a:p>
          <a:p>
            <a:pPr algn="ctr"/>
            <a:endParaRPr lang="en-NL" sz="1400"/>
          </a:p>
        </p:txBody>
      </p:sp>
      <p:sp>
        <p:nvSpPr>
          <p:cNvPr id="59" name="Rectangle: Rounded Corners 58">
            <a:extLst>
              <a:ext uri="{FF2B5EF4-FFF2-40B4-BE49-F238E27FC236}">
                <a16:creationId xmlns:a16="http://schemas.microsoft.com/office/drawing/2014/main" id="{D6B82A63-F5F1-41B5-29A2-9EF3B1B4C74A}"/>
              </a:ext>
            </a:extLst>
          </p:cNvPr>
          <p:cNvSpPr/>
          <p:nvPr/>
        </p:nvSpPr>
        <p:spPr>
          <a:xfrm>
            <a:off x="4605491" y="5337118"/>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ables</a:t>
            </a:r>
          </a:p>
          <a:p>
            <a:pPr algn="ctr"/>
            <a:endParaRPr lang="en-US" sz="1400"/>
          </a:p>
          <a:p>
            <a:pPr algn="ctr"/>
            <a:endParaRPr lang="en-US" sz="1400"/>
          </a:p>
          <a:p>
            <a:pPr algn="ctr"/>
            <a:endParaRPr lang="en-NL" sz="1400"/>
          </a:p>
        </p:txBody>
      </p:sp>
      <p:pic>
        <p:nvPicPr>
          <p:cNvPr id="1024" name="Graphic 1023">
            <a:extLst>
              <a:ext uri="{FF2B5EF4-FFF2-40B4-BE49-F238E27FC236}">
                <a16:creationId xmlns:a16="http://schemas.microsoft.com/office/drawing/2014/main" id="{A3A32D59-6D43-9775-8773-9675127EBA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53506" y="5808202"/>
            <a:ext cx="463487" cy="479952"/>
          </a:xfrm>
          <a:prstGeom prst="rect">
            <a:avLst/>
          </a:prstGeom>
        </p:spPr>
      </p:pic>
      <p:pic>
        <p:nvPicPr>
          <p:cNvPr id="1025" name="Picture 2" descr="23 White File Folder Icon Png">
            <a:extLst>
              <a:ext uri="{FF2B5EF4-FFF2-40B4-BE49-F238E27FC236}">
                <a16:creationId xmlns:a16="http://schemas.microsoft.com/office/drawing/2014/main" id="{0A53BB12-403C-F30C-7ACC-B131F7732CB2}"/>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428446" y="5802473"/>
            <a:ext cx="402861" cy="402861"/>
          </a:xfrm>
          <a:prstGeom prst="rect">
            <a:avLst/>
          </a:prstGeom>
          <a:noFill/>
          <a:extLst>
            <a:ext uri="{909E8E84-426E-40DD-AFC4-6F175D3DCCD1}">
              <a14:hiddenFill xmlns:a14="http://schemas.microsoft.com/office/drawing/2010/main">
                <a:solidFill>
                  <a:srgbClr val="FFFFFF"/>
                </a:solidFill>
              </a14:hiddenFill>
            </a:ext>
          </a:extLst>
        </p:spPr>
      </p:pic>
      <p:pic>
        <p:nvPicPr>
          <p:cNvPr id="1027" name="Graphic 1026">
            <a:extLst>
              <a:ext uri="{FF2B5EF4-FFF2-40B4-BE49-F238E27FC236}">
                <a16:creationId xmlns:a16="http://schemas.microsoft.com/office/drawing/2014/main" id="{A48D8CE2-83FC-764E-C46D-53C7721B7E2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27500" y="5771753"/>
            <a:ext cx="425998" cy="439310"/>
          </a:xfrm>
          <a:prstGeom prst="rect">
            <a:avLst/>
          </a:prstGeom>
        </p:spPr>
      </p:pic>
      <p:pic>
        <p:nvPicPr>
          <p:cNvPr id="1028" name="Graphic 1027">
            <a:extLst>
              <a:ext uri="{FF2B5EF4-FFF2-40B4-BE49-F238E27FC236}">
                <a16:creationId xmlns:a16="http://schemas.microsoft.com/office/drawing/2014/main" id="{F396D458-64B8-5112-02CD-CD227FD2AE2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887943" y="5771753"/>
            <a:ext cx="391573" cy="403810"/>
          </a:xfrm>
          <a:prstGeom prst="rect">
            <a:avLst/>
          </a:prstGeom>
        </p:spPr>
      </p:pic>
      <p:sp>
        <p:nvSpPr>
          <p:cNvPr id="1029" name="Title 1">
            <a:extLst>
              <a:ext uri="{FF2B5EF4-FFF2-40B4-BE49-F238E27FC236}">
                <a16:creationId xmlns:a16="http://schemas.microsoft.com/office/drawing/2014/main" id="{9AAF82F4-96DA-0942-EE7F-5DB19E440859}"/>
              </a:ext>
            </a:extLst>
          </p:cNvPr>
          <p:cNvSpPr txBox="1">
            <a:spLocks/>
          </p:cNvSpPr>
          <p:nvPr/>
        </p:nvSpPr>
        <p:spPr>
          <a:xfrm>
            <a:off x="1091876" y="4641889"/>
            <a:ext cx="1578153" cy="44808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200" err="1">
                <a:solidFill>
                  <a:schemeClr val="bg1"/>
                </a:solidFill>
              </a:rPr>
              <a:t>OneLake</a:t>
            </a:r>
            <a:endParaRPr lang="en-NL" sz="2200">
              <a:solidFill>
                <a:schemeClr val="bg1"/>
              </a:solidFill>
            </a:endParaRPr>
          </a:p>
        </p:txBody>
      </p:sp>
      <p:sp>
        <p:nvSpPr>
          <p:cNvPr id="1030" name="TextBox 1029">
            <a:extLst>
              <a:ext uri="{FF2B5EF4-FFF2-40B4-BE49-F238E27FC236}">
                <a16:creationId xmlns:a16="http://schemas.microsoft.com/office/drawing/2014/main" id="{E4D7686B-B640-9A93-704B-FF7764E09F37}"/>
              </a:ext>
            </a:extLst>
          </p:cNvPr>
          <p:cNvSpPr txBox="1"/>
          <p:nvPr/>
        </p:nvSpPr>
        <p:spPr>
          <a:xfrm>
            <a:off x="7603021" y="1031421"/>
            <a:ext cx="4406537" cy="830997"/>
          </a:xfrm>
          <a:prstGeom prst="rect">
            <a:avLst/>
          </a:prstGeom>
          <a:noFill/>
        </p:spPr>
        <p:txBody>
          <a:bodyPr wrap="square" rtlCol="0">
            <a:spAutoFit/>
          </a:bodyPr>
          <a:lstStyle/>
          <a:p>
            <a:r>
              <a:rPr lang="en-US" sz="1600" b="1" dirty="0"/>
              <a:t>Platform level access.</a:t>
            </a:r>
            <a:r>
              <a:rPr lang="en-US" sz="1600" dirty="0"/>
              <a:t> Authentication through </a:t>
            </a:r>
            <a:r>
              <a:rPr lang="en-US" sz="1600" dirty="0" err="1"/>
              <a:t>Entra</a:t>
            </a:r>
            <a:r>
              <a:rPr lang="en-US" sz="1600" dirty="0"/>
              <a:t> ID. Inbound through Private Link or Conditional access </a:t>
            </a:r>
            <a:endParaRPr lang="en-NL" sz="1600" dirty="0"/>
          </a:p>
        </p:txBody>
      </p:sp>
      <p:sp>
        <p:nvSpPr>
          <p:cNvPr id="1031" name="TextBox 1030">
            <a:extLst>
              <a:ext uri="{FF2B5EF4-FFF2-40B4-BE49-F238E27FC236}">
                <a16:creationId xmlns:a16="http://schemas.microsoft.com/office/drawing/2014/main" id="{EC890910-8A6D-9629-7FAA-77F48940245E}"/>
              </a:ext>
            </a:extLst>
          </p:cNvPr>
          <p:cNvSpPr txBox="1"/>
          <p:nvPr/>
        </p:nvSpPr>
        <p:spPr>
          <a:xfrm>
            <a:off x="7577290" y="1855926"/>
            <a:ext cx="4406537" cy="584775"/>
          </a:xfrm>
          <a:prstGeom prst="rect">
            <a:avLst/>
          </a:prstGeom>
          <a:noFill/>
        </p:spPr>
        <p:txBody>
          <a:bodyPr wrap="square" rtlCol="0">
            <a:spAutoFit/>
          </a:bodyPr>
          <a:lstStyle/>
          <a:p>
            <a:r>
              <a:rPr lang="en-US" sz="1600" b="1" dirty="0"/>
              <a:t>Domain specific configuration.</a:t>
            </a:r>
            <a:r>
              <a:rPr lang="en-US" sz="1600" dirty="0"/>
              <a:t> by domain admins</a:t>
            </a:r>
            <a:endParaRPr lang="en-NL" sz="1600" dirty="0"/>
          </a:p>
        </p:txBody>
      </p:sp>
      <p:sp>
        <p:nvSpPr>
          <p:cNvPr id="1032" name="TextBox 1031">
            <a:extLst>
              <a:ext uri="{FF2B5EF4-FFF2-40B4-BE49-F238E27FC236}">
                <a16:creationId xmlns:a16="http://schemas.microsoft.com/office/drawing/2014/main" id="{0855D110-DEDF-0683-543A-518A2613563F}"/>
              </a:ext>
            </a:extLst>
          </p:cNvPr>
          <p:cNvSpPr txBox="1"/>
          <p:nvPr/>
        </p:nvSpPr>
        <p:spPr>
          <a:xfrm>
            <a:off x="7577288" y="2445866"/>
            <a:ext cx="4406537" cy="584775"/>
          </a:xfrm>
          <a:prstGeom prst="rect">
            <a:avLst/>
          </a:prstGeom>
          <a:noFill/>
        </p:spPr>
        <p:txBody>
          <a:bodyPr wrap="square" rtlCol="0">
            <a:spAutoFit/>
          </a:bodyPr>
          <a:lstStyle/>
          <a:p>
            <a:r>
              <a:rPr lang="en-US" sz="1600" b="1" dirty="0"/>
              <a:t>Workspace level access.</a:t>
            </a:r>
            <a:r>
              <a:rPr lang="en-US" sz="1600" dirty="0"/>
              <a:t> Boundary for managing artifacts. E.g. admin, contributor and viewers.</a:t>
            </a:r>
            <a:endParaRPr lang="en-NL" sz="1600" dirty="0"/>
          </a:p>
        </p:txBody>
      </p:sp>
      <p:sp>
        <p:nvSpPr>
          <p:cNvPr id="1033" name="TextBox 1032">
            <a:extLst>
              <a:ext uri="{FF2B5EF4-FFF2-40B4-BE49-F238E27FC236}">
                <a16:creationId xmlns:a16="http://schemas.microsoft.com/office/drawing/2014/main" id="{569B09CC-5640-A376-7072-6B6448E84835}"/>
              </a:ext>
            </a:extLst>
          </p:cNvPr>
          <p:cNvSpPr txBox="1"/>
          <p:nvPr/>
        </p:nvSpPr>
        <p:spPr>
          <a:xfrm>
            <a:off x="7695052" y="5097666"/>
            <a:ext cx="4406537" cy="830997"/>
          </a:xfrm>
          <a:prstGeom prst="rect">
            <a:avLst/>
          </a:prstGeom>
          <a:noFill/>
        </p:spPr>
        <p:txBody>
          <a:bodyPr wrap="square" rtlCol="0">
            <a:spAutoFit/>
          </a:bodyPr>
          <a:lstStyle/>
          <a:p>
            <a:r>
              <a:rPr lang="en-US" sz="1600" b="1" dirty="0"/>
              <a:t>Item level access.</a:t>
            </a:r>
            <a:r>
              <a:rPr lang="en-US" sz="1600" dirty="0"/>
              <a:t> e.g. read all only via </a:t>
            </a:r>
            <a:r>
              <a:rPr lang="en-US" sz="1600" dirty="0" err="1"/>
              <a:t>OneLake</a:t>
            </a:r>
            <a:r>
              <a:rPr lang="en-US" sz="1600" dirty="0"/>
              <a:t> or read access to only subset of data.</a:t>
            </a:r>
          </a:p>
          <a:p>
            <a:r>
              <a:rPr lang="en-US" sz="1600" dirty="0"/>
              <a:t>More granular roles for files and folders. </a:t>
            </a:r>
            <a:endParaRPr lang="en-NL" sz="1600" dirty="0"/>
          </a:p>
        </p:txBody>
      </p:sp>
      <p:sp>
        <p:nvSpPr>
          <p:cNvPr id="1034" name="TextBox 1033">
            <a:extLst>
              <a:ext uri="{FF2B5EF4-FFF2-40B4-BE49-F238E27FC236}">
                <a16:creationId xmlns:a16="http://schemas.microsoft.com/office/drawing/2014/main" id="{37C65F22-8CFD-7549-8945-05504E6158D3}"/>
              </a:ext>
            </a:extLst>
          </p:cNvPr>
          <p:cNvSpPr txBox="1"/>
          <p:nvPr/>
        </p:nvSpPr>
        <p:spPr>
          <a:xfrm>
            <a:off x="7603021" y="3233156"/>
            <a:ext cx="4406537" cy="830997"/>
          </a:xfrm>
          <a:prstGeom prst="rect">
            <a:avLst/>
          </a:prstGeom>
          <a:noFill/>
        </p:spPr>
        <p:txBody>
          <a:bodyPr wrap="square" rtlCol="0">
            <a:spAutoFit/>
          </a:bodyPr>
          <a:lstStyle/>
          <a:p>
            <a:r>
              <a:rPr lang="en-US" sz="1600" b="1" dirty="0"/>
              <a:t>Compute security.</a:t>
            </a:r>
            <a:r>
              <a:rPr lang="en-US" sz="1600" dirty="0"/>
              <a:t> e.g. Warehouse access through GRANT/DENY or Semantic Models &amp; Warehouse RLS \ OLS.</a:t>
            </a:r>
            <a:endParaRPr lang="en-NL" sz="1600" dirty="0"/>
          </a:p>
        </p:txBody>
      </p:sp>
      <p:cxnSp>
        <p:nvCxnSpPr>
          <p:cNvPr id="1036" name="Straight Connector 1035">
            <a:extLst>
              <a:ext uri="{FF2B5EF4-FFF2-40B4-BE49-F238E27FC236}">
                <a16:creationId xmlns:a16="http://schemas.microsoft.com/office/drawing/2014/main" id="{027FD957-B968-0A10-5120-15DD5FD837B9}"/>
              </a:ext>
            </a:extLst>
          </p:cNvPr>
          <p:cNvCxnSpPr>
            <a:stCxn id="24" idx="2"/>
            <a:endCxn id="34" idx="0"/>
          </p:cNvCxnSpPr>
          <p:nvPr/>
        </p:nvCxnSpPr>
        <p:spPr>
          <a:xfrm flipH="1">
            <a:off x="3390154" y="4388373"/>
            <a:ext cx="11488" cy="777393"/>
          </a:xfrm>
          <a:prstGeom prst="line">
            <a:avLst/>
          </a:prstGeom>
          <a:ln w="158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C02FA0C1-9836-EA95-40D4-49AE060C2780}"/>
              </a:ext>
            </a:extLst>
          </p:cNvPr>
          <p:cNvCxnSpPr>
            <a:cxnSpLocks/>
            <a:stCxn id="1030" idx="1"/>
          </p:cNvCxnSpPr>
          <p:nvPr/>
        </p:nvCxnSpPr>
        <p:spPr>
          <a:xfrm flipH="1">
            <a:off x="5746503" y="1446920"/>
            <a:ext cx="185651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19C0AEF1-C135-19C7-E2EC-946B0F73736C}"/>
              </a:ext>
            </a:extLst>
          </p:cNvPr>
          <p:cNvCxnSpPr>
            <a:cxnSpLocks/>
          </p:cNvCxnSpPr>
          <p:nvPr/>
        </p:nvCxnSpPr>
        <p:spPr>
          <a:xfrm flipH="1">
            <a:off x="2290995" y="2079116"/>
            <a:ext cx="51988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522F1454-71AE-F092-26AD-6B8DAF0BCE44}"/>
              </a:ext>
            </a:extLst>
          </p:cNvPr>
          <p:cNvCxnSpPr>
            <a:cxnSpLocks/>
          </p:cNvCxnSpPr>
          <p:nvPr/>
        </p:nvCxnSpPr>
        <p:spPr>
          <a:xfrm flipH="1">
            <a:off x="3008825" y="2629211"/>
            <a:ext cx="4533237" cy="2536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766317A2-929F-0DF2-BDD1-FF32F741867B}"/>
              </a:ext>
            </a:extLst>
          </p:cNvPr>
          <p:cNvCxnSpPr>
            <a:cxnSpLocks/>
          </p:cNvCxnSpPr>
          <p:nvPr/>
        </p:nvCxnSpPr>
        <p:spPr>
          <a:xfrm flipH="1">
            <a:off x="5746503" y="5360759"/>
            <a:ext cx="2006019" cy="153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4" name="Connector: Elbow 1053">
            <a:extLst>
              <a:ext uri="{FF2B5EF4-FFF2-40B4-BE49-F238E27FC236}">
                <a16:creationId xmlns:a16="http://schemas.microsoft.com/office/drawing/2014/main" id="{69552285-D515-048B-9EB6-FCF28111365E}"/>
              </a:ext>
            </a:extLst>
          </p:cNvPr>
          <p:cNvCxnSpPr>
            <a:stCxn id="1034" idx="1"/>
            <a:endCxn id="48" idx="2"/>
          </p:cNvCxnSpPr>
          <p:nvPr/>
        </p:nvCxnSpPr>
        <p:spPr>
          <a:xfrm rot="10800000" flipV="1">
            <a:off x="3959867" y="3648654"/>
            <a:ext cx="3643154" cy="422777"/>
          </a:xfrm>
          <a:prstGeom prst="bentConnector4">
            <a:avLst>
              <a:gd name="adj1" fmla="val 42978"/>
              <a:gd name="adj2" fmla="val 154071"/>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31FCDC0-BC58-CDE8-87F1-762C174C6E74}"/>
              </a:ext>
            </a:extLst>
          </p:cNvPr>
          <p:cNvCxnSpPr>
            <a:cxnSpLocks/>
          </p:cNvCxnSpPr>
          <p:nvPr/>
        </p:nvCxnSpPr>
        <p:spPr>
          <a:xfrm flipH="1">
            <a:off x="5628739" y="3648907"/>
            <a:ext cx="4249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558798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58E4EA-BA1B-834D-ABB6-23E0A5EA49C4}"/>
              </a:ext>
            </a:extLst>
          </p:cNvPr>
          <p:cNvSpPr>
            <a:spLocks noGrp="1"/>
          </p:cNvSpPr>
          <p:nvPr>
            <p:ph type="title"/>
          </p:nvPr>
        </p:nvSpPr>
        <p:spPr/>
        <p:txBody>
          <a:bodyPr/>
          <a:lstStyle/>
          <a:p>
            <a:r>
              <a:rPr lang="en-US"/>
              <a:t>Universal security coming later</a:t>
            </a:r>
            <a:endParaRPr lang="en-NL"/>
          </a:p>
        </p:txBody>
      </p:sp>
      <p:sp>
        <p:nvSpPr>
          <p:cNvPr id="4" name="Rectangle: Rounded Corners 3">
            <a:extLst>
              <a:ext uri="{FF2B5EF4-FFF2-40B4-BE49-F238E27FC236}">
                <a16:creationId xmlns:a16="http://schemas.microsoft.com/office/drawing/2014/main" id="{FAE504D8-2D67-6860-C8DF-8DD74A771D0D}"/>
              </a:ext>
            </a:extLst>
          </p:cNvPr>
          <p:cNvSpPr/>
          <p:nvPr/>
        </p:nvSpPr>
        <p:spPr>
          <a:xfrm>
            <a:off x="460344" y="1138171"/>
            <a:ext cx="5760093" cy="5686697"/>
          </a:xfrm>
          <a:prstGeom prst="roundRect">
            <a:avLst/>
          </a:pr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 name="Rectangle: Rounded Corners 4">
            <a:extLst>
              <a:ext uri="{FF2B5EF4-FFF2-40B4-BE49-F238E27FC236}">
                <a16:creationId xmlns:a16="http://schemas.microsoft.com/office/drawing/2014/main" id="{8A2C4F24-F0F2-2956-3AA8-116BBB6B6C9E}"/>
              </a:ext>
            </a:extLst>
          </p:cNvPr>
          <p:cNvSpPr/>
          <p:nvPr/>
        </p:nvSpPr>
        <p:spPr>
          <a:xfrm>
            <a:off x="824199" y="1808731"/>
            <a:ext cx="5077456" cy="2677886"/>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Rectangle: Rounded Corners 5">
            <a:extLst>
              <a:ext uri="{FF2B5EF4-FFF2-40B4-BE49-F238E27FC236}">
                <a16:creationId xmlns:a16="http://schemas.microsoft.com/office/drawing/2014/main" id="{345FDF41-C3D7-1179-5F69-585892CC917F}"/>
              </a:ext>
            </a:extLst>
          </p:cNvPr>
          <p:cNvSpPr/>
          <p:nvPr/>
        </p:nvSpPr>
        <p:spPr>
          <a:xfrm>
            <a:off x="864571" y="4687955"/>
            <a:ext cx="5037083" cy="1938992"/>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21" name="Picture 20" descr="A green and blue logo&#10;&#10;Description automatically generated">
            <a:extLst>
              <a:ext uri="{FF2B5EF4-FFF2-40B4-BE49-F238E27FC236}">
                <a16:creationId xmlns:a16="http://schemas.microsoft.com/office/drawing/2014/main" id="{6F19231A-8E3E-E1BC-E630-0E663192EB3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1623" y="1357494"/>
            <a:ext cx="378563" cy="378563"/>
          </a:xfrm>
          <a:prstGeom prst="rect">
            <a:avLst/>
          </a:prstGeom>
        </p:spPr>
      </p:pic>
      <p:sp>
        <p:nvSpPr>
          <p:cNvPr id="24" name="Rectangle: Rounded Corners 23">
            <a:extLst>
              <a:ext uri="{FF2B5EF4-FFF2-40B4-BE49-F238E27FC236}">
                <a16:creationId xmlns:a16="http://schemas.microsoft.com/office/drawing/2014/main" id="{8058BB27-81C5-A1D8-C031-970DC8070CD6}"/>
              </a:ext>
            </a:extLst>
          </p:cNvPr>
          <p:cNvSpPr/>
          <p:nvPr/>
        </p:nvSpPr>
        <p:spPr>
          <a:xfrm>
            <a:off x="1024321" y="2310428"/>
            <a:ext cx="4712697" cy="2069980"/>
          </a:xfrm>
          <a:prstGeom prst="roundRect">
            <a:avLst/>
          </a:prstGeom>
          <a:solidFill>
            <a:schemeClr val="tx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4" name="Rectangle: Rounded Corners 33">
            <a:extLst>
              <a:ext uri="{FF2B5EF4-FFF2-40B4-BE49-F238E27FC236}">
                <a16:creationId xmlns:a16="http://schemas.microsoft.com/office/drawing/2014/main" id="{9148469C-8FA7-18D1-03BE-B370C9D4F397}"/>
              </a:ext>
            </a:extLst>
          </p:cNvPr>
          <p:cNvSpPr/>
          <p:nvPr/>
        </p:nvSpPr>
        <p:spPr>
          <a:xfrm>
            <a:off x="1001346" y="5157801"/>
            <a:ext cx="4735672" cy="1357913"/>
          </a:xfrm>
          <a:prstGeom prst="roundRect">
            <a:avLst/>
          </a:prstGeom>
          <a:solidFill>
            <a:schemeClr val="tx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sz="1400"/>
          </a:p>
        </p:txBody>
      </p:sp>
      <p:pic>
        <p:nvPicPr>
          <p:cNvPr id="33" name="Graphic 32">
            <a:extLst>
              <a:ext uri="{FF2B5EF4-FFF2-40B4-BE49-F238E27FC236}">
                <a16:creationId xmlns:a16="http://schemas.microsoft.com/office/drawing/2014/main" id="{A301E0EE-7B67-FDE8-6060-D3D23D4265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04145" y="2494212"/>
            <a:ext cx="304800" cy="304800"/>
          </a:xfrm>
          <a:prstGeom prst="rect">
            <a:avLst/>
          </a:prstGeom>
        </p:spPr>
      </p:pic>
      <p:sp>
        <p:nvSpPr>
          <p:cNvPr id="39" name="Title 1">
            <a:extLst>
              <a:ext uri="{FF2B5EF4-FFF2-40B4-BE49-F238E27FC236}">
                <a16:creationId xmlns:a16="http://schemas.microsoft.com/office/drawing/2014/main" id="{E973B905-EC7A-DBBC-2D15-8ABF089ABB8C}"/>
              </a:ext>
            </a:extLst>
          </p:cNvPr>
          <p:cNvSpPr txBox="1">
            <a:spLocks/>
          </p:cNvSpPr>
          <p:nvPr/>
        </p:nvSpPr>
        <p:spPr>
          <a:xfrm>
            <a:off x="1350607" y="1124208"/>
            <a:ext cx="11026774" cy="553998"/>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600">
                <a:solidFill>
                  <a:srgbClr val="225B61"/>
                </a:solidFill>
              </a:rPr>
              <a:t>Microsoft Fabric </a:t>
            </a:r>
            <a:r>
              <a:rPr lang="en-US" sz="2400">
                <a:solidFill>
                  <a:srgbClr val="225B61"/>
                </a:solidFill>
              </a:rPr>
              <a:t>(SaaS tenant)</a:t>
            </a:r>
            <a:endParaRPr lang="en-NL" sz="2600">
              <a:solidFill>
                <a:srgbClr val="225B61"/>
              </a:solidFill>
            </a:endParaRPr>
          </a:p>
        </p:txBody>
      </p:sp>
      <p:sp>
        <p:nvSpPr>
          <p:cNvPr id="40" name="Title 1">
            <a:extLst>
              <a:ext uri="{FF2B5EF4-FFF2-40B4-BE49-F238E27FC236}">
                <a16:creationId xmlns:a16="http://schemas.microsoft.com/office/drawing/2014/main" id="{18602326-C86D-19F5-AD9E-1117A041F566}"/>
              </a:ext>
            </a:extLst>
          </p:cNvPr>
          <p:cNvSpPr txBox="1">
            <a:spLocks/>
          </p:cNvSpPr>
          <p:nvPr/>
        </p:nvSpPr>
        <p:spPr>
          <a:xfrm>
            <a:off x="1070905" y="1828346"/>
            <a:ext cx="11026774" cy="424459"/>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200">
                <a:solidFill>
                  <a:schemeClr val="bg1"/>
                </a:solidFill>
              </a:rPr>
              <a:t>Domain</a:t>
            </a:r>
            <a:endParaRPr lang="en-NL" sz="2200">
              <a:solidFill>
                <a:schemeClr val="bg1"/>
              </a:solidFill>
            </a:endParaRPr>
          </a:p>
        </p:txBody>
      </p:sp>
      <p:sp>
        <p:nvSpPr>
          <p:cNvPr id="41" name="Title 1">
            <a:extLst>
              <a:ext uri="{FF2B5EF4-FFF2-40B4-BE49-F238E27FC236}">
                <a16:creationId xmlns:a16="http://schemas.microsoft.com/office/drawing/2014/main" id="{4FC20995-A5D3-8248-4EC3-31EAFBEB1988}"/>
              </a:ext>
            </a:extLst>
          </p:cNvPr>
          <p:cNvSpPr txBox="1">
            <a:spLocks/>
          </p:cNvSpPr>
          <p:nvPr/>
        </p:nvSpPr>
        <p:spPr>
          <a:xfrm>
            <a:off x="1151886" y="2468846"/>
            <a:ext cx="1578153" cy="304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200">
                <a:solidFill>
                  <a:schemeClr val="bg1"/>
                </a:solidFill>
              </a:rPr>
              <a:t>Workspace</a:t>
            </a:r>
            <a:endParaRPr lang="en-NL" sz="2200">
              <a:solidFill>
                <a:schemeClr val="bg1"/>
              </a:solidFill>
            </a:endParaRPr>
          </a:p>
        </p:txBody>
      </p:sp>
      <p:sp>
        <p:nvSpPr>
          <p:cNvPr id="42" name="Rectangle: Rounded Corners 41">
            <a:extLst>
              <a:ext uri="{FF2B5EF4-FFF2-40B4-BE49-F238E27FC236}">
                <a16:creationId xmlns:a16="http://schemas.microsoft.com/office/drawing/2014/main" id="{BBFDFDF6-0FB8-B2CE-4A97-130D7E0C6E01}"/>
              </a:ext>
            </a:extLst>
          </p:cNvPr>
          <p:cNvSpPr/>
          <p:nvPr/>
        </p:nvSpPr>
        <p:spPr>
          <a:xfrm>
            <a:off x="1112775" y="3000350"/>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sp>
        <p:nvSpPr>
          <p:cNvPr id="47" name="Rectangle: Rounded Corners 46">
            <a:extLst>
              <a:ext uri="{FF2B5EF4-FFF2-40B4-BE49-F238E27FC236}">
                <a16:creationId xmlns:a16="http://schemas.microsoft.com/office/drawing/2014/main" id="{B8C03744-5750-99A1-7723-CF92AF70D8D0}"/>
              </a:ext>
            </a:extLst>
          </p:cNvPr>
          <p:cNvSpPr/>
          <p:nvPr/>
        </p:nvSpPr>
        <p:spPr>
          <a:xfrm>
            <a:off x="2270023" y="3000350"/>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sp>
        <p:nvSpPr>
          <p:cNvPr id="48" name="Rectangle: Rounded Corners 47">
            <a:extLst>
              <a:ext uri="{FF2B5EF4-FFF2-40B4-BE49-F238E27FC236}">
                <a16:creationId xmlns:a16="http://schemas.microsoft.com/office/drawing/2014/main" id="{571EE50A-5C56-0753-FC71-2EC395E2B417}"/>
              </a:ext>
            </a:extLst>
          </p:cNvPr>
          <p:cNvSpPr/>
          <p:nvPr/>
        </p:nvSpPr>
        <p:spPr>
          <a:xfrm>
            <a:off x="3427271" y="3000350"/>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sp>
        <p:nvSpPr>
          <p:cNvPr id="49" name="Rectangle: Rounded Corners 48">
            <a:extLst>
              <a:ext uri="{FF2B5EF4-FFF2-40B4-BE49-F238E27FC236}">
                <a16:creationId xmlns:a16="http://schemas.microsoft.com/office/drawing/2014/main" id="{EFAAAAB0-8D23-48A1-3DB9-BAA1A46B20D7}"/>
              </a:ext>
            </a:extLst>
          </p:cNvPr>
          <p:cNvSpPr/>
          <p:nvPr/>
        </p:nvSpPr>
        <p:spPr>
          <a:xfrm>
            <a:off x="4584519" y="3000350"/>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Artifact</a:t>
            </a:r>
          </a:p>
          <a:p>
            <a:pPr algn="ctr"/>
            <a:endParaRPr lang="en-US" sz="1400"/>
          </a:p>
          <a:p>
            <a:pPr algn="ctr"/>
            <a:endParaRPr lang="en-US" sz="1400"/>
          </a:p>
          <a:p>
            <a:pPr algn="ctr"/>
            <a:endParaRPr lang="en-NL" sz="1400"/>
          </a:p>
        </p:txBody>
      </p:sp>
      <p:pic>
        <p:nvPicPr>
          <p:cNvPr id="51" name="Graphic 50">
            <a:extLst>
              <a:ext uri="{FF2B5EF4-FFF2-40B4-BE49-F238E27FC236}">
                <a16:creationId xmlns:a16="http://schemas.microsoft.com/office/drawing/2014/main" id="{0FA88707-1BA0-810D-D8F8-D2311E4D37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06125" y="3427694"/>
            <a:ext cx="352679" cy="363700"/>
          </a:xfrm>
          <a:prstGeom prst="rect">
            <a:avLst/>
          </a:prstGeom>
        </p:spPr>
      </p:pic>
      <p:pic>
        <p:nvPicPr>
          <p:cNvPr id="52" name="Graphic 51">
            <a:extLst>
              <a:ext uri="{FF2B5EF4-FFF2-40B4-BE49-F238E27FC236}">
                <a16:creationId xmlns:a16="http://schemas.microsoft.com/office/drawing/2014/main" id="{B4A9FEF3-0BCF-A16D-7903-7A7030DF3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92340" y="3403005"/>
            <a:ext cx="400560" cy="413077"/>
          </a:xfrm>
          <a:prstGeom prst="rect">
            <a:avLst/>
          </a:prstGeom>
        </p:spPr>
      </p:pic>
      <p:pic>
        <p:nvPicPr>
          <p:cNvPr id="53" name="Graphic 52">
            <a:extLst>
              <a:ext uri="{FF2B5EF4-FFF2-40B4-BE49-F238E27FC236}">
                <a16:creationId xmlns:a16="http://schemas.microsoft.com/office/drawing/2014/main" id="{D05E9B41-8518-A854-63FC-959E7AABC2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29452" y="3392865"/>
            <a:ext cx="423783" cy="437026"/>
          </a:xfrm>
          <a:prstGeom prst="rect">
            <a:avLst/>
          </a:prstGeom>
        </p:spPr>
      </p:pic>
      <p:pic>
        <p:nvPicPr>
          <p:cNvPr id="55" name="Graphic 54">
            <a:extLst>
              <a:ext uri="{FF2B5EF4-FFF2-40B4-BE49-F238E27FC236}">
                <a16:creationId xmlns:a16="http://schemas.microsoft.com/office/drawing/2014/main" id="{2A82EABF-6547-5CC0-5448-49184D4DCE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07474" y="3429528"/>
            <a:ext cx="352679" cy="363700"/>
          </a:xfrm>
          <a:prstGeom prst="rect">
            <a:avLst/>
          </a:prstGeom>
        </p:spPr>
      </p:pic>
      <p:sp>
        <p:nvSpPr>
          <p:cNvPr id="56" name="Rectangle: Rounded Corners 55">
            <a:extLst>
              <a:ext uri="{FF2B5EF4-FFF2-40B4-BE49-F238E27FC236}">
                <a16:creationId xmlns:a16="http://schemas.microsoft.com/office/drawing/2014/main" id="{0D9F5085-A63D-8B27-838D-9E13292C1789}"/>
              </a:ext>
            </a:extLst>
          </p:cNvPr>
          <p:cNvSpPr/>
          <p:nvPr/>
        </p:nvSpPr>
        <p:spPr>
          <a:xfrm>
            <a:off x="1112775" y="5329153"/>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Files</a:t>
            </a:r>
          </a:p>
          <a:p>
            <a:pPr algn="ctr"/>
            <a:endParaRPr lang="en-US" sz="1400"/>
          </a:p>
          <a:p>
            <a:pPr algn="ctr"/>
            <a:endParaRPr lang="en-US" sz="1400"/>
          </a:p>
          <a:p>
            <a:pPr algn="ctr"/>
            <a:endParaRPr lang="en-NL" sz="1400"/>
          </a:p>
        </p:txBody>
      </p:sp>
      <p:sp>
        <p:nvSpPr>
          <p:cNvPr id="57" name="Rectangle: Rounded Corners 56">
            <a:extLst>
              <a:ext uri="{FF2B5EF4-FFF2-40B4-BE49-F238E27FC236}">
                <a16:creationId xmlns:a16="http://schemas.microsoft.com/office/drawing/2014/main" id="{C485BC2F-1D9D-C9AF-122A-4F4CD86C2371}"/>
              </a:ext>
            </a:extLst>
          </p:cNvPr>
          <p:cNvSpPr/>
          <p:nvPr/>
        </p:nvSpPr>
        <p:spPr>
          <a:xfrm>
            <a:off x="2270023" y="5329153"/>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Shortcuts</a:t>
            </a:r>
          </a:p>
          <a:p>
            <a:pPr algn="ctr"/>
            <a:endParaRPr lang="en-US" sz="1400"/>
          </a:p>
          <a:p>
            <a:pPr algn="ctr"/>
            <a:endParaRPr lang="en-US" sz="1400"/>
          </a:p>
          <a:p>
            <a:pPr algn="ctr"/>
            <a:endParaRPr lang="en-NL" sz="1400"/>
          </a:p>
        </p:txBody>
      </p:sp>
      <p:sp>
        <p:nvSpPr>
          <p:cNvPr id="58" name="Rectangle: Rounded Corners 57">
            <a:extLst>
              <a:ext uri="{FF2B5EF4-FFF2-40B4-BE49-F238E27FC236}">
                <a16:creationId xmlns:a16="http://schemas.microsoft.com/office/drawing/2014/main" id="{CC98D617-F433-4A4B-BE5D-8D2C38F99185}"/>
              </a:ext>
            </a:extLst>
          </p:cNvPr>
          <p:cNvSpPr/>
          <p:nvPr/>
        </p:nvSpPr>
        <p:spPr>
          <a:xfrm>
            <a:off x="3427271" y="5329153"/>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ables</a:t>
            </a:r>
          </a:p>
          <a:p>
            <a:pPr algn="ctr"/>
            <a:endParaRPr lang="en-US" sz="1400"/>
          </a:p>
          <a:p>
            <a:pPr algn="ctr"/>
            <a:endParaRPr lang="en-US" sz="1400"/>
          </a:p>
          <a:p>
            <a:pPr algn="ctr"/>
            <a:endParaRPr lang="en-NL" sz="1400"/>
          </a:p>
        </p:txBody>
      </p:sp>
      <p:sp>
        <p:nvSpPr>
          <p:cNvPr id="59" name="Rectangle: Rounded Corners 58">
            <a:extLst>
              <a:ext uri="{FF2B5EF4-FFF2-40B4-BE49-F238E27FC236}">
                <a16:creationId xmlns:a16="http://schemas.microsoft.com/office/drawing/2014/main" id="{D6B82A63-F5F1-41B5-29A2-9EF3B1B4C74A}"/>
              </a:ext>
            </a:extLst>
          </p:cNvPr>
          <p:cNvSpPr/>
          <p:nvPr/>
        </p:nvSpPr>
        <p:spPr>
          <a:xfrm>
            <a:off x="4584519" y="5329153"/>
            <a:ext cx="1023248" cy="1063117"/>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t>Tables</a:t>
            </a:r>
          </a:p>
          <a:p>
            <a:pPr algn="ctr"/>
            <a:endParaRPr lang="en-US" sz="1400"/>
          </a:p>
          <a:p>
            <a:pPr algn="ctr"/>
            <a:endParaRPr lang="en-US" sz="1400"/>
          </a:p>
          <a:p>
            <a:pPr algn="ctr"/>
            <a:endParaRPr lang="en-NL" sz="1400"/>
          </a:p>
        </p:txBody>
      </p:sp>
      <p:pic>
        <p:nvPicPr>
          <p:cNvPr id="1024" name="Graphic 1023">
            <a:extLst>
              <a:ext uri="{FF2B5EF4-FFF2-40B4-BE49-F238E27FC236}">
                <a16:creationId xmlns:a16="http://schemas.microsoft.com/office/drawing/2014/main" id="{A3A32D59-6D43-9775-8773-9675127EBA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32534" y="5800237"/>
            <a:ext cx="463487" cy="479952"/>
          </a:xfrm>
          <a:prstGeom prst="rect">
            <a:avLst/>
          </a:prstGeom>
        </p:spPr>
      </p:pic>
      <p:pic>
        <p:nvPicPr>
          <p:cNvPr id="1025" name="Picture 2" descr="23 White File Folder Icon Png">
            <a:extLst>
              <a:ext uri="{FF2B5EF4-FFF2-40B4-BE49-F238E27FC236}">
                <a16:creationId xmlns:a16="http://schemas.microsoft.com/office/drawing/2014/main" id="{0A53BB12-403C-F30C-7ACC-B131F7732CB2}"/>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407474" y="5794508"/>
            <a:ext cx="402861" cy="402861"/>
          </a:xfrm>
          <a:prstGeom prst="rect">
            <a:avLst/>
          </a:prstGeom>
          <a:noFill/>
          <a:extLst>
            <a:ext uri="{909E8E84-426E-40DD-AFC4-6F175D3DCCD1}">
              <a14:hiddenFill xmlns:a14="http://schemas.microsoft.com/office/drawing/2010/main">
                <a:solidFill>
                  <a:srgbClr val="FFFFFF"/>
                </a:solidFill>
              </a14:hiddenFill>
            </a:ext>
          </a:extLst>
        </p:spPr>
      </p:pic>
      <p:pic>
        <p:nvPicPr>
          <p:cNvPr id="1027" name="Graphic 1026">
            <a:extLst>
              <a:ext uri="{FF2B5EF4-FFF2-40B4-BE49-F238E27FC236}">
                <a16:creationId xmlns:a16="http://schemas.microsoft.com/office/drawing/2014/main" id="{A48D8CE2-83FC-764E-C46D-53C7721B7E2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706528" y="5763788"/>
            <a:ext cx="425998" cy="439310"/>
          </a:xfrm>
          <a:prstGeom prst="rect">
            <a:avLst/>
          </a:prstGeom>
        </p:spPr>
      </p:pic>
      <p:pic>
        <p:nvPicPr>
          <p:cNvPr id="1028" name="Graphic 1027">
            <a:extLst>
              <a:ext uri="{FF2B5EF4-FFF2-40B4-BE49-F238E27FC236}">
                <a16:creationId xmlns:a16="http://schemas.microsoft.com/office/drawing/2014/main" id="{F396D458-64B8-5112-02CD-CD227FD2AE2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866971" y="5763788"/>
            <a:ext cx="391573" cy="403810"/>
          </a:xfrm>
          <a:prstGeom prst="rect">
            <a:avLst/>
          </a:prstGeom>
        </p:spPr>
      </p:pic>
      <p:sp>
        <p:nvSpPr>
          <p:cNvPr id="1029" name="Title 1">
            <a:extLst>
              <a:ext uri="{FF2B5EF4-FFF2-40B4-BE49-F238E27FC236}">
                <a16:creationId xmlns:a16="http://schemas.microsoft.com/office/drawing/2014/main" id="{9AAF82F4-96DA-0942-EE7F-5DB19E440859}"/>
              </a:ext>
            </a:extLst>
          </p:cNvPr>
          <p:cNvSpPr txBox="1">
            <a:spLocks/>
          </p:cNvSpPr>
          <p:nvPr/>
        </p:nvSpPr>
        <p:spPr>
          <a:xfrm>
            <a:off x="1070904" y="4633924"/>
            <a:ext cx="1578153" cy="44808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0" i="0" kern="1200">
                <a:solidFill>
                  <a:schemeClr val="tx1"/>
                </a:solidFill>
                <a:latin typeface="+mj-lt"/>
                <a:ea typeface="+mj-ea"/>
                <a:cs typeface="Segoe Sans Display" pitchFamily="2" charset="0"/>
              </a:defRPr>
            </a:lvl1pPr>
          </a:lstStyle>
          <a:p>
            <a:r>
              <a:rPr lang="en-US" sz="2200" err="1">
                <a:solidFill>
                  <a:schemeClr val="bg1"/>
                </a:solidFill>
              </a:rPr>
              <a:t>OneLake</a:t>
            </a:r>
            <a:endParaRPr lang="en-NL" sz="2200">
              <a:solidFill>
                <a:schemeClr val="bg1"/>
              </a:solidFill>
            </a:endParaRPr>
          </a:p>
        </p:txBody>
      </p:sp>
      <p:sp>
        <p:nvSpPr>
          <p:cNvPr id="1030" name="TextBox 1029">
            <a:extLst>
              <a:ext uri="{FF2B5EF4-FFF2-40B4-BE49-F238E27FC236}">
                <a16:creationId xmlns:a16="http://schemas.microsoft.com/office/drawing/2014/main" id="{E4D7686B-B640-9A93-704B-FF7764E09F37}"/>
              </a:ext>
            </a:extLst>
          </p:cNvPr>
          <p:cNvSpPr txBox="1"/>
          <p:nvPr/>
        </p:nvSpPr>
        <p:spPr>
          <a:xfrm>
            <a:off x="7582049" y="1023456"/>
            <a:ext cx="4406537" cy="830997"/>
          </a:xfrm>
          <a:prstGeom prst="rect">
            <a:avLst/>
          </a:prstGeom>
          <a:noFill/>
        </p:spPr>
        <p:txBody>
          <a:bodyPr wrap="square" rtlCol="0">
            <a:spAutoFit/>
          </a:bodyPr>
          <a:lstStyle/>
          <a:p>
            <a:r>
              <a:rPr lang="en-US" sz="1600" b="1"/>
              <a:t>Platform level access.</a:t>
            </a:r>
            <a:r>
              <a:rPr lang="en-US" sz="1600"/>
              <a:t> Authentication through </a:t>
            </a:r>
            <a:r>
              <a:rPr lang="en-US" sz="1600" err="1"/>
              <a:t>Entra</a:t>
            </a:r>
            <a:r>
              <a:rPr lang="en-US" sz="1600"/>
              <a:t> ID. Inbound through Private Link or Conditional access </a:t>
            </a:r>
            <a:endParaRPr lang="en-NL" sz="1600"/>
          </a:p>
        </p:txBody>
      </p:sp>
      <p:sp>
        <p:nvSpPr>
          <p:cNvPr id="1031" name="TextBox 1030">
            <a:extLst>
              <a:ext uri="{FF2B5EF4-FFF2-40B4-BE49-F238E27FC236}">
                <a16:creationId xmlns:a16="http://schemas.microsoft.com/office/drawing/2014/main" id="{EC890910-8A6D-9629-7FAA-77F48940245E}"/>
              </a:ext>
            </a:extLst>
          </p:cNvPr>
          <p:cNvSpPr txBox="1"/>
          <p:nvPr/>
        </p:nvSpPr>
        <p:spPr>
          <a:xfrm>
            <a:off x="7556318" y="1847961"/>
            <a:ext cx="4406537" cy="584775"/>
          </a:xfrm>
          <a:prstGeom prst="rect">
            <a:avLst/>
          </a:prstGeom>
          <a:noFill/>
        </p:spPr>
        <p:txBody>
          <a:bodyPr wrap="square" rtlCol="0">
            <a:spAutoFit/>
          </a:bodyPr>
          <a:lstStyle/>
          <a:p>
            <a:r>
              <a:rPr lang="en-US" sz="1600" b="1"/>
              <a:t>Domain specific configuration.</a:t>
            </a:r>
            <a:r>
              <a:rPr lang="en-US" sz="1600"/>
              <a:t> by domain admins</a:t>
            </a:r>
            <a:endParaRPr lang="en-NL" sz="1600"/>
          </a:p>
        </p:txBody>
      </p:sp>
      <p:sp>
        <p:nvSpPr>
          <p:cNvPr id="1032" name="TextBox 1031">
            <a:extLst>
              <a:ext uri="{FF2B5EF4-FFF2-40B4-BE49-F238E27FC236}">
                <a16:creationId xmlns:a16="http://schemas.microsoft.com/office/drawing/2014/main" id="{0855D110-DEDF-0683-543A-518A2613563F}"/>
              </a:ext>
            </a:extLst>
          </p:cNvPr>
          <p:cNvSpPr txBox="1"/>
          <p:nvPr/>
        </p:nvSpPr>
        <p:spPr>
          <a:xfrm>
            <a:off x="7556316" y="2437901"/>
            <a:ext cx="4406537" cy="584775"/>
          </a:xfrm>
          <a:prstGeom prst="rect">
            <a:avLst/>
          </a:prstGeom>
          <a:noFill/>
        </p:spPr>
        <p:txBody>
          <a:bodyPr wrap="square" rtlCol="0">
            <a:spAutoFit/>
          </a:bodyPr>
          <a:lstStyle/>
          <a:p>
            <a:r>
              <a:rPr lang="en-US" sz="1600" b="1"/>
              <a:t>Workspace level access.</a:t>
            </a:r>
            <a:r>
              <a:rPr lang="en-US" sz="1600"/>
              <a:t> Boundary for managing artifacts. E.g. admin, contributor and viewers.</a:t>
            </a:r>
            <a:endParaRPr lang="en-NL" sz="1600"/>
          </a:p>
        </p:txBody>
      </p:sp>
      <p:cxnSp>
        <p:nvCxnSpPr>
          <p:cNvPr id="1036" name="Straight Connector 1035">
            <a:extLst>
              <a:ext uri="{FF2B5EF4-FFF2-40B4-BE49-F238E27FC236}">
                <a16:creationId xmlns:a16="http://schemas.microsoft.com/office/drawing/2014/main" id="{027FD957-B968-0A10-5120-15DD5FD837B9}"/>
              </a:ext>
            </a:extLst>
          </p:cNvPr>
          <p:cNvCxnSpPr>
            <a:stCxn id="24" idx="2"/>
            <a:endCxn id="34" idx="0"/>
          </p:cNvCxnSpPr>
          <p:nvPr/>
        </p:nvCxnSpPr>
        <p:spPr>
          <a:xfrm flipH="1">
            <a:off x="3369182" y="4380408"/>
            <a:ext cx="11488" cy="777393"/>
          </a:xfrm>
          <a:prstGeom prst="line">
            <a:avLst/>
          </a:prstGeom>
          <a:ln w="158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C02FA0C1-9836-EA95-40D4-49AE060C2780}"/>
              </a:ext>
            </a:extLst>
          </p:cNvPr>
          <p:cNvCxnSpPr>
            <a:cxnSpLocks/>
            <a:stCxn id="1030" idx="1"/>
          </p:cNvCxnSpPr>
          <p:nvPr/>
        </p:nvCxnSpPr>
        <p:spPr>
          <a:xfrm flipH="1">
            <a:off x="5535536" y="1438955"/>
            <a:ext cx="2046513" cy="2095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19C0AEF1-C135-19C7-E2EC-946B0F73736C}"/>
              </a:ext>
            </a:extLst>
          </p:cNvPr>
          <p:cNvCxnSpPr>
            <a:cxnSpLocks/>
          </p:cNvCxnSpPr>
          <p:nvPr/>
        </p:nvCxnSpPr>
        <p:spPr>
          <a:xfrm flipH="1">
            <a:off x="2270023" y="2071151"/>
            <a:ext cx="51988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522F1454-71AE-F092-26AD-6B8DAF0BCE44}"/>
              </a:ext>
            </a:extLst>
          </p:cNvPr>
          <p:cNvCxnSpPr>
            <a:cxnSpLocks/>
          </p:cNvCxnSpPr>
          <p:nvPr/>
        </p:nvCxnSpPr>
        <p:spPr>
          <a:xfrm flipH="1">
            <a:off x="2987853" y="2621246"/>
            <a:ext cx="4533237" cy="2536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766317A2-929F-0DF2-BDD1-FF32F741867B}"/>
              </a:ext>
            </a:extLst>
          </p:cNvPr>
          <p:cNvCxnSpPr>
            <a:cxnSpLocks/>
            <a:stCxn id="1060" idx="1"/>
          </p:cNvCxnSpPr>
          <p:nvPr/>
        </p:nvCxnSpPr>
        <p:spPr>
          <a:xfrm flipH="1">
            <a:off x="5737018" y="5048024"/>
            <a:ext cx="1899495" cy="2937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60" name="TextBox 1059">
            <a:extLst>
              <a:ext uri="{FF2B5EF4-FFF2-40B4-BE49-F238E27FC236}">
                <a16:creationId xmlns:a16="http://schemas.microsoft.com/office/drawing/2014/main" id="{ED597CFA-00A0-46C7-B5EE-C067E02A7065}"/>
              </a:ext>
            </a:extLst>
          </p:cNvPr>
          <p:cNvSpPr txBox="1"/>
          <p:nvPr/>
        </p:nvSpPr>
        <p:spPr>
          <a:xfrm>
            <a:off x="7636513" y="4632525"/>
            <a:ext cx="4406537" cy="830997"/>
          </a:xfrm>
          <a:prstGeom prst="rect">
            <a:avLst/>
          </a:prstGeom>
          <a:noFill/>
        </p:spPr>
        <p:txBody>
          <a:bodyPr wrap="square" rtlCol="0">
            <a:spAutoFit/>
          </a:bodyPr>
          <a:lstStyle/>
          <a:p>
            <a:r>
              <a:rPr lang="en-US" sz="1600" b="1"/>
              <a:t>Universal security: </a:t>
            </a:r>
            <a:r>
              <a:rPr lang="en-US" sz="1600"/>
              <a:t>Define security once and propagated to </a:t>
            </a:r>
            <a:r>
              <a:rPr lang="en-US" sz="1600" err="1"/>
              <a:t>OneLake</a:t>
            </a:r>
            <a:r>
              <a:rPr lang="en-US" sz="1600"/>
              <a:t> and every compute engine for access and OLS \ RLS  </a:t>
            </a:r>
            <a:endParaRPr lang="en-NL" sz="1600"/>
          </a:p>
        </p:txBody>
      </p:sp>
      <p:cxnSp>
        <p:nvCxnSpPr>
          <p:cNvPr id="1061" name="Straight Connector 1060">
            <a:extLst>
              <a:ext uri="{FF2B5EF4-FFF2-40B4-BE49-F238E27FC236}">
                <a16:creationId xmlns:a16="http://schemas.microsoft.com/office/drawing/2014/main" id="{AA195504-15F1-02AA-4FA3-82A046BEEA18}"/>
              </a:ext>
            </a:extLst>
          </p:cNvPr>
          <p:cNvCxnSpPr>
            <a:cxnSpLocks/>
            <a:stCxn id="1060" idx="1"/>
            <a:endCxn id="34" idx="3"/>
          </p:cNvCxnSpPr>
          <p:nvPr/>
        </p:nvCxnSpPr>
        <p:spPr>
          <a:xfrm flipH="1">
            <a:off x="5737018" y="5048024"/>
            <a:ext cx="1899495" cy="7887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7928743-FAC0-E332-0ABE-7C33177645A5}"/>
              </a:ext>
            </a:extLst>
          </p:cNvPr>
          <p:cNvCxnSpPr>
            <a:cxnSpLocks/>
            <a:stCxn id="1060" idx="1"/>
          </p:cNvCxnSpPr>
          <p:nvPr/>
        </p:nvCxnSpPr>
        <p:spPr>
          <a:xfrm flipH="1" flipV="1">
            <a:off x="5140218" y="4075804"/>
            <a:ext cx="2496295" cy="97222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BF1E646-B396-1CA4-042B-0B3200C80B63}"/>
              </a:ext>
            </a:extLst>
          </p:cNvPr>
          <p:cNvSpPr txBox="1"/>
          <p:nvPr/>
        </p:nvSpPr>
        <p:spPr>
          <a:xfrm rot="1402774">
            <a:off x="5972349" y="4596565"/>
            <a:ext cx="1118832" cy="276999"/>
          </a:xfrm>
          <a:prstGeom prst="rect">
            <a:avLst/>
          </a:prstGeom>
          <a:noFill/>
        </p:spPr>
        <p:txBody>
          <a:bodyPr wrap="none" rtlCol="0">
            <a:spAutoFit/>
          </a:bodyPr>
          <a:lstStyle/>
          <a:p>
            <a:r>
              <a:rPr lang="en-US" sz="1200" b="1"/>
              <a:t>Compute level</a:t>
            </a:r>
            <a:endParaRPr lang="en-NL" sz="1200" b="1"/>
          </a:p>
        </p:txBody>
      </p:sp>
      <p:sp>
        <p:nvSpPr>
          <p:cNvPr id="22" name="TextBox 21">
            <a:extLst>
              <a:ext uri="{FF2B5EF4-FFF2-40B4-BE49-F238E27FC236}">
                <a16:creationId xmlns:a16="http://schemas.microsoft.com/office/drawing/2014/main" id="{28E01BFE-3DBE-9CF2-62C9-9C975D6A3DDA}"/>
              </a:ext>
            </a:extLst>
          </p:cNvPr>
          <p:cNvSpPr txBox="1"/>
          <p:nvPr/>
        </p:nvSpPr>
        <p:spPr>
          <a:xfrm rot="20089159">
            <a:off x="6280425" y="5438545"/>
            <a:ext cx="744243" cy="276999"/>
          </a:xfrm>
          <a:prstGeom prst="rect">
            <a:avLst/>
          </a:prstGeom>
          <a:noFill/>
        </p:spPr>
        <p:txBody>
          <a:bodyPr wrap="none" rtlCol="0">
            <a:spAutoFit/>
          </a:bodyPr>
          <a:lstStyle/>
          <a:p>
            <a:r>
              <a:rPr lang="en-US" sz="1200" b="1" err="1"/>
              <a:t>OneLake</a:t>
            </a:r>
            <a:endParaRPr lang="en-NL" sz="1200" b="1"/>
          </a:p>
        </p:txBody>
      </p:sp>
      <p:sp>
        <p:nvSpPr>
          <p:cNvPr id="23" name="TextBox 22">
            <a:extLst>
              <a:ext uri="{FF2B5EF4-FFF2-40B4-BE49-F238E27FC236}">
                <a16:creationId xmlns:a16="http://schemas.microsoft.com/office/drawing/2014/main" id="{2E4866B4-F995-1006-98D6-D8E50B89A482}"/>
              </a:ext>
            </a:extLst>
          </p:cNvPr>
          <p:cNvSpPr txBox="1"/>
          <p:nvPr/>
        </p:nvSpPr>
        <p:spPr>
          <a:xfrm rot="21200802">
            <a:off x="5951408" y="4995493"/>
            <a:ext cx="806246" cy="276999"/>
          </a:xfrm>
          <a:prstGeom prst="rect">
            <a:avLst/>
          </a:prstGeom>
          <a:noFill/>
        </p:spPr>
        <p:txBody>
          <a:bodyPr wrap="none" rtlCol="0">
            <a:spAutoFit/>
          </a:bodyPr>
          <a:lstStyle/>
          <a:p>
            <a:r>
              <a:rPr lang="en-US" sz="1200" b="1"/>
              <a:t>Item level</a:t>
            </a:r>
            <a:endParaRPr lang="en-NL" sz="1200" b="1"/>
          </a:p>
        </p:txBody>
      </p:sp>
    </p:spTree>
    <p:extLst>
      <p:ext uri="{BB962C8B-B14F-4D97-AF65-F5344CB8AC3E}">
        <p14:creationId xmlns:p14="http://schemas.microsoft.com/office/powerpoint/2010/main" val="221692056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4CF1A77-B524-9B88-677D-3979604FDD7E}"/>
              </a:ext>
            </a:extLst>
          </p:cNvPr>
          <p:cNvSpPr>
            <a:spLocks noGrp="1"/>
          </p:cNvSpPr>
          <p:nvPr>
            <p:ph type="body" sz="quarter" idx="11"/>
          </p:nvPr>
        </p:nvSpPr>
        <p:spPr>
          <a:xfrm>
            <a:off x="6668328" y="3942255"/>
            <a:ext cx="3231416" cy="1398587"/>
          </a:xfrm>
        </p:spPr>
        <p:txBody>
          <a:bodyPr/>
          <a:lstStyle/>
          <a:p>
            <a:r>
              <a:rPr lang="en-US"/>
              <a:t>Data Encryption in Fabric</a:t>
            </a:r>
          </a:p>
        </p:txBody>
      </p:sp>
    </p:spTree>
    <p:extLst>
      <p:ext uri="{BB962C8B-B14F-4D97-AF65-F5344CB8AC3E}">
        <p14:creationId xmlns:p14="http://schemas.microsoft.com/office/powerpoint/2010/main" val="3763754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47CAC74-BDA1-B48C-39E8-ACB8B8A738CC}"/>
              </a:ext>
            </a:extLst>
          </p:cNvPr>
          <p:cNvSpPr>
            <a:spLocks noGrp="1"/>
          </p:cNvSpPr>
          <p:nvPr>
            <p:ph type="body" sz="quarter" idx="23"/>
          </p:nvPr>
        </p:nvSpPr>
        <p:spPr/>
        <p:txBody>
          <a:bodyPr/>
          <a:lstStyle/>
          <a:p>
            <a:r>
              <a:rPr lang="en-US" sz="3600" b="0">
                <a:solidFill>
                  <a:srgbClr val="225B61"/>
                </a:solidFill>
                <a:latin typeface="Segoe Sans Display"/>
                <a:cs typeface="Segoe Sans Display" pitchFamily="2" charset="0"/>
              </a:rPr>
              <a:t>Encryption in Fabric</a:t>
            </a:r>
          </a:p>
        </p:txBody>
      </p:sp>
      <p:sp>
        <p:nvSpPr>
          <p:cNvPr id="7" name="TextBox 6">
            <a:extLst>
              <a:ext uri="{FF2B5EF4-FFF2-40B4-BE49-F238E27FC236}">
                <a16:creationId xmlns:a16="http://schemas.microsoft.com/office/drawing/2014/main" id="{87A845B7-BC21-4162-07E2-C91DF7C7E3C8}"/>
              </a:ext>
            </a:extLst>
          </p:cNvPr>
          <p:cNvSpPr txBox="1"/>
          <p:nvPr/>
        </p:nvSpPr>
        <p:spPr>
          <a:xfrm>
            <a:off x="432693" y="2017272"/>
            <a:ext cx="4282516" cy="363946"/>
          </a:xfrm>
          <a:prstGeom prst="rect">
            <a:avLst/>
          </a:prstGeom>
          <a:noFill/>
        </p:spPr>
        <p:txBody>
          <a:bodyPr wrap="square" rtlCol="0">
            <a:spAutoFit/>
          </a:bodyPr>
          <a:lstStyle/>
          <a:p>
            <a:r>
              <a:rPr lang="en-US" b="1" u="sng"/>
              <a:t>Encryption in-transit:</a:t>
            </a:r>
          </a:p>
        </p:txBody>
      </p:sp>
      <p:sp>
        <p:nvSpPr>
          <p:cNvPr id="8" name="TextBox 7">
            <a:extLst>
              <a:ext uri="{FF2B5EF4-FFF2-40B4-BE49-F238E27FC236}">
                <a16:creationId xmlns:a16="http://schemas.microsoft.com/office/drawing/2014/main" id="{9E8EB63A-8757-3E6F-1854-00D7BB2ACAE5}"/>
              </a:ext>
            </a:extLst>
          </p:cNvPr>
          <p:cNvSpPr txBox="1"/>
          <p:nvPr/>
        </p:nvSpPr>
        <p:spPr>
          <a:xfrm>
            <a:off x="6580003" y="2638359"/>
            <a:ext cx="5298807" cy="2246769"/>
          </a:xfrm>
          <a:prstGeom prst="rect">
            <a:avLst/>
          </a:prstGeom>
          <a:noFill/>
        </p:spPr>
        <p:txBody>
          <a:bodyPr wrap="square" rtlCol="0">
            <a:spAutoFit/>
          </a:bodyPr>
          <a:lstStyle/>
          <a:p>
            <a:pPr marL="285750" indent="-285750">
              <a:buFont typeface="Wingdings" panose="05000000000000000000" pitchFamily="2" charset="2"/>
              <a:buChar char="q"/>
            </a:pPr>
            <a:r>
              <a:rPr lang="en-US" sz="2000"/>
              <a:t>All data encrypted at rest</a:t>
            </a:r>
          </a:p>
          <a:p>
            <a:pPr marL="285750" indent="-285750">
              <a:buFont typeface="Wingdings" panose="05000000000000000000" pitchFamily="2" charset="2"/>
              <a:buChar char="q"/>
            </a:pPr>
            <a:r>
              <a:rPr lang="en-US" sz="2000"/>
              <a:t>Customer data, metadata, caches</a:t>
            </a:r>
          </a:p>
          <a:p>
            <a:pPr marL="285750" indent="-285750">
              <a:buFont typeface="Wingdings" panose="05000000000000000000" pitchFamily="2" charset="2"/>
              <a:buChar char="q"/>
            </a:pPr>
            <a:r>
              <a:rPr lang="en-US" sz="2000"/>
              <a:t>Platform managed keys – secure, convenient and low overhead</a:t>
            </a:r>
          </a:p>
          <a:p>
            <a:pPr marL="285750" indent="-285750">
              <a:buFont typeface="Wingdings" panose="05000000000000000000" pitchFamily="2" charset="2"/>
              <a:buChar char="q"/>
            </a:pPr>
            <a:r>
              <a:rPr lang="en-US" sz="2000"/>
              <a:t>BitLocker encryption wherever applicable</a:t>
            </a:r>
          </a:p>
          <a:p>
            <a:pPr marL="285750" indent="-285750">
              <a:buFont typeface="Wingdings" panose="05000000000000000000" pitchFamily="2" charset="2"/>
              <a:buChar char="q"/>
            </a:pPr>
            <a:endParaRPr lang="en-US" sz="2000"/>
          </a:p>
          <a:p>
            <a:endParaRPr lang="en-US" sz="2000"/>
          </a:p>
        </p:txBody>
      </p:sp>
      <p:sp>
        <p:nvSpPr>
          <p:cNvPr id="9" name="TextBox 8">
            <a:extLst>
              <a:ext uri="{FF2B5EF4-FFF2-40B4-BE49-F238E27FC236}">
                <a16:creationId xmlns:a16="http://schemas.microsoft.com/office/drawing/2014/main" id="{51FB32C4-4AB3-E62E-14F2-8B608150DD92}"/>
              </a:ext>
            </a:extLst>
          </p:cNvPr>
          <p:cNvSpPr txBox="1"/>
          <p:nvPr/>
        </p:nvSpPr>
        <p:spPr>
          <a:xfrm>
            <a:off x="6636674" y="2005434"/>
            <a:ext cx="4282516" cy="363946"/>
          </a:xfrm>
          <a:prstGeom prst="rect">
            <a:avLst/>
          </a:prstGeom>
          <a:noFill/>
        </p:spPr>
        <p:txBody>
          <a:bodyPr wrap="square" rtlCol="0">
            <a:spAutoFit/>
          </a:bodyPr>
          <a:lstStyle/>
          <a:p>
            <a:r>
              <a:rPr lang="en-US" b="1" u="sng"/>
              <a:t>Encryption at-rest:</a:t>
            </a:r>
          </a:p>
        </p:txBody>
      </p:sp>
      <p:sp>
        <p:nvSpPr>
          <p:cNvPr id="10" name="TextBox 9">
            <a:extLst>
              <a:ext uri="{FF2B5EF4-FFF2-40B4-BE49-F238E27FC236}">
                <a16:creationId xmlns:a16="http://schemas.microsoft.com/office/drawing/2014/main" id="{F6347446-5961-859B-A0D5-3C8542B06DE2}"/>
              </a:ext>
            </a:extLst>
          </p:cNvPr>
          <p:cNvSpPr txBox="1"/>
          <p:nvPr/>
        </p:nvSpPr>
        <p:spPr>
          <a:xfrm>
            <a:off x="382149" y="2570200"/>
            <a:ext cx="5603395" cy="3477875"/>
          </a:xfrm>
          <a:prstGeom prst="rect">
            <a:avLst/>
          </a:prstGeom>
          <a:noFill/>
        </p:spPr>
        <p:txBody>
          <a:bodyPr wrap="square" rtlCol="0">
            <a:spAutoFit/>
          </a:bodyPr>
          <a:lstStyle/>
          <a:p>
            <a:pPr marL="285750" indent="-285750">
              <a:buFont typeface="Wingdings" panose="05000000000000000000" pitchFamily="2" charset="2"/>
              <a:buChar char="q"/>
            </a:pPr>
            <a:r>
              <a:rPr lang="en-US" sz="2000"/>
              <a:t>Transport Layer Security (TLS 1.2) enforced</a:t>
            </a:r>
          </a:p>
          <a:p>
            <a:pPr marL="285750" indent="-285750">
              <a:buFont typeface="Wingdings" panose="05000000000000000000" pitchFamily="2" charset="2"/>
              <a:buChar char="q"/>
            </a:pPr>
            <a:r>
              <a:rPr lang="en-US" sz="2000"/>
              <a:t>All endpoints</a:t>
            </a:r>
          </a:p>
          <a:p>
            <a:pPr marL="742933" lvl="1" indent="-285750">
              <a:buFont typeface="Wingdings" panose="05000000000000000000" pitchFamily="2" charset="2"/>
              <a:buChar char="q"/>
            </a:pPr>
            <a:r>
              <a:rPr lang="en-US" sz="2000"/>
              <a:t>TDS (SQL) (TLS 1.2)</a:t>
            </a:r>
          </a:p>
          <a:p>
            <a:pPr marL="742933" lvl="1" indent="-285750">
              <a:buFont typeface="Wingdings" panose="05000000000000000000" pitchFamily="2" charset="2"/>
              <a:buChar char="q"/>
            </a:pPr>
            <a:r>
              <a:rPr lang="en-US" sz="2000"/>
              <a:t>XMLA (HTTPS)</a:t>
            </a:r>
          </a:p>
          <a:p>
            <a:pPr marL="742933" lvl="1" indent="-285750">
              <a:buFont typeface="Wingdings" panose="05000000000000000000" pitchFamily="2" charset="2"/>
              <a:buChar char="q"/>
            </a:pPr>
            <a:r>
              <a:rPr lang="en-US" sz="2000" err="1"/>
              <a:t>OneLake</a:t>
            </a:r>
            <a:r>
              <a:rPr lang="en-US" sz="2000"/>
              <a:t> (ABFSS)</a:t>
            </a:r>
          </a:p>
          <a:p>
            <a:pPr marL="742933" lvl="1" indent="-285750">
              <a:buFont typeface="Wingdings" panose="05000000000000000000" pitchFamily="2" charset="2"/>
              <a:buChar char="q"/>
            </a:pPr>
            <a:r>
              <a:rPr lang="en-US" sz="2000"/>
              <a:t>APIs (HTTPS)</a:t>
            </a:r>
          </a:p>
          <a:p>
            <a:pPr marL="285750" indent="-285750">
              <a:buFont typeface="Wingdings" panose="05000000000000000000" pitchFamily="2" charset="2"/>
              <a:buChar char="q"/>
            </a:pPr>
            <a:r>
              <a:rPr lang="en-US" sz="2000"/>
              <a:t>All internal communications are encrypted in transit</a:t>
            </a:r>
          </a:p>
          <a:p>
            <a:pPr marL="285750" indent="-285750">
              <a:buFont typeface="Wingdings" panose="05000000000000000000" pitchFamily="2" charset="2"/>
              <a:buChar char="q"/>
            </a:pPr>
            <a:endParaRPr lang="en-US" sz="2000"/>
          </a:p>
          <a:p>
            <a:pPr marL="285750" indent="-285750">
              <a:buFont typeface="Wingdings" panose="05000000000000000000" pitchFamily="2" charset="2"/>
              <a:buChar char="q"/>
            </a:pPr>
            <a:endParaRPr lang="en-US" sz="2000"/>
          </a:p>
          <a:p>
            <a:endParaRPr lang="en-US" sz="2000"/>
          </a:p>
        </p:txBody>
      </p:sp>
      <p:sp>
        <p:nvSpPr>
          <p:cNvPr id="2" name="TextBox 1">
            <a:extLst>
              <a:ext uri="{FF2B5EF4-FFF2-40B4-BE49-F238E27FC236}">
                <a16:creationId xmlns:a16="http://schemas.microsoft.com/office/drawing/2014/main" id="{0DB89BF1-CC84-57E0-32A4-F0F8B7E9E63F}"/>
              </a:ext>
            </a:extLst>
          </p:cNvPr>
          <p:cNvSpPr txBox="1"/>
          <p:nvPr/>
        </p:nvSpPr>
        <p:spPr>
          <a:xfrm>
            <a:off x="67112" y="6459791"/>
            <a:ext cx="2403389" cy="363946"/>
          </a:xfrm>
          <a:prstGeom prst="rect">
            <a:avLst/>
          </a:prstGeom>
          <a:solidFill>
            <a:schemeClr val="bg1"/>
          </a:solidFill>
        </p:spPr>
        <p:txBody>
          <a:bodyPr wrap="square" rtlCol="0">
            <a:spAutoFit/>
          </a:bodyPr>
          <a:lstStyle/>
          <a:p>
            <a:endParaRPr lang="en-NL"/>
          </a:p>
        </p:txBody>
      </p:sp>
      <p:sp>
        <p:nvSpPr>
          <p:cNvPr id="12" name="Subtitle 11">
            <a:extLst>
              <a:ext uri="{FF2B5EF4-FFF2-40B4-BE49-F238E27FC236}">
                <a16:creationId xmlns:a16="http://schemas.microsoft.com/office/drawing/2014/main" id="{DCBEF60E-AFF2-7AAF-B53A-886BEDEF0AD5}"/>
              </a:ext>
            </a:extLst>
          </p:cNvPr>
          <p:cNvSpPr>
            <a:spLocks noGrp="1"/>
          </p:cNvSpPr>
          <p:nvPr>
            <p:ph type="subTitle" idx="1"/>
          </p:nvPr>
        </p:nvSpPr>
        <p:spPr/>
        <p:txBody>
          <a:bodyPr/>
          <a:lstStyle/>
          <a:p>
            <a:endParaRPr lang="en-NL"/>
          </a:p>
        </p:txBody>
      </p:sp>
    </p:spTree>
    <p:extLst>
      <p:ext uri="{BB962C8B-B14F-4D97-AF65-F5344CB8AC3E}">
        <p14:creationId xmlns:p14="http://schemas.microsoft.com/office/powerpoint/2010/main" val="367495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4CF1A77-B524-9B88-677D-3979604FDD7E}"/>
              </a:ext>
            </a:extLst>
          </p:cNvPr>
          <p:cNvSpPr>
            <a:spLocks noGrp="1"/>
          </p:cNvSpPr>
          <p:nvPr>
            <p:ph type="body" sz="quarter" idx="11"/>
          </p:nvPr>
        </p:nvSpPr>
        <p:spPr/>
        <p:txBody>
          <a:bodyPr/>
          <a:lstStyle/>
          <a:p>
            <a:r>
              <a:rPr lang="en-US" sz="3600">
                <a:latin typeface="Segoe UI Semibold"/>
              </a:rPr>
              <a:t>Data Residency and Compliance.</a:t>
            </a:r>
            <a:endParaRPr lang="en-US"/>
          </a:p>
        </p:txBody>
      </p:sp>
    </p:spTree>
    <p:extLst>
      <p:ext uri="{BB962C8B-B14F-4D97-AF65-F5344CB8AC3E}">
        <p14:creationId xmlns:p14="http://schemas.microsoft.com/office/powerpoint/2010/main" val="29658875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130" name="Freeform: Shape 129">
            <a:extLst>
              <a:ext uri="{FF2B5EF4-FFF2-40B4-BE49-F238E27FC236}">
                <a16:creationId xmlns:a16="http://schemas.microsoft.com/office/drawing/2014/main" id="{71760BCD-DFC6-429D-AC3B-EB4B78A3DB22}"/>
              </a:ext>
            </a:extLst>
          </p:cNvPr>
          <p:cNvSpPr/>
          <p:nvPr/>
        </p:nvSpPr>
        <p:spPr bwMode="auto">
          <a:xfrm flipH="1">
            <a:off x="3123880" y="5625167"/>
            <a:ext cx="9065528" cy="660118"/>
          </a:xfrm>
          <a:custGeom>
            <a:avLst/>
            <a:gdLst>
              <a:gd name="connsiteX0" fmla="*/ 8408987 w 9069387"/>
              <a:gd name="connsiteY0" fmla="*/ 0 h 660400"/>
              <a:gd name="connsiteX1" fmla="*/ 8210295 w 9069387"/>
              <a:gd name="connsiteY1" fmla="*/ 0 h 660400"/>
              <a:gd name="connsiteX2" fmla="*/ 8034592 w 9069387"/>
              <a:gd name="connsiteY2" fmla="*/ 0 h 660400"/>
              <a:gd name="connsiteX3" fmla="*/ 7835900 w 9069387"/>
              <a:gd name="connsiteY3" fmla="*/ 0 h 660400"/>
              <a:gd name="connsiteX4" fmla="*/ 6439153 w 9069387"/>
              <a:gd name="connsiteY4" fmla="*/ 0 h 660400"/>
              <a:gd name="connsiteX5" fmla="*/ 6240461 w 9069387"/>
              <a:gd name="connsiteY5" fmla="*/ 0 h 660400"/>
              <a:gd name="connsiteX6" fmla="*/ 5148643 w 9069387"/>
              <a:gd name="connsiteY6" fmla="*/ 0 h 660400"/>
              <a:gd name="connsiteX7" fmla="*/ 4949951 w 9069387"/>
              <a:gd name="connsiteY7" fmla="*/ 0 h 660400"/>
              <a:gd name="connsiteX8" fmla="*/ 4309182 w 9069387"/>
              <a:gd name="connsiteY8" fmla="*/ 0 h 660400"/>
              <a:gd name="connsiteX9" fmla="*/ 4110490 w 9069387"/>
              <a:gd name="connsiteY9" fmla="*/ 0 h 660400"/>
              <a:gd name="connsiteX10" fmla="*/ 3178809 w 9069387"/>
              <a:gd name="connsiteY10" fmla="*/ 0 h 660400"/>
              <a:gd name="connsiteX11" fmla="*/ 2980117 w 9069387"/>
              <a:gd name="connsiteY11" fmla="*/ 0 h 660400"/>
              <a:gd name="connsiteX12" fmla="*/ 1048838 w 9069387"/>
              <a:gd name="connsiteY12" fmla="*/ 0 h 660400"/>
              <a:gd name="connsiteX13" fmla="*/ 850146 w 9069387"/>
              <a:gd name="connsiteY13" fmla="*/ 0 h 660400"/>
              <a:gd name="connsiteX14" fmla="*/ 198692 w 9069387"/>
              <a:gd name="connsiteY14" fmla="*/ 0 h 660400"/>
              <a:gd name="connsiteX15" fmla="*/ 0 w 9069387"/>
              <a:gd name="connsiteY15" fmla="*/ 0 h 660400"/>
              <a:gd name="connsiteX16" fmla="*/ 0 w 9069387"/>
              <a:gd name="connsiteY16" fmla="*/ 660400 h 660400"/>
              <a:gd name="connsiteX17" fmla="*/ 189746 w 9069387"/>
              <a:gd name="connsiteY17" fmla="*/ 660400 h 660400"/>
              <a:gd name="connsiteX18" fmla="*/ 198692 w 9069387"/>
              <a:gd name="connsiteY18" fmla="*/ 660400 h 660400"/>
              <a:gd name="connsiteX19" fmla="*/ 388438 w 9069387"/>
              <a:gd name="connsiteY19" fmla="*/ 660400 h 660400"/>
              <a:gd name="connsiteX20" fmla="*/ 2319717 w 9069387"/>
              <a:gd name="connsiteY20" fmla="*/ 660400 h 660400"/>
              <a:gd name="connsiteX21" fmla="*/ 2518409 w 9069387"/>
              <a:gd name="connsiteY21" fmla="*/ 660400 h 660400"/>
              <a:gd name="connsiteX22" fmla="*/ 4110490 w 9069387"/>
              <a:gd name="connsiteY22" fmla="*/ 660400 h 660400"/>
              <a:gd name="connsiteX23" fmla="*/ 4309182 w 9069387"/>
              <a:gd name="connsiteY23" fmla="*/ 660400 h 660400"/>
              <a:gd name="connsiteX24" fmla="*/ 4949951 w 9069387"/>
              <a:gd name="connsiteY24" fmla="*/ 660400 h 660400"/>
              <a:gd name="connsiteX25" fmla="*/ 5148643 w 9069387"/>
              <a:gd name="connsiteY25" fmla="*/ 660400 h 660400"/>
              <a:gd name="connsiteX26" fmla="*/ 6240461 w 9069387"/>
              <a:gd name="connsiteY26" fmla="*/ 660400 h 660400"/>
              <a:gd name="connsiteX27" fmla="*/ 6439153 w 9069387"/>
              <a:gd name="connsiteY27" fmla="*/ 660400 h 660400"/>
              <a:gd name="connsiteX28" fmla="*/ 7835900 w 9069387"/>
              <a:gd name="connsiteY28" fmla="*/ 660400 h 660400"/>
              <a:gd name="connsiteX29" fmla="*/ 8034592 w 9069387"/>
              <a:gd name="connsiteY29" fmla="*/ 660400 h 660400"/>
              <a:gd name="connsiteX30" fmla="*/ 8870695 w 9069387"/>
              <a:gd name="connsiteY30" fmla="*/ 660400 h 660400"/>
              <a:gd name="connsiteX31" fmla="*/ 9069387 w 9069387"/>
              <a:gd name="connsiteY31" fmla="*/ 660400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069387" h="660400">
                <a:moveTo>
                  <a:pt x="8408987" y="0"/>
                </a:moveTo>
                <a:lnTo>
                  <a:pt x="8210295" y="0"/>
                </a:lnTo>
                <a:lnTo>
                  <a:pt x="8034592" y="0"/>
                </a:lnTo>
                <a:lnTo>
                  <a:pt x="7835900" y="0"/>
                </a:lnTo>
                <a:lnTo>
                  <a:pt x="6439153" y="0"/>
                </a:lnTo>
                <a:lnTo>
                  <a:pt x="6240461" y="0"/>
                </a:lnTo>
                <a:lnTo>
                  <a:pt x="5148643" y="0"/>
                </a:lnTo>
                <a:lnTo>
                  <a:pt x="4949951" y="0"/>
                </a:lnTo>
                <a:lnTo>
                  <a:pt x="4309182" y="0"/>
                </a:lnTo>
                <a:lnTo>
                  <a:pt x="4110490" y="0"/>
                </a:lnTo>
                <a:lnTo>
                  <a:pt x="3178809" y="0"/>
                </a:lnTo>
                <a:lnTo>
                  <a:pt x="2980117" y="0"/>
                </a:lnTo>
                <a:lnTo>
                  <a:pt x="1048838" y="0"/>
                </a:lnTo>
                <a:lnTo>
                  <a:pt x="850146" y="0"/>
                </a:lnTo>
                <a:lnTo>
                  <a:pt x="198692" y="0"/>
                </a:lnTo>
                <a:lnTo>
                  <a:pt x="0" y="0"/>
                </a:lnTo>
                <a:lnTo>
                  <a:pt x="0" y="660400"/>
                </a:lnTo>
                <a:lnTo>
                  <a:pt x="189746" y="660400"/>
                </a:lnTo>
                <a:lnTo>
                  <a:pt x="198692" y="660400"/>
                </a:lnTo>
                <a:lnTo>
                  <a:pt x="388438" y="660400"/>
                </a:lnTo>
                <a:lnTo>
                  <a:pt x="2319717" y="660400"/>
                </a:lnTo>
                <a:lnTo>
                  <a:pt x="2518409" y="660400"/>
                </a:lnTo>
                <a:lnTo>
                  <a:pt x="4110490" y="660400"/>
                </a:lnTo>
                <a:lnTo>
                  <a:pt x="4309182" y="660400"/>
                </a:lnTo>
                <a:lnTo>
                  <a:pt x="4949951" y="660400"/>
                </a:lnTo>
                <a:lnTo>
                  <a:pt x="5148643" y="660400"/>
                </a:lnTo>
                <a:lnTo>
                  <a:pt x="6240461" y="660400"/>
                </a:lnTo>
                <a:lnTo>
                  <a:pt x="6439153" y="660400"/>
                </a:lnTo>
                <a:lnTo>
                  <a:pt x="7835900" y="660400"/>
                </a:lnTo>
                <a:lnTo>
                  <a:pt x="8034592" y="660400"/>
                </a:lnTo>
                <a:lnTo>
                  <a:pt x="8870695" y="660400"/>
                </a:lnTo>
                <a:lnTo>
                  <a:pt x="9069387" y="660400"/>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35" fontAlgn="base">
              <a:spcBef>
                <a:spcPct val="0"/>
              </a:spcBef>
              <a:spcAft>
                <a:spcPct val="0"/>
              </a:spcAft>
              <a:defRPr/>
            </a:pPr>
            <a:endParaRPr lang="en-IN" sz="2000" err="1">
              <a:solidFill>
                <a:srgbClr val="000000"/>
              </a:solidFill>
              <a:latin typeface="Segoe UI"/>
              <a:cs typeface="Segoe UI" pitchFamily="34" charset="0"/>
            </a:endParaRPr>
          </a:p>
        </p:txBody>
      </p:sp>
      <p:sp>
        <p:nvSpPr>
          <p:cNvPr id="120" name="Freeform: Shape 119">
            <a:extLst>
              <a:ext uri="{FF2B5EF4-FFF2-40B4-BE49-F238E27FC236}">
                <a16:creationId xmlns:a16="http://schemas.microsoft.com/office/drawing/2014/main" id="{32638EE7-2F8B-4758-991F-AB5260EB1008}"/>
              </a:ext>
            </a:extLst>
          </p:cNvPr>
          <p:cNvSpPr/>
          <p:nvPr/>
        </p:nvSpPr>
        <p:spPr bwMode="auto">
          <a:xfrm flipH="1">
            <a:off x="10659753" y="1461"/>
            <a:ext cx="1529651" cy="1663868"/>
          </a:xfrm>
          <a:custGeom>
            <a:avLst/>
            <a:gdLst>
              <a:gd name="connsiteX0" fmla="*/ 0 w 3771021"/>
              <a:gd name="connsiteY0" fmla="*/ 0 h 4101903"/>
              <a:gd name="connsiteX1" fmla="*/ 3242579 w 3771021"/>
              <a:gd name="connsiteY1" fmla="*/ 0 h 4101903"/>
              <a:gd name="connsiteX2" fmla="*/ 3771021 w 3771021"/>
              <a:gd name="connsiteY2" fmla="*/ 528442 h 4101903"/>
              <a:gd name="connsiteX3" fmla="*/ 197560 w 3771021"/>
              <a:gd name="connsiteY3" fmla="*/ 4101903 h 4101903"/>
              <a:gd name="connsiteX4" fmla="*/ 0 w 3771021"/>
              <a:gd name="connsiteY4" fmla="*/ 3904343 h 4101903"/>
              <a:gd name="connsiteX5" fmla="*/ 0 w 3771021"/>
              <a:gd name="connsiteY5" fmla="*/ 0 h 410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021" h="4101903">
                <a:moveTo>
                  <a:pt x="0" y="0"/>
                </a:moveTo>
                <a:lnTo>
                  <a:pt x="3242579" y="0"/>
                </a:lnTo>
                <a:lnTo>
                  <a:pt x="3771021" y="528442"/>
                </a:lnTo>
                <a:lnTo>
                  <a:pt x="197560" y="4101903"/>
                </a:lnTo>
                <a:lnTo>
                  <a:pt x="0" y="3904343"/>
                </a:lnTo>
                <a:lnTo>
                  <a:pt x="0" y="0"/>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35" fontAlgn="base">
              <a:spcBef>
                <a:spcPct val="0"/>
              </a:spcBef>
              <a:spcAft>
                <a:spcPct val="0"/>
              </a:spcAft>
              <a:defRPr/>
            </a:pPr>
            <a:endParaRPr lang="en-US" sz="2000" err="1">
              <a:solidFill>
                <a:srgbClr val="000000"/>
              </a:solidFill>
              <a:latin typeface="Segoe UI"/>
              <a:cs typeface="Segoe UI" pitchFamily="34" charset="0"/>
            </a:endParaRPr>
          </a:p>
        </p:txBody>
      </p:sp>
      <p:sp>
        <p:nvSpPr>
          <p:cNvPr id="93" name="Freeform: Shape 92">
            <a:extLst>
              <a:ext uri="{FF2B5EF4-FFF2-40B4-BE49-F238E27FC236}">
                <a16:creationId xmlns:a16="http://schemas.microsoft.com/office/drawing/2014/main" id="{402046B3-F198-40DA-96AD-C2F8FE7B3F2E}"/>
              </a:ext>
            </a:extLst>
          </p:cNvPr>
          <p:cNvSpPr/>
          <p:nvPr/>
        </p:nvSpPr>
        <p:spPr bwMode="auto">
          <a:xfrm>
            <a:off x="2595" y="1461"/>
            <a:ext cx="3769417" cy="4100158"/>
          </a:xfrm>
          <a:custGeom>
            <a:avLst/>
            <a:gdLst>
              <a:gd name="connsiteX0" fmla="*/ 0 w 3771021"/>
              <a:gd name="connsiteY0" fmla="*/ 0 h 4101903"/>
              <a:gd name="connsiteX1" fmla="*/ 3242579 w 3771021"/>
              <a:gd name="connsiteY1" fmla="*/ 0 h 4101903"/>
              <a:gd name="connsiteX2" fmla="*/ 3771021 w 3771021"/>
              <a:gd name="connsiteY2" fmla="*/ 528442 h 4101903"/>
              <a:gd name="connsiteX3" fmla="*/ 197560 w 3771021"/>
              <a:gd name="connsiteY3" fmla="*/ 4101903 h 4101903"/>
              <a:gd name="connsiteX4" fmla="*/ 0 w 3771021"/>
              <a:gd name="connsiteY4" fmla="*/ 3904343 h 4101903"/>
              <a:gd name="connsiteX5" fmla="*/ 0 w 3771021"/>
              <a:gd name="connsiteY5" fmla="*/ 0 h 410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021" h="4101903">
                <a:moveTo>
                  <a:pt x="0" y="0"/>
                </a:moveTo>
                <a:lnTo>
                  <a:pt x="3242579" y="0"/>
                </a:lnTo>
                <a:lnTo>
                  <a:pt x="3771021" y="528442"/>
                </a:lnTo>
                <a:lnTo>
                  <a:pt x="197560" y="4101903"/>
                </a:lnTo>
                <a:lnTo>
                  <a:pt x="0" y="3904343"/>
                </a:lnTo>
                <a:lnTo>
                  <a:pt x="0" y="0"/>
                </a:lnTo>
                <a:close/>
              </a:path>
            </a:pathLst>
          </a:cu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defTabSz="931935" fontAlgn="base">
              <a:spcBef>
                <a:spcPct val="0"/>
              </a:spcBef>
              <a:spcAft>
                <a:spcPct val="0"/>
              </a:spcAft>
              <a:defRPr/>
            </a:pPr>
            <a:endParaRPr lang="en-US" sz="2000" err="1">
              <a:solidFill>
                <a:srgbClr val="000000"/>
              </a:solidFill>
              <a:latin typeface="Segoe UI"/>
              <a:cs typeface="Segoe UI" pitchFamily="34" charset="0"/>
            </a:endParaRPr>
          </a:p>
        </p:txBody>
      </p:sp>
      <p:sp>
        <p:nvSpPr>
          <p:cNvPr id="2" name="Content Placeholder 2">
            <a:extLst>
              <a:ext uri="{FF2B5EF4-FFF2-40B4-BE49-F238E27FC236}">
                <a16:creationId xmlns:a16="http://schemas.microsoft.com/office/drawing/2014/main" id="{6D22052C-2717-4A76-839B-0EA6504CB6AA}"/>
              </a:ext>
            </a:extLst>
          </p:cNvPr>
          <p:cNvSpPr txBox="1">
            <a:spLocks/>
          </p:cNvSpPr>
          <p:nvPr/>
        </p:nvSpPr>
        <p:spPr>
          <a:xfrm>
            <a:off x="241150" y="2121381"/>
            <a:ext cx="3830050" cy="353241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205">
              <a:spcBef>
                <a:spcPts val="0"/>
              </a:spcBef>
              <a:spcAft>
                <a:spcPts val="3000"/>
              </a:spcAft>
              <a:buNone/>
              <a:defRPr/>
            </a:pPr>
            <a:endParaRPr lang="en-US" sz="1800">
              <a:latin typeface="Segoe UI"/>
            </a:endParaRPr>
          </a:p>
          <a:p>
            <a:pPr marL="0" indent="0" defTabSz="932205">
              <a:spcBef>
                <a:spcPts val="0"/>
              </a:spcBef>
              <a:spcAft>
                <a:spcPts val="3000"/>
              </a:spcAft>
              <a:buNone/>
              <a:defRPr/>
            </a:pPr>
            <a:r>
              <a:rPr lang="en-US" sz="1800">
                <a:latin typeface="Segoe UI"/>
              </a:rPr>
              <a:t>With the largest global footprint, Fabric multi-geo capacities allows control over content storage location in one of 54 data centers world-wide </a:t>
            </a:r>
          </a:p>
          <a:p>
            <a:pPr marL="0" indent="0" defTabSz="932205">
              <a:spcBef>
                <a:spcPts val="0"/>
              </a:spcBef>
              <a:spcAft>
                <a:spcPts val="3000"/>
              </a:spcAft>
              <a:buNone/>
              <a:defRPr/>
            </a:pPr>
            <a:endParaRPr lang="en-US" sz="1800">
              <a:latin typeface="Segoe UI"/>
            </a:endParaRPr>
          </a:p>
          <a:p>
            <a:pPr marL="0" indent="0" defTabSz="932205">
              <a:spcBef>
                <a:spcPts val="0"/>
              </a:spcBef>
              <a:spcAft>
                <a:spcPts val="3000"/>
              </a:spcAft>
              <a:buNone/>
              <a:defRPr/>
            </a:pPr>
            <a:endParaRPr lang="en-US" sz="2400">
              <a:latin typeface="Segoe UI Semibold"/>
            </a:endParaRPr>
          </a:p>
        </p:txBody>
      </p:sp>
      <p:pic>
        <p:nvPicPr>
          <p:cNvPr id="3" name="Picture 2">
            <a:extLst>
              <a:ext uri="{FF2B5EF4-FFF2-40B4-BE49-F238E27FC236}">
                <a16:creationId xmlns:a16="http://schemas.microsoft.com/office/drawing/2014/main" id="{11CD1503-02BA-4DD6-8C78-29B79A391407}"/>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94790" y="1606829"/>
            <a:ext cx="8339163" cy="457890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C2DD1DEF-F567-4C41-AC6B-160C05D317E4}"/>
              </a:ext>
            </a:extLst>
          </p:cNvPr>
          <p:cNvGrpSpPr/>
          <p:nvPr/>
        </p:nvGrpSpPr>
        <p:grpSpPr>
          <a:xfrm>
            <a:off x="4805904" y="2237405"/>
            <a:ext cx="6183100" cy="3240131"/>
            <a:chOff x="4825249" y="2117550"/>
            <a:chExt cx="7431561" cy="3676265"/>
          </a:xfrm>
        </p:grpSpPr>
        <p:grpSp>
          <p:nvGrpSpPr>
            <p:cNvPr id="17" name="Gruppieren 2">
              <a:extLst>
                <a:ext uri="{FF2B5EF4-FFF2-40B4-BE49-F238E27FC236}">
                  <a16:creationId xmlns:a16="http://schemas.microsoft.com/office/drawing/2014/main" id="{FCE6C601-6B4B-4DD9-BE3A-717B81C546B4}"/>
                </a:ext>
              </a:extLst>
            </p:cNvPr>
            <p:cNvGrpSpPr/>
            <p:nvPr/>
          </p:nvGrpSpPr>
          <p:grpSpPr>
            <a:xfrm>
              <a:off x="4825249" y="2117550"/>
              <a:ext cx="7431561" cy="3676265"/>
              <a:chOff x="4723927" y="4558266"/>
              <a:chExt cx="15037951" cy="7439013"/>
            </a:xfrm>
            <a:solidFill>
              <a:schemeClr val="tx1"/>
            </a:solidFill>
          </p:grpSpPr>
          <p:sp>
            <p:nvSpPr>
              <p:cNvPr id="18" name="Shape 2279">
                <a:extLst>
                  <a:ext uri="{FF2B5EF4-FFF2-40B4-BE49-F238E27FC236}">
                    <a16:creationId xmlns:a16="http://schemas.microsoft.com/office/drawing/2014/main" id="{420170F4-C6A2-43DF-AAE8-79B249005CF2}"/>
                  </a:ext>
                </a:extLst>
              </p:cNvPr>
              <p:cNvSpPr/>
              <p:nvPr/>
            </p:nvSpPr>
            <p:spPr>
              <a:xfrm>
                <a:off x="10114946" y="4592760"/>
                <a:ext cx="77590" cy="34493"/>
              </a:xfrm>
              <a:custGeom>
                <a:avLst/>
                <a:gdLst/>
                <a:ahLst/>
                <a:cxnLst/>
                <a:rect l="0" t="0" r="0" b="0"/>
                <a:pathLst>
                  <a:path w="120000" h="120000" extrusionOk="0">
                    <a:moveTo>
                      <a:pt x="53333" y="90000"/>
                    </a:moveTo>
                    <a:cubicBezTo>
                      <a:pt x="53333" y="90000"/>
                      <a:pt x="13333" y="60000"/>
                      <a:pt x="13333" y="60000"/>
                    </a:cubicBezTo>
                    <a:cubicBezTo>
                      <a:pt x="13333" y="60000"/>
                      <a:pt x="53333" y="60000"/>
                      <a:pt x="66666" y="60000"/>
                    </a:cubicBezTo>
                    <a:cubicBezTo>
                      <a:pt x="40000" y="30000"/>
                      <a:pt x="13333" y="60000"/>
                      <a:pt x="0" y="0"/>
                    </a:cubicBezTo>
                    <a:cubicBezTo>
                      <a:pt x="13333" y="30000"/>
                      <a:pt x="106666" y="0"/>
                      <a:pt x="120000" y="60000"/>
                    </a:cubicBezTo>
                    <a:cubicBezTo>
                      <a:pt x="120000" y="60000"/>
                      <a:pt x="80000" y="60000"/>
                      <a:pt x="66666" y="60000"/>
                    </a:cubicBezTo>
                    <a:cubicBezTo>
                      <a:pt x="66666" y="60000"/>
                      <a:pt x="93333" y="120000"/>
                      <a:pt x="53333" y="90000"/>
                    </a:cubicBezTo>
                    <a:cubicBezTo>
                      <a:pt x="40000" y="90000"/>
                      <a:pt x="80000" y="120000"/>
                      <a:pt x="53333"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 name="Shape 2280">
                <a:extLst>
                  <a:ext uri="{FF2B5EF4-FFF2-40B4-BE49-F238E27FC236}">
                    <a16:creationId xmlns:a16="http://schemas.microsoft.com/office/drawing/2014/main" id="{94845FDE-7612-4C58-A6F0-9992549D5C43}"/>
                  </a:ext>
                </a:extLst>
              </p:cNvPr>
              <p:cNvSpPr/>
              <p:nvPr/>
            </p:nvSpPr>
            <p:spPr>
              <a:xfrm>
                <a:off x="16468646" y="9827088"/>
                <a:ext cx="1718458" cy="1284866"/>
              </a:xfrm>
              <a:custGeom>
                <a:avLst/>
                <a:gdLst/>
                <a:ahLst/>
                <a:cxnLst/>
                <a:rect l="0" t="0" r="0" b="0"/>
                <a:pathLst>
                  <a:path w="120000" h="120000" extrusionOk="0">
                    <a:moveTo>
                      <a:pt x="59411" y="3157"/>
                    </a:moveTo>
                    <a:cubicBezTo>
                      <a:pt x="58235" y="3157"/>
                      <a:pt x="57647" y="1578"/>
                      <a:pt x="56470" y="1578"/>
                    </a:cubicBezTo>
                    <a:cubicBezTo>
                      <a:pt x="55882" y="789"/>
                      <a:pt x="55882" y="1578"/>
                      <a:pt x="56470" y="2368"/>
                    </a:cubicBezTo>
                    <a:cubicBezTo>
                      <a:pt x="56470" y="3157"/>
                      <a:pt x="57647" y="2368"/>
                      <a:pt x="57647" y="2368"/>
                    </a:cubicBezTo>
                    <a:cubicBezTo>
                      <a:pt x="58235" y="3157"/>
                      <a:pt x="57647" y="4736"/>
                      <a:pt x="58235" y="4736"/>
                    </a:cubicBezTo>
                    <a:cubicBezTo>
                      <a:pt x="58235" y="5526"/>
                      <a:pt x="57647" y="5526"/>
                      <a:pt x="57058" y="5526"/>
                    </a:cubicBezTo>
                    <a:cubicBezTo>
                      <a:pt x="56470" y="6315"/>
                      <a:pt x="55882" y="6315"/>
                      <a:pt x="55294" y="6315"/>
                    </a:cubicBezTo>
                    <a:cubicBezTo>
                      <a:pt x="54117" y="5526"/>
                      <a:pt x="54117" y="6315"/>
                      <a:pt x="52941" y="6315"/>
                    </a:cubicBezTo>
                    <a:cubicBezTo>
                      <a:pt x="51176" y="7105"/>
                      <a:pt x="51764" y="9473"/>
                      <a:pt x="50588" y="10263"/>
                    </a:cubicBezTo>
                    <a:cubicBezTo>
                      <a:pt x="49411" y="11842"/>
                      <a:pt x="48823" y="14210"/>
                      <a:pt x="49411" y="15789"/>
                    </a:cubicBezTo>
                    <a:cubicBezTo>
                      <a:pt x="50588" y="18157"/>
                      <a:pt x="47647" y="16578"/>
                      <a:pt x="47058" y="16578"/>
                    </a:cubicBezTo>
                    <a:cubicBezTo>
                      <a:pt x="46470" y="16578"/>
                      <a:pt x="44705" y="18947"/>
                      <a:pt x="44705" y="18947"/>
                    </a:cubicBezTo>
                    <a:cubicBezTo>
                      <a:pt x="44705" y="18947"/>
                      <a:pt x="44117" y="15000"/>
                      <a:pt x="43529" y="14210"/>
                    </a:cubicBezTo>
                    <a:cubicBezTo>
                      <a:pt x="43529" y="13421"/>
                      <a:pt x="42941" y="13421"/>
                      <a:pt x="42352" y="13421"/>
                    </a:cubicBezTo>
                    <a:cubicBezTo>
                      <a:pt x="41764" y="12631"/>
                      <a:pt x="41764" y="12631"/>
                      <a:pt x="41764" y="11842"/>
                    </a:cubicBezTo>
                    <a:cubicBezTo>
                      <a:pt x="41176" y="11052"/>
                      <a:pt x="41176" y="12631"/>
                      <a:pt x="41176" y="13421"/>
                    </a:cubicBezTo>
                    <a:cubicBezTo>
                      <a:pt x="40588" y="13421"/>
                      <a:pt x="40000" y="13421"/>
                      <a:pt x="40000" y="12631"/>
                    </a:cubicBezTo>
                    <a:cubicBezTo>
                      <a:pt x="38823" y="12631"/>
                      <a:pt x="39411" y="15789"/>
                      <a:pt x="38235" y="15000"/>
                    </a:cubicBezTo>
                    <a:cubicBezTo>
                      <a:pt x="38235" y="15000"/>
                      <a:pt x="37647" y="14210"/>
                      <a:pt x="37647" y="14210"/>
                    </a:cubicBezTo>
                    <a:cubicBezTo>
                      <a:pt x="37058" y="15000"/>
                      <a:pt x="37058" y="15000"/>
                      <a:pt x="37058" y="15000"/>
                    </a:cubicBezTo>
                    <a:cubicBezTo>
                      <a:pt x="35294" y="14210"/>
                      <a:pt x="36470" y="17368"/>
                      <a:pt x="36470" y="17368"/>
                    </a:cubicBezTo>
                    <a:cubicBezTo>
                      <a:pt x="36470" y="17368"/>
                      <a:pt x="35294" y="17368"/>
                      <a:pt x="35294" y="17368"/>
                    </a:cubicBezTo>
                    <a:cubicBezTo>
                      <a:pt x="35294" y="18157"/>
                      <a:pt x="35882" y="18157"/>
                      <a:pt x="35882" y="18157"/>
                    </a:cubicBezTo>
                    <a:cubicBezTo>
                      <a:pt x="35294" y="19736"/>
                      <a:pt x="34705" y="18157"/>
                      <a:pt x="34705" y="20526"/>
                    </a:cubicBezTo>
                    <a:cubicBezTo>
                      <a:pt x="34705" y="21315"/>
                      <a:pt x="35294" y="21315"/>
                      <a:pt x="35294" y="22105"/>
                    </a:cubicBezTo>
                    <a:cubicBezTo>
                      <a:pt x="35294" y="23684"/>
                      <a:pt x="31176" y="20526"/>
                      <a:pt x="31176" y="22894"/>
                    </a:cubicBezTo>
                    <a:cubicBezTo>
                      <a:pt x="31176" y="23684"/>
                      <a:pt x="33529" y="25263"/>
                      <a:pt x="32352" y="26052"/>
                    </a:cubicBezTo>
                    <a:cubicBezTo>
                      <a:pt x="31764" y="26052"/>
                      <a:pt x="31764" y="25263"/>
                      <a:pt x="31764" y="26052"/>
                    </a:cubicBezTo>
                    <a:cubicBezTo>
                      <a:pt x="31176" y="26842"/>
                      <a:pt x="31176" y="26842"/>
                      <a:pt x="30588" y="26052"/>
                    </a:cubicBezTo>
                    <a:cubicBezTo>
                      <a:pt x="30000" y="26052"/>
                      <a:pt x="30588" y="24473"/>
                      <a:pt x="30000" y="23684"/>
                    </a:cubicBezTo>
                    <a:cubicBezTo>
                      <a:pt x="29411" y="22105"/>
                      <a:pt x="28235" y="25263"/>
                      <a:pt x="27647" y="26052"/>
                    </a:cubicBezTo>
                    <a:cubicBezTo>
                      <a:pt x="27647" y="26842"/>
                      <a:pt x="27058" y="27631"/>
                      <a:pt x="27058" y="28421"/>
                    </a:cubicBezTo>
                    <a:cubicBezTo>
                      <a:pt x="27058" y="28421"/>
                      <a:pt x="27647" y="29210"/>
                      <a:pt x="27647" y="30000"/>
                    </a:cubicBezTo>
                    <a:cubicBezTo>
                      <a:pt x="27647" y="30000"/>
                      <a:pt x="26470" y="31578"/>
                      <a:pt x="25882" y="32368"/>
                    </a:cubicBezTo>
                    <a:cubicBezTo>
                      <a:pt x="24117" y="34736"/>
                      <a:pt x="22352" y="36315"/>
                      <a:pt x="20000" y="37105"/>
                    </a:cubicBezTo>
                    <a:cubicBezTo>
                      <a:pt x="18235" y="37105"/>
                      <a:pt x="16470" y="38684"/>
                      <a:pt x="14117" y="39473"/>
                    </a:cubicBezTo>
                    <a:cubicBezTo>
                      <a:pt x="12352" y="40263"/>
                      <a:pt x="10588" y="40263"/>
                      <a:pt x="8823" y="41842"/>
                    </a:cubicBezTo>
                    <a:cubicBezTo>
                      <a:pt x="7647" y="43421"/>
                      <a:pt x="7058" y="43421"/>
                      <a:pt x="5882" y="44210"/>
                    </a:cubicBezTo>
                    <a:cubicBezTo>
                      <a:pt x="5294" y="45000"/>
                      <a:pt x="4117" y="47368"/>
                      <a:pt x="4117" y="47368"/>
                    </a:cubicBezTo>
                    <a:cubicBezTo>
                      <a:pt x="3529" y="47368"/>
                      <a:pt x="4117" y="45000"/>
                      <a:pt x="4117" y="44210"/>
                    </a:cubicBezTo>
                    <a:cubicBezTo>
                      <a:pt x="2941" y="44210"/>
                      <a:pt x="2352" y="48157"/>
                      <a:pt x="2352" y="48157"/>
                    </a:cubicBezTo>
                    <a:cubicBezTo>
                      <a:pt x="2941" y="50526"/>
                      <a:pt x="1764" y="51315"/>
                      <a:pt x="1764" y="53684"/>
                    </a:cubicBezTo>
                    <a:cubicBezTo>
                      <a:pt x="1764" y="54473"/>
                      <a:pt x="4705" y="63157"/>
                      <a:pt x="3529" y="63947"/>
                    </a:cubicBezTo>
                    <a:cubicBezTo>
                      <a:pt x="3529" y="63947"/>
                      <a:pt x="1764" y="60789"/>
                      <a:pt x="1764" y="60789"/>
                    </a:cubicBezTo>
                    <a:cubicBezTo>
                      <a:pt x="1764" y="61578"/>
                      <a:pt x="3529" y="63947"/>
                      <a:pt x="2352" y="64736"/>
                    </a:cubicBezTo>
                    <a:cubicBezTo>
                      <a:pt x="1176" y="64736"/>
                      <a:pt x="1176" y="60789"/>
                      <a:pt x="0" y="60789"/>
                    </a:cubicBezTo>
                    <a:cubicBezTo>
                      <a:pt x="0" y="60789"/>
                      <a:pt x="3529" y="67105"/>
                      <a:pt x="3529" y="67894"/>
                    </a:cubicBezTo>
                    <a:cubicBezTo>
                      <a:pt x="4117" y="68684"/>
                      <a:pt x="3529" y="70263"/>
                      <a:pt x="4117" y="71842"/>
                    </a:cubicBezTo>
                    <a:cubicBezTo>
                      <a:pt x="4705" y="73421"/>
                      <a:pt x="5294" y="74210"/>
                      <a:pt x="5882" y="75789"/>
                    </a:cubicBezTo>
                    <a:cubicBezTo>
                      <a:pt x="6470" y="76578"/>
                      <a:pt x="6470" y="78947"/>
                      <a:pt x="6470" y="79736"/>
                    </a:cubicBezTo>
                    <a:cubicBezTo>
                      <a:pt x="6470" y="81315"/>
                      <a:pt x="7058" y="82894"/>
                      <a:pt x="7647" y="83684"/>
                    </a:cubicBezTo>
                    <a:cubicBezTo>
                      <a:pt x="8235" y="86052"/>
                      <a:pt x="8235" y="86842"/>
                      <a:pt x="8235" y="89210"/>
                    </a:cubicBezTo>
                    <a:cubicBezTo>
                      <a:pt x="8235" y="90000"/>
                      <a:pt x="8235" y="93947"/>
                      <a:pt x="8235" y="93947"/>
                    </a:cubicBezTo>
                    <a:cubicBezTo>
                      <a:pt x="7647" y="94736"/>
                      <a:pt x="7058" y="94736"/>
                      <a:pt x="6470" y="95526"/>
                    </a:cubicBezTo>
                    <a:cubicBezTo>
                      <a:pt x="5882" y="97894"/>
                      <a:pt x="7058" y="97894"/>
                      <a:pt x="7647" y="98684"/>
                    </a:cubicBezTo>
                    <a:cubicBezTo>
                      <a:pt x="10000" y="100263"/>
                      <a:pt x="11764" y="101842"/>
                      <a:pt x="14705" y="101052"/>
                    </a:cubicBezTo>
                    <a:cubicBezTo>
                      <a:pt x="15882" y="100263"/>
                      <a:pt x="17058" y="99473"/>
                      <a:pt x="17647" y="98684"/>
                    </a:cubicBezTo>
                    <a:cubicBezTo>
                      <a:pt x="19411" y="97894"/>
                      <a:pt x="18823" y="98684"/>
                      <a:pt x="19411" y="97105"/>
                    </a:cubicBezTo>
                    <a:cubicBezTo>
                      <a:pt x="20588" y="95526"/>
                      <a:pt x="24705" y="95526"/>
                      <a:pt x="25882" y="96315"/>
                    </a:cubicBezTo>
                    <a:cubicBezTo>
                      <a:pt x="27647" y="96315"/>
                      <a:pt x="30588" y="97894"/>
                      <a:pt x="31764" y="95526"/>
                    </a:cubicBezTo>
                    <a:cubicBezTo>
                      <a:pt x="32352" y="94736"/>
                      <a:pt x="32352" y="93157"/>
                      <a:pt x="33529" y="92368"/>
                    </a:cubicBezTo>
                    <a:cubicBezTo>
                      <a:pt x="34705" y="91578"/>
                      <a:pt x="35882" y="90789"/>
                      <a:pt x="37058" y="90000"/>
                    </a:cubicBezTo>
                    <a:cubicBezTo>
                      <a:pt x="38823" y="88421"/>
                      <a:pt x="41176" y="90000"/>
                      <a:pt x="42941" y="88421"/>
                    </a:cubicBezTo>
                    <a:cubicBezTo>
                      <a:pt x="45882" y="86842"/>
                      <a:pt x="48235" y="86842"/>
                      <a:pt x="51764" y="86052"/>
                    </a:cubicBezTo>
                    <a:cubicBezTo>
                      <a:pt x="52352" y="86052"/>
                      <a:pt x="52941" y="85263"/>
                      <a:pt x="54117" y="85263"/>
                    </a:cubicBezTo>
                    <a:cubicBezTo>
                      <a:pt x="54705" y="86052"/>
                      <a:pt x="55882" y="86842"/>
                      <a:pt x="56470" y="87631"/>
                    </a:cubicBezTo>
                    <a:cubicBezTo>
                      <a:pt x="57058" y="87631"/>
                      <a:pt x="62941" y="89210"/>
                      <a:pt x="62941" y="90000"/>
                    </a:cubicBezTo>
                    <a:cubicBezTo>
                      <a:pt x="62352" y="90789"/>
                      <a:pt x="61764" y="93157"/>
                      <a:pt x="62941" y="92368"/>
                    </a:cubicBezTo>
                    <a:cubicBezTo>
                      <a:pt x="63529" y="92368"/>
                      <a:pt x="64705" y="94736"/>
                      <a:pt x="65294" y="95526"/>
                    </a:cubicBezTo>
                    <a:cubicBezTo>
                      <a:pt x="65882" y="96315"/>
                      <a:pt x="65882" y="97105"/>
                      <a:pt x="65882" y="98684"/>
                    </a:cubicBezTo>
                    <a:cubicBezTo>
                      <a:pt x="66470" y="99473"/>
                      <a:pt x="67647" y="101052"/>
                      <a:pt x="67647" y="101052"/>
                    </a:cubicBezTo>
                    <a:cubicBezTo>
                      <a:pt x="67647" y="100263"/>
                      <a:pt x="67058" y="99473"/>
                      <a:pt x="68235" y="98684"/>
                    </a:cubicBezTo>
                    <a:cubicBezTo>
                      <a:pt x="68823" y="97894"/>
                      <a:pt x="69411" y="97105"/>
                      <a:pt x="70588" y="96315"/>
                    </a:cubicBezTo>
                    <a:cubicBezTo>
                      <a:pt x="71176" y="95526"/>
                      <a:pt x="74117" y="91578"/>
                      <a:pt x="73529" y="90789"/>
                    </a:cubicBezTo>
                    <a:cubicBezTo>
                      <a:pt x="74117" y="92368"/>
                      <a:pt x="73529" y="93157"/>
                      <a:pt x="73529" y="94736"/>
                    </a:cubicBezTo>
                    <a:cubicBezTo>
                      <a:pt x="74117" y="95526"/>
                      <a:pt x="72941" y="96315"/>
                      <a:pt x="72941" y="96315"/>
                    </a:cubicBezTo>
                    <a:cubicBezTo>
                      <a:pt x="72352" y="97894"/>
                      <a:pt x="72352" y="98684"/>
                      <a:pt x="72352" y="99473"/>
                    </a:cubicBezTo>
                    <a:cubicBezTo>
                      <a:pt x="72352" y="101052"/>
                      <a:pt x="70000" y="101842"/>
                      <a:pt x="71764" y="101842"/>
                    </a:cubicBezTo>
                    <a:cubicBezTo>
                      <a:pt x="74117" y="101842"/>
                      <a:pt x="72941" y="98684"/>
                      <a:pt x="73529" y="97105"/>
                    </a:cubicBezTo>
                    <a:cubicBezTo>
                      <a:pt x="73529" y="97105"/>
                      <a:pt x="75882" y="100263"/>
                      <a:pt x="75294" y="101842"/>
                    </a:cubicBezTo>
                    <a:cubicBezTo>
                      <a:pt x="73529" y="105000"/>
                      <a:pt x="75882" y="102631"/>
                      <a:pt x="77058" y="104210"/>
                    </a:cubicBezTo>
                    <a:cubicBezTo>
                      <a:pt x="78823" y="106578"/>
                      <a:pt x="78823" y="107368"/>
                      <a:pt x="78823" y="109736"/>
                    </a:cubicBezTo>
                    <a:cubicBezTo>
                      <a:pt x="78235" y="112105"/>
                      <a:pt x="80588" y="114473"/>
                      <a:pt x="81764" y="114473"/>
                    </a:cubicBezTo>
                    <a:cubicBezTo>
                      <a:pt x="82941" y="115263"/>
                      <a:pt x="84117" y="116052"/>
                      <a:pt x="85294" y="116052"/>
                    </a:cubicBezTo>
                    <a:cubicBezTo>
                      <a:pt x="86470" y="116052"/>
                      <a:pt x="88823" y="120000"/>
                      <a:pt x="90000" y="119210"/>
                    </a:cubicBezTo>
                    <a:cubicBezTo>
                      <a:pt x="91176" y="118421"/>
                      <a:pt x="92352" y="117631"/>
                      <a:pt x="92941" y="116052"/>
                    </a:cubicBezTo>
                    <a:cubicBezTo>
                      <a:pt x="92941" y="116052"/>
                      <a:pt x="94117" y="113684"/>
                      <a:pt x="94705" y="114473"/>
                    </a:cubicBezTo>
                    <a:cubicBezTo>
                      <a:pt x="94705" y="115263"/>
                      <a:pt x="93529" y="116052"/>
                      <a:pt x="94117" y="116842"/>
                    </a:cubicBezTo>
                    <a:cubicBezTo>
                      <a:pt x="94705" y="117631"/>
                      <a:pt x="94705" y="115263"/>
                      <a:pt x="95294" y="115263"/>
                    </a:cubicBezTo>
                    <a:cubicBezTo>
                      <a:pt x="95294" y="115263"/>
                      <a:pt x="96470" y="117631"/>
                      <a:pt x="97058" y="117631"/>
                    </a:cubicBezTo>
                    <a:cubicBezTo>
                      <a:pt x="97058" y="118421"/>
                      <a:pt x="98235" y="120000"/>
                      <a:pt x="98823" y="120000"/>
                    </a:cubicBezTo>
                    <a:cubicBezTo>
                      <a:pt x="98235" y="120000"/>
                      <a:pt x="100000" y="117631"/>
                      <a:pt x="100000" y="117631"/>
                    </a:cubicBezTo>
                    <a:cubicBezTo>
                      <a:pt x="101176" y="116842"/>
                      <a:pt x="101764" y="115263"/>
                      <a:pt x="102352" y="114473"/>
                    </a:cubicBezTo>
                    <a:cubicBezTo>
                      <a:pt x="104117" y="113684"/>
                      <a:pt x="108823" y="115263"/>
                      <a:pt x="108823" y="112105"/>
                    </a:cubicBezTo>
                    <a:cubicBezTo>
                      <a:pt x="109411" y="108157"/>
                      <a:pt x="110000" y="105789"/>
                      <a:pt x="110588" y="102631"/>
                    </a:cubicBezTo>
                    <a:cubicBezTo>
                      <a:pt x="111764" y="99473"/>
                      <a:pt x="112352" y="96315"/>
                      <a:pt x="114117" y="93157"/>
                    </a:cubicBezTo>
                    <a:cubicBezTo>
                      <a:pt x="114705" y="92368"/>
                      <a:pt x="115882" y="91578"/>
                      <a:pt x="116470" y="90000"/>
                    </a:cubicBezTo>
                    <a:cubicBezTo>
                      <a:pt x="116470" y="89210"/>
                      <a:pt x="116470" y="89210"/>
                      <a:pt x="116470" y="88421"/>
                    </a:cubicBezTo>
                    <a:cubicBezTo>
                      <a:pt x="117058" y="87631"/>
                      <a:pt x="117647" y="86842"/>
                      <a:pt x="117647" y="85263"/>
                    </a:cubicBezTo>
                    <a:cubicBezTo>
                      <a:pt x="118235" y="83684"/>
                      <a:pt x="117647" y="82105"/>
                      <a:pt x="118235" y="80526"/>
                    </a:cubicBezTo>
                    <a:cubicBezTo>
                      <a:pt x="118235" y="79736"/>
                      <a:pt x="118823" y="78947"/>
                      <a:pt x="118823" y="78157"/>
                    </a:cubicBezTo>
                    <a:cubicBezTo>
                      <a:pt x="119411" y="77368"/>
                      <a:pt x="118235" y="76578"/>
                      <a:pt x="118823" y="75789"/>
                    </a:cubicBezTo>
                    <a:cubicBezTo>
                      <a:pt x="119411" y="75000"/>
                      <a:pt x="120000" y="72631"/>
                      <a:pt x="119411" y="71842"/>
                    </a:cubicBezTo>
                    <a:cubicBezTo>
                      <a:pt x="119411" y="70263"/>
                      <a:pt x="118823" y="69473"/>
                      <a:pt x="118823" y="68684"/>
                    </a:cubicBezTo>
                    <a:cubicBezTo>
                      <a:pt x="118235" y="67894"/>
                      <a:pt x="118235" y="66315"/>
                      <a:pt x="118235" y="65526"/>
                    </a:cubicBezTo>
                    <a:cubicBezTo>
                      <a:pt x="117647" y="62368"/>
                      <a:pt x="119411" y="60789"/>
                      <a:pt x="118823" y="57631"/>
                    </a:cubicBezTo>
                    <a:cubicBezTo>
                      <a:pt x="118823" y="58421"/>
                      <a:pt x="118235" y="60000"/>
                      <a:pt x="117647" y="60000"/>
                    </a:cubicBezTo>
                    <a:cubicBezTo>
                      <a:pt x="116470" y="60000"/>
                      <a:pt x="115882" y="56842"/>
                      <a:pt x="115294" y="55263"/>
                    </a:cubicBezTo>
                    <a:cubicBezTo>
                      <a:pt x="114117" y="52894"/>
                      <a:pt x="111764" y="52894"/>
                      <a:pt x="111764" y="48947"/>
                    </a:cubicBezTo>
                    <a:cubicBezTo>
                      <a:pt x="111176" y="47368"/>
                      <a:pt x="110588" y="47368"/>
                      <a:pt x="110000" y="46578"/>
                    </a:cubicBezTo>
                    <a:cubicBezTo>
                      <a:pt x="108823" y="45789"/>
                      <a:pt x="108823" y="48157"/>
                      <a:pt x="108235" y="46578"/>
                    </a:cubicBezTo>
                    <a:cubicBezTo>
                      <a:pt x="108235" y="44210"/>
                      <a:pt x="107647" y="43421"/>
                      <a:pt x="106470" y="41842"/>
                    </a:cubicBezTo>
                    <a:cubicBezTo>
                      <a:pt x="106470" y="41842"/>
                      <a:pt x="105882" y="41052"/>
                      <a:pt x="105882" y="40263"/>
                    </a:cubicBezTo>
                    <a:cubicBezTo>
                      <a:pt x="105294" y="40263"/>
                      <a:pt x="105882" y="38684"/>
                      <a:pt x="105882" y="39473"/>
                    </a:cubicBezTo>
                    <a:cubicBezTo>
                      <a:pt x="104705" y="37894"/>
                      <a:pt x="103529" y="37105"/>
                      <a:pt x="102352" y="36315"/>
                    </a:cubicBezTo>
                    <a:cubicBezTo>
                      <a:pt x="101176" y="34736"/>
                      <a:pt x="99411" y="35526"/>
                      <a:pt x="98823" y="33947"/>
                    </a:cubicBezTo>
                    <a:cubicBezTo>
                      <a:pt x="97647" y="32368"/>
                      <a:pt x="98235" y="29210"/>
                      <a:pt x="97647" y="28421"/>
                    </a:cubicBezTo>
                    <a:cubicBezTo>
                      <a:pt x="97647" y="26842"/>
                      <a:pt x="97647" y="25263"/>
                      <a:pt x="97058" y="24473"/>
                    </a:cubicBezTo>
                    <a:cubicBezTo>
                      <a:pt x="96470" y="23684"/>
                      <a:pt x="95882" y="23684"/>
                      <a:pt x="95882" y="22105"/>
                    </a:cubicBezTo>
                    <a:cubicBezTo>
                      <a:pt x="95882" y="20526"/>
                      <a:pt x="95882" y="18157"/>
                      <a:pt x="94705" y="15789"/>
                    </a:cubicBezTo>
                    <a:cubicBezTo>
                      <a:pt x="94117" y="15789"/>
                      <a:pt x="92941" y="13421"/>
                      <a:pt x="92941" y="14210"/>
                    </a:cubicBezTo>
                    <a:cubicBezTo>
                      <a:pt x="91764" y="14210"/>
                      <a:pt x="91764" y="15000"/>
                      <a:pt x="91176" y="13421"/>
                    </a:cubicBezTo>
                    <a:cubicBezTo>
                      <a:pt x="90000" y="11842"/>
                      <a:pt x="90588" y="8684"/>
                      <a:pt x="89411" y="6315"/>
                    </a:cubicBezTo>
                    <a:cubicBezTo>
                      <a:pt x="89411" y="5526"/>
                      <a:pt x="87058" y="0"/>
                      <a:pt x="87058" y="0"/>
                    </a:cubicBezTo>
                    <a:cubicBezTo>
                      <a:pt x="86470" y="0"/>
                      <a:pt x="86470" y="1578"/>
                      <a:pt x="86470" y="2368"/>
                    </a:cubicBezTo>
                    <a:cubicBezTo>
                      <a:pt x="86470" y="3157"/>
                      <a:pt x="85882" y="3947"/>
                      <a:pt x="85294" y="4736"/>
                    </a:cubicBezTo>
                    <a:cubicBezTo>
                      <a:pt x="85294" y="4736"/>
                      <a:pt x="84117" y="6315"/>
                      <a:pt x="84705" y="7105"/>
                    </a:cubicBezTo>
                    <a:cubicBezTo>
                      <a:pt x="84705" y="7105"/>
                      <a:pt x="85882" y="7105"/>
                      <a:pt x="85294" y="7894"/>
                    </a:cubicBezTo>
                    <a:cubicBezTo>
                      <a:pt x="84705" y="7894"/>
                      <a:pt x="84117" y="11842"/>
                      <a:pt x="84117" y="12631"/>
                    </a:cubicBezTo>
                    <a:cubicBezTo>
                      <a:pt x="84705" y="14210"/>
                      <a:pt x="84705" y="15789"/>
                      <a:pt x="84705" y="17368"/>
                    </a:cubicBezTo>
                    <a:cubicBezTo>
                      <a:pt x="84117" y="20526"/>
                      <a:pt x="84117" y="28421"/>
                      <a:pt x="80588" y="28421"/>
                    </a:cubicBezTo>
                    <a:cubicBezTo>
                      <a:pt x="78235" y="28421"/>
                      <a:pt x="78235" y="25263"/>
                      <a:pt x="76470" y="24473"/>
                    </a:cubicBezTo>
                    <a:cubicBezTo>
                      <a:pt x="75294" y="23684"/>
                      <a:pt x="74117" y="23684"/>
                      <a:pt x="72941" y="22105"/>
                    </a:cubicBezTo>
                    <a:cubicBezTo>
                      <a:pt x="72352" y="21315"/>
                      <a:pt x="65882" y="16578"/>
                      <a:pt x="66470" y="15789"/>
                    </a:cubicBezTo>
                    <a:cubicBezTo>
                      <a:pt x="66470" y="15000"/>
                      <a:pt x="67058" y="14210"/>
                      <a:pt x="67647" y="13421"/>
                    </a:cubicBezTo>
                    <a:cubicBezTo>
                      <a:pt x="67647" y="12631"/>
                      <a:pt x="68823" y="12631"/>
                      <a:pt x="68823" y="11842"/>
                    </a:cubicBezTo>
                    <a:cubicBezTo>
                      <a:pt x="68823" y="11842"/>
                      <a:pt x="68235" y="11052"/>
                      <a:pt x="68235" y="10263"/>
                    </a:cubicBezTo>
                    <a:cubicBezTo>
                      <a:pt x="68823" y="9473"/>
                      <a:pt x="68823" y="9473"/>
                      <a:pt x="69411" y="8684"/>
                    </a:cubicBezTo>
                    <a:cubicBezTo>
                      <a:pt x="69411" y="7894"/>
                      <a:pt x="70588" y="7105"/>
                      <a:pt x="71176" y="6315"/>
                    </a:cubicBezTo>
                    <a:cubicBezTo>
                      <a:pt x="71176" y="5526"/>
                      <a:pt x="70000" y="3947"/>
                      <a:pt x="69411" y="4736"/>
                    </a:cubicBezTo>
                    <a:cubicBezTo>
                      <a:pt x="69411" y="4736"/>
                      <a:pt x="68823" y="6315"/>
                      <a:pt x="68823" y="6315"/>
                    </a:cubicBezTo>
                    <a:cubicBezTo>
                      <a:pt x="68235" y="5526"/>
                      <a:pt x="68235" y="5526"/>
                      <a:pt x="67647" y="4736"/>
                    </a:cubicBezTo>
                    <a:cubicBezTo>
                      <a:pt x="67647" y="3947"/>
                      <a:pt x="66470" y="5526"/>
                      <a:pt x="65882" y="5526"/>
                    </a:cubicBezTo>
                    <a:cubicBezTo>
                      <a:pt x="65294" y="6315"/>
                      <a:pt x="64705" y="5526"/>
                      <a:pt x="64117" y="5526"/>
                    </a:cubicBezTo>
                    <a:cubicBezTo>
                      <a:pt x="62941" y="4736"/>
                      <a:pt x="61176" y="3947"/>
                      <a:pt x="59411" y="3157"/>
                    </a:cubicBezTo>
                    <a:cubicBezTo>
                      <a:pt x="58235" y="3157"/>
                      <a:pt x="60588" y="3947"/>
                      <a:pt x="59411" y="315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 name="Shape 2281">
                <a:extLst>
                  <a:ext uri="{FF2B5EF4-FFF2-40B4-BE49-F238E27FC236}">
                    <a16:creationId xmlns:a16="http://schemas.microsoft.com/office/drawing/2014/main" id="{168821B4-D758-471D-B9FC-7B9265E7A2F6}"/>
                  </a:ext>
                </a:extLst>
              </p:cNvPr>
              <p:cNvSpPr/>
              <p:nvPr/>
            </p:nvSpPr>
            <p:spPr>
              <a:xfrm>
                <a:off x="11557531" y="6550243"/>
                <a:ext cx="336218" cy="508771"/>
              </a:xfrm>
              <a:custGeom>
                <a:avLst/>
                <a:gdLst/>
                <a:ahLst/>
                <a:cxnLst/>
                <a:rect l="0" t="0" r="0" b="0"/>
                <a:pathLst>
                  <a:path w="120000" h="120000" extrusionOk="0">
                    <a:moveTo>
                      <a:pt x="45000" y="0"/>
                    </a:moveTo>
                    <a:cubicBezTo>
                      <a:pt x="36000" y="0"/>
                      <a:pt x="30000" y="2000"/>
                      <a:pt x="21000" y="0"/>
                    </a:cubicBezTo>
                    <a:cubicBezTo>
                      <a:pt x="18000" y="0"/>
                      <a:pt x="15000" y="0"/>
                      <a:pt x="15000" y="2000"/>
                    </a:cubicBezTo>
                    <a:cubicBezTo>
                      <a:pt x="18000" y="6000"/>
                      <a:pt x="15000" y="4000"/>
                      <a:pt x="12000" y="6000"/>
                    </a:cubicBezTo>
                    <a:cubicBezTo>
                      <a:pt x="15000" y="4000"/>
                      <a:pt x="15000" y="8000"/>
                      <a:pt x="15000" y="8000"/>
                    </a:cubicBezTo>
                    <a:cubicBezTo>
                      <a:pt x="12000" y="12000"/>
                      <a:pt x="3000" y="10000"/>
                      <a:pt x="6000" y="16000"/>
                    </a:cubicBezTo>
                    <a:cubicBezTo>
                      <a:pt x="12000" y="20000"/>
                      <a:pt x="9000" y="22000"/>
                      <a:pt x="6000" y="26000"/>
                    </a:cubicBezTo>
                    <a:cubicBezTo>
                      <a:pt x="6000" y="30000"/>
                      <a:pt x="12000" y="30000"/>
                      <a:pt x="15000" y="28000"/>
                    </a:cubicBezTo>
                    <a:cubicBezTo>
                      <a:pt x="12000" y="30000"/>
                      <a:pt x="15000" y="30000"/>
                      <a:pt x="15000" y="32000"/>
                    </a:cubicBezTo>
                    <a:cubicBezTo>
                      <a:pt x="15000" y="30000"/>
                      <a:pt x="9000" y="36000"/>
                      <a:pt x="9000" y="36000"/>
                    </a:cubicBezTo>
                    <a:cubicBezTo>
                      <a:pt x="6000" y="36000"/>
                      <a:pt x="0" y="36000"/>
                      <a:pt x="0" y="40000"/>
                    </a:cubicBezTo>
                    <a:cubicBezTo>
                      <a:pt x="3000" y="40000"/>
                      <a:pt x="6000" y="36000"/>
                      <a:pt x="9000" y="38000"/>
                    </a:cubicBezTo>
                    <a:cubicBezTo>
                      <a:pt x="9000" y="40000"/>
                      <a:pt x="9000" y="42000"/>
                      <a:pt x="9000" y="42000"/>
                    </a:cubicBezTo>
                    <a:cubicBezTo>
                      <a:pt x="6000" y="44000"/>
                      <a:pt x="6000" y="46000"/>
                      <a:pt x="6000" y="46000"/>
                    </a:cubicBezTo>
                    <a:cubicBezTo>
                      <a:pt x="6000" y="48000"/>
                      <a:pt x="9000" y="44000"/>
                      <a:pt x="12000" y="44000"/>
                    </a:cubicBezTo>
                    <a:cubicBezTo>
                      <a:pt x="12000" y="42000"/>
                      <a:pt x="15000" y="46000"/>
                      <a:pt x="15000" y="46000"/>
                    </a:cubicBezTo>
                    <a:cubicBezTo>
                      <a:pt x="18000" y="46000"/>
                      <a:pt x="15000" y="38000"/>
                      <a:pt x="12000" y="38000"/>
                    </a:cubicBezTo>
                    <a:cubicBezTo>
                      <a:pt x="15000" y="38000"/>
                      <a:pt x="21000" y="40000"/>
                      <a:pt x="21000" y="38000"/>
                    </a:cubicBezTo>
                    <a:cubicBezTo>
                      <a:pt x="21000" y="38000"/>
                      <a:pt x="18000" y="40000"/>
                      <a:pt x="18000" y="40000"/>
                    </a:cubicBezTo>
                    <a:cubicBezTo>
                      <a:pt x="18000" y="42000"/>
                      <a:pt x="21000" y="44000"/>
                      <a:pt x="21000" y="46000"/>
                    </a:cubicBezTo>
                    <a:cubicBezTo>
                      <a:pt x="21000" y="48000"/>
                      <a:pt x="12000" y="54000"/>
                      <a:pt x="21000" y="54000"/>
                    </a:cubicBezTo>
                    <a:cubicBezTo>
                      <a:pt x="21000" y="54000"/>
                      <a:pt x="30000" y="54000"/>
                      <a:pt x="33000" y="54000"/>
                    </a:cubicBezTo>
                    <a:cubicBezTo>
                      <a:pt x="36000" y="52000"/>
                      <a:pt x="45000" y="52000"/>
                      <a:pt x="45000" y="52000"/>
                    </a:cubicBezTo>
                    <a:cubicBezTo>
                      <a:pt x="42000" y="56000"/>
                      <a:pt x="39000" y="56000"/>
                      <a:pt x="42000" y="60000"/>
                    </a:cubicBezTo>
                    <a:cubicBezTo>
                      <a:pt x="45000" y="66000"/>
                      <a:pt x="45000" y="62000"/>
                      <a:pt x="48000" y="64000"/>
                    </a:cubicBezTo>
                    <a:cubicBezTo>
                      <a:pt x="48000" y="66000"/>
                      <a:pt x="45000" y="70000"/>
                      <a:pt x="48000" y="72000"/>
                    </a:cubicBezTo>
                    <a:cubicBezTo>
                      <a:pt x="51000" y="76000"/>
                      <a:pt x="42000" y="76000"/>
                      <a:pt x="39000" y="76000"/>
                    </a:cubicBezTo>
                    <a:cubicBezTo>
                      <a:pt x="33000" y="78000"/>
                      <a:pt x="30000" y="74000"/>
                      <a:pt x="24000" y="78000"/>
                    </a:cubicBezTo>
                    <a:cubicBezTo>
                      <a:pt x="21000" y="82000"/>
                      <a:pt x="36000" y="80000"/>
                      <a:pt x="33000" y="82000"/>
                    </a:cubicBezTo>
                    <a:cubicBezTo>
                      <a:pt x="33000" y="82000"/>
                      <a:pt x="27000" y="84000"/>
                      <a:pt x="27000" y="84000"/>
                    </a:cubicBezTo>
                    <a:cubicBezTo>
                      <a:pt x="27000" y="86000"/>
                      <a:pt x="30000" y="86000"/>
                      <a:pt x="27000" y="88000"/>
                    </a:cubicBezTo>
                    <a:cubicBezTo>
                      <a:pt x="24000" y="90000"/>
                      <a:pt x="21000" y="92000"/>
                      <a:pt x="15000" y="94000"/>
                    </a:cubicBezTo>
                    <a:cubicBezTo>
                      <a:pt x="12000" y="96000"/>
                      <a:pt x="18000" y="98000"/>
                      <a:pt x="18000" y="98000"/>
                    </a:cubicBezTo>
                    <a:cubicBezTo>
                      <a:pt x="21000" y="98000"/>
                      <a:pt x="27000" y="96000"/>
                      <a:pt x="27000" y="96000"/>
                    </a:cubicBezTo>
                    <a:cubicBezTo>
                      <a:pt x="27000" y="98000"/>
                      <a:pt x="36000" y="98000"/>
                      <a:pt x="39000" y="100000"/>
                    </a:cubicBezTo>
                    <a:cubicBezTo>
                      <a:pt x="45000" y="100000"/>
                      <a:pt x="51000" y="96000"/>
                      <a:pt x="54000" y="96000"/>
                    </a:cubicBezTo>
                    <a:cubicBezTo>
                      <a:pt x="54000" y="96000"/>
                      <a:pt x="48000" y="106000"/>
                      <a:pt x="39000" y="104000"/>
                    </a:cubicBezTo>
                    <a:cubicBezTo>
                      <a:pt x="36000" y="102000"/>
                      <a:pt x="33000" y="104000"/>
                      <a:pt x="30000" y="104000"/>
                    </a:cubicBezTo>
                    <a:cubicBezTo>
                      <a:pt x="24000" y="104000"/>
                      <a:pt x="27000" y="102000"/>
                      <a:pt x="24000" y="102000"/>
                    </a:cubicBezTo>
                    <a:cubicBezTo>
                      <a:pt x="24000" y="102000"/>
                      <a:pt x="24000" y="108000"/>
                      <a:pt x="21000" y="110000"/>
                    </a:cubicBezTo>
                    <a:cubicBezTo>
                      <a:pt x="21000" y="110000"/>
                      <a:pt x="18000" y="112000"/>
                      <a:pt x="15000" y="114000"/>
                    </a:cubicBezTo>
                    <a:cubicBezTo>
                      <a:pt x="15000" y="114000"/>
                      <a:pt x="9000" y="116000"/>
                      <a:pt x="9000" y="118000"/>
                    </a:cubicBezTo>
                    <a:cubicBezTo>
                      <a:pt x="9000" y="118000"/>
                      <a:pt x="15000" y="118000"/>
                      <a:pt x="15000" y="118000"/>
                    </a:cubicBezTo>
                    <a:cubicBezTo>
                      <a:pt x="15000" y="118000"/>
                      <a:pt x="12000" y="118000"/>
                      <a:pt x="15000" y="120000"/>
                    </a:cubicBezTo>
                    <a:cubicBezTo>
                      <a:pt x="15000" y="120000"/>
                      <a:pt x="21000" y="114000"/>
                      <a:pt x="24000" y="114000"/>
                    </a:cubicBezTo>
                    <a:cubicBezTo>
                      <a:pt x="27000" y="114000"/>
                      <a:pt x="33000" y="116000"/>
                      <a:pt x="36000" y="114000"/>
                    </a:cubicBezTo>
                    <a:cubicBezTo>
                      <a:pt x="42000" y="114000"/>
                      <a:pt x="39000" y="110000"/>
                      <a:pt x="45000" y="110000"/>
                    </a:cubicBezTo>
                    <a:cubicBezTo>
                      <a:pt x="48000" y="108000"/>
                      <a:pt x="51000" y="110000"/>
                      <a:pt x="57000" y="110000"/>
                    </a:cubicBezTo>
                    <a:cubicBezTo>
                      <a:pt x="60000" y="112000"/>
                      <a:pt x="63000" y="108000"/>
                      <a:pt x="69000" y="110000"/>
                    </a:cubicBezTo>
                    <a:cubicBezTo>
                      <a:pt x="72000" y="112000"/>
                      <a:pt x="78000" y="110000"/>
                      <a:pt x="81000" y="108000"/>
                    </a:cubicBezTo>
                    <a:cubicBezTo>
                      <a:pt x="87000" y="108000"/>
                      <a:pt x="96000" y="108000"/>
                      <a:pt x="102000" y="108000"/>
                    </a:cubicBezTo>
                    <a:cubicBezTo>
                      <a:pt x="102000" y="108000"/>
                      <a:pt x="114000" y="102000"/>
                      <a:pt x="114000" y="102000"/>
                    </a:cubicBezTo>
                    <a:cubicBezTo>
                      <a:pt x="111000" y="100000"/>
                      <a:pt x="99000" y="102000"/>
                      <a:pt x="99000" y="100000"/>
                    </a:cubicBezTo>
                    <a:cubicBezTo>
                      <a:pt x="99000" y="98000"/>
                      <a:pt x="111000" y="92000"/>
                      <a:pt x="114000" y="92000"/>
                    </a:cubicBezTo>
                    <a:cubicBezTo>
                      <a:pt x="117000" y="88000"/>
                      <a:pt x="120000" y="80000"/>
                      <a:pt x="108000" y="80000"/>
                    </a:cubicBezTo>
                    <a:cubicBezTo>
                      <a:pt x="105000" y="80000"/>
                      <a:pt x="99000" y="82000"/>
                      <a:pt x="96000" y="82000"/>
                    </a:cubicBezTo>
                    <a:cubicBezTo>
                      <a:pt x="90000" y="80000"/>
                      <a:pt x="96000" y="80000"/>
                      <a:pt x="96000" y="78000"/>
                    </a:cubicBezTo>
                    <a:cubicBezTo>
                      <a:pt x="96000" y="76000"/>
                      <a:pt x="96000" y="74000"/>
                      <a:pt x="93000" y="72000"/>
                    </a:cubicBezTo>
                    <a:cubicBezTo>
                      <a:pt x="93000" y="72000"/>
                      <a:pt x="81000" y="70000"/>
                      <a:pt x="84000" y="68000"/>
                    </a:cubicBezTo>
                    <a:cubicBezTo>
                      <a:pt x="84000" y="68000"/>
                      <a:pt x="90000" y="70000"/>
                      <a:pt x="90000" y="68000"/>
                    </a:cubicBezTo>
                    <a:cubicBezTo>
                      <a:pt x="93000" y="66000"/>
                      <a:pt x="90000" y="64000"/>
                      <a:pt x="87000" y="62000"/>
                    </a:cubicBezTo>
                    <a:cubicBezTo>
                      <a:pt x="78000" y="58000"/>
                      <a:pt x="75000" y="58000"/>
                      <a:pt x="69000" y="50000"/>
                    </a:cubicBezTo>
                    <a:cubicBezTo>
                      <a:pt x="66000" y="46000"/>
                      <a:pt x="63000" y="42000"/>
                      <a:pt x="54000" y="38000"/>
                    </a:cubicBezTo>
                    <a:cubicBezTo>
                      <a:pt x="51000" y="36000"/>
                      <a:pt x="39000" y="40000"/>
                      <a:pt x="36000" y="36000"/>
                    </a:cubicBezTo>
                    <a:cubicBezTo>
                      <a:pt x="36000" y="36000"/>
                      <a:pt x="54000" y="34000"/>
                      <a:pt x="51000" y="32000"/>
                    </a:cubicBezTo>
                    <a:cubicBezTo>
                      <a:pt x="51000" y="32000"/>
                      <a:pt x="45000" y="34000"/>
                      <a:pt x="42000" y="32000"/>
                    </a:cubicBezTo>
                    <a:cubicBezTo>
                      <a:pt x="42000" y="32000"/>
                      <a:pt x="54000" y="30000"/>
                      <a:pt x="54000" y="30000"/>
                    </a:cubicBezTo>
                    <a:cubicBezTo>
                      <a:pt x="57000" y="28000"/>
                      <a:pt x="66000" y="18000"/>
                      <a:pt x="63000" y="16000"/>
                    </a:cubicBezTo>
                    <a:cubicBezTo>
                      <a:pt x="60000" y="12000"/>
                      <a:pt x="51000" y="12000"/>
                      <a:pt x="45000" y="12000"/>
                    </a:cubicBezTo>
                    <a:cubicBezTo>
                      <a:pt x="42000" y="14000"/>
                      <a:pt x="27000" y="14000"/>
                      <a:pt x="27000" y="14000"/>
                    </a:cubicBezTo>
                    <a:cubicBezTo>
                      <a:pt x="27000" y="14000"/>
                      <a:pt x="33000" y="12000"/>
                      <a:pt x="33000" y="12000"/>
                    </a:cubicBezTo>
                    <a:cubicBezTo>
                      <a:pt x="33000" y="12000"/>
                      <a:pt x="27000" y="10000"/>
                      <a:pt x="27000" y="12000"/>
                    </a:cubicBezTo>
                    <a:cubicBezTo>
                      <a:pt x="27000" y="10000"/>
                      <a:pt x="54000" y="2000"/>
                      <a:pt x="45000" y="0"/>
                    </a:cubicBezTo>
                    <a:cubicBezTo>
                      <a:pt x="42000" y="0"/>
                      <a:pt x="51000" y="2000"/>
                      <a:pt x="45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 name="Shape 2282">
                <a:extLst>
                  <a:ext uri="{FF2B5EF4-FFF2-40B4-BE49-F238E27FC236}">
                    <a16:creationId xmlns:a16="http://schemas.microsoft.com/office/drawing/2014/main" id="{5B977FB3-9700-4F36-A411-51B10F2ED664}"/>
                  </a:ext>
                </a:extLst>
              </p:cNvPr>
              <p:cNvSpPr/>
              <p:nvPr/>
            </p:nvSpPr>
            <p:spPr>
              <a:xfrm>
                <a:off x="10790259" y="6018477"/>
                <a:ext cx="454041" cy="221332"/>
              </a:xfrm>
              <a:custGeom>
                <a:avLst/>
                <a:gdLst/>
                <a:ahLst/>
                <a:cxnLst/>
                <a:rect l="0" t="0" r="0" b="0"/>
                <a:pathLst>
                  <a:path w="120000" h="120000" extrusionOk="0">
                    <a:moveTo>
                      <a:pt x="117777" y="46153"/>
                    </a:moveTo>
                    <a:cubicBezTo>
                      <a:pt x="117777" y="46153"/>
                      <a:pt x="108888" y="41538"/>
                      <a:pt x="108888" y="41538"/>
                    </a:cubicBezTo>
                    <a:cubicBezTo>
                      <a:pt x="108888" y="41538"/>
                      <a:pt x="111111" y="36923"/>
                      <a:pt x="111111" y="36923"/>
                    </a:cubicBezTo>
                    <a:cubicBezTo>
                      <a:pt x="108888" y="36923"/>
                      <a:pt x="104444" y="36923"/>
                      <a:pt x="106666" y="32307"/>
                    </a:cubicBezTo>
                    <a:cubicBezTo>
                      <a:pt x="106666" y="32307"/>
                      <a:pt x="108888" y="27692"/>
                      <a:pt x="108888" y="27692"/>
                    </a:cubicBezTo>
                    <a:cubicBezTo>
                      <a:pt x="106666" y="23076"/>
                      <a:pt x="102222" y="23076"/>
                      <a:pt x="102222" y="23076"/>
                    </a:cubicBezTo>
                    <a:cubicBezTo>
                      <a:pt x="102222" y="18461"/>
                      <a:pt x="106666" y="13846"/>
                      <a:pt x="106666" y="13846"/>
                    </a:cubicBezTo>
                    <a:cubicBezTo>
                      <a:pt x="106666" y="13846"/>
                      <a:pt x="97777" y="18461"/>
                      <a:pt x="95555" y="13846"/>
                    </a:cubicBezTo>
                    <a:cubicBezTo>
                      <a:pt x="93333" y="9230"/>
                      <a:pt x="91111" y="4615"/>
                      <a:pt x="86666" y="4615"/>
                    </a:cubicBezTo>
                    <a:cubicBezTo>
                      <a:pt x="84444" y="4615"/>
                      <a:pt x="88888" y="13846"/>
                      <a:pt x="86666" y="18461"/>
                    </a:cubicBezTo>
                    <a:cubicBezTo>
                      <a:pt x="84444" y="23076"/>
                      <a:pt x="82222" y="18461"/>
                      <a:pt x="80000" y="23076"/>
                    </a:cubicBezTo>
                    <a:cubicBezTo>
                      <a:pt x="77777" y="27692"/>
                      <a:pt x="75555" y="23076"/>
                      <a:pt x="71111" y="23076"/>
                    </a:cubicBezTo>
                    <a:cubicBezTo>
                      <a:pt x="66666" y="18461"/>
                      <a:pt x="73333" y="36923"/>
                      <a:pt x="71111" y="41538"/>
                    </a:cubicBezTo>
                    <a:cubicBezTo>
                      <a:pt x="71111" y="41538"/>
                      <a:pt x="62222" y="9230"/>
                      <a:pt x="57777" y="23076"/>
                    </a:cubicBezTo>
                    <a:cubicBezTo>
                      <a:pt x="55555" y="23076"/>
                      <a:pt x="57777" y="32307"/>
                      <a:pt x="55555" y="36923"/>
                    </a:cubicBezTo>
                    <a:cubicBezTo>
                      <a:pt x="55555" y="41538"/>
                      <a:pt x="48888" y="23076"/>
                      <a:pt x="46666" y="23076"/>
                    </a:cubicBezTo>
                    <a:cubicBezTo>
                      <a:pt x="44444" y="23076"/>
                      <a:pt x="51111" y="41538"/>
                      <a:pt x="46666" y="41538"/>
                    </a:cubicBezTo>
                    <a:cubicBezTo>
                      <a:pt x="44444" y="41538"/>
                      <a:pt x="44444" y="41538"/>
                      <a:pt x="42222" y="41538"/>
                    </a:cubicBezTo>
                    <a:cubicBezTo>
                      <a:pt x="40000" y="41538"/>
                      <a:pt x="37777" y="50769"/>
                      <a:pt x="37777" y="55384"/>
                    </a:cubicBezTo>
                    <a:cubicBezTo>
                      <a:pt x="37777" y="50769"/>
                      <a:pt x="31111" y="41538"/>
                      <a:pt x="31111" y="36923"/>
                    </a:cubicBezTo>
                    <a:cubicBezTo>
                      <a:pt x="31111" y="36923"/>
                      <a:pt x="35555" y="36923"/>
                      <a:pt x="35555" y="36923"/>
                    </a:cubicBezTo>
                    <a:cubicBezTo>
                      <a:pt x="35555" y="32307"/>
                      <a:pt x="31111" y="23076"/>
                      <a:pt x="31111" y="23076"/>
                    </a:cubicBezTo>
                    <a:cubicBezTo>
                      <a:pt x="28888" y="23076"/>
                      <a:pt x="17777" y="0"/>
                      <a:pt x="15555" y="9230"/>
                    </a:cubicBezTo>
                    <a:cubicBezTo>
                      <a:pt x="15555" y="13846"/>
                      <a:pt x="22222" y="13846"/>
                      <a:pt x="20000" y="18461"/>
                    </a:cubicBezTo>
                    <a:cubicBezTo>
                      <a:pt x="20000" y="18461"/>
                      <a:pt x="20000" y="18461"/>
                      <a:pt x="17777" y="18461"/>
                    </a:cubicBezTo>
                    <a:cubicBezTo>
                      <a:pt x="22222" y="13846"/>
                      <a:pt x="24444" y="32307"/>
                      <a:pt x="22222" y="36923"/>
                    </a:cubicBezTo>
                    <a:cubicBezTo>
                      <a:pt x="22222" y="36923"/>
                      <a:pt x="4444" y="4615"/>
                      <a:pt x="11111" y="27692"/>
                    </a:cubicBezTo>
                    <a:cubicBezTo>
                      <a:pt x="11111" y="27692"/>
                      <a:pt x="6666" y="27692"/>
                      <a:pt x="6666" y="27692"/>
                    </a:cubicBezTo>
                    <a:cubicBezTo>
                      <a:pt x="6666" y="32307"/>
                      <a:pt x="11111" y="32307"/>
                      <a:pt x="11111" y="32307"/>
                    </a:cubicBezTo>
                    <a:cubicBezTo>
                      <a:pt x="11111" y="27692"/>
                      <a:pt x="11111" y="36923"/>
                      <a:pt x="11111" y="36923"/>
                    </a:cubicBezTo>
                    <a:cubicBezTo>
                      <a:pt x="11111" y="36923"/>
                      <a:pt x="6666" y="32307"/>
                      <a:pt x="4444" y="32307"/>
                    </a:cubicBezTo>
                    <a:cubicBezTo>
                      <a:pt x="6666" y="32307"/>
                      <a:pt x="0" y="46153"/>
                      <a:pt x="2222" y="41538"/>
                    </a:cubicBezTo>
                    <a:cubicBezTo>
                      <a:pt x="0" y="50769"/>
                      <a:pt x="17777" y="46153"/>
                      <a:pt x="17777" y="46153"/>
                    </a:cubicBezTo>
                    <a:cubicBezTo>
                      <a:pt x="20000" y="46153"/>
                      <a:pt x="28888" y="50769"/>
                      <a:pt x="28888" y="50769"/>
                    </a:cubicBezTo>
                    <a:cubicBezTo>
                      <a:pt x="26666" y="50769"/>
                      <a:pt x="24444" y="50769"/>
                      <a:pt x="24444" y="55384"/>
                    </a:cubicBezTo>
                    <a:cubicBezTo>
                      <a:pt x="24444" y="55384"/>
                      <a:pt x="26666" y="60000"/>
                      <a:pt x="26666" y="60000"/>
                    </a:cubicBezTo>
                    <a:cubicBezTo>
                      <a:pt x="24444" y="64615"/>
                      <a:pt x="20000" y="64615"/>
                      <a:pt x="17777" y="64615"/>
                    </a:cubicBezTo>
                    <a:cubicBezTo>
                      <a:pt x="17777" y="64615"/>
                      <a:pt x="4444" y="69230"/>
                      <a:pt x="6666" y="69230"/>
                    </a:cubicBezTo>
                    <a:cubicBezTo>
                      <a:pt x="11111" y="73846"/>
                      <a:pt x="17777" y="69230"/>
                      <a:pt x="22222" y="73846"/>
                    </a:cubicBezTo>
                    <a:cubicBezTo>
                      <a:pt x="24444" y="78461"/>
                      <a:pt x="24444" y="83076"/>
                      <a:pt x="26666" y="83076"/>
                    </a:cubicBezTo>
                    <a:cubicBezTo>
                      <a:pt x="26666" y="83076"/>
                      <a:pt x="31111" y="78461"/>
                      <a:pt x="33333" y="78461"/>
                    </a:cubicBezTo>
                    <a:cubicBezTo>
                      <a:pt x="31111" y="78461"/>
                      <a:pt x="28888" y="83076"/>
                      <a:pt x="28888" y="83076"/>
                    </a:cubicBezTo>
                    <a:cubicBezTo>
                      <a:pt x="28888" y="87692"/>
                      <a:pt x="33333" y="83076"/>
                      <a:pt x="33333" y="83076"/>
                    </a:cubicBezTo>
                    <a:cubicBezTo>
                      <a:pt x="35555" y="87692"/>
                      <a:pt x="17777" y="106153"/>
                      <a:pt x="22222" y="106153"/>
                    </a:cubicBezTo>
                    <a:cubicBezTo>
                      <a:pt x="26666" y="110769"/>
                      <a:pt x="31111" y="106153"/>
                      <a:pt x="33333" y="106153"/>
                    </a:cubicBezTo>
                    <a:cubicBezTo>
                      <a:pt x="37777" y="106153"/>
                      <a:pt x="42222" y="106153"/>
                      <a:pt x="46666" y="110769"/>
                    </a:cubicBezTo>
                    <a:cubicBezTo>
                      <a:pt x="44444" y="106153"/>
                      <a:pt x="44444" y="110769"/>
                      <a:pt x="44444" y="110769"/>
                    </a:cubicBezTo>
                    <a:cubicBezTo>
                      <a:pt x="46666" y="115384"/>
                      <a:pt x="48888" y="115384"/>
                      <a:pt x="48888" y="115384"/>
                    </a:cubicBezTo>
                    <a:cubicBezTo>
                      <a:pt x="53333" y="120000"/>
                      <a:pt x="60000" y="120000"/>
                      <a:pt x="64444" y="120000"/>
                    </a:cubicBezTo>
                    <a:cubicBezTo>
                      <a:pt x="68888" y="120000"/>
                      <a:pt x="68888" y="115384"/>
                      <a:pt x="73333" y="115384"/>
                    </a:cubicBezTo>
                    <a:cubicBezTo>
                      <a:pt x="77777" y="110769"/>
                      <a:pt x="82222" y="110769"/>
                      <a:pt x="86666" y="106153"/>
                    </a:cubicBezTo>
                    <a:cubicBezTo>
                      <a:pt x="93333" y="96923"/>
                      <a:pt x="95555" y="92307"/>
                      <a:pt x="102222" y="87692"/>
                    </a:cubicBezTo>
                    <a:cubicBezTo>
                      <a:pt x="106666" y="87692"/>
                      <a:pt x="108888" y="73846"/>
                      <a:pt x="115555" y="73846"/>
                    </a:cubicBezTo>
                    <a:cubicBezTo>
                      <a:pt x="115555" y="69230"/>
                      <a:pt x="117777" y="69230"/>
                      <a:pt x="115555" y="64615"/>
                    </a:cubicBezTo>
                    <a:cubicBezTo>
                      <a:pt x="113333" y="60000"/>
                      <a:pt x="117777" y="60000"/>
                      <a:pt x="120000" y="60000"/>
                    </a:cubicBezTo>
                    <a:cubicBezTo>
                      <a:pt x="120000" y="60000"/>
                      <a:pt x="115555" y="55384"/>
                      <a:pt x="115555" y="55384"/>
                    </a:cubicBezTo>
                    <a:cubicBezTo>
                      <a:pt x="115555" y="50769"/>
                      <a:pt x="120000" y="46153"/>
                      <a:pt x="117777" y="46153"/>
                    </a:cubicBezTo>
                    <a:cubicBezTo>
                      <a:pt x="113333" y="41538"/>
                      <a:pt x="120000" y="46153"/>
                      <a:pt x="117777" y="4615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 name="Shape 2283">
                <a:extLst>
                  <a:ext uri="{FF2B5EF4-FFF2-40B4-BE49-F238E27FC236}">
                    <a16:creationId xmlns:a16="http://schemas.microsoft.com/office/drawing/2014/main" id="{937411E0-F38F-4DC9-9DF7-9B521E9922F0}"/>
                  </a:ext>
                </a:extLst>
              </p:cNvPr>
              <p:cNvSpPr/>
              <p:nvPr/>
            </p:nvSpPr>
            <p:spPr>
              <a:xfrm>
                <a:off x="13965672" y="5207888"/>
                <a:ext cx="758650" cy="523147"/>
              </a:xfrm>
              <a:custGeom>
                <a:avLst/>
                <a:gdLst/>
                <a:ahLst/>
                <a:cxnLst/>
                <a:rect l="0" t="0" r="0" b="0"/>
                <a:pathLst>
                  <a:path w="120000" h="120000" extrusionOk="0">
                    <a:moveTo>
                      <a:pt x="112000" y="1935"/>
                    </a:moveTo>
                    <a:cubicBezTo>
                      <a:pt x="108000" y="1935"/>
                      <a:pt x="106666" y="0"/>
                      <a:pt x="102666" y="3870"/>
                    </a:cubicBezTo>
                    <a:cubicBezTo>
                      <a:pt x="101333" y="3870"/>
                      <a:pt x="96000" y="5806"/>
                      <a:pt x="97333" y="7741"/>
                    </a:cubicBezTo>
                    <a:cubicBezTo>
                      <a:pt x="96000" y="7741"/>
                      <a:pt x="90666" y="11612"/>
                      <a:pt x="88000" y="11612"/>
                    </a:cubicBezTo>
                    <a:cubicBezTo>
                      <a:pt x="85333" y="11612"/>
                      <a:pt x="81333" y="13548"/>
                      <a:pt x="78666" y="15483"/>
                    </a:cubicBezTo>
                    <a:cubicBezTo>
                      <a:pt x="74666" y="15483"/>
                      <a:pt x="72000" y="15483"/>
                      <a:pt x="68000" y="15483"/>
                    </a:cubicBezTo>
                    <a:cubicBezTo>
                      <a:pt x="68000" y="15483"/>
                      <a:pt x="60000" y="15483"/>
                      <a:pt x="61333" y="17419"/>
                    </a:cubicBezTo>
                    <a:cubicBezTo>
                      <a:pt x="61333" y="17419"/>
                      <a:pt x="64000" y="17419"/>
                      <a:pt x="64000" y="17419"/>
                    </a:cubicBezTo>
                    <a:cubicBezTo>
                      <a:pt x="62666" y="19354"/>
                      <a:pt x="60000" y="19354"/>
                      <a:pt x="58666" y="21290"/>
                    </a:cubicBezTo>
                    <a:cubicBezTo>
                      <a:pt x="57333" y="21290"/>
                      <a:pt x="54666" y="21290"/>
                      <a:pt x="52000" y="21290"/>
                    </a:cubicBezTo>
                    <a:cubicBezTo>
                      <a:pt x="50666" y="21290"/>
                      <a:pt x="50666" y="21290"/>
                      <a:pt x="48000" y="23225"/>
                    </a:cubicBezTo>
                    <a:cubicBezTo>
                      <a:pt x="46666" y="29032"/>
                      <a:pt x="45333" y="27096"/>
                      <a:pt x="42666" y="27096"/>
                    </a:cubicBezTo>
                    <a:cubicBezTo>
                      <a:pt x="40000" y="29032"/>
                      <a:pt x="41333" y="32903"/>
                      <a:pt x="37333" y="32903"/>
                    </a:cubicBezTo>
                    <a:cubicBezTo>
                      <a:pt x="34666" y="32903"/>
                      <a:pt x="36000" y="36774"/>
                      <a:pt x="34666" y="36774"/>
                    </a:cubicBezTo>
                    <a:cubicBezTo>
                      <a:pt x="33333" y="38709"/>
                      <a:pt x="29333" y="34838"/>
                      <a:pt x="30666" y="36774"/>
                    </a:cubicBezTo>
                    <a:cubicBezTo>
                      <a:pt x="30666" y="38709"/>
                      <a:pt x="34666" y="40645"/>
                      <a:pt x="34666" y="40645"/>
                    </a:cubicBezTo>
                    <a:cubicBezTo>
                      <a:pt x="34666" y="40645"/>
                      <a:pt x="29333" y="42580"/>
                      <a:pt x="29333" y="42580"/>
                    </a:cubicBezTo>
                    <a:cubicBezTo>
                      <a:pt x="29333" y="44516"/>
                      <a:pt x="36000" y="44516"/>
                      <a:pt x="36000" y="44516"/>
                    </a:cubicBezTo>
                    <a:cubicBezTo>
                      <a:pt x="36000" y="46451"/>
                      <a:pt x="26666" y="46451"/>
                      <a:pt x="28000" y="48387"/>
                    </a:cubicBezTo>
                    <a:cubicBezTo>
                      <a:pt x="28000" y="46451"/>
                      <a:pt x="30666" y="48387"/>
                      <a:pt x="30666" y="48387"/>
                    </a:cubicBezTo>
                    <a:cubicBezTo>
                      <a:pt x="28000" y="50322"/>
                      <a:pt x="26666" y="48387"/>
                      <a:pt x="26666" y="50322"/>
                    </a:cubicBezTo>
                    <a:cubicBezTo>
                      <a:pt x="25333" y="52258"/>
                      <a:pt x="28000" y="54193"/>
                      <a:pt x="28000" y="54193"/>
                    </a:cubicBezTo>
                    <a:cubicBezTo>
                      <a:pt x="26666" y="54193"/>
                      <a:pt x="25333" y="54193"/>
                      <a:pt x="24000" y="54193"/>
                    </a:cubicBezTo>
                    <a:cubicBezTo>
                      <a:pt x="24000" y="54193"/>
                      <a:pt x="26666" y="56129"/>
                      <a:pt x="28000" y="56129"/>
                    </a:cubicBezTo>
                    <a:cubicBezTo>
                      <a:pt x="25333" y="56129"/>
                      <a:pt x="24000" y="56129"/>
                      <a:pt x="22666" y="58064"/>
                    </a:cubicBezTo>
                    <a:cubicBezTo>
                      <a:pt x="21333" y="60000"/>
                      <a:pt x="20000" y="60000"/>
                      <a:pt x="18666" y="60000"/>
                    </a:cubicBezTo>
                    <a:cubicBezTo>
                      <a:pt x="16000" y="61935"/>
                      <a:pt x="16000" y="63870"/>
                      <a:pt x="18666" y="63870"/>
                    </a:cubicBezTo>
                    <a:cubicBezTo>
                      <a:pt x="20000" y="63870"/>
                      <a:pt x="24000" y="65806"/>
                      <a:pt x="25333" y="65806"/>
                    </a:cubicBezTo>
                    <a:cubicBezTo>
                      <a:pt x="22666" y="67741"/>
                      <a:pt x="20000" y="63870"/>
                      <a:pt x="20000" y="69677"/>
                    </a:cubicBezTo>
                    <a:cubicBezTo>
                      <a:pt x="20000" y="71612"/>
                      <a:pt x="13333" y="71612"/>
                      <a:pt x="12000" y="73548"/>
                    </a:cubicBezTo>
                    <a:cubicBezTo>
                      <a:pt x="10666" y="75483"/>
                      <a:pt x="12000" y="75483"/>
                      <a:pt x="12000" y="77419"/>
                    </a:cubicBezTo>
                    <a:cubicBezTo>
                      <a:pt x="12000" y="77419"/>
                      <a:pt x="8000" y="79354"/>
                      <a:pt x="8000" y="79354"/>
                    </a:cubicBezTo>
                    <a:cubicBezTo>
                      <a:pt x="2666" y="81290"/>
                      <a:pt x="9333" y="81290"/>
                      <a:pt x="9333" y="83225"/>
                    </a:cubicBezTo>
                    <a:cubicBezTo>
                      <a:pt x="10666" y="85161"/>
                      <a:pt x="6666" y="90967"/>
                      <a:pt x="6666" y="90967"/>
                    </a:cubicBezTo>
                    <a:cubicBezTo>
                      <a:pt x="4000" y="94838"/>
                      <a:pt x="0" y="90967"/>
                      <a:pt x="0" y="98709"/>
                    </a:cubicBezTo>
                    <a:cubicBezTo>
                      <a:pt x="0" y="106451"/>
                      <a:pt x="2666" y="102580"/>
                      <a:pt x="5333" y="102580"/>
                    </a:cubicBezTo>
                    <a:cubicBezTo>
                      <a:pt x="8000" y="104516"/>
                      <a:pt x="9333" y="106451"/>
                      <a:pt x="12000" y="104516"/>
                    </a:cubicBezTo>
                    <a:cubicBezTo>
                      <a:pt x="12000" y="104516"/>
                      <a:pt x="14666" y="108387"/>
                      <a:pt x="16000" y="106451"/>
                    </a:cubicBezTo>
                    <a:cubicBezTo>
                      <a:pt x="16000" y="106451"/>
                      <a:pt x="13333" y="106451"/>
                      <a:pt x="13333" y="108387"/>
                    </a:cubicBezTo>
                    <a:cubicBezTo>
                      <a:pt x="14666" y="108387"/>
                      <a:pt x="16000" y="108387"/>
                      <a:pt x="16000" y="108387"/>
                    </a:cubicBezTo>
                    <a:cubicBezTo>
                      <a:pt x="16000" y="108387"/>
                      <a:pt x="13333" y="116129"/>
                      <a:pt x="13333" y="116129"/>
                    </a:cubicBezTo>
                    <a:cubicBezTo>
                      <a:pt x="16000" y="118064"/>
                      <a:pt x="18666" y="118064"/>
                      <a:pt x="21333" y="120000"/>
                    </a:cubicBezTo>
                    <a:cubicBezTo>
                      <a:pt x="25333" y="120000"/>
                      <a:pt x="26666" y="120000"/>
                      <a:pt x="30666" y="120000"/>
                    </a:cubicBezTo>
                    <a:cubicBezTo>
                      <a:pt x="32000" y="118064"/>
                      <a:pt x="33333" y="118064"/>
                      <a:pt x="34666" y="118064"/>
                    </a:cubicBezTo>
                    <a:cubicBezTo>
                      <a:pt x="36000" y="120000"/>
                      <a:pt x="37333" y="120000"/>
                      <a:pt x="40000" y="120000"/>
                    </a:cubicBezTo>
                    <a:cubicBezTo>
                      <a:pt x="41333" y="120000"/>
                      <a:pt x="36000" y="114193"/>
                      <a:pt x="34666" y="114193"/>
                    </a:cubicBezTo>
                    <a:cubicBezTo>
                      <a:pt x="32000" y="110322"/>
                      <a:pt x="30666" y="106451"/>
                      <a:pt x="29333" y="102580"/>
                    </a:cubicBezTo>
                    <a:cubicBezTo>
                      <a:pt x="26666" y="98709"/>
                      <a:pt x="28000" y="96774"/>
                      <a:pt x="26666" y="92903"/>
                    </a:cubicBezTo>
                    <a:cubicBezTo>
                      <a:pt x="25333" y="87096"/>
                      <a:pt x="24000" y="87096"/>
                      <a:pt x="26666" y="83225"/>
                    </a:cubicBezTo>
                    <a:cubicBezTo>
                      <a:pt x="28000" y="83225"/>
                      <a:pt x="26666" y="83225"/>
                      <a:pt x="26666" y="81290"/>
                    </a:cubicBezTo>
                    <a:cubicBezTo>
                      <a:pt x="28000" y="79354"/>
                      <a:pt x="32000" y="81290"/>
                      <a:pt x="32000" y="79354"/>
                    </a:cubicBezTo>
                    <a:cubicBezTo>
                      <a:pt x="32000" y="79354"/>
                      <a:pt x="29333" y="77419"/>
                      <a:pt x="29333" y="77419"/>
                    </a:cubicBezTo>
                    <a:cubicBezTo>
                      <a:pt x="30666" y="75483"/>
                      <a:pt x="34666" y="77419"/>
                      <a:pt x="34666" y="75483"/>
                    </a:cubicBezTo>
                    <a:cubicBezTo>
                      <a:pt x="34666" y="73548"/>
                      <a:pt x="28000" y="71612"/>
                      <a:pt x="28000" y="69677"/>
                    </a:cubicBezTo>
                    <a:cubicBezTo>
                      <a:pt x="28000" y="69677"/>
                      <a:pt x="38666" y="71612"/>
                      <a:pt x="38666" y="71612"/>
                    </a:cubicBezTo>
                    <a:cubicBezTo>
                      <a:pt x="38666" y="69677"/>
                      <a:pt x="36000" y="67741"/>
                      <a:pt x="36000" y="65806"/>
                    </a:cubicBezTo>
                    <a:cubicBezTo>
                      <a:pt x="36000" y="63870"/>
                      <a:pt x="40000" y="67741"/>
                      <a:pt x="41333" y="65806"/>
                    </a:cubicBezTo>
                    <a:cubicBezTo>
                      <a:pt x="41333" y="63870"/>
                      <a:pt x="36000" y="60000"/>
                      <a:pt x="36000" y="61935"/>
                    </a:cubicBezTo>
                    <a:cubicBezTo>
                      <a:pt x="36000" y="60000"/>
                      <a:pt x="41333" y="63870"/>
                      <a:pt x="42666" y="61935"/>
                    </a:cubicBezTo>
                    <a:cubicBezTo>
                      <a:pt x="42666" y="61935"/>
                      <a:pt x="44000" y="60000"/>
                      <a:pt x="42666" y="60000"/>
                    </a:cubicBezTo>
                    <a:cubicBezTo>
                      <a:pt x="42666" y="60000"/>
                      <a:pt x="40000" y="56129"/>
                      <a:pt x="40000" y="56129"/>
                    </a:cubicBezTo>
                    <a:cubicBezTo>
                      <a:pt x="42666" y="56129"/>
                      <a:pt x="44000" y="58064"/>
                      <a:pt x="46666" y="56129"/>
                    </a:cubicBezTo>
                    <a:cubicBezTo>
                      <a:pt x="46666" y="54193"/>
                      <a:pt x="49333" y="52258"/>
                      <a:pt x="49333" y="52258"/>
                    </a:cubicBezTo>
                    <a:cubicBezTo>
                      <a:pt x="49333" y="50322"/>
                      <a:pt x="46666" y="50322"/>
                      <a:pt x="46666" y="50322"/>
                    </a:cubicBezTo>
                    <a:cubicBezTo>
                      <a:pt x="48000" y="50322"/>
                      <a:pt x="52000" y="50322"/>
                      <a:pt x="52000" y="46451"/>
                    </a:cubicBezTo>
                    <a:cubicBezTo>
                      <a:pt x="52000" y="42580"/>
                      <a:pt x="54666" y="48387"/>
                      <a:pt x="56000" y="46451"/>
                    </a:cubicBezTo>
                    <a:cubicBezTo>
                      <a:pt x="56000" y="46451"/>
                      <a:pt x="54666" y="44516"/>
                      <a:pt x="54666" y="44516"/>
                    </a:cubicBezTo>
                    <a:cubicBezTo>
                      <a:pt x="56000" y="42580"/>
                      <a:pt x="60000" y="44516"/>
                      <a:pt x="60000" y="42580"/>
                    </a:cubicBezTo>
                    <a:cubicBezTo>
                      <a:pt x="61333" y="40645"/>
                      <a:pt x="60000" y="38709"/>
                      <a:pt x="58666" y="38709"/>
                    </a:cubicBezTo>
                    <a:cubicBezTo>
                      <a:pt x="65333" y="34838"/>
                      <a:pt x="70666" y="30967"/>
                      <a:pt x="77333" y="29032"/>
                    </a:cubicBezTo>
                    <a:cubicBezTo>
                      <a:pt x="81333" y="27096"/>
                      <a:pt x="86666" y="25161"/>
                      <a:pt x="90666" y="23225"/>
                    </a:cubicBezTo>
                    <a:cubicBezTo>
                      <a:pt x="97333" y="21290"/>
                      <a:pt x="102666" y="19354"/>
                      <a:pt x="108000" y="15483"/>
                    </a:cubicBezTo>
                    <a:cubicBezTo>
                      <a:pt x="110666" y="15483"/>
                      <a:pt x="114666" y="11612"/>
                      <a:pt x="117333" y="7741"/>
                    </a:cubicBezTo>
                    <a:cubicBezTo>
                      <a:pt x="120000" y="3870"/>
                      <a:pt x="114666" y="1935"/>
                      <a:pt x="112000" y="1935"/>
                    </a:cubicBezTo>
                    <a:cubicBezTo>
                      <a:pt x="109333" y="1935"/>
                      <a:pt x="114666" y="1935"/>
                      <a:pt x="112000" y="193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 name="Shape 2284">
                <a:extLst>
                  <a:ext uri="{FF2B5EF4-FFF2-40B4-BE49-F238E27FC236}">
                    <a16:creationId xmlns:a16="http://schemas.microsoft.com/office/drawing/2014/main" id="{75C69A70-EE69-437E-B2C0-00806984B9E0}"/>
                  </a:ext>
                </a:extLst>
              </p:cNvPr>
              <p:cNvSpPr/>
              <p:nvPr/>
            </p:nvSpPr>
            <p:spPr>
              <a:xfrm>
                <a:off x="15911153" y="4989431"/>
                <a:ext cx="270126" cy="135097"/>
              </a:xfrm>
              <a:custGeom>
                <a:avLst/>
                <a:gdLst/>
                <a:ahLst/>
                <a:cxnLst/>
                <a:rect l="0" t="0" r="0" b="0"/>
                <a:pathLst>
                  <a:path w="120000" h="120000" extrusionOk="0">
                    <a:moveTo>
                      <a:pt x="60000" y="45000"/>
                    </a:moveTo>
                    <a:cubicBezTo>
                      <a:pt x="60000" y="45000"/>
                      <a:pt x="71250" y="15000"/>
                      <a:pt x="71250" y="7500"/>
                    </a:cubicBezTo>
                    <a:cubicBezTo>
                      <a:pt x="67500" y="0"/>
                      <a:pt x="63750" y="0"/>
                      <a:pt x="60000" y="0"/>
                    </a:cubicBezTo>
                    <a:cubicBezTo>
                      <a:pt x="56250" y="0"/>
                      <a:pt x="56250" y="15000"/>
                      <a:pt x="56250" y="15000"/>
                    </a:cubicBezTo>
                    <a:cubicBezTo>
                      <a:pt x="48750" y="15000"/>
                      <a:pt x="45000" y="0"/>
                      <a:pt x="37500" y="15000"/>
                    </a:cubicBezTo>
                    <a:cubicBezTo>
                      <a:pt x="37500" y="15000"/>
                      <a:pt x="30000" y="22500"/>
                      <a:pt x="33750" y="30000"/>
                    </a:cubicBezTo>
                    <a:cubicBezTo>
                      <a:pt x="37500" y="30000"/>
                      <a:pt x="41250" y="37500"/>
                      <a:pt x="45000" y="30000"/>
                    </a:cubicBezTo>
                    <a:cubicBezTo>
                      <a:pt x="37500" y="37500"/>
                      <a:pt x="18750" y="45000"/>
                      <a:pt x="37500" y="60000"/>
                    </a:cubicBezTo>
                    <a:cubicBezTo>
                      <a:pt x="26250" y="52500"/>
                      <a:pt x="22500" y="60000"/>
                      <a:pt x="18750" y="75000"/>
                    </a:cubicBezTo>
                    <a:cubicBezTo>
                      <a:pt x="15000" y="82500"/>
                      <a:pt x="0" y="112500"/>
                      <a:pt x="3750" y="112500"/>
                    </a:cubicBezTo>
                    <a:cubicBezTo>
                      <a:pt x="11250" y="120000"/>
                      <a:pt x="22500" y="120000"/>
                      <a:pt x="30000" y="112500"/>
                    </a:cubicBezTo>
                    <a:cubicBezTo>
                      <a:pt x="41250" y="97500"/>
                      <a:pt x="52500" y="97500"/>
                      <a:pt x="63750" y="105000"/>
                    </a:cubicBezTo>
                    <a:cubicBezTo>
                      <a:pt x="78750" y="105000"/>
                      <a:pt x="90000" y="97500"/>
                      <a:pt x="105000" y="90000"/>
                    </a:cubicBezTo>
                    <a:cubicBezTo>
                      <a:pt x="112500" y="82500"/>
                      <a:pt x="120000" y="60000"/>
                      <a:pt x="108750" y="52500"/>
                    </a:cubicBezTo>
                    <a:cubicBezTo>
                      <a:pt x="101250" y="45000"/>
                      <a:pt x="90000" y="15000"/>
                      <a:pt x="82500" y="22500"/>
                    </a:cubicBezTo>
                    <a:cubicBezTo>
                      <a:pt x="75000" y="22500"/>
                      <a:pt x="67500" y="45000"/>
                      <a:pt x="60000" y="45000"/>
                    </a:cubicBezTo>
                    <a:cubicBezTo>
                      <a:pt x="56250" y="45000"/>
                      <a:pt x="63750" y="45000"/>
                      <a:pt x="60000" y="4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 name="Shape 2285">
                <a:extLst>
                  <a:ext uri="{FF2B5EF4-FFF2-40B4-BE49-F238E27FC236}">
                    <a16:creationId xmlns:a16="http://schemas.microsoft.com/office/drawing/2014/main" id="{6467DC8B-41DB-44C9-8664-08FED7FF5ADF}"/>
                  </a:ext>
                </a:extLst>
              </p:cNvPr>
              <p:cNvSpPr/>
              <p:nvPr/>
            </p:nvSpPr>
            <p:spPr>
              <a:xfrm>
                <a:off x="15692752" y="4911822"/>
                <a:ext cx="252884" cy="135097"/>
              </a:xfrm>
              <a:custGeom>
                <a:avLst/>
                <a:gdLst/>
                <a:ahLst/>
                <a:cxnLst/>
                <a:rect l="0" t="0" r="0" b="0"/>
                <a:pathLst>
                  <a:path w="120000" h="120000" extrusionOk="0">
                    <a:moveTo>
                      <a:pt x="104000" y="75000"/>
                    </a:moveTo>
                    <a:cubicBezTo>
                      <a:pt x="116000" y="82500"/>
                      <a:pt x="108000" y="67500"/>
                      <a:pt x="112000" y="52500"/>
                    </a:cubicBezTo>
                    <a:cubicBezTo>
                      <a:pt x="112000" y="45000"/>
                      <a:pt x="116000" y="45000"/>
                      <a:pt x="116000" y="37500"/>
                    </a:cubicBezTo>
                    <a:cubicBezTo>
                      <a:pt x="116000" y="30000"/>
                      <a:pt x="108000" y="22500"/>
                      <a:pt x="104000" y="22500"/>
                    </a:cubicBezTo>
                    <a:cubicBezTo>
                      <a:pt x="100000" y="15000"/>
                      <a:pt x="92000" y="15000"/>
                      <a:pt x="88000" y="22500"/>
                    </a:cubicBezTo>
                    <a:cubicBezTo>
                      <a:pt x="88000" y="22500"/>
                      <a:pt x="68000" y="30000"/>
                      <a:pt x="68000" y="30000"/>
                    </a:cubicBezTo>
                    <a:cubicBezTo>
                      <a:pt x="68000" y="30000"/>
                      <a:pt x="84000" y="15000"/>
                      <a:pt x="72000" y="7500"/>
                    </a:cubicBezTo>
                    <a:cubicBezTo>
                      <a:pt x="64000" y="0"/>
                      <a:pt x="56000" y="7500"/>
                      <a:pt x="48000" y="7500"/>
                    </a:cubicBezTo>
                    <a:cubicBezTo>
                      <a:pt x="44000" y="7500"/>
                      <a:pt x="24000" y="15000"/>
                      <a:pt x="20000" y="30000"/>
                    </a:cubicBezTo>
                    <a:cubicBezTo>
                      <a:pt x="20000" y="30000"/>
                      <a:pt x="28000" y="30000"/>
                      <a:pt x="28000" y="30000"/>
                    </a:cubicBezTo>
                    <a:cubicBezTo>
                      <a:pt x="28000" y="30000"/>
                      <a:pt x="0" y="52500"/>
                      <a:pt x="0" y="60000"/>
                    </a:cubicBezTo>
                    <a:cubicBezTo>
                      <a:pt x="0" y="60000"/>
                      <a:pt x="16000" y="67500"/>
                      <a:pt x="16000" y="67500"/>
                    </a:cubicBezTo>
                    <a:cubicBezTo>
                      <a:pt x="20000" y="67500"/>
                      <a:pt x="24000" y="82500"/>
                      <a:pt x="28000" y="90000"/>
                    </a:cubicBezTo>
                    <a:cubicBezTo>
                      <a:pt x="36000" y="97500"/>
                      <a:pt x="40000" y="97500"/>
                      <a:pt x="48000" y="97500"/>
                    </a:cubicBezTo>
                    <a:cubicBezTo>
                      <a:pt x="56000" y="105000"/>
                      <a:pt x="68000" y="120000"/>
                      <a:pt x="76000" y="120000"/>
                    </a:cubicBezTo>
                    <a:cubicBezTo>
                      <a:pt x="88000" y="120000"/>
                      <a:pt x="100000" y="120000"/>
                      <a:pt x="112000" y="112500"/>
                    </a:cubicBezTo>
                    <a:cubicBezTo>
                      <a:pt x="120000" y="112500"/>
                      <a:pt x="104000" y="75000"/>
                      <a:pt x="104000" y="75000"/>
                    </a:cubicBezTo>
                    <a:cubicBezTo>
                      <a:pt x="108000" y="75000"/>
                      <a:pt x="100000" y="75000"/>
                      <a:pt x="104000" y="7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 name="Shape 2286">
                <a:extLst>
                  <a:ext uri="{FF2B5EF4-FFF2-40B4-BE49-F238E27FC236}">
                    <a16:creationId xmlns:a16="http://schemas.microsoft.com/office/drawing/2014/main" id="{A5D25567-5F05-4F05-8DF6-C788946761EA}"/>
                  </a:ext>
                </a:extLst>
              </p:cNvPr>
              <p:cNvSpPr/>
              <p:nvPr/>
            </p:nvSpPr>
            <p:spPr>
              <a:xfrm>
                <a:off x="15618036" y="4920444"/>
                <a:ext cx="126441" cy="43118"/>
              </a:xfrm>
              <a:custGeom>
                <a:avLst/>
                <a:gdLst/>
                <a:ahLst/>
                <a:cxnLst/>
                <a:rect l="0" t="0" r="0" b="0"/>
                <a:pathLst>
                  <a:path w="120000" h="120000" extrusionOk="0">
                    <a:moveTo>
                      <a:pt x="72000" y="24000"/>
                    </a:moveTo>
                    <a:cubicBezTo>
                      <a:pt x="64000" y="24000"/>
                      <a:pt x="48000" y="24000"/>
                      <a:pt x="32000" y="24000"/>
                    </a:cubicBezTo>
                    <a:cubicBezTo>
                      <a:pt x="24000" y="24000"/>
                      <a:pt x="8000" y="0"/>
                      <a:pt x="0" y="24000"/>
                    </a:cubicBezTo>
                    <a:cubicBezTo>
                      <a:pt x="0" y="24000"/>
                      <a:pt x="0" y="72000"/>
                      <a:pt x="8000" y="72000"/>
                    </a:cubicBezTo>
                    <a:cubicBezTo>
                      <a:pt x="24000" y="96000"/>
                      <a:pt x="32000" y="120000"/>
                      <a:pt x="48000" y="120000"/>
                    </a:cubicBezTo>
                    <a:cubicBezTo>
                      <a:pt x="64000" y="120000"/>
                      <a:pt x="120000" y="48000"/>
                      <a:pt x="72000" y="24000"/>
                    </a:cubicBezTo>
                    <a:cubicBezTo>
                      <a:pt x="64000" y="24000"/>
                      <a:pt x="80000" y="48000"/>
                      <a:pt x="72000" y="2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 name="Shape 2287">
                <a:extLst>
                  <a:ext uri="{FF2B5EF4-FFF2-40B4-BE49-F238E27FC236}">
                    <a16:creationId xmlns:a16="http://schemas.microsoft.com/office/drawing/2014/main" id="{347AC4D8-421A-42C0-8A12-593DB7C71410}"/>
                  </a:ext>
                </a:extLst>
              </p:cNvPr>
              <p:cNvSpPr/>
              <p:nvPr/>
            </p:nvSpPr>
            <p:spPr>
              <a:xfrm>
                <a:off x="15641025" y="4802595"/>
                <a:ext cx="212649" cy="135097"/>
              </a:xfrm>
              <a:custGeom>
                <a:avLst/>
                <a:gdLst/>
                <a:ahLst/>
                <a:cxnLst/>
                <a:rect l="0" t="0" r="0" b="0"/>
                <a:pathLst>
                  <a:path w="120000" h="120000" extrusionOk="0">
                    <a:moveTo>
                      <a:pt x="33600" y="112500"/>
                    </a:moveTo>
                    <a:cubicBezTo>
                      <a:pt x="28800" y="105000"/>
                      <a:pt x="19200" y="105000"/>
                      <a:pt x="14400" y="97500"/>
                    </a:cubicBezTo>
                    <a:cubicBezTo>
                      <a:pt x="9600" y="90000"/>
                      <a:pt x="19200" y="90000"/>
                      <a:pt x="19200" y="90000"/>
                    </a:cubicBezTo>
                    <a:cubicBezTo>
                      <a:pt x="19200" y="90000"/>
                      <a:pt x="0" y="97500"/>
                      <a:pt x="0" y="90000"/>
                    </a:cubicBezTo>
                    <a:cubicBezTo>
                      <a:pt x="0" y="75000"/>
                      <a:pt x="14400" y="82500"/>
                      <a:pt x="14400" y="82500"/>
                    </a:cubicBezTo>
                    <a:cubicBezTo>
                      <a:pt x="14400" y="75000"/>
                      <a:pt x="9600" y="75000"/>
                      <a:pt x="9600" y="75000"/>
                    </a:cubicBezTo>
                    <a:cubicBezTo>
                      <a:pt x="9600" y="75000"/>
                      <a:pt x="33600" y="52500"/>
                      <a:pt x="28800" y="45000"/>
                    </a:cubicBezTo>
                    <a:cubicBezTo>
                      <a:pt x="28800" y="45000"/>
                      <a:pt x="24000" y="45000"/>
                      <a:pt x="24000" y="45000"/>
                    </a:cubicBezTo>
                    <a:cubicBezTo>
                      <a:pt x="28800" y="30000"/>
                      <a:pt x="43200" y="30000"/>
                      <a:pt x="52800" y="22500"/>
                    </a:cubicBezTo>
                    <a:cubicBezTo>
                      <a:pt x="62400" y="15000"/>
                      <a:pt x="76800" y="7500"/>
                      <a:pt x="86400" y="0"/>
                    </a:cubicBezTo>
                    <a:cubicBezTo>
                      <a:pt x="86400" y="0"/>
                      <a:pt x="91200" y="22500"/>
                      <a:pt x="96000" y="30000"/>
                    </a:cubicBezTo>
                    <a:cubicBezTo>
                      <a:pt x="96000" y="30000"/>
                      <a:pt x="120000" y="45000"/>
                      <a:pt x="120000" y="52500"/>
                    </a:cubicBezTo>
                    <a:cubicBezTo>
                      <a:pt x="120000" y="60000"/>
                      <a:pt x="96000" y="52500"/>
                      <a:pt x="100800" y="67500"/>
                    </a:cubicBezTo>
                    <a:cubicBezTo>
                      <a:pt x="100800" y="67500"/>
                      <a:pt x="110400" y="75000"/>
                      <a:pt x="110400" y="90000"/>
                    </a:cubicBezTo>
                    <a:cubicBezTo>
                      <a:pt x="105600" y="90000"/>
                      <a:pt x="96000" y="90000"/>
                      <a:pt x="91200" y="97500"/>
                    </a:cubicBezTo>
                    <a:cubicBezTo>
                      <a:pt x="76800" y="105000"/>
                      <a:pt x="48000" y="120000"/>
                      <a:pt x="33600" y="112500"/>
                    </a:cubicBezTo>
                    <a:cubicBezTo>
                      <a:pt x="28800" y="105000"/>
                      <a:pt x="43200" y="120000"/>
                      <a:pt x="33600" y="1125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 name="Shape 2288">
                <a:extLst>
                  <a:ext uri="{FF2B5EF4-FFF2-40B4-BE49-F238E27FC236}">
                    <a16:creationId xmlns:a16="http://schemas.microsoft.com/office/drawing/2014/main" id="{A0B80164-058A-4839-9314-E5FC8EC2F0FC}"/>
                  </a:ext>
                </a:extLst>
              </p:cNvPr>
              <p:cNvSpPr/>
              <p:nvPr/>
            </p:nvSpPr>
            <p:spPr>
              <a:xfrm>
                <a:off x="17882495" y="5334361"/>
                <a:ext cx="212649" cy="68984"/>
              </a:xfrm>
              <a:custGeom>
                <a:avLst/>
                <a:gdLst/>
                <a:ahLst/>
                <a:cxnLst/>
                <a:rect l="0" t="0" r="0" b="0"/>
                <a:pathLst>
                  <a:path w="120000" h="120000" extrusionOk="0">
                    <a:moveTo>
                      <a:pt x="24000" y="45000"/>
                    </a:moveTo>
                    <a:cubicBezTo>
                      <a:pt x="19200" y="45000"/>
                      <a:pt x="19200" y="15000"/>
                      <a:pt x="14400" y="15000"/>
                    </a:cubicBezTo>
                    <a:cubicBezTo>
                      <a:pt x="14400" y="0"/>
                      <a:pt x="4800" y="30000"/>
                      <a:pt x="4800" y="30000"/>
                    </a:cubicBezTo>
                    <a:cubicBezTo>
                      <a:pt x="0" y="60000"/>
                      <a:pt x="4800" y="60000"/>
                      <a:pt x="9600" y="60000"/>
                    </a:cubicBezTo>
                    <a:cubicBezTo>
                      <a:pt x="14400" y="60000"/>
                      <a:pt x="19200" y="90000"/>
                      <a:pt x="24000" y="90000"/>
                    </a:cubicBezTo>
                    <a:cubicBezTo>
                      <a:pt x="43200" y="105000"/>
                      <a:pt x="57600" y="120000"/>
                      <a:pt x="76800" y="120000"/>
                    </a:cubicBezTo>
                    <a:cubicBezTo>
                      <a:pt x="81600" y="120000"/>
                      <a:pt x="120000" y="105000"/>
                      <a:pt x="115200" y="75000"/>
                    </a:cubicBezTo>
                    <a:cubicBezTo>
                      <a:pt x="110400" y="75000"/>
                      <a:pt x="110400" y="90000"/>
                      <a:pt x="110400" y="90000"/>
                    </a:cubicBezTo>
                    <a:cubicBezTo>
                      <a:pt x="105600" y="90000"/>
                      <a:pt x="100800" y="75000"/>
                      <a:pt x="96000" y="60000"/>
                    </a:cubicBezTo>
                    <a:cubicBezTo>
                      <a:pt x="91200" y="60000"/>
                      <a:pt x="81600" y="45000"/>
                      <a:pt x="72000" y="60000"/>
                    </a:cubicBezTo>
                    <a:cubicBezTo>
                      <a:pt x="67200" y="60000"/>
                      <a:pt x="57600" y="30000"/>
                      <a:pt x="48000" y="30000"/>
                    </a:cubicBezTo>
                    <a:cubicBezTo>
                      <a:pt x="38400" y="30000"/>
                      <a:pt x="33600" y="45000"/>
                      <a:pt x="24000" y="4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 name="Shape 2289">
                <a:extLst>
                  <a:ext uri="{FF2B5EF4-FFF2-40B4-BE49-F238E27FC236}">
                    <a16:creationId xmlns:a16="http://schemas.microsoft.com/office/drawing/2014/main" id="{89B10716-7A30-4AA7-948D-78C9B86521A0}"/>
                  </a:ext>
                </a:extLst>
              </p:cNvPr>
              <p:cNvSpPr/>
              <p:nvPr/>
            </p:nvSpPr>
            <p:spPr>
              <a:xfrm>
                <a:off x="17612369" y="5469458"/>
                <a:ext cx="178169" cy="68984"/>
              </a:xfrm>
              <a:custGeom>
                <a:avLst/>
                <a:gdLst/>
                <a:ahLst/>
                <a:cxnLst/>
                <a:rect l="0" t="0" r="0" b="0"/>
                <a:pathLst>
                  <a:path w="120000" h="120000" extrusionOk="0">
                    <a:moveTo>
                      <a:pt x="11428" y="90000"/>
                    </a:moveTo>
                    <a:cubicBezTo>
                      <a:pt x="28571" y="90000"/>
                      <a:pt x="34285" y="90000"/>
                      <a:pt x="45714" y="90000"/>
                    </a:cubicBezTo>
                    <a:cubicBezTo>
                      <a:pt x="57142" y="105000"/>
                      <a:pt x="68571" y="105000"/>
                      <a:pt x="80000" y="120000"/>
                    </a:cubicBezTo>
                    <a:cubicBezTo>
                      <a:pt x="91428" y="120000"/>
                      <a:pt x="102857" y="120000"/>
                      <a:pt x="108571" y="105000"/>
                    </a:cubicBezTo>
                    <a:cubicBezTo>
                      <a:pt x="120000" y="90000"/>
                      <a:pt x="102857" y="75000"/>
                      <a:pt x="97142" y="60000"/>
                    </a:cubicBezTo>
                    <a:cubicBezTo>
                      <a:pt x="80000" y="30000"/>
                      <a:pt x="62857" y="0"/>
                      <a:pt x="40000" y="30000"/>
                    </a:cubicBezTo>
                    <a:cubicBezTo>
                      <a:pt x="28571" y="45000"/>
                      <a:pt x="28571" y="60000"/>
                      <a:pt x="22857" y="75000"/>
                    </a:cubicBezTo>
                    <a:cubicBezTo>
                      <a:pt x="17142" y="75000"/>
                      <a:pt x="0" y="90000"/>
                      <a:pt x="11428"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 name="Shape 2290">
                <a:extLst>
                  <a:ext uri="{FF2B5EF4-FFF2-40B4-BE49-F238E27FC236}">
                    <a16:creationId xmlns:a16="http://schemas.microsoft.com/office/drawing/2014/main" id="{8EE63EA1-18B4-496C-A62E-BAA42794A4D8}"/>
                  </a:ext>
                </a:extLst>
              </p:cNvPr>
              <p:cNvSpPr/>
              <p:nvPr/>
            </p:nvSpPr>
            <p:spPr>
              <a:xfrm>
                <a:off x="17620991" y="5437842"/>
                <a:ext cx="68966" cy="40242"/>
              </a:xfrm>
              <a:custGeom>
                <a:avLst/>
                <a:gdLst/>
                <a:ahLst/>
                <a:cxnLst/>
                <a:rect l="0" t="0" r="0" b="0"/>
                <a:pathLst>
                  <a:path w="120000" h="120000" extrusionOk="0">
                    <a:moveTo>
                      <a:pt x="45000" y="120000"/>
                    </a:moveTo>
                    <a:cubicBezTo>
                      <a:pt x="0" y="120000"/>
                      <a:pt x="15000" y="0"/>
                      <a:pt x="60000" y="24000"/>
                    </a:cubicBezTo>
                    <a:cubicBezTo>
                      <a:pt x="120000" y="48000"/>
                      <a:pt x="90000" y="96000"/>
                      <a:pt x="45000" y="120000"/>
                    </a:cubicBezTo>
                    <a:cubicBezTo>
                      <a:pt x="15000" y="120000"/>
                      <a:pt x="75000" y="120000"/>
                      <a:pt x="45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 name="Shape 2291">
                <a:extLst>
                  <a:ext uri="{FF2B5EF4-FFF2-40B4-BE49-F238E27FC236}">
                    <a16:creationId xmlns:a16="http://schemas.microsoft.com/office/drawing/2014/main" id="{9FFC3AF0-2690-455A-B30E-DE34B952CD6C}"/>
                  </a:ext>
                </a:extLst>
              </p:cNvPr>
              <p:cNvSpPr/>
              <p:nvPr/>
            </p:nvSpPr>
            <p:spPr>
              <a:xfrm>
                <a:off x="17437074" y="5317115"/>
                <a:ext cx="25862" cy="43118"/>
              </a:xfrm>
              <a:custGeom>
                <a:avLst/>
                <a:gdLst/>
                <a:ahLst/>
                <a:cxnLst/>
                <a:rect l="0" t="0" r="0" b="0"/>
                <a:pathLst>
                  <a:path w="120000" h="120000" extrusionOk="0">
                    <a:moveTo>
                      <a:pt x="40000" y="72000"/>
                    </a:moveTo>
                    <a:cubicBezTo>
                      <a:pt x="0" y="48000"/>
                      <a:pt x="80000" y="0"/>
                      <a:pt x="120000" y="24000"/>
                    </a:cubicBezTo>
                    <a:cubicBezTo>
                      <a:pt x="120000" y="48000"/>
                      <a:pt x="80000" y="120000"/>
                      <a:pt x="40000" y="120000"/>
                    </a:cubicBezTo>
                    <a:cubicBezTo>
                      <a:pt x="40000" y="120000"/>
                      <a:pt x="40000" y="72000"/>
                      <a:pt x="40000" y="72000"/>
                    </a:cubicBezTo>
                    <a:cubicBezTo>
                      <a:pt x="0" y="48000"/>
                      <a:pt x="40000" y="72000"/>
                      <a:pt x="40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 name="Shape 2292">
                <a:extLst>
                  <a:ext uri="{FF2B5EF4-FFF2-40B4-BE49-F238E27FC236}">
                    <a16:creationId xmlns:a16="http://schemas.microsoft.com/office/drawing/2014/main" id="{DF18DA54-A061-447F-947F-E7FECB89C87F}"/>
                  </a:ext>
                </a:extLst>
              </p:cNvPr>
              <p:cNvSpPr/>
              <p:nvPr/>
            </p:nvSpPr>
            <p:spPr>
              <a:xfrm>
                <a:off x="17437074" y="5443588"/>
                <a:ext cx="34484" cy="43118"/>
              </a:xfrm>
              <a:custGeom>
                <a:avLst/>
                <a:gdLst/>
                <a:ahLst/>
                <a:cxnLst/>
                <a:rect l="0" t="0" r="0" b="0"/>
                <a:pathLst>
                  <a:path w="120000" h="120000" extrusionOk="0">
                    <a:moveTo>
                      <a:pt x="120000" y="96000"/>
                    </a:moveTo>
                    <a:cubicBezTo>
                      <a:pt x="120000" y="72000"/>
                      <a:pt x="30000" y="0"/>
                      <a:pt x="0" y="24000"/>
                    </a:cubicBezTo>
                    <a:cubicBezTo>
                      <a:pt x="0" y="24000"/>
                      <a:pt x="90000" y="120000"/>
                      <a:pt x="120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 name="Shape 2293">
                <a:extLst>
                  <a:ext uri="{FF2B5EF4-FFF2-40B4-BE49-F238E27FC236}">
                    <a16:creationId xmlns:a16="http://schemas.microsoft.com/office/drawing/2014/main" id="{7D0D0674-BE4E-4892-8E47-73ACB4A08C66}"/>
                  </a:ext>
                </a:extLst>
              </p:cNvPr>
              <p:cNvSpPr/>
              <p:nvPr/>
            </p:nvSpPr>
            <p:spPr>
              <a:xfrm>
                <a:off x="17494549" y="5285498"/>
                <a:ext cx="356335" cy="135097"/>
              </a:xfrm>
              <a:custGeom>
                <a:avLst/>
                <a:gdLst/>
                <a:ahLst/>
                <a:cxnLst/>
                <a:rect l="0" t="0" r="0" b="0"/>
                <a:pathLst>
                  <a:path w="120000" h="120000" extrusionOk="0">
                    <a:moveTo>
                      <a:pt x="97142" y="30000"/>
                    </a:moveTo>
                    <a:cubicBezTo>
                      <a:pt x="91428" y="22500"/>
                      <a:pt x="88571" y="30000"/>
                      <a:pt x="82857" y="22500"/>
                    </a:cubicBezTo>
                    <a:cubicBezTo>
                      <a:pt x="82857" y="22500"/>
                      <a:pt x="68571" y="0"/>
                      <a:pt x="65714" y="0"/>
                    </a:cubicBezTo>
                    <a:cubicBezTo>
                      <a:pt x="65714" y="0"/>
                      <a:pt x="68571" y="7500"/>
                      <a:pt x="62857" y="15000"/>
                    </a:cubicBezTo>
                    <a:cubicBezTo>
                      <a:pt x="57142" y="15000"/>
                      <a:pt x="62857" y="37500"/>
                      <a:pt x="57142" y="45000"/>
                    </a:cubicBezTo>
                    <a:cubicBezTo>
                      <a:pt x="54285" y="45000"/>
                      <a:pt x="34285" y="7500"/>
                      <a:pt x="31428" y="7500"/>
                    </a:cubicBezTo>
                    <a:cubicBezTo>
                      <a:pt x="25714" y="0"/>
                      <a:pt x="11428" y="7500"/>
                      <a:pt x="11428" y="22500"/>
                    </a:cubicBezTo>
                    <a:cubicBezTo>
                      <a:pt x="11428" y="37500"/>
                      <a:pt x="0" y="30000"/>
                      <a:pt x="5714" y="45000"/>
                    </a:cubicBezTo>
                    <a:cubicBezTo>
                      <a:pt x="8571" y="52500"/>
                      <a:pt x="0" y="67500"/>
                      <a:pt x="2857" y="75000"/>
                    </a:cubicBezTo>
                    <a:cubicBezTo>
                      <a:pt x="8571" y="90000"/>
                      <a:pt x="17142" y="97500"/>
                      <a:pt x="25714" y="105000"/>
                    </a:cubicBezTo>
                    <a:cubicBezTo>
                      <a:pt x="28571" y="112500"/>
                      <a:pt x="34285" y="120000"/>
                      <a:pt x="37142" y="112500"/>
                    </a:cubicBezTo>
                    <a:cubicBezTo>
                      <a:pt x="40000" y="112500"/>
                      <a:pt x="40000" y="90000"/>
                      <a:pt x="42857" y="97500"/>
                    </a:cubicBezTo>
                    <a:cubicBezTo>
                      <a:pt x="42857" y="97500"/>
                      <a:pt x="42857" y="105000"/>
                      <a:pt x="45714" y="105000"/>
                    </a:cubicBezTo>
                    <a:cubicBezTo>
                      <a:pt x="48571" y="105000"/>
                      <a:pt x="51428" y="105000"/>
                      <a:pt x="51428" y="105000"/>
                    </a:cubicBezTo>
                    <a:cubicBezTo>
                      <a:pt x="57142" y="97500"/>
                      <a:pt x="62857" y="97500"/>
                      <a:pt x="71428" y="90000"/>
                    </a:cubicBezTo>
                    <a:cubicBezTo>
                      <a:pt x="77142" y="90000"/>
                      <a:pt x="77142" y="105000"/>
                      <a:pt x="80000" y="105000"/>
                    </a:cubicBezTo>
                    <a:cubicBezTo>
                      <a:pt x="82857" y="105000"/>
                      <a:pt x="97142" y="97500"/>
                      <a:pt x="97142" y="97500"/>
                    </a:cubicBezTo>
                    <a:cubicBezTo>
                      <a:pt x="97142" y="97500"/>
                      <a:pt x="94285" y="90000"/>
                      <a:pt x="94285" y="90000"/>
                    </a:cubicBezTo>
                    <a:cubicBezTo>
                      <a:pt x="94285" y="82500"/>
                      <a:pt x="102857" y="90000"/>
                      <a:pt x="105714" y="90000"/>
                    </a:cubicBezTo>
                    <a:cubicBezTo>
                      <a:pt x="105714" y="90000"/>
                      <a:pt x="111428" y="90000"/>
                      <a:pt x="111428" y="82500"/>
                    </a:cubicBezTo>
                    <a:cubicBezTo>
                      <a:pt x="111428" y="75000"/>
                      <a:pt x="114285" y="67500"/>
                      <a:pt x="114285" y="67500"/>
                    </a:cubicBezTo>
                    <a:cubicBezTo>
                      <a:pt x="114285" y="67500"/>
                      <a:pt x="114285" y="67500"/>
                      <a:pt x="111428" y="67500"/>
                    </a:cubicBezTo>
                    <a:cubicBezTo>
                      <a:pt x="111428" y="60000"/>
                      <a:pt x="120000" y="52500"/>
                      <a:pt x="120000" y="45000"/>
                    </a:cubicBezTo>
                    <a:cubicBezTo>
                      <a:pt x="117142" y="37500"/>
                      <a:pt x="102857" y="30000"/>
                      <a:pt x="97142" y="30000"/>
                    </a:cubicBezTo>
                    <a:cubicBezTo>
                      <a:pt x="91428" y="22500"/>
                      <a:pt x="102857" y="30000"/>
                      <a:pt x="97142" y="3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 name="Shape 2294">
                <a:extLst>
                  <a:ext uri="{FF2B5EF4-FFF2-40B4-BE49-F238E27FC236}">
                    <a16:creationId xmlns:a16="http://schemas.microsoft.com/office/drawing/2014/main" id="{3DE812B7-D95F-469C-9BB1-AB5F5682C998}"/>
                  </a:ext>
                </a:extLst>
              </p:cNvPr>
              <p:cNvSpPr/>
              <p:nvPr/>
            </p:nvSpPr>
            <p:spPr>
              <a:xfrm>
                <a:off x="17698582" y="5325739"/>
                <a:ext cx="66093" cy="68984"/>
              </a:xfrm>
              <a:custGeom>
                <a:avLst/>
                <a:gdLst/>
                <a:ahLst/>
                <a:cxnLst/>
                <a:rect l="0" t="0" r="0" b="0"/>
                <a:pathLst>
                  <a:path w="120000" h="120000" extrusionOk="0">
                    <a:moveTo>
                      <a:pt x="105000" y="90000"/>
                    </a:moveTo>
                    <a:cubicBezTo>
                      <a:pt x="90000" y="105000"/>
                      <a:pt x="0" y="15000"/>
                      <a:pt x="60000" y="0"/>
                    </a:cubicBezTo>
                    <a:cubicBezTo>
                      <a:pt x="75000" y="0"/>
                      <a:pt x="120000" y="0"/>
                      <a:pt x="90000" y="30000"/>
                    </a:cubicBezTo>
                    <a:cubicBezTo>
                      <a:pt x="45000" y="60000"/>
                      <a:pt x="105000" y="60000"/>
                      <a:pt x="105000" y="90000"/>
                    </a:cubicBezTo>
                    <a:cubicBezTo>
                      <a:pt x="90000" y="120000"/>
                      <a:pt x="105000" y="75000"/>
                      <a:pt x="1050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 name="Shape 2295">
                <a:extLst>
                  <a:ext uri="{FF2B5EF4-FFF2-40B4-BE49-F238E27FC236}">
                    <a16:creationId xmlns:a16="http://schemas.microsoft.com/office/drawing/2014/main" id="{F5764F0B-0DF0-47DF-A72D-C98D4F349051}"/>
                  </a:ext>
                </a:extLst>
              </p:cNvPr>
              <p:cNvSpPr/>
              <p:nvPr/>
            </p:nvSpPr>
            <p:spPr>
              <a:xfrm>
                <a:off x="18802073" y="5782771"/>
                <a:ext cx="91956" cy="51738"/>
              </a:xfrm>
              <a:custGeom>
                <a:avLst/>
                <a:gdLst/>
                <a:ahLst/>
                <a:cxnLst/>
                <a:rect l="0" t="0" r="0" b="0"/>
                <a:pathLst>
                  <a:path w="120000" h="120000" extrusionOk="0">
                    <a:moveTo>
                      <a:pt x="32727" y="80000"/>
                    </a:moveTo>
                    <a:cubicBezTo>
                      <a:pt x="10909" y="60000"/>
                      <a:pt x="0" y="60000"/>
                      <a:pt x="10909" y="20000"/>
                    </a:cubicBezTo>
                    <a:cubicBezTo>
                      <a:pt x="21818" y="0"/>
                      <a:pt x="43636" y="20000"/>
                      <a:pt x="65454" y="20000"/>
                    </a:cubicBezTo>
                    <a:cubicBezTo>
                      <a:pt x="120000" y="40000"/>
                      <a:pt x="65454" y="120000"/>
                      <a:pt x="32727" y="80000"/>
                    </a:cubicBezTo>
                    <a:cubicBezTo>
                      <a:pt x="21818" y="60000"/>
                      <a:pt x="43636" y="100000"/>
                      <a:pt x="32727"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 name="Shape 2296">
                <a:extLst>
                  <a:ext uri="{FF2B5EF4-FFF2-40B4-BE49-F238E27FC236}">
                    <a16:creationId xmlns:a16="http://schemas.microsoft.com/office/drawing/2014/main" id="{645E736E-14E6-4F2B-BD19-CA42EBD9EA65}"/>
                  </a:ext>
                </a:extLst>
              </p:cNvPr>
              <p:cNvSpPr/>
              <p:nvPr/>
            </p:nvSpPr>
            <p:spPr>
              <a:xfrm>
                <a:off x="18623902" y="6524375"/>
                <a:ext cx="51724" cy="43118"/>
              </a:xfrm>
              <a:custGeom>
                <a:avLst/>
                <a:gdLst/>
                <a:ahLst/>
                <a:cxnLst/>
                <a:rect l="0" t="0" r="0" b="0"/>
                <a:pathLst>
                  <a:path w="120000" h="120000" extrusionOk="0">
                    <a:moveTo>
                      <a:pt x="100000" y="48000"/>
                    </a:moveTo>
                    <a:cubicBezTo>
                      <a:pt x="120000" y="48000"/>
                      <a:pt x="100000" y="24000"/>
                      <a:pt x="100000" y="24000"/>
                    </a:cubicBezTo>
                    <a:cubicBezTo>
                      <a:pt x="80000" y="0"/>
                      <a:pt x="60000" y="24000"/>
                      <a:pt x="40000" y="24000"/>
                    </a:cubicBezTo>
                    <a:cubicBezTo>
                      <a:pt x="20000" y="24000"/>
                      <a:pt x="0" y="48000"/>
                      <a:pt x="20000" y="72000"/>
                    </a:cubicBezTo>
                    <a:cubicBezTo>
                      <a:pt x="20000" y="72000"/>
                      <a:pt x="0" y="120000"/>
                      <a:pt x="0" y="96000"/>
                    </a:cubicBezTo>
                    <a:cubicBezTo>
                      <a:pt x="0" y="96000"/>
                      <a:pt x="100000" y="48000"/>
                      <a:pt x="100000" y="48000"/>
                    </a:cubicBezTo>
                    <a:cubicBezTo>
                      <a:pt x="120000" y="48000"/>
                      <a:pt x="60000" y="72000"/>
                      <a:pt x="100000" y="4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 name="Shape 2297">
                <a:extLst>
                  <a:ext uri="{FF2B5EF4-FFF2-40B4-BE49-F238E27FC236}">
                    <a16:creationId xmlns:a16="http://schemas.microsoft.com/office/drawing/2014/main" id="{A4AA805A-09C7-4D8E-97FE-5839C9E23BD1}"/>
                  </a:ext>
                </a:extLst>
              </p:cNvPr>
              <p:cNvSpPr/>
              <p:nvPr/>
            </p:nvSpPr>
            <p:spPr>
              <a:xfrm>
                <a:off x="17503169" y="6771575"/>
                <a:ext cx="43104" cy="22995"/>
              </a:xfrm>
              <a:custGeom>
                <a:avLst/>
                <a:gdLst/>
                <a:ahLst/>
                <a:cxnLst/>
                <a:rect l="0" t="0" r="0" b="0"/>
                <a:pathLst>
                  <a:path w="120000" h="120000" extrusionOk="0">
                    <a:moveTo>
                      <a:pt x="72000" y="120000"/>
                    </a:moveTo>
                    <a:cubicBezTo>
                      <a:pt x="24000" y="120000"/>
                      <a:pt x="0" y="40000"/>
                      <a:pt x="72000" y="0"/>
                    </a:cubicBezTo>
                    <a:cubicBezTo>
                      <a:pt x="120000" y="0"/>
                      <a:pt x="96000" y="120000"/>
                      <a:pt x="72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 name="Shape 2298">
                <a:extLst>
                  <a:ext uri="{FF2B5EF4-FFF2-40B4-BE49-F238E27FC236}">
                    <a16:creationId xmlns:a16="http://schemas.microsoft.com/office/drawing/2014/main" id="{907B1946-614F-4A05-B473-FD30E4A58369}"/>
                  </a:ext>
                </a:extLst>
              </p:cNvPr>
              <p:cNvSpPr/>
              <p:nvPr/>
            </p:nvSpPr>
            <p:spPr>
              <a:xfrm>
                <a:off x="18261818" y="7024524"/>
                <a:ext cx="43104" cy="40242"/>
              </a:xfrm>
              <a:custGeom>
                <a:avLst/>
                <a:gdLst/>
                <a:ahLst/>
                <a:cxnLst/>
                <a:rect l="0" t="0" r="0" b="0"/>
                <a:pathLst>
                  <a:path w="120000" h="120000" extrusionOk="0">
                    <a:moveTo>
                      <a:pt x="120000" y="24000"/>
                    </a:moveTo>
                    <a:cubicBezTo>
                      <a:pt x="120000" y="24000"/>
                      <a:pt x="0" y="120000"/>
                      <a:pt x="24000" y="120000"/>
                    </a:cubicBezTo>
                    <a:cubicBezTo>
                      <a:pt x="48000" y="120000"/>
                      <a:pt x="96000" y="72000"/>
                      <a:pt x="96000" y="72000"/>
                    </a:cubicBezTo>
                    <a:cubicBezTo>
                      <a:pt x="120000" y="48000"/>
                      <a:pt x="120000" y="0"/>
                      <a:pt x="120000" y="2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2" name="Shape 2299">
                <a:extLst>
                  <a:ext uri="{FF2B5EF4-FFF2-40B4-BE49-F238E27FC236}">
                    <a16:creationId xmlns:a16="http://schemas.microsoft.com/office/drawing/2014/main" id="{7350D717-397A-4C8E-BF04-0BCDC0A1AFA5}"/>
                  </a:ext>
                </a:extLst>
              </p:cNvPr>
              <p:cNvSpPr/>
              <p:nvPr/>
            </p:nvSpPr>
            <p:spPr>
              <a:xfrm>
                <a:off x="18235957" y="7090634"/>
                <a:ext cx="17242" cy="8622"/>
              </a:xfrm>
              <a:custGeom>
                <a:avLst/>
                <a:gdLst/>
                <a:ahLst/>
                <a:cxnLst/>
                <a:rect l="0" t="0" r="0" b="0"/>
                <a:pathLst>
                  <a:path w="120000" h="120000" extrusionOk="0">
                    <a:moveTo>
                      <a:pt x="60000" y="0"/>
                    </a:moveTo>
                    <a:cubicBezTo>
                      <a:pt x="60000" y="0"/>
                      <a:pt x="0" y="120000"/>
                      <a:pt x="60000" y="120000"/>
                    </a:cubicBezTo>
                    <a:cubicBezTo>
                      <a:pt x="60000" y="120000"/>
                      <a:pt x="120000" y="0"/>
                      <a:pt x="6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3" name="Shape 2300">
                <a:extLst>
                  <a:ext uri="{FF2B5EF4-FFF2-40B4-BE49-F238E27FC236}">
                    <a16:creationId xmlns:a16="http://schemas.microsoft.com/office/drawing/2014/main" id="{A87A42CC-7EEE-4DFE-9973-B1C7F008D213}"/>
                  </a:ext>
                </a:extLst>
              </p:cNvPr>
              <p:cNvSpPr/>
              <p:nvPr/>
            </p:nvSpPr>
            <p:spPr>
              <a:xfrm>
                <a:off x="18118137" y="7225733"/>
                <a:ext cx="25862" cy="8622"/>
              </a:xfrm>
              <a:custGeom>
                <a:avLst/>
                <a:gdLst/>
                <a:ahLst/>
                <a:cxnLst/>
                <a:rect l="0" t="0" r="0" b="0"/>
                <a:pathLst>
                  <a:path w="120000" h="120000" extrusionOk="0">
                    <a:moveTo>
                      <a:pt x="80000" y="0"/>
                    </a:moveTo>
                    <a:cubicBezTo>
                      <a:pt x="80000" y="0"/>
                      <a:pt x="0" y="120000"/>
                      <a:pt x="40000" y="120000"/>
                    </a:cubicBezTo>
                    <a:cubicBezTo>
                      <a:pt x="40000" y="120000"/>
                      <a:pt x="120000" y="0"/>
                      <a:pt x="8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4" name="Shape 2301">
                <a:extLst>
                  <a:ext uri="{FF2B5EF4-FFF2-40B4-BE49-F238E27FC236}">
                    <a16:creationId xmlns:a16="http://schemas.microsoft.com/office/drawing/2014/main" id="{E27B2B71-8380-4DA0-9680-E310E052778F}"/>
                  </a:ext>
                </a:extLst>
              </p:cNvPr>
              <p:cNvSpPr/>
              <p:nvPr/>
            </p:nvSpPr>
            <p:spPr>
              <a:xfrm>
                <a:off x="18017557" y="7268849"/>
                <a:ext cx="60346" cy="34493"/>
              </a:xfrm>
              <a:custGeom>
                <a:avLst/>
                <a:gdLst/>
                <a:ahLst/>
                <a:cxnLst/>
                <a:rect l="0" t="0" r="0" b="0"/>
                <a:pathLst>
                  <a:path w="120000" h="120000" extrusionOk="0">
                    <a:moveTo>
                      <a:pt x="102857" y="0"/>
                    </a:moveTo>
                    <a:cubicBezTo>
                      <a:pt x="85714" y="0"/>
                      <a:pt x="0" y="60000"/>
                      <a:pt x="17142" y="90000"/>
                    </a:cubicBezTo>
                    <a:cubicBezTo>
                      <a:pt x="34285" y="120000"/>
                      <a:pt x="119999" y="0"/>
                      <a:pt x="102857"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5" name="Shape 2302">
                <a:extLst>
                  <a:ext uri="{FF2B5EF4-FFF2-40B4-BE49-F238E27FC236}">
                    <a16:creationId xmlns:a16="http://schemas.microsoft.com/office/drawing/2014/main" id="{07AE028C-5EB3-4BC7-83D9-BC85FBEADA28}"/>
                  </a:ext>
                </a:extLst>
              </p:cNvPr>
              <p:cNvSpPr/>
              <p:nvPr/>
            </p:nvSpPr>
            <p:spPr>
              <a:xfrm>
                <a:off x="17951463" y="7303343"/>
                <a:ext cx="48851" cy="31619"/>
              </a:xfrm>
              <a:custGeom>
                <a:avLst/>
                <a:gdLst/>
                <a:ahLst/>
                <a:cxnLst/>
                <a:rect l="0" t="0" r="0" b="0"/>
                <a:pathLst>
                  <a:path w="120000" h="120000" extrusionOk="0">
                    <a:moveTo>
                      <a:pt x="100000" y="0"/>
                    </a:moveTo>
                    <a:cubicBezTo>
                      <a:pt x="100000" y="0"/>
                      <a:pt x="0" y="60000"/>
                      <a:pt x="20000" y="90000"/>
                    </a:cubicBezTo>
                    <a:cubicBezTo>
                      <a:pt x="40000" y="120000"/>
                      <a:pt x="100000" y="0"/>
                      <a:pt x="100000" y="0"/>
                    </a:cubicBezTo>
                    <a:cubicBezTo>
                      <a:pt x="100000" y="0"/>
                      <a:pt x="120000" y="0"/>
                      <a:pt x="10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6" name="Shape 2303">
                <a:extLst>
                  <a:ext uri="{FF2B5EF4-FFF2-40B4-BE49-F238E27FC236}">
                    <a16:creationId xmlns:a16="http://schemas.microsoft.com/office/drawing/2014/main" id="{A2406139-41F9-48F0-8563-D20168DF2DE4}"/>
                  </a:ext>
                </a:extLst>
              </p:cNvPr>
              <p:cNvSpPr/>
              <p:nvPr/>
            </p:nvSpPr>
            <p:spPr>
              <a:xfrm>
                <a:off x="17908359" y="7329211"/>
                <a:ext cx="43104" cy="40242"/>
              </a:xfrm>
              <a:custGeom>
                <a:avLst/>
                <a:gdLst/>
                <a:ahLst/>
                <a:cxnLst/>
                <a:rect l="0" t="0" r="0" b="0"/>
                <a:pathLst>
                  <a:path w="120000" h="120000" extrusionOk="0">
                    <a:moveTo>
                      <a:pt x="96000" y="0"/>
                    </a:moveTo>
                    <a:cubicBezTo>
                      <a:pt x="96000" y="0"/>
                      <a:pt x="0" y="96000"/>
                      <a:pt x="0" y="96000"/>
                    </a:cubicBezTo>
                    <a:cubicBezTo>
                      <a:pt x="48000" y="120000"/>
                      <a:pt x="96000" y="0"/>
                      <a:pt x="96000" y="0"/>
                    </a:cubicBezTo>
                    <a:cubicBezTo>
                      <a:pt x="96000" y="0"/>
                      <a:pt x="120000" y="0"/>
                      <a:pt x="96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7" name="Shape 2304">
                <a:extLst>
                  <a:ext uri="{FF2B5EF4-FFF2-40B4-BE49-F238E27FC236}">
                    <a16:creationId xmlns:a16="http://schemas.microsoft.com/office/drawing/2014/main" id="{FA0E8439-8299-4B84-8AB9-F9A2D127E23C}"/>
                  </a:ext>
                </a:extLst>
              </p:cNvPr>
              <p:cNvSpPr/>
              <p:nvPr/>
            </p:nvSpPr>
            <p:spPr>
              <a:xfrm>
                <a:off x="17899735" y="7386700"/>
                <a:ext cx="8620" cy="8622"/>
              </a:xfrm>
              <a:custGeom>
                <a:avLst/>
                <a:gdLst/>
                <a:ahLst/>
                <a:cxnLst/>
                <a:rect l="0" t="0" r="0" b="0"/>
                <a:pathLst>
                  <a:path w="120000" h="120000" extrusionOk="0">
                    <a:moveTo>
                      <a:pt x="120000" y="0"/>
                    </a:moveTo>
                    <a:cubicBezTo>
                      <a:pt x="0" y="0"/>
                      <a:pt x="0" y="120000"/>
                      <a:pt x="120000" y="120000"/>
                    </a:cubicBezTo>
                    <a:cubicBezTo>
                      <a:pt x="120000" y="12000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8" name="Shape 2305">
                <a:extLst>
                  <a:ext uri="{FF2B5EF4-FFF2-40B4-BE49-F238E27FC236}">
                    <a16:creationId xmlns:a16="http://schemas.microsoft.com/office/drawing/2014/main" id="{AB28796A-2A68-45AE-BF13-62F8BC026403}"/>
                  </a:ext>
                </a:extLst>
              </p:cNvPr>
              <p:cNvSpPr/>
              <p:nvPr/>
            </p:nvSpPr>
            <p:spPr>
              <a:xfrm>
                <a:off x="17856631" y="7352207"/>
                <a:ext cx="43104" cy="34493"/>
              </a:xfrm>
              <a:custGeom>
                <a:avLst/>
                <a:gdLst/>
                <a:ahLst/>
                <a:cxnLst/>
                <a:rect l="0" t="0" r="0" b="0"/>
                <a:pathLst>
                  <a:path w="120000" h="120000" extrusionOk="0">
                    <a:moveTo>
                      <a:pt x="96000" y="30000"/>
                    </a:moveTo>
                    <a:cubicBezTo>
                      <a:pt x="48000" y="60000"/>
                      <a:pt x="0" y="90000"/>
                      <a:pt x="0" y="120000"/>
                    </a:cubicBezTo>
                    <a:cubicBezTo>
                      <a:pt x="0" y="120000"/>
                      <a:pt x="96000" y="30000"/>
                      <a:pt x="96000" y="30000"/>
                    </a:cubicBezTo>
                    <a:cubicBezTo>
                      <a:pt x="72000" y="30000"/>
                      <a:pt x="120000" y="0"/>
                      <a:pt x="96000" y="3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9" name="Shape 2306">
                <a:extLst>
                  <a:ext uri="{FF2B5EF4-FFF2-40B4-BE49-F238E27FC236}">
                    <a16:creationId xmlns:a16="http://schemas.microsoft.com/office/drawing/2014/main" id="{31F7F009-A25B-4C99-AF68-2A96DDA0AB01}"/>
                  </a:ext>
                </a:extLst>
              </p:cNvPr>
              <p:cNvSpPr/>
              <p:nvPr/>
            </p:nvSpPr>
            <p:spPr>
              <a:xfrm>
                <a:off x="17546273" y="7665520"/>
                <a:ext cx="17242" cy="25869"/>
              </a:xfrm>
              <a:custGeom>
                <a:avLst/>
                <a:gdLst/>
                <a:ahLst/>
                <a:cxnLst/>
                <a:rect l="0" t="0" r="0" b="0"/>
                <a:pathLst>
                  <a:path w="120000" h="120000" extrusionOk="0">
                    <a:moveTo>
                      <a:pt x="60000" y="0"/>
                    </a:moveTo>
                    <a:cubicBezTo>
                      <a:pt x="60000" y="0"/>
                      <a:pt x="0" y="120000"/>
                      <a:pt x="60000" y="120000"/>
                    </a:cubicBezTo>
                    <a:cubicBezTo>
                      <a:pt x="120000" y="120000"/>
                      <a:pt x="120000" y="0"/>
                      <a:pt x="6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grpSp>
            <p:nvGrpSpPr>
              <p:cNvPr id="50" name="Shape 2307">
                <a:extLst>
                  <a:ext uri="{FF2B5EF4-FFF2-40B4-BE49-F238E27FC236}">
                    <a16:creationId xmlns:a16="http://schemas.microsoft.com/office/drawing/2014/main" id="{ED79CD0C-27AF-4D82-A8A7-285471116603}"/>
                  </a:ext>
                </a:extLst>
              </p:cNvPr>
              <p:cNvGrpSpPr/>
              <p:nvPr/>
            </p:nvGrpSpPr>
            <p:grpSpPr>
              <a:xfrm>
                <a:off x="17235899" y="7303342"/>
                <a:ext cx="629330" cy="597880"/>
                <a:chOff x="5961121" y="2686386"/>
                <a:chExt cx="288232" cy="273757"/>
              </a:xfrm>
              <a:grpFill/>
            </p:grpSpPr>
            <p:sp>
              <p:nvSpPr>
                <p:cNvPr id="423" name="Shape 2308">
                  <a:extLst>
                    <a:ext uri="{FF2B5EF4-FFF2-40B4-BE49-F238E27FC236}">
                      <a16:creationId xmlns:a16="http://schemas.microsoft.com/office/drawing/2014/main" id="{575334B7-6338-4202-B1C7-ED56CAD890A3}"/>
                    </a:ext>
                  </a:extLst>
                </p:cNvPr>
                <p:cNvSpPr/>
                <p:nvPr/>
              </p:nvSpPr>
              <p:spPr>
                <a:xfrm>
                  <a:off x="6130901" y="2686386"/>
                  <a:ext cx="118452" cy="100026"/>
                </a:xfrm>
                <a:custGeom>
                  <a:avLst/>
                  <a:gdLst/>
                  <a:ahLst/>
                  <a:cxnLst/>
                  <a:rect l="0" t="0" r="0" b="0"/>
                  <a:pathLst>
                    <a:path w="120000" h="120000" extrusionOk="0">
                      <a:moveTo>
                        <a:pt x="108387" y="46153"/>
                      </a:moveTo>
                      <a:cubicBezTo>
                        <a:pt x="108387" y="46153"/>
                        <a:pt x="112258" y="36923"/>
                        <a:pt x="112258" y="32307"/>
                      </a:cubicBezTo>
                      <a:cubicBezTo>
                        <a:pt x="112258" y="36923"/>
                        <a:pt x="104516" y="46153"/>
                        <a:pt x="104516" y="46153"/>
                      </a:cubicBezTo>
                      <a:cubicBezTo>
                        <a:pt x="96774" y="46153"/>
                        <a:pt x="81290" y="41538"/>
                        <a:pt x="77419" y="36923"/>
                      </a:cubicBezTo>
                      <a:cubicBezTo>
                        <a:pt x="65806" y="32307"/>
                        <a:pt x="58064" y="9230"/>
                        <a:pt x="42580" y="4615"/>
                      </a:cubicBezTo>
                      <a:cubicBezTo>
                        <a:pt x="34838" y="0"/>
                        <a:pt x="38709" y="18461"/>
                        <a:pt x="42580" y="23076"/>
                      </a:cubicBezTo>
                      <a:cubicBezTo>
                        <a:pt x="42580" y="32307"/>
                        <a:pt x="38709" y="41538"/>
                        <a:pt x="34838" y="50769"/>
                      </a:cubicBezTo>
                      <a:cubicBezTo>
                        <a:pt x="30967" y="55384"/>
                        <a:pt x="38709" y="69230"/>
                        <a:pt x="27096" y="64615"/>
                      </a:cubicBezTo>
                      <a:cubicBezTo>
                        <a:pt x="27096" y="64615"/>
                        <a:pt x="19354" y="60000"/>
                        <a:pt x="15483" y="64615"/>
                      </a:cubicBezTo>
                      <a:cubicBezTo>
                        <a:pt x="15483" y="69230"/>
                        <a:pt x="19354" y="73846"/>
                        <a:pt x="19354" y="73846"/>
                      </a:cubicBezTo>
                      <a:cubicBezTo>
                        <a:pt x="19354" y="73846"/>
                        <a:pt x="7741" y="83076"/>
                        <a:pt x="3870" y="83076"/>
                      </a:cubicBezTo>
                      <a:cubicBezTo>
                        <a:pt x="0" y="92307"/>
                        <a:pt x="11612" y="96923"/>
                        <a:pt x="7741" y="106153"/>
                      </a:cubicBezTo>
                      <a:cubicBezTo>
                        <a:pt x="3870" y="110769"/>
                        <a:pt x="11612" y="120000"/>
                        <a:pt x="15483" y="115384"/>
                      </a:cubicBezTo>
                      <a:cubicBezTo>
                        <a:pt x="19354" y="110769"/>
                        <a:pt x="19354" y="106153"/>
                        <a:pt x="23225" y="106153"/>
                      </a:cubicBezTo>
                      <a:cubicBezTo>
                        <a:pt x="23225" y="106153"/>
                        <a:pt x="27096" y="110769"/>
                        <a:pt x="27096" y="106153"/>
                      </a:cubicBezTo>
                      <a:cubicBezTo>
                        <a:pt x="27096" y="101538"/>
                        <a:pt x="19354" y="96923"/>
                        <a:pt x="15483" y="92307"/>
                      </a:cubicBezTo>
                      <a:cubicBezTo>
                        <a:pt x="11612" y="83076"/>
                        <a:pt x="27096" y="87692"/>
                        <a:pt x="27096" y="87692"/>
                      </a:cubicBezTo>
                      <a:cubicBezTo>
                        <a:pt x="34838" y="87692"/>
                        <a:pt x="38709" y="78461"/>
                        <a:pt x="46451" y="83076"/>
                      </a:cubicBezTo>
                      <a:cubicBezTo>
                        <a:pt x="54193" y="87692"/>
                        <a:pt x="58064" y="92307"/>
                        <a:pt x="65806" y="96923"/>
                      </a:cubicBezTo>
                      <a:cubicBezTo>
                        <a:pt x="77419" y="106153"/>
                        <a:pt x="73548" y="78461"/>
                        <a:pt x="81290" y="73846"/>
                      </a:cubicBezTo>
                      <a:cubicBezTo>
                        <a:pt x="81290" y="73846"/>
                        <a:pt x="120000" y="73846"/>
                        <a:pt x="120000" y="64615"/>
                      </a:cubicBezTo>
                      <a:cubicBezTo>
                        <a:pt x="116129" y="60000"/>
                        <a:pt x="104516" y="69230"/>
                        <a:pt x="112258" y="55384"/>
                      </a:cubicBezTo>
                      <a:cubicBezTo>
                        <a:pt x="116129" y="50769"/>
                        <a:pt x="104516" y="55384"/>
                        <a:pt x="108387" y="46153"/>
                      </a:cubicBezTo>
                      <a:cubicBezTo>
                        <a:pt x="112258" y="32307"/>
                        <a:pt x="108387" y="50769"/>
                        <a:pt x="108387" y="4615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24" name="Shape 2309">
                  <a:extLst>
                    <a:ext uri="{FF2B5EF4-FFF2-40B4-BE49-F238E27FC236}">
                      <a16:creationId xmlns:a16="http://schemas.microsoft.com/office/drawing/2014/main" id="{7D21F150-2B68-4EBC-AB43-9BB40FB7479E}"/>
                    </a:ext>
                  </a:extLst>
                </p:cNvPr>
                <p:cNvSpPr/>
                <p:nvPr/>
              </p:nvSpPr>
              <p:spPr>
                <a:xfrm>
                  <a:off x="5961121" y="2778516"/>
                  <a:ext cx="215846" cy="181627"/>
                </a:xfrm>
                <a:custGeom>
                  <a:avLst/>
                  <a:gdLst/>
                  <a:ahLst/>
                  <a:cxnLst/>
                  <a:rect l="0" t="0" r="0" b="0"/>
                  <a:pathLst>
                    <a:path w="120000" h="120000" extrusionOk="0">
                      <a:moveTo>
                        <a:pt x="111428" y="2553"/>
                      </a:moveTo>
                      <a:cubicBezTo>
                        <a:pt x="109285" y="2553"/>
                        <a:pt x="109285" y="0"/>
                        <a:pt x="109285" y="2553"/>
                      </a:cubicBezTo>
                      <a:cubicBezTo>
                        <a:pt x="104999" y="5106"/>
                        <a:pt x="109285" y="5106"/>
                        <a:pt x="111428" y="7659"/>
                      </a:cubicBezTo>
                      <a:cubicBezTo>
                        <a:pt x="113571" y="10212"/>
                        <a:pt x="107142" y="12765"/>
                        <a:pt x="104999" y="7659"/>
                      </a:cubicBezTo>
                      <a:cubicBezTo>
                        <a:pt x="102857" y="2553"/>
                        <a:pt x="100714" y="10212"/>
                        <a:pt x="100714" y="12765"/>
                      </a:cubicBezTo>
                      <a:cubicBezTo>
                        <a:pt x="98571" y="12765"/>
                        <a:pt x="96428" y="15319"/>
                        <a:pt x="96428" y="15319"/>
                      </a:cubicBezTo>
                      <a:cubicBezTo>
                        <a:pt x="96428" y="20425"/>
                        <a:pt x="98571" y="17872"/>
                        <a:pt x="98571" y="17872"/>
                      </a:cubicBezTo>
                      <a:cubicBezTo>
                        <a:pt x="98571" y="20425"/>
                        <a:pt x="98571" y="22978"/>
                        <a:pt x="98571" y="25531"/>
                      </a:cubicBezTo>
                      <a:cubicBezTo>
                        <a:pt x="98571" y="28085"/>
                        <a:pt x="100714" y="28085"/>
                        <a:pt x="98571" y="33191"/>
                      </a:cubicBezTo>
                      <a:cubicBezTo>
                        <a:pt x="94285" y="40851"/>
                        <a:pt x="92142" y="48510"/>
                        <a:pt x="87857" y="56170"/>
                      </a:cubicBezTo>
                      <a:cubicBezTo>
                        <a:pt x="85714" y="58723"/>
                        <a:pt x="79285" y="68936"/>
                        <a:pt x="77142" y="68936"/>
                      </a:cubicBezTo>
                      <a:cubicBezTo>
                        <a:pt x="72857" y="68936"/>
                        <a:pt x="68571" y="71489"/>
                        <a:pt x="66428" y="68936"/>
                      </a:cubicBezTo>
                      <a:cubicBezTo>
                        <a:pt x="64285" y="66382"/>
                        <a:pt x="68571" y="63829"/>
                        <a:pt x="68571" y="61276"/>
                      </a:cubicBezTo>
                      <a:cubicBezTo>
                        <a:pt x="70714" y="58723"/>
                        <a:pt x="64285" y="63829"/>
                        <a:pt x="64285" y="63829"/>
                      </a:cubicBezTo>
                      <a:cubicBezTo>
                        <a:pt x="62142" y="66382"/>
                        <a:pt x="62142" y="66382"/>
                        <a:pt x="62142" y="68936"/>
                      </a:cubicBezTo>
                      <a:cubicBezTo>
                        <a:pt x="62142" y="76595"/>
                        <a:pt x="55714" y="79148"/>
                        <a:pt x="53571" y="84255"/>
                      </a:cubicBezTo>
                      <a:cubicBezTo>
                        <a:pt x="53571" y="84255"/>
                        <a:pt x="53571" y="86808"/>
                        <a:pt x="53571" y="86808"/>
                      </a:cubicBezTo>
                      <a:cubicBezTo>
                        <a:pt x="53571" y="89361"/>
                        <a:pt x="49285" y="91914"/>
                        <a:pt x="49285" y="91914"/>
                      </a:cubicBezTo>
                      <a:cubicBezTo>
                        <a:pt x="47142" y="91914"/>
                        <a:pt x="49285" y="89361"/>
                        <a:pt x="44999" y="89361"/>
                      </a:cubicBezTo>
                      <a:cubicBezTo>
                        <a:pt x="42857" y="89361"/>
                        <a:pt x="40714" y="89361"/>
                        <a:pt x="36428" y="89361"/>
                      </a:cubicBezTo>
                      <a:cubicBezTo>
                        <a:pt x="29999" y="91914"/>
                        <a:pt x="25714" y="89361"/>
                        <a:pt x="19285" y="91914"/>
                      </a:cubicBezTo>
                      <a:cubicBezTo>
                        <a:pt x="14999" y="97021"/>
                        <a:pt x="8571" y="102127"/>
                        <a:pt x="4285" y="107234"/>
                      </a:cubicBezTo>
                      <a:cubicBezTo>
                        <a:pt x="0" y="107234"/>
                        <a:pt x="0" y="114893"/>
                        <a:pt x="2142" y="112340"/>
                      </a:cubicBezTo>
                      <a:cubicBezTo>
                        <a:pt x="4285" y="112340"/>
                        <a:pt x="4285" y="109787"/>
                        <a:pt x="6428" y="109787"/>
                      </a:cubicBezTo>
                      <a:cubicBezTo>
                        <a:pt x="8571" y="112340"/>
                        <a:pt x="10714" y="114893"/>
                        <a:pt x="10714" y="112340"/>
                      </a:cubicBezTo>
                      <a:cubicBezTo>
                        <a:pt x="21428" y="109787"/>
                        <a:pt x="36428" y="99574"/>
                        <a:pt x="47142" y="102127"/>
                      </a:cubicBezTo>
                      <a:cubicBezTo>
                        <a:pt x="49285" y="104680"/>
                        <a:pt x="44999" y="109787"/>
                        <a:pt x="44999" y="109787"/>
                      </a:cubicBezTo>
                      <a:cubicBezTo>
                        <a:pt x="47142" y="112340"/>
                        <a:pt x="49285" y="120000"/>
                        <a:pt x="51428" y="120000"/>
                      </a:cubicBezTo>
                      <a:cubicBezTo>
                        <a:pt x="53571" y="117446"/>
                        <a:pt x="55714" y="114893"/>
                        <a:pt x="57857" y="112340"/>
                      </a:cubicBezTo>
                      <a:cubicBezTo>
                        <a:pt x="59999" y="107234"/>
                        <a:pt x="59999" y="109787"/>
                        <a:pt x="64285" y="109787"/>
                      </a:cubicBezTo>
                      <a:cubicBezTo>
                        <a:pt x="62142" y="109787"/>
                        <a:pt x="59999" y="89361"/>
                        <a:pt x="66428" y="102127"/>
                      </a:cubicBezTo>
                      <a:cubicBezTo>
                        <a:pt x="68571" y="107234"/>
                        <a:pt x="79285" y="102127"/>
                        <a:pt x="81428" y="99574"/>
                      </a:cubicBezTo>
                      <a:cubicBezTo>
                        <a:pt x="85714" y="91914"/>
                        <a:pt x="85714" y="107234"/>
                        <a:pt x="87857" y="102127"/>
                      </a:cubicBezTo>
                      <a:cubicBezTo>
                        <a:pt x="87857" y="99574"/>
                        <a:pt x="89999" y="94468"/>
                        <a:pt x="92142" y="94468"/>
                      </a:cubicBezTo>
                      <a:cubicBezTo>
                        <a:pt x="94285" y="91914"/>
                        <a:pt x="94285" y="94468"/>
                        <a:pt x="96428" y="89361"/>
                      </a:cubicBezTo>
                      <a:cubicBezTo>
                        <a:pt x="96428" y="89361"/>
                        <a:pt x="96428" y="99574"/>
                        <a:pt x="98571" y="97021"/>
                      </a:cubicBezTo>
                      <a:cubicBezTo>
                        <a:pt x="98571" y="97021"/>
                        <a:pt x="100714" y="97021"/>
                        <a:pt x="102857" y="94468"/>
                      </a:cubicBezTo>
                      <a:cubicBezTo>
                        <a:pt x="104999" y="94468"/>
                        <a:pt x="102857" y="91914"/>
                        <a:pt x="104999" y="89361"/>
                      </a:cubicBezTo>
                      <a:cubicBezTo>
                        <a:pt x="109285" y="86808"/>
                        <a:pt x="109285" y="86808"/>
                        <a:pt x="104999" y="81702"/>
                      </a:cubicBezTo>
                      <a:cubicBezTo>
                        <a:pt x="102857" y="79148"/>
                        <a:pt x="109285" y="71489"/>
                        <a:pt x="109285" y="66382"/>
                      </a:cubicBezTo>
                      <a:cubicBezTo>
                        <a:pt x="111428" y="61276"/>
                        <a:pt x="107142" y="53617"/>
                        <a:pt x="109285" y="48510"/>
                      </a:cubicBezTo>
                      <a:cubicBezTo>
                        <a:pt x="111428" y="45957"/>
                        <a:pt x="111428" y="48510"/>
                        <a:pt x="113571" y="48510"/>
                      </a:cubicBezTo>
                      <a:cubicBezTo>
                        <a:pt x="115714" y="48510"/>
                        <a:pt x="117857" y="43404"/>
                        <a:pt x="117857" y="43404"/>
                      </a:cubicBezTo>
                      <a:cubicBezTo>
                        <a:pt x="119999" y="35744"/>
                        <a:pt x="119999" y="28085"/>
                        <a:pt x="117857" y="22978"/>
                      </a:cubicBezTo>
                      <a:cubicBezTo>
                        <a:pt x="117857" y="20425"/>
                        <a:pt x="111428" y="2553"/>
                        <a:pt x="111428" y="2553"/>
                      </a:cubicBezTo>
                      <a:cubicBezTo>
                        <a:pt x="111428" y="2553"/>
                        <a:pt x="111428" y="2553"/>
                        <a:pt x="111428" y="255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grpSp>
          <p:sp>
            <p:nvSpPr>
              <p:cNvPr id="51" name="Shape 2310">
                <a:extLst>
                  <a:ext uri="{FF2B5EF4-FFF2-40B4-BE49-F238E27FC236}">
                    <a16:creationId xmlns:a16="http://schemas.microsoft.com/office/drawing/2014/main" id="{B9387A46-5B48-412F-9359-9B35DA51F749}"/>
                  </a:ext>
                </a:extLst>
              </p:cNvPr>
              <p:cNvSpPr/>
              <p:nvPr/>
            </p:nvSpPr>
            <p:spPr>
              <a:xfrm>
                <a:off x="17393967" y="7852357"/>
                <a:ext cx="17242" cy="22995"/>
              </a:xfrm>
              <a:custGeom>
                <a:avLst/>
                <a:gdLst/>
                <a:ahLst/>
                <a:cxnLst/>
                <a:rect l="0" t="0" r="0" b="0"/>
                <a:pathLst>
                  <a:path w="120000" h="120000" extrusionOk="0">
                    <a:moveTo>
                      <a:pt x="120000" y="0"/>
                    </a:moveTo>
                    <a:cubicBezTo>
                      <a:pt x="120000" y="0"/>
                      <a:pt x="0" y="40000"/>
                      <a:pt x="0" y="40000"/>
                    </a:cubicBezTo>
                    <a:cubicBezTo>
                      <a:pt x="60000" y="120000"/>
                      <a:pt x="120000" y="4000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2" name="Shape 2311">
                <a:extLst>
                  <a:ext uri="{FF2B5EF4-FFF2-40B4-BE49-F238E27FC236}">
                    <a16:creationId xmlns:a16="http://schemas.microsoft.com/office/drawing/2014/main" id="{F4EFFE21-3F21-4DE4-8F4C-4B2F3F9DAF4A}"/>
                  </a:ext>
                </a:extLst>
              </p:cNvPr>
              <p:cNvSpPr/>
              <p:nvPr/>
            </p:nvSpPr>
            <p:spPr>
              <a:xfrm>
                <a:off x="17293389" y="7852357"/>
                <a:ext cx="109198" cy="83358"/>
              </a:xfrm>
              <a:custGeom>
                <a:avLst/>
                <a:gdLst/>
                <a:ahLst/>
                <a:cxnLst/>
                <a:rect l="0" t="0" r="0" b="0"/>
                <a:pathLst>
                  <a:path w="120000" h="120000" extrusionOk="0">
                    <a:moveTo>
                      <a:pt x="101538" y="24000"/>
                    </a:moveTo>
                    <a:cubicBezTo>
                      <a:pt x="83076" y="24000"/>
                      <a:pt x="83076" y="0"/>
                      <a:pt x="64615" y="24000"/>
                    </a:cubicBezTo>
                    <a:cubicBezTo>
                      <a:pt x="55384" y="24000"/>
                      <a:pt x="46153" y="48000"/>
                      <a:pt x="46153" y="36000"/>
                    </a:cubicBezTo>
                    <a:cubicBezTo>
                      <a:pt x="36923" y="24000"/>
                      <a:pt x="27692" y="48000"/>
                      <a:pt x="27692" y="48000"/>
                    </a:cubicBezTo>
                    <a:cubicBezTo>
                      <a:pt x="18461" y="72000"/>
                      <a:pt x="9230" y="60000"/>
                      <a:pt x="0" y="72000"/>
                    </a:cubicBezTo>
                    <a:cubicBezTo>
                      <a:pt x="0" y="60000"/>
                      <a:pt x="18461" y="108000"/>
                      <a:pt x="27692" y="108000"/>
                    </a:cubicBezTo>
                    <a:cubicBezTo>
                      <a:pt x="27692" y="120000"/>
                      <a:pt x="46153" y="72000"/>
                      <a:pt x="55384" y="72000"/>
                    </a:cubicBezTo>
                    <a:cubicBezTo>
                      <a:pt x="64615" y="72000"/>
                      <a:pt x="83076" y="84000"/>
                      <a:pt x="92307" y="72000"/>
                    </a:cubicBezTo>
                    <a:cubicBezTo>
                      <a:pt x="101538" y="72000"/>
                      <a:pt x="120000" y="36000"/>
                      <a:pt x="101538" y="24000"/>
                    </a:cubicBezTo>
                    <a:cubicBezTo>
                      <a:pt x="92307" y="24000"/>
                      <a:pt x="101538" y="24000"/>
                      <a:pt x="101538" y="2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3" name="Shape 2312">
                <a:extLst>
                  <a:ext uri="{FF2B5EF4-FFF2-40B4-BE49-F238E27FC236}">
                    <a16:creationId xmlns:a16="http://schemas.microsoft.com/office/drawing/2014/main" id="{3E422710-502B-4EA5-9B1C-F5E9917C93AD}"/>
                  </a:ext>
                </a:extLst>
              </p:cNvPr>
              <p:cNvSpPr/>
              <p:nvPr/>
            </p:nvSpPr>
            <p:spPr>
              <a:xfrm>
                <a:off x="17184189" y="7883976"/>
                <a:ext cx="91956" cy="135097"/>
              </a:xfrm>
              <a:custGeom>
                <a:avLst/>
                <a:gdLst/>
                <a:ahLst/>
                <a:cxnLst/>
                <a:rect l="0" t="0" r="0" b="0"/>
                <a:pathLst>
                  <a:path w="120000" h="120000" extrusionOk="0">
                    <a:moveTo>
                      <a:pt x="76363" y="0"/>
                    </a:moveTo>
                    <a:cubicBezTo>
                      <a:pt x="54545" y="0"/>
                      <a:pt x="32727" y="7500"/>
                      <a:pt x="21818" y="15000"/>
                    </a:cubicBezTo>
                    <a:cubicBezTo>
                      <a:pt x="0" y="22500"/>
                      <a:pt x="0" y="30000"/>
                      <a:pt x="0" y="45000"/>
                    </a:cubicBezTo>
                    <a:cubicBezTo>
                      <a:pt x="0" y="37500"/>
                      <a:pt x="32727" y="37500"/>
                      <a:pt x="21818" y="45000"/>
                    </a:cubicBezTo>
                    <a:cubicBezTo>
                      <a:pt x="32727" y="37500"/>
                      <a:pt x="21818" y="30000"/>
                      <a:pt x="32727" y="30000"/>
                    </a:cubicBezTo>
                    <a:cubicBezTo>
                      <a:pt x="32727" y="30000"/>
                      <a:pt x="43636" y="30000"/>
                      <a:pt x="43636" y="37500"/>
                    </a:cubicBezTo>
                    <a:cubicBezTo>
                      <a:pt x="43636" y="52500"/>
                      <a:pt x="43636" y="60000"/>
                      <a:pt x="32727" y="75000"/>
                    </a:cubicBezTo>
                    <a:cubicBezTo>
                      <a:pt x="21818" y="82500"/>
                      <a:pt x="32727" y="82500"/>
                      <a:pt x="32727" y="82500"/>
                    </a:cubicBezTo>
                    <a:cubicBezTo>
                      <a:pt x="32727" y="90000"/>
                      <a:pt x="32727" y="97500"/>
                      <a:pt x="32727" y="97500"/>
                    </a:cubicBezTo>
                    <a:cubicBezTo>
                      <a:pt x="32727" y="120000"/>
                      <a:pt x="54545" y="90000"/>
                      <a:pt x="54545" y="90000"/>
                    </a:cubicBezTo>
                    <a:cubicBezTo>
                      <a:pt x="54545" y="90000"/>
                      <a:pt x="54545" y="112500"/>
                      <a:pt x="65454" y="112500"/>
                    </a:cubicBezTo>
                    <a:cubicBezTo>
                      <a:pt x="65454" y="120000"/>
                      <a:pt x="87272" y="97500"/>
                      <a:pt x="87272" y="90000"/>
                    </a:cubicBezTo>
                    <a:cubicBezTo>
                      <a:pt x="109090" y="75000"/>
                      <a:pt x="109090" y="60000"/>
                      <a:pt x="120000" y="52500"/>
                    </a:cubicBezTo>
                    <a:cubicBezTo>
                      <a:pt x="120000" y="37500"/>
                      <a:pt x="109090" y="30000"/>
                      <a:pt x="109090" y="15000"/>
                    </a:cubicBezTo>
                    <a:cubicBezTo>
                      <a:pt x="109090" y="0"/>
                      <a:pt x="76363" y="15000"/>
                      <a:pt x="76363"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4" name="Shape 2313">
                <a:extLst>
                  <a:ext uri="{FF2B5EF4-FFF2-40B4-BE49-F238E27FC236}">
                    <a16:creationId xmlns:a16="http://schemas.microsoft.com/office/drawing/2014/main" id="{DE02107C-3295-4E60-AEF8-27B1BF02A476}"/>
                  </a:ext>
                </a:extLst>
              </p:cNvPr>
              <p:cNvSpPr/>
              <p:nvPr/>
            </p:nvSpPr>
            <p:spPr>
              <a:xfrm>
                <a:off x="17092234" y="8214539"/>
                <a:ext cx="31611" cy="25869"/>
              </a:xfrm>
              <a:custGeom>
                <a:avLst/>
                <a:gdLst/>
                <a:ahLst/>
                <a:cxnLst/>
                <a:rect l="0" t="0" r="0" b="0"/>
                <a:pathLst>
                  <a:path w="120000" h="120000" extrusionOk="0">
                    <a:moveTo>
                      <a:pt x="120000" y="0"/>
                    </a:moveTo>
                    <a:cubicBezTo>
                      <a:pt x="90000" y="0"/>
                      <a:pt x="0" y="40000"/>
                      <a:pt x="30000" y="120000"/>
                    </a:cubicBezTo>
                    <a:cubicBezTo>
                      <a:pt x="30000" y="12000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5" name="Shape 2314">
                <a:extLst>
                  <a:ext uri="{FF2B5EF4-FFF2-40B4-BE49-F238E27FC236}">
                    <a16:creationId xmlns:a16="http://schemas.microsoft.com/office/drawing/2014/main" id="{88C23B1F-DFE2-4490-849E-F8E3811FDD69}"/>
                  </a:ext>
                </a:extLst>
              </p:cNvPr>
              <p:cNvSpPr/>
              <p:nvPr/>
            </p:nvSpPr>
            <p:spPr>
              <a:xfrm>
                <a:off x="17166947" y="8131178"/>
                <a:ext cx="17242" cy="14372"/>
              </a:xfrm>
              <a:custGeom>
                <a:avLst/>
                <a:gdLst/>
                <a:ahLst/>
                <a:cxnLst/>
                <a:rect l="0" t="0" r="0" b="0"/>
                <a:pathLst>
                  <a:path w="120000" h="120000" extrusionOk="0">
                    <a:moveTo>
                      <a:pt x="120000" y="0"/>
                    </a:moveTo>
                    <a:cubicBezTo>
                      <a:pt x="60000" y="0"/>
                      <a:pt x="0" y="60000"/>
                      <a:pt x="0" y="60000"/>
                    </a:cubicBezTo>
                    <a:cubicBezTo>
                      <a:pt x="0" y="12000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6" name="Shape 2315">
                <a:extLst>
                  <a:ext uri="{FF2B5EF4-FFF2-40B4-BE49-F238E27FC236}">
                    <a16:creationId xmlns:a16="http://schemas.microsoft.com/office/drawing/2014/main" id="{80FFB87F-87A2-4C8A-9D16-3935D488D477}"/>
                  </a:ext>
                </a:extLst>
              </p:cNvPr>
              <p:cNvSpPr/>
              <p:nvPr/>
            </p:nvSpPr>
            <p:spPr>
              <a:xfrm>
                <a:off x="16939927" y="8306519"/>
                <a:ext cx="17242" cy="8622"/>
              </a:xfrm>
              <a:custGeom>
                <a:avLst/>
                <a:gdLst/>
                <a:ahLst/>
                <a:cxnLst/>
                <a:rect l="0" t="0" r="0" b="0"/>
                <a:pathLst>
                  <a:path w="120000" h="120000" extrusionOk="0">
                    <a:moveTo>
                      <a:pt x="120000" y="0"/>
                    </a:moveTo>
                    <a:cubicBezTo>
                      <a:pt x="60000" y="0"/>
                      <a:pt x="0" y="120000"/>
                      <a:pt x="60000" y="120000"/>
                    </a:cubicBezTo>
                    <a:cubicBezTo>
                      <a:pt x="120000" y="12000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7" name="Shape 2316">
                <a:extLst>
                  <a:ext uri="{FF2B5EF4-FFF2-40B4-BE49-F238E27FC236}">
                    <a16:creationId xmlns:a16="http://schemas.microsoft.com/office/drawing/2014/main" id="{AA73016C-42E3-47B0-85EB-AFA204C8E6EB}"/>
                  </a:ext>
                </a:extLst>
              </p:cNvPr>
              <p:cNvSpPr/>
              <p:nvPr/>
            </p:nvSpPr>
            <p:spPr>
              <a:xfrm>
                <a:off x="16779004" y="8274899"/>
                <a:ext cx="100578" cy="140847"/>
              </a:xfrm>
              <a:custGeom>
                <a:avLst/>
                <a:gdLst/>
                <a:ahLst/>
                <a:cxnLst/>
                <a:rect l="0" t="0" r="0" b="0"/>
                <a:pathLst>
                  <a:path w="120000" h="120000" extrusionOk="0">
                    <a:moveTo>
                      <a:pt x="80000" y="7058"/>
                    </a:moveTo>
                    <a:cubicBezTo>
                      <a:pt x="50000" y="0"/>
                      <a:pt x="10000" y="42352"/>
                      <a:pt x="0" y="56470"/>
                    </a:cubicBezTo>
                    <a:cubicBezTo>
                      <a:pt x="0" y="70588"/>
                      <a:pt x="0" y="84705"/>
                      <a:pt x="10000" y="98823"/>
                    </a:cubicBezTo>
                    <a:cubicBezTo>
                      <a:pt x="10000" y="98823"/>
                      <a:pt x="30000" y="120000"/>
                      <a:pt x="30000" y="120000"/>
                    </a:cubicBezTo>
                    <a:cubicBezTo>
                      <a:pt x="40000" y="105882"/>
                      <a:pt x="120000" y="14117"/>
                      <a:pt x="80000" y="7058"/>
                    </a:cubicBezTo>
                    <a:cubicBezTo>
                      <a:pt x="70000" y="7058"/>
                      <a:pt x="90000" y="7058"/>
                      <a:pt x="80000" y="705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8" name="Shape 2317">
                <a:extLst>
                  <a:ext uri="{FF2B5EF4-FFF2-40B4-BE49-F238E27FC236}">
                    <a16:creationId xmlns:a16="http://schemas.microsoft.com/office/drawing/2014/main" id="{56D22D2B-A8EF-470B-B079-CC76FF2927D9}"/>
                  </a:ext>
                </a:extLst>
              </p:cNvPr>
              <p:cNvSpPr/>
              <p:nvPr/>
            </p:nvSpPr>
            <p:spPr>
              <a:xfrm>
                <a:off x="16281858" y="8510602"/>
                <a:ext cx="117821" cy="83358"/>
              </a:xfrm>
              <a:custGeom>
                <a:avLst/>
                <a:gdLst/>
                <a:ahLst/>
                <a:cxnLst/>
                <a:rect l="0" t="0" r="0" b="0"/>
                <a:pathLst>
                  <a:path w="120000" h="120000" extrusionOk="0">
                    <a:moveTo>
                      <a:pt x="111428" y="12000"/>
                    </a:moveTo>
                    <a:cubicBezTo>
                      <a:pt x="102857" y="12000"/>
                      <a:pt x="94285" y="0"/>
                      <a:pt x="77142" y="0"/>
                    </a:cubicBezTo>
                    <a:cubicBezTo>
                      <a:pt x="59999" y="0"/>
                      <a:pt x="51428" y="12000"/>
                      <a:pt x="34285" y="24000"/>
                    </a:cubicBezTo>
                    <a:cubicBezTo>
                      <a:pt x="17142" y="48000"/>
                      <a:pt x="0" y="84000"/>
                      <a:pt x="34285" y="108000"/>
                    </a:cubicBezTo>
                    <a:cubicBezTo>
                      <a:pt x="51428" y="120000"/>
                      <a:pt x="85714" y="96000"/>
                      <a:pt x="94285" y="72000"/>
                    </a:cubicBezTo>
                    <a:cubicBezTo>
                      <a:pt x="94285" y="60000"/>
                      <a:pt x="119999" y="12000"/>
                      <a:pt x="111428" y="1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59" name="Shape 2318">
                <a:extLst>
                  <a:ext uri="{FF2B5EF4-FFF2-40B4-BE49-F238E27FC236}">
                    <a16:creationId xmlns:a16="http://schemas.microsoft.com/office/drawing/2014/main" id="{20ED2339-92B3-4977-9E79-935F252613F7}"/>
                  </a:ext>
                </a:extLst>
              </p:cNvPr>
              <p:cNvSpPr/>
              <p:nvPr/>
            </p:nvSpPr>
            <p:spPr>
              <a:xfrm>
                <a:off x="16761762" y="8568090"/>
                <a:ext cx="169545" cy="238577"/>
              </a:xfrm>
              <a:custGeom>
                <a:avLst/>
                <a:gdLst/>
                <a:ahLst/>
                <a:cxnLst/>
                <a:rect l="0" t="0" r="0" b="0"/>
                <a:pathLst>
                  <a:path w="120000" h="120000" extrusionOk="0">
                    <a:moveTo>
                      <a:pt x="72000" y="8571"/>
                    </a:moveTo>
                    <a:cubicBezTo>
                      <a:pt x="60000" y="4285"/>
                      <a:pt x="66000" y="21428"/>
                      <a:pt x="54000" y="8571"/>
                    </a:cubicBezTo>
                    <a:cubicBezTo>
                      <a:pt x="48000" y="0"/>
                      <a:pt x="24000" y="4285"/>
                      <a:pt x="24000" y="12857"/>
                    </a:cubicBezTo>
                    <a:cubicBezTo>
                      <a:pt x="18000" y="25714"/>
                      <a:pt x="24000" y="34285"/>
                      <a:pt x="18000" y="47142"/>
                    </a:cubicBezTo>
                    <a:cubicBezTo>
                      <a:pt x="18000" y="51428"/>
                      <a:pt x="18000" y="55714"/>
                      <a:pt x="18000" y="55714"/>
                    </a:cubicBezTo>
                    <a:cubicBezTo>
                      <a:pt x="12000" y="59999"/>
                      <a:pt x="0" y="55714"/>
                      <a:pt x="0" y="55714"/>
                    </a:cubicBezTo>
                    <a:cubicBezTo>
                      <a:pt x="0" y="55714"/>
                      <a:pt x="12000" y="94285"/>
                      <a:pt x="18000" y="94285"/>
                    </a:cubicBezTo>
                    <a:cubicBezTo>
                      <a:pt x="18000" y="94285"/>
                      <a:pt x="24000" y="81428"/>
                      <a:pt x="30000" y="85714"/>
                    </a:cubicBezTo>
                    <a:cubicBezTo>
                      <a:pt x="30000" y="85714"/>
                      <a:pt x="42000" y="89999"/>
                      <a:pt x="42000" y="94285"/>
                    </a:cubicBezTo>
                    <a:cubicBezTo>
                      <a:pt x="42000" y="98571"/>
                      <a:pt x="24000" y="89999"/>
                      <a:pt x="24000" y="98571"/>
                    </a:cubicBezTo>
                    <a:cubicBezTo>
                      <a:pt x="24000" y="107142"/>
                      <a:pt x="36000" y="115714"/>
                      <a:pt x="48000" y="111428"/>
                    </a:cubicBezTo>
                    <a:cubicBezTo>
                      <a:pt x="54000" y="111428"/>
                      <a:pt x="60000" y="102857"/>
                      <a:pt x="66000" y="107142"/>
                    </a:cubicBezTo>
                    <a:cubicBezTo>
                      <a:pt x="66000" y="107142"/>
                      <a:pt x="90000" y="119999"/>
                      <a:pt x="90000" y="119999"/>
                    </a:cubicBezTo>
                    <a:cubicBezTo>
                      <a:pt x="96000" y="115714"/>
                      <a:pt x="78000" y="111428"/>
                      <a:pt x="84000" y="107142"/>
                    </a:cubicBezTo>
                    <a:cubicBezTo>
                      <a:pt x="78000" y="111428"/>
                      <a:pt x="120000" y="119999"/>
                      <a:pt x="102000" y="102857"/>
                    </a:cubicBezTo>
                    <a:cubicBezTo>
                      <a:pt x="90000" y="94285"/>
                      <a:pt x="66000" y="107142"/>
                      <a:pt x="60000" y="94285"/>
                    </a:cubicBezTo>
                    <a:cubicBezTo>
                      <a:pt x="54000" y="85714"/>
                      <a:pt x="54000" y="81428"/>
                      <a:pt x="54000" y="68571"/>
                    </a:cubicBezTo>
                    <a:cubicBezTo>
                      <a:pt x="54000" y="59999"/>
                      <a:pt x="66000" y="59999"/>
                      <a:pt x="72000" y="51428"/>
                    </a:cubicBezTo>
                    <a:cubicBezTo>
                      <a:pt x="84000" y="42857"/>
                      <a:pt x="84000" y="38571"/>
                      <a:pt x="78000" y="29999"/>
                    </a:cubicBezTo>
                    <a:cubicBezTo>
                      <a:pt x="78000" y="29999"/>
                      <a:pt x="78000" y="8571"/>
                      <a:pt x="72000" y="8571"/>
                    </a:cubicBezTo>
                    <a:cubicBezTo>
                      <a:pt x="66000" y="8571"/>
                      <a:pt x="78000" y="8571"/>
                      <a:pt x="72000" y="857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0" name="Shape 2319">
                <a:extLst>
                  <a:ext uri="{FF2B5EF4-FFF2-40B4-BE49-F238E27FC236}">
                    <a16:creationId xmlns:a16="http://schemas.microsoft.com/office/drawing/2014/main" id="{27B17777-EEAB-4BC9-ABD2-64E9D57B19C7}"/>
                  </a:ext>
                </a:extLst>
              </p:cNvPr>
              <p:cNvSpPr/>
              <p:nvPr/>
            </p:nvSpPr>
            <p:spPr>
              <a:xfrm>
                <a:off x="16905446" y="8772175"/>
                <a:ext cx="51724" cy="66112"/>
              </a:xfrm>
              <a:custGeom>
                <a:avLst/>
                <a:gdLst/>
                <a:ahLst/>
                <a:cxnLst/>
                <a:rect l="0" t="0" r="0" b="0"/>
                <a:pathLst>
                  <a:path w="120000" h="120000" extrusionOk="0">
                    <a:moveTo>
                      <a:pt x="60000" y="15000"/>
                    </a:moveTo>
                    <a:cubicBezTo>
                      <a:pt x="60000" y="15000"/>
                      <a:pt x="40000" y="0"/>
                      <a:pt x="20000" y="15000"/>
                    </a:cubicBezTo>
                    <a:cubicBezTo>
                      <a:pt x="20000" y="30000"/>
                      <a:pt x="0" y="30000"/>
                      <a:pt x="0" y="45000"/>
                    </a:cubicBezTo>
                    <a:cubicBezTo>
                      <a:pt x="20000" y="60000"/>
                      <a:pt x="0" y="75000"/>
                      <a:pt x="40000" y="90000"/>
                    </a:cubicBezTo>
                    <a:cubicBezTo>
                      <a:pt x="40000" y="90000"/>
                      <a:pt x="120000" y="120000"/>
                      <a:pt x="100000" y="105000"/>
                    </a:cubicBezTo>
                    <a:cubicBezTo>
                      <a:pt x="100000" y="90000"/>
                      <a:pt x="100000" y="75000"/>
                      <a:pt x="80000" y="60000"/>
                    </a:cubicBezTo>
                    <a:cubicBezTo>
                      <a:pt x="40000" y="60000"/>
                      <a:pt x="40000" y="15000"/>
                      <a:pt x="60000" y="15000"/>
                    </a:cubicBezTo>
                    <a:cubicBezTo>
                      <a:pt x="40000" y="15000"/>
                      <a:pt x="80000" y="15000"/>
                      <a:pt x="60000" y="1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1" name="Shape 2320">
                <a:extLst>
                  <a:ext uri="{FF2B5EF4-FFF2-40B4-BE49-F238E27FC236}">
                    <a16:creationId xmlns:a16="http://schemas.microsoft.com/office/drawing/2014/main" id="{4DF5D6E6-EFF4-48FC-A0B7-83FF2FC76A59}"/>
                  </a:ext>
                </a:extLst>
              </p:cNvPr>
              <p:cNvSpPr/>
              <p:nvPr/>
            </p:nvSpPr>
            <p:spPr>
              <a:xfrm>
                <a:off x="16939927" y="8829663"/>
                <a:ext cx="83336" cy="112103"/>
              </a:xfrm>
              <a:custGeom>
                <a:avLst/>
                <a:gdLst/>
                <a:ahLst/>
                <a:cxnLst/>
                <a:rect l="0" t="0" r="0" b="0"/>
                <a:pathLst>
                  <a:path w="120000" h="120000" extrusionOk="0">
                    <a:moveTo>
                      <a:pt x="48000" y="0"/>
                    </a:moveTo>
                    <a:cubicBezTo>
                      <a:pt x="36000" y="0"/>
                      <a:pt x="48000" y="0"/>
                      <a:pt x="24000" y="9230"/>
                    </a:cubicBezTo>
                    <a:cubicBezTo>
                      <a:pt x="12000" y="18461"/>
                      <a:pt x="36000" y="27692"/>
                      <a:pt x="48000" y="36923"/>
                    </a:cubicBezTo>
                    <a:cubicBezTo>
                      <a:pt x="60000" y="55384"/>
                      <a:pt x="0" y="64615"/>
                      <a:pt x="48000" y="83076"/>
                    </a:cubicBezTo>
                    <a:cubicBezTo>
                      <a:pt x="60000" y="92307"/>
                      <a:pt x="36000" y="110769"/>
                      <a:pt x="60000" y="120000"/>
                    </a:cubicBezTo>
                    <a:cubicBezTo>
                      <a:pt x="72000" y="120000"/>
                      <a:pt x="72000" y="110769"/>
                      <a:pt x="60000" y="101538"/>
                    </a:cubicBezTo>
                    <a:cubicBezTo>
                      <a:pt x="36000" y="46153"/>
                      <a:pt x="108000" y="92307"/>
                      <a:pt x="108000" y="73846"/>
                    </a:cubicBezTo>
                    <a:cubicBezTo>
                      <a:pt x="108000" y="64615"/>
                      <a:pt x="84000" y="55384"/>
                      <a:pt x="96000" y="55384"/>
                    </a:cubicBezTo>
                    <a:cubicBezTo>
                      <a:pt x="96000" y="46153"/>
                      <a:pt x="120000" y="55384"/>
                      <a:pt x="108000" y="46153"/>
                    </a:cubicBezTo>
                    <a:cubicBezTo>
                      <a:pt x="96000" y="36923"/>
                      <a:pt x="72000" y="27692"/>
                      <a:pt x="84000" y="9230"/>
                    </a:cubicBezTo>
                    <a:cubicBezTo>
                      <a:pt x="84000" y="0"/>
                      <a:pt x="60000" y="0"/>
                      <a:pt x="48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2" name="Shape 2321">
                <a:extLst>
                  <a:ext uri="{FF2B5EF4-FFF2-40B4-BE49-F238E27FC236}">
                    <a16:creationId xmlns:a16="http://schemas.microsoft.com/office/drawing/2014/main" id="{EAFA6F36-3B08-40A9-A888-41560A7B2F50}"/>
                  </a:ext>
                </a:extLst>
              </p:cNvPr>
              <p:cNvSpPr/>
              <p:nvPr/>
            </p:nvSpPr>
            <p:spPr>
              <a:xfrm>
                <a:off x="16787622" y="8780799"/>
                <a:ext cx="51724" cy="66112"/>
              </a:xfrm>
              <a:custGeom>
                <a:avLst/>
                <a:gdLst/>
                <a:ahLst/>
                <a:cxnLst/>
                <a:rect l="0" t="0" r="0" b="0"/>
                <a:pathLst>
                  <a:path w="120000" h="120000" extrusionOk="0">
                    <a:moveTo>
                      <a:pt x="120000" y="75000"/>
                    </a:moveTo>
                    <a:cubicBezTo>
                      <a:pt x="100000" y="60000"/>
                      <a:pt x="60000" y="0"/>
                      <a:pt x="0" y="30000"/>
                    </a:cubicBezTo>
                    <a:cubicBezTo>
                      <a:pt x="0" y="30000"/>
                      <a:pt x="60000" y="75000"/>
                      <a:pt x="60000" y="90000"/>
                    </a:cubicBezTo>
                    <a:cubicBezTo>
                      <a:pt x="60000" y="120000"/>
                      <a:pt x="120000" y="120000"/>
                      <a:pt x="120000" y="75000"/>
                    </a:cubicBezTo>
                    <a:cubicBezTo>
                      <a:pt x="120000" y="75000"/>
                      <a:pt x="120000" y="90000"/>
                      <a:pt x="120000" y="7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3" name="Shape 2322">
                <a:extLst>
                  <a:ext uri="{FF2B5EF4-FFF2-40B4-BE49-F238E27FC236}">
                    <a16:creationId xmlns:a16="http://schemas.microsoft.com/office/drawing/2014/main" id="{0BAE67E4-22C3-4970-AE6E-25868C0C35FB}"/>
                  </a:ext>
                </a:extLst>
              </p:cNvPr>
              <p:cNvSpPr/>
              <p:nvPr/>
            </p:nvSpPr>
            <p:spPr>
              <a:xfrm>
                <a:off x="16847972" y="8846911"/>
                <a:ext cx="74715" cy="86232"/>
              </a:xfrm>
              <a:custGeom>
                <a:avLst/>
                <a:gdLst/>
                <a:ahLst/>
                <a:cxnLst/>
                <a:rect l="0" t="0" r="0" b="0"/>
                <a:pathLst>
                  <a:path w="120000" h="120000" extrusionOk="0">
                    <a:moveTo>
                      <a:pt x="40000" y="24000"/>
                    </a:moveTo>
                    <a:cubicBezTo>
                      <a:pt x="26666" y="12000"/>
                      <a:pt x="13333" y="12000"/>
                      <a:pt x="0" y="24000"/>
                    </a:cubicBezTo>
                    <a:cubicBezTo>
                      <a:pt x="0" y="36000"/>
                      <a:pt x="26666" y="36000"/>
                      <a:pt x="26666" y="48000"/>
                    </a:cubicBezTo>
                    <a:cubicBezTo>
                      <a:pt x="40000" y="60000"/>
                      <a:pt x="0" y="96000"/>
                      <a:pt x="13333" y="108000"/>
                    </a:cubicBezTo>
                    <a:cubicBezTo>
                      <a:pt x="13333" y="120000"/>
                      <a:pt x="66666" y="72000"/>
                      <a:pt x="80000" y="72000"/>
                    </a:cubicBezTo>
                    <a:cubicBezTo>
                      <a:pt x="120000" y="72000"/>
                      <a:pt x="40000" y="24000"/>
                      <a:pt x="40000" y="24000"/>
                    </a:cubicBezTo>
                    <a:cubicBezTo>
                      <a:pt x="13333" y="0"/>
                      <a:pt x="40000" y="24000"/>
                      <a:pt x="40000" y="2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4" name="Shape 2323">
                <a:extLst>
                  <a:ext uri="{FF2B5EF4-FFF2-40B4-BE49-F238E27FC236}">
                    <a16:creationId xmlns:a16="http://schemas.microsoft.com/office/drawing/2014/main" id="{2C4D84E2-479F-41B5-8C11-B033156D7AAE}"/>
                  </a:ext>
                </a:extLst>
              </p:cNvPr>
              <p:cNvSpPr/>
              <p:nvPr/>
            </p:nvSpPr>
            <p:spPr>
              <a:xfrm>
                <a:off x="16865214" y="8898648"/>
                <a:ext cx="57473" cy="91980"/>
              </a:xfrm>
              <a:custGeom>
                <a:avLst/>
                <a:gdLst/>
                <a:ahLst/>
                <a:cxnLst/>
                <a:rect l="0" t="0" r="0" b="0"/>
                <a:pathLst>
                  <a:path w="120000" h="120000" extrusionOk="0">
                    <a:moveTo>
                      <a:pt x="102857" y="10909"/>
                    </a:moveTo>
                    <a:cubicBezTo>
                      <a:pt x="51428" y="10909"/>
                      <a:pt x="68571" y="43636"/>
                      <a:pt x="51428" y="54545"/>
                    </a:cubicBezTo>
                    <a:cubicBezTo>
                      <a:pt x="0" y="76363"/>
                      <a:pt x="17142" y="76363"/>
                      <a:pt x="51428" y="98181"/>
                    </a:cubicBezTo>
                    <a:cubicBezTo>
                      <a:pt x="102857" y="120000"/>
                      <a:pt x="68571" y="87272"/>
                      <a:pt x="85714" y="65454"/>
                    </a:cubicBezTo>
                    <a:cubicBezTo>
                      <a:pt x="85714" y="65454"/>
                      <a:pt x="119999" y="0"/>
                      <a:pt x="102857" y="10909"/>
                    </a:cubicBezTo>
                    <a:cubicBezTo>
                      <a:pt x="85714" y="10909"/>
                      <a:pt x="102857" y="0"/>
                      <a:pt x="102857" y="1090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5" name="Shape 2324">
                <a:extLst>
                  <a:ext uri="{FF2B5EF4-FFF2-40B4-BE49-F238E27FC236}">
                    <a16:creationId xmlns:a16="http://schemas.microsoft.com/office/drawing/2014/main" id="{17C5DF2D-E1E5-4247-A7B7-3965B307BFBA}"/>
                  </a:ext>
                </a:extLst>
              </p:cNvPr>
              <p:cNvSpPr/>
              <p:nvPr/>
            </p:nvSpPr>
            <p:spPr>
              <a:xfrm>
                <a:off x="16914063" y="8890027"/>
                <a:ext cx="34484" cy="66112"/>
              </a:xfrm>
              <a:custGeom>
                <a:avLst/>
                <a:gdLst/>
                <a:ahLst/>
                <a:cxnLst/>
                <a:rect l="0" t="0" r="0" b="0"/>
                <a:pathLst>
                  <a:path w="120000" h="120000" extrusionOk="0">
                    <a:moveTo>
                      <a:pt x="90000" y="15000"/>
                    </a:moveTo>
                    <a:cubicBezTo>
                      <a:pt x="60000" y="15000"/>
                      <a:pt x="0" y="105000"/>
                      <a:pt x="0" y="120000"/>
                    </a:cubicBezTo>
                    <a:cubicBezTo>
                      <a:pt x="0" y="120000"/>
                      <a:pt x="60000" y="90000"/>
                      <a:pt x="90000" y="75000"/>
                    </a:cubicBezTo>
                    <a:cubicBezTo>
                      <a:pt x="90000" y="75000"/>
                      <a:pt x="120000" y="0"/>
                      <a:pt x="90000" y="15000"/>
                    </a:cubicBezTo>
                    <a:cubicBezTo>
                      <a:pt x="60000" y="15000"/>
                      <a:pt x="90000" y="15000"/>
                      <a:pt x="90000" y="1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6" name="Shape 2325">
                <a:extLst>
                  <a:ext uri="{FF2B5EF4-FFF2-40B4-BE49-F238E27FC236}">
                    <a16:creationId xmlns:a16="http://schemas.microsoft.com/office/drawing/2014/main" id="{1081B124-A224-4BD5-A6C4-A0EF17D4D2CF}"/>
                  </a:ext>
                </a:extLst>
              </p:cNvPr>
              <p:cNvSpPr/>
              <p:nvPr/>
            </p:nvSpPr>
            <p:spPr>
              <a:xfrm>
                <a:off x="16931307" y="8933142"/>
                <a:ext cx="51724" cy="31619"/>
              </a:xfrm>
              <a:custGeom>
                <a:avLst/>
                <a:gdLst/>
                <a:ahLst/>
                <a:cxnLst/>
                <a:rect l="0" t="0" r="0" b="0"/>
                <a:pathLst>
                  <a:path w="120000" h="120000" extrusionOk="0">
                    <a:moveTo>
                      <a:pt x="20000" y="30000"/>
                    </a:moveTo>
                    <a:cubicBezTo>
                      <a:pt x="0" y="90000"/>
                      <a:pt x="20000" y="120000"/>
                      <a:pt x="60000" y="90000"/>
                    </a:cubicBezTo>
                    <a:cubicBezTo>
                      <a:pt x="120000" y="90000"/>
                      <a:pt x="40000" y="0"/>
                      <a:pt x="20000" y="30000"/>
                    </a:cubicBezTo>
                    <a:cubicBezTo>
                      <a:pt x="20000" y="60000"/>
                      <a:pt x="40000" y="30000"/>
                      <a:pt x="20000" y="3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7" name="Shape 2326">
                <a:extLst>
                  <a:ext uri="{FF2B5EF4-FFF2-40B4-BE49-F238E27FC236}">
                    <a16:creationId xmlns:a16="http://schemas.microsoft.com/office/drawing/2014/main" id="{52962982-56FC-48F2-BB8A-774252DE06D9}"/>
                  </a:ext>
                </a:extLst>
              </p:cNvPr>
              <p:cNvSpPr/>
              <p:nvPr/>
            </p:nvSpPr>
            <p:spPr>
              <a:xfrm>
                <a:off x="16931307" y="8956139"/>
                <a:ext cx="117821" cy="178216"/>
              </a:xfrm>
              <a:custGeom>
                <a:avLst/>
                <a:gdLst/>
                <a:ahLst/>
                <a:cxnLst/>
                <a:rect l="0" t="0" r="0" b="0"/>
                <a:pathLst>
                  <a:path w="120000" h="120000" extrusionOk="0">
                    <a:moveTo>
                      <a:pt x="85714" y="0"/>
                    </a:moveTo>
                    <a:cubicBezTo>
                      <a:pt x="77142" y="0"/>
                      <a:pt x="77142" y="5714"/>
                      <a:pt x="77142" y="11428"/>
                    </a:cubicBezTo>
                    <a:cubicBezTo>
                      <a:pt x="77142" y="17142"/>
                      <a:pt x="77142" y="17142"/>
                      <a:pt x="59999" y="22857"/>
                    </a:cubicBezTo>
                    <a:cubicBezTo>
                      <a:pt x="51428" y="22857"/>
                      <a:pt x="34285" y="34285"/>
                      <a:pt x="25714" y="34285"/>
                    </a:cubicBezTo>
                    <a:cubicBezTo>
                      <a:pt x="8571" y="51428"/>
                      <a:pt x="0" y="51428"/>
                      <a:pt x="17142" y="62857"/>
                    </a:cubicBezTo>
                    <a:cubicBezTo>
                      <a:pt x="25714" y="68571"/>
                      <a:pt x="17142" y="74285"/>
                      <a:pt x="17142" y="80000"/>
                    </a:cubicBezTo>
                    <a:cubicBezTo>
                      <a:pt x="8571" y="91428"/>
                      <a:pt x="17142" y="97142"/>
                      <a:pt x="25714" y="102857"/>
                    </a:cubicBezTo>
                    <a:cubicBezTo>
                      <a:pt x="42857" y="108571"/>
                      <a:pt x="59999" y="108571"/>
                      <a:pt x="68571" y="108571"/>
                    </a:cubicBezTo>
                    <a:cubicBezTo>
                      <a:pt x="94285" y="120000"/>
                      <a:pt x="77142" y="102857"/>
                      <a:pt x="68571" y="91428"/>
                    </a:cubicBezTo>
                    <a:cubicBezTo>
                      <a:pt x="68571" y="91428"/>
                      <a:pt x="68571" y="68571"/>
                      <a:pt x="85714" y="68571"/>
                    </a:cubicBezTo>
                    <a:cubicBezTo>
                      <a:pt x="94285" y="68571"/>
                      <a:pt x="94285" y="97142"/>
                      <a:pt x="102857" y="97142"/>
                    </a:cubicBezTo>
                    <a:cubicBezTo>
                      <a:pt x="102857" y="97142"/>
                      <a:pt x="111428" y="80000"/>
                      <a:pt x="111428" y="80000"/>
                    </a:cubicBezTo>
                    <a:cubicBezTo>
                      <a:pt x="119999" y="68571"/>
                      <a:pt x="119999" y="62857"/>
                      <a:pt x="111428" y="57142"/>
                    </a:cubicBezTo>
                    <a:cubicBezTo>
                      <a:pt x="111428" y="40000"/>
                      <a:pt x="111428" y="5714"/>
                      <a:pt x="85714" y="0"/>
                    </a:cubicBezTo>
                    <a:cubicBezTo>
                      <a:pt x="77142" y="0"/>
                      <a:pt x="85714" y="5714"/>
                      <a:pt x="85714"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8" name="Shape 2327">
                <a:extLst>
                  <a:ext uri="{FF2B5EF4-FFF2-40B4-BE49-F238E27FC236}">
                    <a16:creationId xmlns:a16="http://schemas.microsoft.com/office/drawing/2014/main" id="{2B25364E-84C7-4AB4-894A-DFE1EEDFECB5}"/>
                  </a:ext>
                </a:extLst>
              </p:cNvPr>
              <p:cNvSpPr/>
              <p:nvPr/>
            </p:nvSpPr>
            <p:spPr>
              <a:xfrm>
                <a:off x="16856591" y="8990631"/>
                <a:ext cx="100578" cy="86232"/>
              </a:xfrm>
              <a:custGeom>
                <a:avLst/>
                <a:gdLst/>
                <a:ahLst/>
                <a:cxnLst/>
                <a:rect l="0" t="0" r="0" b="0"/>
                <a:pathLst>
                  <a:path w="120000" h="120000" extrusionOk="0">
                    <a:moveTo>
                      <a:pt x="80000" y="12000"/>
                    </a:moveTo>
                    <a:cubicBezTo>
                      <a:pt x="60000" y="0"/>
                      <a:pt x="50000" y="48000"/>
                      <a:pt x="20000" y="48000"/>
                    </a:cubicBezTo>
                    <a:cubicBezTo>
                      <a:pt x="0" y="60000"/>
                      <a:pt x="0" y="108000"/>
                      <a:pt x="0" y="120000"/>
                    </a:cubicBezTo>
                    <a:cubicBezTo>
                      <a:pt x="10000" y="108000"/>
                      <a:pt x="10000" y="84000"/>
                      <a:pt x="20000" y="72000"/>
                    </a:cubicBezTo>
                    <a:cubicBezTo>
                      <a:pt x="20000" y="72000"/>
                      <a:pt x="40000" y="60000"/>
                      <a:pt x="40000" y="72000"/>
                    </a:cubicBezTo>
                    <a:cubicBezTo>
                      <a:pt x="40000" y="84000"/>
                      <a:pt x="60000" y="84000"/>
                      <a:pt x="60000" y="84000"/>
                    </a:cubicBezTo>
                    <a:cubicBezTo>
                      <a:pt x="70000" y="84000"/>
                      <a:pt x="70000" y="96000"/>
                      <a:pt x="80000" y="84000"/>
                    </a:cubicBezTo>
                    <a:cubicBezTo>
                      <a:pt x="80000" y="84000"/>
                      <a:pt x="80000" y="60000"/>
                      <a:pt x="80000" y="60000"/>
                    </a:cubicBezTo>
                    <a:cubicBezTo>
                      <a:pt x="90000" y="36000"/>
                      <a:pt x="110000" y="24000"/>
                      <a:pt x="80000" y="12000"/>
                    </a:cubicBezTo>
                    <a:cubicBezTo>
                      <a:pt x="70000" y="12000"/>
                      <a:pt x="120000" y="36000"/>
                      <a:pt x="80000" y="1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69" name="Shape 2328">
                <a:extLst>
                  <a:ext uri="{FF2B5EF4-FFF2-40B4-BE49-F238E27FC236}">
                    <a16:creationId xmlns:a16="http://schemas.microsoft.com/office/drawing/2014/main" id="{CFA4FAE4-03B3-4245-A97B-CC68620CBEBD}"/>
                  </a:ext>
                </a:extLst>
              </p:cNvPr>
              <p:cNvSpPr/>
              <p:nvPr/>
            </p:nvSpPr>
            <p:spPr>
              <a:xfrm>
                <a:off x="16652561" y="8907273"/>
                <a:ext cx="100578" cy="100604"/>
              </a:xfrm>
              <a:custGeom>
                <a:avLst/>
                <a:gdLst/>
                <a:ahLst/>
                <a:cxnLst/>
                <a:rect l="0" t="0" r="0" b="0"/>
                <a:pathLst>
                  <a:path w="120000" h="120000" extrusionOk="0">
                    <a:moveTo>
                      <a:pt x="110000" y="0"/>
                    </a:moveTo>
                    <a:cubicBezTo>
                      <a:pt x="90000" y="10000"/>
                      <a:pt x="70000" y="40000"/>
                      <a:pt x="60000" y="60000"/>
                    </a:cubicBezTo>
                    <a:cubicBezTo>
                      <a:pt x="50000" y="70000"/>
                      <a:pt x="0" y="100000"/>
                      <a:pt x="0" y="120000"/>
                    </a:cubicBezTo>
                    <a:cubicBezTo>
                      <a:pt x="0" y="120000"/>
                      <a:pt x="30000" y="110000"/>
                      <a:pt x="40000" y="100000"/>
                    </a:cubicBezTo>
                    <a:cubicBezTo>
                      <a:pt x="50000" y="100000"/>
                      <a:pt x="70000" y="80000"/>
                      <a:pt x="80000" y="70000"/>
                    </a:cubicBezTo>
                    <a:cubicBezTo>
                      <a:pt x="80000" y="50000"/>
                      <a:pt x="90000" y="40000"/>
                      <a:pt x="100000" y="30000"/>
                    </a:cubicBezTo>
                    <a:cubicBezTo>
                      <a:pt x="110000" y="30000"/>
                      <a:pt x="120000" y="0"/>
                      <a:pt x="11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0" name="Shape 2329">
                <a:extLst>
                  <a:ext uri="{FF2B5EF4-FFF2-40B4-BE49-F238E27FC236}">
                    <a16:creationId xmlns:a16="http://schemas.microsoft.com/office/drawing/2014/main" id="{1A9746AA-3755-4552-8F2C-EC44AD9F3827}"/>
                  </a:ext>
                </a:extLst>
              </p:cNvPr>
              <p:cNvSpPr/>
              <p:nvPr/>
            </p:nvSpPr>
            <p:spPr>
              <a:xfrm>
                <a:off x="16948550" y="8780799"/>
                <a:ext cx="17242" cy="8622"/>
              </a:xfrm>
              <a:custGeom>
                <a:avLst/>
                <a:gdLst/>
                <a:ahLst/>
                <a:cxnLst/>
                <a:rect l="0" t="0" r="0" b="0"/>
                <a:pathLst>
                  <a:path w="120000" h="120000" extrusionOk="0">
                    <a:moveTo>
                      <a:pt x="0" y="120000"/>
                    </a:moveTo>
                    <a:cubicBezTo>
                      <a:pt x="60000" y="120000"/>
                      <a:pt x="120000" y="0"/>
                      <a:pt x="60000" y="0"/>
                    </a:cubicBezTo>
                    <a:cubicBezTo>
                      <a:pt x="0" y="0"/>
                      <a:pt x="0" y="120000"/>
                      <a:pt x="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1" name="Shape 2330">
                <a:extLst>
                  <a:ext uri="{FF2B5EF4-FFF2-40B4-BE49-F238E27FC236}">
                    <a16:creationId xmlns:a16="http://schemas.microsoft.com/office/drawing/2014/main" id="{9E2FF1B3-8348-4162-AADA-3198EDD6140C}"/>
                  </a:ext>
                </a:extLst>
              </p:cNvPr>
              <p:cNvSpPr/>
              <p:nvPr/>
            </p:nvSpPr>
            <p:spPr>
              <a:xfrm>
                <a:off x="15727236" y="9125729"/>
                <a:ext cx="471283" cy="491526"/>
              </a:xfrm>
              <a:custGeom>
                <a:avLst/>
                <a:gdLst/>
                <a:ahLst/>
                <a:cxnLst/>
                <a:rect l="0" t="0" r="0" b="0"/>
                <a:pathLst>
                  <a:path w="120000" h="120000" extrusionOk="0">
                    <a:moveTo>
                      <a:pt x="25714" y="6206"/>
                    </a:moveTo>
                    <a:cubicBezTo>
                      <a:pt x="19285" y="6206"/>
                      <a:pt x="14999" y="6206"/>
                      <a:pt x="8571" y="4137"/>
                    </a:cubicBezTo>
                    <a:cubicBezTo>
                      <a:pt x="4285" y="2068"/>
                      <a:pt x="0" y="0"/>
                      <a:pt x="4285" y="6206"/>
                    </a:cubicBezTo>
                    <a:cubicBezTo>
                      <a:pt x="6428" y="10344"/>
                      <a:pt x="8571" y="16551"/>
                      <a:pt x="12857" y="18620"/>
                    </a:cubicBezTo>
                    <a:cubicBezTo>
                      <a:pt x="17142" y="20689"/>
                      <a:pt x="21428" y="22758"/>
                      <a:pt x="23571" y="26896"/>
                    </a:cubicBezTo>
                    <a:cubicBezTo>
                      <a:pt x="25714" y="28965"/>
                      <a:pt x="25714" y="33103"/>
                      <a:pt x="27857" y="35172"/>
                    </a:cubicBezTo>
                    <a:cubicBezTo>
                      <a:pt x="32142" y="37241"/>
                      <a:pt x="34285" y="37241"/>
                      <a:pt x="36428" y="39310"/>
                    </a:cubicBezTo>
                    <a:cubicBezTo>
                      <a:pt x="40714" y="43448"/>
                      <a:pt x="40714" y="49655"/>
                      <a:pt x="42857" y="53793"/>
                    </a:cubicBezTo>
                    <a:cubicBezTo>
                      <a:pt x="44999" y="55862"/>
                      <a:pt x="47142" y="57931"/>
                      <a:pt x="47142" y="57931"/>
                    </a:cubicBezTo>
                    <a:cubicBezTo>
                      <a:pt x="51428" y="62068"/>
                      <a:pt x="53571" y="64137"/>
                      <a:pt x="55714" y="68275"/>
                    </a:cubicBezTo>
                    <a:cubicBezTo>
                      <a:pt x="59999" y="74482"/>
                      <a:pt x="59999" y="80689"/>
                      <a:pt x="64285" y="86896"/>
                    </a:cubicBezTo>
                    <a:cubicBezTo>
                      <a:pt x="72857" y="93103"/>
                      <a:pt x="79285" y="101379"/>
                      <a:pt x="87857" y="107586"/>
                    </a:cubicBezTo>
                    <a:cubicBezTo>
                      <a:pt x="92142" y="111724"/>
                      <a:pt x="94285" y="113793"/>
                      <a:pt x="98571" y="117931"/>
                    </a:cubicBezTo>
                    <a:cubicBezTo>
                      <a:pt x="100714" y="117931"/>
                      <a:pt x="113571" y="120000"/>
                      <a:pt x="115714" y="117931"/>
                    </a:cubicBezTo>
                    <a:cubicBezTo>
                      <a:pt x="117857" y="115862"/>
                      <a:pt x="113571" y="99310"/>
                      <a:pt x="115714" y="95172"/>
                    </a:cubicBezTo>
                    <a:cubicBezTo>
                      <a:pt x="115714" y="93103"/>
                      <a:pt x="119999" y="93103"/>
                      <a:pt x="117857" y="91034"/>
                    </a:cubicBezTo>
                    <a:cubicBezTo>
                      <a:pt x="115714" y="88965"/>
                      <a:pt x="113571" y="86896"/>
                      <a:pt x="111428" y="84827"/>
                    </a:cubicBezTo>
                    <a:cubicBezTo>
                      <a:pt x="111428" y="84827"/>
                      <a:pt x="109285" y="82758"/>
                      <a:pt x="107142" y="82758"/>
                    </a:cubicBezTo>
                    <a:cubicBezTo>
                      <a:pt x="104999" y="82758"/>
                      <a:pt x="104999" y="86896"/>
                      <a:pt x="102857" y="86896"/>
                    </a:cubicBezTo>
                    <a:cubicBezTo>
                      <a:pt x="104999" y="86896"/>
                      <a:pt x="102857" y="78620"/>
                      <a:pt x="102857" y="78620"/>
                    </a:cubicBezTo>
                    <a:cubicBezTo>
                      <a:pt x="100714" y="76551"/>
                      <a:pt x="100714" y="76551"/>
                      <a:pt x="100714" y="74482"/>
                    </a:cubicBezTo>
                    <a:cubicBezTo>
                      <a:pt x="100714" y="72413"/>
                      <a:pt x="96428" y="70344"/>
                      <a:pt x="94285" y="70344"/>
                    </a:cubicBezTo>
                    <a:cubicBezTo>
                      <a:pt x="92142" y="68275"/>
                      <a:pt x="87857" y="66206"/>
                      <a:pt x="89999" y="62068"/>
                    </a:cubicBezTo>
                    <a:cubicBezTo>
                      <a:pt x="89999" y="62068"/>
                      <a:pt x="87857" y="60000"/>
                      <a:pt x="89999" y="60000"/>
                    </a:cubicBezTo>
                    <a:cubicBezTo>
                      <a:pt x="89999" y="57931"/>
                      <a:pt x="92142" y="60000"/>
                      <a:pt x="92142" y="57931"/>
                    </a:cubicBezTo>
                    <a:cubicBezTo>
                      <a:pt x="94285" y="53793"/>
                      <a:pt x="81428" y="53793"/>
                      <a:pt x="81428" y="55862"/>
                    </a:cubicBezTo>
                    <a:cubicBezTo>
                      <a:pt x="81428" y="53793"/>
                      <a:pt x="89999" y="51724"/>
                      <a:pt x="81428" y="51724"/>
                    </a:cubicBezTo>
                    <a:cubicBezTo>
                      <a:pt x="79285" y="51724"/>
                      <a:pt x="77142" y="49655"/>
                      <a:pt x="77142" y="49655"/>
                    </a:cubicBezTo>
                    <a:cubicBezTo>
                      <a:pt x="77142" y="47586"/>
                      <a:pt x="79285" y="47586"/>
                      <a:pt x="79285" y="47586"/>
                    </a:cubicBezTo>
                    <a:cubicBezTo>
                      <a:pt x="79285" y="45517"/>
                      <a:pt x="75000" y="45517"/>
                      <a:pt x="75000" y="45517"/>
                    </a:cubicBezTo>
                    <a:cubicBezTo>
                      <a:pt x="75000" y="45517"/>
                      <a:pt x="77142" y="43448"/>
                      <a:pt x="72857" y="43448"/>
                    </a:cubicBezTo>
                    <a:cubicBezTo>
                      <a:pt x="70714" y="41379"/>
                      <a:pt x="68571" y="41379"/>
                      <a:pt x="66428" y="39310"/>
                    </a:cubicBezTo>
                    <a:cubicBezTo>
                      <a:pt x="59999" y="31034"/>
                      <a:pt x="64285" y="39310"/>
                      <a:pt x="64285" y="39310"/>
                    </a:cubicBezTo>
                    <a:cubicBezTo>
                      <a:pt x="62142" y="39310"/>
                      <a:pt x="55714" y="33103"/>
                      <a:pt x="53571" y="33103"/>
                    </a:cubicBezTo>
                    <a:cubicBezTo>
                      <a:pt x="51428" y="28965"/>
                      <a:pt x="49285" y="24827"/>
                      <a:pt x="44999" y="22758"/>
                    </a:cubicBezTo>
                    <a:cubicBezTo>
                      <a:pt x="40714" y="20689"/>
                      <a:pt x="38571" y="18620"/>
                      <a:pt x="34285" y="14482"/>
                    </a:cubicBezTo>
                    <a:cubicBezTo>
                      <a:pt x="32142" y="12413"/>
                      <a:pt x="29999" y="6206"/>
                      <a:pt x="25714" y="620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2" name="Shape 2331">
                <a:extLst>
                  <a:ext uri="{FF2B5EF4-FFF2-40B4-BE49-F238E27FC236}">
                    <a16:creationId xmlns:a16="http://schemas.microsoft.com/office/drawing/2014/main" id="{53ADACD5-CD09-4520-8CCA-B506A9887741}"/>
                  </a:ext>
                </a:extLst>
              </p:cNvPr>
              <p:cNvSpPr/>
              <p:nvPr/>
            </p:nvSpPr>
            <p:spPr>
              <a:xfrm>
                <a:off x="15810571" y="9303946"/>
                <a:ext cx="43104" cy="43118"/>
              </a:xfrm>
              <a:custGeom>
                <a:avLst/>
                <a:gdLst/>
                <a:ahLst/>
                <a:cxnLst/>
                <a:rect l="0" t="0" r="0" b="0"/>
                <a:pathLst>
                  <a:path w="120000" h="120000" extrusionOk="0">
                    <a:moveTo>
                      <a:pt x="96000" y="96000"/>
                    </a:moveTo>
                    <a:cubicBezTo>
                      <a:pt x="120000" y="72000"/>
                      <a:pt x="48000" y="0"/>
                      <a:pt x="24000" y="0"/>
                    </a:cubicBezTo>
                    <a:cubicBezTo>
                      <a:pt x="0" y="24000"/>
                      <a:pt x="72000" y="120000"/>
                      <a:pt x="96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5" name="Shape 2332">
                <a:extLst>
                  <a:ext uri="{FF2B5EF4-FFF2-40B4-BE49-F238E27FC236}">
                    <a16:creationId xmlns:a16="http://schemas.microsoft.com/office/drawing/2014/main" id="{F3224166-AE08-4ABE-ACF5-5FD50AC961E3}"/>
                  </a:ext>
                </a:extLst>
              </p:cNvPr>
              <p:cNvSpPr/>
              <p:nvPr/>
            </p:nvSpPr>
            <p:spPr>
              <a:xfrm>
                <a:off x="15870922" y="9404550"/>
                <a:ext cx="40231" cy="43118"/>
              </a:xfrm>
              <a:custGeom>
                <a:avLst/>
                <a:gdLst/>
                <a:ahLst/>
                <a:cxnLst/>
                <a:rect l="0" t="0" r="0" b="0"/>
                <a:pathLst>
                  <a:path w="120000" h="120000" extrusionOk="0">
                    <a:moveTo>
                      <a:pt x="96000" y="96000"/>
                    </a:moveTo>
                    <a:cubicBezTo>
                      <a:pt x="120000" y="72000"/>
                      <a:pt x="48000" y="0"/>
                      <a:pt x="24000" y="0"/>
                    </a:cubicBezTo>
                    <a:cubicBezTo>
                      <a:pt x="0" y="24000"/>
                      <a:pt x="72000" y="120000"/>
                      <a:pt x="96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6" name="Shape 2333">
                <a:extLst>
                  <a:ext uri="{FF2B5EF4-FFF2-40B4-BE49-F238E27FC236}">
                    <a16:creationId xmlns:a16="http://schemas.microsoft.com/office/drawing/2014/main" id="{5BC5C77C-5CB9-477D-8425-382491C0E7D5}"/>
                  </a:ext>
                </a:extLst>
              </p:cNvPr>
              <p:cNvSpPr/>
              <p:nvPr/>
            </p:nvSpPr>
            <p:spPr>
              <a:xfrm>
                <a:off x="16155415" y="9430418"/>
                <a:ext cx="60346" cy="60363"/>
              </a:xfrm>
              <a:custGeom>
                <a:avLst/>
                <a:gdLst/>
                <a:ahLst/>
                <a:cxnLst/>
                <a:rect l="0" t="0" r="0" b="0"/>
                <a:pathLst>
                  <a:path w="120000" h="120000" extrusionOk="0">
                    <a:moveTo>
                      <a:pt x="119999" y="119999"/>
                    </a:moveTo>
                    <a:cubicBezTo>
                      <a:pt x="119999" y="85714"/>
                      <a:pt x="85714" y="85714"/>
                      <a:pt x="85714" y="51428"/>
                    </a:cubicBezTo>
                    <a:cubicBezTo>
                      <a:pt x="85714" y="17142"/>
                      <a:pt x="34285" y="0"/>
                      <a:pt x="0" y="17142"/>
                    </a:cubicBezTo>
                    <a:cubicBezTo>
                      <a:pt x="0" y="34285"/>
                      <a:pt x="0" y="51428"/>
                      <a:pt x="17142" y="51428"/>
                    </a:cubicBezTo>
                    <a:cubicBezTo>
                      <a:pt x="51428" y="51428"/>
                      <a:pt x="34285" y="68571"/>
                      <a:pt x="51428" y="85714"/>
                    </a:cubicBezTo>
                    <a:cubicBezTo>
                      <a:pt x="51428" y="102857"/>
                      <a:pt x="119999" y="119999"/>
                      <a:pt x="119999" y="11999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7" name="Shape 2334">
                <a:extLst>
                  <a:ext uri="{FF2B5EF4-FFF2-40B4-BE49-F238E27FC236}">
                    <a16:creationId xmlns:a16="http://schemas.microsoft.com/office/drawing/2014/main" id="{06242F4C-300C-42F2-890B-FCF3A6774885}"/>
                  </a:ext>
                </a:extLst>
              </p:cNvPr>
              <p:cNvSpPr/>
              <p:nvPr/>
            </p:nvSpPr>
            <p:spPr>
              <a:xfrm>
                <a:off x="16250246" y="9473536"/>
                <a:ext cx="31611" cy="31619"/>
              </a:xfrm>
              <a:custGeom>
                <a:avLst/>
                <a:gdLst/>
                <a:ahLst/>
                <a:cxnLst/>
                <a:rect l="0" t="0" r="0" b="0"/>
                <a:pathLst>
                  <a:path w="120000" h="120000" extrusionOk="0">
                    <a:moveTo>
                      <a:pt x="60000" y="90000"/>
                    </a:moveTo>
                    <a:cubicBezTo>
                      <a:pt x="0" y="120000"/>
                      <a:pt x="0" y="30000"/>
                      <a:pt x="60000" y="0"/>
                    </a:cubicBezTo>
                    <a:cubicBezTo>
                      <a:pt x="120000" y="0"/>
                      <a:pt x="120000" y="90000"/>
                      <a:pt x="60000" y="90000"/>
                    </a:cubicBezTo>
                    <a:cubicBezTo>
                      <a:pt x="30000" y="120000"/>
                      <a:pt x="90000" y="90000"/>
                      <a:pt x="600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8" name="Shape 2335">
                <a:extLst>
                  <a:ext uri="{FF2B5EF4-FFF2-40B4-BE49-F238E27FC236}">
                    <a16:creationId xmlns:a16="http://schemas.microsoft.com/office/drawing/2014/main" id="{5E9F7C8B-74AE-4762-94DE-354535915F2B}"/>
                  </a:ext>
                </a:extLst>
              </p:cNvPr>
              <p:cNvSpPr/>
              <p:nvPr/>
            </p:nvSpPr>
            <p:spPr>
              <a:xfrm>
                <a:off x="16164035" y="9617256"/>
                <a:ext cx="387947" cy="126474"/>
              </a:xfrm>
              <a:custGeom>
                <a:avLst/>
                <a:gdLst/>
                <a:ahLst/>
                <a:cxnLst/>
                <a:rect l="0" t="0" r="0" b="0"/>
                <a:pathLst>
                  <a:path w="120000" h="120000" extrusionOk="0">
                    <a:moveTo>
                      <a:pt x="23478" y="0"/>
                    </a:moveTo>
                    <a:cubicBezTo>
                      <a:pt x="18260" y="8000"/>
                      <a:pt x="15652" y="0"/>
                      <a:pt x="7826" y="0"/>
                    </a:cubicBezTo>
                    <a:cubicBezTo>
                      <a:pt x="7826" y="0"/>
                      <a:pt x="0" y="24000"/>
                      <a:pt x="0" y="32000"/>
                    </a:cubicBezTo>
                    <a:cubicBezTo>
                      <a:pt x="0" y="40000"/>
                      <a:pt x="10434" y="32000"/>
                      <a:pt x="13043" y="48000"/>
                    </a:cubicBezTo>
                    <a:cubicBezTo>
                      <a:pt x="15652" y="64000"/>
                      <a:pt x="23478" y="64000"/>
                      <a:pt x="28695" y="72000"/>
                    </a:cubicBezTo>
                    <a:cubicBezTo>
                      <a:pt x="33913" y="72000"/>
                      <a:pt x="36521" y="72000"/>
                      <a:pt x="39130" y="72000"/>
                    </a:cubicBezTo>
                    <a:cubicBezTo>
                      <a:pt x="46956" y="72000"/>
                      <a:pt x="54782" y="80000"/>
                      <a:pt x="62608" y="88000"/>
                    </a:cubicBezTo>
                    <a:cubicBezTo>
                      <a:pt x="75652" y="96000"/>
                      <a:pt x="91304" y="88000"/>
                      <a:pt x="104347" y="104000"/>
                    </a:cubicBezTo>
                    <a:cubicBezTo>
                      <a:pt x="106956" y="104000"/>
                      <a:pt x="114782" y="120000"/>
                      <a:pt x="117391" y="104000"/>
                    </a:cubicBezTo>
                    <a:cubicBezTo>
                      <a:pt x="120000" y="104000"/>
                      <a:pt x="114782" y="72000"/>
                      <a:pt x="112173" y="72000"/>
                    </a:cubicBezTo>
                    <a:cubicBezTo>
                      <a:pt x="109565" y="64000"/>
                      <a:pt x="109565" y="72000"/>
                      <a:pt x="106956" y="72000"/>
                    </a:cubicBezTo>
                    <a:cubicBezTo>
                      <a:pt x="101739" y="80000"/>
                      <a:pt x="99130" y="72000"/>
                      <a:pt x="96521" y="72000"/>
                    </a:cubicBezTo>
                    <a:cubicBezTo>
                      <a:pt x="93913" y="64000"/>
                      <a:pt x="93913" y="56000"/>
                      <a:pt x="91304" y="48000"/>
                    </a:cubicBezTo>
                    <a:cubicBezTo>
                      <a:pt x="91304" y="40000"/>
                      <a:pt x="86086" y="40000"/>
                      <a:pt x="83478" y="32000"/>
                    </a:cubicBezTo>
                    <a:cubicBezTo>
                      <a:pt x="80869" y="32000"/>
                      <a:pt x="73043" y="24000"/>
                      <a:pt x="70434" y="24000"/>
                    </a:cubicBezTo>
                    <a:cubicBezTo>
                      <a:pt x="67826" y="24000"/>
                      <a:pt x="65217" y="32000"/>
                      <a:pt x="65217" y="32000"/>
                    </a:cubicBezTo>
                    <a:cubicBezTo>
                      <a:pt x="62608" y="40000"/>
                      <a:pt x="60000" y="40000"/>
                      <a:pt x="54782" y="40000"/>
                    </a:cubicBezTo>
                    <a:cubicBezTo>
                      <a:pt x="49565" y="40000"/>
                      <a:pt x="44347" y="32000"/>
                      <a:pt x="39130" y="24000"/>
                    </a:cubicBezTo>
                    <a:cubicBezTo>
                      <a:pt x="36521" y="16000"/>
                      <a:pt x="31304" y="16000"/>
                      <a:pt x="28695" y="16000"/>
                    </a:cubicBezTo>
                    <a:cubicBezTo>
                      <a:pt x="28695" y="16000"/>
                      <a:pt x="26086" y="0"/>
                      <a:pt x="23478" y="0"/>
                    </a:cubicBezTo>
                    <a:cubicBezTo>
                      <a:pt x="20869" y="8000"/>
                      <a:pt x="26086" y="0"/>
                      <a:pt x="23478"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79" name="Shape 2336">
                <a:extLst>
                  <a:ext uri="{FF2B5EF4-FFF2-40B4-BE49-F238E27FC236}">
                    <a16:creationId xmlns:a16="http://schemas.microsoft.com/office/drawing/2014/main" id="{CD2D25F0-9F24-42FF-B9C9-C4F917B37455}"/>
                  </a:ext>
                </a:extLst>
              </p:cNvPr>
              <p:cNvSpPr/>
              <p:nvPr/>
            </p:nvSpPr>
            <p:spPr>
              <a:xfrm>
                <a:off x="16451404" y="9648873"/>
                <a:ext cx="66093" cy="25869"/>
              </a:xfrm>
              <a:custGeom>
                <a:avLst/>
                <a:gdLst/>
                <a:ahLst/>
                <a:cxnLst/>
                <a:rect l="0" t="0" r="0" b="0"/>
                <a:pathLst>
                  <a:path w="120000" h="120000" extrusionOk="0">
                    <a:moveTo>
                      <a:pt x="45000" y="120000"/>
                    </a:moveTo>
                    <a:cubicBezTo>
                      <a:pt x="0" y="80000"/>
                      <a:pt x="105000" y="0"/>
                      <a:pt x="120000" y="40000"/>
                    </a:cubicBezTo>
                    <a:cubicBezTo>
                      <a:pt x="120000" y="80000"/>
                      <a:pt x="60000" y="120000"/>
                      <a:pt x="45000" y="120000"/>
                    </a:cubicBezTo>
                    <a:cubicBezTo>
                      <a:pt x="30000" y="120000"/>
                      <a:pt x="60000" y="120000"/>
                      <a:pt x="45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0" name="Shape 2337">
                <a:extLst>
                  <a:ext uri="{FF2B5EF4-FFF2-40B4-BE49-F238E27FC236}">
                    <a16:creationId xmlns:a16="http://schemas.microsoft.com/office/drawing/2014/main" id="{8722CAD4-F43F-4B28-BE36-975890F79396}"/>
                  </a:ext>
                </a:extLst>
              </p:cNvPr>
              <p:cNvSpPr/>
              <p:nvPr/>
            </p:nvSpPr>
            <p:spPr>
              <a:xfrm>
                <a:off x="16543360" y="9709237"/>
                <a:ext cx="51724" cy="34493"/>
              </a:xfrm>
              <a:custGeom>
                <a:avLst/>
                <a:gdLst/>
                <a:ahLst/>
                <a:cxnLst/>
                <a:rect l="0" t="0" r="0" b="0"/>
                <a:pathLst>
                  <a:path w="120000" h="120000" extrusionOk="0">
                    <a:moveTo>
                      <a:pt x="60000" y="0"/>
                    </a:moveTo>
                    <a:cubicBezTo>
                      <a:pt x="40000" y="0"/>
                      <a:pt x="0" y="0"/>
                      <a:pt x="20000" y="30000"/>
                    </a:cubicBezTo>
                    <a:cubicBezTo>
                      <a:pt x="20000" y="30000"/>
                      <a:pt x="60000" y="120000"/>
                      <a:pt x="60000" y="120000"/>
                    </a:cubicBezTo>
                    <a:cubicBezTo>
                      <a:pt x="100000" y="120000"/>
                      <a:pt x="120000" y="0"/>
                      <a:pt x="6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1" name="Shape 2338">
                <a:extLst>
                  <a:ext uri="{FF2B5EF4-FFF2-40B4-BE49-F238E27FC236}">
                    <a16:creationId xmlns:a16="http://schemas.microsoft.com/office/drawing/2014/main" id="{C651D908-D989-4F80-A21D-3487D6364AD4}"/>
                  </a:ext>
                </a:extLst>
              </p:cNvPr>
              <p:cNvSpPr/>
              <p:nvPr/>
            </p:nvSpPr>
            <p:spPr>
              <a:xfrm>
                <a:off x="16595088" y="9717859"/>
                <a:ext cx="40231" cy="25869"/>
              </a:xfrm>
              <a:custGeom>
                <a:avLst/>
                <a:gdLst/>
                <a:ahLst/>
                <a:cxnLst/>
                <a:rect l="0" t="0" r="0" b="0"/>
                <a:pathLst>
                  <a:path w="120000" h="120000" extrusionOk="0">
                    <a:moveTo>
                      <a:pt x="96000" y="40000"/>
                    </a:moveTo>
                    <a:cubicBezTo>
                      <a:pt x="96000" y="40000"/>
                      <a:pt x="72000" y="0"/>
                      <a:pt x="48000" y="0"/>
                    </a:cubicBezTo>
                    <a:cubicBezTo>
                      <a:pt x="48000" y="40000"/>
                      <a:pt x="0" y="80000"/>
                      <a:pt x="24000" y="80000"/>
                    </a:cubicBezTo>
                    <a:cubicBezTo>
                      <a:pt x="24000" y="80000"/>
                      <a:pt x="48000" y="120000"/>
                      <a:pt x="48000" y="80000"/>
                    </a:cubicBezTo>
                    <a:cubicBezTo>
                      <a:pt x="72000" y="80000"/>
                      <a:pt x="120000" y="80000"/>
                      <a:pt x="96000" y="40000"/>
                    </a:cubicBezTo>
                    <a:cubicBezTo>
                      <a:pt x="96000" y="40000"/>
                      <a:pt x="120000" y="80000"/>
                      <a:pt x="96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2" name="Shape 2339">
                <a:extLst>
                  <a:ext uri="{FF2B5EF4-FFF2-40B4-BE49-F238E27FC236}">
                    <a16:creationId xmlns:a16="http://schemas.microsoft.com/office/drawing/2014/main" id="{03FE08CA-E12D-40C1-848E-3E6BB9CE81C8}"/>
                  </a:ext>
                </a:extLst>
              </p:cNvPr>
              <p:cNvSpPr/>
              <p:nvPr/>
            </p:nvSpPr>
            <p:spPr>
              <a:xfrm>
                <a:off x="16626697" y="9717859"/>
                <a:ext cx="60346" cy="34493"/>
              </a:xfrm>
              <a:custGeom>
                <a:avLst/>
                <a:gdLst/>
                <a:ahLst/>
                <a:cxnLst/>
                <a:rect l="0" t="0" r="0" b="0"/>
                <a:pathLst>
                  <a:path w="120000" h="120000" extrusionOk="0">
                    <a:moveTo>
                      <a:pt x="34285" y="30000"/>
                    </a:moveTo>
                    <a:cubicBezTo>
                      <a:pt x="17142" y="60000"/>
                      <a:pt x="0" y="120000"/>
                      <a:pt x="34285" y="120000"/>
                    </a:cubicBezTo>
                    <a:cubicBezTo>
                      <a:pt x="68571" y="120000"/>
                      <a:pt x="85714" y="120000"/>
                      <a:pt x="102857" y="90000"/>
                    </a:cubicBezTo>
                    <a:cubicBezTo>
                      <a:pt x="119999" y="90000"/>
                      <a:pt x="85714" y="60000"/>
                      <a:pt x="85714" y="30000"/>
                    </a:cubicBezTo>
                    <a:cubicBezTo>
                      <a:pt x="68571" y="0"/>
                      <a:pt x="51428" y="0"/>
                      <a:pt x="34285" y="3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3" name="Shape 2340">
                <a:extLst>
                  <a:ext uri="{FF2B5EF4-FFF2-40B4-BE49-F238E27FC236}">
                    <a16:creationId xmlns:a16="http://schemas.microsoft.com/office/drawing/2014/main" id="{AEE650C7-EA9A-44B1-B15A-57A309AED5C2}"/>
                  </a:ext>
                </a:extLst>
              </p:cNvPr>
              <p:cNvSpPr/>
              <p:nvPr/>
            </p:nvSpPr>
            <p:spPr>
              <a:xfrm>
                <a:off x="16669801" y="9709237"/>
                <a:ext cx="68966" cy="43118"/>
              </a:xfrm>
              <a:custGeom>
                <a:avLst/>
                <a:gdLst/>
                <a:ahLst/>
                <a:cxnLst/>
                <a:rect l="0" t="0" r="0" b="0"/>
                <a:pathLst>
                  <a:path w="120000" h="120000" extrusionOk="0">
                    <a:moveTo>
                      <a:pt x="15000" y="0"/>
                    </a:moveTo>
                    <a:cubicBezTo>
                      <a:pt x="0" y="0"/>
                      <a:pt x="0" y="0"/>
                      <a:pt x="0" y="24000"/>
                    </a:cubicBezTo>
                    <a:cubicBezTo>
                      <a:pt x="0" y="24000"/>
                      <a:pt x="30000" y="24000"/>
                      <a:pt x="30000" y="48000"/>
                    </a:cubicBezTo>
                    <a:cubicBezTo>
                      <a:pt x="30000" y="48000"/>
                      <a:pt x="30000" y="72000"/>
                      <a:pt x="30000" y="72000"/>
                    </a:cubicBezTo>
                    <a:cubicBezTo>
                      <a:pt x="30000" y="96000"/>
                      <a:pt x="90000" y="120000"/>
                      <a:pt x="105000" y="96000"/>
                    </a:cubicBezTo>
                    <a:cubicBezTo>
                      <a:pt x="120000" y="72000"/>
                      <a:pt x="120000" y="48000"/>
                      <a:pt x="105000" y="24000"/>
                    </a:cubicBezTo>
                    <a:cubicBezTo>
                      <a:pt x="75000" y="24000"/>
                      <a:pt x="45000" y="24000"/>
                      <a:pt x="15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4" name="Shape 2341">
                <a:extLst>
                  <a:ext uri="{FF2B5EF4-FFF2-40B4-BE49-F238E27FC236}">
                    <a16:creationId xmlns:a16="http://schemas.microsoft.com/office/drawing/2014/main" id="{34D9389C-53E6-434B-89F9-0E292BA61D2A}"/>
                  </a:ext>
                </a:extLst>
              </p:cNvPr>
              <p:cNvSpPr/>
              <p:nvPr/>
            </p:nvSpPr>
            <p:spPr>
              <a:xfrm>
                <a:off x="16761762" y="9717859"/>
                <a:ext cx="103452" cy="34493"/>
              </a:xfrm>
              <a:custGeom>
                <a:avLst/>
                <a:gdLst/>
                <a:ahLst/>
                <a:cxnLst/>
                <a:rect l="0" t="0" r="0" b="0"/>
                <a:pathLst>
                  <a:path w="120000" h="120000" extrusionOk="0">
                    <a:moveTo>
                      <a:pt x="20000" y="0"/>
                    </a:moveTo>
                    <a:cubicBezTo>
                      <a:pt x="20000" y="0"/>
                      <a:pt x="0" y="30000"/>
                      <a:pt x="0" y="60000"/>
                    </a:cubicBezTo>
                    <a:cubicBezTo>
                      <a:pt x="0" y="60000"/>
                      <a:pt x="110000" y="120000"/>
                      <a:pt x="120000" y="60000"/>
                    </a:cubicBezTo>
                    <a:cubicBezTo>
                      <a:pt x="120000" y="30000"/>
                      <a:pt x="90000" y="60000"/>
                      <a:pt x="90000" y="60000"/>
                    </a:cubicBezTo>
                    <a:cubicBezTo>
                      <a:pt x="70000" y="60000"/>
                      <a:pt x="40000" y="30000"/>
                      <a:pt x="20000" y="0"/>
                    </a:cubicBezTo>
                    <a:cubicBezTo>
                      <a:pt x="20000" y="0"/>
                      <a:pt x="30000" y="0"/>
                      <a:pt x="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5" name="Shape 2342">
                <a:extLst>
                  <a:ext uri="{FF2B5EF4-FFF2-40B4-BE49-F238E27FC236}">
                    <a16:creationId xmlns:a16="http://schemas.microsoft.com/office/drawing/2014/main" id="{A3B6FBC0-8EAD-4FA8-BD5D-B1F61E810988}"/>
                  </a:ext>
                </a:extLst>
              </p:cNvPr>
              <p:cNvSpPr/>
              <p:nvPr/>
            </p:nvSpPr>
            <p:spPr>
              <a:xfrm>
                <a:off x="16730150" y="9766725"/>
                <a:ext cx="91956" cy="51738"/>
              </a:xfrm>
              <a:custGeom>
                <a:avLst/>
                <a:gdLst/>
                <a:ahLst/>
                <a:cxnLst/>
                <a:rect l="0" t="0" r="0" b="0"/>
                <a:pathLst>
                  <a:path w="120000" h="120000" extrusionOk="0">
                    <a:moveTo>
                      <a:pt x="0" y="0"/>
                    </a:moveTo>
                    <a:cubicBezTo>
                      <a:pt x="10909" y="0"/>
                      <a:pt x="76363" y="120000"/>
                      <a:pt x="87272" y="80000"/>
                    </a:cubicBezTo>
                    <a:cubicBezTo>
                      <a:pt x="120000" y="20000"/>
                      <a:pt x="10909" y="0"/>
                      <a:pt x="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6" name="Shape 2343">
                <a:extLst>
                  <a:ext uri="{FF2B5EF4-FFF2-40B4-BE49-F238E27FC236}">
                    <a16:creationId xmlns:a16="http://schemas.microsoft.com/office/drawing/2014/main" id="{05ED60EE-FA4B-4EF5-A0DD-94E677AA6D26}"/>
                  </a:ext>
                </a:extLst>
              </p:cNvPr>
              <p:cNvSpPr/>
              <p:nvPr/>
            </p:nvSpPr>
            <p:spPr>
              <a:xfrm>
                <a:off x="17023263" y="9496530"/>
                <a:ext cx="51724" cy="34493"/>
              </a:xfrm>
              <a:custGeom>
                <a:avLst/>
                <a:gdLst/>
                <a:ahLst/>
                <a:cxnLst/>
                <a:rect l="0" t="0" r="0" b="0"/>
                <a:pathLst>
                  <a:path w="120000" h="120000" extrusionOk="0">
                    <a:moveTo>
                      <a:pt x="60000" y="90000"/>
                    </a:moveTo>
                    <a:cubicBezTo>
                      <a:pt x="0" y="120000"/>
                      <a:pt x="20000" y="0"/>
                      <a:pt x="80000" y="0"/>
                    </a:cubicBezTo>
                    <a:cubicBezTo>
                      <a:pt x="120000" y="0"/>
                      <a:pt x="100000" y="90000"/>
                      <a:pt x="60000" y="90000"/>
                    </a:cubicBezTo>
                    <a:cubicBezTo>
                      <a:pt x="40000" y="120000"/>
                      <a:pt x="100000" y="90000"/>
                      <a:pt x="600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7" name="Shape 2344">
                <a:extLst>
                  <a:ext uri="{FF2B5EF4-FFF2-40B4-BE49-F238E27FC236}">
                    <a16:creationId xmlns:a16="http://schemas.microsoft.com/office/drawing/2014/main" id="{3A51F3CF-2859-45F2-8439-40D775F5C71C}"/>
                  </a:ext>
                </a:extLst>
              </p:cNvPr>
              <p:cNvSpPr/>
              <p:nvPr/>
            </p:nvSpPr>
            <p:spPr>
              <a:xfrm>
                <a:off x="17109476" y="9490784"/>
                <a:ext cx="126441" cy="40242"/>
              </a:xfrm>
              <a:custGeom>
                <a:avLst/>
                <a:gdLst/>
                <a:ahLst/>
                <a:cxnLst/>
                <a:rect l="0" t="0" r="0" b="0"/>
                <a:pathLst>
                  <a:path w="120000" h="120000" extrusionOk="0">
                    <a:moveTo>
                      <a:pt x="16000" y="72000"/>
                    </a:moveTo>
                    <a:cubicBezTo>
                      <a:pt x="8000" y="72000"/>
                      <a:pt x="0" y="48000"/>
                      <a:pt x="8000" y="24000"/>
                    </a:cubicBezTo>
                    <a:cubicBezTo>
                      <a:pt x="16000" y="0"/>
                      <a:pt x="24000" y="0"/>
                      <a:pt x="40000" y="0"/>
                    </a:cubicBezTo>
                    <a:cubicBezTo>
                      <a:pt x="64000" y="0"/>
                      <a:pt x="80000" y="0"/>
                      <a:pt x="104000" y="48000"/>
                    </a:cubicBezTo>
                    <a:cubicBezTo>
                      <a:pt x="112000" y="72000"/>
                      <a:pt x="120000" y="96000"/>
                      <a:pt x="120000" y="120000"/>
                    </a:cubicBezTo>
                    <a:cubicBezTo>
                      <a:pt x="112000" y="120000"/>
                      <a:pt x="88000" y="72000"/>
                      <a:pt x="88000" y="72000"/>
                    </a:cubicBezTo>
                    <a:cubicBezTo>
                      <a:pt x="64000" y="48000"/>
                      <a:pt x="40000" y="72000"/>
                      <a:pt x="16000" y="72000"/>
                    </a:cubicBezTo>
                    <a:cubicBezTo>
                      <a:pt x="8000" y="72000"/>
                      <a:pt x="24000" y="72000"/>
                      <a:pt x="16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8" name="Shape 2345">
                <a:extLst>
                  <a:ext uri="{FF2B5EF4-FFF2-40B4-BE49-F238E27FC236}">
                    <a16:creationId xmlns:a16="http://schemas.microsoft.com/office/drawing/2014/main" id="{C62412F1-4812-4D80-B3B5-E2C6C8B1F0DD}"/>
                  </a:ext>
                </a:extLst>
              </p:cNvPr>
              <p:cNvSpPr/>
              <p:nvPr/>
            </p:nvSpPr>
            <p:spPr>
              <a:xfrm>
                <a:off x="16721529" y="9295319"/>
                <a:ext cx="270126" cy="304688"/>
              </a:xfrm>
              <a:custGeom>
                <a:avLst/>
                <a:gdLst/>
                <a:ahLst/>
                <a:cxnLst/>
                <a:rect l="0" t="0" r="0" b="0"/>
                <a:pathLst>
                  <a:path w="120000" h="120000" extrusionOk="0">
                    <a:moveTo>
                      <a:pt x="48750" y="106666"/>
                    </a:moveTo>
                    <a:cubicBezTo>
                      <a:pt x="48750" y="103333"/>
                      <a:pt x="52500" y="103333"/>
                      <a:pt x="52500" y="100000"/>
                    </a:cubicBezTo>
                    <a:cubicBezTo>
                      <a:pt x="52500" y="96666"/>
                      <a:pt x="45000" y="93333"/>
                      <a:pt x="41250" y="93333"/>
                    </a:cubicBezTo>
                    <a:cubicBezTo>
                      <a:pt x="37500" y="86666"/>
                      <a:pt x="45000" y="83333"/>
                      <a:pt x="45000" y="76666"/>
                    </a:cubicBezTo>
                    <a:cubicBezTo>
                      <a:pt x="45000" y="73333"/>
                      <a:pt x="30000" y="73333"/>
                      <a:pt x="30000" y="76666"/>
                    </a:cubicBezTo>
                    <a:cubicBezTo>
                      <a:pt x="26250" y="83333"/>
                      <a:pt x="30000" y="90000"/>
                      <a:pt x="30000" y="96666"/>
                    </a:cubicBezTo>
                    <a:cubicBezTo>
                      <a:pt x="26250" y="96666"/>
                      <a:pt x="30000" y="100000"/>
                      <a:pt x="30000" y="100000"/>
                    </a:cubicBezTo>
                    <a:cubicBezTo>
                      <a:pt x="30000" y="106666"/>
                      <a:pt x="26250" y="110000"/>
                      <a:pt x="26250" y="113333"/>
                    </a:cubicBezTo>
                    <a:cubicBezTo>
                      <a:pt x="22500" y="120000"/>
                      <a:pt x="26250" y="120000"/>
                      <a:pt x="15000" y="120000"/>
                    </a:cubicBezTo>
                    <a:cubicBezTo>
                      <a:pt x="3750" y="120000"/>
                      <a:pt x="15000" y="106666"/>
                      <a:pt x="15000" y="103333"/>
                    </a:cubicBezTo>
                    <a:cubicBezTo>
                      <a:pt x="18750" y="100000"/>
                      <a:pt x="15000" y="90000"/>
                      <a:pt x="7500" y="86666"/>
                    </a:cubicBezTo>
                    <a:cubicBezTo>
                      <a:pt x="0" y="83333"/>
                      <a:pt x="0" y="76666"/>
                      <a:pt x="3750" y="70000"/>
                    </a:cubicBezTo>
                    <a:cubicBezTo>
                      <a:pt x="7500" y="63333"/>
                      <a:pt x="7500" y="53333"/>
                      <a:pt x="11250" y="46666"/>
                    </a:cubicBezTo>
                    <a:cubicBezTo>
                      <a:pt x="18750" y="36666"/>
                      <a:pt x="15000" y="16666"/>
                      <a:pt x="33750" y="16666"/>
                    </a:cubicBezTo>
                    <a:cubicBezTo>
                      <a:pt x="37500" y="16666"/>
                      <a:pt x="33750" y="6666"/>
                      <a:pt x="41250" y="6666"/>
                    </a:cubicBezTo>
                    <a:cubicBezTo>
                      <a:pt x="52500" y="10000"/>
                      <a:pt x="60000" y="13333"/>
                      <a:pt x="67500" y="13333"/>
                    </a:cubicBezTo>
                    <a:cubicBezTo>
                      <a:pt x="75000" y="13333"/>
                      <a:pt x="86250" y="16666"/>
                      <a:pt x="93750" y="13333"/>
                    </a:cubicBezTo>
                    <a:cubicBezTo>
                      <a:pt x="97500" y="13333"/>
                      <a:pt x="120000" y="0"/>
                      <a:pt x="120000" y="3333"/>
                    </a:cubicBezTo>
                    <a:cubicBezTo>
                      <a:pt x="120000" y="6666"/>
                      <a:pt x="108750" y="16666"/>
                      <a:pt x="108750" y="20000"/>
                    </a:cubicBezTo>
                    <a:cubicBezTo>
                      <a:pt x="101250" y="23333"/>
                      <a:pt x="93750" y="23333"/>
                      <a:pt x="86250" y="23333"/>
                    </a:cubicBezTo>
                    <a:cubicBezTo>
                      <a:pt x="67500" y="20000"/>
                      <a:pt x="52500" y="23333"/>
                      <a:pt x="37500" y="23333"/>
                    </a:cubicBezTo>
                    <a:cubicBezTo>
                      <a:pt x="26250" y="20000"/>
                      <a:pt x="22500" y="23333"/>
                      <a:pt x="22500" y="33333"/>
                    </a:cubicBezTo>
                    <a:cubicBezTo>
                      <a:pt x="22500" y="43333"/>
                      <a:pt x="33750" y="43333"/>
                      <a:pt x="37500" y="50000"/>
                    </a:cubicBezTo>
                    <a:cubicBezTo>
                      <a:pt x="41250" y="56666"/>
                      <a:pt x="45000" y="50000"/>
                      <a:pt x="48750" y="46666"/>
                    </a:cubicBezTo>
                    <a:cubicBezTo>
                      <a:pt x="48750" y="43333"/>
                      <a:pt x="75000" y="40000"/>
                      <a:pt x="75000" y="43333"/>
                    </a:cubicBezTo>
                    <a:cubicBezTo>
                      <a:pt x="78750" y="43333"/>
                      <a:pt x="67500" y="53333"/>
                      <a:pt x="63750" y="53333"/>
                    </a:cubicBezTo>
                    <a:cubicBezTo>
                      <a:pt x="56250" y="60000"/>
                      <a:pt x="56250" y="60000"/>
                      <a:pt x="48750" y="56666"/>
                    </a:cubicBezTo>
                    <a:cubicBezTo>
                      <a:pt x="48750" y="56666"/>
                      <a:pt x="52500" y="66666"/>
                      <a:pt x="52500" y="66666"/>
                    </a:cubicBezTo>
                    <a:cubicBezTo>
                      <a:pt x="56250" y="70000"/>
                      <a:pt x="67500" y="76666"/>
                      <a:pt x="67500" y="83333"/>
                    </a:cubicBezTo>
                    <a:cubicBezTo>
                      <a:pt x="67500" y="86666"/>
                      <a:pt x="67500" y="90000"/>
                      <a:pt x="71250" y="93333"/>
                    </a:cubicBezTo>
                    <a:cubicBezTo>
                      <a:pt x="71250" y="93333"/>
                      <a:pt x="78750" y="100000"/>
                      <a:pt x="82500" y="100000"/>
                    </a:cubicBezTo>
                    <a:cubicBezTo>
                      <a:pt x="75000" y="103333"/>
                      <a:pt x="56250" y="110000"/>
                      <a:pt x="48750" y="106666"/>
                    </a:cubicBezTo>
                    <a:cubicBezTo>
                      <a:pt x="48750" y="103333"/>
                      <a:pt x="52500" y="110000"/>
                      <a:pt x="48750" y="10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89" name="Shape 2346">
                <a:extLst>
                  <a:ext uri="{FF2B5EF4-FFF2-40B4-BE49-F238E27FC236}">
                    <a16:creationId xmlns:a16="http://schemas.microsoft.com/office/drawing/2014/main" id="{3AD00507-0370-420B-86FC-CC21ED9884F4}"/>
                  </a:ext>
                </a:extLst>
              </p:cNvPr>
              <p:cNvSpPr/>
              <p:nvPr/>
            </p:nvSpPr>
            <p:spPr>
              <a:xfrm>
                <a:off x="17083611" y="9278072"/>
                <a:ext cx="66093" cy="126474"/>
              </a:xfrm>
              <a:custGeom>
                <a:avLst/>
                <a:gdLst/>
                <a:ahLst/>
                <a:cxnLst/>
                <a:rect l="0" t="0" r="0" b="0"/>
                <a:pathLst>
                  <a:path w="120000" h="120000" extrusionOk="0">
                    <a:moveTo>
                      <a:pt x="45000" y="16000"/>
                    </a:moveTo>
                    <a:cubicBezTo>
                      <a:pt x="45000" y="8000"/>
                      <a:pt x="45000" y="8000"/>
                      <a:pt x="45000" y="0"/>
                    </a:cubicBezTo>
                    <a:cubicBezTo>
                      <a:pt x="30000" y="0"/>
                      <a:pt x="0" y="24000"/>
                      <a:pt x="0" y="32000"/>
                    </a:cubicBezTo>
                    <a:cubicBezTo>
                      <a:pt x="0" y="40000"/>
                      <a:pt x="15000" y="48000"/>
                      <a:pt x="15000" y="64000"/>
                    </a:cubicBezTo>
                    <a:cubicBezTo>
                      <a:pt x="15000" y="72000"/>
                      <a:pt x="15000" y="88000"/>
                      <a:pt x="30000" y="96000"/>
                    </a:cubicBezTo>
                    <a:cubicBezTo>
                      <a:pt x="30000" y="96000"/>
                      <a:pt x="75000" y="120000"/>
                      <a:pt x="75000" y="120000"/>
                    </a:cubicBezTo>
                    <a:cubicBezTo>
                      <a:pt x="75000" y="120000"/>
                      <a:pt x="60000" y="104000"/>
                      <a:pt x="60000" y="104000"/>
                    </a:cubicBezTo>
                    <a:cubicBezTo>
                      <a:pt x="45000" y="96000"/>
                      <a:pt x="45000" y="80000"/>
                      <a:pt x="45000" y="72000"/>
                    </a:cubicBezTo>
                    <a:cubicBezTo>
                      <a:pt x="45000" y="64000"/>
                      <a:pt x="105000" y="72000"/>
                      <a:pt x="105000" y="72000"/>
                    </a:cubicBezTo>
                    <a:cubicBezTo>
                      <a:pt x="120000" y="72000"/>
                      <a:pt x="90000" y="64000"/>
                      <a:pt x="75000" y="56000"/>
                    </a:cubicBezTo>
                    <a:cubicBezTo>
                      <a:pt x="75000" y="56000"/>
                      <a:pt x="90000" y="48000"/>
                      <a:pt x="90000" y="40000"/>
                    </a:cubicBezTo>
                    <a:cubicBezTo>
                      <a:pt x="105000" y="8000"/>
                      <a:pt x="45000" y="48000"/>
                      <a:pt x="30000" y="48000"/>
                    </a:cubicBezTo>
                    <a:cubicBezTo>
                      <a:pt x="30000" y="48000"/>
                      <a:pt x="60000" y="24000"/>
                      <a:pt x="45000" y="16000"/>
                    </a:cubicBezTo>
                    <a:cubicBezTo>
                      <a:pt x="45000" y="8000"/>
                      <a:pt x="60000" y="24000"/>
                      <a:pt x="45000" y="1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0" name="Shape 2347">
                <a:extLst>
                  <a:ext uri="{FF2B5EF4-FFF2-40B4-BE49-F238E27FC236}">
                    <a16:creationId xmlns:a16="http://schemas.microsoft.com/office/drawing/2014/main" id="{244B3EF7-D815-4FC2-98EF-35038558996E}"/>
                  </a:ext>
                </a:extLst>
              </p:cNvPr>
              <p:cNvSpPr/>
              <p:nvPr/>
            </p:nvSpPr>
            <p:spPr>
              <a:xfrm>
                <a:off x="17118098" y="9260827"/>
                <a:ext cx="22988" cy="17246"/>
              </a:xfrm>
              <a:custGeom>
                <a:avLst/>
                <a:gdLst/>
                <a:ahLst/>
                <a:cxnLst/>
                <a:rect l="0" t="0" r="0" b="0"/>
                <a:pathLst>
                  <a:path w="120000" h="120000" extrusionOk="0">
                    <a:moveTo>
                      <a:pt x="40000" y="120000"/>
                    </a:moveTo>
                    <a:cubicBezTo>
                      <a:pt x="0" y="120000"/>
                      <a:pt x="40000" y="0"/>
                      <a:pt x="80000" y="0"/>
                    </a:cubicBezTo>
                    <a:cubicBezTo>
                      <a:pt x="120000" y="0"/>
                      <a:pt x="80000" y="120000"/>
                      <a:pt x="4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1" name="Shape 2348">
                <a:extLst>
                  <a:ext uri="{FF2B5EF4-FFF2-40B4-BE49-F238E27FC236}">
                    <a16:creationId xmlns:a16="http://schemas.microsoft.com/office/drawing/2014/main" id="{41D5FE71-C833-496E-8226-E29912667680}"/>
                  </a:ext>
                </a:extLst>
              </p:cNvPr>
              <p:cNvSpPr/>
              <p:nvPr/>
            </p:nvSpPr>
            <p:spPr>
              <a:xfrm>
                <a:off x="17210055" y="9370055"/>
                <a:ext cx="40231" cy="17246"/>
              </a:xfrm>
              <a:custGeom>
                <a:avLst/>
                <a:gdLst/>
                <a:ahLst/>
                <a:cxnLst/>
                <a:rect l="0" t="0" r="0" b="0"/>
                <a:pathLst>
                  <a:path w="120000" h="120000" extrusionOk="0">
                    <a:moveTo>
                      <a:pt x="120000" y="60000"/>
                    </a:moveTo>
                    <a:cubicBezTo>
                      <a:pt x="120000" y="0"/>
                      <a:pt x="0" y="0"/>
                      <a:pt x="0" y="60000"/>
                    </a:cubicBezTo>
                    <a:cubicBezTo>
                      <a:pt x="0" y="60000"/>
                      <a:pt x="120000" y="120000"/>
                      <a:pt x="12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2" name="Shape 2349">
                <a:extLst>
                  <a:ext uri="{FF2B5EF4-FFF2-40B4-BE49-F238E27FC236}">
                    <a16:creationId xmlns:a16="http://schemas.microsoft.com/office/drawing/2014/main" id="{9A64A0CB-94FD-46C9-89E3-8210778EA77E}"/>
                  </a:ext>
                </a:extLst>
              </p:cNvPr>
              <p:cNvSpPr/>
              <p:nvPr/>
            </p:nvSpPr>
            <p:spPr>
              <a:xfrm>
                <a:off x="17218676" y="9378677"/>
                <a:ext cx="158052" cy="94856"/>
              </a:xfrm>
              <a:custGeom>
                <a:avLst/>
                <a:gdLst/>
                <a:ahLst/>
                <a:cxnLst/>
                <a:rect l="0" t="0" r="0" b="0"/>
                <a:pathLst>
                  <a:path w="120000" h="120000" extrusionOk="0">
                    <a:moveTo>
                      <a:pt x="63157" y="10909"/>
                    </a:moveTo>
                    <a:cubicBezTo>
                      <a:pt x="56842" y="0"/>
                      <a:pt x="31578" y="21818"/>
                      <a:pt x="25263" y="32727"/>
                    </a:cubicBezTo>
                    <a:cubicBezTo>
                      <a:pt x="18947" y="32727"/>
                      <a:pt x="25263" y="32727"/>
                      <a:pt x="18947" y="43636"/>
                    </a:cubicBezTo>
                    <a:cubicBezTo>
                      <a:pt x="18947" y="54545"/>
                      <a:pt x="12631" y="32727"/>
                      <a:pt x="6315" y="32727"/>
                    </a:cubicBezTo>
                    <a:cubicBezTo>
                      <a:pt x="0" y="32727"/>
                      <a:pt x="12631" y="65454"/>
                      <a:pt x="18947" y="65454"/>
                    </a:cubicBezTo>
                    <a:cubicBezTo>
                      <a:pt x="18947" y="76363"/>
                      <a:pt x="31578" y="76363"/>
                      <a:pt x="37894" y="76363"/>
                    </a:cubicBezTo>
                    <a:cubicBezTo>
                      <a:pt x="50526" y="76363"/>
                      <a:pt x="50526" y="98181"/>
                      <a:pt x="56842" y="109090"/>
                    </a:cubicBezTo>
                    <a:cubicBezTo>
                      <a:pt x="63157" y="120000"/>
                      <a:pt x="82105" y="109090"/>
                      <a:pt x="88421" y="109090"/>
                    </a:cubicBezTo>
                    <a:cubicBezTo>
                      <a:pt x="113684" y="109090"/>
                      <a:pt x="120000" y="87272"/>
                      <a:pt x="113684" y="54545"/>
                    </a:cubicBezTo>
                    <a:cubicBezTo>
                      <a:pt x="113684" y="32727"/>
                      <a:pt x="107368" y="21818"/>
                      <a:pt x="94736" y="21818"/>
                    </a:cubicBezTo>
                    <a:cubicBezTo>
                      <a:pt x="88421" y="21818"/>
                      <a:pt x="75789" y="10909"/>
                      <a:pt x="63157" y="10909"/>
                    </a:cubicBezTo>
                    <a:cubicBezTo>
                      <a:pt x="63157" y="10909"/>
                      <a:pt x="69473" y="10909"/>
                      <a:pt x="63157" y="1090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4" name="Shape 2350">
                <a:extLst>
                  <a:ext uri="{FF2B5EF4-FFF2-40B4-BE49-F238E27FC236}">
                    <a16:creationId xmlns:a16="http://schemas.microsoft.com/office/drawing/2014/main" id="{240E401B-C2F4-4DAB-B442-ED816AEB4982}"/>
                  </a:ext>
                </a:extLst>
              </p:cNvPr>
              <p:cNvSpPr/>
              <p:nvPr/>
            </p:nvSpPr>
            <p:spPr>
              <a:xfrm>
                <a:off x="17968705" y="9539648"/>
                <a:ext cx="175294" cy="100604"/>
              </a:xfrm>
              <a:custGeom>
                <a:avLst/>
                <a:gdLst/>
                <a:ahLst/>
                <a:cxnLst/>
                <a:rect l="0" t="0" r="0" b="0"/>
                <a:pathLst>
                  <a:path w="120000" h="120000" extrusionOk="0">
                    <a:moveTo>
                      <a:pt x="0" y="80000"/>
                    </a:moveTo>
                    <a:cubicBezTo>
                      <a:pt x="5714" y="70000"/>
                      <a:pt x="28571" y="80000"/>
                      <a:pt x="34285" y="80000"/>
                    </a:cubicBezTo>
                    <a:cubicBezTo>
                      <a:pt x="40000" y="80000"/>
                      <a:pt x="45714" y="60000"/>
                      <a:pt x="51428" y="70000"/>
                    </a:cubicBezTo>
                    <a:cubicBezTo>
                      <a:pt x="57142" y="80000"/>
                      <a:pt x="68571" y="80000"/>
                      <a:pt x="74285" y="70000"/>
                    </a:cubicBezTo>
                    <a:cubicBezTo>
                      <a:pt x="74285" y="60000"/>
                      <a:pt x="80000" y="50000"/>
                      <a:pt x="80000" y="50000"/>
                    </a:cubicBezTo>
                    <a:cubicBezTo>
                      <a:pt x="85714" y="50000"/>
                      <a:pt x="97142" y="50000"/>
                      <a:pt x="97142" y="30000"/>
                    </a:cubicBezTo>
                    <a:cubicBezTo>
                      <a:pt x="97142" y="0"/>
                      <a:pt x="120000" y="20000"/>
                      <a:pt x="114285" y="40000"/>
                    </a:cubicBezTo>
                    <a:cubicBezTo>
                      <a:pt x="108571" y="50000"/>
                      <a:pt x="102857" y="70000"/>
                      <a:pt x="102857" y="70000"/>
                    </a:cubicBezTo>
                    <a:cubicBezTo>
                      <a:pt x="85714" y="80000"/>
                      <a:pt x="80000" y="100000"/>
                      <a:pt x="62857" y="110000"/>
                    </a:cubicBezTo>
                    <a:cubicBezTo>
                      <a:pt x="51428" y="120000"/>
                      <a:pt x="0" y="110000"/>
                      <a:pt x="0" y="80000"/>
                    </a:cubicBezTo>
                    <a:cubicBezTo>
                      <a:pt x="0" y="70000"/>
                      <a:pt x="0" y="100000"/>
                      <a:pt x="0"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5" name="Shape 2351">
                <a:extLst>
                  <a:ext uri="{FF2B5EF4-FFF2-40B4-BE49-F238E27FC236}">
                    <a16:creationId xmlns:a16="http://schemas.microsoft.com/office/drawing/2014/main" id="{26445CA1-9C3F-4CBF-8E08-E5348DDF8C70}"/>
                  </a:ext>
                </a:extLst>
              </p:cNvPr>
              <p:cNvSpPr/>
              <p:nvPr/>
            </p:nvSpPr>
            <p:spPr>
              <a:xfrm>
                <a:off x="18221590" y="9591385"/>
                <a:ext cx="74715" cy="91980"/>
              </a:xfrm>
              <a:custGeom>
                <a:avLst/>
                <a:gdLst/>
                <a:ahLst/>
                <a:cxnLst/>
                <a:rect l="0" t="0" r="0" b="0"/>
                <a:pathLst>
                  <a:path w="120000" h="120000" extrusionOk="0">
                    <a:moveTo>
                      <a:pt x="13333" y="0"/>
                    </a:moveTo>
                    <a:cubicBezTo>
                      <a:pt x="0" y="10909"/>
                      <a:pt x="66666" y="120000"/>
                      <a:pt x="106666" y="87272"/>
                    </a:cubicBezTo>
                    <a:cubicBezTo>
                      <a:pt x="120000" y="65454"/>
                      <a:pt x="80000" y="43636"/>
                      <a:pt x="66666" y="43636"/>
                    </a:cubicBezTo>
                    <a:cubicBezTo>
                      <a:pt x="53333" y="32727"/>
                      <a:pt x="13333" y="0"/>
                      <a:pt x="13333" y="0"/>
                    </a:cubicBezTo>
                    <a:cubicBezTo>
                      <a:pt x="0" y="10909"/>
                      <a:pt x="26666" y="0"/>
                      <a:pt x="13333"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6" name="Shape 2352">
                <a:extLst>
                  <a:ext uri="{FF2B5EF4-FFF2-40B4-BE49-F238E27FC236}">
                    <a16:creationId xmlns:a16="http://schemas.microsoft.com/office/drawing/2014/main" id="{E0701FA2-725D-4997-8D12-64A275E63754}"/>
                  </a:ext>
                </a:extLst>
              </p:cNvPr>
              <p:cNvSpPr/>
              <p:nvPr/>
            </p:nvSpPr>
            <p:spPr>
              <a:xfrm>
                <a:off x="18439987" y="9760979"/>
                <a:ext cx="48851" cy="48864"/>
              </a:xfrm>
              <a:custGeom>
                <a:avLst/>
                <a:gdLst/>
                <a:ahLst/>
                <a:cxnLst/>
                <a:rect l="0" t="0" r="0" b="0"/>
                <a:pathLst>
                  <a:path w="120000" h="120000" extrusionOk="0">
                    <a:moveTo>
                      <a:pt x="120000" y="80000"/>
                    </a:moveTo>
                    <a:cubicBezTo>
                      <a:pt x="120000" y="40000"/>
                      <a:pt x="0" y="0"/>
                      <a:pt x="20000" y="40000"/>
                    </a:cubicBezTo>
                    <a:cubicBezTo>
                      <a:pt x="20000" y="60000"/>
                      <a:pt x="120000" y="100000"/>
                      <a:pt x="120000" y="80000"/>
                    </a:cubicBezTo>
                    <a:cubicBezTo>
                      <a:pt x="120000" y="60000"/>
                      <a:pt x="120000" y="120000"/>
                      <a:pt x="120000"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7" name="Shape 2353">
                <a:extLst>
                  <a:ext uri="{FF2B5EF4-FFF2-40B4-BE49-F238E27FC236}">
                    <a16:creationId xmlns:a16="http://schemas.microsoft.com/office/drawing/2014/main" id="{EAAA0BA1-0741-4BE2-832A-8B997A293718}"/>
                  </a:ext>
                </a:extLst>
              </p:cNvPr>
              <p:cNvSpPr/>
              <p:nvPr/>
            </p:nvSpPr>
            <p:spPr>
              <a:xfrm>
                <a:off x="18388262" y="9683368"/>
                <a:ext cx="77590" cy="51738"/>
              </a:xfrm>
              <a:custGeom>
                <a:avLst/>
                <a:gdLst/>
                <a:ahLst/>
                <a:cxnLst/>
                <a:rect l="0" t="0" r="0" b="0"/>
                <a:pathLst>
                  <a:path w="120000" h="120000" extrusionOk="0">
                    <a:moveTo>
                      <a:pt x="106666" y="120000"/>
                    </a:moveTo>
                    <a:cubicBezTo>
                      <a:pt x="80000" y="100000"/>
                      <a:pt x="40000" y="0"/>
                      <a:pt x="0" y="20000"/>
                    </a:cubicBezTo>
                    <a:cubicBezTo>
                      <a:pt x="0" y="40000"/>
                      <a:pt x="40000" y="60000"/>
                      <a:pt x="40000" y="80000"/>
                    </a:cubicBezTo>
                    <a:cubicBezTo>
                      <a:pt x="66666" y="80000"/>
                      <a:pt x="80000" y="100000"/>
                      <a:pt x="106666" y="120000"/>
                    </a:cubicBezTo>
                    <a:cubicBezTo>
                      <a:pt x="120000" y="120000"/>
                      <a:pt x="80000" y="100000"/>
                      <a:pt x="106666"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98" name="Shape 2354">
                <a:extLst>
                  <a:ext uri="{FF2B5EF4-FFF2-40B4-BE49-F238E27FC236}">
                    <a16:creationId xmlns:a16="http://schemas.microsoft.com/office/drawing/2014/main" id="{287CDE6C-0628-4222-9F2B-D80BB43FBDD1}"/>
                  </a:ext>
                </a:extLst>
              </p:cNvPr>
              <p:cNvSpPr/>
              <p:nvPr/>
            </p:nvSpPr>
            <p:spPr>
              <a:xfrm>
                <a:off x="18313546" y="9648873"/>
                <a:ext cx="34484" cy="43118"/>
              </a:xfrm>
              <a:custGeom>
                <a:avLst/>
                <a:gdLst/>
                <a:ahLst/>
                <a:cxnLst/>
                <a:rect l="0" t="0" r="0" b="0"/>
                <a:pathLst>
                  <a:path w="120000" h="120000" extrusionOk="0">
                    <a:moveTo>
                      <a:pt x="120000" y="96000"/>
                    </a:moveTo>
                    <a:cubicBezTo>
                      <a:pt x="120000" y="48000"/>
                      <a:pt x="0" y="0"/>
                      <a:pt x="0" y="0"/>
                    </a:cubicBezTo>
                    <a:cubicBezTo>
                      <a:pt x="0" y="24000"/>
                      <a:pt x="120000" y="120000"/>
                      <a:pt x="120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0" name="Shape 2355">
                <a:extLst>
                  <a:ext uri="{FF2B5EF4-FFF2-40B4-BE49-F238E27FC236}">
                    <a16:creationId xmlns:a16="http://schemas.microsoft.com/office/drawing/2014/main" id="{C88CF70A-BA4D-4BE2-B301-DE92A44CE718}"/>
                  </a:ext>
                </a:extLst>
              </p:cNvPr>
              <p:cNvSpPr/>
              <p:nvPr/>
            </p:nvSpPr>
            <p:spPr>
              <a:xfrm>
                <a:off x="18623902" y="10241006"/>
                <a:ext cx="135061" cy="100604"/>
              </a:xfrm>
              <a:custGeom>
                <a:avLst/>
                <a:gdLst/>
                <a:ahLst/>
                <a:cxnLst/>
                <a:rect l="0" t="0" r="0" b="0"/>
                <a:pathLst>
                  <a:path w="120000" h="120000" extrusionOk="0">
                    <a:moveTo>
                      <a:pt x="112500" y="110000"/>
                    </a:moveTo>
                    <a:cubicBezTo>
                      <a:pt x="120000" y="120000"/>
                      <a:pt x="22500" y="0"/>
                      <a:pt x="15000" y="0"/>
                    </a:cubicBezTo>
                    <a:cubicBezTo>
                      <a:pt x="0" y="0"/>
                      <a:pt x="52500" y="90000"/>
                      <a:pt x="112500" y="11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1" name="Shape 2356">
                <a:extLst>
                  <a:ext uri="{FF2B5EF4-FFF2-40B4-BE49-F238E27FC236}">
                    <a16:creationId xmlns:a16="http://schemas.microsoft.com/office/drawing/2014/main" id="{BCA35590-D7E1-4612-B6AD-53CD51EA9231}"/>
                  </a:ext>
                </a:extLst>
              </p:cNvPr>
              <p:cNvSpPr/>
              <p:nvPr/>
            </p:nvSpPr>
            <p:spPr>
              <a:xfrm>
                <a:off x="18985985" y="10882003"/>
                <a:ext cx="94832" cy="117851"/>
              </a:xfrm>
              <a:custGeom>
                <a:avLst/>
                <a:gdLst/>
                <a:ahLst/>
                <a:cxnLst/>
                <a:rect l="0" t="0" r="0" b="0"/>
                <a:pathLst>
                  <a:path w="120000" h="120000" extrusionOk="0">
                    <a:moveTo>
                      <a:pt x="120000" y="119999"/>
                    </a:moveTo>
                    <a:cubicBezTo>
                      <a:pt x="109090" y="102857"/>
                      <a:pt x="120000" y="94285"/>
                      <a:pt x="98181" y="85714"/>
                    </a:cubicBezTo>
                    <a:cubicBezTo>
                      <a:pt x="87272" y="68571"/>
                      <a:pt x="98181" y="68571"/>
                      <a:pt x="98181" y="59999"/>
                    </a:cubicBezTo>
                    <a:cubicBezTo>
                      <a:pt x="87272" y="42857"/>
                      <a:pt x="0" y="8571"/>
                      <a:pt x="0" y="0"/>
                    </a:cubicBezTo>
                    <a:cubicBezTo>
                      <a:pt x="0" y="8571"/>
                      <a:pt x="32727" y="25714"/>
                      <a:pt x="32727" y="34285"/>
                    </a:cubicBezTo>
                    <a:cubicBezTo>
                      <a:pt x="43636" y="51428"/>
                      <a:pt x="43636" y="59999"/>
                      <a:pt x="54545" y="68571"/>
                    </a:cubicBezTo>
                    <a:cubicBezTo>
                      <a:pt x="65454" y="77142"/>
                      <a:pt x="98181" y="85714"/>
                      <a:pt x="87272" y="94285"/>
                    </a:cubicBezTo>
                    <a:cubicBezTo>
                      <a:pt x="87272" y="111428"/>
                      <a:pt x="98181" y="111428"/>
                      <a:pt x="120000" y="11999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2" name="Shape 2357">
                <a:extLst>
                  <a:ext uri="{FF2B5EF4-FFF2-40B4-BE49-F238E27FC236}">
                    <a16:creationId xmlns:a16="http://schemas.microsoft.com/office/drawing/2014/main" id="{64E356E1-B09F-4384-AD47-BD3AF195AE49}"/>
                  </a:ext>
                </a:extLst>
              </p:cNvPr>
              <p:cNvSpPr/>
              <p:nvPr/>
            </p:nvSpPr>
            <p:spPr>
              <a:xfrm>
                <a:off x="19011849" y="10991232"/>
                <a:ext cx="218396" cy="255824"/>
              </a:xfrm>
              <a:custGeom>
                <a:avLst/>
                <a:gdLst/>
                <a:ahLst/>
                <a:cxnLst/>
                <a:rect l="0" t="0" r="0" b="0"/>
                <a:pathLst>
                  <a:path w="120000" h="120000" extrusionOk="0">
                    <a:moveTo>
                      <a:pt x="36923" y="8000"/>
                    </a:moveTo>
                    <a:cubicBezTo>
                      <a:pt x="32307" y="8000"/>
                      <a:pt x="32307" y="36000"/>
                      <a:pt x="32307" y="44000"/>
                    </a:cubicBezTo>
                    <a:cubicBezTo>
                      <a:pt x="27692" y="52000"/>
                      <a:pt x="0" y="64000"/>
                      <a:pt x="23076" y="72000"/>
                    </a:cubicBezTo>
                    <a:cubicBezTo>
                      <a:pt x="36923" y="76000"/>
                      <a:pt x="50769" y="84000"/>
                      <a:pt x="41538" y="100000"/>
                    </a:cubicBezTo>
                    <a:cubicBezTo>
                      <a:pt x="27692" y="120000"/>
                      <a:pt x="50769" y="116000"/>
                      <a:pt x="64615" y="104000"/>
                    </a:cubicBezTo>
                    <a:cubicBezTo>
                      <a:pt x="69230" y="100000"/>
                      <a:pt x="73846" y="92000"/>
                      <a:pt x="78461" y="88000"/>
                    </a:cubicBezTo>
                    <a:cubicBezTo>
                      <a:pt x="87692" y="76000"/>
                      <a:pt x="83076" y="76000"/>
                      <a:pt x="83076" y="64000"/>
                    </a:cubicBezTo>
                    <a:cubicBezTo>
                      <a:pt x="87692" y="56000"/>
                      <a:pt x="96923" y="56000"/>
                      <a:pt x="101538" y="56000"/>
                    </a:cubicBezTo>
                    <a:cubicBezTo>
                      <a:pt x="106153" y="60000"/>
                      <a:pt x="115384" y="44000"/>
                      <a:pt x="120000" y="40000"/>
                    </a:cubicBezTo>
                    <a:cubicBezTo>
                      <a:pt x="120000" y="36000"/>
                      <a:pt x="120000" y="24000"/>
                      <a:pt x="115384" y="24000"/>
                    </a:cubicBezTo>
                    <a:cubicBezTo>
                      <a:pt x="106153" y="24000"/>
                      <a:pt x="96923" y="32000"/>
                      <a:pt x="92307" y="32000"/>
                    </a:cubicBezTo>
                    <a:cubicBezTo>
                      <a:pt x="83076" y="32000"/>
                      <a:pt x="69230" y="28000"/>
                      <a:pt x="64615" y="20000"/>
                    </a:cubicBezTo>
                    <a:cubicBezTo>
                      <a:pt x="60000" y="16000"/>
                      <a:pt x="60000" y="0"/>
                      <a:pt x="50769" y="0"/>
                    </a:cubicBezTo>
                    <a:cubicBezTo>
                      <a:pt x="50769" y="0"/>
                      <a:pt x="50769" y="12000"/>
                      <a:pt x="50769" y="12000"/>
                    </a:cubicBezTo>
                    <a:cubicBezTo>
                      <a:pt x="46153" y="12000"/>
                      <a:pt x="41538" y="4000"/>
                      <a:pt x="36923" y="8000"/>
                    </a:cubicBezTo>
                    <a:cubicBezTo>
                      <a:pt x="32307" y="8000"/>
                      <a:pt x="41538" y="4000"/>
                      <a:pt x="36923" y="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3" name="Shape 2358">
                <a:extLst>
                  <a:ext uri="{FF2B5EF4-FFF2-40B4-BE49-F238E27FC236}">
                    <a16:creationId xmlns:a16="http://schemas.microsoft.com/office/drawing/2014/main" id="{D2619ADD-C23C-4AD0-9A3A-CD4BEF8D49E6}"/>
                  </a:ext>
                </a:extLst>
              </p:cNvPr>
              <p:cNvSpPr/>
              <p:nvPr/>
            </p:nvSpPr>
            <p:spPr>
              <a:xfrm>
                <a:off x="18724483" y="11178068"/>
                <a:ext cx="330473" cy="321936"/>
              </a:xfrm>
              <a:custGeom>
                <a:avLst/>
                <a:gdLst/>
                <a:ahLst/>
                <a:cxnLst/>
                <a:rect l="0" t="0" r="0" b="0"/>
                <a:pathLst>
                  <a:path w="120000" h="120000" extrusionOk="0">
                    <a:moveTo>
                      <a:pt x="101538" y="12631"/>
                    </a:moveTo>
                    <a:cubicBezTo>
                      <a:pt x="101538" y="12631"/>
                      <a:pt x="98461" y="0"/>
                      <a:pt x="92307" y="3157"/>
                    </a:cubicBezTo>
                    <a:cubicBezTo>
                      <a:pt x="83076" y="9473"/>
                      <a:pt x="86153" y="15789"/>
                      <a:pt x="80000" y="25263"/>
                    </a:cubicBezTo>
                    <a:cubicBezTo>
                      <a:pt x="76923" y="28421"/>
                      <a:pt x="73846" y="37894"/>
                      <a:pt x="67692" y="41052"/>
                    </a:cubicBezTo>
                    <a:cubicBezTo>
                      <a:pt x="61538" y="50526"/>
                      <a:pt x="55384" y="53684"/>
                      <a:pt x="46153" y="56842"/>
                    </a:cubicBezTo>
                    <a:cubicBezTo>
                      <a:pt x="40000" y="60000"/>
                      <a:pt x="36923" y="66315"/>
                      <a:pt x="27692" y="69473"/>
                    </a:cubicBezTo>
                    <a:cubicBezTo>
                      <a:pt x="21538" y="72631"/>
                      <a:pt x="21538" y="85263"/>
                      <a:pt x="12307" y="85263"/>
                    </a:cubicBezTo>
                    <a:cubicBezTo>
                      <a:pt x="0" y="88421"/>
                      <a:pt x="12307" y="97894"/>
                      <a:pt x="6153" y="104210"/>
                    </a:cubicBezTo>
                    <a:cubicBezTo>
                      <a:pt x="3076" y="104210"/>
                      <a:pt x="0" y="104210"/>
                      <a:pt x="3076" y="107368"/>
                    </a:cubicBezTo>
                    <a:cubicBezTo>
                      <a:pt x="3076" y="110526"/>
                      <a:pt x="3076" y="110526"/>
                      <a:pt x="9230" y="110526"/>
                    </a:cubicBezTo>
                    <a:cubicBezTo>
                      <a:pt x="15384" y="110526"/>
                      <a:pt x="24615" y="116842"/>
                      <a:pt x="30769" y="116842"/>
                    </a:cubicBezTo>
                    <a:cubicBezTo>
                      <a:pt x="43076" y="120000"/>
                      <a:pt x="49230" y="113684"/>
                      <a:pt x="58461" y="107368"/>
                    </a:cubicBezTo>
                    <a:cubicBezTo>
                      <a:pt x="64615" y="101052"/>
                      <a:pt x="67692" y="94736"/>
                      <a:pt x="67692" y="85263"/>
                    </a:cubicBezTo>
                    <a:cubicBezTo>
                      <a:pt x="70769" y="75789"/>
                      <a:pt x="73846" y="75789"/>
                      <a:pt x="83076" y="69473"/>
                    </a:cubicBezTo>
                    <a:cubicBezTo>
                      <a:pt x="86153" y="69473"/>
                      <a:pt x="86153" y="66315"/>
                      <a:pt x="89230" y="66315"/>
                    </a:cubicBezTo>
                    <a:cubicBezTo>
                      <a:pt x="92307" y="66315"/>
                      <a:pt x="95384" y="66315"/>
                      <a:pt x="101538" y="66315"/>
                    </a:cubicBezTo>
                    <a:cubicBezTo>
                      <a:pt x="104615" y="63157"/>
                      <a:pt x="101538" y="60000"/>
                      <a:pt x="98461" y="60000"/>
                    </a:cubicBezTo>
                    <a:cubicBezTo>
                      <a:pt x="95384" y="56842"/>
                      <a:pt x="95384" y="56842"/>
                      <a:pt x="98461" y="53684"/>
                    </a:cubicBezTo>
                    <a:cubicBezTo>
                      <a:pt x="104615" y="44210"/>
                      <a:pt x="110769" y="37894"/>
                      <a:pt x="116923" y="28421"/>
                    </a:cubicBezTo>
                    <a:cubicBezTo>
                      <a:pt x="116923" y="25263"/>
                      <a:pt x="116923" y="22105"/>
                      <a:pt x="116923" y="18947"/>
                    </a:cubicBezTo>
                    <a:cubicBezTo>
                      <a:pt x="116923" y="15789"/>
                      <a:pt x="116923" y="15789"/>
                      <a:pt x="116923" y="12631"/>
                    </a:cubicBezTo>
                    <a:cubicBezTo>
                      <a:pt x="120000" y="9473"/>
                      <a:pt x="113846" y="12631"/>
                      <a:pt x="113846" y="12631"/>
                    </a:cubicBezTo>
                    <a:cubicBezTo>
                      <a:pt x="113846" y="9473"/>
                      <a:pt x="113846" y="9473"/>
                      <a:pt x="113846" y="6315"/>
                    </a:cubicBezTo>
                    <a:cubicBezTo>
                      <a:pt x="110769" y="9473"/>
                      <a:pt x="107692" y="15789"/>
                      <a:pt x="101538" y="1263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4" name="Shape 2359">
                <a:extLst>
                  <a:ext uri="{FF2B5EF4-FFF2-40B4-BE49-F238E27FC236}">
                    <a16:creationId xmlns:a16="http://schemas.microsoft.com/office/drawing/2014/main" id="{E7DBC94D-7D00-4090-9A2B-9C9FF71673DB}"/>
                  </a:ext>
                </a:extLst>
              </p:cNvPr>
              <p:cNvSpPr/>
              <p:nvPr/>
            </p:nvSpPr>
            <p:spPr>
              <a:xfrm>
                <a:off x="18776207" y="11500007"/>
                <a:ext cx="17242" cy="17246"/>
              </a:xfrm>
              <a:custGeom>
                <a:avLst/>
                <a:gdLst/>
                <a:ahLst/>
                <a:cxnLst/>
                <a:rect l="0" t="0" r="0" b="0"/>
                <a:pathLst>
                  <a:path w="120000" h="120000" extrusionOk="0">
                    <a:moveTo>
                      <a:pt x="120000" y="120000"/>
                    </a:moveTo>
                    <a:cubicBezTo>
                      <a:pt x="120000" y="60000"/>
                      <a:pt x="60000" y="60000"/>
                      <a:pt x="60000" y="0"/>
                    </a:cubicBezTo>
                    <a:cubicBezTo>
                      <a:pt x="0" y="60000"/>
                      <a:pt x="0" y="60000"/>
                      <a:pt x="0" y="120000"/>
                    </a:cubicBezTo>
                    <a:cubicBezTo>
                      <a:pt x="60000" y="120000"/>
                      <a:pt x="120000" y="120000"/>
                      <a:pt x="12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5" name="Shape 2360">
                <a:extLst>
                  <a:ext uri="{FF2B5EF4-FFF2-40B4-BE49-F238E27FC236}">
                    <a16:creationId xmlns:a16="http://schemas.microsoft.com/office/drawing/2014/main" id="{275B799E-5C1B-4AC2-A53B-4678D74DE509}"/>
                  </a:ext>
                </a:extLst>
              </p:cNvPr>
              <p:cNvSpPr/>
              <p:nvPr/>
            </p:nvSpPr>
            <p:spPr>
              <a:xfrm>
                <a:off x="17807779" y="11186694"/>
                <a:ext cx="160928" cy="152345"/>
              </a:xfrm>
              <a:custGeom>
                <a:avLst/>
                <a:gdLst/>
                <a:ahLst/>
                <a:cxnLst/>
                <a:rect l="0" t="0" r="0" b="0"/>
                <a:pathLst>
                  <a:path w="120000" h="120000" extrusionOk="0">
                    <a:moveTo>
                      <a:pt x="0" y="13333"/>
                    </a:moveTo>
                    <a:cubicBezTo>
                      <a:pt x="0" y="20000"/>
                      <a:pt x="12631" y="40000"/>
                      <a:pt x="12631" y="46666"/>
                    </a:cubicBezTo>
                    <a:cubicBezTo>
                      <a:pt x="18947" y="53333"/>
                      <a:pt x="25263" y="60000"/>
                      <a:pt x="25263" y="66666"/>
                    </a:cubicBezTo>
                    <a:cubicBezTo>
                      <a:pt x="25263" y="73333"/>
                      <a:pt x="18947" y="73333"/>
                      <a:pt x="18947" y="80000"/>
                    </a:cubicBezTo>
                    <a:cubicBezTo>
                      <a:pt x="25263" y="100000"/>
                      <a:pt x="44210" y="113333"/>
                      <a:pt x="56842" y="120000"/>
                    </a:cubicBezTo>
                    <a:cubicBezTo>
                      <a:pt x="69473" y="120000"/>
                      <a:pt x="69473" y="106666"/>
                      <a:pt x="75789" y="100000"/>
                    </a:cubicBezTo>
                    <a:cubicBezTo>
                      <a:pt x="75789" y="100000"/>
                      <a:pt x="82105" y="113333"/>
                      <a:pt x="82105" y="113333"/>
                    </a:cubicBezTo>
                    <a:cubicBezTo>
                      <a:pt x="82105" y="106666"/>
                      <a:pt x="82105" y="93333"/>
                      <a:pt x="88421" y="93333"/>
                    </a:cubicBezTo>
                    <a:cubicBezTo>
                      <a:pt x="94736" y="86666"/>
                      <a:pt x="94736" y="100000"/>
                      <a:pt x="101052" y="100000"/>
                    </a:cubicBezTo>
                    <a:cubicBezTo>
                      <a:pt x="94736" y="100000"/>
                      <a:pt x="113684" y="53333"/>
                      <a:pt x="113684" y="46666"/>
                    </a:cubicBezTo>
                    <a:cubicBezTo>
                      <a:pt x="113684" y="40000"/>
                      <a:pt x="120000" y="0"/>
                      <a:pt x="101052" y="6666"/>
                    </a:cubicBezTo>
                    <a:cubicBezTo>
                      <a:pt x="82105" y="13333"/>
                      <a:pt x="63157" y="26666"/>
                      <a:pt x="44210" y="20000"/>
                    </a:cubicBezTo>
                    <a:cubicBezTo>
                      <a:pt x="37894" y="20000"/>
                      <a:pt x="6315" y="0"/>
                      <a:pt x="0" y="13333"/>
                    </a:cubicBezTo>
                    <a:cubicBezTo>
                      <a:pt x="0" y="20000"/>
                      <a:pt x="6315" y="0"/>
                      <a:pt x="0" y="1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6" name="Shape 2361">
                <a:extLst>
                  <a:ext uri="{FF2B5EF4-FFF2-40B4-BE49-F238E27FC236}">
                    <a16:creationId xmlns:a16="http://schemas.microsoft.com/office/drawing/2014/main" id="{FD47CEC7-6678-44A2-82EE-5A734D81D7F3}"/>
                  </a:ext>
                </a:extLst>
              </p:cNvPr>
              <p:cNvSpPr/>
              <p:nvPr/>
            </p:nvSpPr>
            <p:spPr>
              <a:xfrm>
                <a:off x="17934222" y="11143577"/>
                <a:ext cx="25862" cy="43118"/>
              </a:xfrm>
              <a:custGeom>
                <a:avLst/>
                <a:gdLst/>
                <a:ahLst/>
                <a:cxnLst/>
                <a:rect l="0" t="0" r="0" b="0"/>
                <a:pathLst>
                  <a:path w="120000" h="120000" extrusionOk="0">
                    <a:moveTo>
                      <a:pt x="120000" y="96000"/>
                    </a:moveTo>
                    <a:cubicBezTo>
                      <a:pt x="120000" y="120000"/>
                      <a:pt x="0" y="24000"/>
                      <a:pt x="40000" y="0"/>
                    </a:cubicBezTo>
                    <a:cubicBezTo>
                      <a:pt x="80000" y="0"/>
                      <a:pt x="120000" y="24000"/>
                      <a:pt x="120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7" name="Shape 2362">
                <a:extLst>
                  <a:ext uri="{FF2B5EF4-FFF2-40B4-BE49-F238E27FC236}">
                    <a16:creationId xmlns:a16="http://schemas.microsoft.com/office/drawing/2014/main" id="{C8FD239E-2C9A-4CE3-868D-6821563E2DEF}"/>
                  </a:ext>
                </a:extLst>
              </p:cNvPr>
              <p:cNvSpPr/>
              <p:nvPr/>
            </p:nvSpPr>
            <p:spPr>
              <a:xfrm>
                <a:off x="17764675" y="11143577"/>
                <a:ext cx="17242" cy="17246"/>
              </a:xfrm>
              <a:custGeom>
                <a:avLst/>
                <a:gdLst/>
                <a:ahLst/>
                <a:cxnLst/>
                <a:rect l="0" t="0" r="0" b="0"/>
                <a:pathLst>
                  <a:path w="120000" h="120000" extrusionOk="0">
                    <a:moveTo>
                      <a:pt x="60000" y="120000"/>
                    </a:moveTo>
                    <a:cubicBezTo>
                      <a:pt x="0" y="120000"/>
                      <a:pt x="0" y="0"/>
                      <a:pt x="60000" y="0"/>
                    </a:cubicBezTo>
                    <a:cubicBezTo>
                      <a:pt x="120000" y="0"/>
                      <a:pt x="120000" y="120000"/>
                      <a:pt x="6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8" name="Shape 2363">
                <a:extLst>
                  <a:ext uri="{FF2B5EF4-FFF2-40B4-BE49-F238E27FC236}">
                    <a16:creationId xmlns:a16="http://schemas.microsoft.com/office/drawing/2014/main" id="{B666B7F4-7D84-47B3-8D7D-036698FA3141}"/>
                  </a:ext>
                </a:extLst>
              </p:cNvPr>
              <p:cNvSpPr/>
              <p:nvPr/>
            </p:nvSpPr>
            <p:spPr>
              <a:xfrm>
                <a:off x="15138132" y="8956139"/>
                <a:ext cx="91956" cy="152345"/>
              </a:xfrm>
              <a:custGeom>
                <a:avLst/>
                <a:gdLst/>
                <a:ahLst/>
                <a:cxnLst/>
                <a:rect l="0" t="0" r="0" b="0"/>
                <a:pathLst>
                  <a:path w="120000" h="120000" extrusionOk="0">
                    <a:moveTo>
                      <a:pt x="21818" y="0"/>
                    </a:moveTo>
                    <a:cubicBezTo>
                      <a:pt x="21818" y="0"/>
                      <a:pt x="21818" y="0"/>
                      <a:pt x="10909" y="0"/>
                    </a:cubicBezTo>
                    <a:cubicBezTo>
                      <a:pt x="10909" y="0"/>
                      <a:pt x="10909" y="20000"/>
                      <a:pt x="10909" y="20000"/>
                    </a:cubicBezTo>
                    <a:cubicBezTo>
                      <a:pt x="10909" y="33333"/>
                      <a:pt x="0" y="40000"/>
                      <a:pt x="0" y="53333"/>
                    </a:cubicBezTo>
                    <a:cubicBezTo>
                      <a:pt x="0" y="73333"/>
                      <a:pt x="0" y="120000"/>
                      <a:pt x="43636" y="120000"/>
                    </a:cubicBezTo>
                    <a:cubicBezTo>
                      <a:pt x="65454" y="120000"/>
                      <a:pt x="98181" y="113333"/>
                      <a:pt x="98181" y="100000"/>
                    </a:cubicBezTo>
                    <a:cubicBezTo>
                      <a:pt x="120000" y="86666"/>
                      <a:pt x="98181" y="66666"/>
                      <a:pt x="98181" y="53333"/>
                    </a:cubicBezTo>
                    <a:cubicBezTo>
                      <a:pt x="76363" y="40000"/>
                      <a:pt x="54545" y="0"/>
                      <a:pt x="21818" y="0"/>
                    </a:cubicBezTo>
                    <a:cubicBezTo>
                      <a:pt x="10909" y="0"/>
                      <a:pt x="32727" y="0"/>
                      <a:pt x="21818"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09" name="Shape 2364">
                <a:extLst>
                  <a:ext uri="{FF2B5EF4-FFF2-40B4-BE49-F238E27FC236}">
                    <a16:creationId xmlns:a16="http://schemas.microsoft.com/office/drawing/2014/main" id="{499EAB6A-751A-4707-8219-2BBBB656B84B}"/>
                  </a:ext>
                </a:extLst>
              </p:cNvPr>
              <p:cNvSpPr/>
              <p:nvPr/>
            </p:nvSpPr>
            <p:spPr>
              <a:xfrm>
                <a:off x="13586349" y="9870207"/>
                <a:ext cx="304609" cy="589256"/>
              </a:xfrm>
              <a:custGeom>
                <a:avLst/>
                <a:gdLst/>
                <a:ahLst/>
                <a:cxnLst/>
                <a:rect l="0" t="0" r="0" b="0"/>
                <a:pathLst>
                  <a:path w="120000" h="120000" extrusionOk="0">
                    <a:moveTo>
                      <a:pt x="103333" y="3428"/>
                    </a:moveTo>
                    <a:cubicBezTo>
                      <a:pt x="103333" y="3428"/>
                      <a:pt x="100000" y="0"/>
                      <a:pt x="96666" y="0"/>
                    </a:cubicBezTo>
                    <a:cubicBezTo>
                      <a:pt x="96666" y="1714"/>
                      <a:pt x="93333" y="3428"/>
                      <a:pt x="93333" y="5142"/>
                    </a:cubicBezTo>
                    <a:cubicBezTo>
                      <a:pt x="90000" y="8571"/>
                      <a:pt x="90000" y="10285"/>
                      <a:pt x="86666" y="13714"/>
                    </a:cubicBezTo>
                    <a:cubicBezTo>
                      <a:pt x="83333" y="15428"/>
                      <a:pt x="80000" y="13714"/>
                      <a:pt x="76666" y="13714"/>
                    </a:cubicBezTo>
                    <a:cubicBezTo>
                      <a:pt x="76666" y="13714"/>
                      <a:pt x="80000" y="15428"/>
                      <a:pt x="76666" y="17142"/>
                    </a:cubicBezTo>
                    <a:cubicBezTo>
                      <a:pt x="76666" y="18857"/>
                      <a:pt x="73333" y="18857"/>
                      <a:pt x="73333" y="20571"/>
                    </a:cubicBezTo>
                    <a:cubicBezTo>
                      <a:pt x="73333" y="20571"/>
                      <a:pt x="76666" y="22285"/>
                      <a:pt x="76666" y="22285"/>
                    </a:cubicBezTo>
                    <a:cubicBezTo>
                      <a:pt x="76666" y="24000"/>
                      <a:pt x="73333" y="22285"/>
                      <a:pt x="70000" y="24000"/>
                    </a:cubicBezTo>
                    <a:cubicBezTo>
                      <a:pt x="66666" y="24000"/>
                      <a:pt x="66666" y="25714"/>
                      <a:pt x="63333" y="27428"/>
                    </a:cubicBezTo>
                    <a:cubicBezTo>
                      <a:pt x="60000" y="29142"/>
                      <a:pt x="56666" y="29142"/>
                      <a:pt x="50000" y="30857"/>
                    </a:cubicBezTo>
                    <a:cubicBezTo>
                      <a:pt x="46666" y="30857"/>
                      <a:pt x="53333" y="32571"/>
                      <a:pt x="50000" y="32571"/>
                    </a:cubicBezTo>
                    <a:cubicBezTo>
                      <a:pt x="50000" y="34285"/>
                      <a:pt x="43333" y="30857"/>
                      <a:pt x="43333" y="32571"/>
                    </a:cubicBezTo>
                    <a:cubicBezTo>
                      <a:pt x="36666" y="34285"/>
                      <a:pt x="33333" y="34285"/>
                      <a:pt x="26666" y="36000"/>
                    </a:cubicBezTo>
                    <a:cubicBezTo>
                      <a:pt x="23333" y="36000"/>
                      <a:pt x="20000" y="34285"/>
                      <a:pt x="20000" y="36000"/>
                    </a:cubicBezTo>
                    <a:cubicBezTo>
                      <a:pt x="16666" y="39428"/>
                      <a:pt x="16666" y="42857"/>
                      <a:pt x="13333" y="46285"/>
                    </a:cubicBezTo>
                    <a:cubicBezTo>
                      <a:pt x="10000" y="54857"/>
                      <a:pt x="26666" y="66857"/>
                      <a:pt x="13333" y="75428"/>
                    </a:cubicBezTo>
                    <a:cubicBezTo>
                      <a:pt x="10000" y="78857"/>
                      <a:pt x="3333" y="82285"/>
                      <a:pt x="0" y="87428"/>
                    </a:cubicBezTo>
                    <a:cubicBezTo>
                      <a:pt x="0" y="89142"/>
                      <a:pt x="0" y="92571"/>
                      <a:pt x="0" y="94285"/>
                    </a:cubicBezTo>
                    <a:cubicBezTo>
                      <a:pt x="3333" y="96000"/>
                      <a:pt x="10000" y="97714"/>
                      <a:pt x="6666" y="101142"/>
                    </a:cubicBezTo>
                    <a:cubicBezTo>
                      <a:pt x="3333" y="106285"/>
                      <a:pt x="6666" y="113142"/>
                      <a:pt x="16666" y="116571"/>
                    </a:cubicBezTo>
                    <a:cubicBezTo>
                      <a:pt x="26666" y="120000"/>
                      <a:pt x="36666" y="120000"/>
                      <a:pt x="53333" y="116571"/>
                    </a:cubicBezTo>
                    <a:cubicBezTo>
                      <a:pt x="70000" y="113142"/>
                      <a:pt x="73333" y="94285"/>
                      <a:pt x="80000" y="85714"/>
                    </a:cubicBezTo>
                    <a:cubicBezTo>
                      <a:pt x="86666" y="73714"/>
                      <a:pt x="96666" y="63428"/>
                      <a:pt x="103333" y="51428"/>
                    </a:cubicBezTo>
                    <a:cubicBezTo>
                      <a:pt x="103333" y="48000"/>
                      <a:pt x="103333" y="42857"/>
                      <a:pt x="106666" y="39428"/>
                    </a:cubicBezTo>
                    <a:cubicBezTo>
                      <a:pt x="110000" y="37714"/>
                      <a:pt x="103333" y="24000"/>
                      <a:pt x="113333" y="32571"/>
                    </a:cubicBezTo>
                    <a:cubicBezTo>
                      <a:pt x="116666" y="34285"/>
                      <a:pt x="116666" y="30857"/>
                      <a:pt x="120000" y="29142"/>
                    </a:cubicBezTo>
                    <a:cubicBezTo>
                      <a:pt x="120000" y="25714"/>
                      <a:pt x="116666" y="22285"/>
                      <a:pt x="116666" y="18857"/>
                    </a:cubicBezTo>
                    <a:cubicBezTo>
                      <a:pt x="113333" y="15428"/>
                      <a:pt x="110000" y="6857"/>
                      <a:pt x="103333" y="3428"/>
                    </a:cubicBezTo>
                    <a:cubicBezTo>
                      <a:pt x="100000" y="1714"/>
                      <a:pt x="106666" y="3428"/>
                      <a:pt x="103333" y="342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0" name="Shape 2365">
                <a:extLst>
                  <a:ext uri="{FF2B5EF4-FFF2-40B4-BE49-F238E27FC236}">
                    <a16:creationId xmlns:a16="http://schemas.microsoft.com/office/drawing/2014/main" id="{23068789-88A6-4DF5-9CE2-FAF3312E937C}"/>
                  </a:ext>
                </a:extLst>
              </p:cNvPr>
              <p:cNvSpPr/>
              <p:nvPr/>
            </p:nvSpPr>
            <p:spPr>
              <a:xfrm>
                <a:off x="14261661" y="5739654"/>
                <a:ext cx="91956" cy="68984"/>
              </a:xfrm>
              <a:custGeom>
                <a:avLst/>
                <a:gdLst/>
                <a:ahLst/>
                <a:cxnLst/>
                <a:rect l="0" t="0" r="0" b="0"/>
                <a:pathLst>
                  <a:path w="120000" h="120000" extrusionOk="0">
                    <a:moveTo>
                      <a:pt x="98181" y="105000"/>
                    </a:moveTo>
                    <a:cubicBezTo>
                      <a:pt x="120000" y="120000"/>
                      <a:pt x="98181" y="75000"/>
                      <a:pt x="87272" y="60000"/>
                    </a:cubicBezTo>
                    <a:cubicBezTo>
                      <a:pt x="76363" y="45000"/>
                      <a:pt x="43636" y="15000"/>
                      <a:pt x="32727" y="0"/>
                    </a:cubicBezTo>
                    <a:cubicBezTo>
                      <a:pt x="21818" y="0"/>
                      <a:pt x="10909" y="15000"/>
                      <a:pt x="10909" y="30000"/>
                    </a:cubicBezTo>
                    <a:cubicBezTo>
                      <a:pt x="0" y="45000"/>
                      <a:pt x="21818" y="60000"/>
                      <a:pt x="32727" y="75000"/>
                    </a:cubicBezTo>
                    <a:cubicBezTo>
                      <a:pt x="54545" y="90000"/>
                      <a:pt x="76363" y="105000"/>
                      <a:pt x="98181" y="105000"/>
                    </a:cubicBezTo>
                    <a:cubicBezTo>
                      <a:pt x="109090" y="105000"/>
                      <a:pt x="76363" y="105000"/>
                      <a:pt x="98181" y="10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1" name="Shape 2366">
                <a:extLst>
                  <a:ext uri="{FF2B5EF4-FFF2-40B4-BE49-F238E27FC236}">
                    <a16:creationId xmlns:a16="http://schemas.microsoft.com/office/drawing/2014/main" id="{26F7FC57-E109-4D7D-9327-9B678982E471}"/>
                  </a:ext>
                </a:extLst>
              </p:cNvPr>
              <p:cNvSpPr/>
              <p:nvPr/>
            </p:nvSpPr>
            <p:spPr>
              <a:xfrm>
                <a:off x="13821988" y="5791395"/>
                <a:ext cx="91956" cy="83358"/>
              </a:xfrm>
              <a:custGeom>
                <a:avLst/>
                <a:gdLst/>
                <a:ahLst/>
                <a:cxnLst/>
                <a:rect l="0" t="0" r="0" b="0"/>
                <a:pathLst>
                  <a:path w="120000" h="120000" extrusionOk="0">
                    <a:moveTo>
                      <a:pt x="109090" y="72000"/>
                    </a:moveTo>
                    <a:cubicBezTo>
                      <a:pt x="109090" y="96000"/>
                      <a:pt x="76363" y="108000"/>
                      <a:pt x="65454" y="120000"/>
                    </a:cubicBezTo>
                    <a:cubicBezTo>
                      <a:pt x="43636" y="120000"/>
                      <a:pt x="0" y="108000"/>
                      <a:pt x="0" y="72000"/>
                    </a:cubicBezTo>
                    <a:cubicBezTo>
                      <a:pt x="10909" y="0"/>
                      <a:pt x="120000" y="72000"/>
                      <a:pt x="109090" y="72000"/>
                    </a:cubicBezTo>
                    <a:cubicBezTo>
                      <a:pt x="109090" y="84000"/>
                      <a:pt x="120000" y="60000"/>
                      <a:pt x="10909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2" name="Shape 2367">
                <a:extLst>
                  <a:ext uri="{FF2B5EF4-FFF2-40B4-BE49-F238E27FC236}">
                    <a16:creationId xmlns:a16="http://schemas.microsoft.com/office/drawing/2014/main" id="{AB90A148-3B78-42C4-B4F5-0DFAFB2FF6FB}"/>
                  </a:ext>
                </a:extLst>
              </p:cNvPr>
              <p:cNvSpPr/>
              <p:nvPr/>
            </p:nvSpPr>
            <p:spPr>
              <a:xfrm>
                <a:off x="14741564" y="5503952"/>
                <a:ext cx="74715" cy="43118"/>
              </a:xfrm>
              <a:custGeom>
                <a:avLst/>
                <a:gdLst/>
                <a:ahLst/>
                <a:cxnLst/>
                <a:rect l="0" t="0" r="0" b="0"/>
                <a:pathLst>
                  <a:path w="120000" h="120000" extrusionOk="0">
                    <a:moveTo>
                      <a:pt x="120000" y="72000"/>
                    </a:moveTo>
                    <a:cubicBezTo>
                      <a:pt x="93333" y="96000"/>
                      <a:pt x="80000" y="96000"/>
                      <a:pt x="53333" y="120000"/>
                    </a:cubicBezTo>
                    <a:cubicBezTo>
                      <a:pt x="26666" y="120000"/>
                      <a:pt x="0" y="72000"/>
                      <a:pt x="13333" y="24000"/>
                    </a:cubicBezTo>
                    <a:cubicBezTo>
                      <a:pt x="13333" y="0"/>
                      <a:pt x="66666" y="0"/>
                      <a:pt x="80000" y="24000"/>
                    </a:cubicBezTo>
                    <a:cubicBezTo>
                      <a:pt x="93333" y="24000"/>
                      <a:pt x="106666" y="72000"/>
                      <a:pt x="120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3" name="Shape 2368">
                <a:extLst>
                  <a:ext uri="{FF2B5EF4-FFF2-40B4-BE49-F238E27FC236}">
                    <a16:creationId xmlns:a16="http://schemas.microsoft.com/office/drawing/2014/main" id="{69FF99D6-DDE4-4633-B28A-CD4D90770869}"/>
                  </a:ext>
                </a:extLst>
              </p:cNvPr>
              <p:cNvSpPr/>
              <p:nvPr/>
            </p:nvSpPr>
            <p:spPr>
              <a:xfrm>
                <a:off x="16425539" y="5420593"/>
                <a:ext cx="83336" cy="40242"/>
              </a:xfrm>
              <a:custGeom>
                <a:avLst/>
                <a:gdLst/>
                <a:ahLst/>
                <a:cxnLst/>
                <a:rect l="0" t="0" r="0" b="0"/>
                <a:pathLst>
                  <a:path w="120000" h="120000" extrusionOk="0">
                    <a:moveTo>
                      <a:pt x="72000" y="120000"/>
                    </a:moveTo>
                    <a:cubicBezTo>
                      <a:pt x="48000" y="120000"/>
                      <a:pt x="24000" y="96000"/>
                      <a:pt x="12000" y="96000"/>
                    </a:cubicBezTo>
                    <a:cubicBezTo>
                      <a:pt x="0" y="72000"/>
                      <a:pt x="36000" y="24000"/>
                      <a:pt x="48000" y="24000"/>
                    </a:cubicBezTo>
                    <a:cubicBezTo>
                      <a:pt x="60000" y="0"/>
                      <a:pt x="96000" y="0"/>
                      <a:pt x="108000" y="24000"/>
                    </a:cubicBezTo>
                    <a:cubicBezTo>
                      <a:pt x="120000" y="48000"/>
                      <a:pt x="84000" y="120000"/>
                      <a:pt x="72000" y="120000"/>
                    </a:cubicBezTo>
                    <a:cubicBezTo>
                      <a:pt x="48000" y="120000"/>
                      <a:pt x="72000" y="120000"/>
                      <a:pt x="72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4" name="Shape 2369">
                <a:extLst>
                  <a:ext uri="{FF2B5EF4-FFF2-40B4-BE49-F238E27FC236}">
                    <a16:creationId xmlns:a16="http://schemas.microsoft.com/office/drawing/2014/main" id="{8D33156B-C444-4E14-B555-18FC4410FF16}"/>
                  </a:ext>
                </a:extLst>
              </p:cNvPr>
              <p:cNvSpPr/>
              <p:nvPr/>
            </p:nvSpPr>
            <p:spPr>
              <a:xfrm>
                <a:off x="15574932" y="4811216"/>
                <a:ext cx="51724" cy="17246"/>
              </a:xfrm>
              <a:custGeom>
                <a:avLst/>
                <a:gdLst/>
                <a:ahLst/>
                <a:cxnLst/>
                <a:rect l="0" t="0" r="0" b="0"/>
                <a:pathLst>
                  <a:path w="120000" h="120000" extrusionOk="0">
                    <a:moveTo>
                      <a:pt x="120000" y="60000"/>
                    </a:moveTo>
                    <a:cubicBezTo>
                      <a:pt x="120000" y="120000"/>
                      <a:pt x="0" y="120000"/>
                      <a:pt x="0" y="60000"/>
                    </a:cubicBezTo>
                    <a:cubicBezTo>
                      <a:pt x="0" y="0"/>
                      <a:pt x="120000" y="0"/>
                      <a:pt x="12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5" name="Shape 2370">
                <a:extLst>
                  <a:ext uri="{FF2B5EF4-FFF2-40B4-BE49-F238E27FC236}">
                    <a16:creationId xmlns:a16="http://schemas.microsoft.com/office/drawing/2014/main" id="{69921292-18DC-4283-BB85-3A305CFD35C8}"/>
                  </a:ext>
                </a:extLst>
              </p:cNvPr>
              <p:cNvSpPr/>
              <p:nvPr/>
            </p:nvSpPr>
            <p:spPr>
              <a:xfrm>
                <a:off x="15103650" y="5538448"/>
                <a:ext cx="48851" cy="34493"/>
              </a:xfrm>
              <a:custGeom>
                <a:avLst/>
                <a:gdLst/>
                <a:ahLst/>
                <a:cxnLst/>
                <a:rect l="0" t="0" r="0" b="0"/>
                <a:pathLst>
                  <a:path w="120000" h="120000" extrusionOk="0">
                    <a:moveTo>
                      <a:pt x="100000" y="120000"/>
                    </a:moveTo>
                    <a:cubicBezTo>
                      <a:pt x="80000" y="120000"/>
                      <a:pt x="0" y="90000"/>
                      <a:pt x="40000" y="30000"/>
                    </a:cubicBezTo>
                    <a:cubicBezTo>
                      <a:pt x="100000" y="0"/>
                      <a:pt x="120000" y="120000"/>
                      <a:pt x="10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6" name="Shape 2371">
                <a:extLst>
                  <a:ext uri="{FF2B5EF4-FFF2-40B4-BE49-F238E27FC236}">
                    <a16:creationId xmlns:a16="http://schemas.microsoft.com/office/drawing/2014/main" id="{6885D962-BF23-49BC-AAD1-FE02F3DBD49E}"/>
                  </a:ext>
                </a:extLst>
              </p:cNvPr>
              <p:cNvSpPr/>
              <p:nvPr/>
            </p:nvSpPr>
            <p:spPr>
              <a:xfrm>
                <a:off x="12172497" y="7421194"/>
                <a:ext cx="48851" cy="91980"/>
              </a:xfrm>
              <a:custGeom>
                <a:avLst/>
                <a:gdLst/>
                <a:ahLst/>
                <a:cxnLst/>
                <a:rect l="0" t="0" r="0" b="0"/>
                <a:pathLst>
                  <a:path w="120000" h="120000" extrusionOk="0">
                    <a:moveTo>
                      <a:pt x="100000" y="10909"/>
                    </a:moveTo>
                    <a:cubicBezTo>
                      <a:pt x="100000" y="32727"/>
                      <a:pt x="120000" y="54545"/>
                      <a:pt x="100000" y="76363"/>
                    </a:cubicBezTo>
                    <a:cubicBezTo>
                      <a:pt x="80000" y="87272"/>
                      <a:pt x="100000" y="120000"/>
                      <a:pt x="60000" y="109090"/>
                    </a:cubicBezTo>
                    <a:cubicBezTo>
                      <a:pt x="20000" y="87272"/>
                      <a:pt x="0" y="65454"/>
                      <a:pt x="20000" y="43636"/>
                    </a:cubicBezTo>
                    <a:cubicBezTo>
                      <a:pt x="20000" y="32727"/>
                      <a:pt x="100000" y="0"/>
                      <a:pt x="100000" y="10909"/>
                    </a:cubicBezTo>
                    <a:cubicBezTo>
                      <a:pt x="100000" y="21818"/>
                      <a:pt x="100000" y="0"/>
                      <a:pt x="100000" y="1090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7" name="Shape 2372">
                <a:extLst>
                  <a:ext uri="{FF2B5EF4-FFF2-40B4-BE49-F238E27FC236}">
                    <a16:creationId xmlns:a16="http://schemas.microsoft.com/office/drawing/2014/main" id="{698CB0B6-9B50-4273-A767-D45BDAD31AF4}"/>
                  </a:ext>
                </a:extLst>
              </p:cNvPr>
              <p:cNvSpPr/>
              <p:nvPr/>
            </p:nvSpPr>
            <p:spPr>
              <a:xfrm>
                <a:off x="12155254" y="7504554"/>
                <a:ext cx="74715" cy="126474"/>
              </a:xfrm>
              <a:custGeom>
                <a:avLst/>
                <a:gdLst/>
                <a:ahLst/>
                <a:cxnLst/>
                <a:rect l="0" t="0" r="0" b="0"/>
                <a:pathLst>
                  <a:path w="120000" h="120000" extrusionOk="0">
                    <a:moveTo>
                      <a:pt x="93333" y="24000"/>
                    </a:moveTo>
                    <a:cubicBezTo>
                      <a:pt x="80000" y="24000"/>
                      <a:pt x="93333" y="0"/>
                      <a:pt x="66666" y="16000"/>
                    </a:cubicBezTo>
                    <a:cubicBezTo>
                      <a:pt x="26666" y="32000"/>
                      <a:pt x="40000" y="32000"/>
                      <a:pt x="0" y="16000"/>
                    </a:cubicBezTo>
                    <a:cubicBezTo>
                      <a:pt x="0" y="16000"/>
                      <a:pt x="13333" y="64000"/>
                      <a:pt x="13333" y="64000"/>
                    </a:cubicBezTo>
                    <a:cubicBezTo>
                      <a:pt x="26666" y="80000"/>
                      <a:pt x="26666" y="88000"/>
                      <a:pt x="26666" y="104000"/>
                    </a:cubicBezTo>
                    <a:cubicBezTo>
                      <a:pt x="26666" y="112000"/>
                      <a:pt x="26666" y="120000"/>
                      <a:pt x="53333" y="112000"/>
                    </a:cubicBezTo>
                    <a:cubicBezTo>
                      <a:pt x="80000" y="104000"/>
                      <a:pt x="106666" y="104000"/>
                      <a:pt x="106666" y="80000"/>
                    </a:cubicBezTo>
                    <a:cubicBezTo>
                      <a:pt x="106666" y="72000"/>
                      <a:pt x="120000" y="24000"/>
                      <a:pt x="93333" y="2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8" name="Shape 2373">
                <a:extLst>
                  <a:ext uri="{FF2B5EF4-FFF2-40B4-BE49-F238E27FC236}">
                    <a16:creationId xmlns:a16="http://schemas.microsoft.com/office/drawing/2014/main" id="{A5D74B9D-C048-479E-AA2E-3185631400BF}"/>
                  </a:ext>
                </a:extLst>
              </p:cNvPr>
              <p:cNvSpPr/>
              <p:nvPr/>
            </p:nvSpPr>
            <p:spPr>
              <a:xfrm>
                <a:off x="12330551" y="7656897"/>
                <a:ext cx="135061" cy="83358"/>
              </a:xfrm>
              <a:custGeom>
                <a:avLst/>
                <a:gdLst/>
                <a:ahLst/>
                <a:cxnLst/>
                <a:rect l="0" t="0" r="0" b="0"/>
                <a:pathLst>
                  <a:path w="120000" h="120000" extrusionOk="0">
                    <a:moveTo>
                      <a:pt x="37500" y="12000"/>
                    </a:moveTo>
                    <a:cubicBezTo>
                      <a:pt x="30000" y="12000"/>
                      <a:pt x="7500" y="12000"/>
                      <a:pt x="0" y="24000"/>
                    </a:cubicBezTo>
                    <a:cubicBezTo>
                      <a:pt x="0" y="36000"/>
                      <a:pt x="15000" y="48000"/>
                      <a:pt x="22500" y="60000"/>
                    </a:cubicBezTo>
                    <a:cubicBezTo>
                      <a:pt x="37500" y="60000"/>
                      <a:pt x="52500" y="72000"/>
                      <a:pt x="60000" y="84000"/>
                    </a:cubicBezTo>
                    <a:cubicBezTo>
                      <a:pt x="75000" y="96000"/>
                      <a:pt x="90000" y="120000"/>
                      <a:pt x="105000" y="96000"/>
                    </a:cubicBezTo>
                    <a:cubicBezTo>
                      <a:pt x="120000" y="84000"/>
                      <a:pt x="90000" y="72000"/>
                      <a:pt x="97500" y="48000"/>
                    </a:cubicBezTo>
                    <a:cubicBezTo>
                      <a:pt x="97500" y="48000"/>
                      <a:pt x="120000" y="24000"/>
                      <a:pt x="112500" y="12000"/>
                    </a:cubicBezTo>
                    <a:cubicBezTo>
                      <a:pt x="112500" y="0"/>
                      <a:pt x="82500" y="12000"/>
                      <a:pt x="82500" y="12000"/>
                    </a:cubicBezTo>
                    <a:cubicBezTo>
                      <a:pt x="67500" y="24000"/>
                      <a:pt x="52500" y="12000"/>
                      <a:pt x="37500" y="1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19" name="Shape 2374">
                <a:extLst>
                  <a:ext uri="{FF2B5EF4-FFF2-40B4-BE49-F238E27FC236}">
                    <a16:creationId xmlns:a16="http://schemas.microsoft.com/office/drawing/2014/main" id="{E9F99F39-A360-475E-B8ED-51B17A60EA0D}"/>
                  </a:ext>
                </a:extLst>
              </p:cNvPr>
              <p:cNvSpPr/>
              <p:nvPr/>
            </p:nvSpPr>
            <p:spPr>
              <a:xfrm>
                <a:off x="13132304" y="7774749"/>
                <a:ext cx="109198" cy="60363"/>
              </a:xfrm>
              <a:custGeom>
                <a:avLst/>
                <a:gdLst/>
                <a:ahLst/>
                <a:cxnLst/>
                <a:rect l="0" t="0" r="0" b="0"/>
                <a:pathLst>
                  <a:path w="120000" h="120000" extrusionOk="0">
                    <a:moveTo>
                      <a:pt x="110769" y="17142"/>
                    </a:moveTo>
                    <a:cubicBezTo>
                      <a:pt x="110769" y="17142"/>
                      <a:pt x="92307" y="34285"/>
                      <a:pt x="92307" y="34285"/>
                    </a:cubicBezTo>
                    <a:cubicBezTo>
                      <a:pt x="83076" y="51428"/>
                      <a:pt x="92307" y="85714"/>
                      <a:pt x="92307" y="85714"/>
                    </a:cubicBezTo>
                    <a:cubicBezTo>
                      <a:pt x="83076" y="85714"/>
                      <a:pt x="64615" y="85714"/>
                      <a:pt x="55384" y="102857"/>
                    </a:cubicBezTo>
                    <a:cubicBezTo>
                      <a:pt x="36923" y="119999"/>
                      <a:pt x="27692" y="119999"/>
                      <a:pt x="18461" y="102857"/>
                    </a:cubicBezTo>
                    <a:cubicBezTo>
                      <a:pt x="0" y="68571"/>
                      <a:pt x="36923" y="51428"/>
                      <a:pt x="46153" y="51428"/>
                    </a:cubicBezTo>
                    <a:cubicBezTo>
                      <a:pt x="64615" y="51428"/>
                      <a:pt x="92307" y="34285"/>
                      <a:pt x="110769" y="17142"/>
                    </a:cubicBezTo>
                    <a:cubicBezTo>
                      <a:pt x="120000" y="0"/>
                      <a:pt x="101538" y="34285"/>
                      <a:pt x="110769" y="1714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1" name="Shape 2375">
                <a:extLst>
                  <a:ext uri="{FF2B5EF4-FFF2-40B4-BE49-F238E27FC236}">
                    <a16:creationId xmlns:a16="http://schemas.microsoft.com/office/drawing/2014/main" id="{CA60DF01-6875-4B38-A5E1-78C5E6822628}"/>
                  </a:ext>
                </a:extLst>
              </p:cNvPr>
              <p:cNvSpPr/>
              <p:nvPr/>
            </p:nvSpPr>
            <p:spPr>
              <a:xfrm>
                <a:off x="12770223" y="7783372"/>
                <a:ext cx="126441" cy="34493"/>
              </a:xfrm>
              <a:custGeom>
                <a:avLst/>
                <a:gdLst/>
                <a:ahLst/>
                <a:cxnLst/>
                <a:rect l="0" t="0" r="0" b="0"/>
                <a:pathLst>
                  <a:path w="120000" h="120000" extrusionOk="0">
                    <a:moveTo>
                      <a:pt x="64000" y="120000"/>
                    </a:moveTo>
                    <a:cubicBezTo>
                      <a:pt x="56000" y="120000"/>
                      <a:pt x="0" y="60000"/>
                      <a:pt x="8000" y="30000"/>
                    </a:cubicBezTo>
                    <a:cubicBezTo>
                      <a:pt x="8000" y="0"/>
                      <a:pt x="56000" y="30000"/>
                      <a:pt x="56000" y="30000"/>
                    </a:cubicBezTo>
                    <a:cubicBezTo>
                      <a:pt x="80000" y="60000"/>
                      <a:pt x="96000" y="60000"/>
                      <a:pt x="120000" y="60000"/>
                    </a:cubicBezTo>
                    <a:cubicBezTo>
                      <a:pt x="120000" y="60000"/>
                      <a:pt x="104000" y="90000"/>
                      <a:pt x="104000" y="90000"/>
                    </a:cubicBezTo>
                    <a:cubicBezTo>
                      <a:pt x="96000" y="120000"/>
                      <a:pt x="80000" y="120000"/>
                      <a:pt x="64000" y="120000"/>
                    </a:cubicBezTo>
                    <a:cubicBezTo>
                      <a:pt x="48000" y="120000"/>
                      <a:pt x="72000" y="120000"/>
                      <a:pt x="64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2" name="Shape 2376">
                <a:extLst>
                  <a:ext uri="{FF2B5EF4-FFF2-40B4-BE49-F238E27FC236}">
                    <a16:creationId xmlns:a16="http://schemas.microsoft.com/office/drawing/2014/main" id="{16C31B39-63B5-442D-862E-88ACF2C4C854}"/>
                  </a:ext>
                </a:extLst>
              </p:cNvPr>
              <p:cNvSpPr/>
              <p:nvPr/>
            </p:nvSpPr>
            <p:spPr>
              <a:xfrm>
                <a:off x="12709876" y="6541620"/>
                <a:ext cx="60346" cy="60363"/>
              </a:xfrm>
              <a:custGeom>
                <a:avLst/>
                <a:gdLst/>
                <a:ahLst/>
                <a:cxnLst/>
                <a:rect l="0" t="0" r="0" b="0"/>
                <a:pathLst>
                  <a:path w="120000" h="120000" extrusionOk="0">
                    <a:moveTo>
                      <a:pt x="17142" y="68571"/>
                    </a:moveTo>
                    <a:cubicBezTo>
                      <a:pt x="17142" y="51428"/>
                      <a:pt x="0" y="17142"/>
                      <a:pt x="17142" y="17142"/>
                    </a:cubicBezTo>
                    <a:cubicBezTo>
                      <a:pt x="34285" y="17142"/>
                      <a:pt x="119999" y="0"/>
                      <a:pt x="119999" y="17142"/>
                    </a:cubicBezTo>
                    <a:cubicBezTo>
                      <a:pt x="119999" y="34285"/>
                      <a:pt x="34285" y="102857"/>
                      <a:pt x="17142" y="68571"/>
                    </a:cubicBezTo>
                    <a:cubicBezTo>
                      <a:pt x="17142" y="17142"/>
                      <a:pt x="34285" y="119999"/>
                      <a:pt x="17142" y="6857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3" name="Shape 2377">
                <a:extLst>
                  <a:ext uri="{FF2B5EF4-FFF2-40B4-BE49-F238E27FC236}">
                    <a16:creationId xmlns:a16="http://schemas.microsoft.com/office/drawing/2014/main" id="{7518F50C-6FD7-4A02-B57E-0256153C9899}"/>
                  </a:ext>
                </a:extLst>
              </p:cNvPr>
              <p:cNvSpPr/>
              <p:nvPr/>
            </p:nvSpPr>
            <p:spPr>
              <a:xfrm>
                <a:off x="12718497" y="6518626"/>
                <a:ext cx="43104" cy="22995"/>
              </a:xfrm>
              <a:custGeom>
                <a:avLst/>
                <a:gdLst/>
                <a:ahLst/>
                <a:cxnLst/>
                <a:rect l="0" t="0" r="0" b="0"/>
                <a:pathLst>
                  <a:path w="120000" h="120000" extrusionOk="0">
                    <a:moveTo>
                      <a:pt x="72000" y="80000"/>
                    </a:moveTo>
                    <a:cubicBezTo>
                      <a:pt x="48000" y="80000"/>
                      <a:pt x="0" y="40000"/>
                      <a:pt x="0" y="40000"/>
                    </a:cubicBezTo>
                    <a:cubicBezTo>
                      <a:pt x="0" y="40000"/>
                      <a:pt x="96000" y="0"/>
                      <a:pt x="96000" y="40000"/>
                    </a:cubicBezTo>
                    <a:cubicBezTo>
                      <a:pt x="120000" y="80000"/>
                      <a:pt x="96000" y="120000"/>
                      <a:pt x="72000" y="80000"/>
                    </a:cubicBezTo>
                    <a:cubicBezTo>
                      <a:pt x="24000" y="80000"/>
                      <a:pt x="120000" y="120000"/>
                      <a:pt x="72000"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4" name="Shape 2378">
                <a:extLst>
                  <a:ext uri="{FF2B5EF4-FFF2-40B4-BE49-F238E27FC236}">
                    <a16:creationId xmlns:a16="http://schemas.microsoft.com/office/drawing/2014/main" id="{78A1062A-65C1-4D51-9BBA-59D091DE05CB}"/>
                  </a:ext>
                </a:extLst>
              </p:cNvPr>
              <p:cNvSpPr/>
              <p:nvPr/>
            </p:nvSpPr>
            <p:spPr>
              <a:xfrm>
                <a:off x="12543201" y="6576112"/>
                <a:ext cx="48851" cy="83358"/>
              </a:xfrm>
              <a:custGeom>
                <a:avLst/>
                <a:gdLst/>
                <a:ahLst/>
                <a:cxnLst/>
                <a:rect l="0" t="0" r="0" b="0"/>
                <a:pathLst>
                  <a:path w="120000" h="120000" extrusionOk="0">
                    <a:moveTo>
                      <a:pt x="120000" y="24000"/>
                    </a:moveTo>
                    <a:cubicBezTo>
                      <a:pt x="120000" y="0"/>
                      <a:pt x="0" y="120000"/>
                      <a:pt x="60000" y="108000"/>
                    </a:cubicBezTo>
                    <a:cubicBezTo>
                      <a:pt x="80000" y="108000"/>
                      <a:pt x="120000" y="36000"/>
                      <a:pt x="120000" y="24000"/>
                    </a:cubicBezTo>
                    <a:cubicBezTo>
                      <a:pt x="120000" y="12000"/>
                      <a:pt x="120000" y="36000"/>
                      <a:pt x="120000" y="2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5" name="Shape 2379">
                <a:extLst>
                  <a:ext uri="{FF2B5EF4-FFF2-40B4-BE49-F238E27FC236}">
                    <a16:creationId xmlns:a16="http://schemas.microsoft.com/office/drawing/2014/main" id="{34303FB7-05A8-4887-880C-C2F3A2282B79}"/>
                  </a:ext>
                </a:extLst>
              </p:cNvPr>
              <p:cNvSpPr/>
              <p:nvPr/>
            </p:nvSpPr>
            <p:spPr>
              <a:xfrm>
                <a:off x="12617921" y="6432392"/>
                <a:ext cx="34484" cy="34493"/>
              </a:xfrm>
              <a:custGeom>
                <a:avLst/>
                <a:gdLst/>
                <a:ahLst/>
                <a:cxnLst/>
                <a:rect l="0" t="0" r="0" b="0"/>
                <a:pathLst>
                  <a:path w="120000" h="120000" extrusionOk="0">
                    <a:moveTo>
                      <a:pt x="90000" y="90000"/>
                    </a:moveTo>
                    <a:cubicBezTo>
                      <a:pt x="60000" y="90000"/>
                      <a:pt x="0" y="60000"/>
                      <a:pt x="30000" y="30000"/>
                    </a:cubicBezTo>
                    <a:cubicBezTo>
                      <a:pt x="60000" y="30000"/>
                      <a:pt x="90000" y="0"/>
                      <a:pt x="90000" y="0"/>
                    </a:cubicBezTo>
                    <a:cubicBezTo>
                      <a:pt x="120000" y="0"/>
                      <a:pt x="120000" y="60000"/>
                      <a:pt x="90000" y="90000"/>
                    </a:cubicBezTo>
                    <a:cubicBezTo>
                      <a:pt x="60000" y="120000"/>
                      <a:pt x="120000" y="60000"/>
                      <a:pt x="900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6" name="Shape 2380">
                <a:extLst>
                  <a:ext uri="{FF2B5EF4-FFF2-40B4-BE49-F238E27FC236}">
                    <a16:creationId xmlns:a16="http://schemas.microsoft.com/office/drawing/2014/main" id="{5ADB381D-0868-440F-BC33-50A457826D91}"/>
                  </a:ext>
                </a:extLst>
              </p:cNvPr>
              <p:cNvSpPr/>
              <p:nvPr/>
            </p:nvSpPr>
            <p:spPr>
              <a:xfrm>
                <a:off x="12281698" y="6693964"/>
                <a:ext cx="48851" cy="77609"/>
              </a:xfrm>
              <a:custGeom>
                <a:avLst/>
                <a:gdLst/>
                <a:ahLst/>
                <a:cxnLst/>
                <a:rect l="0" t="0" r="0" b="0"/>
                <a:pathLst>
                  <a:path w="120000" h="120000" extrusionOk="0">
                    <a:moveTo>
                      <a:pt x="120000" y="26666"/>
                    </a:moveTo>
                    <a:cubicBezTo>
                      <a:pt x="120000" y="13333"/>
                      <a:pt x="120000" y="53333"/>
                      <a:pt x="120000" y="53333"/>
                    </a:cubicBezTo>
                    <a:cubicBezTo>
                      <a:pt x="120000" y="80000"/>
                      <a:pt x="120000" y="106666"/>
                      <a:pt x="100000" y="120000"/>
                    </a:cubicBezTo>
                    <a:cubicBezTo>
                      <a:pt x="100000" y="120000"/>
                      <a:pt x="0" y="66666"/>
                      <a:pt x="0" y="40000"/>
                    </a:cubicBezTo>
                    <a:cubicBezTo>
                      <a:pt x="0" y="40000"/>
                      <a:pt x="40000" y="26666"/>
                      <a:pt x="60000" y="40000"/>
                    </a:cubicBezTo>
                    <a:cubicBezTo>
                      <a:pt x="80000" y="53333"/>
                      <a:pt x="100000" y="53333"/>
                      <a:pt x="120000" y="26666"/>
                    </a:cubicBezTo>
                    <a:cubicBezTo>
                      <a:pt x="120000" y="0"/>
                      <a:pt x="120000" y="40000"/>
                      <a:pt x="120000" y="2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7" name="Shape 2381">
                <a:extLst>
                  <a:ext uri="{FF2B5EF4-FFF2-40B4-BE49-F238E27FC236}">
                    <a16:creationId xmlns:a16="http://schemas.microsoft.com/office/drawing/2014/main" id="{D0C6E6BD-1C04-4B49-B1BA-CDA5D4398246}"/>
                  </a:ext>
                </a:extLst>
              </p:cNvPr>
              <p:cNvSpPr/>
              <p:nvPr/>
            </p:nvSpPr>
            <p:spPr>
              <a:xfrm>
                <a:off x="12221352" y="6711211"/>
                <a:ext cx="68966" cy="68984"/>
              </a:xfrm>
              <a:custGeom>
                <a:avLst/>
                <a:gdLst/>
                <a:ahLst/>
                <a:cxnLst/>
                <a:rect l="0" t="0" r="0" b="0"/>
                <a:pathLst>
                  <a:path w="120000" h="120000" extrusionOk="0">
                    <a:moveTo>
                      <a:pt x="90000" y="105000"/>
                    </a:moveTo>
                    <a:cubicBezTo>
                      <a:pt x="75000" y="120000"/>
                      <a:pt x="0" y="75000"/>
                      <a:pt x="15000" y="60000"/>
                    </a:cubicBezTo>
                    <a:cubicBezTo>
                      <a:pt x="45000" y="0"/>
                      <a:pt x="120000" y="75000"/>
                      <a:pt x="90000" y="105000"/>
                    </a:cubicBezTo>
                    <a:cubicBezTo>
                      <a:pt x="75000" y="120000"/>
                      <a:pt x="105000" y="90000"/>
                      <a:pt x="90000" y="10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8" name="Shape 2382">
                <a:extLst>
                  <a:ext uri="{FF2B5EF4-FFF2-40B4-BE49-F238E27FC236}">
                    <a16:creationId xmlns:a16="http://schemas.microsoft.com/office/drawing/2014/main" id="{25DB4847-E67C-4A69-B657-BCF1BAAB5D69}"/>
                  </a:ext>
                </a:extLst>
              </p:cNvPr>
              <p:cNvSpPr/>
              <p:nvPr/>
            </p:nvSpPr>
            <p:spPr>
              <a:xfrm>
                <a:off x="11919615" y="7582162"/>
                <a:ext cx="40231" cy="31619"/>
              </a:xfrm>
              <a:custGeom>
                <a:avLst/>
                <a:gdLst/>
                <a:ahLst/>
                <a:cxnLst/>
                <a:rect l="0" t="0" r="0" b="0"/>
                <a:pathLst>
                  <a:path w="120000" h="120000" extrusionOk="0">
                    <a:moveTo>
                      <a:pt x="96000" y="60000"/>
                    </a:moveTo>
                    <a:cubicBezTo>
                      <a:pt x="120000" y="30000"/>
                      <a:pt x="96000" y="120000"/>
                      <a:pt x="72000" y="90000"/>
                    </a:cubicBezTo>
                    <a:cubicBezTo>
                      <a:pt x="72000" y="90000"/>
                      <a:pt x="0" y="60000"/>
                      <a:pt x="0" y="60000"/>
                    </a:cubicBezTo>
                    <a:cubicBezTo>
                      <a:pt x="0" y="60000"/>
                      <a:pt x="72000" y="0"/>
                      <a:pt x="96000" y="0"/>
                    </a:cubicBezTo>
                    <a:cubicBezTo>
                      <a:pt x="96000" y="0"/>
                      <a:pt x="72000" y="60000"/>
                      <a:pt x="96000" y="60000"/>
                    </a:cubicBezTo>
                    <a:cubicBezTo>
                      <a:pt x="120000" y="30000"/>
                      <a:pt x="72000" y="60000"/>
                      <a:pt x="96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29" name="Shape 2383">
                <a:extLst>
                  <a:ext uri="{FF2B5EF4-FFF2-40B4-BE49-F238E27FC236}">
                    <a16:creationId xmlns:a16="http://schemas.microsoft.com/office/drawing/2014/main" id="{5D7F3A8B-515E-44C3-A902-C6C0BE8BAAAC}"/>
                  </a:ext>
                </a:extLst>
              </p:cNvPr>
              <p:cNvSpPr/>
              <p:nvPr/>
            </p:nvSpPr>
            <p:spPr>
              <a:xfrm>
                <a:off x="11505802" y="6550243"/>
                <a:ext cx="51724" cy="51738"/>
              </a:xfrm>
              <a:custGeom>
                <a:avLst/>
                <a:gdLst/>
                <a:ahLst/>
                <a:cxnLst/>
                <a:rect l="0" t="0" r="0" b="0"/>
                <a:pathLst>
                  <a:path w="120000" h="120000" extrusionOk="0">
                    <a:moveTo>
                      <a:pt x="100000" y="20000"/>
                    </a:moveTo>
                    <a:cubicBezTo>
                      <a:pt x="120000" y="40000"/>
                      <a:pt x="80000" y="60000"/>
                      <a:pt x="80000" y="100000"/>
                    </a:cubicBezTo>
                    <a:cubicBezTo>
                      <a:pt x="60000" y="120000"/>
                      <a:pt x="40000" y="120000"/>
                      <a:pt x="20000" y="100000"/>
                    </a:cubicBezTo>
                    <a:cubicBezTo>
                      <a:pt x="0" y="80000"/>
                      <a:pt x="100000" y="0"/>
                      <a:pt x="100000" y="20000"/>
                    </a:cubicBezTo>
                    <a:cubicBezTo>
                      <a:pt x="120000" y="40000"/>
                      <a:pt x="100000" y="0"/>
                      <a:pt x="100000" y="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31" name="Shape 2384">
                <a:extLst>
                  <a:ext uri="{FF2B5EF4-FFF2-40B4-BE49-F238E27FC236}">
                    <a16:creationId xmlns:a16="http://schemas.microsoft.com/office/drawing/2014/main" id="{08AC2FDC-C16C-4246-A4AB-5592CBF60209}"/>
                  </a:ext>
                </a:extLst>
              </p:cNvPr>
              <p:cNvSpPr/>
              <p:nvPr/>
            </p:nvSpPr>
            <p:spPr>
              <a:xfrm>
                <a:off x="11531669" y="6610605"/>
                <a:ext cx="25862" cy="25869"/>
              </a:xfrm>
              <a:custGeom>
                <a:avLst/>
                <a:gdLst/>
                <a:ahLst/>
                <a:cxnLst/>
                <a:rect l="0" t="0" r="0" b="0"/>
                <a:pathLst>
                  <a:path w="120000" h="120000" extrusionOk="0">
                    <a:moveTo>
                      <a:pt x="120000" y="40000"/>
                    </a:moveTo>
                    <a:cubicBezTo>
                      <a:pt x="80000" y="40000"/>
                      <a:pt x="0" y="40000"/>
                      <a:pt x="0" y="80000"/>
                    </a:cubicBezTo>
                    <a:cubicBezTo>
                      <a:pt x="0" y="120000"/>
                      <a:pt x="80000" y="120000"/>
                      <a:pt x="80000" y="120000"/>
                    </a:cubicBezTo>
                    <a:cubicBezTo>
                      <a:pt x="120000" y="120000"/>
                      <a:pt x="120000" y="0"/>
                      <a:pt x="120000" y="40000"/>
                    </a:cubicBezTo>
                    <a:cubicBezTo>
                      <a:pt x="80000" y="40000"/>
                      <a:pt x="120000" y="40000"/>
                      <a:pt x="12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32" name="Shape 2385">
                <a:extLst>
                  <a:ext uri="{FF2B5EF4-FFF2-40B4-BE49-F238E27FC236}">
                    <a16:creationId xmlns:a16="http://schemas.microsoft.com/office/drawing/2014/main" id="{66CBD0A5-25AB-4D28-BDB7-451D695442E2}"/>
                  </a:ext>
                </a:extLst>
              </p:cNvPr>
              <p:cNvSpPr/>
              <p:nvPr/>
            </p:nvSpPr>
            <p:spPr>
              <a:xfrm>
                <a:off x="11557531" y="6636477"/>
                <a:ext cx="14368" cy="8622"/>
              </a:xfrm>
              <a:custGeom>
                <a:avLst/>
                <a:gdLst/>
                <a:ahLst/>
                <a:cxnLst/>
                <a:rect l="0" t="0" r="0" b="0"/>
                <a:pathLst>
                  <a:path w="120000" h="120000" extrusionOk="0">
                    <a:moveTo>
                      <a:pt x="120000" y="0"/>
                    </a:moveTo>
                    <a:cubicBezTo>
                      <a:pt x="60000" y="0"/>
                      <a:pt x="0" y="120000"/>
                      <a:pt x="60000" y="120000"/>
                    </a:cubicBezTo>
                    <a:cubicBezTo>
                      <a:pt x="120000" y="12000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35" name="Shape 2386">
                <a:extLst>
                  <a:ext uri="{FF2B5EF4-FFF2-40B4-BE49-F238E27FC236}">
                    <a16:creationId xmlns:a16="http://schemas.microsoft.com/office/drawing/2014/main" id="{40481A83-3D2C-4F6C-8AF1-7AF0509BA2E5}"/>
                  </a:ext>
                </a:extLst>
              </p:cNvPr>
              <p:cNvSpPr/>
              <p:nvPr/>
            </p:nvSpPr>
            <p:spPr>
              <a:xfrm>
                <a:off x="11557531" y="6659473"/>
                <a:ext cx="8620" cy="17246"/>
              </a:xfrm>
              <a:custGeom>
                <a:avLst/>
                <a:gdLst/>
                <a:ahLst/>
                <a:cxnLst/>
                <a:rect l="0" t="0" r="0" b="0"/>
                <a:pathLst>
                  <a:path w="120000" h="120000" extrusionOk="0">
                    <a:moveTo>
                      <a:pt x="120000" y="0"/>
                    </a:moveTo>
                    <a:cubicBezTo>
                      <a:pt x="120000" y="60000"/>
                      <a:pt x="0" y="120000"/>
                      <a:pt x="0" y="120000"/>
                    </a:cubicBezTo>
                    <a:cubicBezTo>
                      <a:pt x="120000" y="12000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36" name="Shape 2387">
                <a:extLst>
                  <a:ext uri="{FF2B5EF4-FFF2-40B4-BE49-F238E27FC236}">
                    <a16:creationId xmlns:a16="http://schemas.microsoft.com/office/drawing/2014/main" id="{1C174944-C751-459C-B608-349B2457EFA2}"/>
                  </a:ext>
                </a:extLst>
              </p:cNvPr>
              <p:cNvSpPr/>
              <p:nvPr/>
            </p:nvSpPr>
            <p:spPr>
              <a:xfrm>
                <a:off x="11557531" y="6676718"/>
                <a:ext cx="14368" cy="8622"/>
              </a:xfrm>
              <a:custGeom>
                <a:avLst/>
                <a:gdLst/>
                <a:ahLst/>
                <a:cxnLst/>
                <a:rect l="0" t="0" r="0" b="0"/>
                <a:pathLst>
                  <a:path w="120000" h="120000" extrusionOk="0">
                    <a:moveTo>
                      <a:pt x="120000" y="0"/>
                    </a:moveTo>
                    <a:cubicBezTo>
                      <a:pt x="60000" y="0"/>
                      <a:pt x="0" y="120000"/>
                      <a:pt x="60000" y="120000"/>
                    </a:cubicBezTo>
                    <a:cubicBezTo>
                      <a:pt x="120000" y="12000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37" name="Shape 2388">
                <a:extLst>
                  <a:ext uri="{FF2B5EF4-FFF2-40B4-BE49-F238E27FC236}">
                    <a16:creationId xmlns:a16="http://schemas.microsoft.com/office/drawing/2014/main" id="{FC567601-7CCD-40DA-9354-5CB09D165A1A}"/>
                  </a:ext>
                </a:extLst>
              </p:cNvPr>
              <p:cNvSpPr/>
              <p:nvPr/>
            </p:nvSpPr>
            <p:spPr>
              <a:xfrm>
                <a:off x="11623626" y="6803191"/>
                <a:ext cx="8620" cy="17246"/>
              </a:xfrm>
              <a:custGeom>
                <a:avLst/>
                <a:gdLst/>
                <a:ahLst/>
                <a:cxnLst/>
                <a:rect l="0" t="0" r="0" b="0"/>
                <a:pathLst>
                  <a:path w="120000" h="120000" extrusionOk="0">
                    <a:moveTo>
                      <a:pt x="0" y="0"/>
                    </a:moveTo>
                    <a:cubicBezTo>
                      <a:pt x="0" y="60000"/>
                      <a:pt x="0" y="120000"/>
                      <a:pt x="0" y="120000"/>
                    </a:cubicBezTo>
                    <a:cubicBezTo>
                      <a:pt x="0" y="120000"/>
                      <a:pt x="120000" y="0"/>
                      <a:pt x="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38" name="Shape 2389">
                <a:extLst>
                  <a:ext uri="{FF2B5EF4-FFF2-40B4-BE49-F238E27FC236}">
                    <a16:creationId xmlns:a16="http://schemas.microsoft.com/office/drawing/2014/main" id="{3BEA4B91-8819-4348-9546-B3F4D0B4AD34}"/>
                  </a:ext>
                </a:extLst>
              </p:cNvPr>
              <p:cNvSpPr/>
              <p:nvPr/>
            </p:nvSpPr>
            <p:spPr>
              <a:xfrm>
                <a:off x="11750069" y="6423769"/>
                <a:ext cx="17242" cy="34493"/>
              </a:xfrm>
              <a:custGeom>
                <a:avLst/>
                <a:gdLst/>
                <a:ahLst/>
                <a:cxnLst/>
                <a:rect l="0" t="0" r="0" b="0"/>
                <a:pathLst>
                  <a:path w="120000" h="120000" extrusionOk="0">
                    <a:moveTo>
                      <a:pt x="60000" y="120000"/>
                    </a:moveTo>
                    <a:cubicBezTo>
                      <a:pt x="0" y="90000"/>
                      <a:pt x="0" y="30000"/>
                      <a:pt x="120000" y="30000"/>
                    </a:cubicBezTo>
                    <a:cubicBezTo>
                      <a:pt x="120000" y="0"/>
                      <a:pt x="120000" y="120000"/>
                      <a:pt x="60000" y="120000"/>
                    </a:cubicBezTo>
                    <a:cubicBezTo>
                      <a:pt x="0" y="90000"/>
                      <a:pt x="60000" y="120000"/>
                      <a:pt x="6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39" name="Shape 2390">
                <a:extLst>
                  <a:ext uri="{FF2B5EF4-FFF2-40B4-BE49-F238E27FC236}">
                    <a16:creationId xmlns:a16="http://schemas.microsoft.com/office/drawing/2014/main" id="{56E2717C-BA5A-4709-8D41-FC4D6E7EAC0F}"/>
                  </a:ext>
                </a:extLst>
              </p:cNvPr>
              <p:cNvSpPr/>
              <p:nvPr/>
            </p:nvSpPr>
            <p:spPr>
              <a:xfrm>
                <a:off x="8709717" y="11801821"/>
                <a:ext cx="100578" cy="51738"/>
              </a:xfrm>
              <a:custGeom>
                <a:avLst/>
                <a:gdLst/>
                <a:ahLst/>
                <a:cxnLst/>
                <a:rect l="0" t="0" r="0" b="0"/>
                <a:pathLst>
                  <a:path w="120000" h="120000" extrusionOk="0">
                    <a:moveTo>
                      <a:pt x="100000" y="60000"/>
                    </a:moveTo>
                    <a:cubicBezTo>
                      <a:pt x="90000" y="60000"/>
                      <a:pt x="90000" y="40000"/>
                      <a:pt x="80000" y="40000"/>
                    </a:cubicBezTo>
                    <a:cubicBezTo>
                      <a:pt x="70000" y="40000"/>
                      <a:pt x="60000" y="40000"/>
                      <a:pt x="50000" y="40000"/>
                    </a:cubicBezTo>
                    <a:cubicBezTo>
                      <a:pt x="40000" y="40000"/>
                      <a:pt x="40000" y="0"/>
                      <a:pt x="30000" y="20000"/>
                    </a:cubicBezTo>
                    <a:cubicBezTo>
                      <a:pt x="30000" y="20000"/>
                      <a:pt x="0" y="60000"/>
                      <a:pt x="0" y="60000"/>
                    </a:cubicBezTo>
                    <a:cubicBezTo>
                      <a:pt x="0" y="60000"/>
                      <a:pt x="20000" y="100000"/>
                      <a:pt x="20000" y="100000"/>
                    </a:cubicBezTo>
                    <a:cubicBezTo>
                      <a:pt x="30000" y="120000"/>
                      <a:pt x="50000" y="100000"/>
                      <a:pt x="60000" y="100000"/>
                    </a:cubicBezTo>
                    <a:cubicBezTo>
                      <a:pt x="70000" y="100000"/>
                      <a:pt x="110000" y="80000"/>
                      <a:pt x="110000" y="60000"/>
                    </a:cubicBezTo>
                    <a:cubicBezTo>
                      <a:pt x="100000" y="60000"/>
                      <a:pt x="100000" y="60000"/>
                      <a:pt x="100000" y="60000"/>
                    </a:cubicBezTo>
                    <a:cubicBezTo>
                      <a:pt x="90000" y="60000"/>
                      <a:pt x="120000" y="40000"/>
                      <a:pt x="10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0" name="Shape 2391">
                <a:extLst>
                  <a:ext uri="{FF2B5EF4-FFF2-40B4-BE49-F238E27FC236}">
                    <a16:creationId xmlns:a16="http://schemas.microsoft.com/office/drawing/2014/main" id="{5A01696A-0200-4EBB-9AD4-9D9425A6AF8E}"/>
                  </a:ext>
                </a:extLst>
              </p:cNvPr>
              <p:cNvSpPr/>
              <p:nvPr/>
            </p:nvSpPr>
            <p:spPr>
              <a:xfrm>
                <a:off x="8701094" y="11853558"/>
                <a:ext cx="74715" cy="51738"/>
              </a:xfrm>
              <a:custGeom>
                <a:avLst/>
                <a:gdLst/>
                <a:ahLst/>
                <a:cxnLst/>
                <a:rect l="0" t="0" r="0" b="0"/>
                <a:pathLst>
                  <a:path w="120000" h="120000" extrusionOk="0">
                    <a:moveTo>
                      <a:pt x="93333" y="60000"/>
                    </a:moveTo>
                    <a:cubicBezTo>
                      <a:pt x="93333" y="40000"/>
                      <a:pt x="0" y="0"/>
                      <a:pt x="0" y="20000"/>
                    </a:cubicBezTo>
                    <a:cubicBezTo>
                      <a:pt x="0" y="20000"/>
                      <a:pt x="26666" y="40000"/>
                      <a:pt x="26666" y="40000"/>
                    </a:cubicBezTo>
                    <a:cubicBezTo>
                      <a:pt x="40000" y="60000"/>
                      <a:pt x="13333" y="80000"/>
                      <a:pt x="13333" y="100000"/>
                    </a:cubicBezTo>
                    <a:cubicBezTo>
                      <a:pt x="13333" y="120000"/>
                      <a:pt x="40000" y="100000"/>
                      <a:pt x="40000" y="100000"/>
                    </a:cubicBezTo>
                    <a:cubicBezTo>
                      <a:pt x="53333" y="80000"/>
                      <a:pt x="40000" y="100000"/>
                      <a:pt x="53333" y="100000"/>
                    </a:cubicBezTo>
                    <a:cubicBezTo>
                      <a:pt x="66666" y="120000"/>
                      <a:pt x="120000" y="80000"/>
                      <a:pt x="93333" y="60000"/>
                    </a:cubicBezTo>
                    <a:cubicBezTo>
                      <a:pt x="80000" y="40000"/>
                      <a:pt x="106666" y="60000"/>
                      <a:pt x="93333"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1" name="Shape 2392">
                <a:extLst>
                  <a:ext uri="{FF2B5EF4-FFF2-40B4-BE49-F238E27FC236}">
                    <a16:creationId xmlns:a16="http://schemas.microsoft.com/office/drawing/2014/main" id="{C290B78B-04ED-4849-B6A8-3F65789812BD}"/>
                  </a:ext>
                </a:extLst>
              </p:cNvPr>
              <p:cNvSpPr/>
              <p:nvPr/>
            </p:nvSpPr>
            <p:spPr>
              <a:xfrm>
                <a:off x="8692476" y="11787449"/>
                <a:ext cx="66093" cy="40242"/>
              </a:xfrm>
              <a:custGeom>
                <a:avLst/>
                <a:gdLst/>
                <a:ahLst/>
                <a:cxnLst/>
                <a:rect l="0" t="0" r="0" b="0"/>
                <a:pathLst>
                  <a:path w="120000" h="120000" extrusionOk="0">
                    <a:moveTo>
                      <a:pt x="90000" y="0"/>
                    </a:moveTo>
                    <a:cubicBezTo>
                      <a:pt x="75000" y="0"/>
                      <a:pt x="60000" y="24000"/>
                      <a:pt x="45000" y="24000"/>
                    </a:cubicBezTo>
                    <a:cubicBezTo>
                      <a:pt x="30000" y="0"/>
                      <a:pt x="0" y="24000"/>
                      <a:pt x="0" y="24000"/>
                    </a:cubicBezTo>
                    <a:cubicBezTo>
                      <a:pt x="15000" y="0"/>
                      <a:pt x="0" y="96000"/>
                      <a:pt x="0" y="72000"/>
                    </a:cubicBezTo>
                    <a:cubicBezTo>
                      <a:pt x="15000" y="120000"/>
                      <a:pt x="60000" y="72000"/>
                      <a:pt x="75000" y="48000"/>
                    </a:cubicBezTo>
                    <a:cubicBezTo>
                      <a:pt x="90000" y="48000"/>
                      <a:pt x="120000" y="0"/>
                      <a:pt x="90000" y="0"/>
                    </a:cubicBezTo>
                    <a:cubicBezTo>
                      <a:pt x="75000" y="0"/>
                      <a:pt x="120000" y="0"/>
                      <a:pt x="9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2" name="Shape 2393">
                <a:extLst>
                  <a:ext uri="{FF2B5EF4-FFF2-40B4-BE49-F238E27FC236}">
                    <a16:creationId xmlns:a16="http://schemas.microsoft.com/office/drawing/2014/main" id="{AC3EAE27-BFDB-454C-B074-5312FEE4873E}"/>
                  </a:ext>
                </a:extLst>
              </p:cNvPr>
              <p:cNvSpPr/>
              <p:nvPr/>
            </p:nvSpPr>
            <p:spPr>
              <a:xfrm>
                <a:off x="8657991" y="11819066"/>
                <a:ext cx="68966" cy="43118"/>
              </a:xfrm>
              <a:custGeom>
                <a:avLst/>
                <a:gdLst/>
                <a:ahLst/>
                <a:cxnLst/>
                <a:rect l="0" t="0" r="0" b="0"/>
                <a:pathLst>
                  <a:path w="120000" h="120000" extrusionOk="0">
                    <a:moveTo>
                      <a:pt x="105000" y="96000"/>
                    </a:moveTo>
                    <a:cubicBezTo>
                      <a:pt x="90000" y="72000"/>
                      <a:pt x="0" y="0"/>
                      <a:pt x="15000" y="24000"/>
                    </a:cubicBezTo>
                    <a:cubicBezTo>
                      <a:pt x="30000" y="48000"/>
                      <a:pt x="120000" y="120000"/>
                      <a:pt x="105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3" name="Shape 2394">
                <a:extLst>
                  <a:ext uri="{FF2B5EF4-FFF2-40B4-BE49-F238E27FC236}">
                    <a16:creationId xmlns:a16="http://schemas.microsoft.com/office/drawing/2014/main" id="{80A4360E-D3C5-4DB1-BC2F-DF645226FB91}"/>
                  </a:ext>
                </a:extLst>
              </p:cNvPr>
              <p:cNvSpPr/>
              <p:nvPr/>
            </p:nvSpPr>
            <p:spPr>
              <a:xfrm>
                <a:off x="8640749" y="11761577"/>
                <a:ext cx="25862" cy="25869"/>
              </a:xfrm>
              <a:custGeom>
                <a:avLst/>
                <a:gdLst/>
                <a:ahLst/>
                <a:cxnLst/>
                <a:rect l="0" t="0" r="0" b="0"/>
                <a:pathLst>
                  <a:path w="120000" h="120000" extrusionOk="0">
                    <a:moveTo>
                      <a:pt x="80000" y="80000"/>
                    </a:moveTo>
                    <a:cubicBezTo>
                      <a:pt x="80000" y="120000"/>
                      <a:pt x="40000" y="80000"/>
                      <a:pt x="0" y="40000"/>
                    </a:cubicBezTo>
                    <a:cubicBezTo>
                      <a:pt x="0" y="0"/>
                      <a:pt x="120000" y="0"/>
                      <a:pt x="80000" y="80000"/>
                    </a:cubicBezTo>
                    <a:cubicBezTo>
                      <a:pt x="80000" y="120000"/>
                      <a:pt x="80000" y="40000"/>
                      <a:pt x="80000"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4" name="Shape 2395">
                <a:extLst>
                  <a:ext uri="{FF2B5EF4-FFF2-40B4-BE49-F238E27FC236}">
                    <a16:creationId xmlns:a16="http://schemas.microsoft.com/office/drawing/2014/main" id="{A164C5CE-0D5A-4BBC-929E-809867EF8027}"/>
                  </a:ext>
                </a:extLst>
              </p:cNvPr>
              <p:cNvSpPr/>
              <p:nvPr/>
            </p:nvSpPr>
            <p:spPr>
              <a:xfrm>
                <a:off x="8640749" y="11692592"/>
                <a:ext cx="60346" cy="60363"/>
              </a:xfrm>
              <a:custGeom>
                <a:avLst/>
                <a:gdLst/>
                <a:ahLst/>
                <a:cxnLst/>
                <a:rect l="0" t="0" r="0" b="0"/>
                <a:pathLst>
                  <a:path w="120000" h="120000" extrusionOk="0">
                    <a:moveTo>
                      <a:pt x="85714" y="34285"/>
                    </a:moveTo>
                    <a:cubicBezTo>
                      <a:pt x="85714" y="17142"/>
                      <a:pt x="68571" y="17142"/>
                      <a:pt x="68571" y="0"/>
                    </a:cubicBezTo>
                    <a:cubicBezTo>
                      <a:pt x="51428" y="0"/>
                      <a:pt x="17142" y="0"/>
                      <a:pt x="34285" y="17142"/>
                    </a:cubicBezTo>
                    <a:cubicBezTo>
                      <a:pt x="68571" y="51428"/>
                      <a:pt x="17142" y="34285"/>
                      <a:pt x="0" y="17142"/>
                    </a:cubicBezTo>
                    <a:cubicBezTo>
                      <a:pt x="17142" y="51428"/>
                      <a:pt x="34285" y="51428"/>
                      <a:pt x="34285" y="68571"/>
                    </a:cubicBezTo>
                    <a:cubicBezTo>
                      <a:pt x="51428" y="102857"/>
                      <a:pt x="17142" y="85714"/>
                      <a:pt x="0" y="102857"/>
                    </a:cubicBezTo>
                    <a:cubicBezTo>
                      <a:pt x="0" y="119999"/>
                      <a:pt x="68571" y="102857"/>
                      <a:pt x="51428" y="85714"/>
                    </a:cubicBezTo>
                    <a:cubicBezTo>
                      <a:pt x="51428" y="85714"/>
                      <a:pt x="68571" y="51428"/>
                      <a:pt x="68571" y="34285"/>
                    </a:cubicBezTo>
                    <a:cubicBezTo>
                      <a:pt x="68571" y="34285"/>
                      <a:pt x="68571" y="51428"/>
                      <a:pt x="68571" y="68571"/>
                    </a:cubicBezTo>
                    <a:cubicBezTo>
                      <a:pt x="68571" y="51428"/>
                      <a:pt x="102857" y="34285"/>
                      <a:pt x="102857" y="34285"/>
                    </a:cubicBezTo>
                    <a:cubicBezTo>
                      <a:pt x="102857" y="34285"/>
                      <a:pt x="102857" y="34285"/>
                      <a:pt x="85714" y="34285"/>
                    </a:cubicBezTo>
                    <a:cubicBezTo>
                      <a:pt x="85714" y="17142"/>
                      <a:pt x="119999" y="34285"/>
                      <a:pt x="85714" y="3428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5" name="Shape 2396">
                <a:extLst>
                  <a:ext uri="{FF2B5EF4-FFF2-40B4-BE49-F238E27FC236}">
                    <a16:creationId xmlns:a16="http://schemas.microsoft.com/office/drawing/2014/main" id="{7AA93E2A-E7B6-452F-8EEB-F2E79BF3C33F}"/>
                  </a:ext>
                </a:extLst>
              </p:cNvPr>
              <p:cNvSpPr/>
              <p:nvPr/>
            </p:nvSpPr>
            <p:spPr>
              <a:xfrm>
                <a:off x="8632127" y="11583364"/>
                <a:ext cx="43104" cy="91980"/>
              </a:xfrm>
              <a:custGeom>
                <a:avLst/>
                <a:gdLst/>
                <a:ahLst/>
                <a:cxnLst/>
                <a:rect l="0" t="0" r="0" b="0"/>
                <a:pathLst>
                  <a:path w="120000" h="120000" extrusionOk="0">
                    <a:moveTo>
                      <a:pt x="120000" y="76363"/>
                    </a:moveTo>
                    <a:cubicBezTo>
                      <a:pt x="120000" y="65454"/>
                      <a:pt x="96000" y="0"/>
                      <a:pt x="48000" y="21818"/>
                    </a:cubicBezTo>
                    <a:cubicBezTo>
                      <a:pt x="48000" y="32727"/>
                      <a:pt x="72000" y="65454"/>
                      <a:pt x="24000" y="65454"/>
                    </a:cubicBezTo>
                    <a:cubicBezTo>
                      <a:pt x="0" y="65454"/>
                      <a:pt x="0" y="76363"/>
                      <a:pt x="0" y="98181"/>
                    </a:cubicBezTo>
                    <a:cubicBezTo>
                      <a:pt x="24000" y="98181"/>
                      <a:pt x="48000" y="76363"/>
                      <a:pt x="48000" y="76363"/>
                    </a:cubicBezTo>
                    <a:cubicBezTo>
                      <a:pt x="24000" y="76363"/>
                      <a:pt x="120000" y="120000"/>
                      <a:pt x="120000" y="76363"/>
                    </a:cubicBezTo>
                    <a:cubicBezTo>
                      <a:pt x="120000" y="65454"/>
                      <a:pt x="120000" y="87272"/>
                      <a:pt x="120000" y="7636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6" name="Shape 2397">
                <a:extLst>
                  <a:ext uri="{FF2B5EF4-FFF2-40B4-BE49-F238E27FC236}">
                    <a16:creationId xmlns:a16="http://schemas.microsoft.com/office/drawing/2014/main" id="{7DEE1361-C818-44B7-B171-6B50208091A0}"/>
                  </a:ext>
                </a:extLst>
              </p:cNvPr>
              <p:cNvSpPr/>
              <p:nvPr/>
            </p:nvSpPr>
            <p:spPr>
              <a:xfrm>
                <a:off x="8623508" y="11658097"/>
                <a:ext cx="25862" cy="51738"/>
              </a:xfrm>
              <a:custGeom>
                <a:avLst/>
                <a:gdLst/>
                <a:ahLst/>
                <a:cxnLst/>
                <a:rect l="0" t="0" r="0" b="0"/>
                <a:pathLst>
                  <a:path w="120000" h="120000" extrusionOk="0">
                    <a:moveTo>
                      <a:pt x="120000" y="40000"/>
                    </a:moveTo>
                    <a:cubicBezTo>
                      <a:pt x="80000" y="0"/>
                      <a:pt x="0" y="100000"/>
                      <a:pt x="40000" y="120000"/>
                    </a:cubicBezTo>
                    <a:cubicBezTo>
                      <a:pt x="0" y="100000"/>
                      <a:pt x="120000" y="60000"/>
                      <a:pt x="120000" y="40000"/>
                    </a:cubicBezTo>
                    <a:cubicBezTo>
                      <a:pt x="80000" y="20000"/>
                      <a:pt x="120000" y="40000"/>
                      <a:pt x="12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7" name="Shape 2398">
                <a:extLst>
                  <a:ext uri="{FF2B5EF4-FFF2-40B4-BE49-F238E27FC236}">
                    <a16:creationId xmlns:a16="http://schemas.microsoft.com/office/drawing/2014/main" id="{04E217C7-9899-4323-9BA5-E12AD89E4E9D}"/>
                  </a:ext>
                </a:extLst>
              </p:cNvPr>
              <p:cNvSpPr/>
              <p:nvPr/>
            </p:nvSpPr>
            <p:spPr>
              <a:xfrm>
                <a:off x="8623508" y="11548870"/>
                <a:ext cx="43104" cy="60363"/>
              </a:xfrm>
              <a:custGeom>
                <a:avLst/>
                <a:gdLst/>
                <a:ahLst/>
                <a:cxnLst/>
                <a:rect l="0" t="0" r="0" b="0"/>
                <a:pathLst>
                  <a:path w="120000" h="120000" extrusionOk="0">
                    <a:moveTo>
                      <a:pt x="96000" y="34285"/>
                    </a:moveTo>
                    <a:cubicBezTo>
                      <a:pt x="72000" y="51428"/>
                      <a:pt x="72000" y="0"/>
                      <a:pt x="72000" y="0"/>
                    </a:cubicBezTo>
                    <a:cubicBezTo>
                      <a:pt x="72000" y="0"/>
                      <a:pt x="72000" y="51428"/>
                      <a:pt x="48000" y="51428"/>
                    </a:cubicBezTo>
                    <a:cubicBezTo>
                      <a:pt x="48000" y="51428"/>
                      <a:pt x="48000" y="34285"/>
                      <a:pt x="24000" y="34285"/>
                    </a:cubicBezTo>
                    <a:cubicBezTo>
                      <a:pt x="48000" y="34285"/>
                      <a:pt x="0" y="85714"/>
                      <a:pt x="0" y="85714"/>
                    </a:cubicBezTo>
                    <a:cubicBezTo>
                      <a:pt x="0" y="68571"/>
                      <a:pt x="96000" y="85714"/>
                      <a:pt x="48000" y="119999"/>
                    </a:cubicBezTo>
                    <a:cubicBezTo>
                      <a:pt x="72000" y="102857"/>
                      <a:pt x="120000" y="102857"/>
                      <a:pt x="120000" y="85714"/>
                    </a:cubicBezTo>
                    <a:cubicBezTo>
                      <a:pt x="120000" y="68571"/>
                      <a:pt x="96000" y="17142"/>
                      <a:pt x="96000" y="34285"/>
                    </a:cubicBezTo>
                    <a:cubicBezTo>
                      <a:pt x="72000" y="51428"/>
                      <a:pt x="96000" y="17142"/>
                      <a:pt x="96000" y="3428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8" name="Shape 2399">
                <a:extLst>
                  <a:ext uri="{FF2B5EF4-FFF2-40B4-BE49-F238E27FC236}">
                    <a16:creationId xmlns:a16="http://schemas.microsoft.com/office/drawing/2014/main" id="{52A7E22B-AF32-4E1C-816E-CD42854F0834}"/>
                  </a:ext>
                </a:extLst>
              </p:cNvPr>
              <p:cNvSpPr/>
              <p:nvPr/>
            </p:nvSpPr>
            <p:spPr>
              <a:xfrm>
                <a:off x="8666614" y="11382153"/>
                <a:ext cx="43104" cy="40242"/>
              </a:xfrm>
              <a:custGeom>
                <a:avLst/>
                <a:gdLst/>
                <a:ahLst/>
                <a:cxnLst/>
                <a:rect l="0" t="0" r="0" b="0"/>
                <a:pathLst>
                  <a:path w="120000" h="120000" extrusionOk="0">
                    <a:moveTo>
                      <a:pt x="72000" y="96000"/>
                    </a:moveTo>
                    <a:cubicBezTo>
                      <a:pt x="120000" y="48000"/>
                      <a:pt x="48000" y="48000"/>
                      <a:pt x="72000" y="0"/>
                    </a:cubicBezTo>
                    <a:cubicBezTo>
                      <a:pt x="72000" y="0"/>
                      <a:pt x="24000" y="0"/>
                      <a:pt x="0" y="0"/>
                    </a:cubicBezTo>
                    <a:cubicBezTo>
                      <a:pt x="0" y="0"/>
                      <a:pt x="48000" y="24000"/>
                      <a:pt x="48000" y="24000"/>
                    </a:cubicBezTo>
                    <a:cubicBezTo>
                      <a:pt x="48000" y="48000"/>
                      <a:pt x="72000" y="96000"/>
                      <a:pt x="72000" y="96000"/>
                    </a:cubicBezTo>
                    <a:cubicBezTo>
                      <a:pt x="96000" y="72000"/>
                      <a:pt x="48000" y="120000"/>
                      <a:pt x="72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49" name="Shape 2400">
                <a:extLst>
                  <a:ext uri="{FF2B5EF4-FFF2-40B4-BE49-F238E27FC236}">
                    <a16:creationId xmlns:a16="http://schemas.microsoft.com/office/drawing/2014/main" id="{9D9C0B8E-D3B3-4F29-8DE0-3F35AEE47A80}"/>
                  </a:ext>
                </a:extLst>
              </p:cNvPr>
              <p:cNvSpPr/>
              <p:nvPr/>
            </p:nvSpPr>
            <p:spPr>
              <a:xfrm>
                <a:off x="8675235" y="11229810"/>
                <a:ext cx="51724" cy="91980"/>
              </a:xfrm>
              <a:custGeom>
                <a:avLst/>
                <a:gdLst/>
                <a:ahLst/>
                <a:cxnLst/>
                <a:rect l="0" t="0" r="0" b="0"/>
                <a:pathLst>
                  <a:path w="120000" h="120000" extrusionOk="0">
                    <a:moveTo>
                      <a:pt x="60000" y="109090"/>
                    </a:moveTo>
                    <a:cubicBezTo>
                      <a:pt x="20000" y="120000"/>
                      <a:pt x="0" y="120000"/>
                      <a:pt x="0" y="98181"/>
                    </a:cubicBezTo>
                    <a:cubicBezTo>
                      <a:pt x="20000" y="76363"/>
                      <a:pt x="20000" y="43636"/>
                      <a:pt x="20000" y="21818"/>
                    </a:cubicBezTo>
                    <a:cubicBezTo>
                      <a:pt x="20000" y="0"/>
                      <a:pt x="100000" y="0"/>
                      <a:pt x="80000" y="32727"/>
                    </a:cubicBezTo>
                    <a:cubicBezTo>
                      <a:pt x="80000" y="54545"/>
                      <a:pt x="120000" y="87272"/>
                      <a:pt x="60000" y="109090"/>
                    </a:cubicBezTo>
                    <a:cubicBezTo>
                      <a:pt x="40000" y="109090"/>
                      <a:pt x="80000" y="98181"/>
                      <a:pt x="60000" y="10909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0" name="Shape 2401">
                <a:extLst>
                  <a:ext uri="{FF2B5EF4-FFF2-40B4-BE49-F238E27FC236}">
                    <a16:creationId xmlns:a16="http://schemas.microsoft.com/office/drawing/2014/main" id="{CFF0C4A9-F655-40D5-ACE9-F4D2F4BE60AB}"/>
                  </a:ext>
                </a:extLst>
              </p:cNvPr>
              <p:cNvSpPr/>
              <p:nvPr/>
            </p:nvSpPr>
            <p:spPr>
              <a:xfrm>
                <a:off x="8844781" y="8838286"/>
                <a:ext cx="40231" cy="34493"/>
              </a:xfrm>
              <a:custGeom>
                <a:avLst/>
                <a:gdLst/>
                <a:ahLst/>
                <a:cxnLst/>
                <a:rect l="0" t="0" r="0" b="0"/>
                <a:pathLst>
                  <a:path w="120000" h="120000" extrusionOk="0">
                    <a:moveTo>
                      <a:pt x="72000" y="90000"/>
                    </a:moveTo>
                    <a:cubicBezTo>
                      <a:pt x="48000" y="120000"/>
                      <a:pt x="0" y="90000"/>
                      <a:pt x="24000" y="30000"/>
                    </a:cubicBezTo>
                    <a:cubicBezTo>
                      <a:pt x="24000" y="0"/>
                      <a:pt x="120000" y="60000"/>
                      <a:pt x="72000" y="90000"/>
                    </a:cubicBezTo>
                    <a:cubicBezTo>
                      <a:pt x="48000" y="120000"/>
                      <a:pt x="120000" y="60000"/>
                      <a:pt x="720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1" name="Shape 2402">
                <a:extLst>
                  <a:ext uri="{FF2B5EF4-FFF2-40B4-BE49-F238E27FC236}">
                    <a16:creationId xmlns:a16="http://schemas.microsoft.com/office/drawing/2014/main" id="{4CFD4D89-A416-476C-928E-1162EFB6B615}"/>
                  </a:ext>
                </a:extLst>
              </p:cNvPr>
              <p:cNvSpPr/>
              <p:nvPr/>
            </p:nvSpPr>
            <p:spPr>
              <a:xfrm>
                <a:off x="9206864" y="8890027"/>
                <a:ext cx="48851" cy="66112"/>
              </a:xfrm>
              <a:custGeom>
                <a:avLst/>
                <a:gdLst/>
                <a:ahLst/>
                <a:cxnLst/>
                <a:rect l="0" t="0" r="0" b="0"/>
                <a:pathLst>
                  <a:path w="120000" h="120000" extrusionOk="0">
                    <a:moveTo>
                      <a:pt x="20000" y="75000"/>
                    </a:moveTo>
                    <a:cubicBezTo>
                      <a:pt x="0" y="60000"/>
                      <a:pt x="40000" y="60000"/>
                      <a:pt x="40000" y="60000"/>
                    </a:cubicBezTo>
                    <a:cubicBezTo>
                      <a:pt x="60000" y="60000"/>
                      <a:pt x="60000" y="0"/>
                      <a:pt x="80000" y="30000"/>
                    </a:cubicBezTo>
                    <a:cubicBezTo>
                      <a:pt x="120000" y="60000"/>
                      <a:pt x="40000" y="120000"/>
                      <a:pt x="20000" y="75000"/>
                    </a:cubicBezTo>
                    <a:cubicBezTo>
                      <a:pt x="0" y="60000"/>
                      <a:pt x="20000" y="90000"/>
                      <a:pt x="20000" y="7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2" name="Shape 2403">
                <a:extLst>
                  <a:ext uri="{FF2B5EF4-FFF2-40B4-BE49-F238E27FC236}">
                    <a16:creationId xmlns:a16="http://schemas.microsoft.com/office/drawing/2014/main" id="{FD40F8CE-34D5-4F0A-9F91-AA4085CA8E17}"/>
                  </a:ext>
                </a:extLst>
              </p:cNvPr>
              <p:cNvSpPr/>
              <p:nvPr/>
            </p:nvSpPr>
            <p:spPr>
              <a:xfrm>
                <a:off x="9669526" y="9347061"/>
                <a:ext cx="117821" cy="109228"/>
              </a:xfrm>
              <a:custGeom>
                <a:avLst/>
                <a:gdLst/>
                <a:ahLst/>
                <a:cxnLst/>
                <a:rect l="0" t="0" r="0" b="0"/>
                <a:pathLst>
                  <a:path w="120000" h="120000" extrusionOk="0">
                    <a:moveTo>
                      <a:pt x="102857" y="36923"/>
                    </a:moveTo>
                    <a:cubicBezTo>
                      <a:pt x="102857" y="27692"/>
                      <a:pt x="94285" y="27692"/>
                      <a:pt x="85714" y="27692"/>
                    </a:cubicBezTo>
                    <a:cubicBezTo>
                      <a:pt x="68571" y="18461"/>
                      <a:pt x="68571" y="9230"/>
                      <a:pt x="51428" y="9230"/>
                    </a:cubicBezTo>
                    <a:cubicBezTo>
                      <a:pt x="42857" y="0"/>
                      <a:pt x="25714" y="0"/>
                      <a:pt x="17142" y="9230"/>
                    </a:cubicBezTo>
                    <a:cubicBezTo>
                      <a:pt x="17142" y="9230"/>
                      <a:pt x="17142" y="18461"/>
                      <a:pt x="8571" y="18461"/>
                    </a:cubicBezTo>
                    <a:cubicBezTo>
                      <a:pt x="0" y="36923"/>
                      <a:pt x="8571" y="27692"/>
                      <a:pt x="17142" y="36923"/>
                    </a:cubicBezTo>
                    <a:cubicBezTo>
                      <a:pt x="17142" y="36923"/>
                      <a:pt x="8571" y="64615"/>
                      <a:pt x="8571" y="64615"/>
                    </a:cubicBezTo>
                    <a:cubicBezTo>
                      <a:pt x="8571" y="83076"/>
                      <a:pt x="8571" y="83076"/>
                      <a:pt x="17142" y="92307"/>
                    </a:cubicBezTo>
                    <a:cubicBezTo>
                      <a:pt x="25714" y="101538"/>
                      <a:pt x="25714" y="92307"/>
                      <a:pt x="34285" y="92307"/>
                    </a:cubicBezTo>
                    <a:cubicBezTo>
                      <a:pt x="51428" y="92307"/>
                      <a:pt x="42857" y="110769"/>
                      <a:pt x="59999" y="110769"/>
                    </a:cubicBezTo>
                    <a:cubicBezTo>
                      <a:pt x="77142" y="120000"/>
                      <a:pt x="68571" y="101538"/>
                      <a:pt x="85714" y="92307"/>
                    </a:cubicBezTo>
                    <a:cubicBezTo>
                      <a:pt x="102857" y="73846"/>
                      <a:pt x="119999" y="64615"/>
                      <a:pt x="102857" y="36923"/>
                    </a:cubicBezTo>
                    <a:cubicBezTo>
                      <a:pt x="102857" y="18461"/>
                      <a:pt x="119999" y="73846"/>
                      <a:pt x="102857" y="3692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3" name="Shape 2404">
                <a:extLst>
                  <a:ext uri="{FF2B5EF4-FFF2-40B4-BE49-F238E27FC236}">
                    <a16:creationId xmlns:a16="http://schemas.microsoft.com/office/drawing/2014/main" id="{D0777AEE-B662-4FA2-8D88-61889416E38C}"/>
                  </a:ext>
                </a:extLst>
              </p:cNvPr>
              <p:cNvSpPr/>
              <p:nvPr/>
            </p:nvSpPr>
            <p:spPr>
              <a:xfrm>
                <a:off x="8979844" y="8568090"/>
                <a:ext cx="83336" cy="34493"/>
              </a:xfrm>
              <a:custGeom>
                <a:avLst/>
                <a:gdLst/>
                <a:ahLst/>
                <a:cxnLst/>
                <a:rect l="0" t="0" r="0" b="0"/>
                <a:pathLst>
                  <a:path w="120000" h="120000" extrusionOk="0">
                    <a:moveTo>
                      <a:pt x="108000" y="60000"/>
                    </a:moveTo>
                    <a:cubicBezTo>
                      <a:pt x="84000" y="30000"/>
                      <a:pt x="72000" y="0"/>
                      <a:pt x="48000" y="0"/>
                    </a:cubicBezTo>
                    <a:cubicBezTo>
                      <a:pt x="36000" y="0"/>
                      <a:pt x="0" y="30000"/>
                      <a:pt x="12000" y="90000"/>
                    </a:cubicBezTo>
                    <a:cubicBezTo>
                      <a:pt x="24000" y="120000"/>
                      <a:pt x="108000" y="60000"/>
                      <a:pt x="108000" y="60000"/>
                    </a:cubicBezTo>
                    <a:cubicBezTo>
                      <a:pt x="72000" y="30000"/>
                      <a:pt x="120000" y="90000"/>
                      <a:pt x="108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4" name="Shape 2405">
                <a:extLst>
                  <a:ext uri="{FF2B5EF4-FFF2-40B4-BE49-F238E27FC236}">
                    <a16:creationId xmlns:a16="http://schemas.microsoft.com/office/drawing/2014/main" id="{F676649B-CE0D-4D45-A130-59B6A5EE00D9}"/>
                  </a:ext>
                </a:extLst>
              </p:cNvPr>
              <p:cNvSpPr/>
              <p:nvPr/>
            </p:nvSpPr>
            <p:spPr>
              <a:xfrm>
                <a:off x="8505686" y="8559466"/>
                <a:ext cx="94832" cy="43118"/>
              </a:xfrm>
              <a:custGeom>
                <a:avLst/>
                <a:gdLst/>
                <a:ahLst/>
                <a:cxnLst/>
                <a:rect l="0" t="0" r="0" b="0"/>
                <a:pathLst>
                  <a:path w="120000" h="120000" extrusionOk="0">
                    <a:moveTo>
                      <a:pt x="109090" y="96000"/>
                    </a:moveTo>
                    <a:cubicBezTo>
                      <a:pt x="109090" y="24000"/>
                      <a:pt x="21818" y="0"/>
                      <a:pt x="0" y="48000"/>
                    </a:cubicBezTo>
                    <a:cubicBezTo>
                      <a:pt x="0" y="48000"/>
                      <a:pt x="43636" y="120000"/>
                      <a:pt x="54545" y="120000"/>
                    </a:cubicBezTo>
                    <a:cubicBezTo>
                      <a:pt x="65454" y="120000"/>
                      <a:pt x="120000" y="96000"/>
                      <a:pt x="109090" y="96000"/>
                    </a:cubicBezTo>
                    <a:cubicBezTo>
                      <a:pt x="109090" y="72000"/>
                      <a:pt x="120000" y="120000"/>
                      <a:pt x="10909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5" name="Shape 2406">
                <a:extLst>
                  <a:ext uri="{FF2B5EF4-FFF2-40B4-BE49-F238E27FC236}">
                    <a16:creationId xmlns:a16="http://schemas.microsoft.com/office/drawing/2014/main" id="{3E7B2D22-2A0B-4DDE-8982-087AD3A8BA2F}"/>
                  </a:ext>
                </a:extLst>
              </p:cNvPr>
              <p:cNvSpPr/>
              <p:nvPr/>
            </p:nvSpPr>
            <p:spPr>
              <a:xfrm>
                <a:off x="8247058" y="8366882"/>
                <a:ext cx="436798" cy="152345"/>
              </a:xfrm>
              <a:custGeom>
                <a:avLst/>
                <a:gdLst/>
                <a:ahLst/>
                <a:cxnLst/>
                <a:rect l="0" t="0" r="0" b="0"/>
                <a:pathLst>
                  <a:path w="120000" h="120000" extrusionOk="0">
                    <a:moveTo>
                      <a:pt x="120000" y="106666"/>
                    </a:moveTo>
                    <a:cubicBezTo>
                      <a:pt x="120000" y="113333"/>
                      <a:pt x="96923" y="113333"/>
                      <a:pt x="94615" y="113333"/>
                    </a:cubicBezTo>
                    <a:cubicBezTo>
                      <a:pt x="90000" y="113333"/>
                      <a:pt x="85384" y="120000"/>
                      <a:pt x="80769" y="113333"/>
                    </a:cubicBezTo>
                    <a:cubicBezTo>
                      <a:pt x="78461" y="106666"/>
                      <a:pt x="94615" y="100000"/>
                      <a:pt x="85384" y="93333"/>
                    </a:cubicBezTo>
                    <a:cubicBezTo>
                      <a:pt x="80769" y="86666"/>
                      <a:pt x="76153" y="86666"/>
                      <a:pt x="73846" y="73333"/>
                    </a:cubicBezTo>
                    <a:cubicBezTo>
                      <a:pt x="69230" y="60000"/>
                      <a:pt x="71538" y="53333"/>
                      <a:pt x="64615" y="53333"/>
                    </a:cubicBezTo>
                    <a:cubicBezTo>
                      <a:pt x="55384" y="60000"/>
                      <a:pt x="53076" y="40000"/>
                      <a:pt x="46153" y="33333"/>
                    </a:cubicBezTo>
                    <a:cubicBezTo>
                      <a:pt x="43846" y="33333"/>
                      <a:pt x="34615" y="40000"/>
                      <a:pt x="32307" y="33333"/>
                    </a:cubicBezTo>
                    <a:cubicBezTo>
                      <a:pt x="32307" y="26666"/>
                      <a:pt x="36923" y="26666"/>
                      <a:pt x="36923" y="20000"/>
                    </a:cubicBezTo>
                    <a:cubicBezTo>
                      <a:pt x="36923" y="13333"/>
                      <a:pt x="20769" y="20000"/>
                      <a:pt x="18461" y="20000"/>
                    </a:cubicBezTo>
                    <a:cubicBezTo>
                      <a:pt x="18461" y="26666"/>
                      <a:pt x="0" y="46666"/>
                      <a:pt x="0" y="40000"/>
                    </a:cubicBezTo>
                    <a:cubicBezTo>
                      <a:pt x="0" y="26666"/>
                      <a:pt x="9230" y="13333"/>
                      <a:pt x="13846" y="13333"/>
                    </a:cubicBezTo>
                    <a:cubicBezTo>
                      <a:pt x="20769" y="0"/>
                      <a:pt x="27692" y="0"/>
                      <a:pt x="36923" y="0"/>
                    </a:cubicBezTo>
                    <a:cubicBezTo>
                      <a:pt x="41538" y="0"/>
                      <a:pt x="50769" y="0"/>
                      <a:pt x="55384" y="6666"/>
                    </a:cubicBezTo>
                    <a:cubicBezTo>
                      <a:pt x="60000" y="13333"/>
                      <a:pt x="64615" y="26666"/>
                      <a:pt x="71538" y="26666"/>
                    </a:cubicBezTo>
                    <a:cubicBezTo>
                      <a:pt x="71538" y="26666"/>
                      <a:pt x="71538" y="20000"/>
                      <a:pt x="73846" y="26666"/>
                    </a:cubicBezTo>
                    <a:cubicBezTo>
                      <a:pt x="76153" y="33333"/>
                      <a:pt x="76153" y="33333"/>
                      <a:pt x="78461" y="33333"/>
                    </a:cubicBezTo>
                    <a:cubicBezTo>
                      <a:pt x="80769" y="40000"/>
                      <a:pt x="85384" y="46666"/>
                      <a:pt x="87692" y="53333"/>
                    </a:cubicBezTo>
                    <a:cubicBezTo>
                      <a:pt x="92307" y="60000"/>
                      <a:pt x="101538" y="60000"/>
                      <a:pt x="103846" y="73333"/>
                    </a:cubicBezTo>
                    <a:cubicBezTo>
                      <a:pt x="108461" y="86666"/>
                      <a:pt x="120000" y="86666"/>
                      <a:pt x="120000" y="10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6" name="Shape 2407">
                <a:extLst>
                  <a:ext uri="{FF2B5EF4-FFF2-40B4-BE49-F238E27FC236}">
                    <a16:creationId xmlns:a16="http://schemas.microsoft.com/office/drawing/2014/main" id="{80D6494D-77E1-415D-B225-B8CB616CD56D}"/>
                  </a:ext>
                </a:extLst>
              </p:cNvPr>
              <p:cNvSpPr/>
              <p:nvPr/>
            </p:nvSpPr>
            <p:spPr>
              <a:xfrm>
                <a:off x="8505686" y="8274899"/>
                <a:ext cx="34484" cy="31619"/>
              </a:xfrm>
              <a:custGeom>
                <a:avLst/>
                <a:gdLst/>
                <a:ahLst/>
                <a:cxnLst/>
                <a:rect l="0" t="0" r="0" b="0"/>
                <a:pathLst>
                  <a:path w="120000" h="120000" extrusionOk="0">
                    <a:moveTo>
                      <a:pt x="60000" y="120000"/>
                    </a:moveTo>
                    <a:cubicBezTo>
                      <a:pt x="0" y="120000"/>
                      <a:pt x="30000" y="30000"/>
                      <a:pt x="30000" y="0"/>
                    </a:cubicBezTo>
                    <a:cubicBezTo>
                      <a:pt x="60000" y="0"/>
                      <a:pt x="120000" y="120000"/>
                      <a:pt x="60000" y="120000"/>
                    </a:cubicBezTo>
                    <a:cubicBezTo>
                      <a:pt x="30000" y="120000"/>
                      <a:pt x="120000" y="120000"/>
                      <a:pt x="6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7" name="Shape 2408">
                <a:extLst>
                  <a:ext uri="{FF2B5EF4-FFF2-40B4-BE49-F238E27FC236}">
                    <a16:creationId xmlns:a16="http://schemas.microsoft.com/office/drawing/2014/main" id="{C4590FBB-EC1D-494B-BDEF-FE0F831748D4}"/>
                  </a:ext>
                </a:extLst>
              </p:cNvPr>
              <p:cNvSpPr/>
              <p:nvPr/>
            </p:nvSpPr>
            <p:spPr>
              <a:xfrm>
                <a:off x="8718338" y="8450239"/>
                <a:ext cx="17242" cy="17246"/>
              </a:xfrm>
              <a:custGeom>
                <a:avLst/>
                <a:gdLst/>
                <a:ahLst/>
                <a:cxnLst/>
                <a:rect l="0" t="0" r="0" b="0"/>
                <a:pathLst>
                  <a:path w="120000" h="120000" extrusionOk="0">
                    <a:moveTo>
                      <a:pt x="120000" y="60000"/>
                    </a:moveTo>
                    <a:cubicBezTo>
                      <a:pt x="120000" y="0"/>
                      <a:pt x="0" y="0"/>
                      <a:pt x="0" y="60000"/>
                    </a:cubicBezTo>
                    <a:cubicBezTo>
                      <a:pt x="0" y="60000"/>
                      <a:pt x="120000" y="120000"/>
                      <a:pt x="12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8" name="Shape 2409">
                <a:extLst>
                  <a:ext uri="{FF2B5EF4-FFF2-40B4-BE49-F238E27FC236}">
                    <a16:creationId xmlns:a16="http://schemas.microsoft.com/office/drawing/2014/main" id="{06FF49AE-D453-4847-BB7C-C6451DB8AA2D}"/>
                  </a:ext>
                </a:extLst>
              </p:cNvPr>
              <p:cNvSpPr/>
              <p:nvPr/>
            </p:nvSpPr>
            <p:spPr>
              <a:xfrm>
                <a:off x="9224106" y="7208489"/>
                <a:ext cx="48851" cy="86232"/>
              </a:xfrm>
              <a:custGeom>
                <a:avLst/>
                <a:gdLst/>
                <a:ahLst/>
                <a:cxnLst/>
                <a:rect l="0" t="0" r="0" b="0"/>
                <a:pathLst>
                  <a:path w="120000" h="120000" extrusionOk="0">
                    <a:moveTo>
                      <a:pt x="60000" y="96000"/>
                    </a:moveTo>
                    <a:cubicBezTo>
                      <a:pt x="40000" y="120000"/>
                      <a:pt x="0" y="108000"/>
                      <a:pt x="0" y="84000"/>
                    </a:cubicBezTo>
                    <a:cubicBezTo>
                      <a:pt x="20000" y="72000"/>
                      <a:pt x="60000" y="36000"/>
                      <a:pt x="80000" y="24000"/>
                    </a:cubicBezTo>
                    <a:cubicBezTo>
                      <a:pt x="120000" y="0"/>
                      <a:pt x="120000" y="36000"/>
                      <a:pt x="120000" y="48000"/>
                    </a:cubicBezTo>
                    <a:cubicBezTo>
                      <a:pt x="120000" y="72000"/>
                      <a:pt x="60000" y="72000"/>
                      <a:pt x="60000" y="96000"/>
                    </a:cubicBezTo>
                    <a:cubicBezTo>
                      <a:pt x="40000" y="120000"/>
                      <a:pt x="60000" y="96000"/>
                      <a:pt x="60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59" name="Shape 2410">
                <a:extLst>
                  <a:ext uri="{FF2B5EF4-FFF2-40B4-BE49-F238E27FC236}">
                    <a16:creationId xmlns:a16="http://schemas.microsoft.com/office/drawing/2014/main" id="{0DCFBB64-DEB8-49FD-B894-74A2CE8459F0}"/>
                  </a:ext>
                </a:extLst>
              </p:cNvPr>
              <p:cNvSpPr/>
              <p:nvPr/>
            </p:nvSpPr>
            <p:spPr>
              <a:xfrm>
                <a:off x="9247095" y="7251604"/>
                <a:ext cx="60346" cy="34493"/>
              </a:xfrm>
              <a:custGeom>
                <a:avLst/>
                <a:gdLst/>
                <a:ahLst/>
                <a:cxnLst/>
                <a:rect l="0" t="0" r="0" b="0"/>
                <a:pathLst>
                  <a:path w="120000" h="120000" extrusionOk="0">
                    <a:moveTo>
                      <a:pt x="51428" y="120000"/>
                    </a:moveTo>
                    <a:cubicBezTo>
                      <a:pt x="0" y="120000"/>
                      <a:pt x="51428" y="0"/>
                      <a:pt x="85714" y="30000"/>
                    </a:cubicBezTo>
                    <a:cubicBezTo>
                      <a:pt x="119999" y="30000"/>
                      <a:pt x="68571" y="120000"/>
                      <a:pt x="51428" y="120000"/>
                    </a:cubicBezTo>
                    <a:cubicBezTo>
                      <a:pt x="34285" y="120000"/>
                      <a:pt x="68571" y="120000"/>
                      <a:pt x="51428"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0" name="Shape 2411">
                <a:extLst>
                  <a:ext uri="{FF2B5EF4-FFF2-40B4-BE49-F238E27FC236}">
                    <a16:creationId xmlns:a16="http://schemas.microsoft.com/office/drawing/2014/main" id="{A5E8A735-CB74-4509-AB80-DB668AEABE0F}"/>
                  </a:ext>
                </a:extLst>
              </p:cNvPr>
              <p:cNvSpPr/>
              <p:nvPr/>
            </p:nvSpPr>
            <p:spPr>
              <a:xfrm>
                <a:off x="9080419" y="7217110"/>
                <a:ext cx="126441" cy="60363"/>
              </a:xfrm>
              <a:custGeom>
                <a:avLst/>
                <a:gdLst/>
                <a:ahLst/>
                <a:cxnLst/>
                <a:rect l="0" t="0" r="0" b="0"/>
                <a:pathLst>
                  <a:path w="120000" h="120000" extrusionOk="0">
                    <a:moveTo>
                      <a:pt x="88000" y="102857"/>
                    </a:moveTo>
                    <a:cubicBezTo>
                      <a:pt x="80000" y="102857"/>
                      <a:pt x="80000" y="102857"/>
                      <a:pt x="80000" y="85714"/>
                    </a:cubicBezTo>
                    <a:cubicBezTo>
                      <a:pt x="80000" y="85714"/>
                      <a:pt x="64000" y="102857"/>
                      <a:pt x="56000" y="85714"/>
                    </a:cubicBezTo>
                    <a:cubicBezTo>
                      <a:pt x="56000" y="68571"/>
                      <a:pt x="0" y="17142"/>
                      <a:pt x="24000" y="0"/>
                    </a:cubicBezTo>
                    <a:cubicBezTo>
                      <a:pt x="32000" y="0"/>
                      <a:pt x="40000" y="34285"/>
                      <a:pt x="48000" y="34285"/>
                    </a:cubicBezTo>
                    <a:cubicBezTo>
                      <a:pt x="56000" y="51428"/>
                      <a:pt x="56000" y="34285"/>
                      <a:pt x="64000" y="51428"/>
                    </a:cubicBezTo>
                    <a:cubicBezTo>
                      <a:pt x="72000" y="68571"/>
                      <a:pt x="104000" y="34285"/>
                      <a:pt x="120000" y="51428"/>
                    </a:cubicBezTo>
                    <a:cubicBezTo>
                      <a:pt x="112000" y="51428"/>
                      <a:pt x="96000" y="102857"/>
                      <a:pt x="88000" y="102857"/>
                    </a:cubicBezTo>
                    <a:cubicBezTo>
                      <a:pt x="72000" y="119999"/>
                      <a:pt x="96000" y="102857"/>
                      <a:pt x="88000" y="10285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1" name="Shape 2412">
                <a:extLst>
                  <a:ext uri="{FF2B5EF4-FFF2-40B4-BE49-F238E27FC236}">
                    <a16:creationId xmlns:a16="http://schemas.microsoft.com/office/drawing/2014/main" id="{AECB5FCB-CE3D-43AD-8974-DC6C1F6969CB}"/>
                  </a:ext>
                </a:extLst>
              </p:cNvPr>
              <p:cNvSpPr/>
              <p:nvPr/>
            </p:nvSpPr>
            <p:spPr>
              <a:xfrm>
                <a:off x="9106286" y="7050392"/>
                <a:ext cx="132187" cy="66112"/>
              </a:xfrm>
              <a:custGeom>
                <a:avLst/>
                <a:gdLst/>
                <a:ahLst/>
                <a:cxnLst/>
                <a:rect l="0" t="0" r="0" b="0"/>
                <a:pathLst>
                  <a:path w="120000" h="120000" extrusionOk="0">
                    <a:moveTo>
                      <a:pt x="97500" y="90000"/>
                    </a:moveTo>
                    <a:cubicBezTo>
                      <a:pt x="82500" y="120000"/>
                      <a:pt x="7500" y="60000"/>
                      <a:pt x="0" y="30000"/>
                    </a:cubicBezTo>
                    <a:cubicBezTo>
                      <a:pt x="0" y="0"/>
                      <a:pt x="120000" y="60000"/>
                      <a:pt x="97500" y="90000"/>
                    </a:cubicBezTo>
                    <a:cubicBezTo>
                      <a:pt x="90000" y="105000"/>
                      <a:pt x="105000" y="75000"/>
                      <a:pt x="975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2" name="Shape 2413">
                <a:extLst>
                  <a:ext uri="{FF2B5EF4-FFF2-40B4-BE49-F238E27FC236}">
                    <a16:creationId xmlns:a16="http://schemas.microsoft.com/office/drawing/2014/main" id="{DB2EB355-4A55-4817-B12E-126B1FD8EF5D}"/>
                  </a:ext>
                </a:extLst>
              </p:cNvPr>
              <p:cNvSpPr/>
              <p:nvPr/>
            </p:nvSpPr>
            <p:spPr>
              <a:xfrm>
                <a:off x="9316063" y="6964160"/>
                <a:ext cx="270126" cy="261572"/>
              </a:xfrm>
              <a:custGeom>
                <a:avLst/>
                <a:gdLst/>
                <a:ahLst/>
                <a:cxnLst/>
                <a:rect l="0" t="0" r="0" b="0"/>
                <a:pathLst>
                  <a:path w="120000" h="120000" extrusionOk="0">
                    <a:moveTo>
                      <a:pt x="71250" y="3870"/>
                    </a:moveTo>
                    <a:cubicBezTo>
                      <a:pt x="75000" y="0"/>
                      <a:pt x="63750" y="0"/>
                      <a:pt x="63750" y="0"/>
                    </a:cubicBezTo>
                    <a:cubicBezTo>
                      <a:pt x="60000" y="0"/>
                      <a:pt x="56250" y="3870"/>
                      <a:pt x="52500" y="7741"/>
                    </a:cubicBezTo>
                    <a:cubicBezTo>
                      <a:pt x="48750" y="11612"/>
                      <a:pt x="45000" y="15483"/>
                      <a:pt x="41250" y="19354"/>
                    </a:cubicBezTo>
                    <a:cubicBezTo>
                      <a:pt x="41250" y="23225"/>
                      <a:pt x="37500" y="27096"/>
                      <a:pt x="33750" y="27096"/>
                    </a:cubicBezTo>
                    <a:cubicBezTo>
                      <a:pt x="33750" y="34838"/>
                      <a:pt x="30000" y="42580"/>
                      <a:pt x="26250" y="50322"/>
                    </a:cubicBezTo>
                    <a:cubicBezTo>
                      <a:pt x="26250" y="58064"/>
                      <a:pt x="22500" y="61935"/>
                      <a:pt x="18750" y="65806"/>
                    </a:cubicBezTo>
                    <a:cubicBezTo>
                      <a:pt x="15000" y="69677"/>
                      <a:pt x="7500" y="73548"/>
                      <a:pt x="7500" y="73548"/>
                    </a:cubicBezTo>
                    <a:cubicBezTo>
                      <a:pt x="7500" y="77419"/>
                      <a:pt x="15000" y="77419"/>
                      <a:pt x="15000" y="81290"/>
                    </a:cubicBezTo>
                    <a:cubicBezTo>
                      <a:pt x="15000" y="85161"/>
                      <a:pt x="0" y="92903"/>
                      <a:pt x="0" y="96774"/>
                    </a:cubicBezTo>
                    <a:cubicBezTo>
                      <a:pt x="0" y="104516"/>
                      <a:pt x="11250" y="100645"/>
                      <a:pt x="15000" y="96774"/>
                    </a:cubicBezTo>
                    <a:cubicBezTo>
                      <a:pt x="22500" y="96774"/>
                      <a:pt x="30000" y="100645"/>
                      <a:pt x="37500" y="100645"/>
                    </a:cubicBezTo>
                    <a:cubicBezTo>
                      <a:pt x="48750" y="104516"/>
                      <a:pt x="60000" y="100645"/>
                      <a:pt x="71250" y="104516"/>
                    </a:cubicBezTo>
                    <a:cubicBezTo>
                      <a:pt x="71250" y="104516"/>
                      <a:pt x="82500" y="96774"/>
                      <a:pt x="82500" y="100645"/>
                    </a:cubicBezTo>
                    <a:cubicBezTo>
                      <a:pt x="82500" y="104516"/>
                      <a:pt x="71250" y="116129"/>
                      <a:pt x="71250" y="116129"/>
                    </a:cubicBezTo>
                    <a:cubicBezTo>
                      <a:pt x="75000" y="120000"/>
                      <a:pt x="82500" y="108387"/>
                      <a:pt x="82500" y="108387"/>
                    </a:cubicBezTo>
                    <a:cubicBezTo>
                      <a:pt x="90000" y="104516"/>
                      <a:pt x="97500" y="104516"/>
                      <a:pt x="101250" y="100645"/>
                    </a:cubicBezTo>
                    <a:cubicBezTo>
                      <a:pt x="101250" y="96774"/>
                      <a:pt x="120000" y="77419"/>
                      <a:pt x="120000" y="77419"/>
                    </a:cubicBezTo>
                    <a:cubicBezTo>
                      <a:pt x="116250" y="73548"/>
                      <a:pt x="112500" y="77419"/>
                      <a:pt x="108750" y="77419"/>
                    </a:cubicBezTo>
                    <a:cubicBezTo>
                      <a:pt x="108750" y="77419"/>
                      <a:pt x="97500" y="69677"/>
                      <a:pt x="97500" y="69677"/>
                    </a:cubicBezTo>
                    <a:cubicBezTo>
                      <a:pt x="97500" y="65806"/>
                      <a:pt x="112500" y="61935"/>
                      <a:pt x="108750" y="58064"/>
                    </a:cubicBezTo>
                    <a:cubicBezTo>
                      <a:pt x="108750" y="54193"/>
                      <a:pt x="101250" y="58064"/>
                      <a:pt x="97500" y="58064"/>
                    </a:cubicBezTo>
                    <a:cubicBezTo>
                      <a:pt x="93750" y="58064"/>
                      <a:pt x="93750" y="50322"/>
                      <a:pt x="90000" y="50322"/>
                    </a:cubicBezTo>
                    <a:cubicBezTo>
                      <a:pt x="90000" y="50322"/>
                      <a:pt x="78750" y="61935"/>
                      <a:pt x="78750" y="61935"/>
                    </a:cubicBezTo>
                    <a:cubicBezTo>
                      <a:pt x="75000" y="54193"/>
                      <a:pt x="75000" y="54193"/>
                      <a:pt x="67500" y="50322"/>
                    </a:cubicBezTo>
                    <a:cubicBezTo>
                      <a:pt x="60000" y="46451"/>
                      <a:pt x="71250" y="46451"/>
                      <a:pt x="71250" y="42580"/>
                    </a:cubicBezTo>
                    <a:cubicBezTo>
                      <a:pt x="71250" y="42580"/>
                      <a:pt x="63750" y="34838"/>
                      <a:pt x="60000" y="34838"/>
                    </a:cubicBezTo>
                    <a:cubicBezTo>
                      <a:pt x="60000" y="38709"/>
                      <a:pt x="52500" y="50322"/>
                      <a:pt x="52500" y="46451"/>
                    </a:cubicBezTo>
                    <a:cubicBezTo>
                      <a:pt x="45000" y="42580"/>
                      <a:pt x="56250" y="27096"/>
                      <a:pt x="60000" y="27096"/>
                    </a:cubicBezTo>
                    <a:cubicBezTo>
                      <a:pt x="63750" y="23225"/>
                      <a:pt x="63750" y="19354"/>
                      <a:pt x="67500" y="15483"/>
                    </a:cubicBezTo>
                    <a:cubicBezTo>
                      <a:pt x="67500" y="11612"/>
                      <a:pt x="67500" y="7741"/>
                      <a:pt x="67500" y="7741"/>
                    </a:cubicBezTo>
                    <a:cubicBezTo>
                      <a:pt x="67500" y="7741"/>
                      <a:pt x="71250" y="3870"/>
                      <a:pt x="71250" y="3870"/>
                    </a:cubicBezTo>
                    <a:cubicBezTo>
                      <a:pt x="75000" y="0"/>
                      <a:pt x="71250" y="3870"/>
                      <a:pt x="71250" y="387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3" name="Shape 2414">
                <a:extLst>
                  <a:ext uri="{FF2B5EF4-FFF2-40B4-BE49-F238E27FC236}">
                    <a16:creationId xmlns:a16="http://schemas.microsoft.com/office/drawing/2014/main" id="{91A98828-0363-4926-A29B-0AE960E10551}"/>
                  </a:ext>
                </a:extLst>
              </p:cNvPr>
              <p:cNvSpPr/>
              <p:nvPr/>
            </p:nvSpPr>
            <p:spPr>
              <a:xfrm>
                <a:off x="9534463" y="7150997"/>
                <a:ext cx="68966" cy="83358"/>
              </a:xfrm>
              <a:custGeom>
                <a:avLst/>
                <a:gdLst/>
                <a:ahLst/>
                <a:cxnLst/>
                <a:rect l="0" t="0" r="0" b="0"/>
                <a:pathLst>
                  <a:path w="120000" h="120000" extrusionOk="0">
                    <a:moveTo>
                      <a:pt x="90000" y="12000"/>
                    </a:moveTo>
                    <a:cubicBezTo>
                      <a:pt x="75000" y="24000"/>
                      <a:pt x="0" y="72000"/>
                      <a:pt x="15000" y="108000"/>
                    </a:cubicBezTo>
                    <a:cubicBezTo>
                      <a:pt x="15000" y="108000"/>
                      <a:pt x="45000" y="72000"/>
                      <a:pt x="60000" y="84000"/>
                    </a:cubicBezTo>
                    <a:cubicBezTo>
                      <a:pt x="60000" y="84000"/>
                      <a:pt x="45000" y="120000"/>
                      <a:pt x="45000" y="120000"/>
                    </a:cubicBezTo>
                    <a:cubicBezTo>
                      <a:pt x="60000" y="120000"/>
                      <a:pt x="90000" y="108000"/>
                      <a:pt x="90000" y="96000"/>
                    </a:cubicBezTo>
                    <a:cubicBezTo>
                      <a:pt x="90000" y="84000"/>
                      <a:pt x="105000" y="72000"/>
                      <a:pt x="120000" y="48000"/>
                    </a:cubicBezTo>
                    <a:cubicBezTo>
                      <a:pt x="120000" y="24000"/>
                      <a:pt x="90000" y="48000"/>
                      <a:pt x="75000" y="48000"/>
                    </a:cubicBezTo>
                    <a:cubicBezTo>
                      <a:pt x="90000" y="48000"/>
                      <a:pt x="90000" y="0"/>
                      <a:pt x="90000" y="12000"/>
                    </a:cubicBezTo>
                    <a:cubicBezTo>
                      <a:pt x="75000" y="12000"/>
                      <a:pt x="105000" y="0"/>
                      <a:pt x="90000" y="1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4" name="Shape 2415">
                <a:extLst>
                  <a:ext uri="{FF2B5EF4-FFF2-40B4-BE49-F238E27FC236}">
                    <a16:creationId xmlns:a16="http://schemas.microsoft.com/office/drawing/2014/main" id="{C1EADBF1-2029-4A5C-B1F1-5750EBEEB00A}"/>
                  </a:ext>
                </a:extLst>
              </p:cNvPr>
              <p:cNvSpPr/>
              <p:nvPr/>
            </p:nvSpPr>
            <p:spPr>
              <a:xfrm>
                <a:off x="9063182" y="6340410"/>
                <a:ext cx="25862" cy="48864"/>
              </a:xfrm>
              <a:custGeom>
                <a:avLst/>
                <a:gdLst/>
                <a:ahLst/>
                <a:cxnLst/>
                <a:rect l="0" t="0" r="0" b="0"/>
                <a:pathLst>
                  <a:path w="120000" h="120000" extrusionOk="0">
                    <a:moveTo>
                      <a:pt x="120000" y="80000"/>
                    </a:moveTo>
                    <a:cubicBezTo>
                      <a:pt x="120000" y="60000"/>
                      <a:pt x="40000" y="0"/>
                      <a:pt x="40000" y="20000"/>
                    </a:cubicBezTo>
                    <a:cubicBezTo>
                      <a:pt x="40000" y="20000"/>
                      <a:pt x="40000" y="20000"/>
                      <a:pt x="40000" y="40000"/>
                    </a:cubicBezTo>
                    <a:cubicBezTo>
                      <a:pt x="40000" y="40000"/>
                      <a:pt x="0" y="40000"/>
                      <a:pt x="0" y="40000"/>
                    </a:cubicBezTo>
                    <a:cubicBezTo>
                      <a:pt x="0" y="40000"/>
                      <a:pt x="120000" y="120000"/>
                      <a:pt x="120000" y="80000"/>
                    </a:cubicBezTo>
                    <a:cubicBezTo>
                      <a:pt x="120000" y="60000"/>
                      <a:pt x="120000" y="120000"/>
                      <a:pt x="120000"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5" name="Shape 2416">
                <a:extLst>
                  <a:ext uri="{FF2B5EF4-FFF2-40B4-BE49-F238E27FC236}">
                    <a16:creationId xmlns:a16="http://schemas.microsoft.com/office/drawing/2014/main" id="{D011573F-62E4-4176-9131-D9643D521243}"/>
                  </a:ext>
                </a:extLst>
              </p:cNvPr>
              <p:cNvSpPr/>
              <p:nvPr/>
            </p:nvSpPr>
            <p:spPr>
              <a:xfrm>
                <a:off x="8936741" y="6423769"/>
                <a:ext cx="25862" cy="25869"/>
              </a:xfrm>
              <a:custGeom>
                <a:avLst/>
                <a:gdLst/>
                <a:ahLst/>
                <a:cxnLst/>
                <a:rect l="0" t="0" r="0" b="0"/>
                <a:pathLst>
                  <a:path w="120000" h="120000" extrusionOk="0">
                    <a:moveTo>
                      <a:pt x="80000" y="40000"/>
                    </a:moveTo>
                    <a:cubicBezTo>
                      <a:pt x="80000" y="0"/>
                      <a:pt x="0" y="80000"/>
                      <a:pt x="0" y="80000"/>
                    </a:cubicBezTo>
                    <a:cubicBezTo>
                      <a:pt x="40000" y="120000"/>
                      <a:pt x="120000" y="80000"/>
                      <a:pt x="8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6" name="Shape 2417">
                <a:extLst>
                  <a:ext uri="{FF2B5EF4-FFF2-40B4-BE49-F238E27FC236}">
                    <a16:creationId xmlns:a16="http://schemas.microsoft.com/office/drawing/2014/main" id="{693BC3FD-EE10-49A0-9ADA-5404D6679426}"/>
                  </a:ext>
                </a:extLst>
              </p:cNvPr>
              <p:cNvSpPr/>
              <p:nvPr/>
            </p:nvSpPr>
            <p:spPr>
              <a:xfrm>
                <a:off x="8356256" y="6872181"/>
                <a:ext cx="57473" cy="34493"/>
              </a:xfrm>
              <a:custGeom>
                <a:avLst/>
                <a:gdLst/>
                <a:ahLst/>
                <a:cxnLst/>
                <a:rect l="0" t="0" r="0" b="0"/>
                <a:pathLst>
                  <a:path w="120000" h="120000" extrusionOk="0">
                    <a:moveTo>
                      <a:pt x="119999" y="90000"/>
                    </a:moveTo>
                    <a:cubicBezTo>
                      <a:pt x="119999" y="0"/>
                      <a:pt x="51428" y="0"/>
                      <a:pt x="17142" y="30000"/>
                    </a:cubicBezTo>
                    <a:cubicBezTo>
                      <a:pt x="0" y="30000"/>
                      <a:pt x="119999" y="120000"/>
                      <a:pt x="119999" y="90000"/>
                    </a:cubicBezTo>
                    <a:cubicBezTo>
                      <a:pt x="119999" y="0"/>
                      <a:pt x="119999" y="120000"/>
                      <a:pt x="119999"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7" name="Shape 2418">
                <a:extLst>
                  <a:ext uri="{FF2B5EF4-FFF2-40B4-BE49-F238E27FC236}">
                    <a16:creationId xmlns:a16="http://schemas.microsoft.com/office/drawing/2014/main" id="{699ACFA8-5942-4FCB-8280-D8ED65A7B9AA}"/>
                  </a:ext>
                </a:extLst>
              </p:cNvPr>
              <p:cNvSpPr/>
              <p:nvPr/>
            </p:nvSpPr>
            <p:spPr>
              <a:xfrm>
                <a:off x="8448211" y="6668098"/>
                <a:ext cx="51724" cy="51738"/>
              </a:xfrm>
              <a:custGeom>
                <a:avLst/>
                <a:gdLst/>
                <a:ahLst/>
                <a:cxnLst/>
                <a:rect l="0" t="0" r="0" b="0"/>
                <a:pathLst>
                  <a:path w="120000" h="120000" extrusionOk="0">
                    <a:moveTo>
                      <a:pt x="60000" y="100000"/>
                    </a:moveTo>
                    <a:cubicBezTo>
                      <a:pt x="40000" y="80000"/>
                      <a:pt x="20000" y="80000"/>
                      <a:pt x="0" y="60000"/>
                    </a:cubicBezTo>
                    <a:cubicBezTo>
                      <a:pt x="20000" y="60000"/>
                      <a:pt x="60000" y="0"/>
                      <a:pt x="80000" y="40000"/>
                    </a:cubicBezTo>
                    <a:cubicBezTo>
                      <a:pt x="120000" y="60000"/>
                      <a:pt x="100000" y="120000"/>
                      <a:pt x="60000" y="100000"/>
                    </a:cubicBezTo>
                    <a:cubicBezTo>
                      <a:pt x="40000" y="80000"/>
                      <a:pt x="80000" y="120000"/>
                      <a:pt x="60000" y="10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8" name="Shape 2419">
                <a:extLst>
                  <a:ext uri="{FF2B5EF4-FFF2-40B4-BE49-F238E27FC236}">
                    <a16:creationId xmlns:a16="http://schemas.microsoft.com/office/drawing/2014/main" id="{A03E5BE1-83AB-4B79-9E93-40699F6744DE}"/>
                  </a:ext>
                </a:extLst>
              </p:cNvPr>
              <p:cNvSpPr/>
              <p:nvPr/>
            </p:nvSpPr>
            <p:spPr>
              <a:xfrm>
                <a:off x="8422350" y="6305916"/>
                <a:ext cx="51724" cy="60363"/>
              </a:xfrm>
              <a:custGeom>
                <a:avLst/>
                <a:gdLst/>
                <a:ahLst/>
                <a:cxnLst/>
                <a:rect l="0" t="0" r="0" b="0"/>
                <a:pathLst>
                  <a:path w="120000" h="120000" extrusionOk="0">
                    <a:moveTo>
                      <a:pt x="60000" y="102857"/>
                    </a:moveTo>
                    <a:cubicBezTo>
                      <a:pt x="0" y="119999"/>
                      <a:pt x="20000" y="0"/>
                      <a:pt x="80000" y="17142"/>
                    </a:cubicBezTo>
                    <a:cubicBezTo>
                      <a:pt x="120000" y="17142"/>
                      <a:pt x="100000" y="102857"/>
                      <a:pt x="60000" y="102857"/>
                    </a:cubicBezTo>
                    <a:cubicBezTo>
                      <a:pt x="40000" y="102857"/>
                      <a:pt x="120000" y="102857"/>
                      <a:pt x="60000" y="10285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69" name="Shape 2420">
                <a:extLst>
                  <a:ext uri="{FF2B5EF4-FFF2-40B4-BE49-F238E27FC236}">
                    <a16:creationId xmlns:a16="http://schemas.microsoft.com/office/drawing/2014/main" id="{197F2310-FF35-438C-81A9-A2861CFA0168}"/>
                  </a:ext>
                </a:extLst>
              </p:cNvPr>
              <p:cNvSpPr/>
              <p:nvPr/>
            </p:nvSpPr>
            <p:spPr>
              <a:xfrm>
                <a:off x="8278665" y="6271424"/>
                <a:ext cx="100578" cy="51738"/>
              </a:xfrm>
              <a:custGeom>
                <a:avLst/>
                <a:gdLst/>
                <a:ahLst/>
                <a:cxnLst/>
                <a:rect l="0" t="0" r="0" b="0"/>
                <a:pathLst>
                  <a:path w="120000" h="120000" extrusionOk="0">
                    <a:moveTo>
                      <a:pt x="40000" y="120000"/>
                    </a:moveTo>
                    <a:cubicBezTo>
                      <a:pt x="20000" y="120000"/>
                      <a:pt x="0" y="100000"/>
                      <a:pt x="10000" y="60000"/>
                    </a:cubicBezTo>
                    <a:cubicBezTo>
                      <a:pt x="20000" y="20000"/>
                      <a:pt x="50000" y="20000"/>
                      <a:pt x="80000" y="0"/>
                    </a:cubicBezTo>
                    <a:cubicBezTo>
                      <a:pt x="120000" y="0"/>
                      <a:pt x="60000" y="120000"/>
                      <a:pt x="4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0" name="Shape 2421">
                <a:extLst>
                  <a:ext uri="{FF2B5EF4-FFF2-40B4-BE49-F238E27FC236}">
                    <a16:creationId xmlns:a16="http://schemas.microsoft.com/office/drawing/2014/main" id="{DC2C1644-DB12-48B8-826C-B02D19408A46}"/>
                  </a:ext>
                </a:extLst>
              </p:cNvPr>
              <p:cNvSpPr/>
              <p:nvPr/>
            </p:nvSpPr>
            <p:spPr>
              <a:xfrm>
                <a:off x="8491317" y="6239805"/>
                <a:ext cx="57473" cy="22995"/>
              </a:xfrm>
              <a:custGeom>
                <a:avLst/>
                <a:gdLst/>
                <a:ahLst/>
                <a:cxnLst/>
                <a:rect l="0" t="0" r="0" b="0"/>
                <a:pathLst>
                  <a:path w="120000" h="120000" extrusionOk="0">
                    <a:moveTo>
                      <a:pt x="85714" y="120000"/>
                    </a:moveTo>
                    <a:cubicBezTo>
                      <a:pt x="68571" y="120000"/>
                      <a:pt x="0" y="0"/>
                      <a:pt x="51428" y="0"/>
                    </a:cubicBezTo>
                    <a:cubicBezTo>
                      <a:pt x="68571" y="0"/>
                      <a:pt x="102857" y="0"/>
                      <a:pt x="119999" y="40000"/>
                    </a:cubicBezTo>
                    <a:cubicBezTo>
                      <a:pt x="119999" y="40000"/>
                      <a:pt x="102857" y="120000"/>
                      <a:pt x="85714" y="120000"/>
                    </a:cubicBezTo>
                    <a:cubicBezTo>
                      <a:pt x="68571" y="120000"/>
                      <a:pt x="119999" y="120000"/>
                      <a:pt x="85714"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1" name="Shape 2422">
                <a:extLst>
                  <a:ext uri="{FF2B5EF4-FFF2-40B4-BE49-F238E27FC236}">
                    <a16:creationId xmlns:a16="http://schemas.microsoft.com/office/drawing/2014/main" id="{087B0BFE-5FC9-4366-9CB7-0DEF77DD0773}"/>
                  </a:ext>
                </a:extLst>
              </p:cNvPr>
              <p:cNvSpPr/>
              <p:nvPr/>
            </p:nvSpPr>
            <p:spPr>
              <a:xfrm>
                <a:off x="8134981" y="6070214"/>
                <a:ext cx="287369" cy="201211"/>
              </a:xfrm>
              <a:custGeom>
                <a:avLst/>
                <a:gdLst/>
                <a:ahLst/>
                <a:cxnLst/>
                <a:rect l="0" t="0" r="0" b="0"/>
                <a:pathLst>
                  <a:path w="120000" h="120000" extrusionOk="0">
                    <a:moveTo>
                      <a:pt x="109411" y="105000"/>
                    </a:moveTo>
                    <a:cubicBezTo>
                      <a:pt x="105882" y="100000"/>
                      <a:pt x="95294" y="95000"/>
                      <a:pt x="88235" y="90000"/>
                    </a:cubicBezTo>
                    <a:cubicBezTo>
                      <a:pt x="84705" y="90000"/>
                      <a:pt x="88235" y="85000"/>
                      <a:pt x="84705" y="80000"/>
                    </a:cubicBezTo>
                    <a:cubicBezTo>
                      <a:pt x="84705" y="80000"/>
                      <a:pt x="77647" y="85000"/>
                      <a:pt x="77647" y="85000"/>
                    </a:cubicBezTo>
                    <a:cubicBezTo>
                      <a:pt x="70588" y="85000"/>
                      <a:pt x="70588" y="75000"/>
                      <a:pt x="63529" y="80000"/>
                    </a:cubicBezTo>
                    <a:cubicBezTo>
                      <a:pt x="63529" y="85000"/>
                      <a:pt x="60000" y="90000"/>
                      <a:pt x="56470" y="95000"/>
                    </a:cubicBezTo>
                    <a:cubicBezTo>
                      <a:pt x="49411" y="100000"/>
                      <a:pt x="45882" y="110000"/>
                      <a:pt x="38823" y="115000"/>
                    </a:cubicBezTo>
                    <a:cubicBezTo>
                      <a:pt x="28235" y="120000"/>
                      <a:pt x="35294" y="100000"/>
                      <a:pt x="28235" y="95000"/>
                    </a:cubicBezTo>
                    <a:cubicBezTo>
                      <a:pt x="28235" y="90000"/>
                      <a:pt x="10588" y="95000"/>
                      <a:pt x="7058" y="95000"/>
                    </a:cubicBezTo>
                    <a:cubicBezTo>
                      <a:pt x="0" y="95000"/>
                      <a:pt x="14117" y="80000"/>
                      <a:pt x="14117" y="80000"/>
                    </a:cubicBezTo>
                    <a:cubicBezTo>
                      <a:pt x="21176" y="70000"/>
                      <a:pt x="17647" y="60000"/>
                      <a:pt x="17647" y="50000"/>
                    </a:cubicBezTo>
                    <a:cubicBezTo>
                      <a:pt x="17647" y="40000"/>
                      <a:pt x="17647" y="25000"/>
                      <a:pt x="21176" y="15000"/>
                    </a:cubicBezTo>
                    <a:cubicBezTo>
                      <a:pt x="24705" y="0"/>
                      <a:pt x="35294" y="0"/>
                      <a:pt x="38823" y="15000"/>
                    </a:cubicBezTo>
                    <a:cubicBezTo>
                      <a:pt x="38823" y="20000"/>
                      <a:pt x="38823" y="30000"/>
                      <a:pt x="42352" y="25000"/>
                    </a:cubicBezTo>
                    <a:cubicBezTo>
                      <a:pt x="45882" y="25000"/>
                      <a:pt x="45882" y="20000"/>
                      <a:pt x="49411" y="20000"/>
                    </a:cubicBezTo>
                    <a:cubicBezTo>
                      <a:pt x="52941" y="25000"/>
                      <a:pt x="56470" y="30000"/>
                      <a:pt x="60000" y="30000"/>
                    </a:cubicBezTo>
                    <a:cubicBezTo>
                      <a:pt x="63529" y="35000"/>
                      <a:pt x="67058" y="35000"/>
                      <a:pt x="70588" y="35000"/>
                    </a:cubicBezTo>
                    <a:cubicBezTo>
                      <a:pt x="74117" y="40000"/>
                      <a:pt x="81176" y="45000"/>
                      <a:pt x="88235" y="50000"/>
                    </a:cubicBezTo>
                    <a:cubicBezTo>
                      <a:pt x="98823" y="55000"/>
                      <a:pt x="98823" y="60000"/>
                      <a:pt x="98823" y="75000"/>
                    </a:cubicBezTo>
                    <a:cubicBezTo>
                      <a:pt x="98823" y="80000"/>
                      <a:pt x="105882" y="80000"/>
                      <a:pt x="105882" y="75000"/>
                    </a:cubicBezTo>
                    <a:cubicBezTo>
                      <a:pt x="112941" y="75000"/>
                      <a:pt x="112941" y="80000"/>
                      <a:pt x="116470" y="85000"/>
                    </a:cubicBezTo>
                    <a:cubicBezTo>
                      <a:pt x="120000" y="85000"/>
                      <a:pt x="120000" y="85000"/>
                      <a:pt x="120000" y="90000"/>
                    </a:cubicBezTo>
                    <a:cubicBezTo>
                      <a:pt x="116470" y="95000"/>
                      <a:pt x="116470" y="105000"/>
                      <a:pt x="109411" y="105000"/>
                    </a:cubicBezTo>
                    <a:cubicBezTo>
                      <a:pt x="105882" y="100000"/>
                      <a:pt x="116470" y="105000"/>
                      <a:pt x="109411" y="10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2" name="Shape 2423">
                <a:extLst>
                  <a:ext uri="{FF2B5EF4-FFF2-40B4-BE49-F238E27FC236}">
                    <a16:creationId xmlns:a16="http://schemas.microsoft.com/office/drawing/2014/main" id="{9C9D9328-3C9F-495F-A37F-7FDCE64DB537}"/>
                  </a:ext>
                </a:extLst>
              </p:cNvPr>
              <p:cNvSpPr/>
              <p:nvPr/>
            </p:nvSpPr>
            <p:spPr>
              <a:xfrm>
                <a:off x="8247058" y="6052965"/>
                <a:ext cx="57473" cy="43118"/>
              </a:xfrm>
              <a:custGeom>
                <a:avLst/>
                <a:gdLst/>
                <a:ahLst/>
                <a:cxnLst/>
                <a:rect l="0" t="0" r="0" b="0"/>
                <a:pathLst>
                  <a:path w="120000" h="120000" extrusionOk="0">
                    <a:moveTo>
                      <a:pt x="85714" y="96000"/>
                    </a:moveTo>
                    <a:cubicBezTo>
                      <a:pt x="51428" y="120000"/>
                      <a:pt x="0" y="0"/>
                      <a:pt x="17142" y="0"/>
                    </a:cubicBezTo>
                    <a:cubicBezTo>
                      <a:pt x="34285" y="24000"/>
                      <a:pt x="119999" y="72000"/>
                      <a:pt x="85714"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3" name="Shape 2424">
                <a:extLst>
                  <a:ext uri="{FF2B5EF4-FFF2-40B4-BE49-F238E27FC236}">
                    <a16:creationId xmlns:a16="http://schemas.microsoft.com/office/drawing/2014/main" id="{5667ED6F-27D6-4581-A95F-E724B4850245}"/>
                  </a:ext>
                </a:extLst>
              </p:cNvPr>
              <p:cNvSpPr/>
              <p:nvPr/>
            </p:nvSpPr>
            <p:spPr>
              <a:xfrm>
                <a:off x="8229813" y="6061590"/>
                <a:ext cx="31611" cy="43118"/>
              </a:xfrm>
              <a:custGeom>
                <a:avLst/>
                <a:gdLst/>
                <a:ahLst/>
                <a:cxnLst/>
                <a:rect l="0" t="0" r="0" b="0"/>
                <a:pathLst>
                  <a:path w="120000" h="120000" extrusionOk="0">
                    <a:moveTo>
                      <a:pt x="90000" y="96000"/>
                    </a:moveTo>
                    <a:cubicBezTo>
                      <a:pt x="30000" y="120000"/>
                      <a:pt x="0" y="48000"/>
                      <a:pt x="0" y="24000"/>
                    </a:cubicBezTo>
                    <a:cubicBezTo>
                      <a:pt x="30000" y="0"/>
                      <a:pt x="120000" y="72000"/>
                      <a:pt x="90000"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4" name="Shape 2425">
                <a:extLst>
                  <a:ext uri="{FF2B5EF4-FFF2-40B4-BE49-F238E27FC236}">
                    <a16:creationId xmlns:a16="http://schemas.microsoft.com/office/drawing/2014/main" id="{18A397BF-70B0-4A2E-B70B-EABCD2029C8E}"/>
                  </a:ext>
                </a:extLst>
              </p:cNvPr>
              <p:cNvSpPr/>
              <p:nvPr/>
            </p:nvSpPr>
            <p:spPr>
              <a:xfrm>
                <a:off x="8152223" y="5900624"/>
                <a:ext cx="25862" cy="51738"/>
              </a:xfrm>
              <a:custGeom>
                <a:avLst/>
                <a:gdLst/>
                <a:ahLst/>
                <a:cxnLst/>
                <a:rect l="0" t="0" r="0" b="0"/>
                <a:pathLst>
                  <a:path w="120000" h="120000" extrusionOk="0">
                    <a:moveTo>
                      <a:pt x="120000" y="100000"/>
                    </a:moveTo>
                    <a:cubicBezTo>
                      <a:pt x="120000" y="80000"/>
                      <a:pt x="120000" y="60000"/>
                      <a:pt x="120000" y="40000"/>
                    </a:cubicBezTo>
                    <a:cubicBezTo>
                      <a:pt x="120000" y="40000"/>
                      <a:pt x="40000" y="0"/>
                      <a:pt x="40000" y="20000"/>
                    </a:cubicBezTo>
                    <a:cubicBezTo>
                      <a:pt x="40000" y="40000"/>
                      <a:pt x="0" y="80000"/>
                      <a:pt x="40000" y="80000"/>
                    </a:cubicBezTo>
                    <a:cubicBezTo>
                      <a:pt x="40000" y="100000"/>
                      <a:pt x="80000" y="120000"/>
                      <a:pt x="120000" y="100000"/>
                    </a:cubicBezTo>
                    <a:cubicBezTo>
                      <a:pt x="120000" y="80000"/>
                      <a:pt x="80000" y="120000"/>
                      <a:pt x="120000" y="10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5" name="Shape 2426">
                <a:extLst>
                  <a:ext uri="{FF2B5EF4-FFF2-40B4-BE49-F238E27FC236}">
                    <a16:creationId xmlns:a16="http://schemas.microsoft.com/office/drawing/2014/main" id="{0CD5983B-A5DA-468F-97EA-BD3D765D1E1B}"/>
                  </a:ext>
                </a:extLst>
              </p:cNvPr>
              <p:cNvSpPr/>
              <p:nvPr/>
            </p:nvSpPr>
            <p:spPr>
              <a:xfrm>
                <a:off x="8025781" y="5460837"/>
                <a:ext cx="1212691" cy="888195"/>
              </a:xfrm>
              <a:custGeom>
                <a:avLst/>
                <a:gdLst/>
                <a:ahLst/>
                <a:cxnLst/>
                <a:rect l="0" t="0" r="0" b="0"/>
                <a:pathLst>
                  <a:path w="120000" h="120000" extrusionOk="0">
                    <a:moveTo>
                      <a:pt x="64166" y="94857"/>
                    </a:moveTo>
                    <a:cubicBezTo>
                      <a:pt x="63333" y="98285"/>
                      <a:pt x="61666" y="94857"/>
                      <a:pt x="59166" y="96000"/>
                    </a:cubicBezTo>
                    <a:cubicBezTo>
                      <a:pt x="58333" y="96000"/>
                      <a:pt x="57500" y="97142"/>
                      <a:pt x="56666" y="98285"/>
                    </a:cubicBezTo>
                    <a:cubicBezTo>
                      <a:pt x="55000" y="99428"/>
                      <a:pt x="54166" y="98285"/>
                      <a:pt x="52500" y="98285"/>
                    </a:cubicBezTo>
                    <a:cubicBezTo>
                      <a:pt x="50000" y="97142"/>
                      <a:pt x="46666" y="94857"/>
                      <a:pt x="50000" y="91428"/>
                    </a:cubicBezTo>
                    <a:cubicBezTo>
                      <a:pt x="51666" y="89142"/>
                      <a:pt x="51666" y="86857"/>
                      <a:pt x="54166" y="86857"/>
                    </a:cubicBezTo>
                    <a:cubicBezTo>
                      <a:pt x="56666" y="88000"/>
                      <a:pt x="59166" y="89142"/>
                      <a:pt x="62500" y="88000"/>
                    </a:cubicBezTo>
                    <a:cubicBezTo>
                      <a:pt x="64166" y="88000"/>
                      <a:pt x="65833" y="86857"/>
                      <a:pt x="67500" y="86857"/>
                    </a:cubicBezTo>
                    <a:cubicBezTo>
                      <a:pt x="68333" y="86857"/>
                      <a:pt x="67500" y="85714"/>
                      <a:pt x="67500" y="84571"/>
                    </a:cubicBezTo>
                    <a:cubicBezTo>
                      <a:pt x="65000" y="82285"/>
                      <a:pt x="64166" y="81142"/>
                      <a:pt x="66666" y="78857"/>
                    </a:cubicBezTo>
                    <a:cubicBezTo>
                      <a:pt x="68333" y="75428"/>
                      <a:pt x="70000" y="75428"/>
                      <a:pt x="72500" y="75428"/>
                    </a:cubicBezTo>
                    <a:cubicBezTo>
                      <a:pt x="73333" y="75428"/>
                      <a:pt x="75000" y="75428"/>
                      <a:pt x="75833" y="76571"/>
                    </a:cubicBezTo>
                    <a:cubicBezTo>
                      <a:pt x="77500" y="77714"/>
                      <a:pt x="77500" y="78857"/>
                      <a:pt x="77500" y="81142"/>
                    </a:cubicBezTo>
                    <a:cubicBezTo>
                      <a:pt x="78333" y="83428"/>
                      <a:pt x="79166" y="80000"/>
                      <a:pt x="80000" y="80000"/>
                    </a:cubicBezTo>
                    <a:cubicBezTo>
                      <a:pt x="80000" y="78857"/>
                      <a:pt x="82500" y="80000"/>
                      <a:pt x="82500" y="80000"/>
                    </a:cubicBezTo>
                    <a:cubicBezTo>
                      <a:pt x="83333" y="80000"/>
                      <a:pt x="85833" y="80000"/>
                      <a:pt x="85833" y="77714"/>
                    </a:cubicBezTo>
                    <a:cubicBezTo>
                      <a:pt x="85833" y="76571"/>
                      <a:pt x="83333" y="75428"/>
                      <a:pt x="82500" y="75428"/>
                    </a:cubicBezTo>
                    <a:cubicBezTo>
                      <a:pt x="80833" y="74285"/>
                      <a:pt x="80000" y="73142"/>
                      <a:pt x="79166" y="72000"/>
                    </a:cubicBezTo>
                    <a:cubicBezTo>
                      <a:pt x="78333" y="72000"/>
                      <a:pt x="77500" y="74285"/>
                      <a:pt x="77500" y="75428"/>
                    </a:cubicBezTo>
                    <a:cubicBezTo>
                      <a:pt x="76666" y="76571"/>
                      <a:pt x="73333" y="75428"/>
                      <a:pt x="72500" y="75428"/>
                    </a:cubicBezTo>
                    <a:cubicBezTo>
                      <a:pt x="67500" y="74285"/>
                      <a:pt x="74166" y="72000"/>
                      <a:pt x="73333" y="69714"/>
                    </a:cubicBezTo>
                    <a:cubicBezTo>
                      <a:pt x="72500" y="66285"/>
                      <a:pt x="71666" y="61714"/>
                      <a:pt x="70000" y="59428"/>
                    </a:cubicBezTo>
                    <a:cubicBezTo>
                      <a:pt x="69166" y="59428"/>
                      <a:pt x="67500" y="60571"/>
                      <a:pt x="67500" y="59428"/>
                    </a:cubicBezTo>
                    <a:cubicBezTo>
                      <a:pt x="67500" y="58285"/>
                      <a:pt x="67500" y="56000"/>
                      <a:pt x="66666" y="54857"/>
                    </a:cubicBezTo>
                    <a:cubicBezTo>
                      <a:pt x="65833" y="53714"/>
                      <a:pt x="65000" y="60571"/>
                      <a:pt x="65833" y="60571"/>
                    </a:cubicBezTo>
                    <a:cubicBezTo>
                      <a:pt x="65000" y="60571"/>
                      <a:pt x="62500" y="52571"/>
                      <a:pt x="62500" y="52571"/>
                    </a:cubicBezTo>
                    <a:cubicBezTo>
                      <a:pt x="60833" y="52571"/>
                      <a:pt x="60000" y="53714"/>
                      <a:pt x="59166" y="54857"/>
                    </a:cubicBezTo>
                    <a:cubicBezTo>
                      <a:pt x="58333" y="54857"/>
                      <a:pt x="55833" y="57142"/>
                      <a:pt x="55833" y="56000"/>
                    </a:cubicBezTo>
                    <a:cubicBezTo>
                      <a:pt x="55833" y="52571"/>
                      <a:pt x="55000" y="52571"/>
                      <a:pt x="57500" y="52571"/>
                    </a:cubicBezTo>
                    <a:cubicBezTo>
                      <a:pt x="58333" y="52571"/>
                      <a:pt x="59166" y="51428"/>
                      <a:pt x="59166" y="50285"/>
                    </a:cubicBezTo>
                    <a:cubicBezTo>
                      <a:pt x="60000" y="49142"/>
                      <a:pt x="57500" y="49142"/>
                      <a:pt x="57500" y="49142"/>
                    </a:cubicBezTo>
                    <a:cubicBezTo>
                      <a:pt x="56666" y="48000"/>
                      <a:pt x="53333" y="45714"/>
                      <a:pt x="53333" y="45714"/>
                    </a:cubicBezTo>
                    <a:cubicBezTo>
                      <a:pt x="53333" y="42285"/>
                      <a:pt x="52500" y="44571"/>
                      <a:pt x="51666" y="44571"/>
                    </a:cubicBezTo>
                    <a:cubicBezTo>
                      <a:pt x="50833" y="44571"/>
                      <a:pt x="51666" y="38857"/>
                      <a:pt x="50000" y="40000"/>
                    </a:cubicBezTo>
                    <a:cubicBezTo>
                      <a:pt x="49166" y="40000"/>
                      <a:pt x="49166" y="41142"/>
                      <a:pt x="47500" y="38857"/>
                    </a:cubicBezTo>
                    <a:cubicBezTo>
                      <a:pt x="46666" y="38857"/>
                      <a:pt x="45833" y="36571"/>
                      <a:pt x="45000" y="36571"/>
                    </a:cubicBezTo>
                    <a:cubicBezTo>
                      <a:pt x="45000" y="36571"/>
                      <a:pt x="45833" y="37714"/>
                      <a:pt x="45833" y="37714"/>
                    </a:cubicBezTo>
                    <a:cubicBezTo>
                      <a:pt x="45833" y="37714"/>
                      <a:pt x="43333" y="37714"/>
                      <a:pt x="43333" y="38857"/>
                    </a:cubicBezTo>
                    <a:cubicBezTo>
                      <a:pt x="44166" y="40000"/>
                      <a:pt x="45833" y="38857"/>
                      <a:pt x="46666" y="41142"/>
                    </a:cubicBezTo>
                    <a:cubicBezTo>
                      <a:pt x="46666" y="43428"/>
                      <a:pt x="45000" y="43428"/>
                      <a:pt x="44166" y="43428"/>
                    </a:cubicBezTo>
                    <a:cubicBezTo>
                      <a:pt x="42500" y="44571"/>
                      <a:pt x="38333" y="40000"/>
                      <a:pt x="36666" y="42285"/>
                    </a:cubicBezTo>
                    <a:cubicBezTo>
                      <a:pt x="35833" y="42285"/>
                      <a:pt x="37500" y="43428"/>
                      <a:pt x="38333" y="44571"/>
                    </a:cubicBezTo>
                    <a:cubicBezTo>
                      <a:pt x="38333" y="45714"/>
                      <a:pt x="39166" y="44571"/>
                      <a:pt x="40000" y="44571"/>
                    </a:cubicBezTo>
                    <a:cubicBezTo>
                      <a:pt x="40833" y="44571"/>
                      <a:pt x="43333" y="43428"/>
                      <a:pt x="43333" y="44571"/>
                    </a:cubicBezTo>
                    <a:cubicBezTo>
                      <a:pt x="43333" y="45714"/>
                      <a:pt x="42500" y="46857"/>
                      <a:pt x="41666" y="48000"/>
                    </a:cubicBezTo>
                    <a:cubicBezTo>
                      <a:pt x="41666" y="48000"/>
                      <a:pt x="32500" y="40000"/>
                      <a:pt x="30833" y="41142"/>
                    </a:cubicBezTo>
                    <a:cubicBezTo>
                      <a:pt x="31666" y="41142"/>
                      <a:pt x="32500" y="42285"/>
                      <a:pt x="33333" y="42285"/>
                    </a:cubicBezTo>
                    <a:cubicBezTo>
                      <a:pt x="35000" y="44571"/>
                      <a:pt x="30833" y="43428"/>
                      <a:pt x="30833" y="43428"/>
                    </a:cubicBezTo>
                    <a:cubicBezTo>
                      <a:pt x="28333" y="41142"/>
                      <a:pt x="25000" y="43428"/>
                      <a:pt x="22500" y="42285"/>
                    </a:cubicBezTo>
                    <a:cubicBezTo>
                      <a:pt x="19166" y="41142"/>
                      <a:pt x="16666" y="42285"/>
                      <a:pt x="14166" y="38857"/>
                    </a:cubicBezTo>
                    <a:cubicBezTo>
                      <a:pt x="11666" y="36571"/>
                      <a:pt x="10000" y="40000"/>
                      <a:pt x="7500" y="38857"/>
                    </a:cubicBezTo>
                    <a:cubicBezTo>
                      <a:pt x="6666" y="37714"/>
                      <a:pt x="5000" y="37714"/>
                      <a:pt x="4166" y="36571"/>
                    </a:cubicBezTo>
                    <a:cubicBezTo>
                      <a:pt x="4166" y="35428"/>
                      <a:pt x="1666" y="32000"/>
                      <a:pt x="3333" y="32000"/>
                    </a:cubicBezTo>
                    <a:cubicBezTo>
                      <a:pt x="5833" y="32000"/>
                      <a:pt x="9166" y="35428"/>
                      <a:pt x="11666" y="33142"/>
                    </a:cubicBezTo>
                    <a:cubicBezTo>
                      <a:pt x="12500" y="32000"/>
                      <a:pt x="10833" y="30857"/>
                      <a:pt x="10833" y="30857"/>
                    </a:cubicBezTo>
                    <a:cubicBezTo>
                      <a:pt x="9166" y="29714"/>
                      <a:pt x="7500" y="29714"/>
                      <a:pt x="6666" y="29714"/>
                    </a:cubicBezTo>
                    <a:cubicBezTo>
                      <a:pt x="4166" y="29714"/>
                      <a:pt x="0" y="29714"/>
                      <a:pt x="0" y="26285"/>
                    </a:cubicBezTo>
                    <a:cubicBezTo>
                      <a:pt x="0" y="21714"/>
                      <a:pt x="0" y="18285"/>
                      <a:pt x="1666" y="13714"/>
                    </a:cubicBezTo>
                    <a:cubicBezTo>
                      <a:pt x="2500" y="10285"/>
                      <a:pt x="5000" y="8000"/>
                      <a:pt x="7500" y="5714"/>
                    </a:cubicBezTo>
                    <a:cubicBezTo>
                      <a:pt x="9166" y="3428"/>
                      <a:pt x="10833" y="3428"/>
                      <a:pt x="13333" y="2285"/>
                    </a:cubicBezTo>
                    <a:cubicBezTo>
                      <a:pt x="15000" y="2285"/>
                      <a:pt x="20000" y="0"/>
                      <a:pt x="20833" y="3428"/>
                    </a:cubicBezTo>
                    <a:cubicBezTo>
                      <a:pt x="20833" y="2285"/>
                      <a:pt x="16666" y="8000"/>
                      <a:pt x="15833" y="8000"/>
                    </a:cubicBezTo>
                    <a:cubicBezTo>
                      <a:pt x="14166" y="10285"/>
                      <a:pt x="12500" y="12571"/>
                      <a:pt x="14166" y="14857"/>
                    </a:cubicBezTo>
                    <a:cubicBezTo>
                      <a:pt x="15833" y="17142"/>
                      <a:pt x="14166" y="18285"/>
                      <a:pt x="15000" y="20571"/>
                    </a:cubicBezTo>
                    <a:cubicBezTo>
                      <a:pt x="15000" y="22857"/>
                      <a:pt x="16666" y="24000"/>
                      <a:pt x="17500" y="25142"/>
                    </a:cubicBezTo>
                    <a:cubicBezTo>
                      <a:pt x="18333" y="26285"/>
                      <a:pt x="20000" y="27428"/>
                      <a:pt x="20833" y="28571"/>
                    </a:cubicBezTo>
                    <a:cubicBezTo>
                      <a:pt x="21666" y="29714"/>
                      <a:pt x="18333" y="29714"/>
                      <a:pt x="18333" y="30857"/>
                    </a:cubicBezTo>
                    <a:cubicBezTo>
                      <a:pt x="18333" y="29714"/>
                      <a:pt x="21666" y="33142"/>
                      <a:pt x="21666" y="33142"/>
                    </a:cubicBezTo>
                    <a:cubicBezTo>
                      <a:pt x="22500" y="32000"/>
                      <a:pt x="21666" y="29714"/>
                      <a:pt x="21666" y="28571"/>
                    </a:cubicBezTo>
                    <a:cubicBezTo>
                      <a:pt x="21666" y="28571"/>
                      <a:pt x="23333" y="27428"/>
                      <a:pt x="22500" y="26285"/>
                    </a:cubicBezTo>
                    <a:cubicBezTo>
                      <a:pt x="21666" y="25142"/>
                      <a:pt x="18333" y="24000"/>
                      <a:pt x="17500" y="22857"/>
                    </a:cubicBezTo>
                    <a:cubicBezTo>
                      <a:pt x="16666" y="22857"/>
                      <a:pt x="15833" y="21714"/>
                      <a:pt x="16666" y="21714"/>
                    </a:cubicBezTo>
                    <a:cubicBezTo>
                      <a:pt x="18333" y="21714"/>
                      <a:pt x="18333" y="20571"/>
                      <a:pt x="19166" y="19428"/>
                    </a:cubicBezTo>
                    <a:cubicBezTo>
                      <a:pt x="20833" y="18285"/>
                      <a:pt x="23333" y="20571"/>
                      <a:pt x="24166" y="21714"/>
                    </a:cubicBezTo>
                    <a:cubicBezTo>
                      <a:pt x="23333" y="20571"/>
                      <a:pt x="22500" y="19428"/>
                      <a:pt x="22500" y="18285"/>
                    </a:cubicBezTo>
                    <a:cubicBezTo>
                      <a:pt x="22500" y="16000"/>
                      <a:pt x="18333" y="17142"/>
                      <a:pt x="18333" y="14857"/>
                    </a:cubicBezTo>
                    <a:cubicBezTo>
                      <a:pt x="16666" y="8000"/>
                      <a:pt x="24166" y="13714"/>
                      <a:pt x="24166" y="13714"/>
                    </a:cubicBezTo>
                    <a:cubicBezTo>
                      <a:pt x="24166" y="12571"/>
                      <a:pt x="19166" y="10285"/>
                      <a:pt x="19166" y="10285"/>
                    </a:cubicBezTo>
                    <a:cubicBezTo>
                      <a:pt x="19166" y="9142"/>
                      <a:pt x="23333" y="10285"/>
                      <a:pt x="23333" y="10285"/>
                    </a:cubicBezTo>
                    <a:cubicBezTo>
                      <a:pt x="23333" y="9142"/>
                      <a:pt x="20833" y="8000"/>
                      <a:pt x="20833" y="8000"/>
                    </a:cubicBezTo>
                    <a:cubicBezTo>
                      <a:pt x="20000" y="6857"/>
                      <a:pt x="20833" y="6857"/>
                      <a:pt x="21666" y="6857"/>
                    </a:cubicBezTo>
                    <a:cubicBezTo>
                      <a:pt x="22500" y="8000"/>
                      <a:pt x="22500" y="6857"/>
                      <a:pt x="23333" y="6857"/>
                    </a:cubicBezTo>
                    <a:cubicBezTo>
                      <a:pt x="25000" y="5714"/>
                      <a:pt x="25000" y="6857"/>
                      <a:pt x="26666" y="6857"/>
                    </a:cubicBezTo>
                    <a:cubicBezTo>
                      <a:pt x="24166" y="5714"/>
                      <a:pt x="27500" y="3428"/>
                      <a:pt x="28333" y="3428"/>
                    </a:cubicBezTo>
                    <a:cubicBezTo>
                      <a:pt x="30000" y="2285"/>
                      <a:pt x="35000" y="2285"/>
                      <a:pt x="35833" y="4571"/>
                    </a:cubicBezTo>
                    <a:cubicBezTo>
                      <a:pt x="36666" y="5714"/>
                      <a:pt x="36666" y="6857"/>
                      <a:pt x="36666" y="8000"/>
                    </a:cubicBezTo>
                    <a:cubicBezTo>
                      <a:pt x="37500" y="9142"/>
                      <a:pt x="38333" y="10285"/>
                      <a:pt x="39166" y="11428"/>
                    </a:cubicBezTo>
                    <a:cubicBezTo>
                      <a:pt x="40000" y="13714"/>
                      <a:pt x="35833" y="18285"/>
                      <a:pt x="35833" y="18285"/>
                    </a:cubicBezTo>
                    <a:cubicBezTo>
                      <a:pt x="36666" y="19428"/>
                      <a:pt x="38333" y="16000"/>
                      <a:pt x="39166" y="16000"/>
                    </a:cubicBezTo>
                    <a:cubicBezTo>
                      <a:pt x="39166" y="16000"/>
                      <a:pt x="37500" y="22857"/>
                      <a:pt x="38333" y="21714"/>
                    </a:cubicBezTo>
                    <a:cubicBezTo>
                      <a:pt x="39166" y="21714"/>
                      <a:pt x="39166" y="19428"/>
                      <a:pt x="40000" y="19428"/>
                    </a:cubicBezTo>
                    <a:cubicBezTo>
                      <a:pt x="41666" y="19428"/>
                      <a:pt x="41666" y="20571"/>
                      <a:pt x="43333" y="18285"/>
                    </a:cubicBezTo>
                    <a:cubicBezTo>
                      <a:pt x="44166" y="17142"/>
                      <a:pt x="44166" y="18285"/>
                      <a:pt x="45000" y="19428"/>
                    </a:cubicBezTo>
                    <a:cubicBezTo>
                      <a:pt x="45833" y="20571"/>
                      <a:pt x="45000" y="20571"/>
                      <a:pt x="45000" y="21714"/>
                    </a:cubicBezTo>
                    <a:cubicBezTo>
                      <a:pt x="45000" y="22857"/>
                      <a:pt x="49166" y="24000"/>
                      <a:pt x="50000" y="24000"/>
                    </a:cubicBezTo>
                    <a:cubicBezTo>
                      <a:pt x="50000" y="24000"/>
                      <a:pt x="45833" y="18285"/>
                      <a:pt x="45000" y="17142"/>
                    </a:cubicBezTo>
                    <a:cubicBezTo>
                      <a:pt x="45000" y="17142"/>
                      <a:pt x="52500" y="20571"/>
                      <a:pt x="52500" y="19428"/>
                    </a:cubicBezTo>
                    <a:cubicBezTo>
                      <a:pt x="52500" y="19428"/>
                      <a:pt x="47500" y="18285"/>
                      <a:pt x="47500" y="16000"/>
                    </a:cubicBezTo>
                    <a:cubicBezTo>
                      <a:pt x="47500" y="14857"/>
                      <a:pt x="50000" y="13714"/>
                      <a:pt x="50833" y="13714"/>
                    </a:cubicBezTo>
                    <a:cubicBezTo>
                      <a:pt x="52500" y="12571"/>
                      <a:pt x="53333" y="13714"/>
                      <a:pt x="55000" y="14857"/>
                    </a:cubicBezTo>
                    <a:cubicBezTo>
                      <a:pt x="57500" y="16000"/>
                      <a:pt x="60833" y="14857"/>
                      <a:pt x="61666" y="19428"/>
                    </a:cubicBezTo>
                    <a:cubicBezTo>
                      <a:pt x="61666" y="19428"/>
                      <a:pt x="55833" y="19428"/>
                      <a:pt x="56666" y="22857"/>
                    </a:cubicBezTo>
                    <a:cubicBezTo>
                      <a:pt x="56666" y="21714"/>
                      <a:pt x="59166" y="20571"/>
                      <a:pt x="59166" y="20571"/>
                    </a:cubicBezTo>
                    <a:cubicBezTo>
                      <a:pt x="60833" y="20571"/>
                      <a:pt x="58333" y="22857"/>
                      <a:pt x="58333" y="24000"/>
                    </a:cubicBezTo>
                    <a:cubicBezTo>
                      <a:pt x="58333" y="24000"/>
                      <a:pt x="60833" y="21714"/>
                      <a:pt x="60833" y="21714"/>
                    </a:cubicBezTo>
                    <a:cubicBezTo>
                      <a:pt x="60833" y="20571"/>
                      <a:pt x="64166" y="20571"/>
                      <a:pt x="65000" y="21714"/>
                    </a:cubicBezTo>
                    <a:cubicBezTo>
                      <a:pt x="68333" y="21714"/>
                      <a:pt x="60833" y="25142"/>
                      <a:pt x="61666" y="26285"/>
                    </a:cubicBezTo>
                    <a:cubicBezTo>
                      <a:pt x="61666" y="26285"/>
                      <a:pt x="63333" y="24000"/>
                      <a:pt x="63333" y="25142"/>
                    </a:cubicBezTo>
                    <a:cubicBezTo>
                      <a:pt x="63333" y="26285"/>
                      <a:pt x="61666" y="28571"/>
                      <a:pt x="62500" y="29714"/>
                    </a:cubicBezTo>
                    <a:cubicBezTo>
                      <a:pt x="61666" y="28571"/>
                      <a:pt x="65000" y="24000"/>
                      <a:pt x="65833" y="25142"/>
                    </a:cubicBezTo>
                    <a:cubicBezTo>
                      <a:pt x="65833" y="27428"/>
                      <a:pt x="65000" y="29714"/>
                      <a:pt x="65833" y="30857"/>
                    </a:cubicBezTo>
                    <a:cubicBezTo>
                      <a:pt x="65833" y="30857"/>
                      <a:pt x="65833" y="26285"/>
                      <a:pt x="67500" y="26285"/>
                    </a:cubicBezTo>
                    <a:cubicBezTo>
                      <a:pt x="69166" y="27428"/>
                      <a:pt x="66666" y="30857"/>
                      <a:pt x="67500" y="32000"/>
                    </a:cubicBezTo>
                    <a:cubicBezTo>
                      <a:pt x="67500" y="32000"/>
                      <a:pt x="68333" y="28571"/>
                      <a:pt x="69166" y="28571"/>
                    </a:cubicBezTo>
                    <a:cubicBezTo>
                      <a:pt x="69166" y="28571"/>
                      <a:pt x="68333" y="32000"/>
                      <a:pt x="69166" y="32000"/>
                    </a:cubicBezTo>
                    <a:cubicBezTo>
                      <a:pt x="68333" y="32000"/>
                      <a:pt x="70833" y="27428"/>
                      <a:pt x="71666" y="26285"/>
                    </a:cubicBezTo>
                    <a:cubicBezTo>
                      <a:pt x="72500" y="25142"/>
                      <a:pt x="75000" y="26285"/>
                      <a:pt x="75833" y="27428"/>
                    </a:cubicBezTo>
                    <a:cubicBezTo>
                      <a:pt x="77500" y="28571"/>
                      <a:pt x="78333" y="30857"/>
                      <a:pt x="75833" y="30857"/>
                    </a:cubicBezTo>
                    <a:cubicBezTo>
                      <a:pt x="75000" y="30857"/>
                      <a:pt x="71666" y="30857"/>
                      <a:pt x="71666" y="34285"/>
                    </a:cubicBezTo>
                    <a:cubicBezTo>
                      <a:pt x="71666" y="33142"/>
                      <a:pt x="76666" y="30857"/>
                      <a:pt x="76666" y="32000"/>
                    </a:cubicBezTo>
                    <a:cubicBezTo>
                      <a:pt x="76666" y="32000"/>
                      <a:pt x="73333" y="34285"/>
                      <a:pt x="73333" y="35428"/>
                    </a:cubicBezTo>
                    <a:cubicBezTo>
                      <a:pt x="73333" y="34285"/>
                      <a:pt x="76666" y="34285"/>
                      <a:pt x="76666" y="34285"/>
                    </a:cubicBezTo>
                    <a:cubicBezTo>
                      <a:pt x="77500" y="33142"/>
                      <a:pt x="79166" y="29714"/>
                      <a:pt x="80000" y="30857"/>
                    </a:cubicBezTo>
                    <a:cubicBezTo>
                      <a:pt x="80833" y="33142"/>
                      <a:pt x="80000" y="35428"/>
                      <a:pt x="78333" y="35428"/>
                    </a:cubicBezTo>
                    <a:cubicBezTo>
                      <a:pt x="77500" y="36571"/>
                      <a:pt x="76666" y="37714"/>
                      <a:pt x="75833" y="38857"/>
                    </a:cubicBezTo>
                    <a:cubicBezTo>
                      <a:pt x="75833" y="38857"/>
                      <a:pt x="77500" y="36571"/>
                      <a:pt x="78333" y="36571"/>
                    </a:cubicBezTo>
                    <a:cubicBezTo>
                      <a:pt x="78333" y="36571"/>
                      <a:pt x="77500" y="41142"/>
                      <a:pt x="77500" y="41142"/>
                    </a:cubicBezTo>
                    <a:cubicBezTo>
                      <a:pt x="76666" y="38857"/>
                      <a:pt x="82500" y="30857"/>
                      <a:pt x="83333" y="33142"/>
                    </a:cubicBezTo>
                    <a:cubicBezTo>
                      <a:pt x="84166" y="34285"/>
                      <a:pt x="82500" y="35428"/>
                      <a:pt x="81666" y="35428"/>
                    </a:cubicBezTo>
                    <a:cubicBezTo>
                      <a:pt x="82500" y="35428"/>
                      <a:pt x="85000" y="35428"/>
                      <a:pt x="85833" y="35428"/>
                    </a:cubicBezTo>
                    <a:cubicBezTo>
                      <a:pt x="86666" y="35428"/>
                      <a:pt x="88333" y="35428"/>
                      <a:pt x="89166" y="36571"/>
                    </a:cubicBezTo>
                    <a:cubicBezTo>
                      <a:pt x="90000" y="40000"/>
                      <a:pt x="81666" y="40000"/>
                      <a:pt x="82500" y="43428"/>
                    </a:cubicBezTo>
                    <a:cubicBezTo>
                      <a:pt x="82500" y="43428"/>
                      <a:pt x="85000" y="40000"/>
                      <a:pt x="85833" y="40000"/>
                    </a:cubicBezTo>
                    <a:cubicBezTo>
                      <a:pt x="86666" y="40000"/>
                      <a:pt x="88333" y="40000"/>
                      <a:pt x="88333" y="41142"/>
                    </a:cubicBezTo>
                    <a:cubicBezTo>
                      <a:pt x="89166" y="42285"/>
                      <a:pt x="84166" y="44571"/>
                      <a:pt x="84166" y="44571"/>
                    </a:cubicBezTo>
                    <a:cubicBezTo>
                      <a:pt x="84166" y="44571"/>
                      <a:pt x="86666" y="43428"/>
                      <a:pt x="86666" y="43428"/>
                    </a:cubicBezTo>
                    <a:cubicBezTo>
                      <a:pt x="87500" y="43428"/>
                      <a:pt x="89166" y="42285"/>
                      <a:pt x="90000" y="41142"/>
                    </a:cubicBezTo>
                    <a:cubicBezTo>
                      <a:pt x="90833" y="41142"/>
                      <a:pt x="90000" y="40000"/>
                      <a:pt x="90833" y="38857"/>
                    </a:cubicBezTo>
                    <a:cubicBezTo>
                      <a:pt x="91666" y="38857"/>
                      <a:pt x="93333" y="41142"/>
                      <a:pt x="93333" y="42285"/>
                    </a:cubicBezTo>
                    <a:cubicBezTo>
                      <a:pt x="96666" y="45714"/>
                      <a:pt x="93333" y="44571"/>
                      <a:pt x="90833" y="45714"/>
                    </a:cubicBezTo>
                    <a:cubicBezTo>
                      <a:pt x="90833" y="45714"/>
                      <a:pt x="85000" y="48000"/>
                      <a:pt x="85000" y="46857"/>
                    </a:cubicBezTo>
                    <a:cubicBezTo>
                      <a:pt x="85000" y="48000"/>
                      <a:pt x="98333" y="48000"/>
                      <a:pt x="97500" y="50285"/>
                    </a:cubicBezTo>
                    <a:cubicBezTo>
                      <a:pt x="96666" y="51428"/>
                      <a:pt x="92500" y="51428"/>
                      <a:pt x="91666" y="50285"/>
                    </a:cubicBezTo>
                    <a:cubicBezTo>
                      <a:pt x="91666" y="50285"/>
                      <a:pt x="88333" y="51428"/>
                      <a:pt x="88333" y="51428"/>
                    </a:cubicBezTo>
                    <a:cubicBezTo>
                      <a:pt x="89166" y="52571"/>
                      <a:pt x="91666" y="51428"/>
                      <a:pt x="91666" y="52571"/>
                    </a:cubicBezTo>
                    <a:cubicBezTo>
                      <a:pt x="92500" y="52571"/>
                      <a:pt x="89166" y="53714"/>
                      <a:pt x="89166" y="54857"/>
                    </a:cubicBezTo>
                    <a:cubicBezTo>
                      <a:pt x="89166" y="57142"/>
                      <a:pt x="92500" y="58285"/>
                      <a:pt x="93333" y="58285"/>
                    </a:cubicBezTo>
                    <a:cubicBezTo>
                      <a:pt x="95000" y="59428"/>
                      <a:pt x="97500" y="59428"/>
                      <a:pt x="98333" y="61714"/>
                    </a:cubicBezTo>
                    <a:cubicBezTo>
                      <a:pt x="99166" y="62857"/>
                      <a:pt x="99166" y="64000"/>
                      <a:pt x="100000" y="64000"/>
                    </a:cubicBezTo>
                    <a:cubicBezTo>
                      <a:pt x="100000" y="64000"/>
                      <a:pt x="101666" y="62857"/>
                      <a:pt x="101666" y="62857"/>
                    </a:cubicBezTo>
                    <a:cubicBezTo>
                      <a:pt x="101666" y="62857"/>
                      <a:pt x="101666" y="65142"/>
                      <a:pt x="102500" y="65142"/>
                    </a:cubicBezTo>
                    <a:cubicBezTo>
                      <a:pt x="102500" y="65142"/>
                      <a:pt x="102500" y="62857"/>
                      <a:pt x="103333" y="62857"/>
                    </a:cubicBezTo>
                    <a:cubicBezTo>
                      <a:pt x="103333" y="62857"/>
                      <a:pt x="103333" y="65142"/>
                      <a:pt x="103333" y="65142"/>
                    </a:cubicBezTo>
                    <a:cubicBezTo>
                      <a:pt x="103333" y="66285"/>
                      <a:pt x="105000" y="65142"/>
                      <a:pt x="105833" y="65142"/>
                    </a:cubicBezTo>
                    <a:cubicBezTo>
                      <a:pt x="105833" y="65142"/>
                      <a:pt x="107500" y="66285"/>
                      <a:pt x="107500" y="67428"/>
                    </a:cubicBezTo>
                    <a:cubicBezTo>
                      <a:pt x="107500" y="68571"/>
                      <a:pt x="106666" y="67428"/>
                      <a:pt x="106666" y="68571"/>
                    </a:cubicBezTo>
                    <a:cubicBezTo>
                      <a:pt x="107500" y="67428"/>
                      <a:pt x="115000" y="70857"/>
                      <a:pt x="115000" y="70857"/>
                    </a:cubicBezTo>
                    <a:cubicBezTo>
                      <a:pt x="114166" y="72000"/>
                      <a:pt x="114166" y="72000"/>
                      <a:pt x="114166" y="72000"/>
                    </a:cubicBezTo>
                    <a:cubicBezTo>
                      <a:pt x="114166" y="73142"/>
                      <a:pt x="115833" y="72000"/>
                      <a:pt x="115833" y="72000"/>
                    </a:cubicBezTo>
                    <a:cubicBezTo>
                      <a:pt x="116666" y="70857"/>
                      <a:pt x="116666" y="72000"/>
                      <a:pt x="117500" y="73142"/>
                    </a:cubicBezTo>
                    <a:cubicBezTo>
                      <a:pt x="118333" y="73142"/>
                      <a:pt x="120000" y="75428"/>
                      <a:pt x="119166" y="76571"/>
                    </a:cubicBezTo>
                    <a:cubicBezTo>
                      <a:pt x="119166" y="76571"/>
                      <a:pt x="117500" y="76571"/>
                      <a:pt x="117500" y="76571"/>
                    </a:cubicBezTo>
                    <a:cubicBezTo>
                      <a:pt x="117500" y="77714"/>
                      <a:pt x="119166" y="77714"/>
                      <a:pt x="118333" y="78857"/>
                    </a:cubicBezTo>
                    <a:cubicBezTo>
                      <a:pt x="118333" y="78857"/>
                      <a:pt x="115833" y="78857"/>
                      <a:pt x="115833" y="78857"/>
                    </a:cubicBezTo>
                    <a:cubicBezTo>
                      <a:pt x="114166" y="80000"/>
                      <a:pt x="115833" y="80000"/>
                      <a:pt x="115833" y="81142"/>
                    </a:cubicBezTo>
                    <a:cubicBezTo>
                      <a:pt x="116666" y="83428"/>
                      <a:pt x="113333" y="81142"/>
                      <a:pt x="112500" y="81142"/>
                    </a:cubicBezTo>
                    <a:cubicBezTo>
                      <a:pt x="113333" y="82285"/>
                      <a:pt x="115000" y="83428"/>
                      <a:pt x="114166" y="84571"/>
                    </a:cubicBezTo>
                    <a:cubicBezTo>
                      <a:pt x="113333" y="84571"/>
                      <a:pt x="110000" y="84571"/>
                      <a:pt x="110833" y="83428"/>
                    </a:cubicBezTo>
                    <a:cubicBezTo>
                      <a:pt x="110000" y="84571"/>
                      <a:pt x="112500" y="86857"/>
                      <a:pt x="111666" y="88000"/>
                    </a:cubicBezTo>
                    <a:cubicBezTo>
                      <a:pt x="110833" y="88000"/>
                      <a:pt x="110833" y="85714"/>
                      <a:pt x="110000" y="86857"/>
                    </a:cubicBezTo>
                    <a:cubicBezTo>
                      <a:pt x="109166" y="88000"/>
                      <a:pt x="112500" y="93714"/>
                      <a:pt x="109166" y="90285"/>
                    </a:cubicBezTo>
                    <a:cubicBezTo>
                      <a:pt x="109166" y="90285"/>
                      <a:pt x="106666" y="88000"/>
                      <a:pt x="106666" y="88000"/>
                    </a:cubicBezTo>
                    <a:cubicBezTo>
                      <a:pt x="105833" y="89142"/>
                      <a:pt x="105833" y="90285"/>
                      <a:pt x="105000" y="90285"/>
                    </a:cubicBezTo>
                    <a:cubicBezTo>
                      <a:pt x="105000" y="89142"/>
                      <a:pt x="105833" y="88000"/>
                      <a:pt x="105833" y="86857"/>
                    </a:cubicBezTo>
                    <a:cubicBezTo>
                      <a:pt x="105833" y="88000"/>
                      <a:pt x="104166" y="88000"/>
                      <a:pt x="104166" y="88000"/>
                    </a:cubicBezTo>
                    <a:cubicBezTo>
                      <a:pt x="103333" y="86857"/>
                      <a:pt x="105000" y="85714"/>
                      <a:pt x="104166" y="84571"/>
                    </a:cubicBezTo>
                    <a:cubicBezTo>
                      <a:pt x="104166" y="84571"/>
                      <a:pt x="102500" y="85714"/>
                      <a:pt x="102500" y="85714"/>
                    </a:cubicBezTo>
                    <a:cubicBezTo>
                      <a:pt x="101666" y="84571"/>
                      <a:pt x="102500" y="82285"/>
                      <a:pt x="102500" y="82285"/>
                    </a:cubicBezTo>
                    <a:cubicBezTo>
                      <a:pt x="103333" y="82285"/>
                      <a:pt x="106666" y="80000"/>
                      <a:pt x="105833" y="80000"/>
                    </a:cubicBezTo>
                    <a:cubicBezTo>
                      <a:pt x="105000" y="78857"/>
                      <a:pt x="101666" y="83428"/>
                      <a:pt x="100000" y="82285"/>
                    </a:cubicBezTo>
                    <a:cubicBezTo>
                      <a:pt x="100000" y="82285"/>
                      <a:pt x="102500" y="78857"/>
                      <a:pt x="101666" y="78857"/>
                    </a:cubicBezTo>
                    <a:cubicBezTo>
                      <a:pt x="100833" y="78857"/>
                      <a:pt x="100000" y="81142"/>
                      <a:pt x="99166" y="80000"/>
                    </a:cubicBezTo>
                    <a:cubicBezTo>
                      <a:pt x="98333" y="78857"/>
                      <a:pt x="97500" y="78857"/>
                      <a:pt x="96666" y="77714"/>
                    </a:cubicBezTo>
                    <a:cubicBezTo>
                      <a:pt x="95833" y="76571"/>
                      <a:pt x="95000" y="75428"/>
                      <a:pt x="94166" y="76571"/>
                    </a:cubicBezTo>
                    <a:cubicBezTo>
                      <a:pt x="94166" y="77714"/>
                      <a:pt x="94166" y="77714"/>
                      <a:pt x="94166" y="78857"/>
                    </a:cubicBezTo>
                    <a:cubicBezTo>
                      <a:pt x="94166" y="78857"/>
                      <a:pt x="93333" y="78857"/>
                      <a:pt x="93333" y="78857"/>
                    </a:cubicBezTo>
                    <a:cubicBezTo>
                      <a:pt x="93333" y="80000"/>
                      <a:pt x="96666" y="82285"/>
                      <a:pt x="93333" y="82285"/>
                    </a:cubicBezTo>
                    <a:cubicBezTo>
                      <a:pt x="92500" y="82285"/>
                      <a:pt x="89166" y="81142"/>
                      <a:pt x="90000" y="80000"/>
                    </a:cubicBezTo>
                    <a:cubicBezTo>
                      <a:pt x="89166" y="82285"/>
                      <a:pt x="92500" y="84571"/>
                      <a:pt x="93333" y="85714"/>
                    </a:cubicBezTo>
                    <a:cubicBezTo>
                      <a:pt x="95000" y="85714"/>
                      <a:pt x="95000" y="89142"/>
                      <a:pt x="95833" y="90285"/>
                    </a:cubicBezTo>
                    <a:cubicBezTo>
                      <a:pt x="96666" y="91428"/>
                      <a:pt x="96666" y="92571"/>
                      <a:pt x="97500" y="92571"/>
                    </a:cubicBezTo>
                    <a:cubicBezTo>
                      <a:pt x="98333" y="92571"/>
                      <a:pt x="97500" y="91428"/>
                      <a:pt x="98333" y="91428"/>
                    </a:cubicBezTo>
                    <a:cubicBezTo>
                      <a:pt x="98333" y="91428"/>
                      <a:pt x="99166" y="92571"/>
                      <a:pt x="99166" y="93714"/>
                    </a:cubicBezTo>
                    <a:cubicBezTo>
                      <a:pt x="100000" y="94857"/>
                      <a:pt x="100000" y="93714"/>
                      <a:pt x="100833" y="92571"/>
                    </a:cubicBezTo>
                    <a:cubicBezTo>
                      <a:pt x="101666" y="92571"/>
                      <a:pt x="100833" y="97142"/>
                      <a:pt x="101666" y="96000"/>
                    </a:cubicBezTo>
                    <a:cubicBezTo>
                      <a:pt x="102500" y="96000"/>
                      <a:pt x="101666" y="94857"/>
                      <a:pt x="102500" y="93714"/>
                    </a:cubicBezTo>
                    <a:cubicBezTo>
                      <a:pt x="102500" y="93714"/>
                      <a:pt x="102500" y="96000"/>
                      <a:pt x="102500" y="97142"/>
                    </a:cubicBezTo>
                    <a:cubicBezTo>
                      <a:pt x="102500" y="98285"/>
                      <a:pt x="102500" y="98285"/>
                      <a:pt x="103333" y="99428"/>
                    </a:cubicBezTo>
                    <a:cubicBezTo>
                      <a:pt x="104166" y="99428"/>
                      <a:pt x="105000" y="100571"/>
                      <a:pt x="105000" y="101714"/>
                    </a:cubicBezTo>
                    <a:cubicBezTo>
                      <a:pt x="105833" y="101714"/>
                      <a:pt x="106666" y="106285"/>
                      <a:pt x="106666" y="106285"/>
                    </a:cubicBezTo>
                    <a:cubicBezTo>
                      <a:pt x="105833" y="105142"/>
                      <a:pt x="105833" y="104000"/>
                      <a:pt x="105833" y="104000"/>
                    </a:cubicBezTo>
                    <a:cubicBezTo>
                      <a:pt x="105000" y="104000"/>
                      <a:pt x="105833" y="108571"/>
                      <a:pt x="105833" y="108571"/>
                    </a:cubicBezTo>
                    <a:cubicBezTo>
                      <a:pt x="105833" y="108571"/>
                      <a:pt x="104166" y="104000"/>
                      <a:pt x="103333" y="102857"/>
                    </a:cubicBezTo>
                    <a:cubicBezTo>
                      <a:pt x="103333" y="102857"/>
                      <a:pt x="104166" y="107428"/>
                      <a:pt x="105000" y="108571"/>
                    </a:cubicBezTo>
                    <a:cubicBezTo>
                      <a:pt x="105000" y="112000"/>
                      <a:pt x="103333" y="108571"/>
                      <a:pt x="103333" y="109714"/>
                    </a:cubicBezTo>
                    <a:cubicBezTo>
                      <a:pt x="102500" y="110857"/>
                      <a:pt x="106666" y="113142"/>
                      <a:pt x="106666" y="114285"/>
                    </a:cubicBezTo>
                    <a:cubicBezTo>
                      <a:pt x="106666" y="115428"/>
                      <a:pt x="99166" y="108571"/>
                      <a:pt x="98333" y="108571"/>
                    </a:cubicBezTo>
                    <a:cubicBezTo>
                      <a:pt x="98333" y="108571"/>
                      <a:pt x="98333" y="109714"/>
                      <a:pt x="98333" y="109714"/>
                    </a:cubicBezTo>
                    <a:cubicBezTo>
                      <a:pt x="98333" y="110857"/>
                      <a:pt x="96666" y="106285"/>
                      <a:pt x="95833" y="106285"/>
                    </a:cubicBezTo>
                    <a:cubicBezTo>
                      <a:pt x="95833" y="106285"/>
                      <a:pt x="96666" y="108571"/>
                      <a:pt x="96666" y="108571"/>
                    </a:cubicBezTo>
                    <a:cubicBezTo>
                      <a:pt x="95833" y="109714"/>
                      <a:pt x="94166" y="105142"/>
                      <a:pt x="93333" y="104000"/>
                    </a:cubicBezTo>
                    <a:cubicBezTo>
                      <a:pt x="92500" y="102857"/>
                      <a:pt x="92500" y="105142"/>
                      <a:pt x="91666" y="106285"/>
                    </a:cubicBezTo>
                    <a:cubicBezTo>
                      <a:pt x="91666" y="107428"/>
                      <a:pt x="90000" y="102857"/>
                      <a:pt x="90000" y="102857"/>
                    </a:cubicBezTo>
                    <a:cubicBezTo>
                      <a:pt x="90000" y="102857"/>
                      <a:pt x="87500" y="102857"/>
                      <a:pt x="87500" y="102857"/>
                    </a:cubicBezTo>
                    <a:cubicBezTo>
                      <a:pt x="87500" y="104000"/>
                      <a:pt x="88333" y="105142"/>
                      <a:pt x="89166" y="105142"/>
                    </a:cubicBezTo>
                    <a:cubicBezTo>
                      <a:pt x="90000" y="106285"/>
                      <a:pt x="90000" y="106285"/>
                      <a:pt x="90833" y="107428"/>
                    </a:cubicBezTo>
                    <a:cubicBezTo>
                      <a:pt x="91666" y="108571"/>
                      <a:pt x="93333" y="109714"/>
                      <a:pt x="95000" y="110857"/>
                    </a:cubicBezTo>
                    <a:cubicBezTo>
                      <a:pt x="96666" y="113142"/>
                      <a:pt x="97500" y="114285"/>
                      <a:pt x="98333" y="116571"/>
                    </a:cubicBezTo>
                    <a:cubicBezTo>
                      <a:pt x="100000" y="120000"/>
                      <a:pt x="100000" y="120000"/>
                      <a:pt x="97500" y="118857"/>
                    </a:cubicBezTo>
                    <a:cubicBezTo>
                      <a:pt x="94166" y="116571"/>
                      <a:pt x="88333" y="117714"/>
                      <a:pt x="85833" y="113142"/>
                    </a:cubicBezTo>
                    <a:cubicBezTo>
                      <a:pt x="85000" y="110857"/>
                      <a:pt x="82500" y="113142"/>
                      <a:pt x="80833" y="110857"/>
                    </a:cubicBezTo>
                    <a:cubicBezTo>
                      <a:pt x="80000" y="109714"/>
                      <a:pt x="75000" y="107428"/>
                      <a:pt x="75000" y="106285"/>
                    </a:cubicBezTo>
                    <a:cubicBezTo>
                      <a:pt x="75000" y="105142"/>
                      <a:pt x="77500" y="106285"/>
                      <a:pt x="77500" y="105142"/>
                    </a:cubicBezTo>
                    <a:cubicBezTo>
                      <a:pt x="78333" y="104000"/>
                      <a:pt x="75833" y="102857"/>
                      <a:pt x="75833" y="102857"/>
                    </a:cubicBezTo>
                    <a:cubicBezTo>
                      <a:pt x="73333" y="101714"/>
                      <a:pt x="71666" y="99428"/>
                      <a:pt x="70000" y="98285"/>
                    </a:cubicBezTo>
                    <a:cubicBezTo>
                      <a:pt x="69166" y="97142"/>
                      <a:pt x="70000" y="96000"/>
                      <a:pt x="68333" y="96000"/>
                    </a:cubicBezTo>
                    <a:cubicBezTo>
                      <a:pt x="68333" y="94857"/>
                      <a:pt x="64166" y="94857"/>
                      <a:pt x="64166" y="94857"/>
                    </a:cubicBezTo>
                    <a:cubicBezTo>
                      <a:pt x="64166" y="96000"/>
                      <a:pt x="65000" y="93714"/>
                      <a:pt x="64166" y="9485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6" name="Shape 2427">
                <a:extLst>
                  <a:ext uri="{FF2B5EF4-FFF2-40B4-BE49-F238E27FC236}">
                    <a16:creationId xmlns:a16="http://schemas.microsoft.com/office/drawing/2014/main" id="{BE2852AE-1595-41CD-9963-FC8743854FA4}"/>
                  </a:ext>
                </a:extLst>
              </p:cNvPr>
              <p:cNvSpPr/>
              <p:nvPr/>
            </p:nvSpPr>
            <p:spPr>
              <a:xfrm>
                <a:off x="8810295" y="6288673"/>
                <a:ext cx="51724" cy="17246"/>
              </a:xfrm>
              <a:custGeom>
                <a:avLst/>
                <a:gdLst/>
                <a:ahLst/>
                <a:cxnLst/>
                <a:rect l="0" t="0" r="0" b="0"/>
                <a:pathLst>
                  <a:path w="120000" h="120000" extrusionOk="0">
                    <a:moveTo>
                      <a:pt x="100000" y="60000"/>
                    </a:moveTo>
                    <a:cubicBezTo>
                      <a:pt x="100000" y="120000"/>
                      <a:pt x="0" y="0"/>
                      <a:pt x="20000" y="0"/>
                    </a:cubicBezTo>
                    <a:cubicBezTo>
                      <a:pt x="60000" y="0"/>
                      <a:pt x="120000" y="0"/>
                      <a:pt x="10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7" name="Shape 2428">
                <a:extLst>
                  <a:ext uri="{FF2B5EF4-FFF2-40B4-BE49-F238E27FC236}">
                    <a16:creationId xmlns:a16="http://schemas.microsoft.com/office/drawing/2014/main" id="{8C647616-866D-41CE-B547-7EFB6D882CA4}"/>
                  </a:ext>
                </a:extLst>
              </p:cNvPr>
              <p:cNvSpPr/>
              <p:nvPr/>
            </p:nvSpPr>
            <p:spPr>
              <a:xfrm>
                <a:off x="8657991" y="5917871"/>
                <a:ext cx="68966" cy="17246"/>
              </a:xfrm>
              <a:custGeom>
                <a:avLst/>
                <a:gdLst/>
                <a:ahLst/>
                <a:cxnLst/>
                <a:rect l="0" t="0" r="0" b="0"/>
                <a:pathLst>
                  <a:path w="120000" h="120000" extrusionOk="0">
                    <a:moveTo>
                      <a:pt x="105000" y="60000"/>
                    </a:moveTo>
                    <a:cubicBezTo>
                      <a:pt x="120000" y="120000"/>
                      <a:pt x="45000" y="120000"/>
                      <a:pt x="30000" y="120000"/>
                    </a:cubicBezTo>
                    <a:cubicBezTo>
                      <a:pt x="0" y="60000"/>
                      <a:pt x="30000" y="0"/>
                      <a:pt x="45000" y="0"/>
                    </a:cubicBezTo>
                    <a:cubicBezTo>
                      <a:pt x="75000" y="0"/>
                      <a:pt x="105000" y="0"/>
                      <a:pt x="105000" y="60000"/>
                    </a:cubicBezTo>
                    <a:cubicBezTo>
                      <a:pt x="120000" y="120000"/>
                      <a:pt x="105000" y="0"/>
                      <a:pt x="105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8" name="Shape 2429">
                <a:extLst>
                  <a:ext uri="{FF2B5EF4-FFF2-40B4-BE49-F238E27FC236}">
                    <a16:creationId xmlns:a16="http://schemas.microsoft.com/office/drawing/2014/main" id="{57DF1E04-29C6-4A9D-9885-A1F39F76F6D2}"/>
                  </a:ext>
                </a:extLst>
              </p:cNvPr>
              <p:cNvSpPr/>
              <p:nvPr/>
            </p:nvSpPr>
            <p:spPr>
              <a:xfrm>
                <a:off x="8557413" y="5900624"/>
                <a:ext cx="100578" cy="83358"/>
              </a:xfrm>
              <a:custGeom>
                <a:avLst/>
                <a:gdLst/>
                <a:ahLst/>
                <a:cxnLst/>
                <a:rect l="0" t="0" r="0" b="0"/>
                <a:pathLst>
                  <a:path w="120000" h="120000" extrusionOk="0">
                    <a:moveTo>
                      <a:pt x="100000" y="84000"/>
                    </a:moveTo>
                    <a:cubicBezTo>
                      <a:pt x="80000" y="96000"/>
                      <a:pt x="60000" y="120000"/>
                      <a:pt x="30000" y="108000"/>
                    </a:cubicBezTo>
                    <a:cubicBezTo>
                      <a:pt x="0" y="84000"/>
                      <a:pt x="0" y="48000"/>
                      <a:pt x="20000" y="24000"/>
                    </a:cubicBezTo>
                    <a:cubicBezTo>
                      <a:pt x="30000" y="0"/>
                      <a:pt x="70000" y="0"/>
                      <a:pt x="90000" y="0"/>
                    </a:cubicBezTo>
                    <a:cubicBezTo>
                      <a:pt x="110000" y="0"/>
                      <a:pt x="120000" y="60000"/>
                      <a:pt x="100000" y="84000"/>
                    </a:cubicBezTo>
                    <a:cubicBezTo>
                      <a:pt x="90000" y="96000"/>
                      <a:pt x="120000" y="72000"/>
                      <a:pt x="100000" y="8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79" name="Shape 2430">
                <a:extLst>
                  <a:ext uri="{FF2B5EF4-FFF2-40B4-BE49-F238E27FC236}">
                    <a16:creationId xmlns:a16="http://schemas.microsoft.com/office/drawing/2014/main" id="{71F79DA4-1EDF-4B69-8325-5FB27FF516C9}"/>
                  </a:ext>
                </a:extLst>
              </p:cNvPr>
              <p:cNvSpPr/>
              <p:nvPr/>
            </p:nvSpPr>
            <p:spPr>
              <a:xfrm>
                <a:off x="8465455" y="5825888"/>
                <a:ext cx="57473" cy="31619"/>
              </a:xfrm>
              <a:custGeom>
                <a:avLst/>
                <a:gdLst/>
                <a:ahLst/>
                <a:cxnLst/>
                <a:rect l="0" t="0" r="0" b="0"/>
                <a:pathLst>
                  <a:path w="120000" h="120000" extrusionOk="0">
                    <a:moveTo>
                      <a:pt x="17142" y="120000"/>
                    </a:moveTo>
                    <a:cubicBezTo>
                      <a:pt x="0" y="120000"/>
                      <a:pt x="68571" y="0"/>
                      <a:pt x="85714" y="0"/>
                    </a:cubicBezTo>
                    <a:cubicBezTo>
                      <a:pt x="119999" y="30000"/>
                      <a:pt x="51428" y="120000"/>
                      <a:pt x="17142"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0" name="Shape 2431">
                <a:extLst>
                  <a:ext uri="{FF2B5EF4-FFF2-40B4-BE49-F238E27FC236}">
                    <a16:creationId xmlns:a16="http://schemas.microsoft.com/office/drawing/2014/main" id="{606949FD-F56B-445F-94DD-BFB46003C8DF}"/>
                  </a:ext>
                </a:extLst>
              </p:cNvPr>
              <p:cNvSpPr/>
              <p:nvPr/>
            </p:nvSpPr>
            <p:spPr>
              <a:xfrm>
                <a:off x="8548793" y="5817264"/>
                <a:ext cx="51724" cy="25869"/>
              </a:xfrm>
              <a:custGeom>
                <a:avLst/>
                <a:gdLst/>
                <a:ahLst/>
                <a:cxnLst/>
                <a:rect l="0" t="0" r="0" b="0"/>
                <a:pathLst>
                  <a:path w="120000" h="120000" extrusionOk="0">
                    <a:moveTo>
                      <a:pt x="40000" y="120000"/>
                    </a:moveTo>
                    <a:cubicBezTo>
                      <a:pt x="40000" y="120000"/>
                      <a:pt x="0" y="40000"/>
                      <a:pt x="40000" y="40000"/>
                    </a:cubicBezTo>
                    <a:cubicBezTo>
                      <a:pt x="60000" y="0"/>
                      <a:pt x="120000" y="120000"/>
                      <a:pt x="4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1" name="Shape 2432">
                <a:extLst>
                  <a:ext uri="{FF2B5EF4-FFF2-40B4-BE49-F238E27FC236}">
                    <a16:creationId xmlns:a16="http://schemas.microsoft.com/office/drawing/2014/main" id="{A27C093A-5BD7-470B-8460-B938B6B45474}"/>
                  </a:ext>
                </a:extLst>
              </p:cNvPr>
              <p:cNvSpPr/>
              <p:nvPr/>
            </p:nvSpPr>
            <p:spPr>
              <a:xfrm>
                <a:off x="8499938" y="5800020"/>
                <a:ext cx="40231" cy="17246"/>
              </a:xfrm>
              <a:custGeom>
                <a:avLst/>
                <a:gdLst/>
                <a:ahLst/>
                <a:cxnLst/>
                <a:rect l="0" t="0" r="0" b="0"/>
                <a:pathLst>
                  <a:path w="120000" h="120000" extrusionOk="0">
                    <a:moveTo>
                      <a:pt x="0" y="60000"/>
                    </a:moveTo>
                    <a:cubicBezTo>
                      <a:pt x="48000" y="120000"/>
                      <a:pt x="120000" y="60000"/>
                      <a:pt x="96000" y="0"/>
                    </a:cubicBezTo>
                    <a:cubicBezTo>
                      <a:pt x="48000" y="0"/>
                      <a:pt x="0" y="60000"/>
                      <a:pt x="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2" name="Shape 2433">
                <a:extLst>
                  <a:ext uri="{FF2B5EF4-FFF2-40B4-BE49-F238E27FC236}">
                    <a16:creationId xmlns:a16="http://schemas.microsoft.com/office/drawing/2014/main" id="{F23A3ABB-F18C-4185-BDC5-EBFE6A902AB2}"/>
                  </a:ext>
                </a:extLst>
              </p:cNvPr>
              <p:cNvSpPr/>
              <p:nvPr/>
            </p:nvSpPr>
            <p:spPr>
              <a:xfrm>
                <a:off x="8396488" y="5478082"/>
                <a:ext cx="221272" cy="94856"/>
              </a:xfrm>
              <a:custGeom>
                <a:avLst/>
                <a:gdLst/>
                <a:ahLst/>
                <a:cxnLst/>
                <a:rect l="0" t="0" r="0" b="0"/>
                <a:pathLst>
                  <a:path w="120000" h="120000" extrusionOk="0">
                    <a:moveTo>
                      <a:pt x="115384" y="98181"/>
                    </a:moveTo>
                    <a:cubicBezTo>
                      <a:pt x="101538" y="98181"/>
                      <a:pt x="92307" y="87272"/>
                      <a:pt x="83076" y="87272"/>
                    </a:cubicBezTo>
                    <a:cubicBezTo>
                      <a:pt x="69230" y="87272"/>
                      <a:pt x="60000" y="109090"/>
                      <a:pt x="46153" y="109090"/>
                    </a:cubicBezTo>
                    <a:cubicBezTo>
                      <a:pt x="32307" y="120000"/>
                      <a:pt x="27692" y="76363"/>
                      <a:pt x="13846" y="65454"/>
                    </a:cubicBezTo>
                    <a:cubicBezTo>
                      <a:pt x="9230" y="54545"/>
                      <a:pt x="0" y="32727"/>
                      <a:pt x="9230" y="10909"/>
                    </a:cubicBezTo>
                    <a:cubicBezTo>
                      <a:pt x="13846" y="0"/>
                      <a:pt x="32307" y="21818"/>
                      <a:pt x="36923" y="21818"/>
                    </a:cubicBezTo>
                    <a:cubicBezTo>
                      <a:pt x="50769" y="32727"/>
                      <a:pt x="64615" y="10909"/>
                      <a:pt x="78461" y="21818"/>
                    </a:cubicBezTo>
                    <a:cubicBezTo>
                      <a:pt x="87692" y="21818"/>
                      <a:pt x="92307" y="43636"/>
                      <a:pt x="101538" y="54545"/>
                    </a:cubicBezTo>
                    <a:cubicBezTo>
                      <a:pt x="101538" y="65454"/>
                      <a:pt x="115384" y="98181"/>
                      <a:pt x="115384" y="98181"/>
                    </a:cubicBezTo>
                    <a:cubicBezTo>
                      <a:pt x="106153" y="98181"/>
                      <a:pt x="120000" y="98181"/>
                      <a:pt x="115384" y="9818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3" name="Shape 2434">
                <a:extLst>
                  <a:ext uri="{FF2B5EF4-FFF2-40B4-BE49-F238E27FC236}">
                    <a16:creationId xmlns:a16="http://schemas.microsoft.com/office/drawing/2014/main" id="{083042E8-09D8-4BB1-947A-7FB7F3D66979}"/>
                  </a:ext>
                </a:extLst>
              </p:cNvPr>
              <p:cNvSpPr/>
              <p:nvPr/>
            </p:nvSpPr>
            <p:spPr>
              <a:xfrm>
                <a:off x="6407902" y="7007279"/>
                <a:ext cx="244262" cy="160969"/>
              </a:xfrm>
              <a:custGeom>
                <a:avLst/>
                <a:gdLst/>
                <a:ahLst/>
                <a:cxnLst/>
                <a:rect l="0" t="0" r="0" b="0"/>
                <a:pathLst>
                  <a:path w="120000" h="120000" extrusionOk="0">
                    <a:moveTo>
                      <a:pt x="111724" y="101052"/>
                    </a:moveTo>
                    <a:cubicBezTo>
                      <a:pt x="107586" y="94736"/>
                      <a:pt x="103448" y="82105"/>
                      <a:pt x="99310" y="75789"/>
                    </a:cubicBezTo>
                    <a:cubicBezTo>
                      <a:pt x="95172" y="63157"/>
                      <a:pt x="86896" y="63157"/>
                      <a:pt x="78620" y="63157"/>
                    </a:cubicBezTo>
                    <a:cubicBezTo>
                      <a:pt x="70344" y="50526"/>
                      <a:pt x="70344" y="25263"/>
                      <a:pt x="57931" y="18947"/>
                    </a:cubicBezTo>
                    <a:cubicBezTo>
                      <a:pt x="53793" y="18947"/>
                      <a:pt x="41379" y="18947"/>
                      <a:pt x="33103" y="12631"/>
                    </a:cubicBezTo>
                    <a:cubicBezTo>
                      <a:pt x="28965" y="6315"/>
                      <a:pt x="20689" y="0"/>
                      <a:pt x="8275" y="0"/>
                    </a:cubicBezTo>
                    <a:cubicBezTo>
                      <a:pt x="0" y="0"/>
                      <a:pt x="4137" y="12631"/>
                      <a:pt x="12413" y="12631"/>
                    </a:cubicBezTo>
                    <a:cubicBezTo>
                      <a:pt x="16551" y="12631"/>
                      <a:pt x="16551" y="12631"/>
                      <a:pt x="20689" y="18947"/>
                    </a:cubicBezTo>
                    <a:cubicBezTo>
                      <a:pt x="20689" y="18947"/>
                      <a:pt x="24827" y="25263"/>
                      <a:pt x="24827" y="25263"/>
                    </a:cubicBezTo>
                    <a:cubicBezTo>
                      <a:pt x="20689" y="25263"/>
                      <a:pt x="16551" y="18947"/>
                      <a:pt x="16551" y="12631"/>
                    </a:cubicBezTo>
                    <a:cubicBezTo>
                      <a:pt x="16551" y="12631"/>
                      <a:pt x="16551" y="25263"/>
                      <a:pt x="16551" y="25263"/>
                    </a:cubicBezTo>
                    <a:cubicBezTo>
                      <a:pt x="16551" y="37894"/>
                      <a:pt x="24827" y="37894"/>
                      <a:pt x="28965" y="37894"/>
                    </a:cubicBezTo>
                    <a:cubicBezTo>
                      <a:pt x="28965" y="37894"/>
                      <a:pt x="49655" y="56842"/>
                      <a:pt x="49655" y="56842"/>
                    </a:cubicBezTo>
                    <a:cubicBezTo>
                      <a:pt x="49655" y="56842"/>
                      <a:pt x="45517" y="56842"/>
                      <a:pt x="41379" y="63157"/>
                    </a:cubicBezTo>
                    <a:cubicBezTo>
                      <a:pt x="41379" y="63157"/>
                      <a:pt x="57931" y="63157"/>
                      <a:pt x="57931" y="63157"/>
                    </a:cubicBezTo>
                    <a:cubicBezTo>
                      <a:pt x="66206" y="69473"/>
                      <a:pt x="57931" y="75789"/>
                      <a:pt x="57931" y="75789"/>
                    </a:cubicBezTo>
                    <a:cubicBezTo>
                      <a:pt x="62068" y="82105"/>
                      <a:pt x="74482" y="75789"/>
                      <a:pt x="78620" y="75789"/>
                    </a:cubicBezTo>
                    <a:cubicBezTo>
                      <a:pt x="57931" y="82105"/>
                      <a:pt x="120000" y="120000"/>
                      <a:pt x="111724" y="101052"/>
                    </a:cubicBezTo>
                    <a:cubicBezTo>
                      <a:pt x="107586" y="94736"/>
                      <a:pt x="115862" y="113684"/>
                      <a:pt x="111724" y="10105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4" name="Shape 2435">
                <a:extLst>
                  <a:ext uri="{FF2B5EF4-FFF2-40B4-BE49-F238E27FC236}">
                    <a16:creationId xmlns:a16="http://schemas.microsoft.com/office/drawing/2014/main" id="{D14B4212-74AC-4066-A6A9-6330A0F5DAEC}"/>
                  </a:ext>
                </a:extLst>
              </p:cNvPr>
              <p:cNvSpPr/>
              <p:nvPr/>
            </p:nvSpPr>
            <p:spPr>
              <a:xfrm>
                <a:off x="6215367" y="6820440"/>
                <a:ext cx="109198" cy="117851"/>
              </a:xfrm>
              <a:custGeom>
                <a:avLst/>
                <a:gdLst/>
                <a:ahLst/>
                <a:cxnLst/>
                <a:rect l="0" t="0" r="0" b="0"/>
                <a:pathLst>
                  <a:path w="120000" h="120000" extrusionOk="0">
                    <a:moveTo>
                      <a:pt x="101538" y="119999"/>
                    </a:moveTo>
                    <a:cubicBezTo>
                      <a:pt x="101538" y="119999"/>
                      <a:pt x="101538" y="119999"/>
                      <a:pt x="101538" y="119999"/>
                    </a:cubicBezTo>
                    <a:cubicBezTo>
                      <a:pt x="101538" y="111428"/>
                      <a:pt x="83076" y="94285"/>
                      <a:pt x="73846" y="94285"/>
                    </a:cubicBezTo>
                    <a:cubicBezTo>
                      <a:pt x="64615" y="77142"/>
                      <a:pt x="73846" y="68571"/>
                      <a:pt x="64615" y="59999"/>
                    </a:cubicBezTo>
                    <a:cubicBezTo>
                      <a:pt x="55384" y="51428"/>
                      <a:pt x="55384" y="51428"/>
                      <a:pt x="55384" y="42857"/>
                    </a:cubicBezTo>
                    <a:cubicBezTo>
                      <a:pt x="46153" y="25714"/>
                      <a:pt x="55384" y="25714"/>
                      <a:pt x="64615" y="17142"/>
                    </a:cubicBezTo>
                    <a:cubicBezTo>
                      <a:pt x="83076" y="0"/>
                      <a:pt x="27692" y="25714"/>
                      <a:pt x="36923" y="34285"/>
                    </a:cubicBezTo>
                    <a:cubicBezTo>
                      <a:pt x="27692" y="25714"/>
                      <a:pt x="55384" y="8571"/>
                      <a:pt x="55384" y="8571"/>
                    </a:cubicBezTo>
                    <a:cubicBezTo>
                      <a:pt x="46153" y="0"/>
                      <a:pt x="9230" y="0"/>
                      <a:pt x="9230" y="0"/>
                    </a:cubicBezTo>
                    <a:cubicBezTo>
                      <a:pt x="0" y="8571"/>
                      <a:pt x="18461" y="42857"/>
                      <a:pt x="27692" y="51428"/>
                    </a:cubicBezTo>
                    <a:cubicBezTo>
                      <a:pt x="46153" y="68571"/>
                      <a:pt x="73846" y="111428"/>
                      <a:pt x="101538" y="119999"/>
                    </a:cubicBezTo>
                    <a:cubicBezTo>
                      <a:pt x="120000" y="119999"/>
                      <a:pt x="73846" y="111428"/>
                      <a:pt x="101538" y="11999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5" name="Shape 2436">
                <a:extLst>
                  <a:ext uri="{FF2B5EF4-FFF2-40B4-BE49-F238E27FC236}">
                    <a16:creationId xmlns:a16="http://schemas.microsoft.com/office/drawing/2014/main" id="{11EAE621-9965-4D51-B74B-40B1997BD48A}"/>
                  </a:ext>
                </a:extLst>
              </p:cNvPr>
              <p:cNvSpPr/>
              <p:nvPr/>
            </p:nvSpPr>
            <p:spPr>
              <a:xfrm>
                <a:off x="6223989" y="6685341"/>
                <a:ext cx="34484" cy="34493"/>
              </a:xfrm>
              <a:custGeom>
                <a:avLst/>
                <a:gdLst/>
                <a:ahLst/>
                <a:cxnLst/>
                <a:rect l="0" t="0" r="0" b="0"/>
                <a:pathLst>
                  <a:path w="120000" h="120000" extrusionOk="0">
                    <a:moveTo>
                      <a:pt x="90000" y="90000"/>
                    </a:moveTo>
                    <a:cubicBezTo>
                      <a:pt x="60000" y="60000"/>
                      <a:pt x="0" y="60000"/>
                      <a:pt x="60000" y="30000"/>
                    </a:cubicBezTo>
                    <a:cubicBezTo>
                      <a:pt x="90000" y="0"/>
                      <a:pt x="120000" y="90000"/>
                      <a:pt x="90000" y="90000"/>
                    </a:cubicBezTo>
                    <a:cubicBezTo>
                      <a:pt x="90000" y="90000"/>
                      <a:pt x="90000" y="90000"/>
                      <a:pt x="90000" y="90000"/>
                    </a:cubicBezTo>
                    <a:cubicBezTo>
                      <a:pt x="60000" y="60000"/>
                      <a:pt x="120000" y="120000"/>
                      <a:pt x="900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6" name="Shape 2437">
                <a:extLst>
                  <a:ext uri="{FF2B5EF4-FFF2-40B4-BE49-F238E27FC236}">
                    <a16:creationId xmlns:a16="http://schemas.microsoft.com/office/drawing/2014/main" id="{A048AF2B-CFB3-4AE7-ACEE-8BF3ED243EB2}"/>
                  </a:ext>
                </a:extLst>
              </p:cNvPr>
              <p:cNvSpPr/>
              <p:nvPr/>
            </p:nvSpPr>
            <p:spPr>
              <a:xfrm>
                <a:off x="6180882" y="6645102"/>
                <a:ext cx="51724" cy="48864"/>
              </a:xfrm>
              <a:custGeom>
                <a:avLst/>
                <a:gdLst/>
                <a:ahLst/>
                <a:cxnLst/>
                <a:rect l="0" t="0" r="0" b="0"/>
                <a:pathLst>
                  <a:path w="120000" h="120000" extrusionOk="0">
                    <a:moveTo>
                      <a:pt x="100000" y="40000"/>
                    </a:moveTo>
                    <a:cubicBezTo>
                      <a:pt x="80000" y="40000"/>
                      <a:pt x="20000" y="0"/>
                      <a:pt x="0" y="20000"/>
                    </a:cubicBezTo>
                    <a:cubicBezTo>
                      <a:pt x="20000" y="0"/>
                      <a:pt x="40000" y="80000"/>
                      <a:pt x="20000" y="60000"/>
                    </a:cubicBezTo>
                    <a:cubicBezTo>
                      <a:pt x="20000" y="80000"/>
                      <a:pt x="20000" y="100000"/>
                      <a:pt x="20000" y="120000"/>
                    </a:cubicBezTo>
                    <a:cubicBezTo>
                      <a:pt x="20000" y="100000"/>
                      <a:pt x="100000" y="80000"/>
                      <a:pt x="100000" y="100000"/>
                    </a:cubicBezTo>
                    <a:cubicBezTo>
                      <a:pt x="100000" y="80000"/>
                      <a:pt x="80000" y="80000"/>
                      <a:pt x="60000" y="60000"/>
                    </a:cubicBezTo>
                    <a:cubicBezTo>
                      <a:pt x="80000" y="80000"/>
                      <a:pt x="120000" y="40000"/>
                      <a:pt x="100000" y="40000"/>
                    </a:cubicBezTo>
                    <a:cubicBezTo>
                      <a:pt x="80000" y="40000"/>
                      <a:pt x="120000" y="40000"/>
                      <a:pt x="10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7" name="Shape 2438">
                <a:extLst>
                  <a:ext uri="{FF2B5EF4-FFF2-40B4-BE49-F238E27FC236}">
                    <a16:creationId xmlns:a16="http://schemas.microsoft.com/office/drawing/2014/main" id="{77CA737B-9C33-48F8-8936-4B25CA872BA8}"/>
                  </a:ext>
                </a:extLst>
              </p:cNvPr>
              <p:cNvSpPr/>
              <p:nvPr/>
            </p:nvSpPr>
            <p:spPr>
              <a:xfrm>
                <a:off x="6157893" y="6659473"/>
                <a:ext cx="31611" cy="51738"/>
              </a:xfrm>
              <a:custGeom>
                <a:avLst/>
                <a:gdLst/>
                <a:ahLst/>
                <a:cxnLst/>
                <a:rect l="0" t="0" r="0" b="0"/>
                <a:pathLst>
                  <a:path w="120000" h="120000" extrusionOk="0">
                    <a:moveTo>
                      <a:pt x="60000" y="0"/>
                    </a:moveTo>
                    <a:cubicBezTo>
                      <a:pt x="0" y="0"/>
                      <a:pt x="60000" y="20000"/>
                      <a:pt x="60000" y="40000"/>
                    </a:cubicBezTo>
                    <a:cubicBezTo>
                      <a:pt x="60000" y="60000"/>
                      <a:pt x="30000" y="100000"/>
                      <a:pt x="60000" y="100000"/>
                    </a:cubicBezTo>
                    <a:cubicBezTo>
                      <a:pt x="90000" y="120000"/>
                      <a:pt x="90000" y="60000"/>
                      <a:pt x="90000" y="60000"/>
                    </a:cubicBezTo>
                    <a:cubicBezTo>
                      <a:pt x="90000" y="40000"/>
                      <a:pt x="120000" y="0"/>
                      <a:pt x="6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8" name="Shape 2439">
                <a:extLst>
                  <a:ext uri="{FF2B5EF4-FFF2-40B4-BE49-F238E27FC236}">
                    <a16:creationId xmlns:a16="http://schemas.microsoft.com/office/drawing/2014/main" id="{8D124BE5-5779-4971-B722-332F5DCD7E68}"/>
                  </a:ext>
                </a:extLst>
              </p:cNvPr>
              <p:cNvSpPr/>
              <p:nvPr/>
            </p:nvSpPr>
            <p:spPr>
              <a:xfrm>
                <a:off x="6106165" y="6610605"/>
                <a:ext cx="43104" cy="91980"/>
              </a:xfrm>
              <a:custGeom>
                <a:avLst/>
                <a:gdLst/>
                <a:ahLst/>
                <a:cxnLst/>
                <a:rect l="0" t="0" r="0" b="0"/>
                <a:pathLst>
                  <a:path w="120000" h="120000" extrusionOk="0">
                    <a:moveTo>
                      <a:pt x="96000" y="109090"/>
                    </a:moveTo>
                    <a:cubicBezTo>
                      <a:pt x="96000" y="98181"/>
                      <a:pt x="48000" y="65454"/>
                      <a:pt x="48000" y="65454"/>
                    </a:cubicBezTo>
                    <a:cubicBezTo>
                      <a:pt x="96000" y="43636"/>
                      <a:pt x="0" y="43636"/>
                      <a:pt x="24000" y="32727"/>
                    </a:cubicBezTo>
                    <a:cubicBezTo>
                      <a:pt x="48000" y="0"/>
                      <a:pt x="120000" y="54545"/>
                      <a:pt x="120000" y="54545"/>
                    </a:cubicBezTo>
                    <a:cubicBezTo>
                      <a:pt x="120000" y="65454"/>
                      <a:pt x="120000" y="120000"/>
                      <a:pt x="96000" y="109090"/>
                    </a:cubicBezTo>
                    <a:cubicBezTo>
                      <a:pt x="96000" y="98181"/>
                      <a:pt x="120000" y="120000"/>
                      <a:pt x="96000" y="10909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89" name="Shape 2440">
                <a:extLst>
                  <a:ext uri="{FF2B5EF4-FFF2-40B4-BE49-F238E27FC236}">
                    <a16:creationId xmlns:a16="http://schemas.microsoft.com/office/drawing/2014/main" id="{96283B72-5C2C-46B0-A6A2-8954101695E8}"/>
                  </a:ext>
                </a:extLst>
              </p:cNvPr>
              <p:cNvSpPr/>
              <p:nvPr/>
            </p:nvSpPr>
            <p:spPr>
              <a:xfrm>
                <a:off x="6071682" y="6576112"/>
                <a:ext cx="60346" cy="60363"/>
              </a:xfrm>
              <a:custGeom>
                <a:avLst/>
                <a:gdLst/>
                <a:ahLst/>
                <a:cxnLst/>
                <a:rect l="0" t="0" r="0" b="0"/>
                <a:pathLst>
                  <a:path w="120000" h="120000" extrusionOk="0">
                    <a:moveTo>
                      <a:pt x="68571" y="102857"/>
                    </a:moveTo>
                    <a:cubicBezTo>
                      <a:pt x="34285" y="68571"/>
                      <a:pt x="17142" y="68571"/>
                      <a:pt x="34285" y="51428"/>
                    </a:cubicBezTo>
                    <a:cubicBezTo>
                      <a:pt x="34285" y="34285"/>
                      <a:pt x="0" y="34285"/>
                      <a:pt x="0" y="34285"/>
                    </a:cubicBezTo>
                    <a:cubicBezTo>
                      <a:pt x="0" y="17142"/>
                      <a:pt x="68571" y="0"/>
                      <a:pt x="85714" y="17142"/>
                    </a:cubicBezTo>
                    <a:cubicBezTo>
                      <a:pt x="85714" y="17142"/>
                      <a:pt x="51428" y="34285"/>
                      <a:pt x="68571" y="51428"/>
                    </a:cubicBezTo>
                    <a:cubicBezTo>
                      <a:pt x="85714" y="51428"/>
                      <a:pt x="119999" y="68571"/>
                      <a:pt x="119999" y="68571"/>
                    </a:cubicBezTo>
                    <a:cubicBezTo>
                      <a:pt x="119999" y="85714"/>
                      <a:pt x="85714" y="85714"/>
                      <a:pt x="85714" y="85714"/>
                    </a:cubicBezTo>
                    <a:cubicBezTo>
                      <a:pt x="68571" y="85714"/>
                      <a:pt x="85714" y="119999"/>
                      <a:pt x="68571" y="102857"/>
                    </a:cubicBezTo>
                    <a:cubicBezTo>
                      <a:pt x="34285" y="85714"/>
                      <a:pt x="68571" y="102857"/>
                      <a:pt x="68571" y="10285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0" name="Shape 2441">
                <a:extLst>
                  <a:ext uri="{FF2B5EF4-FFF2-40B4-BE49-F238E27FC236}">
                    <a16:creationId xmlns:a16="http://schemas.microsoft.com/office/drawing/2014/main" id="{F9E09741-250B-4D44-9D98-5FA8F3FCB814}"/>
                  </a:ext>
                </a:extLst>
              </p:cNvPr>
              <p:cNvSpPr/>
              <p:nvPr/>
            </p:nvSpPr>
            <p:spPr>
              <a:xfrm>
                <a:off x="6132028" y="6576112"/>
                <a:ext cx="57473" cy="77609"/>
              </a:xfrm>
              <a:custGeom>
                <a:avLst/>
                <a:gdLst/>
                <a:ahLst/>
                <a:cxnLst/>
                <a:rect l="0" t="0" r="0" b="0"/>
                <a:pathLst>
                  <a:path w="120000" h="120000" extrusionOk="0">
                    <a:moveTo>
                      <a:pt x="51428" y="106666"/>
                    </a:moveTo>
                    <a:cubicBezTo>
                      <a:pt x="68571" y="93333"/>
                      <a:pt x="85714" y="93333"/>
                      <a:pt x="68571" y="80000"/>
                    </a:cubicBezTo>
                    <a:cubicBezTo>
                      <a:pt x="68571" y="66666"/>
                      <a:pt x="34285" y="66666"/>
                      <a:pt x="34285" y="53333"/>
                    </a:cubicBezTo>
                    <a:cubicBezTo>
                      <a:pt x="51428" y="40000"/>
                      <a:pt x="0" y="0"/>
                      <a:pt x="51428" y="13333"/>
                    </a:cubicBezTo>
                    <a:cubicBezTo>
                      <a:pt x="102857" y="26666"/>
                      <a:pt x="102857" y="40000"/>
                      <a:pt x="102857" y="66666"/>
                    </a:cubicBezTo>
                    <a:cubicBezTo>
                      <a:pt x="119999" y="93333"/>
                      <a:pt x="51428" y="106666"/>
                      <a:pt x="51428" y="106666"/>
                    </a:cubicBezTo>
                    <a:cubicBezTo>
                      <a:pt x="51428" y="106666"/>
                      <a:pt x="51428" y="106666"/>
                      <a:pt x="51428" y="106666"/>
                    </a:cubicBezTo>
                    <a:cubicBezTo>
                      <a:pt x="68571" y="93333"/>
                      <a:pt x="34285" y="120000"/>
                      <a:pt x="51428" y="10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1" name="Shape 2442">
                <a:extLst>
                  <a:ext uri="{FF2B5EF4-FFF2-40B4-BE49-F238E27FC236}">
                    <a16:creationId xmlns:a16="http://schemas.microsoft.com/office/drawing/2014/main" id="{3EB14712-9716-439D-8B42-D9858D24A0E3}"/>
                  </a:ext>
                </a:extLst>
              </p:cNvPr>
              <p:cNvSpPr/>
              <p:nvPr/>
            </p:nvSpPr>
            <p:spPr>
              <a:xfrm>
                <a:off x="6114786" y="6593360"/>
                <a:ext cx="25862" cy="8622"/>
              </a:xfrm>
              <a:custGeom>
                <a:avLst/>
                <a:gdLst/>
                <a:ahLst/>
                <a:cxnLst/>
                <a:rect l="0" t="0" r="0" b="0"/>
                <a:pathLst>
                  <a:path w="120000" h="120000" extrusionOk="0">
                    <a:moveTo>
                      <a:pt x="80000" y="120000"/>
                    </a:moveTo>
                    <a:cubicBezTo>
                      <a:pt x="40000" y="120000"/>
                      <a:pt x="0" y="120000"/>
                      <a:pt x="0" y="0"/>
                    </a:cubicBezTo>
                    <a:cubicBezTo>
                      <a:pt x="0" y="0"/>
                      <a:pt x="80000" y="0"/>
                      <a:pt x="120000" y="0"/>
                    </a:cubicBezTo>
                    <a:cubicBezTo>
                      <a:pt x="120000" y="0"/>
                      <a:pt x="80000" y="120000"/>
                      <a:pt x="8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2" name="Shape 2443">
                <a:extLst>
                  <a:ext uri="{FF2B5EF4-FFF2-40B4-BE49-F238E27FC236}">
                    <a16:creationId xmlns:a16="http://schemas.microsoft.com/office/drawing/2014/main" id="{C5D0B0C9-9C94-499B-A7A2-A0C24323F7A1}"/>
                  </a:ext>
                </a:extLst>
              </p:cNvPr>
              <p:cNvSpPr/>
              <p:nvPr/>
            </p:nvSpPr>
            <p:spPr>
              <a:xfrm>
                <a:off x="5304411" y="6601984"/>
                <a:ext cx="112072" cy="57489"/>
              </a:xfrm>
              <a:custGeom>
                <a:avLst/>
                <a:gdLst/>
                <a:ahLst/>
                <a:cxnLst/>
                <a:rect l="0" t="0" r="0" b="0"/>
                <a:pathLst>
                  <a:path w="120000" h="120000" extrusionOk="0">
                    <a:moveTo>
                      <a:pt x="92307" y="17142"/>
                    </a:moveTo>
                    <a:cubicBezTo>
                      <a:pt x="83076" y="17142"/>
                      <a:pt x="73846" y="17142"/>
                      <a:pt x="64615" y="17142"/>
                    </a:cubicBezTo>
                    <a:cubicBezTo>
                      <a:pt x="55384" y="17142"/>
                      <a:pt x="55384" y="17142"/>
                      <a:pt x="46153" y="17142"/>
                    </a:cubicBezTo>
                    <a:cubicBezTo>
                      <a:pt x="27692" y="34285"/>
                      <a:pt x="36923" y="68571"/>
                      <a:pt x="46153" y="68571"/>
                    </a:cubicBezTo>
                    <a:cubicBezTo>
                      <a:pt x="36923" y="68571"/>
                      <a:pt x="18461" y="17142"/>
                      <a:pt x="9230" y="51428"/>
                    </a:cubicBezTo>
                    <a:cubicBezTo>
                      <a:pt x="0" y="68571"/>
                      <a:pt x="0" y="85714"/>
                      <a:pt x="9230" y="102857"/>
                    </a:cubicBezTo>
                    <a:cubicBezTo>
                      <a:pt x="18461" y="119999"/>
                      <a:pt x="92307" y="85714"/>
                      <a:pt x="101538" y="68571"/>
                    </a:cubicBezTo>
                    <a:cubicBezTo>
                      <a:pt x="101538" y="68571"/>
                      <a:pt x="92307" y="51428"/>
                      <a:pt x="83076" y="51428"/>
                    </a:cubicBezTo>
                    <a:cubicBezTo>
                      <a:pt x="92307" y="51428"/>
                      <a:pt x="110769" y="51428"/>
                      <a:pt x="110769" y="51428"/>
                    </a:cubicBezTo>
                    <a:cubicBezTo>
                      <a:pt x="120000" y="34285"/>
                      <a:pt x="101538" y="0"/>
                      <a:pt x="92307" y="17142"/>
                    </a:cubicBezTo>
                    <a:cubicBezTo>
                      <a:pt x="83076" y="17142"/>
                      <a:pt x="101538" y="0"/>
                      <a:pt x="92307" y="1714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3" name="Shape 2444">
                <a:extLst>
                  <a:ext uri="{FF2B5EF4-FFF2-40B4-BE49-F238E27FC236}">
                    <a16:creationId xmlns:a16="http://schemas.microsoft.com/office/drawing/2014/main" id="{8E988C1C-6C7D-44BA-9716-AD14F7BFB9B8}"/>
                  </a:ext>
                </a:extLst>
              </p:cNvPr>
              <p:cNvSpPr/>
              <p:nvPr/>
            </p:nvSpPr>
            <p:spPr>
              <a:xfrm>
                <a:off x="5347515" y="6550243"/>
                <a:ext cx="68966" cy="60363"/>
              </a:xfrm>
              <a:custGeom>
                <a:avLst/>
                <a:gdLst/>
                <a:ahLst/>
                <a:cxnLst/>
                <a:rect l="0" t="0" r="0" b="0"/>
                <a:pathLst>
                  <a:path w="120000" h="120000" extrusionOk="0">
                    <a:moveTo>
                      <a:pt x="30000" y="102857"/>
                    </a:moveTo>
                    <a:cubicBezTo>
                      <a:pt x="45000" y="85714"/>
                      <a:pt x="60000" y="85714"/>
                      <a:pt x="75000" y="68571"/>
                    </a:cubicBezTo>
                    <a:cubicBezTo>
                      <a:pt x="90000" y="68571"/>
                      <a:pt x="120000" y="68571"/>
                      <a:pt x="120000" y="68571"/>
                    </a:cubicBezTo>
                    <a:cubicBezTo>
                      <a:pt x="120000" y="68571"/>
                      <a:pt x="105000" y="0"/>
                      <a:pt x="75000" y="34285"/>
                    </a:cubicBezTo>
                    <a:cubicBezTo>
                      <a:pt x="75000" y="34285"/>
                      <a:pt x="15000" y="85714"/>
                      <a:pt x="30000" y="102857"/>
                    </a:cubicBezTo>
                    <a:cubicBezTo>
                      <a:pt x="30000" y="102857"/>
                      <a:pt x="30000" y="102857"/>
                      <a:pt x="30000" y="102857"/>
                    </a:cubicBezTo>
                    <a:cubicBezTo>
                      <a:pt x="60000" y="85714"/>
                      <a:pt x="0" y="119999"/>
                      <a:pt x="30000" y="10285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4" name="Shape 2445">
                <a:extLst>
                  <a:ext uri="{FF2B5EF4-FFF2-40B4-BE49-F238E27FC236}">
                    <a16:creationId xmlns:a16="http://schemas.microsoft.com/office/drawing/2014/main" id="{959C0995-09B9-4A6D-BDF2-E690767527BF}"/>
                  </a:ext>
                </a:extLst>
              </p:cNvPr>
              <p:cNvSpPr/>
              <p:nvPr/>
            </p:nvSpPr>
            <p:spPr>
              <a:xfrm>
                <a:off x="4867610" y="6780196"/>
                <a:ext cx="83336" cy="31619"/>
              </a:xfrm>
              <a:custGeom>
                <a:avLst/>
                <a:gdLst/>
                <a:ahLst/>
                <a:cxnLst/>
                <a:rect l="0" t="0" r="0" b="0"/>
                <a:pathLst>
                  <a:path w="120000" h="120000" extrusionOk="0">
                    <a:moveTo>
                      <a:pt x="108000" y="60000"/>
                    </a:moveTo>
                    <a:cubicBezTo>
                      <a:pt x="120000" y="60000"/>
                      <a:pt x="96000" y="30000"/>
                      <a:pt x="108000" y="30000"/>
                    </a:cubicBezTo>
                    <a:cubicBezTo>
                      <a:pt x="96000" y="0"/>
                      <a:pt x="84000" y="0"/>
                      <a:pt x="72000" y="0"/>
                    </a:cubicBezTo>
                    <a:cubicBezTo>
                      <a:pt x="60000" y="30000"/>
                      <a:pt x="36000" y="30000"/>
                      <a:pt x="24000" y="60000"/>
                    </a:cubicBezTo>
                    <a:cubicBezTo>
                      <a:pt x="0" y="90000"/>
                      <a:pt x="24000" y="120000"/>
                      <a:pt x="36000" y="120000"/>
                    </a:cubicBezTo>
                    <a:cubicBezTo>
                      <a:pt x="60000" y="120000"/>
                      <a:pt x="84000" y="30000"/>
                      <a:pt x="108000" y="60000"/>
                    </a:cubicBezTo>
                    <a:cubicBezTo>
                      <a:pt x="120000" y="60000"/>
                      <a:pt x="84000" y="30000"/>
                      <a:pt x="108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5" name="Shape 2446">
                <a:extLst>
                  <a:ext uri="{FF2B5EF4-FFF2-40B4-BE49-F238E27FC236}">
                    <a16:creationId xmlns:a16="http://schemas.microsoft.com/office/drawing/2014/main" id="{ED12C55A-7B0E-4708-A128-471705EE0E80}"/>
                  </a:ext>
                </a:extLst>
              </p:cNvPr>
              <p:cNvSpPr/>
              <p:nvPr/>
            </p:nvSpPr>
            <p:spPr>
              <a:xfrm>
                <a:off x="4767032" y="6829062"/>
                <a:ext cx="48851" cy="43118"/>
              </a:xfrm>
              <a:custGeom>
                <a:avLst/>
                <a:gdLst/>
                <a:ahLst/>
                <a:cxnLst/>
                <a:rect l="0" t="0" r="0" b="0"/>
                <a:pathLst>
                  <a:path w="120000" h="120000" extrusionOk="0">
                    <a:moveTo>
                      <a:pt x="120000" y="48000"/>
                    </a:moveTo>
                    <a:cubicBezTo>
                      <a:pt x="120000" y="0"/>
                      <a:pt x="80000" y="24000"/>
                      <a:pt x="60000" y="48000"/>
                    </a:cubicBezTo>
                    <a:cubicBezTo>
                      <a:pt x="60000" y="48000"/>
                      <a:pt x="60000" y="72000"/>
                      <a:pt x="60000" y="96000"/>
                    </a:cubicBezTo>
                    <a:cubicBezTo>
                      <a:pt x="40000" y="96000"/>
                      <a:pt x="0" y="120000"/>
                      <a:pt x="0" y="120000"/>
                    </a:cubicBezTo>
                    <a:cubicBezTo>
                      <a:pt x="0" y="120000"/>
                      <a:pt x="120000" y="120000"/>
                      <a:pt x="120000" y="4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6" name="Shape 2447">
                <a:extLst>
                  <a:ext uri="{FF2B5EF4-FFF2-40B4-BE49-F238E27FC236}">
                    <a16:creationId xmlns:a16="http://schemas.microsoft.com/office/drawing/2014/main" id="{4DA7B858-D2FE-4DB8-9C88-FC55BDD50BBA}"/>
                  </a:ext>
                </a:extLst>
              </p:cNvPr>
              <p:cNvSpPr/>
              <p:nvPr/>
            </p:nvSpPr>
            <p:spPr>
              <a:xfrm>
                <a:off x="7632088" y="5782771"/>
                <a:ext cx="175294" cy="109228"/>
              </a:xfrm>
              <a:custGeom>
                <a:avLst/>
                <a:gdLst/>
                <a:ahLst/>
                <a:cxnLst/>
                <a:rect l="0" t="0" r="0" b="0"/>
                <a:pathLst>
                  <a:path w="120000" h="120000" extrusionOk="0">
                    <a:moveTo>
                      <a:pt x="108571" y="83076"/>
                    </a:moveTo>
                    <a:cubicBezTo>
                      <a:pt x="85714" y="92307"/>
                      <a:pt x="108571" y="73846"/>
                      <a:pt x="102857" y="64615"/>
                    </a:cubicBezTo>
                    <a:cubicBezTo>
                      <a:pt x="97142" y="64615"/>
                      <a:pt x="85714" y="36923"/>
                      <a:pt x="80000" y="36923"/>
                    </a:cubicBezTo>
                    <a:cubicBezTo>
                      <a:pt x="68571" y="36923"/>
                      <a:pt x="57142" y="9230"/>
                      <a:pt x="45714" y="9230"/>
                    </a:cubicBezTo>
                    <a:cubicBezTo>
                      <a:pt x="34285" y="0"/>
                      <a:pt x="34285" y="46153"/>
                      <a:pt x="28571" y="55384"/>
                    </a:cubicBezTo>
                    <a:cubicBezTo>
                      <a:pt x="22857" y="55384"/>
                      <a:pt x="0" y="55384"/>
                      <a:pt x="0" y="73846"/>
                    </a:cubicBezTo>
                    <a:cubicBezTo>
                      <a:pt x="5714" y="92307"/>
                      <a:pt x="34285" y="101538"/>
                      <a:pt x="40000" y="101538"/>
                    </a:cubicBezTo>
                    <a:cubicBezTo>
                      <a:pt x="51428" y="110769"/>
                      <a:pt x="74285" y="120000"/>
                      <a:pt x="85714" y="110769"/>
                    </a:cubicBezTo>
                    <a:cubicBezTo>
                      <a:pt x="85714" y="110769"/>
                      <a:pt x="114285" y="92307"/>
                      <a:pt x="114285" y="83076"/>
                    </a:cubicBezTo>
                    <a:cubicBezTo>
                      <a:pt x="114285" y="83076"/>
                      <a:pt x="108571" y="83076"/>
                      <a:pt x="108571" y="83076"/>
                    </a:cubicBezTo>
                    <a:cubicBezTo>
                      <a:pt x="102857" y="92307"/>
                      <a:pt x="120000" y="83076"/>
                      <a:pt x="108571" y="8307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7" name="Shape 2448">
                <a:extLst>
                  <a:ext uri="{FF2B5EF4-FFF2-40B4-BE49-F238E27FC236}">
                    <a16:creationId xmlns:a16="http://schemas.microsoft.com/office/drawing/2014/main" id="{96D8D67B-C856-486E-B11B-93FE8EC4F993}"/>
                  </a:ext>
                </a:extLst>
              </p:cNvPr>
              <p:cNvSpPr/>
              <p:nvPr/>
            </p:nvSpPr>
            <p:spPr>
              <a:xfrm>
                <a:off x="7571742" y="5834512"/>
                <a:ext cx="43104" cy="31619"/>
              </a:xfrm>
              <a:custGeom>
                <a:avLst/>
                <a:gdLst/>
                <a:ahLst/>
                <a:cxnLst/>
                <a:rect l="0" t="0" r="0" b="0"/>
                <a:pathLst>
                  <a:path w="120000" h="120000" extrusionOk="0">
                    <a:moveTo>
                      <a:pt x="48000" y="120000"/>
                    </a:moveTo>
                    <a:cubicBezTo>
                      <a:pt x="0" y="120000"/>
                      <a:pt x="96000" y="0"/>
                      <a:pt x="96000" y="30000"/>
                    </a:cubicBezTo>
                    <a:cubicBezTo>
                      <a:pt x="120000" y="30000"/>
                      <a:pt x="72000" y="120000"/>
                      <a:pt x="48000" y="120000"/>
                    </a:cubicBezTo>
                    <a:cubicBezTo>
                      <a:pt x="24000" y="120000"/>
                      <a:pt x="96000" y="120000"/>
                      <a:pt x="48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8" name="Shape 2449">
                <a:extLst>
                  <a:ext uri="{FF2B5EF4-FFF2-40B4-BE49-F238E27FC236}">
                    <a16:creationId xmlns:a16="http://schemas.microsoft.com/office/drawing/2014/main" id="{11DDD9F9-FE16-4476-83FD-62F2665D63B5}"/>
                  </a:ext>
                </a:extLst>
              </p:cNvPr>
              <p:cNvSpPr/>
              <p:nvPr/>
            </p:nvSpPr>
            <p:spPr>
              <a:xfrm>
                <a:off x="7520016" y="5866129"/>
                <a:ext cx="17242" cy="17246"/>
              </a:xfrm>
              <a:custGeom>
                <a:avLst/>
                <a:gdLst/>
                <a:ahLst/>
                <a:cxnLst/>
                <a:rect l="0" t="0" r="0" b="0"/>
                <a:pathLst>
                  <a:path w="120000" h="120000" extrusionOk="0">
                    <a:moveTo>
                      <a:pt x="60000" y="120000"/>
                    </a:moveTo>
                    <a:cubicBezTo>
                      <a:pt x="0" y="120000"/>
                      <a:pt x="0" y="60000"/>
                      <a:pt x="60000" y="0"/>
                    </a:cubicBezTo>
                    <a:cubicBezTo>
                      <a:pt x="120000" y="0"/>
                      <a:pt x="120000" y="120000"/>
                      <a:pt x="6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199" name="Shape 2450">
                <a:extLst>
                  <a:ext uri="{FF2B5EF4-FFF2-40B4-BE49-F238E27FC236}">
                    <a16:creationId xmlns:a16="http://schemas.microsoft.com/office/drawing/2014/main" id="{086F6A85-66FB-438B-832F-993A9A393E6C}"/>
                  </a:ext>
                </a:extLst>
              </p:cNvPr>
              <p:cNvSpPr/>
              <p:nvPr/>
            </p:nvSpPr>
            <p:spPr>
              <a:xfrm>
                <a:off x="6795848" y="5512575"/>
                <a:ext cx="775893" cy="379424"/>
              </a:xfrm>
              <a:custGeom>
                <a:avLst/>
                <a:gdLst/>
                <a:ahLst/>
                <a:cxnLst/>
                <a:rect l="0" t="0" r="0" b="0"/>
                <a:pathLst>
                  <a:path w="120000" h="120000" extrusionOk="0">
                    <a:moveTo>
                      <a:pt x="108260" y="109333"/>
                    </a:moveTo>
                    <a:cubicBezTo>
                      <a:pt x="105652" y="109333"/>
                      <a:pt x="103043" y="109333"/>
                      <a:pt x="99130" y="109333"/>
                    </a:cubicBezTo>
                    <a:cubicBezTo>
                      <a:pt x="97826" y="109333"/>
                      <a:pt x="96521" y="109333"/>
                      <a:pt x="95217" y="109333"/>
                    </a:cubicBezTo>
                    <a:cubicBezTo>
                      <a:pt x="93913" y="109333"/>
                      <a:pt x="93913" y="106666"/>
                      <a:pt x="92608" y="104000"/>
                    </a:cubicBezTo>
                    <a:cubicBezTo>
                      <a:pt x="91304" y="104000"/>
                      <a:pt x="86086" y="106666"/>
                      <a:pt x="84782" y="101333"/>
                    </a:cubicBezTo>
                    <a:cubicBezTo>
                      <a:pt x="84782" y="93333"/>
                      <a:pt x="82173" y="98666"/>
                      <a:pt x="79565" y="101333"/>
                    </a:cubicBezTo>
                    <a:cubicBezTo>
                      <a:pt x="75652" y="106666"/>
                      <a:pt x="73043" y="104000"/>
                      <a:pt x="70434" y="106666"/>
                    </a:cubicBezTo>
                    <a:cubicBezTo>
                      <a:pt x="66521" y="109333"/>
                      <a:pt x="62608" y="112000"/>
                      <a:pt x="58695" y="114666"/>
                    </a:cubicBezTo>
                    <a:cubicBezTo>
                      <a:pt x="53478" y="114666"/>
                      <a:pt x="45652" y="120000"/>
                      <a:pt x="40434" y="114666"/>
                    </a:cubicBezTo>
                    <a:cubicBezTo>
                      <a:pt x="40434" y="114666"/>
                      <a:pt x="37826" y="112000"/>
                      <a:pt x="37826" y="109333"/>
                    </a:cubicBezTo>
                    <a:cubicBezTo>
                      <a:pt x="37826" y="106666"/>
                      <a:pt x="37826" y="101333"/>
                      <a:pt x="35217" y="101333"/>
                    </a:cubicBezTo>
                    <a:cubicBezTo>
                      <a:pt x="32608" y="101333"/>
                      <a:pt x="30000" y="101333"/>
                      <a:pt x="27391" y="101333"/>
                    </a:cubicBezTo>
                    <a:cubicBezTo>
                      <a:pt x="24782" y="101333"/>
                      <a:pt x="22173" y="101333"/>
                      <a:pt x="19565" y="96000"/>
                    </a:cubicBezTo>
                    <a:cubicBezTo>
                      <a:pt x="18260" y="96000"/>
                      <a:pt x="11739" y="85333"/>
                      <a:pt x="13043" y="82666"/>
                    </a:cubicBezTo>
                    <a:cubicBezTo>
                      <a:pt x="20869" y="74666"/>
                      <a:pt x="30000" y="77333"/>
                      <a:pt x="36521" y="77333"/>
                    </a:cubicBezTo>
                    <a:cubicBezTo>
                      <a:pt x="37826" y="77333"/>
                      <a:pt x="52173" y="77333"/>
                      <a:pt x="52173" y="77333"/>
                    </a:cubicBezTo>
                    <a:cubicBezTo>
                      <a:pt x="52173" y="72000"/>
                      <a:pt x="33913" y="66666"/>
                      <a:pt x="32608" y="66666"/>
                    </a:cubicBezTo>
                    <a:cubicBezTo>
                      <a:pt x="26086" y="66666"/>
                      <a:pt x="18260" y="74666"/>
                      <a:pt x="11739" y="69333"/>
                    </a:cubicBezTo>
                    <a:cubicBezTo>
                      <a:pt x="9130" y="66666"/>
                      <a:pt x="3913" y="61333"/>
                      <a:pt x="9130" y="56000"/>
                    </a:cubicBezTo>
                    <a:cubicBezTo>
                      <a:pt x="13043" y="53333"/>
                      <a:pt x="16956" y="50666"/>
                      <a:pt x="20869" y="50666"/>
                    </a:cubicBezTo>
                    <a:cubicBezTo>
                      <a:pt x="23478" y="48000"/>
                      <a:pt x="26086" y="48000"/>
                      <a:pt x="27391" y="48000"/>
                    </a:cubicBezTo>
                    <a:cubicBezTo>
                      <a:pt x="24782" y="50666"/>
                      <a:pt x="20869" y="48000"/>
                      <a:pt x="18260" y="48000"/>
                    </a:cubicBezTo>
                    <a:cubicBezTo>
                      <a:pt x="16956" y="48000"/>
                      <a:pt x="9130" y="50666"/>
                      <a:pt x="7826" y="48000"/>
                    </a:cubicBezTo>
                    <a:cubicBezTo>
                      <a:pt x="7826" y="48000"/>
                      <a:pt x="9130" y="45333"/>
                      <a:pt x="9130" y="45333"/>
                    </a:cubicBezTo>
                    <a:cubicBezTo>
                      <a:pt x="9130" y="42666"/>
                      <a:pt x="0" y="45333"/>
                      <a:pt x="1304" y="40000"/>
                    </a:cubicBezTo>
                    <a:cubicBezTo>
                      <a:pt x="2608" y="37333"/>
                      <a:pt x="3913" y="32000"/>
                      <a:pt x="5217" y="29333"/>
                    </a:cubicBezTo>
                    <a:cubicBezTo>
                      <a:pt x="10434" y="26666"/>
                      <a:pt x="5217" y="26666"/>
                      <a:pt x="5217" y="24000"/>
                    </a:cubicBezTo>
                    <a:cubicBezTo>
                      <a:pt x="5217" y="24000"/>
                      <a:pt x="9130" y="18666"/>
                      <a:pt x="10434" y="18666"/>
                    </a:cubicBezTo>
                    <a:cubicBezTo>
                      <a:pt x="13043" y="16000"/>
                      <a:pt x="14347" y="13333"/>
                      <a:pt x="16956" y="10666"/>
                    </a:cubicBezTo>
                    <a:cubicBezTo>
                      <a:pt x="22173" y="5333"/>
                      <a:pt x="26086" y="2666"/>
                      <a:pt x="31304" y="2666"/>
                    </a:cubicBezTo>
                    <a:cubicBezTo>
                      <a:pt x="37826" y="2666"/>
                      <a:pt x="31304" y="18666"/>
                      <a:pt x="31304" y="18666"/>
                    </a:cubicBezTo>
                    <a:cubicBezTo>
                      <a:pt x="33913" y="21333"/>
                      <a:pt x="36521" y="21333"/>
                      <a:pt x="37826" y="18666"/>
                    </a:cubicBezTo>
                    <a:cubicBezTo>
                      <a:pt x="39130" y="18666"/>
                      <a:pt x="39130" y="10666"/>
                      <a:pt x="40434" y="10666"/>
                    </a:cubicBezTo>
                    <a:cubicBezTo>
                      <a:pt x="43043" y="10666"/>
                      <a:pt x="48260" y="10666"/>
                      <a:pt x="50869" y="16000"/>
                    </a:cubicBezTo>
                    <a:cubicBezTo>
                      <a:pt x="54782" y="21333"/>
                      <a:pt x="45652" y="29333"/>
                      <a:pt x="52173" y="26666"/>
                    </a:cubicBezTo>
                    <a:cubicBezTo>
                      <a:pt x="53478" y="26666"/>
                      <a:pt x="54782" y="24000"/>
                      <a:pt x="56086" y="21333"/>
                    </a:cubicBezTo>
                    <a:cubicBezTo>
                      <a:pt x="57391" y="21333"/>
                      <a:pt x="57391" y="21333"/>
                      <a:pt x="58695" y="21333"/>
                    </a:cubicBezTo>
                    <a:cubicBezTo>
                      <a:pt x="60000" y="21333"/>
                      <a:pt x="60000" y="21333"/>
                      <a:pt x="61304" y="24000"/>
                    </a:cubicBezTo>
                    <a:cubicBezTo>
                      <a:pt x="62608" y="24000"/>
                      <a:pt x="62608" y="18666"/>
                      <a:pt x="62608" y="16000"/>
                    </a:cubicBezTo>
                    <a:cubicBezTo>
                      <a:pt x="61304" y="16000"/>
                      <a:pt x="57391" y="10666"/>
                      <a:pt x="56086" y="10666"/>
                    </a:cubicBezTo>
                    <a:cubicBezTo>
                      <a:pt x="58695" y="8000"/>
                      <a:pt x="63913" y="13333"/>
                      <a:pt x="65217" y="16000"/>
                    </a:cubicBezTo>
                    <a:cubicBezTo>
                      <a:pt x="69130" y="18666"/>
                      <a:pt x="69130" y="21333"/>
                      <a:pt x="70434" y="26666"/>
                    </a:cubicBezTo>
                    <a:cubicBezTo>
                      <a:pt x="70434" y="29333"/>
                      <a:pt x="70434" y="42666"/>
                      <a:pt x="73043" y="42666"/>
                    </a:cubicBezTo>
                    <a:cubicBezTo>
                      <a:pt x="74347" y="42666"/>
                      <a:pt x="79565" y="42666"/>
                      <a:pt x="78260" y="37333"/>
                    </a:cubicBezTo>
                    <a:cubicBezTo>
                      <a:pt x="76956" y="26666"/>
                      <a:pt x="74347" y="18666"/>
                      <a:pt x="73043" y="8000"/>
                    </a:cubicBezTo>
                    <a:cubicBezTo>
                      <a:pt x="71739" y="0"/>
                      <a:pt x="75652" y="2666"/>
                      <a:pt x="76956" y="2666"/>
                    </a:cubicBezTo>
                    <a:cubicBezTo>
                      <a:pt x="80869" y="5333"/>
                      <a:pt x="80869" y="0"/>
                      <a:pt x="83478" y="2666"/>
                    </a:cubicBezTo>
                    <a:cubicBezTo>
                      <a:pt x="86086" y="8000"/>
                      <a:pt x="90000" y="10666"/>
                      <a:pt x="90000" y="16000"/>
                    </a:cubicBezTo>
                    <a:cubicBezTo>
                      <a:pt x="91304" y="24000"/>
                      <a:pt x="92608" y="29333"/>
                      <a:pt x="95217" y="34666"/>
                    </a:cubicBezTo>
                    <a:cubicBezTo>
                      <a:pt x="96521" y="42666"/>
                      <a:pt x="97826" y="45333"/>
                      <a:pt x="96521" y="50666"/>
                    </a:cubicBezTo>
                    <a:cubicBezTo>
                      <a:pt x="95217" y="58666"/>
                      <a:pt x="99130" y="66666"/>
                      <a:pt x="101739" y="69333"/>
                    </a:cubicBezTo>
                    <a:cubicBezTo>
                      <a:pt x="103043" y="69333"/>
                      <a:pt x="105652" y="69333"/>
                      <a:pt x="106956" y="69333"/>
                    </a:cubicBezTo>
                    <a:cubicBezTo>
                      <a:pt x="108260" y="72000"/>
                      <a:pt x="109565" y="74666"/>
                      <a:pt x="110869" y="74666"/>
                    </a:cubicBezTo>
                    <a:cubicBezTo>
                      <a:pt x="114782" y="77333"/>
                      <a:pt x="120000" y="77333"/>
                      <a:pt x="120000" y="88000"/>
                    </a:cubicBezTo>
                    <a:cubicBezTo>
                      <a:pt x="120000" y="93333"/>
                      <a:pt x="108260" y="85333"/>
                      <a:pt x="108260" y="85333"/>
                    </a:cubicBezTo>
                    <a:cubicBezTo>
                      <a:pt x="108260" y="88000"/>
                      <a:pt x="108260" y="90666"/>
                      <a:pt x="108260" y="93333"/>
                    </a:cubicBezTo>
                    <a:cubicBezTo>
                      <a:pt x="108260" y="93333"/>
                      <a:pt x="104347" y="93333"/>
                      <a:pt x="104347" y="93333"/>
                    </a:cubicBezTo>
                    <a:cubicBezTo>
                      <a:pt x="105652" y="93333"/>
                      <a:pt x="105652" y="96000"/>
                      <a:pt x="105652" y="96000"/>
                    </a:cubicBezTo>
                    <a:cubicBezTo>
                      <a:pt x="105652" y="98666"/>
                      <a:pt x="105652" y="101333"/>
                      <a:pt x="105652" y="101333"/>
                    </a:cubicBezTo>
                    <a:cubicBezTo>
                      <a:pt x="105652" y="101333"/>
                      <a:pt x="110869" y="96000"/>
                      <a:pt x="110869" y="96000"/>
                    </a:cubicBezTo>
                    <a:cubicBezTo>
                      <a:pt x="113478" y="96000"/>
                      <a:pt x="112173" y="98666"/>
                      <a:pt x="112173" y="101333"/>
                    </a:cubicBezTo>
                    <a:cubicBezTo>
                      <a:pt x="112173" y="101333"/>
                      <a:pt x="114782" y="101333"/>
                      <a:pt x="116086" y="104000"/>
                    </a:cubicBezTo>
                    <a:cubicBezTo>
                      <a:pt x="116086" y="104000"/>
                      <a:pt x="108260" y="109333"/>
                      <a:pt x="108260" y="109333"/>
                    </a:cubicBezTo>
                    <a:cubicBezTo>
                      <a:pt x="105652" y="109333"/>
                      <a:pt x="112173" y="109333"/>
                      <a:pt x="108260" y="109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0" name="Shape 2451">
                <a:extLst>
                  <a:ext uri="{FF2B5EF4-FFF2-40B4-BE49-F238E27FC236}">
                    <a16:creationId xmlns:a16="http://schemas.microsoft.com/office/drawing/2014/main" id="{A1519777-8B93-4D37-8235-A4117D059665}"/>
                  </a:ext>
                </a:extLst>
              </p:cNvPr>
              <p:cNvSpPr/>
              <p:nvPr/>
            </p:nvSpPr>
            <p:spPr>
              <a:xfrm>
                <a:off x="7310238" y="5478082"/>
                <a:ext cx="117821" cy="77609"/>
              </a:xfrm>
              <a:custGeom>
                <a:avLst/>
                <a:gdLst/>
                <a:ahLst/>
                <a:cxnLst/>
                <a:rect l="0" t="0" r="0" b="0"/>
                <a:pathLst>
                  <a:path w="120000" h="120000" extrusionOk="0">
                    <a:moveTo>
                      <a:pt x="77142" y="106666"/>
                    </a:moveTo>
                    <a:cubicBezTo>
                      <a:pt x="59999" y="106666"/>
                      <a:pt x="51428" y="66666"/>
                      <a:pt x="42857" y="66666"/>
                    </a:cubicBezTo>
                    <a:cubicBezTo>
                      <a:pt x="34285" y="53333"/>
                      <a:pt x="0" y="40000"/>
                      <a:pt x="0" y="40000"/>
                    </a:cubicBezTo>
                    <a:cubicBezTo>
                      <a:pt x="8571" y="26666"/>
                      <a:pt x="25714" y="13333"/>
                      <a:pt x="34285" y="0"/>
                    </a:cubicBezTo>
                    <a:cubicBezTo>
                      <a:pt x="51428" y="0"/>
                      <a:pt x="68571" y="0"/>
                      <a:pt x="85714" y="13333"/>
                    </a:cubicBezTo>
                    <a:cubicBezTo>
                      <a:pt x="102857" y="26666"/>
                      <a:pt x="119999" y="26666"/>
                      <a:pt x="102857" y="53333"/>
                    </a:cubicBezTo>
                    <a:cubicBezTo>
                      <a:pt x="94285" y="66666"/>
                      <a:pt x="85714" y="120000"/>
                      <a:pt x="77142" y="106666"/>
                    </a:cubicBezTo>
                    <a:cubicBezTo>
                      <a:pt x="68571" y="106666"/>
                      <a:pt x="77142" y="106666"/>
                      <a:pt x="77142" y="10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1" name="Shape 2452">
                <a:extLst>
                  <a:ext uri="{FF2B5EF4-FFF2-40B4-BE49-F238E27FC236}">
                    <a16:creationId xmlns:a16="http://schemas.microsoft.com/office/drawing/2014/main" id="{1E42957E-68C9-4465-B4F5-A7C0EFCC7489}"/>
                  </a:ext>
                </a:extLst>
              </p:cNvPr>
              <p:cNvSpPr/>
              <p:nvPr/>
            </p:nvSpPr>
            <p:spPr>
              <a:xfrm>
                <a:off x="7497026" y="5443588"/>
                <a:ext cx="267251" cy="247201"/>
              </a:xfrm>
              <a:custGeom>
                <a:avLst/>
                <a:gdLst/>
                <a:ahLst/>
                <a:cxnLst/>
                <a:rect l="0" t="0" r="0" b="0"/>
                <a:pathLst>
                  <a:path w="120000" h="120000" extrusionOk="0">
                    <a:moveTo>
                      <a:pt x="67500" y="111724"/>
                    </a:moveTo>
                    <a:cubicBezTo>
                      <a:pt x="56250" y="103448"/>
                      <a:pt x="48750" y="86896"/>
                      <a:pt x="37500" y="78620"/>
                    </a:cubicBezTo>
                    <a:cubicBezTo>
                      <a:pt x="26250" y="74482"/>
                      <a:pt x="15000" y="66206"/>
                      <a:pt x="3750" y="62068"/>
                    </a:cubicBezTo>
                    <a:cubicBezTo>
                      <a:pt x="0" y="57931"/>
                      <a:pt x="0" y="57931"/>
                      <a:pt x="0" y="53793"/>
                    </a:cubicBezTo>
                    <a:cubicBezTo>
                      <a:pt x="0" y="41379"/>
                      <a:pt x="7500" y="45517"/>
                      <a:pt x="15000" y="49655"/>
                    </a:cubicBezTo>
                    <a:cubicBezTo>
                      <a:pt x="22500" y="53793"/>
                      <a:pt x="30000" y="62068"/>
                      <a:pt x="41250" y="57931"/>
                    </a:cubicBezTo>
                    <a:cubicBezTo>
                      <a:pt x="45000" y="57931"/>
                      <a:pt x="41250" y="49655"/>
                      <a:pt x="41250" y="49655"/>
                    </a:cubicBezTo>
                    <a:cubicBezTo>
                      <a:pt x="41250" y="45517"/>
                      <a:pt x="48750" y="49655"/>
                      <a:pt x="48750" y="45517"/>
                    </a:cubicBezTo>
                    <a:cubicBezTo>
                      <a:pt x="52500" y="41379"/>
                      <a:pt x="26250" y="33103"/>
                      <a:pt x="26250" y="33103"/>
                    </a:cubicBezTo>
                    <a:cubicBezTo>
                      <a:pt x="18750" y="28965"/>
                      <a:pt x="22500" y="24827"/>
                      <a:pt x="26250" y="24827"/>
                    </a:cubicBezTo>
                    <a:cubicBezTo>
                      <a:pt x="33750" y="20689"/>
                      <a:pt x="33750" y="24827"/>
                      <a:pt x="37500" y="28965"/>
                    </a:cubicBezTo>
                    <a:cubicBezTo>
                      <a:pt x="37500" y="28965"/>
                      <a:pt x="41250" y="20689"/>
                      <a:pt x="41250" y="20689"/>
                    </a:cubicBezTo>
                    <a:cubicBezTo>
                      <a:pt x="45000" y="20689"/>
                      <a:pt x="30000" y="16551"/>
                      <a:pt x="30000" y="16551"/>
                    </a:cubicBezTo>
                    <a:cubicBezTo>
                      <a:pt x="30000" y="16551"/>
                      <a:pt x="37500" y="12413"/>
                      <a:pt x="37500" y="12413"/>
                    </a:cubicBezTo>
                    <a:cubicBezTo>
                      <a:pt x="41250" y="12413"/>
                      <a:pt x="48750" y="16551"/>
                      <a:pt x="52500" y="16551"/>
                    </a:cubicBezTo>
                    <a:cubicBezTo>
                      <a:pt x="52500" y="16551"/>
                      <a:pt x="48750" y="12413"/>
                      <a:pt x="48750" y="12413"/>
                    </a:cubicBezTo>
                    <a:cubicBezTo>
                      <a:pt x="52500" y="8275"/>
                      <a:pt x="67500" y="20689"/>
                      <a:pt x="71250" y="20689"/>
                    </a:cubicBezTo>
                    <a:cubicBezTo>
                      <a:pt x="75000" y="16551"/>
                      <a:pt x="67500" y="16551"/>
                      <a:pt x="67500" y="12413"/>
                    </a:cubicBezTo>
                    <a:cubicBezTo>
                      <a:pt x="67500" y="12413"/>
                      <a:pt x="71250" y="12413"/>
                      <a:pt x="71250" y="12413"/>
                    </a:cubicBezTo>
                    <a:cubicBezTo>
                      <a:pt x="71250" y="12413"/>
                      <a:pt x="63750" y="12413"/>
                      <a:pt x="63750" y="8275"/>
                    </a:cubicBezTo>
                    <a:cubicBezTo>
                      <a:pt x="63750" y="8275"/>
                      <a:pt x="90000" y="0"/>
                      <a:pt x="93750" y="4137"/>
                    </a:cubicBezTo>
                    <a:cubicBezTo>
                      <a:pt x="97500" y="4137"/>
                      <a:pt x="86250" y="8275"/>
                      <a:pt x="86250" y="12413"/>
                    </a:cubicBezTo>
                    <a:cubicBezTo>
                      <a:pt x="90000" y="16551"/>
                      <a:pt x="101250" y="12413"/>
                      <a:pt x="105000" y="16551"/>
                    </a:cubicBezTo>
                    <a:cubicBezTo>
                      <a:pt x="105000" y="20689"/>
                      <a:pt x="90000" y="28965"/>
                      <a:pt x="101250" y="28965"/>
                    </a:cubicBezTo>
                    <a:cubicBezTo>
                      <a:pt x="105000" y="28965"/>
                      <a:pt x="101250" y="33103"/>
                      <a:pt x="97500" y="33103"/>
                    </a:cubicBezTo>
                    <a:cubicBezTo>
                      <a:pt x="93750" y="33103"/>
                      <a:pt x="90000" y="33103"/>
                      <a:pt x="86250" y="41379"/>
                    </a:cubicBezTo>
                    <a:cubicBezTo>
                      <a:pt x="86250" y="41379"/>
                      <a:pt x="78750" y="53793"/>
                      <a:pt x="78750" y="53793"/>
                    </a:cubicBezTo>
                    <a:cubicBezTo>
                      <a:pt x="82500" y="53793"/>
                      <a:pt x="86250" y="45517"/>
                      <a:pt x="90000" y="45517"/>
                    </a:cubicBezTo>
                    <a:cubicBezTo>
                      <a:pt x="93750" y="45517"/>
                      <a:pt x="93750" y="49655"/>
                      <a:pt x="97500" y="53793"/>
                    </a:cubicBezTo>
                    <a:cubicBezTo>
                      <a:pt x="101250" y="53793"/>
                      <a:pt x="112500" y="70344"/>
                      <a:pt x="108750" y="53793"/>
                    </a:cubicBezTo>
                    <a:cubicBezTo>
                      <a:pt x="108750" y="49655"/>
                      <a:pt x="101250" y="45517"/>
                      <a:pt x="105000" y="41379"/>
                    </a:cubicBezTo>
                    <a:cubicBezTo>
                      <a:pt x="108750" y="41379"/>
                      <a:pt x="112500" y="41379"/>
                      <a:pt x="112500" y="45517"/>
                    </a:cubicBezTo>
                    <a:cubicBezTo>
                      <a:pt x="112500" y="49655"/>
                      <a:pt x="108750" y="53793"/>
                      <a:pt x="112500" y="57931"/>
                    </a:cubicBezTo>
                    <a:cubicBezTo>
                      <a:pt x="116250" y="62068"/>
                      <a:pt x="120000" y="66206"/>
                      <a:pt x="116250" y="70344"/>
                    </a:cubicBezTo>
                    <a:cubicBezTo>
                      <a:pt x="108750" y="78620"/>
                      <a:pt x="120000" y="91034"/>
                      <a:pt x="105000" y="95172"/>
                    </a:cubicBezTo>
                    <a:cubicBezTo>
                      <a:pt x="105000" y="95172"/>
                      <a:pt x="78750" y="103448"/>
                      <a:pt x="82500" y="95172"/>
                    </a:cubicBezTo>
                    <a:cubicBezTo>
                      <a:pt x="82500" y="91034"/>
                      <a:pt x="78750" y="91034"/>
                      <a:pt x="78750" y="95172"/>
                    </a:cubicBezTo>
                    <a:cubicBezTo>
                      <a:pt x="82500" y="99310"/>
                      <a:pt x="82500" y="103448"/>
                      <a:pt x="86250" y="107586"/>
                    </a:cubicBezTo>
                    <a:cubicBezTo>
                      <a:pt x="86250" y="115862"/>
                      <a:pt x="71250" y="111724"/>
                      <a:pt x="67500" y="111724"/>
                    </a:cubicBezTo>
                    <a:cubicBezTo>
                      <a:pt x="63750" y="107586"/>
                      <a:pt x="82500" y="120000"/>
                      <a:pt x="67500" y="11172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2" name="Shape 2453">
                <a:extLst>
                  <a:ext uri="{FF2B5EF4-FFF2-40B4-BE49-F238E27FC236}">
                    <a16:creationId xmlns:a16="http://schemas.microsoft.com/office/drawing/2014/main" id="{E80C1B2E-368F-4BE9-9ADE-4FEABB851204}"/>
                  </a:ext>
                </a:extLst>
              </p:cNvPr>
              <p:cNvSpPr/>
              <p:nvPr/>
            </p:nvSpPr>
            <p:spPr>
              <a:xfrm>
                <a:off x="7781519" y="5443588"/>
                <a:ext cx="235640" cy="186837"/>
              </a:xfrm>
              <a:custGeom>
                <a:avLst/>
                <a:gdLst/>
                <a:ahLst/>
                <a:cxnLst/>
                <a:rect l="0" t="0" r="0" b="0"/>
                <a:pathLst>
                  <a:path w="120000" h="120000" extrusionOk="0">
                    <a:moveTo>
                      <a:pt x="29999" y="120000"/>
                    </a:moveTo>
                    <a:cubicBezTo>
                      <a:pt x="21428" y="114545"/>
                      <a:pt x="12857" y="114545"/>
                      <a:pt x="12857" y="103636"/>
                    </a:cubicBezTo>
                    <a:cubicBezTo>
                      <a:pt x="12857" y="87272"/>
                      <a:pt x="0" y="76363"/>
                      <a:pt x="4285" y="60000"/>
                    </a:cubicBezTo>
                    <a:cubicBezTo>
                      <a:pt x="4285" y="49090"/>
                      <a:pt x="0" y="32727"/>
                      <a:pt x="4285" y="21818"/>
                    </a:cubicBezTo>
                    <a:cubicBezTo>
                      <a:pt x="8571" y="21818"/>
                      <a:pt x="25714" y="27272"/>
                      <a:pt x="25714" y="21818"/>
                    </a:cubicBezTo>
                    <a:cubicBezTo>
                      <a:pt x="25714" y="16363"/>
                      <a:pt x="0" y="16363"/>
                      <a:pt x="21428" y="5454"/>
                    </a:cubicBezTo>
                    <a:cubicBezTo>
                      <a:pt x="38571" y="0"/>
                      <a:pt x="51428" y="5454"/>
                      <a:pt x="68571" y="10909"/>
                    </a:cubicBezTo>
                    <a:cubicBezTo>
                      <a:pt x="81428" y="10909"/>
                      <a:pt x="94285" y="10909"/>
                      <a:pt x="107142" y="16363"/>
                    </a:cubicBezTo>
                    <a:cubicBezTo>
                      <a:pt x="119999" y="21818"/>
                      <a:pt x="107142" y="32727"/>
                      <a:pt x="98571" y="43636"/>
                    </a:cubicBezTo>
                    <a:cubicBezTo>
                      <a:pt x="94285" y="54545"/>
                      <a:pt x="89999" y="65454"/>
                      <a:pt x="81428" y="70909"/>
                    </a:cubicBezTo>
                    <a:cubicBezTo>
                      <a:pt x="77142" y="81818"/>
                      <a:pt x="59999" y="70909"/>
                      <a:pt x="51428" y="70909"/>
                    </a:cubicBezTo>
                    <a:cubicBezTo>
                      <a:pt x="51428" y="70909"/>
                      <a:pt x="38571" y="70909"/>
                      <a:pt x="42857" y="76363"/>
                    </a:cubicBezTo>
                    <a:cubicBezTo>
                      <a:pt x="42857" y="81818"/>
                      <a:pt x="51428" y="81818"/>
                      <a:pt x="47142" y="92727"/>
                    </a:cubicBezTo>
                    <a:cubicBezTo>
                      <a:pt x="42857" y="92727"/>
                      <a:pt x="34285" y="120000"/>
                      <a:pt x="29999" y="120000"/>
                    </a:cubicBezTo>
                    <a:cubicBezTo>
                      <a:pt x="21428" y="114545"/>
                      <a:pt x="34285" y="120000"/>
                      <a:pt x="29999"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3" name="Shape 2454">
                <a:extLst>
                  <a:ext uri="{FF2B5EF4-FFF2-40B4-BE49-F238E27FC236}">
                    <a16:creationId xmlns:a16="http://schemas.microsoft.com/office/drawing/2014/main" id="{00A98CC4-57E6-40FC-BE8B-7CF7945CCB49}"/>
                  </a:ext>
                </a:extLst>
              </p:cNvPr>
              <p:cNvSpPr/>
              <p:nvPr/>
            </p:nvSpPr>
            <p:spPr>
              <a:xfrm>
                <a:off x="6519975" y="5420593"/>
                <a:ext cx="454041" cy="278819"/>
              </a:xfrm>
              <a:custGeom>
                <a:avLst/>
                <a:gdLst/>
                <a:ahLst/>
                <a:cxnLst/>
                <a:rect l="0" t="0" r="0" b="0"/>
                <a:pathLst>
                  <a:path w="120000" h="120000" extrusionOk="0">
                    <a:moveTo>
                      <a:pt x="115555" y="36363"/>
                    </a:moveTo>
                    <a:cubicBezTo>
                      <a:pt x="111111" y="29090"/>
                      <a:pt x="106666" y="21818"/>
                      <a:pt x="100000" y="14545"/>
                    </a:cubicBezTo>
                    <a:cubicBezTo>
                      <a:pt x="97777" y="14545"/>
                      <a:pt x="93333" y="10909"/>
                      <a:pt x="91111" y="10909"/>
                    </a:cubicBezTo>
                    <a:cubicBezTo>
                      <a:pt x="84444" y="7272"/>
                      <a:pt x="82222" y="10909"/>
                      <a:pt x="77777" y="14545"/>
                    </a:cubicBezTo>
                    <a:cubicBezTo>
                      <a:pt x="75555" y="14545"/>
                      <a:pt x="73333" y="10909"/>
                      <a:pt x="71111" y="10909"/>
                    </a:cubicBezTo>
                    <a:cubicBezTo>
                      <a:pt x="68888" y="7272"/>
                      <a:pt x="64444" y="7272"/>
                      <a:pt x="60000" y="3636"/>
                    </a:cubicBezTo>
                    <a:cubicBezTo>
                      <a:pt x="55555" y="3636"/>
                      <a:pt x="48888" y="0"/>
                      <a:pt x="44444" y="0"/>
                    </a:cubicBezTo>
                    <a:cubicBezTo>
                      <a:pt x="37777" y="0"/>
                      <a:pt x="31111" y="3636"/>
                      <a:pt x="24444" y="3636"/>
                    </a:cubicBezTo>
                    <a:cubicBezTo>
                      <a:pt x="20000" y="7272"/>
                      <a:pt x="13333" y="3636"/>
                      <a:pt x="17777" y="10909"/>
                    </a:cubicBezTo>
                    <a:cubicBezTo>
                      <a:pt x="22222" y="25454"/>
                      <a:pt x="22222" y="29090"/>
                      <a:pt x="15555" y="40000"/>
                    </a:cubicBezTo>
                    <a:cubicBezTo>
                      <a:pt x="11111" y="47272"/>
                      <a:pt x="15555" y="50909"/>
                      <a:pt x="15555" y="54545"/>
                    </a:cubicBezTo>
                    <a:cubicBezTo>
                      <a:pt x="13333" y="58181"/>
                      <a:pt x="8888" y="58181"/>
                      <a:pt x="8888" y="65454"/>
                    </a:cubicBezTo>
                    <a:cubicBezTo>
                      <a:pt x="6666" y="72727"/>
                      <a:pt x="2222" y="80000"/>
                      <a:pt x="0" y="87272"/>
                    </a:cubicBezTo>
                    <a:cubicBezTo>
                      <a:pt x="0" y="90909"/>
                      <a:pt x="13333" y="94545"/>
                      <a:pt x="15555" y="94545"/>
                    </a:cubicBezTo>
                    <a:cubicBezTo>
                      <a:pt x="22222" y="101818"/>
                      <a:pt x="26666" y="116363"/>
                      <a:pt x="33333" y="116363"/>
                    </a:cubicBezTo>
                    <a:cubicBezTo>
                      <a:pt x="35555" y="120000"/>
                      <a:pt x="40000" y="112727"/>
                      <a:pt x="42222" y="109090"/>
                    </a:cubicBezTo>
                    <a:cubicBezTo>
                      <a:pt x="46666" y="105454"/>
                      <a:pt x="51111" y="109090"/>
                      <a:pt x="55555" y="105454"/>
                    </a:cubicBezTo>
                    <a:cubicBezTo>
                      <a:pt x="60000" y="105454"/>
                      <a:pt x="60000" y="101818"/>
                      <a:pt x="62222" y="94545"/>
                    </a:cubicBezTo>
                    <a:cubicBezTo>
                      <a:pt x="62222" y="87272"/>
                      <a:pt x="62222" y="83636"/>
                      <a:pt x="68888" y="76363"/>
                    </a:cubicBezTo>
                    <a:cubicBezTo>
                      <a:pt x="73333" y="72727"/>
                      <a:pt x="75555" y="65454"/>
                      <a:pt x="82222" y="61818"/>
                    </a:cubicBezTo>
                    <a:cubicBezTo>
                      <a:pt x="88888" y="54545"/>
                      <a:pt x="95555" y="50909"/>
                      <a:pt x="102222" y="47272"/>
                    </a:cubicBezTo>
                    <a:cubicBezTo>
                      <a:pt x="102222" y="47272"/>
                      <a:pt x="117777" y="36363"/>
                      <a:pt x="115555" y="36363"/>
                    </a:cubicBezTo>
                    <a:cubicBezTo>
                      <a:pt x="113333" y="32727"/>
                      <a:pt x="120000" y="40000"/>
                      <a:pt x="115555" y="3636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4" name="Shape 2455">
                <a:extLst>
                  <a:ext uri="{FF2B5EF4-FFF2-40B4-BE49-F238E27FC236}">
                    <a16:creationId xmlns:a16="http://schemas.microsoft.com/office/drawing/2014/main" id="{FE6AC21D-14C6-4C48-B6D5-344FE69E28C6}"/>
                  </a:ext>
                </a:extLst>
              </p:cNvPr>
              <p:cNvSpPr/>
              <p:nvPr/>
            </p:nvSpPr>
            <p:spPr>
              <a:xfrm>
                <a:off x="7402194" y="5342984"/>
                <a:ext cx="60346" cy="34493"/>
              </a:xfrm>
              <a:custGeom>
                <a:avLst/>
                <a:gdLst/>
                <a:ahLst/>
                <a:cxnLst/>
                <a:rect l="0" t="0" r="0" b="0"/>
                <a:pathLst>
                  <a:path w="120000" h="120000" extrusionOk="0">
                    <a:moveTo>
                      <a:pt x="68571" y="120000"/>
                    </a:moveTo>
                    <a:cubicBezTo>
                      <a:pt x="51428" y="120000"/>
                      <a:pt x="17142" y="120000"/>
                      <a:pt x="17142" y="90000"/>
                    </a:cubicBezTo>
                    <a:cubicBezTo>
                      <a:pt x="0" y="60000"/>
                      <a:pt x="51428" y="0"/>
                      <a:pt x="51428" y="0"/>
                    </a:cubicBezTo>
                    <a:cubicBezTo>
                      <a:pt x="102857" y="0"/>
                      <a:pt x="119999" y="120000"/>
                      <a:pt x="68571" y="120000"/>
                    </a:cubicBezTo>
                    <a:cubicBezTo>
                      <a:pt x="17142" y="90000"/>
                      <a:pt x="102857" y="120000"/>
                      <a:pt x="68571"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5" name="Shape 2456">
                <a:extLst>
                  <a:ext uri="{FF2B5EF4-FFF2-40B4-BE49-F238E27FC236}">
                    <a16:creationId xmlns:a16="http://schemas.microsoft.com/office/drawing/2014/main" id="{1CD3BA1E-9B7E-41FF-9194-7959A913E901}"/>
                  </a:ext>
                </a:extLst>
              </p:cNvPr>
              <p:cNvSpPr/>
              <p:nvPr/>
            </p:nvSpPr>
            <p:spPr>
              <a:xfrm>
                <a:off x="6882059" y="5190641"/>
                <a:ext cx="505765" cy="238577"/>
              </a:xfrm>
              <a:custGeom>
                <a:avLst/>
                <a:gdLst/>
                <a:ahLst/>
                <a:cxnLst/>
                <a:rect l="0" t="0" r="0" b="0"/>
                <a:pathLst>
                  <a:path w="120000" h="120000" extrusionOk="0">
                    <a:moveTo>
                      <a:pt x="100000" y="94285"/>
                    </a:moveTo>
                    <a:cubicBezTo>
                      <a:pt x="98000" y="94285"/>
                      <a:pt x="98000" y="89999"/>
                      <a:pt x="96000" y="89999"/>
                    </a:cubicBezTo>
                    <a:cubicBezTo>
                      <a:pt x="96000" y="89999"/>
                      <a:pt x="92000" y="94285"/>
                      <a:pt x="92000" y="98571"/>
                    </a:cubicBezTo>
                    <a:cubicBezTo>
                      <a:pt x="90000" y="98571"/>
                      <a:pt x="88000" y="98571"/>
                      <a:pt x="86000" y="94285"/>
                    </a:cubicBezTo>
                    <a:cubicBezTo>
                      <a:pt x="84000" y="94285"/>
                      <a:pt x="82000" y="94285"/>
                      <a:pt x="80000" y="98571"/>
                    </a:cubicBezTo>
                    <a:cubicBezTo>
                      <a:pt x="70000" y="107142"/>
                      <a:pt x="60000" y="111428"/>
                      <a:pt x="48000" y="115714"/>
                    </a:cubicBezTo>
                    <a:cubicBezTo>
                      <a:pt x="46000" y="115714"/>
                      <a:pt x="40000" y="119999"/>
                      <a:pt x="38000" y="119999"/>
                    </a:cubicBezTo>
                    <a:cubicBezTo>
                      <a:pt x="34000" y="115714"/>
                      <a:pt x="26000" y="111428"/>
                      <a:pt x="34000" y="102857"/>
                    </a:cubicBezTo>
                    <a:cubicBezTo>
                      <a:pt x="38000" y="102857"/>
                      <a:pt x="44000" y="94285"/>
                      <a:pt x="48000" y="94285"/>
                    </a:cubicBezTo>
                    <a:cubicBezTo>
                      <a:pt x="52000" y="94285"/>
                      <a:pt x="56000" y="94285"/>
                      <a:pt x="58000" y="94285"/>
                    </a:cubicBezTo>
                    <a:cubicBezTo>
                      <a:pt x="58000" y="94285"/>
                      <a:pt x="64000" y="85714"/>
                      <a:pt x="62000" y="85714"/>
                    </a:cubicBezTo>
                    <a:cubicBezTo>
                      <a:pt x="60000" y="81428"/>
                      <a:pt x="50000" y="85714"/>
                      <a:pt x="48000" y="85714"/>
                    </a:cubicBezTo>
                    <a:cubicBezTo>
                      <a:pt x="44000" y="89999"/>
                      <a:pt x="42000" y="89999"/>
                      <a:pt x="38000" y="89999"/>
                    </a:cubicBezTo>
                    <a:cubicBezTo>
                      <a:pt x="34000" y="89999"/>
                      <a:pt x="38000" y="85714"/>
                      <a:pt x="38000" y="81428"/>
                    </a:cubicBezTo>
                    <a:cubicBezTo>
                      <a:pt x="38000" y="68571"/>
                      <a:pt x="26000" y="89999"/>
                      <a:pt x="24000" y="89999"/>
                    </a:cubicBezTo>
                    <a:cubicBezTo>
                      <a:pt x="24000" y="89999"/>
                      <a:pt x="22000" y="94285"/>
                      <a:pt x="22000" y="94285"/>
                    </a:cubicBezTo>
                    <a:cubicBezTo>
                      <a:pt x="18000" y="85714"/>
                      <a:pt x="18000" y="94285"/>
                      <a:pt x="18000" y="98571"/>
                    </a:cubicBezTo>
                    <a:cubicBezTo>
                      <a:pt x="18000" y="98571"/>
                      <a:pt x="12000" y="89999"/>
                      <a:pt x="10000" y="89999"/>
                    </a:cubicBezTo>
                    <a:cubicBezTo>
                      <a:pt x="8000" y="89999"/>
                      <a:pt x="0" y="94285"/>
                      <a:pt x="0" y="85714"/>
                    </a:cubicBezTo>
                    <a:cubicBezTo>
                      <a:pt x="0" y="77142"/>
                      <a:pt x="4000" y="81428"/>
                      <a:pt x="8000" y="77142"/>
                    </a:cubicBezTo>
                    <a:cubicBezTo>
                      <a:pt x="12000" y="77142"/>
                      <a:pt x="16000" y="77142"/>
                      <a:pt x="18000" y="72857"/>
                    </a:cubicBezTo>
                    <a:cubicBezTo>
                      <a:pt x="18000" y="72857"/>
                      <a:pt x="24000" y="68571"/>
                      <a:pt x="22000" y="68571"/>
                    </a:cubicBezTo>
                    <a:cubicBezTo>
                      <a:pt x="18000" y="64285"/>
                      <a:pt x="12000" y="68571"/>
                      <a:pt x="10000" y="68571"/>
                    </a:cubicBezTo>
                    <a:cubicBezTo>
                      <a:pt x="4000" y="68571"/>
                      <a:pt x="0" y="59999"/>
                      <a:pt x="8000" y="59999"/>
                    </a:cubicBezTo>
                    <a:cubicBezTo>
                      <a:pt x="12000" y="59999"/>
                      <a:pt x="20000" y="55714"/>
                      <a:pt x="24000" y="55714"/>
                    </a:cubicBezTo>
                    <a:cubicBezTo>
                      <a:pt x="22000" y="55714"/>
                      <a:pt x="8000" y="59999"/>
                      <a:pt x="8000" y="51428"/>
                    </a:cubicBezTo>
                    <a:cubicBezTo>
                      <a:pt x="6000" y="42857"/>
                      <a:pt x="24000" y="47142"/>
                      <a:pt x="26000" y="42857"/>
                    </a:cubicBezTo>
                    <a:cubicBezTo>
                      <a:pt x="26000" y="42857"/>
                      <a:pt x="18000" y="38571"/>
                      <a:pt x="18000" y="34285"/>
                    </a:cubicBezTo>
                    <a:cubicBezTo>
                      <a:pt x="16000" y="29999"/>
                      <a:pt x="28000" y="25714"/>
                      <a:pt x="28000" y="25714"/>
                    </a:cubicBezTo>
                    <a:cubicBezTo>
                      <a:pt x="34000" y="25714"/>
                      <a:pt x="30000" y="42857"/>
                      <a:pt x="34000" y="42857"/>
                    </a:cubicBezTo>
                    <a:cubicBezTo>
                      <a:pt x="40000" y="42857"/>
                      <a:pt x="44000" y="42857"/>
                      <a:pt x="50000" y="47142"/>
                    </a:cubicBezTo>
                    <a:cubicBezTo>
                      <a:pt x="52000" y="51428"/>
                      <a:pt x="56000" y="55714"/>
                      <a:pt x="58000" y="59999"/>
                    </a:cubicBezTo>
                    <a:cubicBezTo>
                      <a:pt x="62000" y="68571"/>
                      <a:pt x="60000" y="72857"/>
                      <a:pt x="64000" y="72857"/>
                    </a:cubicBezTo>
                    <a:cubicBezTo>
                      <a:pt x="70000" y="72857"/>
                      <a:pt x="74000" y="72857"/>
                      <a:pt x="78000" y="68571"/>
                    </a:cubicBezTo>
                    <a:cubicBezTo>
                      <a:pt x="86000" y="64285"/>
                      <a:pt x="74000" y="59999"/>
                      <a:pt x="74000" y="55714"/>
                    </a:cubicBezTo>
                    <a:cubicBezTo>
                      <a:pt x="74000" y="55714"/>
                      <a:pt x="90000" y="51428"/>
                      <a:pt x="76000" y="38571"/>
                    </a:cubicBezTo>
                    <a:cubicBezTo>
                      <a:pt x="74000" y="38571"/>
                      <a:pt x="70000" y="38571"/>
                      <a:pt x="72000" y="34285"/>
                    </a:cubicBezTo>
                    <a:cubicBezTo>
                      <a:pt x="74000" y="29999"/>
                      <a:pt x="76000" y="25714"/>
                      <a:pt x="76000" y="21428"/>
                    </a:cubicBezTo>
                    <a:cubicBezTo>
                      <a:pt x="78000" y="17142"/>
                      <a:pt x="86000" y="0"/>
                      <a:pt x="86000" y="12857"/>
                    </a:cubicBezTo>
                    <a:cubicBezTo>
                      <a:pt x="86000" y="17142"/>
                      <a:pt x="88000" y="21428"/>
                      <a:pt x="88000" y="29999"/>
                    </a:cubicBezTo>
                    <a:cubicBezTo>
                      <a:pt x="90000" y="29999"/>
                      <a:pt x="90000" y="34285"/>
                      <a:pt x="90000" y="38571"/>
                    </a:cubicBezTo>
                    <a:cubicBezTo>
                      <a:pt x="92000" y="42857"/>
                      <a:pt x="88000" y="38571"/>
                      <a:pt x="88000" y="42857"/>
                    </a:cubicBezTo>
                    <a:cubicBezTo>
                      <a:pt x="88000" y="51428"/>
                      <a:pt x="94000" y="42857"/>
                      <a:pt x="94000" y="47142"/>
                    </a:cubicBezTo>
                    <a:cubicBezTo>
                      <a:pt x="94000" y="55714"/>
                      <a:pt x="100000" y="59999"/>
                      <a:pt x="102000" y="59999"/>
                    </a:cubicBezTo>
                    <a:cubicBezTo>
                      <a:pt x="106000" y="59999"/>
                      <a:pt x="106000" y="64285"/>
                      <a:pt x="106000" y="55714"/>
                    </a:cubicBezTo>
                    <a:cubicBezTo>
                      <a:pt x="106000" y="47142"/>
                      <a:pt x="110000" y="47142"/>
                      <a:pt x="114000" y="51428"/>
                    </a:cubicBezTo>
                    <a:cubicBezTo>
                      <a:pt x="116000" y="51428"/>
                      <a:pt x="120000" y="59999"/>
                      <a:pt x="118000" y="64285"/>
                    </a:cubicBezTo>
                    <a:cubicBezTo>
                      <a:pt x="118000" y="68571"/>
                      <a:pt x="116000" y="81428"/>
                      <a:pt x="116000" y="85714"/>
                    </a:cubicBezTo>
                    <a:cubicBezTo>
                      <a:pt x="114000" y="89999"/>
                      <a:pt x="102000" y="94285"/>
                      <a:pt x="100000" y="94285"/>
                    </a:cubicBezTo>
                    <a:cubicBezTo>
                      <a:pt x="96000" y="89999"/>
                      <a:pt x="102000" y="94285"/>
                      <a:pt x="100000" y="9428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6" name="Shape 2457">
                <a:extLst>
                  <a:ext uri="{FF2B5EF4-FFF2-40B4-BE49-F238E27FC236}">
                    <a16:creationId xmlns:a16="http://schemas.microsoft.com/office/drawing/2014/main" id="{20B5AD44-3A85-4977-B392-26F8D6B74E0C}"/>
                  </a:ext>
                </a:extLst>
              </p:cNvPr>
              <p:cNvSpPr/>
              <p:nvPr/>
            </p:nvSpPr>
            <p:spPr>
              <a:xfrm>
                <a:off x="6795848" y="5285498"/>
                <a:ext cx="86210" cy="57489"/>
              </a:xfrm>
              <a:custGeom>
                <a:avLst/>
                <a:gdLst/>
                <a:ahLst/>
                <a:cxnLst/>
                <a:rect l="0" t="0" r="0" b="0"/>
                <a:pathLst>
                  <a:path w="120000" h="120000" extrusionOk="0">
                    <a:moveTo>
                      <a:pt x="108000" y="17142"/>
                    </a:moveTo>
                    <a:cubicBezTo>
                      <a:pt x="96000" y="17142"/>
                      <a:pt x="0" y="85714"/>
                      <a:pt x="0" y="85714"/>
                    </a:cubicBezTo>
                    <a:cubicBezTo>
                      <a:pt x="24000" y="102857"/>
                      <a:pt x="60000" y="119999"/>
                      <a:pt x="72000" y="85714"/>
                    </a:cubicBezTo>
                    <a:cubicBezTo>
                      <a:pt x="84000" y="68571"/>
                      <a:pt x="108000" y="0"/>
                      <a:pt x="108000" y="17142"/>
                    </a:cubicBezTo>
                    <a:cubicBezTo>
                      <a:pt x="84000" y="17142"/>
                      <a:pt x="120000" y="0"/>
                      <a:pt x="108000" y="1714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7" name="Shape 2458">
                <a:extLst>
                  <a:ext uri="{FF2B5EF4-FFF2-40B4-BE49-F238E27FC236}">
                    <a16:creationId xmlns:a16="http://schemas.microsoft.com/office/drawing/2014/main" id="{2CC4DF42-1CA7-4AF4-A192-608D9E6CA812}"/>
                  </a:ext>
                </a:extLst>
              </p:cNvPr>
              <p:cNvSpPr/>
              <p:nvPr/>
            </p:nvSpPr>
            <p:spPr>
              <a:xfrm>
                <a:off x="6646417" y="5159023"/>
                <a:ext cx="310358" cy="143723"/>
              </a:xfrm>
              <a:custGeom>
                <a:avLst/>
                <a:gdLst/>
                <a:ahLst/>
                <a:cxnLst/>
                <a:rect l="0" t="0" r="0" b="0"/>
                <a:pathLst>
                  <a:path w="120000" h="120000" extrusionOk="0">
                    <a:moveTo>
                      <a:pt x="97297" y="84705"/>
                    </a:moveTo>
                    <a:cubicBezTo>
                      <a:pt x="94054" y="91764"/>
                      <a:pt x="87567" y="91764"/>
                      <a:pt x="87567" y="91764"/>
                    </a:cubicBezTo>
                    <a:cubicBezTo>
                      <a:pt x="77837" y="91764"/>
                      <a:pt x="81081" y="77647"/>
                      <a:pt x="84324" y="70588"/>
                    </a:cubicBezTo>
                    <a:cubicBezTo>
                      <a:pt x="87567" y="56470"/>
                      <a:pt x="77837" y="49411"/>
                      <a:pt x="74594" y="56470"/>
                    </a:cubicBezTo>
                    <a:cubicBezTo>
                      <a:pt x="74594" y="63529"/>
                      <a:pt x="74594" y="70588"/>
                      <a:pt x="71351" y="70588"/>
                    </a:cubicBezTo>
                    <a:cubicBezTo>
                      <a:pt x="71351" y="70588"/>
                      <a:pt x="68108" y="70588"/>
                      <a:pt x="68108" y="63529"/>
                    </a:cubicBezTo>
                    <a:cubicBezTo>
                      <a:pt x="64864" y="70588"/>
                      <a:pt x="68108" y="84705"/>
                      <a:pt x="64864" y="91764"/>
                    </a:cubicBezTo>
                    <a:cubicBezTo>
                      <a:pt x="61621" y="105882"/>
                      <a:pt x="58378" y="91764"/>
                      <a:pt x="55135" y="98823"/>
                    </a:cubicBezTo>
                    <a:cubicBezTo>
                      <a:pt x="51891" y="98823"/>
                      <a:pt x="55135" y="112941"/>
                      <a:pt x="51891" y="112941"/>
                    </a:cubicBezTo>
                    <a:cubicBezTo>
                      <a:pt x="51891" y="120000"/>
                      <a:pt x="42162" y="120000"/>
                      <a:pt x="38918" y="120000"/>
                    </a:cubicBezTo>
                    <a:cubicBezTo>
                      <a:pt x="35675" y="112941"/>
                      <a:pt x="35675" y="98823"/>
                      <a:pt x="32432" y="105882"/>
                    </a:cubicBezTo>
                    <a:cubicBezTo>
                      <a:pt x="25945" y="112941"/>
                      <a:pt x="22702" y="112941"/>
                      <a:pt x="16216" y="112941"/>
                    </a:cubicBezTo>
                    <a:cubicBezTo>
                      <a:pt x="12972" y="112941"/>
                      <a:pt x="6486" y="120000"/>
                      <a:pt x="3243" y="120000"/>
                    </a:cubicBezTo>
                    <a:cubicBezTo>
                      <a:pt x="0" y="120000"/>
                      <a:pt x="9729" y="98823"/>
                      <a:pt x="6486" y="91764"/>
                    </a:cubicBezTo>
                    <a:cubicBezTo>
                      <a:pt x="6486" y="91764"/>
                      <a:pt x="3243" y="98823"/>
                      <a:pt x="0" y="98823"/>
                    </a:cubicBezTo>
                    <a:cubicBezTo>
                      <a:pt x="0" y="91764"/>
                      <a:pt x="16216" y="84705"/>
                      <a:pt x="19459" y="84705"/>
                    </a:cubicBezTo>
                    <a:cubicBezTo>
                      <a:pt x="25945" y="84705"/>
                      <a:pt x="25945" y="77647"/>
                      <a:pt x="29189" y="70588"/>
                    </a:cubicBezTo>
                    <a:cubicBezTo>
                      <a:pt x="35675" y="56470"/>
                      <a:pt x="38918" y="56470"/>
                      <a:pt x="42162" y="49411"/>
                    </a:cubicBezTo>
                    <a:cubicBezTo>
                      <a:pt x="48648" y="35294"/>
                      <a:pt x="51891" y="21176"/>
                      <a:pt x="58378" y="21176"/>
                    </a:cubicBezTo>
                    <a:cubicBezTo>
                      <a:pt x="64864" y="14117"/>
                      <a:pt x="71351" y="14117"/>
                      <a:pt x="77837" y="21176"/>
                    </a:cubicBezTo>
                    <a:cubicBezTo>
                      <a:pt x="84324" y="21176"/>
                      <a:pt x="94054" y="28235"/>
                      <a:pt x="97297" y="21176"/>
                    </a:cubicBezTo>
                    <a:cubicBezTo>
                      <a:pt x="100540" y="14117"/>
                      <a:pt x="97297" y="0"/>
                      <a:pt x="103783" y="0"/>
                    </a:cubicBezTo>
                    <a:cubicBezTo>
                      <a:pt x="103783" y="0"/>
                      <a:pt x="116756" y="7058"/>
                      <a:pt x="116756" y="14117"/>
                    </a:cubicBezTo>
                    <a:cubicBezTo>
                      <a:pt x="120000" y="14117"/>
                      <a:pt x="110270" y="21176"/>
                      <a:pt x="110270" y="28235"/>
                    </a:cubicBezTo>
                    <a:cubicBezTo>
                      <a:pt x="110270" y="35294"/>
                      <a:pt x="120000" y="42352"/>
                      <a:pt x="110270" y="49411"/>
                    </a:cubicBezTo>
                    <a:cubicBezTo>
                      <a:pt x="107027" y="56470"/>
                      <a:pt x="116756" y="63529"/>
                      <a:pt x="113513" y="63529"/>
                    </a:cubicBezTo>
                    <a:cubicBezTo>
                      <a:pt x="107027" y="70588"/>
                      <a:pt x="103783" y="70588"/>
                      <a:pt x="100540" y="70588"/>
                    </a:cubicBezTo>
                    <a:cubicBezTo>
                      <a:pt x="100540" y="77647"/>
                      <a:pt x="100540" y="77647"/>
                      <a:pt x="97297" y="84705"/>
                    </a:cubicBezTo>
                    <a:cubicBezTo>
                      <a:pt x="94054" y="91764"/>
                      <a:pt x="100540" y="77647"/>
                      <a:pt x="97297" y="8470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8" name="Shape 2459">
                <a:extLst>
                  <a:ext uri="{FF2B5EF4-FFF2-40B4-BE49-F238E27FC236}">
                    <a16:creationId xmlns:a16="http://schemas.microsoft.com/office/drawing/2014/main" id="{FB493870-E856-4EDA-B07D-EE77CC3580CB}"/>
                  </a:ext>
                </a:extLst>
              </p:cNvPr>
              <p:cNvSpPr/>
              <p:nvPr/>
            </p:nvSpPr>
            <p:spPr>
              <a:xfrm>
                <a:off x="6982637" y="5216508"/>
                <a:ext cx="66093" cy="17246"/>
              </a:xfrm>
              <a:custGeom>
                <a:avLst/>
                <a:gdLst/>
                <a:ahLst/>
                <a:cxnLst/>
                <a:rect l="0" t="0" r="0" b="0"/>
                <a:pathLst>
                  <a:path w="120000" h="120000" extrusionOk="0">
                    <a:moveTo>
                      <a:pt x="90000" y="120000"/>
                    </a:moveTo>
                    <a:cubicBezTo>
                      <a:pt x="60000" y="120000"/>
                      <a:pt x="0" y="60000"/>
                      <a:pt x="45000" y="0"/>
                    </a:cubicBezTo>
                    <a:cubicBezTo>
                      <a:pt x="75000" y="0"/>
                      <a:pt x="120000" y="120000"/>
                      <a:pt x="9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09" name="Shape 2460">
                <a:extLst>
                  <a:ext uri="{FF2B5EF4-FFF2-40B4-BE49-F238E27FC236}">
                    <a16:creationId xmlns:a16="http://schemas.microsoft.com/office/drawing/2014/main" id="{0CB5A226-FD58-4F70-8118-F19636D64BA8}"/>
                  </a:ext>
                </a:extLst>
              </p:cNvPr>
              <p:cNvSpPr/>
              <p:nvPr/>
            </p:nvSpPr>
            <p:spPr>
              <a:xfrm>
                <a:off x="7040111" y="5098661"/>
                <a:ext cx="178169" cy="83358"/>
              </a:xfrm>
              <a:custGeom>
                <a:avLst/>
                <a:gdLst/>
                <a:ahLst/>
                <a:cxnLst/>
                <a:rect l="0" t="0" r="0" b="0"/>
                <a:pathLst>
                  <a:path w="120000" h="120000" extrusionOk="0">
                    <a:moveTo>
                      <a:pt x="40000" y="108000"/>
                    </a:moveTo>
                    <a:cubicBezTo>
                      <a:pt x="34285" y="108000"/>
                      <a:pt x="0" y="72000"/>
                      <a:pt x="11428" y="48000"/>
                    </a:cubicBezTo>
                    <a:cubicBezTo>
                      <a:pt x="22857" y="24000"/>
                      <a:pt x="40000" y="24000"/>
                      <a:pt x="51428" y="24000"/>
                    </a:cubicBezTo>
                    <a:cubicBezTo>
                      <a:pt x="68571" y="12000"/>
                      <a:pt x="85714" y="0"/>
                      <a:pt x="97142" y="0"/>
                    </a:cubicBezTo>
                    <a:cubicBezTo>
                      <a:pt x="102857" y="0"/>
                      <a:pt x="120000" y="12000"/>
                      <a:pt x="108571" y="24000"/>
                    </a:cubicBezTo>
                    <a:cubicBezTo>
                      <a:pt x="102857" y="36000"/>
                      <a:pt x="85714" y="24000"/>
                      <a:pt x="80000" y="48000"/>
                    </a:cubicBezTo>
                    <a:cubicBezTo>
                      <a:pt x="80000" y="48000"/>
                      <a:pt x="108571" y="72000"/>
                      <a:pt x="85714" y="84000"/>
                    </a:cubicBezTo>
                    <a:cubicBezTo>
                      <a:pt x="74285" y="96000"/>
                      <a:pt x="57142" y="120000"/>
                      <a:pt x="40000" y="108000"/>
                    </a:cubicBezTo>
                    <a:cubicBezTo>
                      <a:pt x="28571" y="108000"/>
                      <a:pt x="51428" y="120000"/>
                      <a:pt x="40000" y="10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0" name="Shape 2461">
                <a:extLst>
                  <a:ext uri="{FF2B5EF4-FFF2-40B4-BE49-F238E27FC236}">
                    <a16:creationId xmlns:a16="http://schemas.microsoft.com/office/drawing/2014/main" id="{8B663314-71AE-4276-880A-A524B46058CB}"/>
                  </a:ext>
                </a:extLst>
              </p:cNvPr>
              <p:cNvSpPr/>
              <p:nvPr/>
            </p:nvSpPr>
            <p:spPr>
              <a:xfrm>
                <a:off x="6965394" y="5115906"/>
                <a:ext cx="66093" cy="34493"/>
              </a:xfrm>
              <a:custGeom>
                <a:avLst/>
                <a:gdLst/>
                <a:ahLst/>
                <a:cxnLst/>
                <a:rect l="0" t="0" r="0" b="0"/>
                <a:pathLst>
                  <a:path w="120000" h="120000" extrusionOk="0">
                    <a:moveTo>
                      <a:pt x="90000" y="120000"/>
                    </a:moveTo>
                    <a:cubicBezTo>
                      <a:pt x="60000" y="120000"/>
                      <a:pt x="0" y="0"/>
                      <a:pt x="45000" y="0"/>
                    </a:cubicBezTo>
                    <a:cubicBezTo>
                      <a:pt x="90000" y="0"/>
                      <a:pt x="120000" y="90000"/>
                      <a:pt x="9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1" name="Shape 2462">
                <a:extLst>
                  <a:ext uri="{FF2B5EF4-FFF2-40B4-BE49-F238E27FC236}">
                    <a16:creationId xmlns:a16="http://schemas.microsoft.com/office/drawing/2014/main" id="{B7CF101D-7D2F-4F87-8359-49424EA3141C}"/>
                  </a:ext>
                </a:extLst>
              </p:cNvPr>
              <p:cNvSpPr/>
              <p:nvPr/>
            </p:nvSpPr>
            <p:spPr>
              <a:xfrm>
                <a:off x="7057354" y="5038295"/>
                <a:ext cx="178169" cy="60363"/>
              </a:xfrm>
              <a:custGeom>
                <a:avLst/>
                <a:gdLst/>
                <a:ahLst/>
                <a:cxnLst/>
                <a:rect l="0" t="0" r="0" b="0"/>
                <a:pathLst>
                  <a:path w="120000" h="120000" extrusionOk="0">
                    <a:moveTo>
                      <a:pt x="5714" y="85714"/>
                    </a:moveTo>
                    <a:cubicBezTo>
                      <a:pt x="0" y="85714"/>
                      <a:pt x="17142" y="68571"/>
                      <a:pt x="22857" y="68571"/>
                    </a:cubicBezTo>
                    <a:cubicBezTo>
                      <a:pt x="34285" y="51428"/>
                      <a:pt x="40000" y="34285"/>
                      <a:pt x="51428" y="17142"/>
                    </a:cubicBezTo>
                    <a:cubicBezTo>
                      <a:pt x="68571" y="0"/>
                      <a:pt x="85714" y="17142"/>
                      <a:pt x="102857" y="51428"/>
                    </a:cubicBezTo>
                    <a:cubicBezTo>
                      <a:pt x="120000" y="102857"/>
                      <a:pt x="68571" y="102857"/>
                      <a:pt x="62857" y="102857"/>
                    </a:cubicBezTo>
                    <a:cubicBezTo>
                      <a:pt x="51428" y="102857"/>
                      <a:pt x="45714" y="119999"/>
                      <a:pt x="34285" y="102857"/>
                    </a:cubicBezTo>
                    <a:cubicBezTo>
                      <a:pt x="22857" y="85714"/>
                      <a:pt x="11428" y="102857"/>
                      <a:pt x="5714" y="85714"/>
                    </a:cubicBezTo>
                    <a:cubicBezTo>
                      <a:pt x="0" y="68571"/>
                      <a:pt x="11428" y="102857"/>
                      <a:pt x="5714" y="8571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2" name="Shape 2463">
                <a:extLst>
                  <a:ext uri="{FF2B5EF4-FFF2-40B4-BE49-F238E27FC236}">
                    <a16:creationId xmlns:a16="http://schemas.microsoft.com/office/drawing/2014/main" id="{C3592974-0BE3-4816-AC34-A4BFC9E8C80A}"/>
                  </a:ext>
                </a:extLst>
              </p:cNvPr>
              <p:cNvSpPr/>
              <p:nvPr/>
            </p:nvSpPr>
            <p:spPr>
              <a:xfrm>
                <a:off x="7488404" y="5216508"/>
                <a:ext cx="235640" cy="160969"/>
              </a:xfrm>
              <a:custGeom>
                <a:avLst/>
                <a:gdLst/>
                <a:ahLst/>
                <a:cxnLst/>
                <a:rect l="0" t="0" r="0" b="0"/>
                <a:pathLst>
                  <a:path w="120000" h="120000" extrusionOk="0">
                    <a:moveTo>
                      <a:pt x="94285" y="120000"/>
                    </a:moveTo>
                    <a:cubicBezTo>
                      <a:pt x="85714" y="120000"/>
                      <a:pt x="72857" y="120000"/>
                      <a:pt x="64285" y="120000"/>
                    </a:cubicBezTo>
                    <a:cubicBezTo>
                      <a:pt x="51428" y="120000"/>
                      <a:pt x="64285" y="113684"/>
                      <a:pt x="64285" y="107368"/>
                    </a:cubicBezTo>
                    <a:cubicBezTo>
                      <a:pt x="68571" y="101052"/>
                      <a:pt x="47142" y="101052"/>
                      <a:pt x="51428" y="94736"/>
                    </a:cubicBezTo>
                    <a:cubicBezTo>
                      <a:pt x="55714" y="88421"/>
                      <a:pt x="64285" y="82105"/>
                      <a:pt x="72857" y="82105"/>
                    </a:cubicBezTo>
                    <a:cubicBezTo>
                      <a:pt x="77142" y="75789"/>
                      <a:pt x="72857" y="75789"/>
                      <a:pt x="68571" y="75789"/>
                    </a:cubicBezTo>
                    <a:cubicBezTo>
                      <a:pt x="59999" y="69473"/>
                      <a:pt x="51428" y="75789"/>
                      <a:pt x="38571" y="82105"/>
                    </a:cubicBezTo>
                    <a:cubicBezTo>
                      <a:pt x="29999" y="82105"/>
                      <a:pt x="21428" y="82105"/>
                      <a:pt x="8571" y="82105"/>
                    </a:cubicBezTo>
                    <a:cubicBezTo>
                      <a:pt x="8571" y="88421"/>
                      <a:pt x="0" y="88421"/>
                      <a:pt x="4285" y="75789"/>
                    </a:cubicBezTo>
                    <a:cubicBezTo>
                      <a:pt x="12857" y="63157"/>
                      <a:pt x="21428" y="69473"/>
                      <a:pt x="29999" y="63157"/>
                    </a:cubicBezTo>
                    <a:cubicBezTo>
                      <a:pt x="47142" y="56842"/>
                      <a:pt x="17142" y="56842"/>
                      <a:pt x="17142" y="50526"/>
                    </a:cubicBezTo>
                    <a:cubicBezTo>
                      <a:pt x="12857" y="50526"/>
                      <a:pt x="29999" y="37894"/>
                      <a:pt x="29999" y="37894"/>
                    </a:cubicBezTo>
                    <a:cubicBezTo>
                      <a:pt x="29999" y="37894"/>
                      <a:pt x="17142" y="37894"/>
                      <a:pt x="12857" y="37894"/>
                    </a:cubicBezTo>
                    <a:cubicBezTo>
                      <a:pt x="12857" y="31578"/>
                      <a:pt x="25714" y="25263"/>
                      <a:pt x="29999" y="25263"/>
                    </a:cubicBezTo>
                    <a:cubicBezTo>
                      <a:pt x="38571" y="25263"/>
                      <a:pt x="47142" y="44210"/>
                      <a:pt x="55714" y="50526"/>
                    </a:cubicBezTo>
                    <a:cubicBezTo>
                      <a:pt x="59999" y="50526"/>
                      <a:pt x="64285" y="63157"/>
                      <a:pt x="68571" y="56842"/>
                    </a:cubicBezTo>
                    <a:cubicBezTo>
                      <a:pt x="81428" y="44210"/>
                      <a:pt x="55714" y="44210"/>
                      <a:pt x="55714" y="44210"/>
                    </a:cubicBezTo>
                    <a:cubicBezTo>
                      <a:pt x="59999" y="44210"/>
                      <a:pt x="77142" y="37894"/>
                      <a:pt x="59999" y="31578"/>
                    </a:cubicBezTo>
                    <a:cubicBezTo>
                      <a:pt x="55714" y="31578"/>
                      <a:pt x="51428" y="31578"/>
                      <a:pt x="47142" y="25263"/>
                    </a:cubicBezTo>
                    <a:cubicBezTo>
                      <a:pt x="38571" y="18947"/>
                      <a:pt x="47142" y="18947"/>
                      <a:pt x="47142" y="12631"/>
                    </a:cubicBezTo>
                    <a:cubicBezTo>
                      <a:pt x="42857" y="12631"/>
                      <a:pt x="29999" y="18947"/>
                      <a:pt x="29999" y="18947"/>
                    </a:cubicBezTo>
                    <a:cubicBezTo>
                      <a:pt x="25714" y="12631"/>
                      <a:pt x="55714" y="6315"/>
                      <a:pt x="55714" y="6315"/>
                    </a:cubicBezTo>
                    <a:cubicBezTo>
                      <a:pt x="55714" y="6315"/>
                      <a:pt x="51428" y="12631"/>
                      <a:pt x="51428" y="12631"/>
                    </a:cubicBezTo>
                    <a:cubicBezTo>
                      <a:pt x="47142" y="18947"/>
                      <a:pt x="59999" y="18947"/>
                      <a:pt x="64285" y="18947"/>
                    </a:cubicBezTo>
                    <a:cubicBezTo>
                      <a:pt x="77142" y="25263"/>
                      <a:pt x="81428" y="25263"/>
                      <a:pt x="89999" y="12631"/>
                    </a:cubicBezTo>
                    <a:cubicBezTo>
                      <a:pt x="102857" y="0"/>
                      <a:pt x="115714" y="37894"/>
                      <a:pt x="111428" y="50526"/>
                    </a:cubicBezTo>
                    <a:cubicBezTo>
                      <a:pt x="111428" y="63157"/>
                      <a:pt x="111428" y="69473"/>
                      <a:pt x="115714" y="75789"/>
                    </a:cubicBezTo>
                    <a:cubicBezTo>
                      <a:pt x="119999" y="88421"/>
                      <a:pt x="119999" y="94736"/>
                      <a:pt x="111428" y="88421"/>
                    </a:cubicBezTo>
                    <a:cubicBezTo>
                      <a:pt x="102857" y="75789"/>
                      <a:pt x="107142" y="101052"/>
                      <a:pt x="111428" y="107368"/>
                    </a:cubicBezTo>
                    <a:cubicBezTo>
                      <a:pt x="115714" y="113684"/>
                      <a:pt x="98571" y="120000"/>
                      <a:pt x="94285"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3" name="Shape 2464">
                <a:extLst>
                  <a:ext uri="{FF2B5EF4-FFF2-40B4-BE49-F238E27FC236}">
                    <a16:creationId xmlns:a16="http://schemas.microsoft.com/office/drawing/2014/main" id="{EF590D58-D4E2-40BC-ABB2-6B6C5BF98850}"/>
                  </a:ext>
                </a:extLst>
              </p:cNvPr>
              <p:cNvSpPr/>
              <p:nvPr/>
            </p:nvSpPr>
            <p:spPr>
              <a:xfrm>
                <a:off x="7462542" y="5294120"/>
                <a:ext cx="74715" cy="22995"/>
              </a:xfrm>
              <a:custGeom>
                <a:avLst/>
                <a:gdLst/>
                <a:ahLst/>
                <a:cxnLst/>
                <a:rect l="0" t="0" r="0" b="0"/>
                <a:pathLst>
                  <a:path w="120000" h="120000" extrusionOk="0">
                    <a:moveTo>
                      <a:pt x="13333" y="120000"/>
                    </a:moveTo>
                    <a:cubicBezTo>
                      <a:pt x="53333" y="80000"/>
                      <a:pt x="120000" y="0"/>
                      <a:pt x="93333" y="0"/>
                    </a:cubicBezTo>
                    <a:cubicBezTo>
                      <a:pt x="53333" y="0"/>
                      <a:pt x="0" y="120000"/>
                      <a:pt x="13333"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4" name="Shape 2465">
                <a:extLst>
                  <a:ext uri="{FF2B5EF4-FFF2-40B4-BE49-F238E27FC236}">
                    <a16:creationId xmlns:a16="http://schemas.microsoft.com/office/drawing/2014/main" id="{2AEC15F1-974D-4258-A228-1A68BE587CC9}"/>
                  </a:ext>
                </a:extLst>
              </p:cNvPr>
              <p:cNvSpPr/>
              <p:nvPr/>
            </p:nvSpPr>
            <p:spPr>
              <a:xfrm>
                <a:off x="7445300" y="5285498"/>
                <a:ext cx="68966" cy="17246"/>
              </a:xfrm>
              <a:custGeom>
                <a:avLst/>
                <a:gdLst/>
                <a:ahLst/>
                <a:cxnLst/>
                <a:rect l="0" t="0" r="0" b="0"/>
                <a:pathLst>
                  <a:path w="120000" h="120000" extrusionOk="0">
                    <a:moveTo>
                      <a:pt x="15000" y="120000"/>
                    </a:moveTo>
                    <a:cubicBezTo>
                      <a:pt x="0" y="120000"/>
                      <a:pt x="60000" y="0"/>
                      <a:pt x="90000" y="0"/>
                    </a:cubicBezTo>
                    <a:cubicBezTo>
                      <a:pt x="120000" y="0"/>
                      <a:pt x="60000" y="120000"/>
                      <a:pt x="15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5" name="Shape 2466">
                <a:extLst>
                  <a:ext uri="{FF2B5EF4-FFF2-40B4-BE49-F238E27FC236}">
                    <a16:creationId xmlns:a16="http://schemas.microsoft.com/office/drawing/2014/main" id="{25AEDF13-13BF-4327-A2CB-DAFC11C16C4C}"/>
                  </a:ext>
                </a:extLst>
              </p:cNvPr>
              <p:cNvSpPr/>
              <p:nvPr/>
            </p:nvSpPr>
            <p:spPr>
              <a:xfrm>
                <a:off x="7410814" y="5259625"/>
                <a:ext cx="86210" cy="43118"/>
              </a:xfrm>
              <a:custGeom>
                <a:avLst/>
                <a:gdLst/>
                <a:ahLst/>
                <a:cxnLst/>
                <a:rect l="0" t="0" r="0" b="0"/>
                <a:pathLst>
                  <a:path w="120000" h="120000" extrusionOk="0">
                    <a:moveTo>
                      <a:pt x="24000" y="72000"/>
                    </a:moveTo>
                    <a:cubicBezTo>
                      <a:pt x="0" y="48000"/>
                      <a:pt x="120000" y="0"/>
                      <a:pt x="120000" y="24000"/>
                    </a:cubicBezTo>
                    <a:cubicBezTo>
                      <a:pt x="120000" y="48000"/>
                      <a:pt x="72000" y="120000"/>
                      <a:pt x="24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6" name="Shape 2467">
                <a:extLst>
                  <a:ext uri="{FF2B5EF4-FFF2-40B4-BE49-F238E27FC236}">
                    <a16:creationId xmlns:a16="http://schemas.microsoft.com/office/drawing/2014/main" id="{0F11F148-DAAF-462E-82E6-C80B78D6D360}"/>
                  </a:ext>
                </a:extLst>
              </p:cNvPr>
              <p:cNvSpPr/>
              <p:nvPr/>
            </p:nvSpPr>
            <p:spPr>
              <a:xfrm>
                <a:off x="7419437" y="5225135"/>
                <a:ext cx="60346" cy="43118"/>
              </a:xfrm>
              <a:custGeom>
                <a:avLst/>
                <a:gdLst/>
                <a:ahLst/>
                <a:cxnLst/>
                <a:rect l="0" t="0" r="0" b="0"/>
                <a:pathLst>
                  <a:path w="120000" h="120000" extrusionOk="0">
                    <a:moveTo>
                      <a:pt x="17142" y="120000"/>
                    </a:moveTo>
                    <a:cubicBezTo>
                      <a:pt x="0" y="96000"/>
                      <a:pt x="0" y="48000"/>
                      <a:pt x="0" y="24000"/>
                    </a:cubicBezTo>
                    <a:cubicBezTo>
                      <a:pt x="17142" y="0"/>
                      <a:pt x="51428" y="24000"/>
                      <a:pt x="68571" y="48000"/>
                    </a:cubicBezTo>
                    <a:cubicBezTo>
                      <a:pt x="68571" y="48000"/>
                      <a:pt x="119999" y="72000"/>
                      <a:pt x="119999" y="96000"/>
                    </a:cubicBezTo>
                    <a:cubicBezTo>
                      <a:pt x="119999" y="96000"/>
                      <a:pt x="34285" y="120000"/>
                      <a:pt x="17142" y="120000"/>
                    </a:cubicBezTo>
                    <a:cubicBezTo>
                      <a:pt x="0" y="96000"/>
                      <a:pt x="68571" y="120000"/>
                      <a:pt x="17142"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7" name="Shape 2468">
                <a:extLst>
                  <a:ext uri="{FF2B5EF4-FFF2-40B4-BE49-F238E27FC236}">
                    <a16:creationId xmlns:a16="http://schemas.microsoft.com/office/drawing/2014/main" id="{DCBE958A-4ACE-4E20-93D0-8CEB8EB38FDF}"/>
                  </a:ext>
                </a:extLst>
              </p:cNvPr>
              <p:cNvSpPr/>
              <p:nvPr/>
            </p:nvSpPr>
            <p:spPr>
              <a:xfrm>
                <a:off x="7336101" y="5124527"/>
                <a:ext cx="100578" cy="74737"/>
              </a:xfrm>
              <a:custGeom>
                <a:avLst/>
                <a:gdLst/>
                <a:ahLst/>
                <a:cxnLst/>
                <a:rect l="0" t="0" r="0" b="0"/>
                <a:pathLst>
                  <a:path w="120000" h="120000" extrusionOk="0">
                    <a:moveTo>
                      <a:pt x="80000" y="106666"/>
                    </a:moveTo>
                    <a:cubicBezTo>
                      <a:pt x="60000" y="120000"/>
                      <a:pt x="0" y="0"/>
                      <a:pt x="30000" y="13333"/>
                    </a:cubicBezTo>
                    <a:cubicBezTo>
                      <a:pt x="60000" y="40000"/>
                      <a:pt x="120000" y="106666"/>
                      <a:pt x="80000" y="10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8" name="Shape 2469">
                <a:extLst>
                  <a:ext uri="{FF2B5EF4-FFF2-40B4-BE49-F238E27FC236}">
                    <a16:creationId xmlns:a16="http://schemas.microsoft.com/office/drawing/2014/main" id="{17F787C6-A3D4-49C6-9D7C-CB1D4B4CCDF6}"/>
                  </a:ext>
                </a:extLst>
              </p:cNvPr>
              <p:cNvSpPr/>
              <p:nvPr/>
            </p:nvSpPr>
            <p:spPr>
              <a:xfrm>
                <a:off x="7497026" y="5115906"/>
                <a:ext cx="74715" cy="25869"/>
              </a:xfrm>
              <a:custGeom>
                <a:avLst/>
                <a:gdLst/>
                <a:ahLst/>
                <a:cxnLst/>
                <a:rect l="0" t="0" r="0" b="0"/>
                <a:pathLst>
                  <a:path w="120000" h="120000" extrusionOk="0">
                    <a:moveTo>
                      <a:pt x="26666" y="40000"/>
                    </a:moveTo>
                    <a:cubicBezTo>
                      <a:pt x="66666" y="0"/>
                      <a:pt x="120000" y="80000"/>
                      <a:pt x="106666" y="80000"/>
                    </a:cubicBezTo>
                    <a:cubicBezTo>
                      <a:pt x="40000" y="120000"/>
                      <a:pt x="0" y="80000"/>
                      <a:pt x="26666"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19" name="Shape 2470">
                <a:extLst>
                  <a:ext uri="{FF2B5EF4-FFF2-40B4-BE49-F238E27FC236}">
                    <a16:creationId xmlns:a16="http://schemas.microsoft.com/office/drawing/2014/main" id="{8DBEC271-EAAE-46A8-97FA-4412AF207FDB}"/>
                  </a:ext>
                </a:extLst>
              </p:cNvPr>
              <p:cNvSpPr/>
              <p:nvPr/>
            </p:nvSpPr>
            <p:spPr>
              <a:xfrm>
                <a:off x="7353341" y="4980807"/>
                <a:ext cx="301735" cy="160969"/>
              </a:xfrm>
              <a:custGeom>
                <a:avLst/>
                <a:gdLst/>
                <a:ahLst/>
                <a:cxnLst/>
                <a:rect l="0" t="0" r="0" b="0"/>
                <a:pathLst>
                  <a:path w="120000" h="120000" extrusionOk="0">
                    <a:moveTo>
                      <a:pt x="93333" y="107368"/>
                    </a:moveTo>
                    <a:cubicBezTo>
                      <a:pt x="90000" y="107368"/>
                      <a:pt x="90000" y="101052"/>
                      <a:pt x="90000" y="94736"/>
                    </a:cubicBezTo>
                    <a:cubicBezTo>
                      <a:pt x="86666" y="88421"/>
                      <a:pt x="76666" y="82105"/>
                      <a:pt x="73333" y="82105"/>
                    </a:cubicBezTo>
                    <a:cubicBezTo>
                      <a:pt x="70000" y="82105"/>
                      <a:pt x="46666" y="94736"/>
                      <a:pt x="46666" y="88421"/>
                    </a:cubicBezTo>
                    <a:cubicBezTo>
                      <a:pt x="46666" y="88421"/>
                      <a:pt x="60000" y="75789"/>
                      <a:pt x="60000" y="75789"/>
                    </a:cubicBezTo>
                    <a:cubicBezTo>
                      <a:pt x="50000" y="69473"/>
                      <a:pt x="36666" y="88421"/>
                      <a:pt x="26666" y="75789"/>
                    </a:cubicBezTo>
                    <a:cubicBezTo>
                      <a:pt x="6666" y="56842"/>
                      <a:pt x="43333" y="63157"/>
                      <a:pt x="43333" y="63157"/>
                    </a:cubicBezTo>
                    <a:cubicBezTo>
                      <a:pt x="43333" y="63157"/>
                      <a:pt x="40000" y="56842"/>
                      <a:pt x="40000" y="56842"/>
                    </a:cubicBezTo>
                    <a:cubicBezTo>
                      <a:pt x="40000" y="56842"/>
                      <a:pt x="43333" y="50526"/>
                      <a:pt x="43333" y="50526"/>
                    </a:cubicBezTo>
                    <a:cubicBezTo>
                      <a:pt x="46666" y="44210"/>
                      <a:pt x="36666" y="50526"/>
                      <a:pt x="36666" y="50526"/>
                    </a:cubicBezTo>
                    <a:cubicBezTo>
                      <a:pt x="33333" y="44210"/>
                      <a:pt x="40000" y="37894"/>
                      <a:pt x="33333" y="37894"/>
                    </a:cubicBezTo>
                    <a:cubicBezTo>
                      <a:pt x="30000" y="37894"/>
                      <a:pt x="23333" y="44210"/>
                      <a:pt x="20000" y="37894"/>
                    </a:cubicBezTo>
                    <a:cubicBezTo>
                      <a:pt x="20000" y="31578"/>
                      <a:pt x="13333" y="37894"/>
                      <a:pt x="10000" y="31578"/>
                    </a:cubicBezTo>
                    <a:cubicBezTo>
                      <a:pt x="0" y="0"/>
                      <a:pt x="23333" y="12631"/>
                      <a:pt x="30000" y="12631"/>
                    </a:cubicBezTo>
                    <a:cubicBezTo>
                      <a:pt x="36666" y="6315"/>
                      <a:pt x="46666" y="0"/>
                      <a:pt x="53333" y="6315"/>
                    </a:cubicBezTo>
                    <a:cubicBezTo>
                      <a:pt x="63333" y="12631"/>
                      <a:pt x="46666" y="44210"/>
                      <a:pt x="60000" y="31578"/>
                    </a:cubicBezTo>
                    <a:cubicBezTo>
                      <a:pt x="63333" y="31578"/>
                      <a:pt x="70000" y="18947"/>
                      <a:pt x="73333" y="25263"/>
                    </a:cubicBezTo>
                    <a:cubicBezTo>
                      <a:pt x="76666" y="31578"/>
                      <a:pt x="80000" y="44210"/>
                      <a:pt x="83333" y="44210"/>
                    </a:cubicBezTo>
                    <a:cubicBezTo>
                      <a:pt x="86666" y="44210"/>
                      <a:pt x="96666" y="37894"/>
                      <a:pt x="100000" y="44210"/>
                    </a:cubicBezTo>
                    <a:cubicBezTo>
                      <a:pt x="106666" y="50526"/>
                      <a:pt x="106666" y="69473"/>
                      <a:pt x="110000" y="75789"/>
                    </a:cubicBezTo>
                    <a:cubicBezTo>
                      <a:pt x="113333" y="88421"/>
                      <a:pt x="120000" y="94736"/>
                      <a:pt x="113333" y="101052"/>
                    </a:cubicBezTo>
                    <a:cubicBezTo>
                      <a:pt x="110000" y="113684"/>
                      <a:pt x="100000" y="113684"/>
                      <a:pt x="93333" y="107368"/>
                    </a:cubicBezTo>
                    <a:cubicBezTo>
                      <a:pt x="90000" y="101052"/>
                      <a:pt x="103333" y="120000"/>
                      <a:pt x="93333" y="10736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0" name="Shape 2471">
                <a:extLst>
                  <a:ext uri="{FF2B5EF4-FFF2-40B4-BE49-F238E27FC236}">
                    <a16:creationId xmlns:a16="http://schemas.microsoft.com/office/drawing/2014/main" id="{1F11DB1F-1955-48B9-868C-CEFE07497797}"/>
                  </a:ext>
                </a:extLst>
              </p:cNvPr>
              <p:cNvSpPr/>
              <p:nvPr/>
            </p:nvSpPr>
            <p:spPr>
              <a:xfrm>
                <a:off x="7588983" y="4903197"/>
                <a:ext cx="91956" cy="43118"/>
              </a:xfrm>
              <a:custGeom>
                <a:avLst/>
                <a:gdLst/>
                <a:ahLst/>
                <a:cxnLst/>
                <a:rect l="0" t="0" r="0" b="0"/>
                <a:pathLst>
                  <a:path w="120000" h="120000" extrusionOk="0">
                    <a:moveTo>
                      <a:pt x="87272" y="120000"/>
                    </a:moveTo>
                    <a:cubicBezTo>
                      <a:pt x="65454" y="120000"/>
                      <a:pt x="65454" y="96000"/>
                      <a:pt x="43636" y="96000"/>
                    </a:cubicBezTo>
                    <a:cubicBezTo>
                      <a:pt x="43636" y="96000"/>
                      <a:pt x="0" y="96000"/>
                      <a:pt x="21818" y="72000"/>
                    </a:cubicBezTo>
                    <a:cubicBezTo>
                      <a:pt x="32727" y="24000"/>
                      <a:pt x="65454" y="0"/>
                      <a:pt x="76363" y="48000"/>
                    </a:cubicBezTo>
                    <a:cubicBezTo>
                      <a:pt x="98181" y="72000"/>
                      <a:pt x="120000" y="120000"/>
                      <a:pt x="87272"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1" name="Shape 2472">
                <a:extLst>
                  <a:ext uri="{FF2B5EF4-FFF2-40B4-BE49-F238E27FC236}">
                    <a16:creationId xmlns:a16="http://schemas.microsoft.com/office/drawing/2014/main" id="{39224CB5-A2A8-4D96-B650-AFB926968826}"/>
                  </a:ext>
                </a:extLst>
              </p:cNvPr>
              <p:cNvSpPr/>
              <p:nvPr/>
            </p:nvSpPr>
            <p:spPr>
              <a:xfrm>
                <a:off x="7663699" y="5038295"/>
                <a:ext cx="169545" cy="94856"/>
              </a:xfrm>
              <a:custGeom>
                <a:avLst/>
                <a:gdLst/>
                <a:ahLst/>
                <a:cxnLst/>
                <a:rect l="0" t="0" r="0" b="0"/>
                <a:pathLst>
                  <a:path w="120000" h="120000" extrusionOk="0">
                    <a:moveTo>
                      <a:pt x="48000" y="76363"/>
                    </a:moveTo>
                    <a:cubicBezTo>
                      <a:pt x="36000" y="76363"/>
                      <a:pt x="24000" y="65454"/>
                      <a:pt x="18000" y="54545"/>
                    </a:cubicBezTo>
                    <a:cubicBezTo>
                      <a:pt x="0" y="43636"/>
                      <a:pt x="24000" y="32727"/>
                      <a:pt x="24000" y="32727"/>
                    </a:cubicBezTo>
                    <a:cubicBezTo>
                      <a:pt x="24000" y="21818"/>
                      <a:pt x="12000" y="10909"/>
                      <a:pt x="6000" y="10909"/>
                    </a:cubicBezTo>
                    <a:cubicBezTo>
                      <a:pt x="6000" y="0"/>
                      <a:pt x="36000" y="10909"/>
                      <a:pt x="36000" y="10909"/>
                    </a:cubicBezTo>
                    <a:cubicBezTo>
                      <a:pt x="48000" y="10909"/>
                      <a:pt x="60000" y="21818"/>
                      <a:pt x="72000" y="32727"/>
                    </a:cubicBezTo>
                    <a:cubicBezTo>
                      <a:pt x="84000" y="32727"/>
                      <a:pt x="90000" y="32727"/>
                      <a:pt x="96000" y="32727"/>
                    </a:cubicBezTo>
                    <a:cubicBezTo>
                      <a:pt x="102000" y="32727"/>
                      <a:pt x="120000" y="43636"/>
                      <a:pt x="114000" y="43636"/>
                    </a:cubicBezTo>
                    <a:cubicBezTo>
                      <a:pt x="102000" y="65454"/>
                      <a:pt x="96000" y="54545"/>
                      <a:pt x="108000" y="87272"/>
                    </a:cubicBezTo>
                    <a:cubicBezTo>
                      <a:pt x="114000" y="98181"/>
                      <a:pt x="96000" y="98181"/>
                      <a:pt x="90000" y="109090"/>
                    </a:cubicBezTo>
                    <a:cubicBezTo>
                      <a:pt x="78000" y="109090"/>
                      <a:pt x="66000" y="120000"/>
                      <a:pt x="54000" y="120000"/>
                    </a:cubicBezTo>
                    <a:cubicBezTo>
                      <a:pt x="48000" y="109090"/>
                      <a:pt x="24000" y="98181"/>
                      <a:pt x="24000" y="87272"/>
                    </a:cubicBezTo>
                    <a:cubicBezTo>
                      <a:pt x="24000" y="87272"/>
                      <a:pt x="60000" y="76363"/>
                      <a:pt x="48000" y="76363"/>
                    </a:cubicBezTo>
                    <a:cubicBezTo>
                      <a:pt x="30000" y="65454"/>
                      <a:pt x="60000" y="76363"/>
                      <a:pt x="48000" y="7636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2" name="Shape 2473">
                <a:extLst>
                  <a:ext uri="{FF2B5EF4-FFF2-40B4-BE49-F238E27FC236}">
                    <a16:creationId xmlns:a16="http://schemas.microsoft.com/office/drawing/2014/main" id="{76724AB5-2326-4A20-B52A-59B437D078DD}"/>
                  </a:ext>
                </a:extLst>
              </p:cNvPr>
              <p:cNvSpPr/>
              <p:nvPr/>
            </p:nvSpPr>
            <p:spPr>
              <a:xfrm>
                <a:off x="7758531" y="5124527"/>
                <a:ext cx="149429" cy="43118"/>
              </a:xfrm>
              <a:custGeom>
                <a:avLst/>
                <a:gdLst/>
                <a:ahLst/>
                <a:cxnLst/>
                <a:rect l="0" t="0" r="0" b="0"/>
                <a:pathLst>
                  <a:path w="120000" h="120000" extrusionOk="0">
                    <a:moveTo>
                      <a:pt x="93333" y="120000"/>
                    </a:moveTo>
                    <a:cubicBezTo>
                      <a:pt x="93333" y="96000"/>
                      <a:pt x="120000" y="48000"/>
                      <a:pt x="106666" y="48000"/>
                    </a:cubicBezTo>
                    <a:cubicBezTo>
                      <a:pt x="100000" y="24000"/>
                      <a:pt x="93333" y="24000"/>
                      <a:pt x="86666" y="24000"/>
                    </a:cubicBezTo>
                    <a:cubicBezTo>
                      <a:pt x="66666" y="24000"/>
                      <a:pt x="40000" y="0"/>
                      <a:pt x="20000" y="24000"/>
                    </a:cubicBezTo>
                    <a:cubicBezTo>
                      <a:pt x="0" y="24000"/>
                      <a:pt x="6666" y="96000"/>
                      <a:pt x="26666" y="96000"/>
                    </a:cubicBezTo>
                    <a:cubicBezTo>
                      <a:pt x="46666" y="96000"/>
                      <a:pt x="73333" y="120000"/>
                      <a:pt x="93333" y="120000"/>
                    </a:cubicBezTo>
                    <a:cubicBezTo>
                      <a:pt x="106666" y="96000"/>
                      <a:pt x="80000" y="120000"/>
                      <a:pt x="93333"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3" name="Shape 2474">
                <a:extLst>
                  <a:ext uri="{FF2B5EF4-FFF2-40B4-BE49-F238E27FC236}">
                    <a16:creationId xmlns:a16="http://schemas.microsoft.com/office/drawing/2014/main" id="{28E30E8C-DDAA-40D3-BAB8-00DC35553687}"/>
                  </a:ext>
                </a:extLst>
              </p:cNvPr>
              <p:cNvSpPr/>
              <p:nvPr/>
            </p:nvSpPr>
            <p:spPr>
              <a:xfrm>
                <a:off x="7749911" y="5317115"/>
                <a:ext cx="140809" cy="94856"/>
              </a:xfrm>
              <a:custGeom>
                <a:avLst/>
                <a:gdLst/>
                <a:ahLst/>
                <a:cxnLst/>
                <a:rect l="0" t="0" r="0" b="0"/>
                <a:pathLst>
                  <a:path w="120000" h="120000" extrusionOk="0">
                    <a:moveTo>
                      <a:pt x="49411" y="10909"/>
                    </a:moveTo>
                    <a:cubicBezTo>
                      <a:pt x="35294" y="0"/>
                      <a:pt x="14117" y="43636"/>
                      <a:pt x="7058" y="65454"/>
                    </a:cubicBezTo>
                    <a:cubicBezTo>
                      <a:pt x="0" y="87272"/>
                      <a:pt x="56470" y="109090"/>
                      <a:pt x="70588" y="109090"/>
                    </a:cubicBezTo>
                    <a:cubicBezTo>
                      <a:pt x="77647" y="120000"/>
                      <a:pt x="98823" y="120000"/>
                      <a:pt x="105882" y="109090"/>
                    </a:cubicBezTo>
                    <a:cubicBezTo>
                      <a:pt x="112941" y="109090"/>
                      <a:pt x="105882" y="98181"/>
                      <a:pt x="105882" y="87272"/>
                    </a:cubicBezTo>
                    <a:cubicBezTo>
                      <a:pt x="105882" y="76363"/>
                      <a:pt x="105882" y="65454"/>
                      <a:pt x="112941" y="65454"/>
                    </a:cubicBezTo>
                    <a:cubicBezTo>
                      <a:pt x="120000" y="43636"/>
                      <a:pt x="63529" y="10909"/>
                      <a:pt x="49411" y="10909"/>
                    </a:cubicBezTo>
                    <a:cubicBezTo>
                      <a:pt x="35294" y="0"/>
                      <a:pt x="56470" y="10909"/>
                      <a:pt x="49411" y="1090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4" name="Shape 2475">
                <a:extLst>
                  <a:ext uri="{FF2B5EF4-FFF2-40B4-BE49-F238E27FC236}">
                    <a16:creationId xmlns:a16="http://schemas.microsoft.com/office/drawing/2014/main" id="{94ED6A07-5525-42A9-858D-E22EDFAA9D69}"/>
                  </a:ext>
                </a:extLst>
              </p:cNvPr>
              <p:cNvSpPr/>
              <p:nvPr/>
            </p:nvSpPr>
            <p:spPr>
              <a:xfrm>
                <a:off x="7816004" y="5294120"/>
                <a:ext cx="34484" cy="22995"/>
              </a:xfrm>
              <a:custGeom>
                <a:avLst/>
                <a:gdLst/>
                <a:ahLst/>
                <a:cxnLst/>
                <a:rect l="0" t="0" r="0" b="0"/>
                <a:pathLst>
                  <a:path w="120000" h="120000" extrusionOk="0">
                    <a:moveTo>
                      <a:pt x="90000" y="80000"/>
                    </a:moveTo>
                    <a:cubicBezTo>
                      <a:pt x="30000" y="120000"/>
                      <a:pt x="0" y="40000"/>
                      <a:pt x="30000" y="40000"/>
                    </a:cubicBezTo>
                    <a:cubicBezTo>
                      <a:pt x="60000" y="0"/>
                      <a:pt x="120000" y="80000"/>
                      <a:pt x="90000"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5" name="Shape 2476">
                <a:extLst>
                  <a:ext uri="{FF2B5EF4-FFF2-40B4-BE49-F238E27FC236}">
                    <a16:creationId xmlns:a16="http://schemas.microsoft.com/office/drawing/2014/main" id="{9D8DF886-1053-4910-A316-0F99B1156750}"/>
                  </a:ext>
                </a:extLst>
              </p:cNvPr>
              <p:cNvSpPr/>
              <p:nvPr/>
            </p:nvSpPr>
            <p:spPr>
              <a:xfrm>
                <a:off x="7968308" y="5141774"/>
                <a:ext cx="74715" cy="48864"/>
              </a:xfrm>
              <a:custGeom>
                <a:avLst/>
                <a:gdLst/>
                <a:ahLst/>
                <a:cxnLst/>
                <a:rect l="0" t="0" r="0" b="0"/>
                <a:pathLst>
                  <a:path w="120000" h="120000" extrusionOk="0">
                    <a:moveTo>
                      <a:pt x="13333" y="100000"/>
                    </a:moveTo>
                    <a:cubicBezTo>
                      <a:pt x="13333" y="100000"/>
                      <a:pt x="26666" y="40000"/>
                      <a:pt x="13333" y="20000"/>
                    </a:cubicBezTo>
                    <a:cubicBezTo>
                      <a:pt x="13333" y="0"/>
                      <a:pt x="53333" y="20000"/>
                      <a:pt x="66666" y="20000"/>
                    </a:cubicBezTo>
                    <a:cubicBezTo>
                      <a:pt x="80000" y="20000"/>
                      <a:pt x="120000" y="40000"/>
                      <a:pt x="120000" y="60000"/>
                    </a:cubicBezTo>
                    <a:cubicBezTo>
                      <a:pt x="106666" y="80000"/>
                      <a:pt x="80000" y="100000"/>
                      <a:pt x="66666" y="100000"/>
                    </a:cubicBezTo>
                    <a:cubicBezTo>
                      <a:pt x="40000" y="120000"/>
                      <a:pt x="40000" y="120000"/>
                      <a:pt x="13333" y="100000"/>
                    </a:cubicBezTo>
                    <a:cubicBezTo>
                      <a:pt x="0" y="80000"/>
                      <a:pt x="26666" y="120000"/>
                      <a:pt x="13333" y="10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6" name="Shape 2477">
                <a:extLst>
                  <a:ext uri="{FF2B5EF4-FFF2-40B4-BE49-F238E27FC236}">
                    <a16:creationId xmlns:a16="http://schemas.microsoft.com/office/drawing/2014/main" id="{56C9B987-4828-40C7-A1B7-AFD2A9329128}"/>
                  </a:ext>
                </a:extLst>
              </p:cNvPr>
              <p:cNvSpPr/>
              <p:nvPr/>
            </p:nvSpPr>
            <p:spPr>
              <a:xfrm>
                <a:off x="8008539" y="5216508"/>
                <a:ext cx="25862" cy="34493"/>
              </a:xfrm>
              <a:custGeom>
                <a:avLst/>
                <a:gdLst/>
                <a:ahLst/>
                <a:cxnLst/>
                <a:rect l="0" t="0" r="0" b="0"/>
                <a:pathLst>
                  <a:path w="120000" h="120000" extrusionOk="0">
                    <a:moveTo>
                      <a:pt x="80000" y="30000"/>
                    </a:moveTo>
                    <a:cubicBezTo>
                      <a:pt x="0" y="0"/>
                      <a:pt x="0" y="90000"/>
                      <a:pt x="40000" y="90000"/>
                    </a:cubicBezTo>
                    <a:cubicBezTo>
                      <a:pt x="80000" y="120000"/>
                      <a:pt x="120000" y="60000"/>
                      <a:pt x="80000" y="3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7" name="Shape 2478">
                <a:extLst>
                  <a:ext uri="{FF2B5EF4-FFF2-40B4-BE49-F238E27FC236}">
                    <a16:creationId xmlns:a16="http://schemas.microsoft.com/office/drawing/2014/main" id="{71A57279-6A78-447B-9FC9-A5560F45B8A2}"/>
                  </a:ext>
                </a:extLst>
              </p:cNvPr>
              <p:cNvSpPr/>
              <p:nvPr/>
            </p:nvSpPr>
            <p:spPr>
              <a:xfrm>
                <a:off x="7732667" y="5190641"/>
                <a:ext cx="750031" cy="229954"/>
              </a:xfrm>
              <a:custGeom>
                <a:avLst/>
                <a:gdLst/>
                <a:ahLst/>
                <a:cxnLst/>
                <a:rect l="0" t="0" r="0" b="0"/>
                <a:pathLst>
                  <a:path w="120000" h="120000" extrusionOk="0">
                    <a:moveTo>
                      <a:pt x="22921" y="31111"/>
                    </a:moveTo>
                    <a:cubicBezTo>
                      <a:pt x="24269" y="31111"/>
                      <a:pt x="26966" y="22222"/>
                      <a:pt x="25617" y="17777"/>
                    </a:cubicBezTo>
                    <a:cubicBezTo>
                      <a:pt x="24269" y="13333"/>
                      <a:pt x="21573" y="8888"/>
                      <a:pt x="20224" y="8888"/>
                    </a:cubicBezTo>
                    <a:cubicBezTo>
                      <a:pt x="18876" y="8888"/>
                      <a:pt x="17528" y="8888"/>
                      <a:pt x="16179" y="8888"/>
                    </a:cubicBezTo>
                    <a:cubicBezTo>
                      <a:pt x="12134" y="4444"/>
                      <a:pt x="9438" y="0"/>
                      <a:pt x="5393" y="4444"/>
                    </a:cubicBezTo>
                    <a:cubicBezTo>
                      <a:pt x="0" y="8888"/>
                      <a:pt x="4044" y="8888"/>
                      <a:pt x="5393" y="13333"/>
                    </a:cubicBezTo>
                    <a:cubicBezTo>
                      <a:pt x="5393" y="13333"/>
                      <a:pt x="0" y="13333"/>
                      <a:pt x="0" y="17777"/>
                    </a:cubicBezTo>
                    <a:cubicBezTo>
                      <a:pt x="0" y="22222"/>
                      <a:pt x="5393" y="22222"/>
                      <a:pt x="6741" y="22222"/>
                    </a:cubicBezTo>
                    <a:cubicBezTo>
                      <a:pt x="6741" y="26666"/>
                      <a:pt x="9438" y="26666"/>
                      <a:pt x="9438" y="26666"/>
                    </a:cubicBezTo>
                    <a:cubicBezTo>
                      <a:pt x="9438" y="31111"/>
                      <a:pt x="8089" y="31111"/>
                      <a:pt x="8089" y="31111"/>
                    </a:cubicBezTo>
                    <a:cubicBezTo>
                      <a:pt x="16179" y="48888"/>
                      <a:pt x="28314" y="22222"/>
                      <a:pt x="32359" y="57777"/>
                    </a:cubicBezTo>
                    <a:cubicBezTo>
                      <a:pt x="32359" y="62222"/>
                      <a:pt x="35056" y="66666"/>
                      <a:pt x="33707" y="71111"/>
                    </a:cubicBezTo>
                    <a:cubicBezTo>
                      <a:pt x="32359" y="80000"/>
                      <a:pt x="31011" y="84444"/>
                      <a:pt x="32359" y="93333"/>
                    </a:cubicBezTo>
                    <a:cubicBezTo>
                      <a:pt x="32359" y="93333"/>
                      <a:pt x="35056" y="111111"/>
                      <a:pt x="36404" y="111111"/>
                    </a:cubicBezTo>
                    <a:cubicBezTo>
                      <a:pt x="37752" y="115555"/>
                      <a:pt x="40449" y="102222"/>
                      <a:pt x="40449" y="106666"/>
                    </a:cubicBezTo>
                    <a:cubicBezTo>
                      <a:pt x="41797" y="106666"/>
                      <a:pt x="43146" y="115555"/>
                      <a:pt x="44494" y="115555"/>
                    </a:cubicBezTo>
                    <a:cubicBezTo>
                      <a:pt x="47191" y="120000"/>
                      <a:pt x="49887" y="115555"/>
                      <a:pt x="51235" y="115555"/>
                    </a:cubicBezTo>
                    <a:cubicBezTo>
                      <a:pt x="52584" y="111111"/>
                      <a:pt x="55280" y="102222"/>
                      <a:pt x="56629" y="102222"/>
                    </a:cubicBezTo>
                    <a:cubicBezTo>
                      <a:pt x="56629" y="102222"/>
                      <a:pt x="59325" y="115555"/>
                      <a:pt x="60674" y="115555"/>
                    </a:cubicBezTo>
                    <a:cubicBezTo>
                      <a:pt x="63370" y="120000"/>
                      <a:pt x="67415" y="120000"/>
                      <a:pt x="70112" y="120000"/>
                    </a:cubicBezTo>
                    <a:cubicBezTo>
                      <a:pt x="75505" y="120000"/>
                      <a:pt x="79550" y="120000"/>
                      <a:pt x="83595" y="120000"/>
                    </a:cubicBezTo>
                    <a:cubicBezTo>
                      <a:pt x="84943" y="120000"/>
                      <a:pt x="86292" y="120000"/>
                      <a:pt x="87640" y="120000"/>
                    </a:cubicBezTo>
                    <a:cubicBezTo>
                      <a:pt x="90337" y="115555"/>
                      <a:pt x="88988" y="106666"/>
                      <a:pt x="90337" y="106666"/>
                    </a:cubicBezTo>
                    <a:cubicBezTo>
                      <a:pt x="91685" y="102222"/>
                      <a:pt x="93033" y="106666"/>
                      <a:pt x="94382" y="111111"/>
                    </a:cubicBezTo>
                    <a:cubicBezTo>
                      <a:pt x="95730" y="115555"/>
                      <a:pt x="99775" y="120000"/>
                      <a:pt x="102471" y="120000"/>
                    </a:cubicBezTo>
                    <a:cubicBezTo>
                      <a:pt x="105168" y="120000"/>
                      <a:pt x="107865" y="120000"/>
                      <a:pt x="110561" y="115555"/>
                    </a:cubicBezTo>
                    <a:cubicBezTo>
                      <a:pt x="113258" y="115555"/>
                      <a:pt x="111910" y="106666"/>
                      <a:pt x="114606" y="106666"/>
                    </a:cubicBezTo>
                    <a:cubicBezTo>
                      <a:pt x="115955" y="106666"/>
                      <a:pt x="117303" y="93333"/>
                      <a:pt x="114606" y="97777"/>
                    </a:cubicBezTo>
                    <a:cubicBezTo>
                      <a:pt x="114606" y="97777"/>
                      <a:pt x="111910" y="97777"/>
                      <a:pt x="110561" y="97777"/>
                    </a:cubicBezTo>
                    <a:cubicBezTo>
                      <a:pt x="110561" y="97777"/>
                      <a:pt x="120000" y="80000"/>
                      <a:pt x="114606" y="75555"/>
                    </a:cubicBezTo>
                    <a:cubicBezTo>
                      <a:pt x="113258" y="75555"/>
                      <a:pt x="110561" y="71111"/>
                      <a:pt x="107865" y="71111"/>
                    </a:cubicBezTo>
                    <a:cubicBezTo>
                      <a:pt x="105168" y="71111"/>
                      <a:pt x="107865" y="62222"/>
                      <a:pt x="105168" y="62222"/>
                    </a:cubicBezTo>
                    <a:cubicBezTo>
                      <a:pt x="101123" y="62222"/>
                      <a:pt x="98426" y="62222"/>
                      <a:pt x="94382" y="62222"/>
                    </a:cubicBezTo>
                    <a:cubicBezTo>
                      <a:pt x="91685" y="62222"/>
                      <a:pt x="90337" y="57777"/>
                      <a:pt x="87640" y="62222"/>
                    </a:cubicBezTo>
                    <a:cubicBezTo>
                      <a:pt x="86292" y="62222"/>
                      <a:pt x="74157" y="71111"/>
                      <a:pt x="74157" y="75555"/>
                    </a:cubicBezTo>
                    <a:cubicBezTo>
                      <a:pt x="74157" y="75555"/>
                      <a:pt x="75505" y="75555"/>
                      <a:pt x="75505" y="80000"/>
                    </a:cubicBezTo>
                    <a:cubicBezTo>
                      <a:pt x="75505" y="80000"/>
                      <a:pt x="71460" y="80000"/>
                      <a:pt x="70112" y="80000"/>
                    </a:cubicBezTo>
                    <a:cubicBezTo>
                      <a:pt x="68764" y="80000"/>
                      <a:pt x="67415" y="75555"/>
                      <a:pt x="66067" y="71111"/>
                    </a:cubicBezTo>
                    <a:cubicBezTo>
                      <a:pt x="64719" y="71111"/>
                      <a:pt x="63370" y="75555"/>
                      <a:pt x="62022" y="75555"/>
                    </a:cubicBezTo>
                    <a:cubicBezTo>
                      <a:pt x="60674" y="75555"/>
                      <a:pt x="57977" y="71111"/>
                      <a:pt x="56629" y="71111"/>
                    </a:cubicBezTo>
                    <a:cubicBezTo>
                      <a:pt x="55280" y="71111"/>
                      <a:pt x="56629" y="80000"/>
                      <a:pt x="55280" y="80000"/>
                    </a:cubicBezTo>
                    <a:cubicBezTo>
                      <a:pt x="53932" y="80000"/>
                      <a:pt x="52584" y="71111"/>
                      <a:pt x="51235" y="71111"/>
                    </a:cubicBezTo>
                    <a:cubicBezTo>
                      <a:pt x="47191" y="71111"/>
                      <a:pt x="52584" y="66666"/>
                      <a:pt x="52584" y="62222"/>
                    </a:cubicBezTo>
                    <a:cubicBezTo>
                      <a:pt x="52584" y="57777"/>
                      <a:pt x="47191" y="53333"/>
                      <a:pt x="45842" y="53333"/>
                    </a:cubicBezTo>
                    <a:cubicBezTo>
                      <a:pt x="45842" y="53333"/>
                      <a:pt x="40449" y="57777"/>
                      <a:pt x="40449" y="57777"/>
                    </a:cubicBezTo>
                    <a:cubicBezTo>
                      <a:pt x="40449" y="53333"/>
                      <a:pt x="43146" y="53333"/>
                      <a:pt x="43146" y="53333"/>
                    </a:cubicBezTo>
                    <a:cubicBezTo>
                      <a:pt x="43146" y="48888"/>
                      <a:pt x="36404" y="44444"/>
                      <a:pt x="37752" y="40000"/>
                    </a:cubicBezTo>
                    <a:cubicBezTo>
                      <a:pt x="37752" y="40000"/>
                      <a:pt x="51235" y="44444"/>
                      <a:pt x="51235" y="44444"/>
                    </a:cubicBezTo>
                    <a:cubicBezTo>
                      <a:pt x="51235" y="40000"/>
                      <a:pt x="45842" y="35555"/>
                      <a:pt x="44494" y="31111"/>
                    </a:cubicBezTo>
                    <a:cubicBezTo>
                      <a:pt x="43146" y="31111"/>
                      <a:pt x="40449" y="31111"/>
                      <a:pt x="37752" y="31111"/>
                    </a:cubicBezTo>
                    <a:cubicBezTo>
                      <a:pt x="39101" y="31111"/>
                      <a:pt x="41797" y="31111"/>
                      <a:pt x="43146" y="26666"/>
                    </a:cubicBezTo>
                    <a:cubicBezTo>
                      <a:pt x="43146" y="22222"/>
                      <a:pt x="36404" y="22222"/>
                      <a:pt x="36404" y="22222"/>
                    </a:cubicBezTo>
                    <a:cubicBezTo>
                      <a:pt x="31011" y="22222"/>
                      <a:pt x="28314" y="26666"/>
                      <a:pt x="22921" y="31111"/>
                    </a:cubicBezTo>
                    <a:cubicBezTo>
                      <a:pt x="22921" y="31111"/>
                      <a:pt x="24269" y="31111"/>
                      <a:pt x="22921" y="3111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8" name="Shape 2479">
                <a:extLst>
                  <a:ext uri="{FF2B5EF4-FFF2-40B4-BE49-F238E27FC236}">
                    <a16:creationId xmlns:a16="http://schemas.microsoft.com/office/drawing/2014/main" id="{BC438ADB-77AD-4921-9FF7-795A630DEF72}"/>
                  </a:ext>
                </a:extLst>
              </p:cNvPr>
              <p:cNvSpPr/>
              <p:nvPr/>
            </p:nvSpPr>
            <p:spPr>
              <a:xfrm>
                <a:off x="7749911" y="4793969"/>
                <a:ext cx="497145" cy="313313"/>
              </a:xfrm>
              <a:custGeom>
                <a:avLst/>
                <a:gdLst/>
                <a:ahLst/>
                <a:cxnLst/>
                <a:rect l="0" t="0" r="0" b="0"/>
                <a:pathLst>
                  <a:path w="120000" h="120000" extrusionOk="0">
                    <a:moveTo>
                      <a:pt x="117966" y="77837"/>
                    </a:moveTo>
                    <a:cubicBezTo>
                      <a:pt x="117966" y="71351"/>
                      <a:pt x="113898" y="71351"/>
                      <a:pt x="111864" y="68108"/>
                    </a:cubicBezTo>
                    <a:cubicBezTo>
                      <a:pt x="109830" y="64864"/>
                      <a:pt x="107796" y="71351"/>
                      <a:pt x="105762" y="68108"/>
                    </a:cubicBezTo>
                    <a:cubicBezTo>
                      <a:pt x="101694" y="61621"/>
                      <a:pt x="97627" y="68108"/>
                      <a:pt x="93559" y="64864"/>
                    </a:cubicBezTo>
                    <a:cubicBezTo>
                      <a:pt x="93559" y="64864"/>
                      <a:pt x="97627" y="61621"/>
                      <a:pt x="97627" y="58378"/>
                    </a:cubicBezTo>
                    <a:cubicBezTo>
                      <a:pt x="97627" y="58378"/>
                      <a:pt x="93559" y="58378"/>
                      <a:pt x="93559" y="58378"/>
                    </a:cubicBezTo>
                    <a:cubicBezTo>
                      <a:pt x="93559" y="55135"/>
                      <a:pt x="95593" y="55135"/>
                      <a:pt x="95593" y="51891"/>
                    </a:cubicBezTo>
                    <a:cubicBezTo>
                      <a:pt x="95593" y="48648"/>
                      <a:pt x="89491" y="51891"/>
                      <a:pt x="89491" y="48648"/>
                    </a:cubicBezTo>
                    <a:cubicBezTo>
                      <a:pt x="87457" y="48648"/>
                      <a:pt x="91525" y="45405"/>
                      <a:pt x="91525" y="45405"/>
                    </a:cubicBezTo>
                    <a:cubicBezTo>
                      <a:pt x="93559" y="42162"/>
                      <a:pt x="89491" y="38918"/>
                      <a:pt x="89491" y="35675"/>
                    </a:cubicBezTo>
                    <a:cubicBezTo>
                      <a:pt x="87457" y="32432"/>
                      <a:pt x="77288" y="35675"/>
                      <a:pt x="77288" y="35675"/>
                    </a:cubicBezTo>
                    <a:cubicBezTo>
                      <a:pt x="77288" y="38918"/>
                      <a:pt x="87457" y="45405"/>
                      <a:pt x="87457" y="48648"/>
                    </a:cubicBezTo>
                    <a:cubicBezTo>
                      <a:pt x="85423" y="51891"/>
                      <a:pt x="79322" y="45405"/>
                      <a:pt x="77288" y="42162"/>
                    </a:cubicBezTo>
                    <a:cubicBezTo>
                      <a:pt x="73220" y="38918"/>
                      <a:pt x="79322" y="32432"/>
                      <a:pt x="71186" y="32432"/>
                    </a:cubicBezTo>
                    <a:cubicBezTo>
                      <a:pt x="67118" y="32432"/>
                      <a:pt x="61016" y="32432"/>
                      <a:pt x="58983" y="25945"/>
                    </a:cubicBezTo>
                    <a:cubicBezTo>
                      <a:pt x="56949" y="19459"/>
                      <a:pt x="52881" y="9729"/>
                      <a:pt x="48813" y="6486"/>
                    </a:cubicBezTo>
                    <a:cubicBezTo>
                      <a:pt x="42711" y="3243"/>
                      <a:pt x="36610" y="0"/>
                      <a:pt x="32542" y="0"/>
                    </a:cubicBezTo>
                    <a:cubicBezTo>
                      <a:pt x="30508" y="0"/>
                      <a:pt x="20338" y="0"/>
                      <a:pt x="24406" y="3243"/>
                    </a:cubicBezTo>
                    <a:cubicBezTo>
                      <a:pt x="26440" y="3243"/>
                      <a:pt x="34576" y="6486"/>
                      <a:pt x="34576" y="6486"/>
                    </a:cubicBezTo>
                    <a:cubicBezTo>
                      <a:pt x="34576" y="12972"/>
                      <a:pt x="26440" y="9729"/>
                      <a:pt x="24406" y="9729"/>
                    </a:cubicBezTo>
                    <a:cubicBezTo>
                      <a:pt x="24406" y="9729"/>
                      <a:pt x="26440" y="12972"/>
                      <a:pt x="26440" y="12972"/>
                    </a:cubicBezTo>
                    <a:cubicBezTo>
                      <a:pt x="26440" y="16216"/>
                      <a:pt x="14237" y="6486"/>
                      <a:pt x="12203" y="16216"/>
                    </a:cubicBezTo>
                    <a:cubicBezTo>
                      <a:pt x="12203" y="16216"/>
                      <a:pt x="22372" y="22702"/>
                      <a:pt x="24406" y="22702"/>
                    </a:cubicBezTo>
                    <a:cubicBezTo>
                      <a:pt x="20338" y="19459"/>
                      <a:pt x="22372" y="29189"/>
                      <a:pt x="22372" y="29189"/>
                    </a:cubicBezTo>
                    <a:cubicBezTo>
                      <a:pt x="22372" y="32432"/>
                      <a:pt x="8135" y="22702"/>
                      <a:pt x="6101" y="25945"/>
                    </a:cubicBezTo>
                    <a:cubicBezTo>
                      <a:pt x="6101" y="22702"/>
                      <a:pt x="12203" y="25945"/>
                      <a:pt x="12203" y="29189"/>
                    </a:cubicBezTo>
                    <a:cubicBezTo>
                      <a:pt x="12203" y="25945"/>
                      <a:pt x="8135" y="29189"/>
                      <a:pt x="8135" y="29189"/>
                    </a:cubicBezTo>
                    <a:cubicBezTo>
                      <a:pt x="6101" y="32432"/>
                      <a:pt x="10169" y="35675"/>
                      <a:pt x="10169" y="35675"/>
                    </a:cubicBezTo>
                    <a:cubicBezTo>
                      <a:pt x="12203" y="38918"/>
                      <a:pt x="4067" y="38918"/>
                      <a:pt x="2033" y="38918"/>
                    </a:cubicBezTo>
                    <a:cubicBezTo>
                      <a:pt x="4067" y="38918"/>
                      <a:pt x="8135" y="42162"/>
                      <a:pt x="12203" y="45405"/>
                    </a:cubicBezTo>
                    <a:cubicBezTo>
                      <a:pt x="16271" y="45405"/>
                      <a:pt x="20338" y="42162"/>
                      <a:pt x="24406" y="42162"/>
                    </a:cubicBezTo>
                    <a:cubicBezTo>
                      <a:pt x="24406" y="42162"/>
                      <a:pt x="20338" y="45405"/>
                      <a:pt x="20338" y="45405"/>
                    </a:cubicBezTo>
                    <a:cubicBezTo>
                      <a:pt x="20338" y="48648"/>
                      <a:pt x="22372" y="48648"/>
                      <a:pt x="22372" y="48648"/>
                    </a:cubicBezTo>
                    <a:cubicBezTo>
                      <a:pt x="22372" y="51891"/>
                      <a:pt x="0" y="48648"/>
                      <a:pt x="0" y="48648"/>
                    </a:cubicBezTo>
                    <a:cubicBezTo>
                      <a:pt x="0" y="48648"/>
                      <a:pt x="4067" y="58378"/>
                      <a:pt x="4067" y="58378"/>
                    </a:cubicBezTo>
                    <a:cubicBezTo>
                      <a:pt x="6101" y="61621"/>
                      <a:pt x="14237" y="68108"/>
                      <a:pt x="14237" y="64864"/>
                    </a:cubicBezTo>
                    <a:cubicBezTo>
                      <a:pt x="14237" y="68108"/>
                      <a:pt x="10169" y="64864"/>
                      <a:pt x="12203" y="71351"/>
                    </a:cubicBezTo>
                    <a:cubicBezTo>
                      <a:pt x="12203" y="71351"/>
                      <a:pt x="14237" y="74594"/>
                      <a:pt x="16271" y="74594"/>
                    </a:cubicBezTo>
                    <a:cubicBezTo>
                      <a:pt x="18305" y="77837"/>
                      <a:pt x="20338" y="74594"/>
                      <a:pt x="22372" y="74594"/>
                    </a:cubicBezTo>
                    <a:cubicBezTo>
                      <a:pt x="24406" y="71351"/>
                      <a:pt x="26440" y="77837"/>
                      <a:pt x="28474" y="74594"/>
                    </a:cubicBezTo>
                    <a:cubicBezTo>
                      <a:pt x="34576" y="71351"/>
                      <a:pt x="38644" y="68108"/>
                      <a:pt x="42711" y="71351"/>
                    </a:cubicBezTo>
                    <a:cubicBezTo>
                      <a:pt x="46779" y="74594"/>
                      <a:pt x="48813" y="74594"/>
                      <a:pt x="52881" y="74594"/>
                    </a:cubicBezTo>
                    <a:cubicBezTo>
                      <a:pt x="50847" y="74594"/>
                      <a:pt x="46779" y="74594"/>
                      <a:pt x="42711" y="74594"/>
                    </a:cubicBezTo>
                    <a:cubicBezTo>
                      <a:pt x="46779" y="74594"/>
                      <a:pt x="54915" y="74594"/>
                      <a:pt x="56949" y="77837"/>
                    </a:cubicBezTo>
                    <a:cubicBezTo>
                      <a:pt x="56949" y="77837"/>
                      <a:pt x="46779" y="81081"/>
                      <a:pt x="46779" y="81081"/>
                    </a:cubicBezTo>
                    <a:cubicBezTo>
                      <a:pt x="42711" y="81081"/>
                      <a:pt x="36610" y="81081"/>
                      <a:pt x="32542" y="81081"/>
                    </a:cubicBezTo>
                    <a:cubicBezTo>
                      <a:pt x="32542" y="84324"/>
                      <a:pt x="24406" y="87567"/>
                      <a:pt x="26440" y="87567"/>
                    </a:cubicBezTo>
                    <a:cubicBezTo>
                      <a:pt x="28474" y="90810"/>
                      <a:pt x="30508" y="90810"/>
                      <a:pt x="32542" y="97297"/>
                    </a:cubicBezTo>
                    <a:cubicBezTo>
                      <a:pt x="32542" y="103783"/>
                      <a:pt x="44745" y="97297"/>
                      <a:pt x="46779" y="103783"/>
                    </a:cubicBezTo>
                    <a:cubicBezTo>
                      <a:pt x="46779" y="103783"/>
                      <a:pt x="38644" y="103783"/>
                      <a:pt x="38644" y="107027"/>
                    </a:cubicBezTo>
                    <a:cubicBezTo>
                      <a:pt x="40677" y="110270"/>
                      <a:pt x="50847" y="116756"/>
                      <a:pt x="52881" y="116756"/>
                    </a:cubicBezTo>
                    <a:cubicBezTo>
                      <a:pt x="52881" y="116756"/>
                      <a:pt x="65084" y="116756"/>
                      <a:pt x="65084" y="113513"/>
                    </a:cubicBezTo>
                    <a:cubicBezTo>
                      <a:pt x="65084" y="113513"/>
                      <a:pt x="63050" y="113513"/>
                      <a:pt x="63050" y="113513"/>
                    </a:cubicBezTo>
                    <a:cubicBezTo>
                      <a:pt x="63050" y="107027"/>
                      <a:pt x="71186" y="116756"/>
                      <a:pt x="69152" y="116756"/>
                    </a:cubicBezTo>
                    <a:cubicBezTo>
                      <a:pt x="71186" y="116756"/>
                      <a:pt x="67118" y="107027"/>
                      <a:pt x="67118" y="103783"/>
                    </a:cubicBezTo>
                    <a:cubicBezTo>
                      <a:pt x="71186" y="100540"/>
                      <a:pt x="75254" y="120000"/>
                      <a:pt x="81355" y="113513"/>
                    </a:cubicBezTo>
                    <a:cubicBezTo>
                      <a:pt x="83389" y="110270"/>
                      <a:pt x="79322" y="103783"/>
                      <a:pt x="81355" y="103783"/>
                    </a:cubicBezTo>
                    <a:cubicBezTo>
                      <a:pt x="83389" y="103783"/>
                      <a:pt x="83389" y="110270"/>
                      <a:pt x="83389" y="113513"/>
                    </a:cubicBezTo>
                    <a:cubicBezTo>
                      <a:pt x="85423" y="113513"/>
                      <a:pt x="87457" y="100540"/>
                      <a:pt x="85423" y="100540"/>
                    </a:cubicBezTo>
                    <a:cubicBezTo>
                      <a:pt x="85423" y="97297"/>
                      <a:pt x="85423" y="94054"/>
                      <a:pt x="83389" y="94054"/>
                    </a:cubicBezTo>
                    <a:cubicBezTo>
                      <a:pt x="83389" y="90810"/>
                      <a:pt x="85423" y="84324"/>
                      <a:pt x="87457" y="87567"/>
                    </a:cubicBezTo>
                    <a:cubicBezTo>
                      <a:pt x="89491" y="90810"/>
                      <a:pt x="87457" y="103783"/>
                      <a:pt x="93559" y="97297"/>
                    </a:cubicBezTo>
                    <a:cubicBezTo>
                      <a:pt x="95593" y="94054"/>
                      <a:pt x="101694" y="81081"/>
                      <a:pt x="105762" y="87567"/>
                    </a:cubicBezTo>
                    <a:cubicBezTo>
                      <a:pt x="107796" y="87567"/>
                      <a:pt x="103728" y="90810"/>
                      <a:pt x="103728" y="90810"/>
                    </a:cubicBezTo>
                    <a:cubicBezTo>
                      <a:pt x="103728" y="90810"/>
                      <a:pt x="113898" y="87567"/>
                      <a:pt x="113898" y="87567"/>
                    </a:cubicBezTo>
                    <a:cubicBezTo>
                      <a:pt x="113898" y="87567"/>
                      <a:pt x="109830" y="87567"/>
                      <a:pt x="109830" y="84324"/>
                    </a:cubicBezTo>
                    <a:cubicBezTo>
                      <a:pt x="109830" y="81081"/>
                      <a:pt x="120000" y="81081"/>
                      <a:pt x="117966" y="77837"/>
                    </a:cubicBezTo>
                    <a:cubicBezTo>
                      <a:pt x="117966" y="71351"/>
                      <a:pt x="117966" y="81081"/>
                      <a:pt x="117966" y="7783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29" name="Shape 2480">
                <a:extLst>
                  <a:ext uri="{FF2B5EF4-FFF2-40B4-BE49-F238E27FC236}">
                    <a16:creationId xmlns:a16="http://schemas.microsoft.com/office/drawing/2014/main" id="{C9BDD867-E1DE-4349-8D5B-46CCFD607532}"/>
                  </a:ext>
                </a:extLst>
              </p:cNvPr>
              <p:cNvSpPr/>
              <p:nvPr/>
            </p:nvSpPr>
            <p:spPr>
              <a:xfrm>
                <a:off x="7951066" y="4601385"/>
                <a:ext cx="1313270" cy="684112"/>
              </a:xfrm>
              <a:custGeom>
                <a:avLst/>
                <a:gdLst/>
                <a:ahLst/>
                <a:cxnLst/>
                <a:rect l="0" t="0" r="0" b="0"/>
                <a:pathLst>
                  <a:path w="120000" h="120000" extrusionOk="0">
                    <a:moveTo>
                      <a:pt x="20000" y="103703"/>
                    </a:moveTo>
                    <a:cubicBezTo>
                      <a:pt x="16923" y="103703"/>
                      <a:pt x="13076" y="103703"/>
                      <a:pt x="10000" y="105185"/>
                    </a:cubicBezTo>
                    <a:cubicBezTo>
                      <a:pt x="8461" y="106666"/>
                      <a:pt x="8461" y="111111"/>
                      <a:pt x="9230" y="112592"/>
                    </a:cubicBezTo>
                    <a:cubicBezTo>
                      <a:pt x="10000" y="114074"/>
                      <a:pt x="11538" y="115555"/>
                      <a:pt x="11538" y="114074"/>
                    </a:cubicBezTo>
                    <a:cubicBezTo>
                      <a:pt x="13076" y="114074"/>
                      <a:pt x="12307" y="112592"/>
                      <a:pt x="13076" y="111111"/>
                    </a:cubicBezTo>
                    <a:cubicBezTo>
                      <a:pt x="13076" y="111111"/>
                      <a:pt x="13076" y="115555"/>
                      <a:pt x="13076" y="115555"/>
                    </a:cubicBezTo>
                    <a:cubicBezTo>
                      <a:pt x="14615" y="115555"/>
                      <a:pt x="16923" y="115555"/>
                      <a:pt x="18461" y="115555"/>
                    </a:cubicBezTo>
                    <a:cubicBezTo>
                      <a:pt x="20000" y="115555"/>
                      <a:pt x="20000" y="112592"/>
                      <a:pt x="20769" y="112592"/>
                    </a:cubicBezTo>
                    <a:cubicBezTo>
                      <a:pt x="22307" y="112592"/>
                      <a:pt x="20769" y="115555"/>
                      <a:pt x="20769" y="115555"/>
                    </a:cubicBezTo>
                    <a:cubicBezTo>
                      <a:pt x="20769" y="115555"/>
                      <a:pt x="28461" y="117037"/>
                      <a:pt x="28461" y="115555"/>
                    </a:cubicBezTo>
                    <a:cubicBezTo>
                      <a:pt x="28461" y="115555"/>
                      <a:pt x="26923" y="114074"/>
                      <a:pt x="26153" y="112592"/>
                    </a:cubicBezTo>
                    <a:cubicBezTo>
                      <a:pt x="26153" y="112592"/>
                      <a:pt x="29230" y="114074"/>
                      <a:pt x="28461" y="115555"/>
                    </a:cubicBezTo>
                    <a:cubicBezTo>
                      <a:pt x="29230" y="114074"/>
                      <a:pt x="28461" y="112592"/>
                      <a:pt x="29230" y="112592"/>
                    </a:cubicBezTo>
                    <a:cubicBezTo>
                      <a:pt x="29230" y="112592"/>
                      <a:pt x="30769" y="114074"/>
                      <a:pt x="31538" y="114074"/>
                    </a:cubicBezTo>
                    <a:cubicBezTo>
                      <a:pt x="33076" y="117037"/>
                      <a:pt x="31538" y="112592"/>
                      <a:pt x="32307" y="111111"/>
                    </a:cubicBezTo>
                    <a:cubicBezTo>
                      <a:pt x="32307" y="111111"/>
                      <a:pt x="36923" y="115555"/>
                      <a:pt x="36923" y="114074"/>
                    </a:cubicBezTo>
                    <a:cubicBezTo>
                      <a:pt x="36923" y="112592"/>
                      <a:pt x="35384" y="112592"/>
                      <a:pt x="35384" y="111111"/>
                    </a:cubicBezTo>
                    <a:cubicBezTo>
                      <a:pt x="35384" y="111111"/>
                      <a:pt x="40769" y="112592"/>
                      <a:pt x="40769" y="112592"/>
                    </a:cubicBezTo>
                    <a:cubicBezTo>
                      <a:pt x="43846" y="112592"/>
                      <a:pt x="40000" y="117037"/>
                      <a:pt x="40000" y="118518"/>
                    </a:cubicBezTo>
                    <a:cubicBezTo>
                      <a:pt x="40000" y="120000"/>
                      <a:pt x="49230" y="112592"/>
                      <a:pt x="50000" y="112592"/>
                    </a:cubicBezTo>
                    <a:cubicBezTo>
                      <a:pt x="51538" y="112592"/>
                      <a:pt x="55384" y="108148"/>
                      <a:pt x="52307" y="106666"/>
                    </a:cubicBezTo>
                    <a:cubicBezTo>
                      <a:pt x="50769" y="105185"/>
                      <a:pt x="48461" y="108148"/>
                      <a:pt x="46923" y="106666"/>
                    </a:cubicBezTo>
                    <a:cubicBezTo>
                      <a:pt x="46923" y="106666"/>
                      <a:pt x="48461" y="103703"/>
                      <a:pt x="48461" y="103703"/>
                    </a:cubicBezTo>
                    <a:cubicBezTo>
                      <a:pt x="48461" y="102222"/>
                      <a:pt x="46153" y="103703"/>
                      <a:pt x="45384" y="103703"/>
                    </a:cubicBezTo>
                    <a:cubicBezTo>
                      <a:pt x="43846" y="103703"/>
                      <a:pt x="43076" y="100740"/>
                      <a:pt x="41538" y="100740"/>
                    </a:cubicBezTo>
                    <a:cubicBezTo>
                      <a:pt x="40769" y="102222"/>
                      <a:pt x="38461" y="103703"/>
                      <a:pt x="36923" y="102222"/>
                    </a:cubicBezTo>
                    <a:cubicBezTo>
                      <a:pt x="37692" y="102222"/>
                      <a:pt x="38461" y="102222"/>
                      <a:pt x="39230" y="102222"/>
                    </a:cubicBezTo>
                    <a:cubicBezTo>
                      <a:pt x="40000" y="100740"/>
                      <a:pt x="38461" y="97777"/>
                      <a:pt x="38461" y="96296"/>
                    </a:cubicBezTo>
                    <a:cubicBezTo>
                      <a:pt x="38461" y="99259"/>
                      <a:pt x="45384" y="100740"/>
                      <a:pt x="46153" y="100740"/>
                    </a:cubicBezTo>
                    <a:cubicBezTo>
                      <a:pt x="46923" y="100740"/>
                      <a:pt x="48461" y="100740"/>
                      <a:pt x="50000" y="100740"/>
                    </a:cubicBezTo>
                    <a:cubicBezTo>
                      <a:pt x="51538" y="100740"/>
                      <a:pt x="53076" y="96296"/>
                      <a:pt x="52307" y="94814"/>
                    </a:cubicBezTo>
                    <a:cubicBezTo>
                      <a:pt x="50000" y="90370"/>
                      <a:pt x="54615" y="90370"/>
                      <a:pt x="56153" y="90370"/>
                    </a:cubicBezTo>
                    <a:cubicBezTo>
                      <a:pt x="56923" y="90370"/>
                      <a:pt x="60769" y="90370"/>
                      <a:pt x="61538" y="88888"/>
                    </a:cubicBezTo>
                    <a:cubicBezTo>
                      <a:pt x="61538" y="88888"/>
                      <a:pt x="57692" y="85925"/>
                      <a:pt x="57692" y="85925"/>
                    </a:cubicBezTo>
                    <a:cubicBezTo>
                      <a:pt x="59230" y="84444"/>
                      <a:pt x="62307" y="87407"/>
                      <a:pt x="63076" y="84444"/>
                    </a:cubicBezTo>
                    <a:cubicBezTo>
                      <a:pt x="63846" y="82962"/>
                      <a:pt x="59230" y="81481"/>
                      <a:pt x="58461" y="81481"/>
                    </a:cubicBezTo>
                    <a:cubicBezTo>
                      <a:pt x="59230" y="81481"/>
                      <a:pt x="64615" y="80000"/>
                      <a:pt x="65384" y="78518"/>
                    </a:cubicBezTo>
                    <a:cubicBezTo>
                      <a:pt x="66923" y="77037"/>
                      <a:pt x="59230" y="74074"/>
                      <a:pt x="59230" y="75555"/>
                    </a:cubicBezTo>
                    <a:cubicBezTo>
                      <a:pt x="59230" y="74074"/>
                      <a:pt x="60769" y="74074"/>
                      <a:pt x="60769" y="74074"/>
                    </a:cubicBezTo>
                    <a:cubicBezTo>
                      <a:pt x="60769" y="72592"/>
                      <a:pt x="55384" y="74074"/>
                      <a:pt x="54615" y="74074"/>
                    </a:cubicBezTo>
                    <a:cubicBezTo>
                      <a:pt x="53076" y="74074"/>
                      <a:pt x="52307" y="75555"/>
                      <a:pt x="50769" y="77037"/>
                    </a:cubicBezTo>
                    <a:cubicBezTo>
                      <a:pt x="51538" y="77037"/>
                      <a:pt x="53846" y="72592"/>
                      <a:pt x="52307" y="72592"/>
                    </a:cubicBezTo>
                    <a:cubicBezTo>
                      <a:pt x="52307" y="72592"/>
                      <a:pt x="49230" y="72592"/>
                      <a:pt x="49230" y="71111"/>
                    </a:cubicBezTo>
                    <a:cubicBezTo>
                      <a:pt x="49230" y="71111"/>
                      <a:pt x="54615" y="71111"/>
                      <a:pt x="55384" y="71111"/>
                    </a:cubicBezTo>
                    <a:cubicBezTo>
                      <a:pt x="54615" y="71111"/>
                      <a:pt x="52307" y="69629"/>
                      <a:pt x="52307" y="69629"/>
                    </a:cubicBezTo>
                    <a:cubicBezTo>
                      <a:pt x="53076" y="68148"/>
                      <a:pt x="55384" y="71111"/>
                      <a:pt x="56923" y="69629"/>
                    </a:cubicBezTo>
                    <a:cubicBezTo>
                      <a:pt x="56153" y="69629"/>
                      <a:pt x="53076" y="68148"/>
                      <a:pt x="53076" y="68148"/>
                    </a:cubicBezTo>
                    <a:cubicBezTo>
                      <a:pt x="53076" y="66666"/>
                      <a:pt x="59230" y="68148"/>
                      <a:pt x="60000" y="66666"/>
                    </a:cubicBezTo>
                    <a:cubicBezTo>
                      <a:pt x="60000" y="66666"/>
                      <a:pt x="57692" y="65185"/>
                      <a:pt x="57692" y="65185"/>
                    </a:cubicBezTo>
                    <a:cubicBezTo>
                      <a:pt x="56923" y="65185"/>
                      <a:pt x="59230" y="65185"/>
                      <a:pt x="59230" y="65185"/>
                    </a:cubicBezTo>
                    <a:cubicBezTo>
                      <a:pt x="60769" y="66666"/>
                      <a:pt x="61538" y="68148"/>
                      <a:pt x="63076" y="68148"/>
                    </a:cubicBezTo>
                    <a:cubicBezTo>
                      <a:pt x="64615" y="68148"/>
                      <a:pt x="66923" y="66666"/>
                      <a:pt x="69230" y="65185"/>
                    </a:cubicBezTo>
                    <a:cubicBezTo>
                      <a:pt x="75384" y="63703"/>
                      <a:pt x="65384" y="62222"/>
                      <a:pt x="64615" y="59259"/>
                    </a:cubicBezTo>
                    <a:cubicBezTo>
                      <a:pt x="64615" y="57777"/>
                      <a:pt x="71538" y="59259"/>
                      <a:pt x="72307" y="60740"/>
                    </a:cubicBezTo>
                    <a:cubicBezTo>
                      <a:pt x="73846" y="62222"/>
                      <a:pt x="74615" y="62222"/>
                      <a:pt x="76923" y="60740"/>
                    </a:cubicBezTo>
                    <a:cubicBezTo>
                      <a:pt x="77692" y="60740"/>
                      <a:pt x="81538" y="57777"/>
                      <a:pt x="80769" y="54814"/>
                    </a:cubicBezTo>
                    <a:cubicBezTo>
                      <a:pt x="80769" y="53333"/>
                      <a:pt x="72307" y="60740"/>
                      <a:pt x="74615" y="53333"/>
                    </a:cubicBezTo>
                    <a:cubicBezTo>
                      <a:pt x="73846" y="54814"/>
                      <a:pt x="77692" y="54814"/>
                      <a:pt x="77692" y="54814"/>
                    </a:cubicBezTo>
                    <a:cubicBezTo>
                      <a:pt x="80000" y="54814"/>
                      <a:pt x="81538" y="53333"/>
                      <a:pt x="83076" y="53333"/>
                    </a:cubicBezTo>
                    <a:cubicBezTo>
                      <a:pt x="83076" y="51851"/>
                      <a:pt x="80769" y="47407"/>
                      <a:pt x="80769" y="47407"/>
                    </a:cubicBezTo>
                    <a:cubicBezTo>
                      <a:pt x="81538" y="47407"/>
                      <a:pt x="82307" y="48888"/>
                      <a:pt x="82307" y="50370"/>
                    </a:cubicBezTo>
                    <a:cubicBezTo>
                      <a:pt x="83076" y="51851"/>
                      <a:pt x="84615" y="50370"/>
                      <a:pt x="85384" y="50370"/>
                    </a:cubicBezTo>
                    <a:cubicBezTo>
                      <a:pt x="87692" y="47407"/>
                      <a:pt x="89230" y="44444"/>
                      <a:pt x="91538" y="42962"/>
                    </a:cubicBezTo>
                    <a:cubicBezTo>
                      <a:pt x="93076" y="41481"/>
                      <a:pt x="104615" y="32592"/>
                      <a:pt x="104615" y="31111"/>
                    </a:cubicBezTo>
                    <a:cubicBezTo>
                      <a:pt x="104615" y="29629"/>
                      <a:pt x="94615" y="34074"/>
                      <a:pt x="93846" y="34074"/>
                    </a:cubicBezTo>
                    <a:cubicBezTo>
                      <a:pt x="91538" y="35555"/>
                      <a:pt x="89230" y="35555"/>
                      <a:pt x="86153" y="37037"/>
                    </a:cubicBezTo>
                    <a:cubicBezTo>
                      <a:pt x="86153" y="37037"/>
                      <a:pt x="83076" y="37037"/>
                      <a:pt x="83076" y="37037"/>
                    </a:cubicBezTo>
                    <a:cubicBezTo>
                      <a:pt x="83076" y="35555"/>
                      <a:pt x="87692" y="35555"/>
                      <a:pt x="88461" y="34074"/>
                    </a:cubicBezTo>
                    <a:cubicBezTo>
                      <a:pt x="89230" y="34074"/>
                      <a:pt x="94615" y="32592"/>
                      <a:pt x="94615" y="31111"/>
                    </a:cubicBezTo>
                    <a:cubicBezTo>
                      <a:pt x="94615" y="32592"/>
                      <a:pt x="86923" y="29629"/>
                      <a:pt x="87692" y="28148"/>
                    </a:cubicBezTo>
                    <a:cubicBezTo>
                      <a:pt x="87692" y="28148"/>
                      <a:pt x="96923" y="29629"/>
                      <a:pt x="97692" y="28148"/>
                    </a:cubicBezTo>
                    <a:cubicBezTo>
                      <a:pt x="99230" y="28148"/>
                      <a:pt x="101538" y="26666"/>
                      <a:pt x="103076" y="26666"/>
                    </a:cubicBezTo>
                    <a:cubicBezTo>
                      <a:pt x="103846" y="26666"/>
                      <a:pt x="105384" y="26666"/>
                      <a:pt x="106153" y="26666"/>
                    </a:cubicBezTo>
                    <a:cubicBezTo>
                      <a:pt x="109230" y="25185"/>
                      <a:pt x="112307" y="23703"/>
                      <a:pt x="114615" y="22222"/>
                    </a:cubicBezTo>
                    <a:cubicBezTo>
                      <a:pt x="114615" y="22222"/>
                      <a:pt x="120000" y="16296"/>
                      <a:pt x="117692" y="14814"/>
                    </a:cubicBezTo>
                    <a:cubicBezTo>
                      <a:pt x="116153" y="14814"/>
                      <a:pt x="113846" y="14814"/>
                      <a:pt x="112307" y="14814"/>
                    </a:cubicBezTo>
                    <a:cubicBezTo>
                      <a:pt x="111538" y="13333"/>
                      <a:pt x="110000" y="14814"/>
                      <a:pt x="110000" y="13333"/>
                    </a:cubicBezTo>
                    <a:cubicBezTo>
                      <a:pt x="110000" y="10370"/>
                      <a:pt x="108461" y="10370"/>
                      <a:pt x="108461" y="7407"/>
                    </a:cubicBezTo>
                    <a:cubicBezTo>
                      <a:pt x="108461" y="7407"/>
                      <a:pt x="105384" y="8888"/>
                      <a:pt x="104615" y="8888"/>
                    </a:cubicBezTo>
                    <a:cubicBezTo>
                      <a:pt x="103846" y="7407"/>
                      <a:pt x="103076" y="4444"/>
                      <a:pt x="102307" y="7407"/>
                    </a:cubicBezTo>
                    <a:cubicBezTo>
                      <a:pt x="102307" y="7407"/>
                      <a:pt x="97692" y="8888"/>
                      <a:pt x="96923" y="8888"/>
                    </a:cubicBezTo>
                    <a:cubicBezTo>
                      <a:pt x="95384" y="10370"/>
                      <a:pt x="93846" y="10370"/>
                      <a:pt x="92307" y="10370"/>
                    </a:cubicBezTo>
                    <a:cubicBezTo>
                      <a:pt x="92307" y="10370"/>
                      <a:pt x="89230" y="10370"/>
                      <a:pt x="89230" y="10370"/>
                    </a:cubicBezTo>
                    <a:cubicBezTo>
                      <a:pt x="89230" y="8888"/>
                      <a:pt x="92307" y="8888"/>
                      <a:pt x="93076" y="7407"/>
                    </a:cubicBezTo>
                    <a:cubicBezTo>
                      <a:pt x="94615" y="7407"/>
                      <a:pt x="96153" y="5925"/>
                      <a:pt x="96923" y="4444"/>
                    </a:cubicBezTo>
                    <a:cubicBezTo>
                      <a:pt x="95384" y="8888"/>
                      <a:pt x="79230" y="0"/>
                      <a:pt x="78461" y="2962"/>
                    </a:cubicBezTo>
                    <a:cubicBezTo>
                      <a:pt x="78461" y="4444"/>
                      <a:pt x="80000" y="4444"/>
                      <a:pt x="80769" y="5925"/>
                    </a:cubicBezTo>
                    <a:cubicBezTo>
                      <a:pt x="80769" y="7407"/>
                      <a:pt x="76923" y="2962"/>
                      <a:pt x="76923" y="2962"/>
                    </a:cubicBezTo>
                    <a:cubicBezTo>
                      <a:pt x="75384" y="1481"/>
                      <a:pt x="73076" y="2962"/>
                      <a:pt x="72307" y="2962"/>
                    </a:cubicBezTo>
                    <a:cubicBezTo>
                      <a:pt x="71538" y="2962"/>
                      <a:pt x="69230" y="2962"/>
                      <a:pt x="70000" y="4444"/>
                    </a:cubicBezTo>
                    <a:cubicBezTo>
                      <a:pt x="70769" y="5925"/>
                      <a:pt x="72307" y="10370"/>
                      <a:pt x="73076" y="8888"/>
                    </a:cubicBezTo>
                    <a:cubicBezTo>
                      <a:pt x="73076" y="10370"/>
                      <a:pt x="70000" y="8888"/>
                      <a:pt x="70000" y="7407"/>
                    </a:cubicBezTo>
                    <a:cubicBezTo>
                      <a:pt x="67692" y="7407"/>
                      <a:pt x="66923" y="2962"/>
                      <a:pt x="65384" y="2962"/>
                    </a:cubicBezTo>
                    <a:cubicBezTo>
                      <a:pt x="62307" y="2962"/>
                      <a:pt x="60000" y="2962"/>
                      <a:pt x="57692" y="2962"/>
                    </a:cubicBezTo>
                    <a:cubicBezTo>
                      <a:pt x="53846" y="4444"/>
                      <a:pt x="56153" y="5925"/>
                      <a:pt x="58461" y="7407"/>
                    </a:cubicBezTo>
                    <a:cubicBezTo>
                      <a:pt x="59230" y="8888"/>
                      <a:pt x="60769" y="10370"/>
                      <a:pt x="61538" y="11851"/>
                    </a:cubicBezTo>
                    <a:cubicBezTo>
                      <a:pt x="61538" y="11851"/>
                      <a:pt x="59230" y="14814"/>
                      <a:pt x="59230" y="14814"/>
                    </a:cubicBezTo>
                    <a:cubicBezTo>
                      <a:pt x="58461" y="14814"/>
                      <a:pt x="60000" y="13333"/>
                      <a:pt x="60000" y="13333"/>
                    </a:cubicBezTo>
                    <a:cubicBezTo>
                      <a:pt x="60000" y="11851"/>
                      <a:pt x="54615" y="5925"/>
                      <a:pt x="53846" y="5925"/>
                    </a:cubicBezTo>
                    <a:cubicBezTo>
                      <a:pt x="50769" y="5925"/>
                      <a:pt x="47692" y="4444"/>
                      <a:pt x="44615" y="5925"/>
                    </a:cubicBezTo>
                    <a:cubicBezTo>
                      <a:pt x="44615" y="5925"/>
                      <a:pt x="46153" y="8888"/>
                      <a:pt x="46923" y="8888"/>
                    </a:cubicBezTo>
                    <a:cubicBezTo>
                      <a:pt x="47692" y="8888"/>
                      <a:pt x="49230" y="10370"/>
                      <a:pt x="50769" y="8888"/>
                    </a:cubicBezTo>
                    <a:cubicBezTo>
                      <a:pt x="49230" y="10370"/>
                      <a:pt x="46923" y="11851"/>
                      <a:pt x="45384" y="10370"/>
                    </a:cubicBezTo>
                    <a:cubicBezTo>
                      <a:pt x="44615" y="10370"/>
                      <a:pt x="39230" y="5925"/>
                      <a:pt x="40000" y="7407"/>
                    </a:cubicBezTo>
                    <a:cubicBezTo>
                      <a:pt x="40000" y="5925"/>
                      <a:pt x="43846" y="14814"/>
                      <a:pt x="40769" y="13333"/>
                    </a:cubicBezTo>
                    <a:cubicBezTo>
                      <a:pt x="40000" y="11851"/>
                      <a:pt x="37692" y="10370"/>
                      <a:pt x="36153" y="11851"/>
                    </a:cubicBezTo>
                    <a:cubicBezTo>
                      <a:pt x="36923" y="11851"/>
                      <a:pt x="39230" y="13333"/>
                      <a:pt x="39230" y="13333"/>
                    </a:cubicBezTo>
                    <a:cubicBezTo>
                      <a:pt x="38461" y="14814"/>
                      <a:pt x="35384" y="11851"/>
                      <a:pt x="35384" y="14814"/>
                    </a:cubicBezTo>
                    <a:cubicBezTo>
                      <a:pt x="35384" y="16296"/>
                      <a:pt x="38461" y="17777"/>
                      <a:pt x="39230" y="19259"/>
                    </a:cubicBezTo>
                    <a:cubicBezTo>
                      <a:pt x="41538" y="19259"/>
                      <a:pt x="46923" y="20740"/>
                      <a:pt x="46923" y="25185"/>
                    </a:cubicBezTo>
                    <a:cubicBezTo>
                      <a:pt x="46923" y="23703"/>
                      <a:pt x="41538" y="22222"/>
                      <a:pt x="40000" y="20740"/>
                    </a:cubicBezTo>
                    <a:cubicBezTo>
                      <a:pt x="38461" y="20740"/>
                      <a:pt x="36153" y="16296"/>
                      <a:pt x="34615" y="17777"/>
                    </a:cubicBezTo>
                    <a:cubicBezTo>
                      <a:pt x="34615" y="17777"/>
                      <a:pt x="36923" y="20740"/>
                      <a:pt x="36923" y="20740"/>
                    </a:cubicBezTo>
                    <a:cubicBezTo>
                      <a:pt x="36923" y="20740"/>
                      <a:pt x="34615" y="22222"/>
                      <a:pt x="34615" y="20740"/>
                    </a:cubicBezTo>
                    <a:cubicBezTo>
                      <a:pt x="33076" y="19259"/>
                      <a:pt x="32307" y="17777"/>
                      <a:pt x="30769" y="16296"/>
                    </a:cubicBezTo>
                    <a:cubicBezTo>
                      <a:pt x="30000" y="14814"/>
                      <a:pt x="23846" y="14814"/>
                      <a:pt x="23846" y="14814"/>
                    </a:cubicBezTo>
                    <a:cubicBezTo>
                      <a:pt x="23846" y="16296"/>
                      <a:pt x="26153" y="16296"/>
                      <a:pt x="23846" y="17777"/>
                    </a:cubicBezTo>
                    <a:cubicBezTo>
                      <a:pt x="23076" y="17777"/>
                      <a:pt x="19230" y="20740"/>
                      <a:pt x="19230" y="20740"/>
                    </a:cubicBezTo>
                    <a:cubicBezTo>
                      <a:pt x="20000" y="20740"/>
                      <a:pt x="22307" y="19259"/>
                      <a:pt x="22307" y="19259"/>
                    </a:cubicBezTo>
                    <a:cubicBezTo>
                      <a:pt x="23076" y="20740"/>
                      <a:pt x="26153" y="23703"/>
                      <a:pt x="26153" y="23703"/>
                    </a:cubicBezTo>
                    <a:cubicBezTo>
                      <a:pt x="26153" y="23703"/>
                      <a:pt x="23846" y="22222"/>
                      <a:pt x="23846" y="23703"/>
                    </a:cubicBezTo>
                    <a:cubicBezTo>
                      <a:pt x="23846" y="23703"/>
                      <a:pt x="24615" y="28148"/>
                      <a:pt x="23076" y="25185"/>
                    </a:cubicBezTo>
                    <a:cubicBezTo>
                      <a:pt x="22307" y="23703"/>
                      <a:pt x="21538" y="20740"/>
                      <a:pt x="20000" y="22222"/>
                    </a:cubicBezTo>
                    <a:cubicBezTo>
                      <a:pt x="19230" y="22222"/>
                      <a:pt x="18461" y="25185"/>
                      <a:pt x="17692" y="23703"/>
                    </a:cubicBezTo>
                    <a:cubicBezTo>
                      <a:pt x="16923" y="22222"/>
                      <a:pt x="16153" y="20740"/>
                      <a:pt x="14615" y="20740"/>
                    </a:cubicBezTo>
                    <a:cubicBezTo>
                      <a:pt x="13846" y="20740"/>
                      <a:pt x="11538" y="22222"/>
                      <a:pt x="10769" y="23703"/>
                    </a:cubicBezTo>
                    <a:cubicBezTo>
                      <a:pt x="9230" y="25185"/>
                      <a:pt x="10000" y="26666"/>
                      <a:pt x="7692" y="25185"/>
                    </a:cubicBezTo>
                    <a:cubicBezTo>
                      <a:pt x="6153" y="23703"/>
                      <a:pt x="5384" y="25185"/>
                      <a:pt x="3846" y="25185"/>
                    </a:cubicBezTo>
                    <a:cubicBezTo>
                      <a:pt x="3076" y="26666"/>
                      <a:pt x="0" y="26666"/>
                      <a:pt x="0" y="28148"/>
                    </a:cubicBezTo>
                    <a:cubicBezTo>
                      <a:pt x="0" y="31111"/>
                      <a:pt x="6923" y="28148"/>
                      <a:pt x="6923" y="29629"/>
                    </a:cubicBezTo>
                    <a:cubicBezTo>
                      <a:pt x="6923" y="31111"/>
                      <a:pt x="4615" y="31111"/>
                      <a:pt x="3846" y="32592"/>
                    </a:cubicBezTo>
                    <a:cubicBezTo>
                      <a:pt x="3846" y="31111"/>
                      <a:pt x="7692" y="31111"/>
                      <a:pt x="8461" y="31111"/>
                    </a:cubicBezTo>
                    <a:cubicBezTo>
                      <a:pt x="9230" y="31111"/>
                      <a:pt x="13076" y="31111"/>
                      <a:pt x="13076" y="31111"/>
                    </a:cubicBezTo>
                    <a:cubicBezTo>
                      <a:pt x="13076" y="31111"/>
                      <a:pt x="11538" y="32592"/>
                      <a:pt x="10769" y="32592"/>
                    </a:cubicBezTo>
                    <a:cubicBezTo>
                      <a:pt x="9230" y="32592"/>
                      <a:pt x="8461" y="32592"/>
                      <a:pt x="6923" y="35555"/>
                    </a:cubicBezTo>
                    <a:cubicBezTo>
                      <a:pt x="3846" y="38518"/>
                      <a:pt x="9230" y="38518"/>
                      <a:pt x="10000" y="38518"/>
                    </a:cubicBezTo>
                    <a:cubicBezTo>
                      <a:pt x="13076" y="40000"/>
                      <a:pt x="15384" y="40000"/>
                      <a:pt x="18461" y="38518"/>
                    </a:cubicBezTo>
                    <a:cubicBezTo>
                      <a:pt x="20000" y="37037"/>
                      <a:pt x="23846" y="32592"/>
                      <a:pt x="26153" y="35555"/>
                    </a:cubicBezTo>
                    <a:cubicBezTo>
                      <a:pt x="26153" y="35555"/>
                      <a:pt x="22307" y="38518"/>
                      <a:pt x="22307" y="38518"/>
                    </a:cubicBezTo>
                    <a:cubicBezTo>
                      <a:pt x="20769" y="38518"/>
                      <a:pt x="19230" y="38518"/>
                      <a:pt x="17692" y="40000"/>
                    </a:cubicBezTo>
                    <a:cubicBezTo>
                      <a:pt x="16923" y="40000"/>
                      <a:pt x="15384" y="40000"/>
                      <a:pt x="13846" y="40000"/>
                    </a:cubicBezTo>
                    <a:cubicBezTo>
                      <a:pt x="12307" y="41481"/>
                      <a:pt x="10769" y="40000"/>
                      <a:pt x="9230" y="41481"/>
                    </a:cubicBezTo>
                    <a:cubicBezTo>
                      <a:pt x="10000" y="41481"/>
                      <a:pt x="12307" y="42962"/>
                      <a:pt x="12307" y="42962"/>
                    </a:cubicBezTo>
                    <a:cubicBezTo>
                      <a:pt x="13076" y="44444"/>
                      <a:pt x="13846" y="45925"/>
                      <a:pt x="15384" y="45925"/>
                    </a:cubicBezTo>
                    <a:cubicBezTo>
                      <a:pt x="18461" y="45925"/>
                      <a:pt x="20000" y="41481"/>
                      <a:pt x="23076" y="40000"/>
                    </a:cubicBezTo>
                    <a:cubicBezTo>
                      <a:pt x="23846" y="40000"/>
                      <a:pt x="33846" y="38518"/>
                      <a:pt x="33846" y="37037"/>
                    </a:cubicBezTo>
                    <a:cubicBezTo>
                      <a:pt x="33846" y="38518"/>
                      <a:pt x="29230" y="38518"/>
                      <a:pt x="28461" y="38518"/>
                    </a:cubicBezTo>
                    <a:cubicBezTo>
                      <a:pt x="26153" y="40000"/>
                      <a:pt x="22307" y="41481"/>
                      <a:pt x="20000" y="44444"/>
                    </a:cubicBezTo>
                    <a:cubicBezTo>
                      <a:pt x="17692" y="48888"/>
                      <a:pt x="24615" y="47407"/>
                      <a:pt x="25384" y="47407"/>
                    </a:cubicBezTo>
                    <a:cubicBezTo>
                      <a:pt x="26923" y="47407"/>
                      <a:pt x="28461" y="48888"/>
                      <a:pt x="30000" y="45925"/>
                    </a:cubicBezTo>
                    <a:cubicBezTo>
                      <a:pt x="30769" y="45925"/>
                      <a:pt x="30769" y="44444"/>
                      <a:pt x="30769" y="42962"/>
                    </a:cubicBezTo>
                    <a:cubicBezTo>
                      <a:pt x="31538" y="42962"/>
                      <a:pt x="32307" y="42962"/>
                      <a:pt x="32307" y="44444"/>
                    </a:cubicBezTo>
                    <a:cubicBezTo>
                      <a:pt x="32307" y="44444"/>
                      <a:pt x="32307" y="44444"/>
                      <a:pt x="31538" y="44444"/>
                    </a:cubicBezTo>
                    <a:cubicBezTo>
                      <a:pt x="33076" y="44444"/>
                      <a:pt x="36923" y="41481"/>
                      <a:pt x="38461" y="42962"/>
                    </a:cubicBezTo>
                    <a:cubicBezTo>
                      <a:pt x="37692" y="41481"/>
                      <a:pt x="33846" y="47407"/>
                      <a:pt x="33076" y="47407"/>
                    </a:cubicBezTo>
                    <a:cubicBezTo>
                      <a:pt x="33846" y="48888"/>
                      <a:pt x="38461" y="45925"/>
                      <a:pt x="40000" y="45925"/>
                    </a:cubicBezTo>
                    <a:cubicBezTo>
                      <a:pt x="42307" y="45925"/>
                      <a:pt x="44615" y="44444"/>
                      <a:pt x="46923" y="41481"/>
                    </a:cubicBezTo>
                    <a:cubicBezTo>
                      <a:pt x="47692" y="40000"/>
                      <a:pt x="47692" y="37037"/>
                      <a:pt x="47692" y="37037"/>
                    </a:cubicBezTo>
                    <a:cubicBezTo>
                      <a:pt x="49230" y="37037"/>
                      <a:pt x="49230" y="37037"/>
                      <a:pt x="50000" y="35555"/>
                    </a:cubicBezTo>
                    <a:cubicBezTo>
                      <a:pt x="50769" y="35555"/>
                      <a:pt x="56153" y="29629"/>
                      <a:pt x="56153" y="31111"/>
                    </a:cubicBezTo>
                    <a:cubicBezTo>
                      <a:pt x="56153" y="31111"/>
                      <a:pt x="53076" y="35555"/>
                      <a:pt x="53076" y="35555"/>
                    </a:cubicBezTo>
                    <a:cubicBezTo>
                      <a:pt x="52307" y="37037"/>
                      <a:pt x="49230" y="40000"/>
                      <a:pt x="49230" y="41481"/>
                    </a:cubicBezTo>
                    <a:cubicBezTo>
                      <a:pt x="49230" y="42962"/>
                      <a:pt x="57692" y="41481"/>
                      <a:pt x="57692" y="42962"/>
                    </a:cubicBezTo>
                    <a:cubicBezTo>
                      <a:pt x="57692" y="41481"/>
                      <a:pt x="46153" y="47407"/>
                      <a:pt x="46153" y="45925"/>
                    </a:cubicBezTo>
                    <a:cubicBezTo>
                      <a:pt x="46153" y="45925"/>
                      <a:pt x="53076" y="47407"/>
                      <a:pt x="52307" y="47407"/>
                    </a:cubicBezTo>
                    <a:cubicBezTo>
                      <a:pt x="52307" y="48888"/>
                      <a:pt x="49230" y="48888"/>
                      <a:pt x="48461" y="48888"/>
                    </a:cubicBezTo>
                    <a:cubicBezTo>
                      <a:pt x="46923" y="48888"/>
                      <a:pt x="44615" y="48888"/>
                      <a:pt x="43076" y="50370"/>
                    </a:cubicBezTo>
                    <a:cubicBezTo>
                      <a:pt x="40000" y="50370"/>
                      <a:pt x="36923" y="50370"/>
                      <a:pt x="33846" y="51851"/>
                    </a:cubicBezTo>
                    <a:cubicBezTo>
                      <a:pt x="33076" y="51851"/>
                      <a:pt x="33076" y="53333"/>
                      <a:pt x="34615" y="53333"/>
                    </a:cubicBezTo>
                    <a:cubicBezTo>
                      <a:pt x="35384" y="54814"/>
                      <a:pt x="37692" y="56296"/>
                      <a:pt x="38461" y="57777"/>
                    </a:cubicBezTo>
                    <a:cubicBezTo>
                      <a:pt x="40000" y="60740"/>
                      <a:pt x="38461" y="63703"/>
                      <a:pt x="40769" y="63703"/>
                    </a:cubicBezTo>
                    <a:cubicBezTo>
                      <a:pt x="41538" y="62222"/>
                      <a:pt x="43846" y="63703"/>
                      <a:pt x="44615" y="62222"/>
                    </a:cubicBezTo>
                    <a:cubicBezTo>
                      <a:pt x="37692" y="69629"/>
                      <a:pt x="33846" y="53333"/>
                      <a:pt x="28461" y="53333"/>
                    </a:cubicBezTo>
                    <a:cubicBezTo>
                      <a:pt x="26923" y="53333"/>
                      <a:pt x="20000" y="50370"/>
                      <a:pt x="20000" y="53333"/>
                    </a:cubicBezTo>
                    <a:cubicBezTo>
                      <a:pt x="20000" y="53333"/>
                      <a:pt x="19230" y="56296"/>
                      <a:pt x="19230" y="56296"/>
                    </a:cubicBezTo>
                    <a:cubicBezTo>
                      <a:pt x="20000" y="56296"/>
                      <a:pt x="24615" y="56296"/>
                      <a:pt x="24615" y="57777"/>
                    </a:cubicBezTo>
                    <a:cubicBezTo>
                      <a:pt x="24615" y="57777"/>
                      <a:pt x="20000" y="57777"/>
                      <a:pt x="20000" y="60740"/>
                    </a:cubicBezTo>
                    <a:cubicBezTo>
                      <a:pt x="20000" y="62222"/>
                      <a:pt x="24615" y="62222"/>
                      <a:pt x="26153" y="63703"/>
                    </a:cubicBezTo>
                    <a:cubicBezTo>
                      <a:pt x="26923" y="65185"/>
                      <a:pt x="27692" y="66666"/>
                      <a:pt x="28461" y="68148"/>
                    </a:cubicBezTo>
                    <a:cubicBezTo>
                      <a:pt x="29230" y="71111"/>
                      <a:pt x="30769" y="72592"/>
                      <a:pt x="32307" y="74074"/>
                    </a:cubicBezTo>
                    <a:cubicBezTo>
                      <a:pt x="33846" y="75555"/>
                      <a:pt x="34615" y="75555"/>
                      <a:pt x="36153" y="74074"/>
                    </a:cubicBezTo>
                    <a:cubicBezTo>
                      <a:pt x="36923" y="74074"/>
                      <a:pt x="38461" y="72592"/>
                      <a:pt x="39230" y="74074"/>
                    </a:cubicBezTo>
                    <a:cubicBezTo>
                      <a:pt x="39230" y="74074"/>
                      <a:pt x="38461" y="77037"/>
                      <a:pt x="38461" y="77037"/>
                    </a:cubicBezTo>
                    <a:cubicBezTo>
                      <a:pt x="36923" y="77037"/>
                      <a:pt x="34615" y="75555"/>
                      <a:pt x="33846" y="77037"/>
                    </a:cubicBezTo>
                    <a:cubicBezTo>
                      <a:pt x="33846" y="75555"/>
                      <a:pt x="36923" y="80000"/>
                      <a:pt x="36923" y="80000"/>
                    </a:cubicBezTo>
                    <a:cubicBezTo>
                      <a:pt x="36923" y="81481"/>
                      <a:pt x="33076" y="78518"/>
                      <a:pt x="33076" y="78518"/>
                    </a:cubicBezTo>
                    <a:cubicBezTo>
                      <a:pt x="30769" y="75555"/>
                      <a:pt x="29230" y="75555"/>
                      <a:pt x="26923" y="75555"/>
                    </a:cubicBezTo>
                    <a:cubicBezTo>
                      <a:pt x="25384" y="75555"/>
                      <a:pt x="24615" y="75555"/>
                      <a:pt x="23076" y="77037"/>
                    </a:cubicBezTo>
                    <a:cubicBezTo>
                      <a:pt x="21538" y="78518"/>
                      <a:pt x="20769" y="77037"/>
                      <a:pt x="20000" y="78518"/>
                    </a:cubicBezTo>
                    <a:cubicBezTo>
                      <a:pt x="19230" y="80000"/>
                      <a:pt x="19230" y="81481"/>
                      <a:pt x="17692" y="81481"/>
                    </a:cubicBezTo>
                    <a:cubicBezTo>
                      <a:pt x="16923" y="82962"/>
                      <a:pt x="16153" y="87407"/>
                      <a:pt x="17692" y="87407"/>
                    </a:cubicBezTo>
                    <a:cubicBezTo>
                      <a:pt x="19230" y="87407"/>
                      <a:pt x="20769" y="85925"/>
                      <a:pt x="20769" y="87407"/>
                    </a:cubicBezTo>
                    <a:cubicBezTo>
                      <a:pt x="21538" y="90370"/>
                      <a:pt x="24615" y="88888"/>
                      <a:pt x="24615" y="87407"/>
                    </a:cubicBezTo>
                    <a:cubicBezTo>
                      <a:pt x="25384" y="87407"/>
                      <a:pt x="26923" y="82962"/>
                      <a:pt x="26923" y="81481"/>
                    </a:cubicBezTo>
                    <a:cubicBezTo>
                      <a:pt x="26923" y="82962"/>
                      <a:pt x="26923" y="82962"/>
                      <a:pt x="26923" y="84444"/>
                    </a:cubicBezTo>
                    <a:cubicBezTo>
                      <a:pt x="26923" y="84444"/>
                      <a:pt x="27692" y="84444"/>
                      <a:pt x="27692" y="84444"/>
                    </a:cubicBezTo>
                    <a:cubicBezTo>
                      <a:pt x="27692" y="84444"/>
                      <a:pt x="26923" y="85925"/>
                      <a:pt x="26923" y="87407"/>
                    </a:cubicBezTo>
                    <a:cubicBezTo>
                      <a:pt x="26923" y="87407"/>
                      <a:pt x="26923" y="87407"/>
                      <a:pt x="27692" y="87407"/>
                    </a:cubicBezTo>
                    <a:cubicBezTo>
                      <a:pt x="27692" y="87407"/>
                      <a:pt x="25384" y="88888"/>
                      <a:pt x="26153" y="88888"/>
                    </a:cubicBezTo>
                    <a:cubicBezTo>
                      <a:pt x="26153" y="88888"/>
                      <a:pt x="26153" y="88888"/>
                      <a:pt x="26153" y="88888"/>
                    </a:cubicBezTo>
                    <a:cubicBezTo>
                      <a:pt x="26153" y="90370"/>
                      <a:pt x="23846" y="88888"/>
                      <a:pt x="23076" y="90370"/>
                    </a:cubicBezTo>
                    <a:cubicBezTo>
                      <a:pt x="23846" y="90370"/>
                      <a:pt x="26923" y="90370"/>
                      <a:pt x="27692" y="91851"/>
                    </a:cubicBezTo>
                    <a:cubicBezTo>
                      <a:pt x="27692" y="91851"/>
                      <a:pt x="23846" y="96296"/>
                      <a:pt x="24615" y="96296"/>
                    </a:cubicBezTo>
                    <a:cubicBezTo>
                      <a:pt x="24615" y="97777"/>
                      <a:pt x="28461" y="96296"/>
                      <a:pt x="28461" y="96296"/>
                    </a:cubicBezTo>
                    <a:cubicBezTo>
                      <a:pt x="28461" y="96296"/>
                      <a:pt x="27692" y="96296"/>
                      <a:pt x="27692" y="96296"/>
                    </a:cubicBezTo>
                    <a:cubicBezTo>
                      <a:pt x="27692" y="97777"/>
                      <a:pt x="31538" y="96296"/>
                      <a:pt x="32307" y="94814"/>
                    </a:cubicBezTo>
                    <a:cubicBezTo>
                      <a:pt x="32307" y="94814"/>
                      <a:pt x="35384" y="87407"/>
                      <a:pt x="36153" y="88888"/>
                    </a:cubicBezTo>
                    <a:cubicBezTo>
                      <a:pt x="36923" y="90370"/>
                      <a:pt x="30769" y="99259"/>
                      <a:pt x="29230" y="100740"/>
                    </a:cubicBezTo>
                    <a:cubicBezTo>
                      <a:pt x="26923" y="100740"/>
                      <a:pt x="25384" y="100740"/>
                      <a:pt x="23076" y="97777"/>
                    </a:cubicBezTo>
                    <a:cubicBezTo>
                      <a:pt x="21538" y="96296"/>
                      <a:pt x="21538" y="93333"/>
                      <a:pt x="20000" y="93333"/>
                    </a:cubicBezTo>
                    <a:cubicBezTo>
                      <a:pt x="18461" y="91851"/>
                      <a:pt x="16923" y="91851"/>
                      <a:pt x="15384" y="91851"/>
                    </a:cubicBezTo>
                    <a:cubicBezTo>
                      <a:pt x="13076" y="91851"/>
                      <a:pt x="13076" y="93333"/>
                      <a:pt x="14615" y="96296"/>
                    </a:cubicBezTo>
                    <a:cubicBezTo>
                      <a:pt x="15384" y="97777"/>
                      <a:pt x="15384" y="99259"/>
                      <a:pt x="16923" y="99259"/>
                    </a:cubicBezTo>
                    <a:cubicBezTo>
                      <a:pt x="19230" y="99259"/>
                      <a:pt x="16923" y="99259"/>
                      <a:pt x="16923" y="100740"/>
                    </a:cubicBezTo>
                    <a:cubicBezTo>
                      <a:pt x="16923" y="100740"/>
                      <a:pt x="20000" y="103703"/>
                      <a:pt x="20000" y="10370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0" name="Shape 2481">
                <a:extLst>
                  <a:ext uri="{FF2B5EF4-FFF2-40B4-BE49-F238E27FC236}">
                    <a16:creationId xmlns:a16="http://schemas.microsoft.com/office/drawing/2014/main" id="{63FE0F16-6D9A-43CD-B86E-14CB16A4AC5D}"/>
                  </a:ext>
                </a:extLst>
              </p:cNvPr>
              <p:cNvSpPr/>
              <p:nvPr/>
            </p:nvSpPr>
            <p:spPr>
              <a:xfrm>
                <a:off x="8566034" y="4980807"/>
                <a:ext cx="117821" cy="43118"/>
              </a:xfrm>
              <a:custGeom>
                <a:avLst/>
                <a:gdLst/>
                <a:ahLst/>
                <a:cxnLst/>
                <a:rect l="0" t="0" r="0" b="0"/>
                <a:pathLst>
                  <a:path w="120000" h="120000" extrusionOk="0">
                    <a:moveTo>
                      <a:pt x="111428" y="96000"/>
                    </a:moveTo>
                    <a:cubicBezTo>
                      <a:pt x="102857" y="72000"/>
                      <a:pt x="111428" y="72000"/>
                      <a:pt x="94285" y="48000"/>
                    </a:cubicBezTo>
                    <a:cubicBezTo>
                      <a:pt x="85714" y="48000"/>
                      <a:pt x="77142" y="48000"/>
                      <a:pt x="68571" y="48000"/>
                    </a:cubicBezTo>
                    <a:cubicBezTo>
                      <a:pt x="59999" y="48000"/>
                      <a:pt x="17142" y="0"/>
                      <a:pt x="8571" y="24000"/>
                    </a:cubicBezTo>
                    <a:cubicBezTo>
                      <a:pt x="8571" y="24000"/>
                      <a:pt x="25714" y="48000"/>
                      <a:pt x="17142" y="48000"/>
                    </a:cubicBezTo>
                    <a:cubicBezTo>
                      <a:pt x="17142" y="72000"/>
                      <a:pt x="0" y="96000"/>
                      <a:pt x="0" y="72000"/>
                    </a:cubicBezTo>
                    <a:cubicBezTo>
                      <a:pt x="0" y="96000"/>
                      <a:pt x="17142" y="72000"/>
                      <a:pt x="25714" y="72000"/>
                    </a:cubicBezTo>
                    <a:cubicBezTo>
                      <a:pt x="34285" y="72000"/>
                      <a:pt x="51428" y="96000"/>
                      <a:pt x="68571" y="96000"/>
                    </a:cubicBezTo>
                    <a:cubicBezTo>
                      <a:pt x="77142" y="96000"/>
                      <a:pt x="111428" y="96000"/>
                      <a:pt x="111428" y="96000"/>
                    </a:cubicBezTo>
                    <a:cubicBezTo>
                      <a:pt x="102857" y="72000"/>
                      <a:pt x="119999" y="120000"/>
                      <a:pt x="111428"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1" name="Shape 2482">
                <a:extLst>
                  <a:ext uri="{FF2B5EF4-FFF2-40B4-BE49-F238E27FC236}">
                    <a16:creationId xmlns:a16="http://schemas.microsoft.com/office/drawing/2014/main" id="{C8488C2A-E3B5-4999-AF9B-5B4090BA1A1D}"/>
                  </a:ext>
                </a:extLst>
              </p:cNvPr>
              <p:cNvSpPr/>
              <p:nvPr/>
            </p:nvSpPr>
            <p:spPr>
              <a:xfrm>
                <a:off x="8238435" y="5015297"/>
                <a:ext cx="48853" cy="17246"/>
              </a:xfrm>
              <a:custGeom>
                <a:avLst/>
                <a:gdLst/>
                <a:ahLst/>
                <a:cxnLst/>
                <a:rect l="0" t="0" r="0" b="0"/>
                <a:pathLst>
                  <a:path w="120000" h="120000" extrusionOk="0">
                    <a:moveTo>
                      <a:pt x="100000" y="60000"/>
                    </a:moveTo>
                    <a:cubicBezTo>
                      <a:pt x="80000" y="120000"/>
                      <a:pt x="0" y="0"/>
                      <a:pt x="40000" y="0"/>
                    </a:cubicBezTo>
                    <a:cubicBezTo>
                      <a:pt x="60000" y="0"/>
                      <a:pt x="120000" y="60000"/>
                      <a:pt x="10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2" name="Shape 2483">
                <a:extLst>
                  <a:ext uri="{FF2B5EF4-FFF2-40B4-BE49-F238E27FC236}">
                    <a16:creationId xmlns:a16="http://schemas.microsoft.com/office/drawing/2014/main" id="{D3C8083C-0D97-42A5-A997-615C4C4D8660}"/>
                  </a:ext>
                </a:extLst>
              </p:cNvPr>
              <p:cNvSpPr/>
              <p:nvPr/>
            </p:nvSpPr>
            <p:spPr>
              <a:xfrm>
                <a:off x="8456835" y="5276872"/>
                <a:ext cx="48853" cy="25872"/>
              </a:xfrm>
              <a:custGeom>
                <a:avLst/>
                <a:gdLst/>
                <a:ahLst/>
                <a:cxnLst/>
                <a:rect l="0" t="0" r="0" b="0"/>
                <a:pathLst>
                  <a:path w="120000" h="120000" extrusionOk="0">
                    <a:moveTo>
                      <a:pt x="80000" y="40000"/>
                    </a:moveTo>
                    <a:cubicBezTo>
                      <a:pt x="60000" y="0"/>
                      <a:pt x="0" y="80000"/>
                      <a:pt x="20000" y="80000"/>
                    </a:cubicBezTo>
                    <a:cubicBezTo>
                      <a:pt x="40000" y="120000"/>
                      <a:pt x="120000" y="40000"/>
                      <a:pt x="8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3" name="Shape 2484">
                <a:extLst>
                  <a:ext uri="{FF2B5EF4-FFF2-40B4-BE49-F238E27FC236}">
                    <a16:creationId xmlns:a16="http://schemas.microsoft.com/office/drawing/2014/main" id="{0E1AF600-78FE-4702-8EBD-9181EE350B4A}"/>
                  </a:ext>
                </a:extLst>
              </p:cNvPr>
              <p:cNvSpPr/>
              <p:nvPr/>
            </p:nvSpPr>
            <p:spPr>
              <a:xfrm>
                <a:off x="5591777" y="6449639"/>
                <a:ext cx="43104" cy="34493"/>
              </a:xfrm>
              <a:custGeom>
                <a:avLst/>
                <a:gdLst/>
                <a:ahLst/>
                <a:cxnLst/>
                <a:rect l="0" t="0" r="0" b="0"/>
                <a:pathLst>
                  <a:path w="120000" h="120000" extrusionOk="0">
                    <a:moveTo>
                      <a:pt x="96000" y="30000"/>
                    </a:moveTo>
                    <a:cubicBezTo>
                      <a:pt x="72000" y="0"/>
                      <a:pt x="0" y="120000"/>
                      <a:pt x="24000" y="120000"/>
                    </a:cubicBezTo>
                    <a:cubicBezTo>
                      <a:pt x="24000" y="120000"/>
                      <a:pt x="120000" y="30000"/>
                      <a:pt x="96000" y="3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4" name="Shape 2485">
                <a:extLst>
                  <a:ext uri="{FF2B5EF4-FFF2-40B4-BE49-F238E27FC236}">
                    <a16:creationId xmlns:a16="http://schemas.microsoft.com/office/drawing/2014/main" id="{8B033786-D58D-4AD9-8EFB-66F355D96505}"/>
                  </a:ext>
                </a:extLst>
              </p:cNvPr>
              <p:cNvSpPr/>
              <p:nvPr/>
            </p:nvSpPr>
            <p:spPr>
              <a:xfrm>
                <a:off x="5652127" y="6441014"/>
                <a:ext cx="8622" cy="8625"/>
              </a:xfrm>
              <a:custGeom>
                <a:avLst/>
                <a:gdLst/>
                <a:ahLst/>
                <a:cxnLst/>
                <a:rect l="0" t="0" r="0" b="0"/>
                <a:pathLst>
                  <a:path w="120000" h="120000" extrusionOk="0">
                    <a:moveTo>
                      <a:pt x="0" y="0"/>
                    </a:moveTo>
                    <a:cubicBezTo>
                      <a:pt x="0" y="120000"/>
                      <a:pt x="120000" y="120000"/>
                      <a:pt x="120000" y="120000"/>
                    </a:cubicBezTo>
                    <a:cubicBezTo>
                      <a:pt x="120000" y="0"/>
                      <a:pt x="0" y="0"/>
                      <a:pt x="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5" name="Shape 2486">
                <a:extLst>
                  <a:ext uri="{FF2B5EF4-FFF2-40B4-BE49-F238E27FC236}">
                    <a16:creationId xmlns:a16="http://schemas.microsoft.com/office/drawing/2014/main" id="{0283216D-6EB0-4E81-83C9-5C7D5E1F6CB1}"/>
                  </a:ext>
                </a:extLst>
              </p:cNvPr>
              <p:cNvSpPr/>
              <p:nvPr/>
            </p:nvSpPr>
            <p:spPr>
              <a:xfrm>
                <a:off x="4792894" y="6449639"/>
                <a:ext cx="57473" cy="51738"/>
              </a:xfrm>
              <a:custGeom>
                <a:avLst/>
                <a:gdLst/>
                <a:ahLst/>
                <a:cxnLst/>
                <a:rect l="0" t="0" r="0" b="0"/>
                <a:pathLst>
                  <a:path w="120000" h="120000" extrusionOk="0">
                    <a:moveTo>
                      <a:pt x="85714" y="40000"/>
                    </a:moveTo>
                    <a:cubicBezTo>
                      <a:pt x="119999" y="0"/>
                      <a:pt x="34285" y="0"/>
                      <a:pt x="17142" y="40000"/>
                    </a:cubicBezTo>
                    <a:cubicBezTo>
                      <a:pt x="0" y="60000"/>
                      <a:pt x="68571" y="100000"/>
                      <a:pt x="85714" y="40000"/>
                    </a:cubicBezTo>
                    <a:cubicBezTo>
                      <a:pt x="102857" y="20000"/>
                      <a:pt x="51428" y="120000"/>
                      <a:pt x="85714"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6" name="Shape 2487">
                <a:extLst>
                  <a:ext uri="{FF2B5EF4-FFF2-40B4-BE49-F238E27FC236}">
                    <a16:creationId xmlns:a16="http://schemas.microsoft.com/office/drawing/2014/main" id="{66912646-A611-4001-8E50-F6D45D55C734}"/>
                  </a:ext>
                </a:extLst>
              </p:cNvPr>
              <p:cNvSpPr/>
              <p:nvPr/>
            </p:nvSpPr>
            <p:spPr>
              <a:xfrm>
                <a:off x="17192811" y="9447662"/>
                <a:ext cx="17242" cy="8625"/>
              </a:xfrm>
              <a:custGeom>
                <a:avLst/>
                <a:gdLst/>
                <a:ahLst/>
                <a:cxnLst/>
                <a:rect l="0" t="0" r="0" b="0"/>
                <a:pathLst>
                  <a:path w="120000" h="120000" extrusionOk="0">
                    <a:moveTo>
                      <a:pt x="120000" y="0"/>
                    </a:moveTo>
                    <a:cubicBezTo>
                      <a:pt x="120000" y="120000"/>
                      <a:pt x="0" y="0"/>
                      <a:pt x="0" y="0"/>
                    </a:cubicBezTo>
                    <a:cubicBezTo>
                      <a:pt x="60000" y="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7" name="Shape 2488">
                <a:extLst>
                  <a:ext uri="{FF2B5EF4-FFF2-40B4-BE49-F238E27FC236}">
                    <a16:creationId xmlns:a16="http://schemas.microsoft.com/office/drawing/2014/main" id="{B1DF7FB9-735D-4075-B512-06C874B5E4E4}"/>
                  </a:ext>
                </a:extLst>
              </p:cNvPr>
              <p:cNvSpPr/>
              <p:nvPr/>
            </p:nvSpPr>
            <p:spPr>
              <a:xfrm>
                <a:off x="17083611" y="9430415"/>
                <a:ext cx="17242" cy="17246"/>
              </a:xfrm>
              <a:custGeom>
                <a:avLst/>
                <a:gdLst/>
                <a:ahLst/>
                <a:cxnLst/>
                <a:rect l="0" t="0" r="0" b="0"/>
                <a:pathLst>
                  <a:path w="120000" h="120000" extrusionOk="0">
                    <a:moveTo>
                      <a:pt x="120000" y="0"/>
                    </a:moveTo>
                    <a:cubicBezTo>
                      <a:pt x="120000" y="60000"/>
                      <a:pt x="0" y="120000"/>
                      <a:pt x="0" y="60000"/>
                    </a:cubicBezTo>
                    <a:cubicBezTo>
                      <a:pt x="0" y="0"/>
                      <a:pt x="120000" y="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8" name="Shape 2489">
                <a:extLst>
                  <a:ext uri="{FF2B5EF4-FFF2-40B4-BE49-F238E27FC236}">
                    <a16:creationId xmlns:a16="http://schemas.microsoft.com/office/drawing/2014/main" id="{E9CE2A41-B55D-4D99-9226-56245EC136B2}"/>
                  </a:ext>
                </a:extLst>
              </p:cNvPr>
              <p:cNvSpPr/>
              <p:nvPr/>
            </p:nvSpPr>
            <p:spPr>
              <a:xfrm>
                <a:off x="17462937" y="10933742"/>
                <a:ext cx="57473" cy="43118"/>
              </a:xfrm>
              <a:custGeom>
                <a:avLst/>
                <a:gdLst/>
                <a:ahLst/>
                <a:cxnLst/>
                <a:rect l="0" t="0" r="0" b="0"/>
                <a:pathLst>
                  <a:path w="120000" h="120000" extrusionOk="0">
                    <a:moveTo>
                      <a:pt x="102857" y="48000"/>
                    </a:moveTo>
                    <a:cubicBezTo>
                      <a:pt x="119999" y="0"/>
                      <a:pt x="0" y="24000"/>
                      <a:pt x="17142" y="48000"/>
                    </a:cubicBezTo>
                    <a:cubicBezTo>
                      <a:pt x="17142" y="72000"/>
                      <a:pt x="85714" y="120000"/>
                      <a:pt x="102857" y="4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39" name="Shape 2490">
                <a:extLst>
                  <a:ext uri="{FF2B5EF4-FFF2-40B4-BE49-F238E27FC236}">
                    <a16:creationId xmlns:a16="http://schemas.microsoft.com/office/drawing/2014/main" id="{6EC9F344-8545-4DD4-9B6D-721DD668E158}"/>
                  </a:ext>
                </a:extLst>
              </p:cNvPr>
              <p:cNvSpPr/>
              <p:nvPr/>
            </p:nvSpPr>
            <p:spPr>
              <a:xfrm>
                <a:off x="12491478" y="5892000"/>
                <a:ext cx="2876" cy="2876"/>
              </a:xfrm>
              <a:prstGeom prst="rect">
                <a:avLst/>
              </a:pr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0" name="Shape 2491">
                <a:extLst>
                  <a:ext uri="{FF2B5EF4-FFF2-40B4-BE49-F238E27FC236}">
                    <a16:creationId xmlns:a16="http://schemas.microsoft.com/office/drawing/2014/main" id="{9E05FA74-B1AA-49AE-BFFE-2F2B506229C6}"/>
                  </a:ext>
                </a:extLst>
              </p:cNvPr>
              <p:cNvSpPr/>
              <p:nvPr/>
            </p:nvSpPr>
            <p:spPr>
              <a:xfrm>
                <a:off x="9609177" y="10680794"/>
                <a:ext cx="86210" cy="74737"/>
              </a:xfrm>
              <a:custGeom>
                <a:avLst/>
                <a:gdLst/>
                <a:ahLst/>
                <a:cxnLst/>
                <a:rect l="0" t="0" r="0" b="0"/>
                <a:pathLst>
                  <a:path w="120000" h="120000" extrusionOk="0">
                    <a:moveTo>
                      <a:pt x="48000" y="53333"/>
                    </a:moveTo>
                    <a:cubicBezTo>
                      <a:pt x="48000" y="66666"/>
                      <a:pt x="12000" y="93333"/>
                      <a:pt x="0" y="106666"/>
                    </a:cubicBezTo>
                    <a:cubicBezTo>
                      <a:pt x="0" y="120000"/>
                      <a:pt x="24000" y="106666"/>
                      <a:pt x="24000" y="106666"/>
                    </a:cubicBezTo>
                    <a:cubicBezTo>
                      <a:pt x="36000" y="93333"/>
                      <a:pt x="48000" y="80000"/>
                      <a:pt x="60000" y="66666"/>
                    </a:cubicBezTo>
                    <a:cubicBezTo>
                      <a:pt x="72000" y="53333"/>
                      <a:pt x="120000" y="0"/>
                      <a:pt x="96000" y="0"/>
                    </a:cubicBezTo>
                    <a:cubicBezTo>
                      <a:pt x="84000" y="0"/>
                      <a:pt x="48000" y="40000"/>
                      <a:pt x="48000" y="53333"/>
                    </a:cubicBezTo>
                    <a:cubicBezTo>
                      <a:pt x="48000" y="66666"/>
                      <a:pt x="48000" y="40000"/>
                      <a:pt x="48000" y="5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1" name="Shape 2492">
                <a:extLst>
                  <a:ext uri="{FF2B5EF4-FFF2-40B4-BE49-F238E27FC236}">
                    <a16:creationId xmlns:a16="http://schemas.microsoft.com/office/drawing/2014/main" id="{E122C30D-BF42-458E-9C77-5AE0FE35528F}"/>
                  </a:ext>
                </a:extLst>
              </p:cNvPr>
              <p:cNvSpPr/>
              <p:nvPr/>
            </p:nvSpPr>
            <p:spPr>
              <a:xfrm>
                <a:off x="8313151" y="7277474"/>
                <a:ext cx="60346" cy="25872"/>
              </a:xfrm>
              <a:custGeom>
                <a:avLst/>
                <a:gdLst/>
                <a:ahLst/>
                <a:cxnLst/>
                <a:rect l="0" t="0" r="0" b="0"/>
                <a:pathLst>
                  <a:path w="120000" h="120000" extrusionOk="0">
                    <a:moveTo>
                      <a:pt x="119999" y="40000"/>
                    </a:moveTo>
                    <a:cubicBezTo>
                      <a:pt x="119999" y="0"/>
                      <a:pt x="0" y="0"/>
                      <a:pt x="17142" y="0"/>
                    </a:cubicBezTo>
                    <a:cubicBezTo>
                      <a:pt x="34285" y="0"/>
                      <a:pt x="102857" y="120000"/>
                      <a:pt x="119999"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2" name="Shape 2493">
                <a:extLst>
                  <a:ext uri="{FF2B5EF4-FFF2-40B4-BE49-F238E27FC236}">
                    <a16:creationId xmlns:a16="http://schemas.microsoft.com/office/drawing/2014/main" id="{7F8D0A0A-9996-48A0-A9EA-F4769A8E12C9}"/>
                  </a:ext>
                </a:extLst>
              </p:cNvPr>
              <p:cNvSpPr/>
              <p:nvPr/>
            </p:nvSpPr>
            <p:spPr>
              <a:xfrm>
                <a:off x="8910873" y="11819063"/>
                <a:ext cx="152305" cy="135097"/>
              </a:xfrm>
              <a:custGeom>
                <a:avLst/>
                <a:gdLst/>
                <a:ahLst/>
                <a:cxnLst/>
                <a:rect l="0" t="0" r="0" b="0"/>
                <a:pathLst>
                  <a:path w="120000" h="120000" extrusionOk="0">
                    <a:moveTo>
                      <a:pt x="113333" y="105000"/>
                    </a:moveTo>
                    <a:cubicBezTo>
                      <a:pt x="86666" y="105000"/>
                      <a:pt x="73333" y="82500"/>
                      <a:pt x="53333" y="67500"/>
                    </a:cubicBezTo>
                    <a:cubicBezTo>
                      <a:pt x="46666" y="52500"/>
                      <a:pt x="33333" y="45000"/>
                      <a:pt x="26666" y="37500"/>
                    </a:cubicBezTo>
                    <a:cubicBezTo>
                      <a:pt x="20000" y="37500"/>
                      <a:pt x="6666" y="30000"/>
                      <a:pt x="6666" y="22500"/>
                    </a:cubicBezTo>
                    <a:cubicBezTo>
                      <a:pt x="6666" y="22500"/>
                      <a:pt x="13333" y="22500"/>
                      <a:pt x="13333" y="15000"/>
                    </a:cubicBezTo>
                    <a:cubicBezTo>
                      <a:pt x="20000" y="15000"/>
                      <a:pt x="6666" y="0"/>
                      <a:pt x="0" y="0"/>
                    </a:cubicBezTo>
                    <a:cubicBezTo>
                      <a:pt x="0" y="37500"/>
                      <a:pt x="0" y="75000"/>
                      <a:pt x="0" y="105000"/>
                    </a:cubicBezTo>
                    <a:cubicBezTo>
                      <a:pt x="0" y="112500"/>
                      <a:pt x="40000" y="112500"/>
                      <a:pt x="46666" y="112500"/>
                    </a:cubicBezTo>
                    <a:cubicBezTo>
                      <a:pt x="53333" y="112500"/>
                      <a:pt x="60000" y="112500"/>
                      <a:pt x="66666" y="120000"/>
                    </a:cubicBezTo>
                    <a:cubicBezTo>
                      <a:pt x="80000" y="120000"/>
                      <a:pt x="80000" y="120000"/>
                      <a:pt x="86666" y="112500"/>
                    </a:cubicBezTo>
                    <a:cubicBezTo>
                      <a:pt x="93333" y="112500"/>
                      <a:pt x="120000" y="112500"/>
                      <a:pt x="120000" y="105000"/>
                    </a:cubicBezTo>
                    <a:cubicBezTo>
                      <a:pt x="120000" y="105000"/>
                      <a:pt x="120000" y="97500"/>
                      <a:pt x="113333" y="10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3" name="Shape 2494">
                <a:extLst>
                  <a:ext uri="{FF2B5EF4-FFF2-40B4-BE49-F238E27FC236}">
                    <a16:creationId xmlns:a16="http://schemas.microsoft.com/office/drawing/2014/main" id="{6A49FBE6-6AAB-49C2-8F5E-558FEF85211B}"/>
                  </a:ext>
                </a:extLst>
              </p:cNvPr>
              <p:cNvSpPr/>
              <p:nvPr/>
            </p:nvSpPr>
            <p:spPr>
              <a:xfrm>
                <a:off x="8749951" y="11801821"/>
                <a:ext cx="252884" cy="195458"/>
              </a:xfrm>
              <a:custGeom>
                <a:avLst/>
                <a:gdLst/>
                <a:ahLst/>
                <a:cxnLst/>
                <a:rect l="0" t="0" r="0" b="0"/>
                <a:pathLst>
                  <a:path w="120000" h="120000" extrusionOk="0">
                    <a:moveTo>
                      <a:pt x="76000" y="88695"/>
                    </a:moveTo>
                    <a:cubicBezTo>
                      <a:pt x="76000" y="67826"/>
                      <a:pt x="76000" y="52173"/>
                      <a:pt x="76000" y="36521"/>
                    </a:cubicBezTo>
                    <a:cubicBezTo>
                      <a:pt x="76000" y="31304"/>
                      <a:pt x="76000" y="20869"/>
                      <a:pt x="76000" y="15652"/>
                    </a:cubicBezTo>
                    <a:cubicBezTo>
                      <a:pt x="76000" y="10434"/>
                      <a:pt x="64000" y="0"/>
                      <a:pt x="60000" y="5217"/>
                    </a:cubicBezTo>
                    <a:cubicBezTo>
                      <a:pt x="56000" y="10434"/>
                      <a:pt x="48000" y="5217"/>
                      <a:pt x="48000" y="15652"/>
                    </a:cubicBezTo>
                    <a:cubicBezTo>
                      <a:pt x="44000" y="26086"/>
                      <a:pt x="36000" y="36521"/>
                      <a:pt x="52000" y="31304"/>
                    </a:cubicBezTo>
                    <a:cubicBezTo>
                      <a:pt x="52000" y="31304"/>
                      <a:pt x="60000" y="31304"/>
                      <a:pt x="60000" y="31304"/>
                    </a:cubicBezTo>
                    <a:cubicBezTo>
                      <a:pt x="64000" y="31304"/>
                      <a:pt x="56000" y="41739"/>
                      <a:pt x="56000" y="41739"/>
                    </a:cubicBezTo>
                    <a:cubicBezTo>
                      <a:pt x="52000" y="41739"/>
                      <a:pt x="44000" y="52173"/>
                      <a:pt x="52000" y="57391"/>
                    </a:cubicBezTo>
                    <a:cubicBezTo>
                      <a:pt x="52000" y="62608"/>
                      <a:pt x="64000" y="62608"/>
                      <a:pt x="64000" y="67826"/>
                    </a:cubicBezTo>
                    <a:cubicBezTo>
                      <a:pt x="64000" y="67826"/>
                      <a:pt x="48000" y="67826"/>
                      <a:pt x="48000" y="67826"/>
                    </a:cubicBezTo>
                    <a:cubicBezTo>
                      <a:pt x="44000" y="67826"/>
                      <a:pt x="36000" y="62608"/>
                      <a:pt x="36000" y="62608"/>
                    </a:cubicBezTo>
                    <a:cubicBezTo>
                      <a:pt x="36000" y="62608"/>
                      <a:pt x="40000" y="67826"/>
                      <a:pt x="40000" y="62608"/>
                    </a:cubicBezTo>
                    <a:cubicBezTo>
                      <a:pt x="40000" y="57391"/>
                      <a:pt x="44000" y="52173"/>
                      <a:pt x="40000" y="46956"/>
                    </a:cubicBezTo>
                    <a:cubicBezTo>
                      <a:pt x="40000" y="46956"/>
                      <a:pt x="32000" y="57391"/>
                      <a:pt x="32000" y="57391"/>
                    </a:cubicBezTo>
                    <a:cubicBezTo>
                      <a:pt x="28000" y="62608"/>
                      <a:pt x="24000" y="57391"/>
                      <a:pt x="20000" y="57391"/>
                    </a:cubicBezTo>
                    <a:cubicBezTo>
                      <a:pt x="16000" y="57391"/>
                      <a:pt x="0" y="52173"/>
                      <a:pt x="0" y="62608"/>
                    </a:cubicBezTo>
                    <a:cubicBezTo>
                      <a:pt x="0" y="67826"/>
                      <a:pt x="8000" y="62608"/>
                      <a:pt x="8000" y="62608"/>
                    </a:cubicBezTo>
                    <a:cubicBezTo>
                      <a:pt x="12000" y="57391"/>
                      <a:pt x="8000" y="62608"/>
                      <a:pt x="12000" y="62608"/>
                    </a:cubicBezTo>
                    <a:cubicBezTo>
                      <a:pt x="16000" y="67826"/>
                      <a:pt x="16000" y="57391"/>
                      <a:pt x="20000" y="62608"/>
                    </a:cubicBezTo>
                    <a:cubicBezTo>
                      <a:pt x="20000" y="62608"/>
                      <a:pt x="24000" y="67826"/>
                      <a:pt x="24000" y="67826"/>
                    </a:cubicBezTo>
                    <a:cubicBezTo>
                      <a:pt x="24000" y="67826"/>
                      <a:pt x="8000" y="73043"/>
                      <a:pt x="16000" y="78260"/>
                    </a:cubicBezTo>
                    <a:cubicBezTo>
                      <a:pt x="20000" y="83478"/>
                      <a:pt x="24000" y="73043"/>
                      <a:pt x="24000" y="78260"/>
                    </a:cubicBezTo>
                    <a:cubicBezTo>
                      <a:pt x="28000" y="78260"/>
                      <a:pt x="32000" y="83478"/>
                      <a:pt x="32000" y="83478"/>
                    </a:cubicBezTo>
                    <a:cubicBezTo>
                      <a:pt x="32000" y="83478"/>
                      <a:pt x="32000" y="83478"/>
                      <a:pt x="28000" y="83478"/>
                    </a:cubicBezTo>
                    <a:cubicBezTo>
                      <a:pt x="28000" y="88695"/>
                      <a:pt x="36000" y="88695"/>
                      <a:pt x="40000" y="88695"/>
                    </a:cubicBezTo>
                    <a:cubicBezTo>
                      <a:pt x="44000" y="88695"/>
                      <a:pt x="44000" y="78260"/>
                      <a:pt x="48000" y="88695"/>
                    </a:cubicBezTo>
                    <a:cubicBezTo>
                      <a:pt x="48000" y="88695"/>
                      <a:pt x="64000" y="114782"/>
                      <a:pt x="68000" y="109565"/>
                    </a:cubicBezTo>
                    <a:cubicBezTo>
                      <a:pt x="68000" y="109565"/>
                      <a:pt x="64000" y="104347"/>
                      <a:pt x="64000" y="104347"/>
                    </a:cubicBezTo>
                    <a:cubicBezTo>
                      <a:pt x="64000" y="99130"/>
                      <a:pt x="88000" y="120000"/>
                      <a:pt x="92000" y="120000"/>
                    </a:cubicBezTo>
                    <a:cubicBezTo>
                      <a:pt x="92000" y="114782"/>
                      <a:pt x="76000" y="99130"/>
                      <a:pt x="76000" y="93913"/>
                    </a:cubicBezTo>
                    <a:cubicBezTo>
                      <a:pt x="80000" y="93913"/>
                      <a:pt x="96000" y="99130"/>
                      <a:pt x="96000" y="99130"/>
                    </a:cubicBezTo>
                    <a:cubicBezTo>
                      <a:pt x="104000" y="99130"/>
                      <a:pt x="112000" y="99130"/>
                      <a:pt x="120000" y="93913"/>
                    </a:cubicBezTo>
                    <a:cubicBezTo>
                      <a:pt x="108000" y="83478"/>
                      <a:pt x="92000" y="88695"/>
                      <a:pt x="76000" y="8869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4" name="Shape 2495">
                <a:extLst>
                  <a:ext uri="{FF2B5EF4-FFF2-40B4-BE49-F238E27FC236}">
                    <a16:creationId xmlns:a16="http://schemas.microsoft.com/office/drawing/2014/main" id="{4F6865F6-776C-411B-B212-08E7539BEE69}"/>
                  </a:ext>
                </a:extLst>
              </p:cNvPr>
              <p:cNvSpPr/>
              <p:nvPr/>
            </p:nvSpPr>
            <p:spPr>
              <a:xfrm>
                <a:off x="8709717" y="8872778"/>
                <a:ext cx="640832" cy="465656"/>
              </a:xfrm>
              <a:custGeom>
                <a:avLst/>
                <a:gdLst/>
                <a:ahLst/>
                <a:cxnLst/>
                <a:rect l="0" t="0" r="0" b="0"/>
                <a:pathLst>
                  <a:path w="120000" h="120000" extrusionOk="0">
                    <a:moveTo>
                      <a:pt x="99473" y="61090"/>
                    </a:moveTo>
                    <a:cubicBezTo>
                      <a:pt x="99473" y="56727"/>
                      <a:pt x="99473" y="54545"/>
                      <a:pt x="104210" y="52363"/>
                    </a:cubicBezTo>
                    <a:cubicBezTo>
                      <a:pt x="104210" y="50181"/>
                      <a:pt x="107368" y="50181"/>
                      <a:pt x="105789" y="48000"/>
                    </a:cubicBezTo>
                    <a:cubicBezTo>
                      <a:pt x="104210" y="45818"/>
                      <a:pt x="102631" y="41454"/>
                      <a:pt x="105789" y="39272"/>
                    </a:cubicBezTo>
                    <a:cubicBezTo>
                      <a:pt x="120000" y="30545"/>
                      <a:pt x="96315" y="32727"/>
                      <a:pt x="96315" y="32727"/>
                    </a:cubicBezTo>
                    <a:cubicBezTo>
                      <a:pt x="96315" y="30545"/>
                      <a:pt x="97894" y="30545"/>
                      <a:pt x="99473" y="30545"/>
                    </a:cubicBezTo>
                    <a:cubicBezTo>
                      <a:pt x="101052" y="30545"/>
                      <a:pt x="101052" y="26181"/>
                      <a:pt x="101052" y="24000"/>
                    </a:cubicBezTo>
                    <a:cubicBezTo>
                      <a:pt x="101052" y="21818"/>
                      <a:pt x="94736" y="17454"/>
                      <a:pt x="94736" y="19636"/>
                    </a:cubicBezTo>
                    <a:cubicBezTo>
                      <a:pt x="94736" y="21818"/>
                      <a:pt x="93157" y="17454"/>
                      <a:pt x="93157" y="17454"/>
                    </a:cubicBezTo>
                    <a:cubicBezTo>
                      <a:pt x="91578" y="17454"/>
                      <a:pt x="91578" y="21818"/>
                      <a:pt x="90000" y="19636"/>
                    </a:cubicBezTo>
                    <a:cubicBezTo>
                      <a:pt x="90000" y="19636"/>
                      <a:pt x="90000" y="17454"/>
                      <a:pt x="90000" y="15272"/>
                    </a:cubicBezTo>
                    <a:cubicBezTo>
                      <a:pt x="88421" y="13090"/>
                      <a:pt x="86842" y="17454"/>
                      <a:pt x="85263" y="17454"/>
                    </a:cubicBezTo>
                    <a:cubicBezTo>
                      <a:pt x="85263" y="17454"/>
                      <a:pt x="85263" y="13090"/>
                      <a:pt x="85263" y="13090"/>
                    </a:cubicBezTo>
                    <a:cubicBezTo>
                      <a:pt x="85263" y="8727"/>
                      <a:pt x="90000" y="10909"/>
                      <a:pt x="91578" y="10909"/>
                    </a:cubicBezTo>
                    <a:cubicBezTo>
                      <a:pt x="93157" y="8727"/>
                      <a:pt x="86842" y="8727"/>
                      <a:pt x="86842" y="8727"/>
                    </a:cubicBezTo>
                    <a:cubicBezTo>
                      <a:pt x="83684" y="8727"/>
                      <a:pt x="80526" y="6545"/>
                      <a:pt x="77368" y="8727"/>
                    </a:cubicBezTo>
                    <a:cubicBezTo>
                      <a:pt x="74210" y="10909"/>
                      <a:pt x="72631" y="17454"/>
                      <a:pt x="69473" y="15272"/>
                    </a:cubicBezTo>
                    <a:cubicBezTo>
                      <a:pt x="64736" y="15272"/>
                      <a:pt x="63157" y="15272"/>
                      <a:pt x="60000" y="10909"/>
                    </a:cubicBezTo>
                    <a:cubicBezTo>
                      <a:pt x="56842" y="6545"/>
                      <a:pt x="50526" y="10909"/>
                      <a:pt x="45789" y="10909"/>
                    </a:cubicBezTo>
                    <a:cubicBezTo>
                      <a:pt x="42631" y="10909"/>
                      <a:pt x="42631" y="8727"/>
                      <a:pt x="41052" y="4363"/>
                    </a:cubicBezTo>
                    <a:cubicBezTo>
                      <a:pt x="39473" y="0"/>
                      <a:pt x="36315" y="0"/>
                      <a:pt x="31578" y="0"/>
                    </a:cubicBezTo>
                    <a:cubicBezTo>
                      <a:pt x="30000" y="0"/>
                      <a:pt x="17368" y="2181"/>
                      <a:pt x="17368" y="8727"/>
                    </a:cubicBezTo>
                    <a:cubicBezTo>
                      <a:pt x="17368" y="15272"/>
                      <a:pt x="23684" y="17454"/>
                      <a:pt x="20526" y="26181"/>
                    </a:cubicBezTo>
                    <a:cubicBezTo>
                      <a:pt x="17368" y="30545"/>
                      <a:pt x="11052" y="21818"/>
                      <a:pt x="12631" y="17454"/>
                    </a:cubicBezTo>
                    <a:cubicBezTo>
                      <a:pt x="12631" y="15272"/>
                      <a:pt x="15789" y="13090"/>
                      <a:pt x="15789" y="10909"/>
                    </a:cubicBezTo>
                    <a:cubicBezTo>
                      <a:pt x="17368" y="6545"/>
                      <a:pt x="12631" y="4363"/>
                      <a:pt x="12631" y="2181"/>
                    </a:cubicBezTo>
                    <a:cubicBezTo>
                      <a:pt x="7894" y="6545"/>
                      <a:pt x="6315" y="8727"/>
                      <a:pt x="6315" y="15272"/>
                    </a:cubicBezTo>
                    <a:cubicBezTo>
                      <a:pt x="4736" y="17454"/>
                      <a:pt x="0" y="26181"/>
                      <a:pt x="4736" y="26181"/>
                    </a:cubicBezTo>
                    <a:cubicBezTo>
                      <a:pt x="4736" y="26181"/>
                      <a:pt x="6315" y="26181"/>
                      <a:pt x="7894" y="28363"/>
                    </a:cubicBezTo>
                    <a:cubicBezTo>
                      <a:pt x="7894" y="30545"/>
                      <a:pt x="9473" y="32727"/>
                      <a:pt x="11052" y="34909"/>
                    </a:cubicBezTo>
                    <a:cubicBezTo>
                      <a:pt x="14210" y="39272"/>
                      <a:pt x="7894" y="48000"/>
                      <a:pt x="15789" y="50181"/>
                    </a:cubicBezTo>
                    <a:cubicBezTo>
                      <a:pt x="15789" y="50181"/>
                      <a:pt x="18947" y="50181"/>
                      <a:pt x="20526" y="50181"/>
                    </a:cubicBezTo>
                    <a:cubicBezTo>
                      <a:pt x="22105" y="50181"/>
                      <a:pt x="22105" y="48000"/>
                      <a:pt x="23684" y="48000"/>
                    </a:cubicBezTo>
                    <a:cubicBezTo>
                      <a:pt x="28421" y="48000"/>
                      <a:pt x="30000" y="54545"/>
                      <a:pt x="33157" y="58909"/>
                    </a:cubicBezTo>
                    <a:cubicBezTo>
                      <a:pt x="33157" y="58909"/>
                      <a:pt x="34736" y="61090"/>
                      <a:pt x="36315" y="58909"/>
                    </a:cubicBezTo>
                    <a:cubicBezTo>
                      <a:pt x="36315" y="56727"/>
                      <a:pt x="37894" y="58909"/>
                      <a:pt x="41052" y="58909"/>
                    </a:cubicBezTo>
                    <a:cubicBezTo>
                      <a:pt x="44210" y="61090"/>
                      <a:pt x="52105" y="54545"/>
                      <a:pt x="48947" y="63272"/>
                    </a:cubicBezTo>
                    <a:cubicBezTo>
                      <a:pt x="45789" y="69818"/>
                      <a:pt x="45789" y="76363"/>
                      <a:pt x="48947" y="82909"/>
                    </a:cubicBezTo>
                    <a:cubicBezTo>
                      <a:pt x="48947" y="85090"/>
                      <a:pt x="50526" y="87272"/>
                      <a:pt x="50526" y="89454"/>
                    </a:cubicBezTo>
                    <a:cubicBezTo>
                      <a:pt x="50526" y="91636"/>
                      <a:pt x="45789" y="93818"/>
                      <a:pt x="47368" y="96000"/>
                    </a:cubicBezTo>
                    <a:cubicBezTo>
                      <a:pt x="52105" y="102545"/>
                      <a:pt x="53684" y="120000"/>
                      <a:pt x="63157" y="115636"/>
                    </a:cubicBezTo>
                    <a:cubicBezTo>
                      <a:pt x="64736" y="115636"/>
                      <a:pt x="64736" y="117818"/>
                      <a:pt x="66315" y="117818"/>
                    </a:cubicBezTo>
                    <a:cubicBezTo>
                      <a:pt x="67894" y="117818"/>
                      <a:pt x="69473" y="115636"/>
                      <a:pt x="71052" y="113454"/>
                    </a:cubicBezTo>
                    <a:cubicBezTo>
                      <a:pt x="74210" y="111272"/>
                      <a:pt x="75789" y="106909"/>
                      <a:pt x="80526" y="102545"/>
                    </a:cubicBezTo>
                    <a:cubicBezTo>
                      <a:pt x="83684" y="100363"/>
                      <a:pt x="77368" y="100363"/>
                      <a:pt x="77368" y="96000"/>
                    </a:cubicBezTo>
                    <a:cubicBezTo>
                      <a:pt x="77368" y="93818"/>
                      <a:pt x="75789" y="91636"/>
                      <a:pt x="75789" y="89454"/>
                    </a:cubicBezTo>
                    <a:cubicBezTo>
                      <a:pt x="75789" y="87272"/>
                      <a:pt x="71052" y="85090"/>
                      <a:pt x="71052" y="82909"/>
                    </a:cubicBezTo>
                    <a:cubicBezTo>
                      <a:pt x="71052" y="80727"/>
                      <a:pt x="80526" y="82909"/>
                      <a:pt x="82105" y="82909"/>
                    </a:cubicBezTo>
                    <a:cubicBezTo>
                      <a:pt x="85263" y="82909"/>
                      <a:pt x="83684" y="85090"/>
                      <a:pt x="85263" y="87272"/>
                    </a:cubicBezTo>
                    <a:cubicBezTo>
                      <a:pt x="86842" y="87272"/>
                      <a:pt x="86842" y="82909"/>
                      <a:pt x="88421" y="82909"/>
                    </a:cubicBezTo>
                    <a:cubicBezTo>
                      <a:pt x="90000" y="80727"/>
                      <a:pt x="94736" y="80727"/>
                      <a:pt x="97894" y="78545"/>
                    </a:cubicBezTo>
                    <a:cubicBezTo>
                      <a:pt x="99473" y="76363"/>
                      <a:pt x="102631" y="74181"/>
                      <a:pt x="105789" y="72000"/>
                    </a:cubicBezTo>
                    <a:cubicBezTo>
                      <a:pt x="104210" y="67636"/>
                      <a:pt x="99473" y="65454"/>
                      <a:pt x="99473" y="6109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5" name="Shape 2496">
                <a:extLst>
                  <a:ext uri="{FF2B5EF4-FFF2-40B4-BE49-F238E27FC236}">
                    <a16:creationId xmlns:a16="http://schemas.microsoft.com/office/drawing/2014/main" id="{F96DE7BD-C27F-413F-A5AF-20040AA52783}"/>
                  </a:ext>
                </a:extLst>
              </p:cNvPr>
              <p:cNvSpPr/>
              <p:nvPr/>
            </p:nvSpPr>
            <p:spPr>
              <a:xfrm>
                <a:off x="9224106" y="8999253"/>
                <a:ext cx="218396" cy="321936"/>
              </a:xfrm>
              <a:custGeom>
                <a:avLst/>
                <a:gdLst/>
                <a:ahLst/>
                <a:cxnLst/>
                <a:rect l="0" t="0" r="0" b="0"/>
                <a:pathLst>
                  <a:path w="120000" h="120000" extrusionOk="0">
                    <a:moveTo>
                      <a:pt x="101538" y="91578"/>
                    </a:moveTo>
                    <a:cubicBezTo>
                      <a:pt x="101538" y="88421"/>
                      <a:pt x="78461" y="69473"/>
                      <a:pt x="83076" y="66315"/>
                    </a:cubicBezTo>
                    <a:cubicBezTo>
                      <a:pt x="87692" y="63157"/>
                      <a:pt x="83076" y="60000"/>
                      <a:pt x="92307" y="56842"/>
                    </a:cubicBezTo>
                    <a:cubicBezTo>
                      <a:pt x="106153" y="56842"/>
                      <a:pt x="101538" y="50526"/>
                      <a:pt x="101538" y="47368"/>
                    </a:cubicBezTo>
                    <a:cubicBezTo>
                      <a:pt x="101538" y="44210"/>
                      <a:pt x="101538" y="41052"/>
                      <a:pt x="101538" y="41052"/>
                    </a:cubicBezTo>
                    <a:cubicBezTo>
                      <a:pt x="101538" y="37894"/>
                      <a:pt x="96923" y="37894"/>
                      <a:pt x="92307" y="34736"/>
                    </a:cubicBezTo>
                    <a:cubicBezTo>
                      <a:pt x="87692" y="28421"/>
                      <a:pt x="73846" y="28421"/>
                      <a:pt x="73846" y="22105"/>
                    </a:cubicBezTo>
                    <a:cubicBezTo>
                      <a:pt x="69230" y="12631"/>
                      <a:pt x="50769" y="3157"/>
                      <a:pt x="41538" y="0"/>
                    </a:cubicBezTo>
                    <a:cubicBezTo>
                      <a:pt x="41538" y="9473"/>
                      <a:pt x="18461" y="9473"/>
                      <a:pt x="23076" y="15789"/>
                    </a:cubicBezTo>
                    <a:cubicBezTo>
                      <a:pt x="23076" y="18947"/>
                      <a:pt x="32307" y="22105"/>
                      <a:pt x="27692" y="25263"/>
                    </a:cubicBezTo>
                    <a:cubicBezTo>
                      <a:pt x="23076" y="25263"/>
                      <a:pt x="13846" y="28421"/>
                      <a:pt x="13846" y="31578"/>
                    </a:cubicBezTo>
                    <a:cubicBezTo>
                      <a:pt x="0" y="34736"/>
                      <a:pt x="9230" y="44210"/>
                      <a:pt x="18461" y="50526"/>
                    </a:cubicBezTo>
                    <a:cubicBezTo>
                      <a:pt x="23076" y="53684"/>
                      <a:pt x="23076" y="56842"/>
                      <a:pt x="32307" y="56842"/>
                    </a:cubicBezTo>
                    <a:cubicBezTo>
                      <a:pt x="36923" y="56842"/>
                      <a:pt x="32307" y="60000"/>
                      <a:pt x="36923" y="63157"/>
                    </a:cubicBezTo>
                    <a:cubicBezTo>
                      <a:pt x="46153" y="72631"/>
                      <a:pt x="41538" y="75789"/>
                      <a:pt x="36923" y="85263"/>
                    </a:cubicBezTo>
                    <a:cubicBezTo>
                      <a:pt x="36923" y="94736"/>
                      <a:pt x="46153" y="104210"/>
                      <a:pt x="50769" y="110526"/>
                    </a:cubicBezTo>
                    <a:cubicBezTo>
                      <a:pt x="64615" y="120000"/>
                      <a:pt x="69230" y="110526"/>
                      <a:pt x="78461" y="110526"/>
                    </a:cubicBezTo>
                    <a:cubicBezTo>
                      <a:pt x="87692" y="110526"/>
                      <a:pt x="92307" y="107368"/>
                      <a:pt x="96923" y="107368"/>
                    </a:cubicBezTo>
                    <a:cubicBezTo>
                      <a:pt x="106153" y="104210"/>
                      <a:pt x="110769" y="104210"/>
                      <a:pt x="120000" y="107368"/>
                    </a:cubicBezTo>
                    <a:cubicBezTo>
                      <a:pt x="115384" y="101052"/>
                      <a:pt x="110769" y="94736"/>
                      <a:pt x="101538" y="91578"/>
                    </a:cubicBezTo>
                    <a:cubicBezTo>
                      <a:pt x="96923" y="85263"/>
                      <a:pt x="106153" y="91578"/>
                      <a:pt x="101538" y="9157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6" name="Shape 2497">
                <a:extLst>
                  <a:ext uri="{FF2B5EF4-FFF2-40B4-BE49-F238E27FC236}">
                    <a16:creationId xmlns:a16="http://schemas.microsoft.com/office/drawing/2014/main" id="{402EB3AA-0956-443D-9926-FD9BB8D7F9DA}"/>
                  </a:ext>
                </a:extLst>
              </p:cNvPr>
              <p:cNvSpPr/>
              <p:nvPr/>
            </p:nvSpPr>
            <p:spPr>
              <a:xfrm>
                <a:off x="9364915" y="9099857"/>
                <a:ext cx="186789" cy="195458"/>
              </a:xfrm>
              <a:custGeom>
                <a:avLst/>
                <a:gdLst/>
                <a:ahLst/>
                <a:cxnLst/>
                <a:rect l="0" t="0" r="0" b="0"/>
                <a:pathLst>
                  <a:path w="120000" h="120000" extrusionOk="0">
                    <a:moveTo>
                      <a:pt x="103636" y="36521"/>
                    </a:moveTo>
                    <a:cubicBezTo>
                      <a:pt x="103636" y="26086"/>
                      <a:pt x="114545" y="15652"/>
                      <a:pt x="120000" y="10434"/>
                    </a:cubicBezTo>
                    <a:cubicBezTo>
                      <a:pt x="103636" y="5217"/>
                      <a:pt x="76363" y="0"/>
                      <a:pt x="65454" y="10434"/>
                    </a:cubicBezTo>
                    <a:cubicBezTo>
                      <a:pt x="54545" y="15652"/>
                      <a:pt x="49090" y="5217"/>
                      <a:pt x="49090" y="0"/>
                    </a:cubicBezTo>
                    <a:cubicBezTo>
                      <a:pt x="43636" y="0"/>
                      <a:pt x="38181" y="10434"/>
                      <a:pt x="27272" y="5217"/>
                    </a:cubicBezTo>
                    <a:cubicBezTo>
                      <a:pt x="27272" y="10434"/>
                      <a:pt x="38181" y="31304"/>
                      <a:pt x="21818" y="31304"/>
                    </a:cubicBezTo>
                    <a:cubicBezTo>
                      <a:pt x="10909" y="36521"/>
                      <a:pt x="0" y="41739"/>
                      <a:pt x="5454" y="52173"/>
                    </a:cubicBezTo>
                    <a:cubicBezTo>
                      <a:pt x="10909" y="62608"/>
                      <a:pt x="16363" y="67826"/>
                      <a:pt x="21818" y="78260"/>
                    </a:cubicBezTo>
                    <a:cubicBezTo>
                      <a:pt x="27272" y="88695"/>
                      <a:pt x="38181" y="99130"/>
                      <a:pt x="49090" y="114782"/>
                    </a:cubicBezTo>
                    <a:cubicBezTo>
                      <a:pt x="65454" y="120000"/>
                      <a:pt x="54545" y="99130"/>
                      <a:pt x="65454" y="99130"/>
                    </a:cubicBezTo>
                    <a:cubicBezTo>
                      <a:pt x="76363" y="99130"/>
                      <a:pt x="81818" y="99130"/>
                      <a:pt x="87272" y="93913"/>
                    </a:cubicBezTo>
                    <a:cubicBezTo>
                      <a:pt x="92727" y="93913"/>
                      <a:pt x="92727" y="104347"/>
                      <a:pt x="103636" y="99130"/>
                    </a:cubicBezTo>
                    <a:cubicBezTo>
                      <a:pt x="109090" y="88695"/>
                      <a:pt x="114545" y="83478"/>
                      <a:pt x="109090" y="73043"/>
                    </a:cubicBezTo>
                    <a:cubicBezTo>
                      <a:pt x="109090" y="62608"/>
                      <a:pt x="103636" y="46956"/>
                      <a:pt x="103636" y="3652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7" name="Shape 2498">
                <a:extLst>
                  <a:ext uri="{FF2B5EF4-FFF2-40B4-BE49-F238E27FC236}">
                    <a16:creationId xmlns:a16="http://schemas.microsoft.com/office/drawing/2014/main" id="{45B82718-60AB-4DFA-98B0-80C6E9E8F991}"/>
                  </a:ext>
                </a:extLst>
              </p:cNvPr>
              <p:cNvSpPr/>
              <p:nvPr/>
            </p:nvSpPr>
            <p:spPr>
              <a:xfrm>
                <a:off x="9517221" y="9117107"/>
                <a:ext cx="135063" cy="152346"/>
              </a:xfrm>
              <a:custGeom>
                <a:avLst/>
                <a:gdLst/>
                <a:ahLst/>
                <a:cxnLst/>
                <a:rect l="0" t="0" r="0" b="0"/>
                <a:pathLst>
                  <a:path w="120000" h="120000" extrusionOk="0">
                    <a:moveTo>
                      <a:pt x="90000" y="33333"/>
                    </a:moveTo>
                    <a:cubicBezTo>
                      <a:pt x="75000" y="20000"/>
                      <a:pt x="60000" y="6666"/>
                      <a:pt x="37500" y="6666"/>
                    </a:cubicBezTo>
                    <a:cubicBezTo>
                      <a:pt x="22500" y="0"/>
                      <a:pt x="0" y="26666"/>
                      <a:pt x="7500" y="40000"/>
                    </a:cubicBezTo>
                    <a:cubicBezTo>
                      <a:pt x="7500" y="53333"/>
                      <a:pt x="15000" y="66666"/>
                      <a:pt x="15000" y="80000"/>
                    </a:cubicBezTo>
                    <a:cubicBezTo>
                      <a:pt x="22500" y="93333"/>
                      <a:pt x="7500" y="106666"/>
                      <a:pt x="0" y="113333"/>
                    </a:cubicBezTo>
                    <a:cubicBezTo>
                      <a:pt x="7500" y="120000"/>
                      <a:pt x="22500" y="113333"/>
                      <a:pt x="30000" y="113333"/>
                    </a:cubicBezTo>
                    <a:cubicBezTo>
                      <a:pt x="45000" y="113333"/>
                      <a:pt x="52500" y="120000"/>
                      <a:pt x="67500" y="113333"/>
                    </a:cubicBezTo>
                    <a:cubicBezTo>
                      <a:pt x="90000" y="106666"/>
                      <a:pt x="97500" y="66666"/>
                      <a:pt x="120000" y="53333"/>
                    </a:cubicBezTo>
                    <a:cubicBezTo>
                      <a:pt x="105000" y="46666"/>
                      <a:pt x="97500" y="40000"/>
                      <a:pt x="90000" y="33333"/>
                    </a:cubicBezTo>
                    <a:cubicBezTo>
                      <a:pt x="75000" y="26666"/>
                      <a:pt x="97500" y="40000"/>
                      <a:pt x="90000" y="3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8" name="Shape 2499">
                <a:extLst>
                  <a:ext uri="{FF2B5EF4-FFF2-40B4-BE49-F238E27FC236}">
                    <a16:creationId xmlns:a16="http://schemas.microsoft.com/office/drawing/2014/main" id="{1C670FA8-FFE9-4DA1-AF28-CB585B43F334}"/>
                  </a:ext>
                </a:extLst>
              </p:cNvPr>
              <p:cNvSpPr/>
              <p:nvPr/>
            </p:nvSpPr>
            <p:spPr>
              <a:xfrm>
                <a:off x="8313151" y="8829663"/>
                <a:ext cx="681063" cy="709984"/>
              </a:xfrm>
              <a:custGeom>
                <a:avLst/>
                <a:gdLst/>
                <a:ahLst/>
                <a:cxnLst/>
                <a:rect l="0" t="0" r="0" b="0"/>
                <a:pathLst>
                  <a:path w="120000" h="120000" extrusionOk="0">
                    <a:moveTo>
                      <a:pt x="114074" y="68571"/>
                    </a:moveTo>
                    <a:cubicBezTo>
                      <a:pt x="120000" y="64285"/>
                      <a:pt x="112592" y="60000"/>
                      <a:pt x="112592" y="55714"/>
                    </a:cubicBezTo>
                    <a:cubicBezTo>
                      <a:pt x="112592" y="52857"/>
                      <a:pt x="115555" y="50000"/>
                      <a:pt x="115555" y="47142"/>
                    </a:cubicBezTo>
                    <a:cubicBezTo>
                      <a:pt x="117037" y="42857"/>
                      <a:pt x="111111" y="45714"/>
                      <a:pt x="109629" y="45714"/>
                    </a:cubicBezTo>
                    <a:cubicBezTo>
                      <a:pt x="108148" y="45714"/>
                      <a:pt x="106666" y="45714"/>
                      <a:pt x="105185" y="45714"/>
                    </a:cubicBezTo>
                    <a:cubicBezTo>
                      <a:pt x="103703" y="45714"/>
                      <a:pt x="103703" y="47142"/>
                      <a:pt x="102222" y="47142"/>
                    </a:cubicBezTo>
                    <a:cubicBezTo>
                      <a:pt x="100740" y="47142"/>
                      <a:pt x="99259" y="42857"/>
                      <a:pt x="97777" y="42857"/>
                    </a:cubicBezTo>
                    <a:cubicBezTo>
                      <a:pt x="94814" y="37142"/>
                      <a:pt x="91851" y="40000"/>
                      <a:pt x="85925" y="40000"/>
                    </a:cubicBezTo>
                    <a:cubicBezTo>
                      <a:pt x="82962" y="40000"/>
                      <a:pt x="81481" y="40000"/>
                      <a:pt x="80000" y="37142"/>
                    </a:cubicBezTo>
                    <a:cubicBezTo>
                      <a:pt x="78518" y="34285"/>
                      <a:pt x="82962" y="31428"/>
                      <a:pt x="78518" y="28571"/>
                    </a:cubicBezTo>
                    <a:cubicBezTo>
                      <a:pt x="77037" y="27142"/>
                      <a:pt x="77037" y="24285"/>
                      <a:pt x="74074" y="24285"/>
                    </a:cubicBezTo>
                    <a:cubicBezTo>
                      <a:pt x="71111" y="24285"/>
                      <a:pt x="72592" y="24285"/>
                      <a:pt x="74074" y="21428"/>
                    </a:cubicBezTo>
                    <a:cubicBezTo>
                      <a:pt x="75555" y="18571"/>
                      <a:pt x="74074" y="15714"/>
                      <a:pt x="75555" y="12857"/>
                    </a:cubicBezTo>
                    <a:cubicBezTo>
                      <a:pt x="77037" y="10000"/>
                      <a:pt x="80000" y="8571"/>
                      <a:pt x="82962" y="7142"/>
                    </a:cubicBezTo>
                    <a:cubicBezTo>
                      <a:pt x="84444" y="5714"/>
                      <a:pt x="87407" y="5714"/>
                      <a:pt x="88888" y="2857"/>
                    </a:cubicBezTo>
                    <a:cubicBezTo>
                      <a:pt x="88888" y="0"/>
                      <a:pt x="82962" y="0"/>
                      <a:pt x="82962" y="1428"/>
                    </a:cubicBezTo>
                    <a:cubicBezTo>
                      <a:pt x="80000" y="4285"/>
                      <a:pt x="75555" y="8571"/>
                      <a:pt x="71111" y="8571"/>
                    </a:cubicBezTo>
                    <a:cubicBezTo>
                      <a:pt x="66666" y="8571"/>
                      <a:pt x="66666" y="8571"/>
                      <a:pt x="65185" y="11428"/>
                    </a:cubicBezTo>
                    <a:cubicBezTo>
                      <a:pt x="63703" y="14285"/>
                      <a:pt x="63703" y="10000"/>
                      <a:pt x="60740" y="10000"/>
                    </a:cubicBezTo>
                    <a:cubicBezTo>
                      <a:pt x="54814" y="11428"/>
                      <a:pt x="57777" y="20000"/>
                      <a:pt x="53333" y="22857"/>
                    </a:cubicBezTo>
                    <a:cubicBezTo>
                      <a:pt x="51851" y="24285"/>
                      <a:pt x="48888" y="25714"/>
                      <a:pt x="47407" y="28571"/>
                    </a:cubicBezTo>
                    <a:cubicBezTo>
                      <a:pt x="47407" y="28571"/>
                      <a:pt x="47407" y="32857"/>
                      <a:pt x="45925" y="32857"/>
                    </a:cubicBezTo>
                    <a:cubicBezTo>
                      <a:pt x="44444" y="30000"/>
                      <a:pt x="42962" y="28571"/>
                      <a:pt x="41481" y="27142"/>
                    </a:cubicBezTo>
                    <a:cubicBezTo>
                      <a:pt x="40000" y="24285"/>
                      <a:pt x="38518" y="24285"/>
                      <a:pt x="37037" y="24285"/>
                    </a:cubicBezTo>
                    <a:cubicBezTo>
                      <a:pt x="31111" y="22857"/>
                      <a:pt x="28148" y="18571"/>
                      <a:pt x="22222" y="22857"/>
                    </a:cubicBezTo>
                    <a:cubicBezTo>
                      <a:pt x="19259" y="24285"/>
                      <a:pt x="13333" y="28571"/>
                      <a:pt x="10370" y="25714"/>
                    </a:cubicBezTo>
                    <a:cubicBezTo>
                      <a:pt x="8888" y="24285"/>
                      <a:pt x="7407" y="24285"/>
                      <a:pt x="5925" y="22857"/>
                    </a:cubicBezTo>
                    <a:cubicBezTo>
                      <a:pt x="2962" y="22857"/>
                      <a:pt x="4444" y="20000"/>
                      <a:pt x="1481" y="22857"/>
                    </a:cubicBezTo>
                    <a:cubicBezTo>
                      <a:pt x="0" y="24285"/>
                      <a:pt x="1481" y="24285"/>
                      <a:pt x="2962" y="25714"/>
                    </a:cubicBezTo>
                    <a:cubicBezTo>
                      <a:pt x="2962" y="27142"/>
                      <a:pt x="1481" y="28571"/>
                      <a:pt x="1481" y="30000"/>
                    </a:cubicBezTo>
                    <a:cubicBezTo>
                      <a:pt x="4444" y="30000"/>
                      <a:pt x="7407" y="31428"/>
                      <a:pt x="8888" y="31428"/>
                    </a:cubicBezTo>
                    <a:cubicBezTo>
                      <a:pt x="10370" y="32857"/>
                      <a:pt x="11851" y="32857"/>
                      <a:pt x="11851" y="34285"/>
                    </a:cubicBezTo>
                    <a:cubicBezTo>
                      <a:pt x="13333" y="35714"/>
                      <a:pt x="13333" y="34285"/>
                      <a:pt x="14814" y="34285"/>
                    </a:cubicBezTo>
                    <a:cubicBezTo>
                      <a:pt x="14814" y="32857"/>
                      <a:pt x="14814" y="37142"/>
                      <a:pt x="16296" y="37142"/>
                    </a:cubicBezTo>
                    <a:cubicBezTo>
                      <a:pt x="17777" y="38571"/>
                      <a:pt x="19259" y="37142"/>
                      <a:pt x="22222" y="35714"/>
                    </a:cubicBezTo>
                    <a:cubicBezTo>
                      <a:pt x="23703" y="35714"/>
                      <a:pt x="19259" y="32857"/>
                      <a:pt x="19259" y="32857"/>
                    </a:cubicBezTo>
                    <a:cubicBezTo>
                      <a:pt x="19259" y="31428"/>
                      <a:pt x="23703" y="28571"/>
                      <a:pt x="23703" y="27142"/>
                    </a:cubicBezTo>
                    <a:cubicBezTo>
                      <a:pt x="25185" y="25714"/>
                      <a:pt x="28148" y="24285"/>
                      <a:pt x="29629" y="25714"/>
                    </a:cubicBezTo>
                    <a:cubicBezTo>
                      <a:pt x="31111" y="25714"/>
                      <a:pt x="34074" y="27142"/>
                      <a:pt x="34074" y="27142"/>
                    </a:cubicBezTo>
                    <a:cubicBezTo>
                      <a:pt x="34074" y="28571"/>
                      <a:pt x="34074" y="28571"/>
                      <a:pt x="35555" y="28571"/>
                    </a:cubicBezTo>
                    <a:cubicBezTo>
                      <a:pt x="35555" y="30000"/>
                      <a:pt x="34074" y="31428"/>
                      <a:pt x="34074" y="31428"/>
                    </a:cubicBezTo>
                    <a:cubicBezTo>
                      <a:pt x="34074" y="32857"/>
                      <a:pt x="37037" y="35714"/>
                      <a:pt x="37037" y="37142"/>
                    </a:cubicBezTo>
                    <a:cubicBezTo>
                      <a:pt x="40000" y="41428"/>
                      <a:pt x="42962" y="41428"/>
                      <a:pt x="42962" y="47142"/>
                    </a:cubicBezTo>
                    <a:cubicBezTo>
                      <a:pt x="42962" y="51428"/>
                      <a:pt x="42962" y="55714"/>
                      <a:pt x="41481" y="60000"/>
                    </a:cubicBezTo>
                    <a:cubicBezTo>
                      <a:pt x="41481" y="61428"/>
                      <a:pt x="44444" y="61428"/>
                      <a:pt x="44444" y="62857"/>
                    </a:cubicBezTo>
                    <a:cubicBezTo>
                      <a:pt x="42962" y="64285"/>
                      <a:pt x="41481" y="65714"/>
                      <a:pt x="41481" y="67142"/>
                    </a:cubicBezTo>
                    <a:cubicBezTo>
                      <a:pt x="40000" y="68571"/>
                      <a:pt x="40000" y="71428"/>
                      <a:pt x="38518" y="71428"/>
                    </a:cubicBezTo>
                    <a:cubicBezTo>
                      <a:pt x="35555" y="72857"/>
                      <a:pt x="32592" y="71428"/>
                      <a:pt x="32592" y="75714"/>
                    </a:cubicBezTo>
                    <a:cubicBezTo>
                      <a:pt x="32592" y="78571"/>
                      <a:pt x="28148" y="78571"/>
                      <a:pt x="32592" y="80000"/>
                    </a:cubicBezTo>
                    <a:cubicBezTo>
                      <a:pt x="34074" y="81428"/>
                      <a:pt x="35555" y="81428"/>
                      <a:pt x="38518" y="82857"/>
                    </a:cubicBezTo>
                    <a:cubicBezTo>
                      <a:pt x="40000" y="84285"/>
                      <a:pt x="41481" y="85714"/>
                      <a:pt x="42962" y="87142"/>
                    </a:cubicBezTo>
                    <a:cubicBezTo>
                      <a:pt x="45925" y="88571"/>
                      <a:pt x="47407" y="87142"/>
                      <a:pt x="50370" y="87142"/>
                    </a:cubicBezTo>
                    <a:cubicBezTo>
                      <a:pt x="51851" y="87142"/>
                      <a:pt x="53333" y="88571"/>
                      <a:pt x="56296" y="90000"/>
                    </a:cubicBezTo>
                    <a:cubicBezTo>
                      <a:pt x="57777" y="90000"/>
                      <a:pt x="59259" y="90000"/>
                      <a:pt x="60740" y="91428"/>
                    </a:cubicBezTo>
                    <a:cubicBezTo>
                      <a:pt x="65185" y="94285"/>
                      <a:pt x="68148" y="97142"/>
                      <a:pt x="71111" y="101428"/>
                    </a:cubicBezTo>
                    <a:cubicBezTo>
                      <a:pt x="72592" y="105714"/>
                      <a:pt x="74074" y="107142"/>
                      <a:pt x="80000" y="108571"/>
                    </a:cubicBezTo>
                    <a:cubicBezTo>
                      <a:pt x="81481" y="108571"/>
                      <a:pt x="82962" y="107142"/>
                      <a:pt x="84444" y="105714"/>
                    </a:cubicBezTo>
                    <a:cubicBezTo>
                      <a:pt x="85925" y="105714"/>
                      <a:pt x="87407" y="108571"/>
                      <a:pt x="88888" y="107142"/>
                    </a:cubicBezTo>
                    <a:cubicBezTo>
                      <a:pt x="91851" y="105714"/>
                      <a:pt x="94814" y="107142"/>
                      <a:pt x="96296" y="108571"/>
                    </a:cubicBezTo>
                    <a:cubicBezTo>
                      <a:pt x="96296" y="110000"/>
                      <a:pt x="94814" y="112857"/>
                      <a:pt x="94814" y="114285"/>
                    </a:cubicBezTo>
                    <a:cubicBezTo>
                      <a:pt x="93333" y="115714"/>
                      <a:pt x="91851" y="115714"/>
                      <a:pt x="94814" y="117142"/>
                    </a:cubicBezTo>
                    <a:cubicBezTo>
                      <a:pt x="94814" y="117142"/>
                      <a:pt x="97777" y="120000"/>
                      <a:pt x="96296" y="120000"/>
                    </a:cubicBezTo>
                    <a:cubicBezTo>
                      <a:pt x="99259" y="120000"/>
                      <a:pt x="100740" y="104285"/>
                      <a:pt x="102222" y="101428"/>
                    </a:cubicBezTo>
                    <a:cubicBezTo>
                      <a:pt x="102222" y="95714"/>
                      <a:pt x="97777" y="94285"/>
                      <a:pt x="96296" y="90000"/>
                    </a:cubicBezTo>
                    <a:cubicBezTo>
                      <a:pt x="96296" y="87142"/>
                      <a:pt x="96296" y="85714"/>
                      <a:pt x="97777" y="85714"/>
                    </a:cubicBezTo>
                    <a:cubicBezTo>
                      <a:pt x="99259" y="85714"/>
                      <a:pt x="103703" y="84285"/>
                      <a:pt x="103703" y="82857"/>
                    </a:cubicBezTo>
                    <a:cubicBezTo>
                      <a:pt x="102222" y="82857"/>
                      <a:pt x="99259" y="82857"/>
                      <a:pt x="99259" y="81428"/>
                    </a:cubicBezTo>
                    <a:cubicBezTo>
                      <a:pt x="97777" y="81428"/>
                      <a:pt x="97777" y="78571"/>
                      <a:pt x="97777" y="78571"/>
                    </a:cubicBezTo>
                    <a:cubicBezTo>
                      <a:pt x="100740" y="78571"/>
                      <a:pt x="103703" y="78571"/>
                      <a:pt x="106666" y="78571"/>
                    </a:cubicBezTo>
                    <a:cubicBezTo>
                      <a:pt x="108148" y="78571"/>
                      <a:pt x="117037" y="74285"/>
                      <a:pt x="117037" y="75714"/>
                    </a:cubicBezTo>
                    <a:cubicBezTo>
                      <a:pt x="117037" y="72857"/>
                      <a:pt x="112592" y="68571"/>
                      <a:pt x="114074" y="68571"/>
                    </a:cubicBezTo>
                    <a:cubicBezTo>
                      <a:pt x="115555" y="67142"/>
                      <a:pt x="112592" y="68571"/>
                      <a:pt x="114074" y="6857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49" name="Shape 2500">
                <a:extLst>
                  <a:ext uri="{FF2B5EF4-FFF2-40B4-BE49-F238E27FC236}">
                    <a16:creationId xmlns:a16="http://schemas.microsoft.com/office/drawing/2014/main" id="{D94FD011-CAAB-44AE-9988-23C3EDE8B07F}"/>
                  </a:ext>
                </a:extLst>
              </p:cNvPr>
              <p:cNvSpPr/>
              <p:nvPr/>
            </p:nvSpPr>
            <p:spPr>
              <a:xfrm>
                <a:off x="8405108" y="9303941"/>
                <a:ext cx="235640" cy="278821"/>
              </a:xfrm>
              <a:custGeom>
                <a:avLst/>
                <a:gdLst/>
                <a:ahLst/>
                <a:cxnLst/>
                <a:rect l="0" t="0" r="0" b="0"/>
                <a:pathLst>
                  <a:path w="120000" h="120000" extrusionOk="0">
                    <a:moveTo>
                      <a:pt x="85714" y="21818"/>
                    </a:moveTo>
                    <a:cubicBezTo>
                      <a:pt x="77142" y="21818"/>
                      <a:pt x="72857" y="14545"/>
                      <a:pt x="64285" y="10909"/>
                    </a:cubicBezTo>
                    <a:cubicBezTo>
                      <a:pt x="59999" y="7272"/>
                      <a:pt x="51428" y="0"/>
                      <a:pt x="42857" y="0"/>
                    </a:cubicBezTo>
                    <a:cubicBezTo>
                      <a:pt x="42857" y="10909"/>
                      <a:pt x="17142" y="3636"/>
                      <a:pt x="17142" y="14545"/>
                    </a:cubicBezTo>
                    <a:cubicBezTo>
                      <a:pt x="17142" y="21818"/>
                      <a:pt x="17142" y="21818"/>
                      <a:pt x="12857" y="25454"/>
                    </a:cubicBezTo>
                    <a:cubicBezTo>
                      <a:pt x="4285" y="29090"/>
                      <a:pt x="8571" y="32727"/>
                      <a:pt x="8571" y="36363"/>
                    </a:cubicBezTo>
                    <a:cubicBezTo>
                      <a:pt x="8571" y="40000"/>
                      <a:pt x="4285" y="43636"/>
                      <a:pt x="0" y="47272"/>
                    </a:cubicBezTo>
                    <a:cubicBezTo>
                      <a:pt x="0" y="47272"/>
                      <a:pt x="0" y="50909"/>
                      <a:pt x="0" y="54545"/>
                    </a:cubicBezTo>
                    <a:cubicBezTo>
                      <a:pt x="4285" y="58181"/>
                      <a:pt x="0" y="61818"/>
                      <a:pt x="0" y="65454"/>
                    </a:cubicBezTo>
                    <a:cubicBezTo>
                      <a:pt x="0" y="65454"/>
                      <a:pt x="4285" y="76363"/>
                      <a:pt x="8571" y="72727"/>
                    </a:cubicBezTo>
                    <a:cubicBezTo>
                      <a:pt x="17142" y="72727"/>
                      <a:pt x="17142" y="65454"/>
                      <a:pt x="21428" y="65454"/>
                    </a:cubicBezTo>
                    <a:cubicBezTo>
                      <a:pt x="17142" y="65454"/>
                      <a:pt x="25714" y="72727"/>
                      <a:pt x="21428" y="72727"/>
                    </a:cubicBezTo>
                    <a:cubicBezTo>
                      <a:pt x="21428" y="80000"/>
                      <a:pt x="21428" y="83636"/>
                      <a:pt x="12857" y="87272"/>
                    </a:cubicBezTo>
                    <a:cubicBezTo>
                      <a:pt x="12857" y="87272"/>
                      <a:pt x="17142" y="94545"/>
                      <a:pt x="12857" y="94545"/>
                    </a:cubicBezTo>
                    <a:cubicBezTo>
                      <a:pt x="12857" y="98181"/>
                      <a:pt x="8571" y="98181"/>
                      <a:pt x="12857" y="101818"/>
                    </a:cubicBezTo>
                    <a:cubicBezTo>
                      <a:pt x="21428" y="105454"/>
                      <a:pt x="25714" y="105454"/>
                      <a:pt x="34285" y="116363"/>
                    </a:cubicBezTo>
                    <a:cubicBezTo>
                      <a:pt x="38571" y="120000"/>
                      <a:pt x="42857" y="105454"/>
                      <a:pt x="47142" y="105454"/>
                    </a:cubicBezTo>
                    <a:cubicBezTo>
                      <a:pt x="51428" y="94545"/>
                      <a:pt x="55714" y="83636"/>
                      <a:pt x="68571" y="80000"/>
                    </a:cubicBezTo>
                    <a:cubicBezTo>
                      <a:pt x="77142" y="76363"/>
                      <a:pt x="85714" y="76363"/>
                      <a:pt x="94285" y="69090"/>
                    </a:cubicBezTo>
                    <a:cubicBezTo>
                      <a:pt x="102857" y="65454"/>
                      <a:pt x="111428" y="58181"/>
                      <a:pt x="115714" y="47272"/>
                    </a:cubicBezTo>
                    <a:cubicBezTo>
                      <a:pt x="115714" y="40000"/>
                      <a:pt x="119999" y="36363"/>
                      <a:pt x="115714" y="29090"/>
                    </a:cubicBezTo>
                    <a:cubicBezTo>
                      <a:pt x="111428" y="25454"/>
                      <a:pt x="107142" y="21818"/>
                      <a:pt x="102857" y="18181"/>
                    </a:cubicBezTo>
                    <a:cubicBezTo>
                      <a:pt x="98571" y="18181"/>
                      <a:pt x="89999" y="21818"/>
                      <a:pt x="85714" y="2181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0" name="Shape 2501">
                <a:extLst>
                  <a:ext uri="{FF2B5EF4-FFF2-40B4-BE49-F238E27FC236}">
                    <a16:creationId xmlns:a16="http://schemas.microsoft.com/office/drawing/2014/main" id="{DD23F5CE-6323-487A-BE04-FBB66EA41BBB}"/>
                  </a:ext>
                </a:extLst>
              </p:cNvPr>
              <p:cNvSpPr/>
              <p:nvPr/>
            </p:nvSpPr>
            <p:spPr>
              <a:xfrm>
                <a:off x="8379244" y="9355682"/>
                <a:ext cx="540251" cy="801966"/>
              </a:xfrm>
              <a:custGeom>
                <a:avLst/>
                <a:gdLst/>
                <a:ahLst/>
                <a:cxnLst/>
                <a:rect l="0" t="0" r="0" b="0"/>
                <a:pathLst>
                  <a:path w="120000" h="120000" extrusionOk="0">
                    <a:moveTo>
                      <a:pt x="106875" y="26526"/>
                    </a:moveTo>
                    <a:cubicBezTo>
                      <a:pt x="99375" y="24000"/>
                      <a:pt x="110625" y="18947"/>
                      <a:pt x="105000" y="17684"/>
                    </a:cubicBezTo>
                    <a:cubicBezTo>
                      <a:pt x="101250" y="15157"/>
                      <a:pt x="97500" y="16421"/>
                      <a:pt x="93750" y="16421"/>
                    </a:cubicBezTo>
                    <a:cubicBezTo>
                      <a:pt x="90000" y="15157"/>
                      <a:pt x="90000" y="17684"/>
                      <a:pt x="86250" y="17684"/>
                    </a:cubicBezTo>
                    <a:cubicBezTo>
                      <a:pt x="82500" y="16421"/>
                      <a:pt x="78750" y="16421"/>
                      <a:pt x="76875" y="13894"/>
                    </a:cubicBezTo>
                    <a:cubicBezTo>
                      <a:pt x="75000" y="12631"/>
                      <a:pt x="73125" y="8842"/>
                      <a:pt x="71250" y="7578"/>
                    </a:cubicBezTo>
                    <a:cubicBezTo>
                      <a:pt x="67500" y="6315"/>
                      <a:pt x="65625" y="3789"/>
                      <a:pt x="61875" y="2526"/>
                    </a:cubicBezTo>
                    <a:cubicBezTo>
                      <a:pt x="60000" y="0"/>
                      <a:pt x="56250" y="1263"/>
                      <a:pt x="52500" y="0"/>
                    </a:cubicBezTo>
                    <a:cubicBezTo>
                      <a:pt x="56250" y="2526"/>
                      <a:pt x="58125" y="3789"/>
                      <a:pt x="58125" y="6315"/>
                    </a:cubicBezTo>
                    <a:cubicBezTo>
                      <a:pt x="56250" y="8842"/>
                      <a:pt x="56250" y="11368"/>
                      <a:pt x="52500" y="12631"/>
                    </a:cubicBezTo>
                    <a:cubicBezTo>
                      <a:pt x="48750" y="15157"/>
                      <a:pt x="46875" y="17684"/>
                      <a:pt x="43125" y="17684"/>
                    </a:cubicBezTo>
                    <a:cubicBezTo>
                      <a:pt x="39375" y="18947"/>
                      <a:pt x="35625" y="18947"/>
                      <a:pt x="31875" y="21473"/>
                    </a:cubicBezTo>
                    <a:cubicBezTo>
                      <a:pt x="30000" y="22736"/>
                      <a:pt x="22500" y="34105"/>
                      <a:pt x="20625" y="32842"/>
                    </a:cubicBezTo>
                    <a:cubicBezTo>
                      <a:pt x="16875" y="29052"/>
                      <a:pt x="15000" y="29052"/>
                      <a:pt x="11250" y="27789"/>
                    </a:cubicBezTo>
                    <a:cubicBezTo>
                      <a:pt x="9375" y="27789"/>
                      <a:pt x="9375" y="27789"/>
                      <a:pt x="11250" y="26526"/>
                    </a:cubicBezTo>
                    <a:cubicBezTo>
                      <a:pt x="13125" y="25263"/>
                      <a:pt x="13125" y="24000"/>
                      <a:pt x="11250" y="22736"/>
                    </a:cubicBezTo>
                    <a:cubicBezTo>
                      <a:pt x="7500" y="24000"/>
                      <a:pt x="0" y="29052"/>
                      <a:pt x="3750" y="32842"/>
                    </a:cubicBezTo>
                    <a:cubicBezTo>
                      <a:pt x="3750" y="32842"/>
                      <a:pt x="7500" y="36631"/>
                      <a:pt x="5625" y="37894"/>
                    </a:cubicBezTo>
                    <a:cubicBezTo>
                      <a:pt x="3750" y="37894"/>
                      <a:pt x="1875" y="39157"/>
                      <a:pt x="5625" y="40421"/>
                    </a:cubicBezTo>
                    <a:cubicBezTo>
                      <a:pt x="15000" y="44210"/>
                      <a:pt x="22500" y="51789"/>
                      <a:pt x="26250" y="59368"/>
                    </a:cubicBezTo>
                    <a:cubicBezTo>
                      <a:pt x="31875" y="65684"/>
                      <a:pt x="35625" y="73263"/>
                      <a:pt x="43125" y="79578"/>
                    </a:cubicBezTo>
                    <a:cubicBezTo>
                      <a:pt x="45000" y="82105"/>
                      <a:pt x="48750" y="84631"/>
                      <a:pt x="48750" y="88421"/>
                    </a:cubicBezTo>
                    <a:cubicBezTo>
                      <a:pt x="48750" y="89684"/>
                      <a:pt x="46875" y="88421"/>
                      <a:pt x="46875" y="89684"/>
                    </a:cubicBezTo>
                    <a:cubicBezTo>
                      <a:pt x="48750" y="90947"/>
                      <a:pt x="50625" y="92210"/>
                      <a:pt x="52500" y="93473"/>
                    </a:cubicBezTo>
                    <a:cubicBezTo>
                      <a:pt x="54375" y="96000"/>
                      <a:pt x="56250" y="98526"/>
                      <a:pt x="60000" y="99789"/>
                    </a:cubicBezTo>
                    <a:cubicBezTo>
                      <a:pt x="65625" y="101052"/>
                      <a:pt x="71250" y="103578"/>
                      <a:pt x="76875" y="104842"/>
                    </a:cubicBezTo>
                    <a:cubicBezTo>
                      <a:pt x="80625" y="106105"/>
                      <a:pt x="84375" y="108631"/>
                      <a:pt x="90000" y="109894"/>
                    </a:cubicBezTo>
                    <a:cubicBezTo>
                      <a:pt x="93750" y="112421"/>
                      <a:pt x="97500" y="114947"/>
                      <a:pt x="101250" y="117473"/>
                    </a:cubicBezTo>
                    <a:cubicBezTo>
                      <a:pt x="108750" y="120000"/>
                      <a:pt x="106875" y="114947"/>
                      <a:pt x="110625" y="113684"/>
                    </a:cubicBezTo>
                    <a:cubicBezTo>
                      <a:pt x="112500" y="112421"/>
                      <a:pt x="112500" y="109894"/>
                      <a:pt x="114375" y="108631"/>
                    </a:cubicBezTo>
                    <a:cubicBezTo>
                      <a:pt x="114375" y="107368"/>
                      <a:pt x="120000" y="104842"/>
                      <a:pt x="118125" y="103578"/>
                    </a:cubicBezTo>
                    <a:cubicBezTo>
                      <a:pt x="114375" y="102315"/>
                      <a:pt x="112500" y="102315"/>
                      <a:pt x="114375" y="98526"/>
                    </a:cubicBezTo>
                    <a:cubicBezTo>
                      <a:pt x="114375" y="97263"/>
                      <a:pt x="114375" y="96000"/>
                      <a:pt x="114375" y="96000"/>
                    </a:cubicBezTo>
                    <a:cubicBezTo>
                      <a:pt x="116250" y="94736"/>
                      <a:pt x="118125" y="93473"/>
                      <a:pt x="118125" y="93473"/>
                    </a:cubicBezTo>
                    <a:cubicBezTo>
                      <a:pt x="120000" y="89684"/>
                      <a:pt x="116250" y="83368"/>
                      <a:pt x="120000" y="80842"/>
                    </a:cubicBezTo>
                    <a:cubicBezTo>
                      <a:pt x="120000" y="79578"/>
                      <a:pt x="118125" y="77052"/>
                      <a:pt x="116250" y="74526"/>
                    </a:cubicBezTo>
                    <a:cubicBezTo>
                      <a:pt x="114375" y="70736"/>
                      <a:pt x="112500" y="70736"/>
                      <a:pt x="106875" y="72000"/>
                    </a:cubicBezTo>
                    <a:cubicBezTo>
                      <a:pt x="99375" y="72000"/>
                      <a:pt x="103125" y="63157"/>
                      <a:pt x="103125" y="60631"/>
                    </a:cubicBezTo>
                    <a:cubicBezTo>
                      <a:pt x="99375" y="61894"/>
                      <a:pt x="97500" y="64421"/>
                      <a:pt x="93750" y="64421"/>
                    </a:cubicBezTo>
                    <a:cubicBezTo>
                      <a:pt x="91875" y="64421"/>
                      <a:pt x="88125" y="64421"/>
                      <a:pt x="86250" y="64421"/>
                    </a:cubicBezTo>
                    <a:cubicBezTo>
                      <a:pt x="84375" y="63157"/>
                      <a:pt x="84375" y="60631"/>
                      <a:pt x="82500" y="60631"/>
                    </a:cubicBezTo>
                    <a:cubicBezTo>
                      <a:pt x="76875" y="60631"/>
                      <a:pt x="76875" y="55578"/>
                      <a:pt x="75000" y="53052"/>
                    </a:cubicBezTo>
                    <a:cubicBezTo>
                      <a:pt x="71250" y="50526"/>
                      <a:pt x="69375" y="46736"/>
                      <a:pt x="73125" y="44210"/>
                    </a:cubicBezTo>
                    <a:cubicBezTo>
                      <a:pt x="75000" y="42947"/>
                      <a:pt x="78750" y="42947"/>
                      <a:pt x="78750" y="41684"/>
                    </a:cubicBezTo>
                    <a:cubicBezTo>
                      <a:pt x="78750" y="40421"/>
                      <a:pt x="78750" y="39157"/>
                      <a:pt x="78750" y="37894"/>
                    </a:cubicBezTo>
                    <a:cubicBezTo>
                      <a:pt x="78750" y="34105"/>
                      <a:pt x="78750" y="32842"/>
                      <a:pt x="84375" y="31578"/>
                    </a:cubicBezTo>
                    <a:cubicBezTo>
                      <a:pt x="88125" y="30315"/>
                      <a:pt x="90000" y="30315"/>
                      <a:pt x="93750" y="30315"/>
                    </a:cubicBezTo>
                    <a:cubicBezTo>
                      <a:pt x="95625" y="30315"/>
                      <a:pt x="97500" y="29052"/>
                      <a:pt x="99375" y="27789"/>
                    </a:cubicBezTo>
                    <a:cubicBezTo>
                      <a:pt x="101250" y="27789"/>
                      <a:pt x="110625" y="29052"/>
                      <a:pt x="106875" y="2652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1" name="Shape 2502">
                <a:extLst>
                  <a:ext uri="{FF2B5EF4-FFF2-40B4-BE49-F238E27FC236}">
                    <a16:creationId xmlns:a16="http://schemas.microsoft.com/office/drawing/2014/main" id="{341371DD-E80D-484A-AAB1-8344BC16DAC5}"/>
                  </a:ext>
                </a:extLst>
              </p:cNvPr>
              <p:cNvSpPr/>
              <p:nvPr/>
            </p:nvSpPr>
            <p:spPr>
              <a:xfrm>
                <a:off x="8617760" y="10105908"/>
                <a:ext cx="367830" cy="1790769"/>
              </a:xfrm>
              <a:custGeom>
                <a:avLst/>
                <a:gdLst/>
                <a:ahLst/>
                <a:cxnLst/>
                <a:rect l="0" t="0" r="0" b="0"/>
                <a:pathLst>
                  <a:path w="120000" h="120000" extrusionOk="0">
                    <a:moveTo>
                      <a:pt x="109090" y="15849"/>
                    </a:moveTo>
                    <a:cubicBezTo>
                      <a:pt x="103636" y="15283"/>
                      <a:pt x="109090" y="12452"/>
                      <a:pt x="103636" y="11320"/>
                    </a:cubicBezTo>
                    <a:cubicBezTo>
                      <a:pt x="100909" y="10754"/>
                      <a:pt x="95454" y="9056"/>
                      <a:pt x="98181" y="7924"/>
                    </a:cubicBezTo>
                    <a:cubicBezTo>
                      <a:pt x="103636" y="7358"/>
                      <a:pt x="95454" y="7358"/>
                      <a:pt x="98181" y="6792"/>
                    </a:cubicBezTo>
                    <a:cubicBezTo>
                      <a:pt x="100909" y="6226"/>
                      <a:pt x="98181" y="5660"/>
                      <a:pt x="95454" y="5094"/>
                    </a:cubicBezTo>
                    <a:cubicBezTo>
                      <a:pt x="92727" y="4528"/>
                      <a:pt x="92727" y="3962"/>
                      <a:pt x="92727" y="2830"/>
                    </a:cubicBezTo>
                    <a:cubicBezTo>
                      <a:pt x="92727" y="1698"/>
                      <a:pt x="90000" y="1132"/>
                      <a:pt x="87272" y="0"/>
                    </a:cubicBezTo>
                    <a:cubicBezTo>
                      <a:pt x="84545" y="566"/>
                      <a:pt x="81818" y="1132"/>
                      <a:pt x="81818" y="1698"/>
                    </a:cubicBezTo>
                    <a:cubicBezTo>
                      <a:pt x="79090" y="2830"/>
                      <a:pt x="73636" y="2264"/>
                      <a:pt x="76363" y="3396"/>
                    </a:cubicBezTo>
                    <a:cubicBezTo>
                      <a:pt x="76363" y="5094"/>
                      <a:pt x="76363" y="6792"/>
                      <a:pt x="76363" y="8490"/>
                    </a:cubicBezTo>
                    <a:cubicBezTo>
                      <a:pt x="76363" y="10754"/>
                      <a:pt x="79090" y="13584"/>
                      <a:pt x="76363" y="15849"/>
                    </a:cubicBezTo>
                    <a:cubicBezTo>
                      <a:pt x="73636" y="16415"/>
                      <a:pt x="70909" y="16981"/>
                      <a:pt x="70909" y="17547"/>
                    </a:cubicBezTo>
                    <a:cubicBezTo>
                      <a:pt x="70909" y="18679"/>
                      <a:pt x="73636" y="19811"/>
                      <a:pt x="73636" y="20943"/>
                    </a:cubicBezTo>
                    <a:cubicBezTo>
                      <a:pt x="73636" y="24339"/>
                      <a:pt x="68181" y="28301"/>
                      <a:pt x="62727" y="31698"/>
                    </a:cubicBezTo>
                    <a:cubicBezTo>
                      <a:pt x="60000" y="33396"/>
                      <a:pt x="60000" y="34528"/>
                      <a:pt x="62727" y="36226"/>
                    </a:cubicBezTo>
                    <a:cubicBezTo>
                      <a:pt x="62727" y="37358"/>
                      <a:pt x="62727" y="37924"/>
                      <a:pt x="57272" y="38490"/>
                    </a:cubicBezTo>
                    <a:cubicBezTo>
                      <a:pt x="54545" y="39056"/>
                      <a:pt x="57272" y="39622"/>
                      <a:pt x="57272" y="40188"/>
                    </a:cubicBezTo>
                    <a:cubicBezTo>
                      <a:pt x="57272" y="41886"/>
                      <a:pt x="57272" y="43584"/>
                      <a:pt x="57272" y="45283"/>
                    </a:cubicBezTo>
                    <a:cubicBezTo>
                      <a:pt x="57272" y="45849"/>
                      <a:pt x="57272" y="46981"/>
                      <a:pt x="57272" y="47547"/>
                    </a:cubicBezTo>
                    <a:cubicBezTo>
                      <a:pt x="54545" y="48113"/>
                      <a:pt x="57272" y="49245"/>
                      <a:pt x="54545" y="49811"/>
                    </a:cubicBezTo>
                    <a:cubicBezTo>
                      <a:pt x="49090" y="52641"/>
                      <a:pt x="43636" y="55471"/>
                      <a:pt x="38181" y="58301"/>
                    </a:cubicBezTo>
                    <a:cubicBezTo>
                      <a:pt x="35454" y="60000"/>
                      <a:pt x="27272" y="60566"/>
                      <a:pt x="30000" y="62264"/>
                    </a:cubicBezTo>
                    <a:cubicBezTo>
                      <a:pt x="32727" y="63962"/>
                      <a:pt x="38181" y="66792"/>
                      <a:pt x="32727" y="69056"/>
                    </a:cubicBezTo>
                    <a:cubicBezTo>
                      <a:pt x="27272" y="70188"/>
                      <a:pt x="21818" y="73018"/>
                      <a:pt x="27272" y="74716"/>
                    </a:cubicBezTo>
                    <a:cubicBezTo>
                      <a:pt x="30000" y="75849"/>
                      <a:pt x="32727" y="75849"/>
                      <a:pt x="35454" y="75283"/>
                    </a:cubicBezTo>
                    <a:cubicBezTo>
                      <a:pt x="38181" y="74716"/>
                      <a:pt x="49090" y="74716"/>
                      <a:pt x="46363" y="75283"/>
                    </a:cubicBezTo>
                    <a:cubicBezTo>
                      <a:pt x="46363" y="75283"/>
                      <a:pt x="43636" y="75283"/>
                      <a:pt x="40909" y="75849"/>
                    </a:cubicBezTo>
                    <a:cubicBezTo>
                      <a:pt x="40909" y="76415"/>
                      <a:pt x="40909" y="76415"/>
                      <a:pt x="43636" y="76981"/>
                    </a:cubicBezTo>
                    <a:cubicBezTo>
                      <a:pt x="43636" y="76981"/>
                      <a:pt x="40909" y="77547"/>
                      <a:pt x="40909" y="77547"/>
                    </a:cubicBezTo>
                    <a:cubicBezTo>
                      <a:pt x="38181" y="78679"/>
                      <a:pt x="35454" y="80943"/>
                      <a:pt x="38181" y="82075"/>
                    </a:cubicBezTo>
                    <a:cubicBezTo>
                      <a:pt x="38181" y="82641"/>
                      <a:pt x="38181" y="82641"/>
                      <a:pt x="35454" y="83773"/>
                    </a:cubicBezTo>
                    <a:cubicBezTo>
                      <a:pt x="32727" y="84339"/>
                      <a:pt x="38181" y="84339"/>
                      <a:pt x="40909" y="84905"/>
                    </a:cubicBezTo>
                    <a:cubicBezTo>
                      <a:pt x="40909" y="84905"/>
                      <a:pt x="40909" y="84905"/>
                      <a:pt x="38181" y="85471"/>
                    </a:cubicBezTo>
                    <a:cubicBezTo>
                      <a:pt x="35454" y="85471"/>
                      <a:pt x="30000" y="86037"/>
                      <a:pt x="35454" y="86037"/>
                    </a:cubicBezTo>
                    <a:cubicBezTo>
                      <a:pt x="32727" y="86603"/>
                      <a:pt x="35454" y="88301"/>
                      <a:pt x="38181" y="88301"/>
                    </a:cubicBezTo>
                    <a:cubicBezTo>
                      <a:pt x="35454" y="88301"/>
                      <a:pt x="27272" y="87735"/>
                      <a:pt x="30000" y="89433"/>
                    </a:cubicBezTo>
                    <a:cubicBezTo>
                      <a:pt x="30000" y="89433"/>
                      <a:pt x="32727" y="92264"/>
                      <a:pt x="27272" y="91698"/>
                    </a:cubicBezTo>
                    <a:cubicBezTo>
                      <a:pt x="27272" y="91698"/>
                      <a:pt x="21818" y="90566"/>
                      <a:pt x="21818" y="90000"/>
                    </a:cubicBezTo>
                    <a:cubicBezTo>
                      <a:pt x="16363" y="89433"/>
                      <a:pt x="19090" y="88867"/>
                      <a:pt x="13636" y="89433"/>
                    </a:cubicBezTo>
                    <a:cubicBezTo>
                      <a:pt x="13636" y="89433"/>
                      <a:pt x="10909" y="90000"/>
                      <a:pt x="10909" y="90000"/>
                    </a:cubicBezTo>
                    <a:cubicBezTo>
                      <a:pt x="10909" y="90566"/>
                      <a:pt x="13636" y="90566"/>
                      <a:pt x="10909" y="91132"/>
                    </a:cubicBezTo>
                    <a:cubicBezTo>
                      <a:pt x="10909" y="91698"/>
                      <a:pt x="0" y="91698"/>
                      <a:pt x="0" y="92830"/>
                    </a:cubicBezTo>
                    <a:cubicBezTo>
                      <a:pt x="0" y="92830"/>
                      <a:pt x="2727" y="93396"/>
                      <a:pt x="5454" y="93396"/>
                    </a:cubicBezTo>
                    <a:cubicBezTo>
                      <a:pt x="5454" y="93396"/>
                      <a:pt x="2727" y="92830"/>
                      <a:pt x="5454" y="92264"/>
                    </a:cubicBezTo>
                    <a:cubicBezTo>
                      <a:pt x="5454" y="92264"/>
                      <a:pt x="13636" y="93396"/>
                      <a:pt x="19090" y="92830"/>
                    </a:cubicBezTo>
                    <a:cubicBezTo>
                      <a:pt x="30000" y="92264"/>
                      <a:pt x="13636" y="96226"/>
                      <a:pt x="19090" y="96792"/>
                    </a:cubicBezTo>
                    <a:cubicBezTo>
                      <a:pt x="21818" y="96792"/>
                      <a:pt x="27272" y="96226"/>
                      <a:pt x="30000" y="96792"/>
                    </a:cubicBezTo>
                    <a:cubicBezTo>
                      <a:pt x="32727" y="96792"/>
                      <a:pt x="32727" y="98490"/>
                      <a:pt x="30000" y="97924"/>
                    </a:cubicBezTo>
                    <a:cubicBezTo>
                      <a:pt x="30000" y="97924"/>
                      <a:pt x="21818" y="96792"/>
                      <a:pt x="21818" y="97358"/>
                    </a:cubicBezTo>
                    <a:cubicBezTo>
                      <a:pt x="19090" y="97924"/>
                      <a:pt x="16363" y="97924"/>
                      <a:pt x="19090" y="98490"/>
                    </a:cubicBezTo>
                    <a:cubicBezTo>
                      <a:pt x="19090" y="98490"/>
                      <a:pt x="24545" y="99622"/>
                      <a:pt x="21818" y="99622"/>
                    </a:cubicBezTo>
                    <a:cubicBezTo>
                      <a:pt x="19090" y="99622"/>
                      <a:pt x="19090" y="101320"/>
                      <a:pt x="19090" y="101320"/>
                    </a:cubicBezTo>
                    <a:cubicBezTo>
                      <a:pt x="16363" y="103018"/>
                      <a:pt x="24545" y="100754"/>
                      <a:pt x="24545" y="100754"/>
                    </a:cubicBezTo>
                    <a:cubicBezTo>
                      <a:pt x="24545" y="100754"/>
                      <a:pt x="21818" y="103584"/>
                      <a:pt x="24545" y="103018"/>
                    </a:cubicBezTo>
                    <a:cubicBezTo>
                      <a:pt x="24545" y="103018"/>
                      <a:pt x="21818" y="103018"/>
                      <a:pt x="21818" y="103584"/>
                    </a:cubicBezTo>
                    <a:cubicBezTo>
                      <a:pt x="19090" y="104150"/>
                      <a:pt x="21818" y="104150"/>
                      <a:pt x="24545" y="104716"/>
                    </a:cubicBezTo>
                    <a:cubicBezTo>
                      <a:pt x="24545" y="104716"/>
                      <a:pt x="19090" y="105283"/>
                      <a:pt x="19090" y="105283"/>
                    </a:cubicBezTo>
                    <a:cubicBezTo>
                      <a:pt x="16363" y="105283"/>
                      <a:pt x="19090" y="105283"/>
                      <a:pt x="19090" y="105849"/>
                    </a:cubicBezTo>
                    <a:cubicBezTo>
                      <a:pt x="16363" y="106981"/>
                      <a:pt x="27272" y="106981"/>
                      <a:pt x="27272" y="106415"/>
                    </a:cubicBezTo>
                    <a:cubicBezTo>
                      <a:pt x="27272" y="106981"/>
                      <a:pt x="24545" y="106981"/>
                      <a:pt x="27272" y="107547"/>
                    </a:cubicBezTo>
                    <a:cubicBezTo>
                      <a:pt x="27272" y="107547"/>
                      <a:pt x="27272" y="107547"/>
                      <a:pt x="27272" y="107547"/>
                    </a:cubicBezTo>
                    <a:cubicBezTo>
                      <a:pt x="27272" y="108113"/>
                      <a:pt x="21818" y="108679"/>
                      <a:pt x="21818" y="109245"/>
                    </a:cubicBezTo>
                    <a:cubicBezTo>
                      <a:pt x="19090" y="110377"/>
                      <a:pt x="27272" y="108679"/>
                      <a:pt x="30000" y="108679"/>
                    </a:cubicBezTo>
                    <a:cubicBezTo>
                      <a:pt x="27272" y="109245"/>
                      <a:pt x="30000" y="109811"/>
                      <a:pt x="30000" y="109811"/>
                    </a:cubicBezTo>
                    <a:cubicBezTo>
                      <a:pt x="30000" y="110377"/>
                      <a:pt x="21818" y="110943"/>
                      <a:pt x="21818" y="110943"/>
                    </a:cubicBezTo>
                    <a:cubicBezTo>
                      <a:pt x="27272" y="111509"/>
                      <a:pt x="27272" y="110943"/>
                      <a:pt x="30000" y="112075"/>
                    </a:cubicBezTo>
                    <a:cubicBezTo>
                      <a:pt x="32727" y="113207"/>
                      <a:pt x="38181" y="110377"/>
                      <a:pt x="35454" y="110377"/>
                    </a:cubicBezTo>
                    <a:cubicBezTo>
                      <a:pt x="38181" y="110377"/>
                      <a:pt x="38181" y="110943"/>
                      <a:pt x="40909" y="111509"/>
                    </a:cubicBezTo>
                    <a:cubicBezTo>
                      <a:pt x="40909" y="111509"/>
                      <a:pt x="40909" y="110377"/>
                      <a:pt x="40909" y="110377"/>
                    </a:cubicBezTo>
                    <a:cubicBezTo>
                      <a:pt x="40909" y="110377"/>
                      <a:pt x="40909" y="111509"/>
                      <a:pt x="40909" y="111509"/>
                    </a:cubicBezTo>
                    <a:cubicBezTo>
                      <a:pt x="43636" y="110943"/>
                      <a:pt x="43636" y="110377"/>
                      <a:pt x="43636" y="110943"/>
                    </a:cubicBezTo>
                    <a:cubicBezTo>
                      <a:pt x="46363" y="110943"/>
                      <a:pt x="43636" y="112075"/>
                      <a:pt x="43636" y="112075"/>
                    </a:cubicBezTo>
                    <a:cubicBezTo>
                      <a:pt x="40909" y="112641"/>
                      <a:pt x="46363" y="112641"/>
                      <a:pt x="43636" y="113207"/>
                    </a:cubicBezTo>
                    <a:cubicBezTo>
                      <a:pt x="40909" y="114339"/>
                      <a:pt x="46363" y="113773"/>
                      <a:pt x="49090" y="114339"/>
                    </a:cubicBezTo>
                    <a:cubicBezTo>
                      <a:pt x="57272" y="114339"/>
                      <a:pt x="65454" y="115471"/>
                      <a:pt x="57272" y="116603"/>
                    </a:cubicBezTo>
                    <a:cubicBezTo>
                      <a:pt x="54545" y="117169"/>
                      <a:pt x="46363" y="116603"/>
                      <a:pt x="43636" y="117169"/>
                    </a:cubicBezTo>
                    <a:cubicBezTo>
                      <a:pt x="40909" y="118301"/>
                      <a:pt x="49090" y="117735"/>
                      <a:pt x="51818" y="118301"/>
                    </a:cubicBezTo>
                    <a:cubicBezTo>
                      <a:pt x="49090" y="118301"/>
                      <a:pt x="49090" y="118301"/>
                      <a:pt x="49090" y="118301"/>
                    </a:cubicBezTo>
                    <a:cubicBezTo>
                      <a:pt x="49090" y="118301"/>
                      <a:pt x="60000" y="120000"/>
                      <a:pt x="65454" y="118867"/>
                    </a:cubicBezTo>
                    <a:cubicBezTo>
                      <a:pt x="68181" y="117735"/>
                      <a:pt x="62727" y="116603"/>
                      <a:pt x="68181" y="115471"/>
                    </a:cubicBezTo>
                    <a:cubicBezTo>
                      <a:pt x="70909" y="114339"/>
                      <a:pt x="79090" y="114339"/>
                      <a:pt x="81818" y="114339"/>
                    </a:cubicBezTo>
                    <a:cubicBezTo>
                      <a:pt x="95454" y="112641"/>
                      <a:pt x="76363" y="112641"/>
                      <a:pt x="70909" y="112641"/>
                    </a:cubicBezTo>
                    <a:cubicBezTo>
                      <a:pt x="65454" y="112641"/>
                      <a:pt x="57272" y="112641"/>
                      <a:pt x="51818" y="112075"/>
                    </a:cubicBezTo>
                    <a:cubicBezTo>
                      <a:pt x="46363" y="110943"/>
                      <a:pt x="46363" y="110943"/>
                      <a:pt x="46363" y="108679"/>
                    </a:cubicBezTo>
                    <a:cubicBezTo>
                      <a:pt x="46363" y="106415"/>
                      <a:pt x="43636" y="108113"/>
                      <a:pt x="35454" y="106981"/>
                    </a:cubicBezTo>
                    <a:cubicBezTo>
                      <a:pt x="32727" y="106981"/>
                      <a:pt x="32727" y="105283"/>
                      <a:pt x="32727" y="104716"/>
                    </a:cubicBezTo>
                    <a:cubicBezTo>
                      <a:pt x="30000" y="103584"/>
                      <a:pt x="30000" y="101886"/>
                      <a:pt x="35454" y="101320"/>
                    </a:cubicBezTo>
                    <a:cubicBezTo>
                      <a:pt x="38181" y="100754"/>
                      <a:pt x="38181" y="100754"/>
                      <a:pt x="40909" y="100188"/>
                    </a:cubicBezTo>
                    <a:cubicBezTo>
                      <a:pt x="40909" y="99622"/>
                      <a:pt x="43636" y="99056"/>
                      <a:pt x="46363" y="99056"/>
                    </a:cubicBezTo>
                    <a:cubicBezTo>
                      <a:pt x="49090" y="98490"/>
                      <a:pt x="43636" y="96792"/>
                      <a:pt x="46363" y="95660"/>
                    </a:cubicBezTo>
                    <a:cubicBezTo>
                      <a:pt x="46363" y="95094"/>
                      <a:pt x="51818" y="94528"/>
                      <a:pt x="54545" y="93396"/>
                    </a:cubicBezTo>
                    <a:cubicBezTo>
                      <a:pt x="54545" y="92264"/>
                      <a:pt x="54545" y="90566"/>
                      <a:pt x="57272" y="89433"/>
                    </a:cubicBezTo>
                    <a:cubicBezTo>
                      <a:pt x="57272" y="88301"/>
                      <a:pt x="62727" y="88301"/>
                      <a:pt x="57272" y="87169"/>
                    </a:cubicBezTo>
                    <a:cubicBezTo>
                      <a:pt x="54545" y="86603"/>
                      <a:pt x="46363" y="86603"/>
                      <a:pt x="57272" y="86037"/>
                    </a:cubicBezTo>
                    <a:cubicBezTo>
                      <a:pt x="70909" y="85471"/>
                      <a:pt x="54545" y="85471"/>
                      <a:pt x="51818" y="84339"/>
                    </a:cubicBezTo>
                    <a:cubicBezTo>
                      <a:pt x="51818" y="82641"/>
                      <a:pt x="51818" y="80377"/>
                      <a:pt x="51818" y="79245"/>
                    </a:cubicBezTo>
                    <a:cubicBezTo>
                      <a:pt x="51818" y="76981"/>
                      <a:pt x="51818" y="74150"/>
                      <a:pt x="51818" y="71886"/>
                    </a:cubicBezTo>
                    <a:cubicBezTo>
                      <a:pt x="54545" y="70188"/>
                      <a:pt x="57272" y="67358"/>
                      <a:pt x="62727" y="66226"/>
                    </a:cubicBezTo>
                    <a:cubicBezTo>
                      <a:pt x="70909" y="64528"/>
                      <a:pt x="62727" y="61698"/>
                      <a:pt x="62727" y="60000"/>
                    </a:cubicBezTo>
                    <a:cubicBezTo>
                      <a:pt x="62727" y="58867"/>
                      <a:pt x="65454" y="58301"/>
                      <a:pt x="70909" y="57735"/>
                    </a:cubicBezTo>
                    <a:cubicBezTo>
                      <a:pt x="76363" y="56603"/>
                      <a:pt x="73636" y="56037"/>
                      <a:pt x="73636" y="54339"/>
                    </a:cubicBezTo>
                    <a:cubicBezTo>
                      <a:pt x="73636" y="52075"/>
                      <a:pt x="81818" y="50377"/>
                      <a:pt x="79090" y="48113"/>
                    </a:cubicBezTo>
                    <a:cubicBezTo>
                      <a:pt x="79090" y="46415"/>
                      <a:pt x="76363" y="44716"/>
                      <a:pt x="73636" y="43018"/>
                    </a:cubicBezTo>
                    <a:cubicBezTo>
                      <a:pt x="73636" y="42452"/>
                      <a:pt x="70909" y="41886"/>
                      <a:pt x="73636" y="41320"/>
                    </a:cubicBezTo>
                    <a:cubicBezTo>
                      <a:pt x="76363" y="40754"/>
                      <a:pt x="79090" y="38490"/>
                      <a:pt x="79090" y="37924"/>
                    </a:cubicBezTo>
                    <a:cubicBezTo>
                      <a:pt x="79090" y="37358"/>
                      <a:pt x="76363" y="36226"/>
                      <a:pt x="81818" y="35094"/>
                    </a:cubicBezTo>
                    <a:cubicBezTo>
                      <a:pt x="84545" y="34528"/>
                      <a:pt x="81818" y="33396"/>
                      <a:pt x="84545" y="32830"/>
                    </a:cubicBezTo>
                    <a:cubicBezTo>
                      <a:pt x="84545" y="31698"/>
                      <a:pt x="90000" y="31132"/>
                      <a:pt x="92727" y="30566"/>
                    </a:cubicBezTo>
                    <a:cubicBezTo>
                      <a:pt x="92727" y="30000"/>
                      <a:pt x="100909" y="28301"/>
                      <a:pt x="100909" y="27735"/>
                    </a:cubicBezTo>
                    <a:cubicBezTo>
                      <a:pt x="100909" y="27169"/>
                      <a:pt x="98181" y="26037"/>
                      <a:pt x="98181" y="24905"/>
                    </a:cubicBezTo>
                    <a:cubicBezTo>
                      <a:pt x="98181" y="23773"/>
                      <a:pt x="98181" y="23207"/>
                      <a:pt x="98181" y="22075"/>
                    </a:cubicBezTo>
                    <a:cubicBezTo>
                      <a:pt x="98181" y="20377"/>
                      <a:pt x="100909" y="20377"/>
                      <a:pt x="109090" y="19811"/>
                    </a:cubicBezTo>
                    <a:cubicBezTo>
                      <a:pt x="120000" y="19245"/>
                      <a:pt x="120000" y="18113"/>
                      <a:pt x="120000" y="15849"/>
                    </a:cubicBezTo>
                    <a:cubicBezTo>
                      <a:pt x="117272" y="16415"/>
                      <a:pt x="111818" y="16415"/>
                      <a:pt x="109090" y="15849"/>
                    </a:cubicBezTo>
                    <a:cubicBezTo>
                      <a:pt x="109090" y="15849"/>
                      <a:pt x="109090" y="16415"/>
                      <a:pt x="109090" y="1584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2" name="Shape 2503">
                <a:extLst>
                  <a:ext uri="{FF2B5EF4-FFF2-40B4-BE49-F238E27FC236}">
                    <a16:creationId xmlns:a16="http://schemas.microsoft.com/office/drawing/2014/main" id="{F5642E6F-2B18-4DE4-9BC2-82500D0EC665}"/>
                  </a:ext>
                </a:extLst>
              </p:cNvPr>
              <p:cNvSpPr/>
              <p:nvPr/>
            </p:nvSpPr>
            <p:spPr>
              <a:xfrm>
                <a:off x="8867769" y="9760975"/>
                <a:ext cx="540251" cy="589258"/>
              </a:xfrm>
              <a:custGeom>
                <a:avLst/>
                <a:gdLst/>
                <a:ahLst/>
                <a:cxnLst/>
                <a:rect l="0" t="0" r="0" b="0"/>
                <a:pathLst>
                  <a:path w="120000" h="120000" extrusionOk="0">
                    <a:moveTo>
                      <a:pt x="114375" y="72000"/>
                    </a:moveTo>
                    <a:cubicBezTo>
                      <a:pt x="106875" y="68571"/>
                      <a:pt x="108750" y="66857"/>
                      <a:pt x="108750" y="60000"/>
                    </a:cubicBezTo>
                    <a:cubicBezTo>
                      <a:pt x="103125" y="60000"/>
                      <a:pt x="97500" y="60000"/>
                      <a:pt x="93750" y="60000"/>
                    </a:cubicBezTo>
                    <a:cubicBezTo>
                      <a:pt x="90000" y="60000"/>
                      <a:pt x="91875" y="58285"/>
                      <a:pt x="91875" y="56571"/>
                    </a:cubicBezTo>
                    <a:cubicBezTo>
                      <a:pt x="91875" y="54857"/>
                      <a:pt x="90000" y="51428"/>
                      <a:pt x="88125" y="51428"/>
                    </a:cubicBezTo>
                    <a:cubicBezTo>
                      <a:pt x="88125" y="49714"/>
                      <a:pt x="90000" y="49714"/>
                      <a:pt x="90000" y="48000"/>
                    </a:cubicBezTo>
                    <a:cubicBezTo>
                      <a:pt x="91875" y="46285"/>
                      <a:pt x="90000" y="44571"/>
                      <a:pt x="88125" y="44571"/>
                    </a:cubicBezTo>
                    <a:cubicBezTo>
                      <a:pt x="88125" y="42857"/>
                      <a:pt x="90000" y="41142"/>
                      <a:pt x="88125" y="39428"/>
                    </a:cubicBezTo>
                    <a:cubicBezTo>
                      <a:pt x="84375" y="36000"/>
                      <a:pt x="80625" y="36000"/>
                      <a:pt x="76875" y="36000"/>
                    </a:cubicBezTo>
                    <a:cubicBezTo>
                      <a:pt x="75000" y="36000"/>
                      <a:pt x="71250" y="32571"/>
                      <a:pt x="69375" y="30857"/>
                    </a:cubicBezTo>
                    <a:cubicBezTo>
                      <a:pt x="65625" y="30857"/>
                      <a:pt x="63750" y="27428"/>
                      <a:pt x="61875" y="27428"/>
                    </a:cubicBezTo>
                    <a:cubicBezTo>
                      <a:pt x="58125" y="27428"/>
                      <a:pt x="56250" y="27428"/>
                      <a:pt x="54375" y="27428"/>
                    </a:cubicBezTo>
                    <a:cubicBezTo>
                      <a:pt x="50625" y="27428"/>
                      <a:pt x="43125" y="18857"/>
                      <a:pt x="43125" y="15428"/>
                    </a:cubicBezTo>
                    <a:cubicBezTo>
                      <a:pt x="43125" y="13714"/>
                      <a:pt x="43125" y="12000"/>
                      <a:pt x="43125" y="10285"/>
                    </a:cubicBezTo>
                    <a:cubicBezTo>
                      <a:pt x="43125" y="8571"/>
                      <a:pt x="43125" y="8571"/>
                      <a:pt x="43125" y="6857"/>
                    </a:cubicBezTo>
                    <a:cubicBezTo>
                      <a:pt x="43125" y="0"/>
                      <a:pt x="39375" y="3428"/>
                      <a:pt x="33750" y="5142"/>
                    </a:cubicBezTo>
                    <a:cubicBezTo>
                      <a:pt x="28125" y="5142"/>
                      <a:pt x="24375" y="10285"/>
                      <a:pt x="18750" y="10285"/>
                    </a:cubicBezTo>
                    <a:cubicBezTo>
                      <a:pt x="15000" y="10285"/>
                      <a:pt x="15000" y="13714"/>
                      <a:pt x="13125" y="15428"/>
                    </a:cubicBezTo>
                    <a:cubicBezTo>
                      <a:pt x="11250" y="15428"/>
                      <a:pt x="5625" y="13714"/>
                      <a:pt x="3750" y="13714"/>
                    </a:cubicBezTo>
                    <a:cubicBezTo>
                      <a:pt x="7500" y="15428"/>
                      <a:pt x="9375" y="24000"/>
                      <a:pt x="11250" y="27428"/>
                    </a:cubicBezTo>
                    <a:cubicBezTo>
                      <a:pt x="7500" y="29142"/>
                      <a:pt x="9375" y="36000"/>
                      <a:pt x="9375" y="39428"/>
                    </a:cubicBezTo>
                    <a:cubicBezTo>
                      <a:pt x="9375" y="42857"/>
                      <a:pt x="9375" y="44571"/>
                      <a:pt x="7500" y="46285"/>
                    </a:cubicBezTo>
                    <a:cubicBezTo>
                      <a:pt x="5625" y="48000"/>
                      <a:pt x="5625" y="51428"/>
                      <a:pt x="5625" y="53142"/>
                    </a:cubicBezTo>
                    <a:cubicBezTo>
                      <a:pt x="3750" y="56571"/>
                      <a:pt x="9375" y="56571"/>
                      <a:pt x="9375" y="60000"/>
                    </a:cubicBezTo>
                    <a:cubicBezTo>
                      <a:pt x="9375" y="61714"/>
                      <a:pt x="5625" y="63428"/>
                      <a:pt x="5625" y="65142"/>
                    </a:cubicBezTo>
                    <a:cubicBezTo>
                      <a:pt x="0" y="70285"/>
                      <a:pt x="7500" y="72000"/>
                      <a:pt x="7500" y="78857"/>
                    </a:cubicBezTo>
                    <a:cubicBezTo>
                      <a:pt x="7500" y="80571"/>
                      <a:pt x="7500" y="82285"/>
                      <a:pt x="7500" y="84000"/>
                    </a:cubicBezTo>
                    <a:cubicBezTo>
                      <a:pt x="9375" y="85714"/>
                      <a:pt x="11250" y="87428"/>
                      <a:pt x="13125" y="89142"/>
                    </a:cubicBezTo>
                    <a:cubicBezTo>
                      <a:pt x="13125" y="90857"/>
                      <a:pt x="9375" y="90857"/>
                      <a:pt x="13125" y="92571"/>
                    </a:cubicBezTo>
                    <a:cubicBezTo>
                      <a:pt x="13125" y="92571"/>
                      <a:pt x="11250" y="96000"/>
                      <a:pt x="11250" y="96000"/>
                    </a:cubicBezTo>
                    <a:cubicBezTo>
                      <a:pt x="11250" y="101142"/>
                      <a:pt x="16875" y="104571"/>
                      <a:pt x="16875" y="108000"/>
                    </a:cubicBezTo>
                    <a:cubicBezTo>
                      <a:pt x="18750" y="113142"/>
                      <a:pt x="15000" y="118285"/>
                      <a:pt x="24375" y="118285"/>
                    </a:cubicBezTo>
                    <a:cubicBezTo>
                      <a:pt x="26250" y="120000"/>
                      <a:pt x="26250" y="116571"/>
                      <a:pt x="26250" y="114857"/>
                    </a:cubicBezTo>
                    <a:cubicBezTo>
                      <a:pt x="26250" y="113142"/>
                      <a:pt x="30000" y="111428"/>
                      <a:pt x="31875" y="111428"/>
                    </a:cubicBezTo>
                    <a:cubicBezTo>
                      <a:pt x="33750" y="109714"/>
                      <a:pt x="35625" y="108000"/>
                      <a:pt x="37500" y="111428"/>
                    </a:cubicBezTo>
                    <a:cubicBezTo>
                      <a:pt x="41250" y="113142"/>
                      <a:pt x="45000" y="111428"/>
                      <a:pt x="46875" y="111428"/>
                    </a:cubicBezTo>
                    <a:cubicBezTo>
                      <a:pt x="50625" y="111428"/>
                      <a:pt x="50625" y="116571"/>
                      <a:pt x="52500" y="116571"/>
                    </a:cubicBezTo>
                    <a:cubicBezTo>
                      <a:pt x="54375" y="116571"/>
                      <a:pt x="56250" y="113142"/>
                      <a:pt x="58125" y="111428"/>
                    </a:cubicBezTo>
                    <a:cubicBezTo>
                      <a:pt x="60000" y="108000"/>
                      <a:pt x="67500" y="113142"/>
                      <a:pt x="69375" y="109714"/>
                    </a:cubicBezTo>
                    <a:cubicBezTo>
                      <a:pt x="73125" y="101142"/>
                      <a:pt x="71250" y="92571"/>
                      <a:pt x="82500" y="89142"/>
                    </a:cubicBezTo>
                    <a:cubicBezTo>
                      <a:pt x="86250" y="87428"/>
                      <a:pt x="91875" y="87428"/>
                      <a:pt x="97500" y="87428"/>
                    </a:cubicBezTo>
                    <a:cubicBezTo>
                      <a:pt x="103125" y="87428"/>
                      <a:pt x="106875" y="89142"/>
                      <a:pt x="110625" y="92571"/>
                    </a:cubicBezTo>
                    <a:cubicBezTo>
                      <a:pt x="112500" y="87428"/>
                      <a:pt x="120000" y="73714"/>
                      <a:pt x="114375" y="72000"/>
                    </a:cubicBezTo>
                    <a:cubicBezTo>
                      <a:pt x="112500" y="70285"/>
                      <a:pt x="116250" y="72000"/>
                      <a:pt x="114375"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3" name="Shape 2504">
                <a:extLst>
                  <a:ext uri="{FF2B5EF4-FFF2-40B4-BE49-F238E27FC236}">
                    <a16:creationId xmlns:a16="http://schemas.microsoft.com/office/drawing/2014/main" id="{AECF3A67-694F-447F-9DA9-466B4456A285}"/>
                  </a:ext>
                </a:extLst>
              </p:cNvPr>
              <p:cNvSpPr/>
              <p:nvPr/>
            </p:nvSpPr>
            <p:spPr>
              <a:xfrm>
                <a:off x="9172380" y="10180641"/>
                <a:ext cx="379326" cy="373675"/>
              </a:xfrm>
              <a:custGeom>
                <a:avLst/>
                <a:gdLst/>
                <a:ahLst/>
                <a:cxnLst/>
                <a:rect l="0" t="0" r="0" b="0"/>
                <a:pathLst>
                  <a:path w="120000" h="120000" extrusionOk="0">
                    <a:moveTo>
                      <a:pt x="106666" y="65454"/>
                    </a:moveTo>
                    <a:cubicBezTo>
                      <a:pt x="104000" y="68181"/>
                      <a:pt x="98666" y="70909"/>
                      <a:pt x="96000" y="65454"/>
                    </a:cubicBezTo>
                    <a:cubicBezTo>
                      <a:pt x="93333" y="62727"/>
                      <a:pt x="98666" y="60000"/>
                      <a:pt x="96000" y="54545"/>
                    </a:cubicBezTo>
                    <a:cubicBezTo>
                      <a:pt x="93333" y="51818"/>
                      <a:pt x="93333" y="49090"/>
                      <a:pt x="90666" y="46363"/>
                    </a:cubicBezTo>
                    <a:cubicBezTo>
                      <a:pt x="82666" y="40909"/>
                      <a:pt x="82666" y="46363"/>
                      <a:pt x="77333" y="43636"/>
                    </a:cubicBezTo>
                    <a:cubicBezTo>
                      <a:pt x="74666" y="43636"/>
                      <a:pt x="72000" y="43636"/>
                      <a:pt x="66666" y="40909"/>
                    </a:cubicBezTo>
                    <a:cubicBezTo>
                      <a:pt x="61333" y="40909"/>
                      <a:pt x="64000" y="35454"/>
                      <a:pt x="66666" y="32727"/>
                    </a:cubicBezTo>
                    <a:cubicBezTo>
                      <a:pt x="66666" y="27272"/>
                      <a:pt x="64000" y="21818"/>
                      <a:pt x="64000" y="19090"/>
                    </a:cubicBezTo>
                    <a:cubicBezTo>
                      <a:pt x="61333" y="10909"/>
                      <a:pt x="64000" y="10909"/>
                      <a:pt x="56000" y="8181"/>
                    </a:cubicBezTo>
                    <a:cubicBezTo>
                      <a:pt x="50666" y="2727"/>
                      <a:pt x="48000" y="0"/>
                      <a:pt x="37333" y="2727"/>
                    </a:cubicBezTo>
                    <a:cubicBezTo>
                      <a:pt x="29333" y="2727"/>
                      <a:pt x="18666" y="5454"/>
                      <a:pt x="13333" y="8181"/>
                    </a:cubicBezTo>
                    <a:cubicBezTo>
                      <a:pt x="5333" y="16363"/>
                      <a:pt x="8000" y="21818"/>
                      <a:pt x="5333" y="30000"/>
                    </a:cubicBezTo>
                    <a:cubicBezTo>
                      <a:pt x="5333" y="32727"/>
                      <a:pt x="2666" y="35454"/>
                      <a:pt x="2666" y="38181"/>
                    </a:cubicBezTo>
                    <a:cubicBezTo>
                      <a:pt x="0" y="40909"/>
                      <a:pt x="2666" y="40909"/>
                      <a:pt x="5333" y="46363"/>
                    </a:cubicBezTo>
                    <a:cubicBezTo>
                      <a:pt x="10666" y="54545"/>
                      <a:pt x="16000" y="57272"/>
                      <a:pt x="24000" y="65454"/>
                    </a:cubicBezTo>
                    <a:cubicBezTo>
                      <a:pt x="26666" y="68181"/>
                      <a:pt x="32000" y="68181"/>
                      <a:pt x="34666" y="68181"/>
                    </a:cubicBezTo>
                    <a:cubicBezTo>
                      <a:pt x="40000" y="68181"/>
                      <a:pt x="42666" y="70909"/>
                      <a:pt x="45333" y="73636"/>
                    </a:cubicBezTo>
                    <a:cubicBezTo>
                      <a:pt x="50666" y="76363"/>
                      <a:pt x="72000" y="84545"/>
                      <a:pt x="66666" y="95454"/>
                    </a:cubicBezTo>
                    <a:cubicBezTo>
                      <a:pt x="64000" y="98181"/>
                      <a:pt x="58666" y="100909"/>
                      <a:pt x="58666" y="106363"/>
                    </a:cubicBezTo>
                    <a:cubicBezTo>
                      <a:pt x="58666" y="111818"/>
                      <a:pt x="58666" y="111818"/>
                      <a:pt x="53333" y="114545"/>
                    </a:cubicBezTo>
                    <a:cubicBezTo>
                      <a:pt x="50666" y="120000"/>
                      <a:pt x="72000" y="117272"/>
                      <a:pt x="74666" y="120000"/>
                    </a:cubicBezTo>
                    <a:cubicBezTo>
                      <a:pt x="80000" y="120000"/>
                      <a:pt x="80000" y="120000"/>
                      <a:pt x="85333" y="117272"/>
                    </a:cubicBezTo>
                    <a:cubicBezTo>
                      <a:pt x="88000" y="111818"/>
                      <a:pt x="96000" y="117272"/>
                      <a:pt x="98666" y="114545"/>
                    </a:cubicBezTo>
                    <a:cubicBezTo>
                      <a:pt x="101333" y="111818"/>
                      <a:pt x="104000" y="109090"/>
                      <a:pt x="106666" y="106363"/>
                    </a:cubicBezTo>
                    <a:cubicBezTo>
                      <a:pt x="109333" y="100909"/>
                      <a:pt x="106666" y="95454"/>
                      <a:pt x="109333" y="92727"/>
                    </a:cubicBezTo>
                    <a:cubicBezTo>
                      <a:pt x="109333" y="87272"/>
                      <a:pt x="120000" y="65454"/>
                      <a:pt x="106666" y="65454"/>
                    </a:cubicBezTo>
                    <a:cubicBezTo>
                      <a:pt x="106666" y="68181"/>
                      <a:pt x="109333" y="65454"/>
                      <a:pt x="106666" y="6545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4" name="Shape 2505">
                <a:extLst>
                  <a:ext uri="{FF2B5EF4-FFF2-40B4-BE49-F238E27FC236}">
                    <a16:creationId xmlns:a16="http://schemas.microsoft.com/office/drawing/2014/main" id="{A901EF1E-6021-4806-B1AB-7EB7DE92D17E}"/>
                  </a:ext>
                </a:extLst>
              </p:cNvPr>
              <p:cNvSpPr/>
              <p:nvPr/>
            </p:nvSpPr>
            <p:spPr>
              <a:xfrm>
                <a:off x="8692476" y="9142974"/>
                <a:ext cx="1675352" cy="1698786"/>
              </a:xfrm>
              <a:custGeom>
                <a:avLst/>
                <a:gdLst/>
                <a:ahLst/>
                <a:cxnLst/>
                <a:rect l="0" t="0" r="0" b="0"/>
                <a:pathLst>
                  <a:path w="120000" h="120000" extrusionOk="0">
                    <a:moveTo>
                      <a:pt x="118190" y="34029"/>
                    </a:moveTo>
                    <a:cubicBezTo>
                      <a:pt x="117587" y="32835"/>
                      <a:pt x="117587" y="31641"/>
                      <a:pt x="116984" y="31044"/>
                    </a:cubicBezTo>
                    <a:cubicBezTo>
                      <a:pt x="115778" y="30447"/>
                      <a:pt x="113969" y="31044"/>
                      <a:pt x="113366" y="30447"/>
                    </a:cubicBezTo>
                    <a:cubicBezTo>
                      <a:pt x="110351" y="29850"/>
                      <a:pt x="108542" y="27462"/>
                      <a:pt x="106733" y="26268"/>
                    </a:cubicBezTo>
                    <a:cubicBezTo>
                      <a:pt x="105527" y="25671"/>
                      <a:pt x="104321" y="25074"/>
                      <a:pt x="103718" y="24477"/>
                    </a:cubicBezTo>
                    <a:cubicBezTo>
                      <a:pt x="101909" y="23880"/>
                      <a:pt x="101306" y="24477"/>
                      <a:pt x="99497" y="24477"/>
                    </a:cubicBezTo>
                    <a:cubicBezTo>
                      <a:pt x="97085" y="25074"/>
                      <a:pt x="94673" y="22089"/>
                      <a:pt x="92261" y="23283"/>
                    </a:cubicBezTo>
                    <a:cubicBezTo>
                      <a:pt x="90452" y="23880"/>
                      <a:pt x="88643" y="20895"/>
                      <a:pt x="87437" y="20298"/>
                    </a:cubicBezTo>
                    <a:cubicBezTo>
                      <a:pt x="85628" y="19104"/>
                      <a:pt x="83216" y="17910"/>
                      <a:pt x="81407" y="17910"/>
                    </a:cubicBezTo>
                    <a:cubicBezTo>
                      <a:pt x="80201" y="17313"/>
                      <a:pt x="78994" y="17313"/>
                      <a:pt x="78391" y="17910"/>
                    </a:cubicBezTo>
                    <a:cubicBezTo>
                      <a:pt x="77788" y="19701"/>
                      <a:pt x="75979" y="20298"/>
                      <a:pt x="75376" y="21492"/>
                    </a:cubicBezTo>
                    <a:cubicBezTo>
                      <a:pt x="74170" y="23283"/>
                      <a:pt x="74773" y="22686"/>
                      <a:pt x="73567" y="21492"/>
                    </a:cubicBezTo>
                    <a:cubicBezTo>
                      <a:pt x="73567" y="21492"/>
                      <a:pt x="72964" y="20895"/>
                      <a:pt x="72964" y="20895"/>
                    </a:cubicBezTo>
                    <a:cubicBezTo>
                      <a:pt x="71758" y="20298"/>
                      <a:pt x="72361" y="21492"/>
                      <a:pt x="71758" y="22089"/>
                    </a:cubicBezTo>
                    <a:cubicBezTo>
                      <a:pt x="71155" y="22686"/>
                      <a:pt x="69346" y="17313"/>
                      <a:pt x="69949" y="17313"/>
                    </a:cubicBezTo>
                    <a:cubicBezTo>
                      <a:pt x="69949" y="17313"/>
                      <a:pt x="68140" y="19701"/>
                      <a:pt x="67537" y="19701"/>
                    </a:cubicBezTo>
                    <a:cubicBezTo>
                      <a:pt x="67537" y="19701"/>
                      <a:pt x="69949" y="17910"/>
                      <a:pt x="69346" y="17313"/>
                    </a:cubicBezTo>
                    <a:cubicBezTo>
                      <a:pt x="68140" y="16716"/>
                      <a:pt x="68140" y="19701"/>
                      <a:pt x="66934" y="19701"/>
                    </a:cubicBezTo>
                    <a:cubicBezTo>
                      <a:pt x="66934" y="19701"/>
                      <a:pt x="69346" y="16119"/>
                      <a:pt x="69346" y="15522"/>
                    </a:cubicBezTo>
                    <a:cubicBezTo>
                      <a:pt x="69346" y="14925"/>
                      <a:pt x="70552" y="14925"/>
                      <a:pt x="70552" y="14328"/>
                    </a:cubicBezTo>
                    <a:cubicBezTo>
                      <a:pt x="71155" y="13731"/>
                      <a:pt x="71758" y="14925"/>
                      <a:pt x="72361" y="13731"/>
                    </a:cubicBezTo>
                    <a:cubicBezTo>
                      <a:pt x="72964" y="13134"/>
                      <a:pt x="72361" y="13134"/>
                      <a:pt x="72361" y="11940"/>
                    </a:cubicBezTo>
                    <a:cubicBezTo>
                      <a:pt x="72964" y="11343"/>
                      <a:pt x="72964" y="10149"/>
                      <a:pt x="71758" y="9552"/>
                    </a:cubicBezTo>
                    <a:cubicBezTo>
                      <a:pt x="69949" y="8955"/>
                      <a:pt x="69949" y="6567"/>
                      <a:pt x="69949" y="4776"/>
                    </a:cubicBezTo>
                    <a:cubicBezTo>
                      <a:pt x="69949" y="4179"/>
                      <a:pt x="69346" y="3582"/>
                      <a:pt x="68743" y="2985"/>
                    </a:cubicBezTo>
                    <a:cubicBezTo>
                      <a:pt x="68140" y="2388"/>
                      <a:pt x="67537" y="4179"/>
                      <a:pt x="66934" y="4776"/>
                    </a:cubicBezTo>
                    <a:cubicBezTo>
                      <a:pt x="66331" y="6567"/>
                      <a:pt x="65125" y="8955"/>
                      <a:pt x="63316" y="8955"/>
                    </a:cubicBezTo>
                    <a:cubicBezTo>
                      <a:pt x="62713" y="8955"/>
                      <a:pt x="62110" y="8358"/>
                      <a:pt x="60904" y="8358"/>
                    </a:cubicBezTo>
                    <a:cubicBezTo>
                      <a:pt x="60301" y="8358"/>
                      <a:pt x="59698" y="8955"/>
                      <a:pt x="59095" y="8358"/>
                    </a:cubicBezTo>
                    <a:cubicBezTo>
                      <a:pt x="57889" y="7761"/>
                      <a:pt x="57286" y="8358"/>
                      <a:pt x="56080" y="8358"/>
                    </a:cubicBezTo>
                    <a:cubicBezTo>
                      <a:pt x="54874" y="8358"/>
                      <a:pt x="55477" y="8358"/>
                      <a:pt x="54874" y="9552"/>
                    </a:cubicBezTo>
                    <a:cubicBezTo>
                      <a:pt x="54271" y="10149"/>
                      <a:pt x="51256" y="9552"/>
                      <a:pt x="50653" y="10149"/>
                    </a:cubicBezTo>
                    <a:cubicBezTo>
                      <a:pt x="49447" y="10149"/>
                      <a:pt x="47638" y="11343"/>
                      <a:pt x="46432" y="11343"/>
                    </a:cubicBezTo>
                    <a:cubicBezTo>
                      <a:pt x="44623" y="11343"/>
                      <a:pt x="43417" y="8955"/>
                      <a:pt x="43417" y="7761"/>
                    </a:cubicBezTo>
                    <a:cubicBezTo>
                      <a:pt x="42211" y="5970"/>
                      <a:pt x="44623" y="4776"/>
                      <a:pt x="44020" y="2985"/>
                    </a:cubicBezTo>
                    <a:cubicBezTo>
                      <a:pt x="43417" y="1791"/>
                      <a:pt x="42814" y="0"/>
                      <a:pt x="41608" y="597"/>
                    </a:cubicBezTo>
                    <a:cubicBezTo>
                      <a:pt x="41608" y="1194"/>
                      <a:pt x="37386" y="2985"/>
                      <a:pt x="36783" y="2985"/>
                    </a:cubicBezTo>
                    <a:cubicBezTo>
                      <a:pt x="36180" y="2985"/>
                      <a:pt x="34974" y="2985"/>
                      <a:pt x="34974" y="3582"/>
                    </a:cubicBezTo>
                    <a:cubicBezTo>
                      <a:pt x="34371" y="3582"/>
                      <a:pt x="34371" y="5373"/>
                      <a:pt x="33768" y="4179"/>
                    </a:cubicBezTo>
                    <a:cubicBezTo>
                      <a:pt x="33165" y="3582"/>
                      <a:pt x="28341" y="2985"/>
                      <a:pt x="28341" y="3582"/>
                    </a:cubicBezTo>
                    <a:cubicBezTo>
                      <a:pt x="28341" y="3582"/>
                      <a:pt x="29547" y="4179"/>
                      <a:pt x="29547" y="4179"/>
                    </a:cubicBezTo>
                    <a:cubicBezTo>
                      <a:pt x="30150" y="4776"/>
                      <a:pt x="30150" y="5373"/>
                      <a:pt x="30150" y="6567"/>
                    </a:cubicBezTo>
                    <a:cubicBezTo>
                      <a:pt x="30753" y="6567"/>
                      <a:pt x="30753" y="7761"/>
                      <a:pt x="31356" y="8358"/>
                    </a:cubicBezTo>
                    <a:cubicBezTo>
                      <a:pt x="31356" y="8358"/>
                      <a:pt x="32562" y="8358"/>
                      <a:pt x="32562" y="8358"/>
                    </a:cubicBezTo>
                    <a:cubicBezTo>
                      <a:pt x="32562" y="8955"/>
                      <a:pt x="31356" y="9552"/>
                      <a:pt x="30753" y="9552"/>
                    </a:cubicBezTo>
                    <a:cubicBezTo>
                      <a:pt x="30150" y="10149"/>
                      <a:pt x="30150" y="10746"/>
                      <a:pt x="29547" y="11343"/>
                    </a:cubicBezTo>
                    <a:cubicBezTo>
                      <a:pt x="29547" y="11343"/>
                      <a:pt x="26532" y="13731"/>
                      <a:pt x="25929" y="13134"/>
                    </a:cubicBezTo>
                    <a:cubicBezTo>
                      <a:pt x="25929" y="12537"/>
                      <a:pt x="25326" y="12537"/>
                      <a:pt x="24723" y="13134"/>
                    </a:cubicBezTo>
                    <a:cubicBezTo>
                      <a:pt x="24120" y="13731"/>
                      <a:pt x="22914" y="12537"/>
                      <a:pt x="22914" y="12537"/>
                    </a:cubicBezTo>
                    <a:cubicBezTo>
                      <a:pt x="21708" y="11940"/>
                      <a:pt x="21105" y="9552"/>
                      <a:pt x="20502" y="9552"/>
                    </a:cubicBezTo>
                    <a:cubicBezTo>
                      <a:pt x="19296" y="8955"/>
                      <a:pt x="17487" y="10746"/>
                      <a:pt x="16281" y="10746"/>
                    </a:cubicBezTo>
                    <a:cubicBezTo>
                      <a:pt x="15075" y="10746"/>
                      <a:pt x="13869" y="10746"/>
                      <a:pt x="12663" y="10746"/>
                    </a:cubicBezTo>
                    <a:cubicBezTo>
                      <a:pt x="12663" y="10746"/>
                      <a:pt x="12663" y="11940"/>
                      <a:pt x="13266" y="11940"/>
                    </a:cubicBezTo>
                    <a:cubicBezTo>
                      <a:pt x="13266" y="12537"/>
                      <a:pt x="14472" y="12537"/>
                      <a:pt x="15075" y="12537"/>
                    </a:cubicBezTo>
                    <a:cubicBezTo>
                      <a:pt x="15075" y="13134"/>
                      <a:pt x="12663" y="13731"/>
                      <a:pt x="12060" y="13731"/>
                    </a:cubicBezTo>
                    <a:cubicBezTo>
                      <a:pt x="11457" y="14328"/>
                      <a:pt x="12663" y="16119"/>
                      <a:pt x="13266" y="16716"/>
                    </a:cubicBezTo>
                    <a:cubicBezTo>
                      <a:pt x="14472" y="19104"/>
                      <a:pt x="14472" y="20895"/>
                      <a:pt x="13266" y="23283"/>
                    </a:cubicBezTo>
                    <a:cubicBezTo>
                      <a:pt x="13266" y="24477"/>
                      <a:pt x="13266" y="28059"/>
                      <a:pt x="12060" y="28059"/>
                    </a:cubicBezTo>
                    <a:cubicBezTo>
                      <a:pt x="11457" y="28656"/>
                      <a:pt x="10251" y="28059"/>
                      <a:pt x="9045" y="28656"/>
                    </a:cubicBezTo>
                    <a:cubicBezTo>
                      <a:pt x="8442" y="29253"/>
                      <a:pt x="6633" y="29253"/>
                      <a:pt x="6030" y="29253"/>
                    </a:cubicBezTo>
                    <a:cubicBezTo>
                      <a:pt x="3015" y="30447"/>
                      <a:pt x="3015" y="31641"/>
                      <a:pt x="3015" y="34029"/>
                    </a:cubicBezTo>
                    <a:cubicBezTo>
                      <a:pt x="3015" y="35223"/>
                      <a:pt x="1206" y="35223"/>
                      <a:pt x="1206" y="35820"/>
                    </a:cubicBezTo>
                    <a:cubicBezTo>
                      <a:pt x="1206" y="37611"/>
                      <a:pt x="0" y="38208"/>
                      <a:pt x="1206" y="39402"/>
                    </a:cubicBezTo>
                    <a:cubicBezTo>
                      <a:pt x="2412" y="40597"/>
                      <a:pt x="2412" y="41791"/>
                      <a:pt x="3015" y="42985"/>
                    </a:cubicBezTo>
                    <a:cubicBezTo>
                      <a:pt x="3015" y="43582"/>
                      <a:pt x="3618" y="43582"/>
                      <a:pt x="4221" y="43582"/>
                    </a:cubicBezTo>
                    <a:cubicBezTo>
                      <a:pt x="4824" y="43582"/>
                      <a:pt x="4824" y="44179"/>
                      <a:pt x="5427" y="44776"/>
                    </a:cubicBezTo>
                    <a:cubicBezTo>
                      <a:pt x="6633" y="46567"/>
                      <a:pt x="9648" y="44776"/>
                      <a:pt x="10854" y="43582"/>
                    </a:cubicBezTo>
                    <a:cubicBezTo>
                      <a:pt x="10854" y="45373"/>
                      <a:pt x="9648" y="48358"/>
                      <a:pt x="11457" y="48955"/>
                    </a:cubicBezTo>
                    <a:cubicBezTo>
                      <a:pt x="12060" y="48955"/>
                      <a:pt x="13869" y="48358"/>
                      <a:pt x="14472" y="48358"/>
                    </a:cubicBezTo>
                    <a:cubicBezTo>
                      <a:pt x="16281" y="48955"/>
                      <a:pt x="16884" y="48955"/>
                      <a:pt x="18090" y="47761"/>
                    </a:cubicBezTo>
                    <a:cubicBezTo>
                      <a:pt x="18090" y="47164"/>
                      <a:pt x="19296" y="47164"/>
                      <a:pt x="19899" y="47164"/>
                    </a:cubicBezTo>
                    <a:cubicBezTo>
                      <a:pt x="21105" y="45970"/>
                      <a:pt x="22311" y="45373"/>
                      <a:pt x="23517" y="45373"/>
                    </a:cubicBezTo>
                    <a:cubicBezTo>
                      <a:pt x="24723" y="44776"/>
                      <a:pt x="27738" y="43582"/>
                      <a:pt x="26532" y="45970"/>
                    </a:cubicBezTo>
                    <a:cubicBezTo>
                      <a:pt x="26532" y="47164"/>
                      <a:pt x="25929" y="48358"/>
                      <a:pt x="26532" y="49552"/>
                    </a:cubicBezTo>
                    <a:cubicBezTo>
                      <a:pt x="27135" y="50746"/>
                      <a:pt x="28341" y="51940"/>
                      <a:pt x="29547" y="52537"/>
                    </a:cubicBezTo>
                    <a:cubicBezTo>
                      <a:pt x="30753" y="53731"/>
                      <a:pt x="32562" y="53134"/>
                      <a:pt x="33768" y="53731"/>
                    </a:cubicBezTo>
                    <a:cubicBezTo>
                      <a:pt x="34371" y="54328"/>
                      <a:pt x="34974" y="54925"/>
                      <a:pt x="35577" y="54925"/>
                    </a:cubicBezTo>
                    <a:cubicBezTo>
                      <a:pt x="36180" y="54925"/>
                      <a:pt x="36783" y="55522"/>
                      <a:pt x="36783" y="56119"/>
                    </a:cubicBezTo>
                    <a:cubicBezTo>
                      <a:pt x="37989" y="56119"/>
                      <a:pt x="41005" y="55522"/>
                      <a:pt x="41005" y="57313"/>
                    </a:cubicBezTo>
                    <a:cubicBezTo>
                      <a:pt x="41608" y="58507"/>
                      <a:pt x="41005" y="58507"/>
                      <a:pt x="41608" y="59701"/>
                    </a:cubicBezTo>
                    <a:cubicBezTo>
                      <a:pt x="42211" y="60298"/>
                      <a:pt x="41608" y="60298"/>
                      <a:pt x="41005" y="60895"/>
                    </a:cubicBezTo>
                    <a:cubicBezTo>
                      <a:pt x="41005" y="60895"/>
                      <a:pt x="42211" y="63880"/>
                      <a:pt x="42211" y="64477"/>
                    </a:cubicBezTo>
                    <a:cubicBezTo>
                      <a:pt x="42211" y="65074"/>
                      <a:pt x="47035" y="64477"/>
                      <a:pt x="47638" y="64477"/>
                    </a:cubicBezTo>
                    <a:cubicBezTo>
                      <a:pt x="47638" y="65671"/>
                      <a:pt x="47035" y="67462"/>
                      <a:pt x="48241" y="68059"/>
                    </a:cubicBezTo>
                    <a:cubicBezTo>
                      <a:pt x="50050" y="69253"/>
                      <a:pt x="50050" y="70447"/>
                      <a:pt x="49447" y="72835"/>
                    </a:cubicBezTo>
                    <a:cubicBezTo>
                      <a:pt x="48844" y="74029"/>
                      <a:pt x="48241" y="75820"/>
                      <a:pt x="48844" y="77611"/>
                    </a:cubicBezTo>
                    <a:cubicBezTo>
                      <a:pt x="48844" y="78208"/>
                      <a:pt x="49447" y="79402"/>
                      <a:pt x="49447" y="80597"/>
                    </a:cubicBezTo>
                    <a:cubicBezTo>
                      <a:pt x="49447" y="81194"/>
                      <a:pt x="48241" y="82388"/>
                      <a:pt x="49447" y="82388"/>
                    </a:cubicBezTo>
                    <a:cubicBezTo>
                      <a:pt x="50050" y="82985"/>
                      <a:pt x="51859" y="83582"/>
                      <a:pt x="53065" y="82985"/>
                    </a:cubicBezTo>
                    <a:cubicBezTo>
                      <a:pt x="54271" y="81791"/>
                      <a:pt x="56683" y="85970"/>
                      <a:pt x="56080" y="86567"/>
                    </a:cubicBezTo>
                    <a:cubicBezTo>
                      <a:pt x="56080" y="87164"/>
                      <a:pt x="56080" y="87761"/>
                      <a:pt x="56683" y="88358"/>
                    </a:cubicBezTo>
                    <a:cubicBezTo>
                      <a:pt x="57286" y="88955"/>
                      <a:pt x="58492" y="87761"/>
                      <a:pt x="59095" y="88358"/>
                    </a:cubicBezTo>
                    <a:cubicBezTo>
                      <a:pt x="61507" y="89552"/>
                      <a:pt x="59095" y="91940"/>
                      <a:pt x="59095" y="93731"/>
                    </a:cubicBezTo>
                    <a:cubicBezTo>
                      <a:pt x="60301" y="91940"/>
                      <a:pt x="61507" y="95522"/>
                      <a:pt x="61507" y="95522"/>
                    </a:cubicBezTo>
                    <a:cubicBezTo>
                      <a:pt x="62110" y="97910"/>
                      <a:pt x="60904" y="98507"/>
                      <a:pt x="59095" y="99104"/>
                    </a:cubicBezTo>
                    <a:cubicBezTo>
                      <a:pt x="56683" y="100298"/>
                      <a:pt x="55477" y="101492"/>
                      <a:pt x="54271" y="103283"/>
                    </a:cubicBezTo>
                    <a:cubicBezTo>
                      <a:pt x="53668" y="104477"/>
                      <a:pt x="53065" y="105074"/>
                      <a:pt x="51859" y="105671"/>
                    </a:cubicBezTo>
                    <a:cubicBezTo>
                      <a:pt x="51256" y="106865"/>
                      <a:pt x="50050" y="107462"/>
                      <a:pt x="48844" y="108656"/>
                    </a:cubicBezTo>
                    <a:cubicBezTo>
                      <a:pt x="50050" y="108656"/>
                      <a:pt x="51256" y="108059"/>
                      <a:pt x="51859" y="108059"/>
                    </a:cubicBezTo>
                    <a:cubicBezTo>
                      <a:pt x="52462" y="108059"/>
                      <a:pt x="53065" y="109253"/>
                      <a:pt x="53668" y="109253"/>
                    </a:cubicBezTo>
                    <a:cubicBezTo>
                      <a:pt x="53668" y="109850"/>
                      <a:pt x="54271" y="110447"/>
                      <a:pt x="54874" y="111044"/>
                    </a:cubicBezTo>
                    <a:cubicBezTo>
                      <a:pt x="55477" y="111641"/>
                      <a:pt x="56080" y="111044"/>
                      <a:pt x="56683" y="111641"/>
                    </a:cubicBezTo>
                    <a:cubicBezTo>
                      <a:pt x="57889" y="112835"/>
                      <a:pt x="60301" y="113432"/>
                      <a:pt x="60904" y="115223"/>
                    </a:cubicBezTo>
                    <a:cubicBezTo>
                      <a:pt x="61507" y="116417"/>
                      <a:pt x="62110" y="118805"/>
                      <a:pt x="62713" y="120000"/>
                    </a:cubicBezTo>
                    <a:cubicBezTo>
                      <a:pt x="63316" y="119402"/>
                      <a:pt x="63919" y="118805"/>
                      <a:pt x="64522" y="117611"/>
                    </a:cubicBezTo>
                    <a:cubicBezTo>
                      <a:pt x="64522" y="117014"/>
                      <a:pt x="65125" y="115820"/>
                      <a:pt x="65728" y="115223"/>
                    </a:cubicBezTo>
                    <a:cubicBezTo>
                      <a:pt x="66331" y="113432"/>
                      <a:pt x="68140" y="112835"/>
                      <a:pt x="69949" y="111641"/>
                    </a:cubicBezTo>
                    <a:cubicBezTo>
                      <a:pt x="71155" y="110447"/>
                      <a:pt x="71155" y="109253"/>
                      <a:pt x="71758" y="107462"/>
                    </a:cubicBezTo>
                    <a:cubicBezTo>
                      <a:pt x="72964" y="105074"/>
                      <a:pt x="74773" y="104477"/>
                      <a:pt x="75979" y="102686"/>
                    </a:cubicBezTo>
                    <a:cubicBezTo>
                      <a:pt x="77788" y="100895"/>
                      <a:pt x="75979" y="98507"/>
                      <a:pt x="76582" y="96119"/>
                    </a:cubicBezTo>
                    <a:cubicBezTo>
                      <a:pt x="77185" y="95522"/>
                      <a:pt x="77185" y="94925"/>
                      <a:pt x="77185" y="93731"/>
                    </a:cubicBezTo>
                    <a:cubicBezTo>
                      <a:pt x="77185" y="93134"/>
                      <a:pt x="77185" y="93134"/>
                      <a:pt x="77788" y="93134"/>
                    </a:cubicBezTo>
                    <a:cubicBezTo>
                      <a:pt x="78994" y="92537"/>
                      <a:pt x="79597" y="91343"/>
                      <a:pt x="80201" y="90746"/>
                    </a:cubicBezTo>
                    <a:cubicBezTo>
                      <a:pt x="80804" y="90149"/>
                      <a:pt x="81407" y="89552"/>
                      <a:pt x="82613" y="88955"/>
                    </a:cubicBezTo>
                    <a:cubicBezTo>
                      <a:pt x="83216" y="88955"/>
                      <a:pt x="83819" y="88358"/>
                      <a:pt x="85025" y="87761"/>
                    </a:cubicBezTo>
                    <a:cubicBezTo>
                      <a:pt x="85628" y="87761"/>
                      <a:pt x="86231" y="88358"/>
                      <a:pt x="86834" y="88358"/>
                    </a:cubicBezTo>
                    <a:cubicBezTo>
                      <a:pt x="87437" y="88358"/>
                      <a:pt x="86834" y="87761"/>
                      <a:pt x="86834" y="87761"/>
                    </a:cubicBezTo>
                    <a:cubicBezTo>
                      <a:pt x="86231" y="87164"/>
                      <a:pt x="88643" y="86567"/>
                      <a:pt x="88643" y="86567"/>
                    </a:cubicBezTo>
                    <a:cubicBezTo>
                      <a:pt x="88643" y="86567"/>
                      <a:pt x="89849" y="84776"/>
                      <a:pt x="89849" y="85373"/>
                    </a:cubicBezTo>
                    <a:cubicBezTo>
                      <a:pt x="90452" y="85970"/>
                      <a:pt x="93467" y="84776"/>
                      <a:pt x="93467" y="84776"/>
                    </a:cubicBezTo>
                    <a:cubicBezTo>
                      <a:pt x="94070" y="84776"/>
                      <a:pt x="93467" y="85373"/>
                      <a:pt x="94070" y="85373"/>
                    </a:cubicBezTo>
                    <a:cubicBezTo>
                      <a:pt x="94673" y="85373"/>
                      <a:pt x="96482" y="85373"/>
                      <a:pt x="97085" y="84776"/>
                    </a:cubicBezTo>
                    <a:cubicBezTo>
                      <a:pt x="97688" y="84179"/>
                      <a:pt x="97688" y="83582"/>
                      <a:pt x="98291" y="82985"/>
                    </a:cubicBezTo>
                    <a:cubicBezTo>
                      <a:pt x="98894" y="82985"/>
                      <a:pt x="99497" y="82388"/>
                      <a:pt x="99497" y="81791"/>
                    </a:cubicBezTo>
                    <a:cubicBezTo>
                      <a:pt x="100100" y="81194"/>
                      <a:pt x="99497" y="80000"/>
                      <a:pt x="100100" y="79402"/>
                    </a:cubicBezTo>
                    <a:cubicBezTo>
                      <a:pt x="100703" y="78805"/>
                      <a:pt x="101306" y="78208"/>
                      <a:pt x="101909" y="77611"/>
                    </a:cubicBezTo>
                    <a:cubicBezTo>
                      <a:pt x="103115" y="75820"/>
                      <a:pt x="103718" y="75223"/>
                      <a:pt x="103718" y="73432"/>
                    </a:cubicBezTo>
                    <a:cubicBezTo>
                      <a:pt x="103718" y="72238"/>
                      <a:pt x="103718" y="71641"/>
                      <a:pt x="104321" y="70447"/>
                    </a:cubicBezTo>
                    <a:cubicBezTo>
                      <a:pt x="104321" y="69850"/>
                      <a:pt x="104924" y="69850"/>
                      <a:pt x="105527" y="69253"/>
                    </a:cubicBezTo>
                    <a:cubicBezTo>
                      <a:pt x="106130" y="68656"/>
                      <a:pt x="105527" y="67462"/>
                      <a:pt x="105527" y="66865"/>
                    </a:cubicBezTo>
                    <a:cubicBezTo>
                      <a:pt x="105527" y="65671"/>
                      <a:pt x="106130" y="65074"/>
                      <a:pt x="106130" y="63880"/>
                    </a:cubicBezTo>
                    <a:cubicBezTo>
                      <a:pt x="106733" y="62089"/>
                      <a:pt x="106130" y="60298"/>
                      <a:pt x="106130" y="58507"/>
                    </a:cubicBezTo>
                    <a:cubicBezTo>
                      <a:pt x="106130" y="57313"/>
                      <a:pt x="105527" y="56119"/>
                      <a:pt x="106130" y="55522"/>
                    </a:cubicBezTo>
                    <a:cubicBezTo>
                      <a:pt x="106733" y="54328"/>
                      <a:pt x="106130" y="54925"/>
                      <a:pt x="106130" y="53731"/>
                    </a:cubicBezTo>
                    <a:cubicBezTo>
                      <a:pt x="106130" y="53731"/>
                      <a:pt x="107336" y="54328"/>
                      <a:pt x="107336" y="54328"/>
                    </a:cubicBezTo>
                    <a:cubicBezTo>
                      <a:pt x="107336" y="54328"/>
                      <a:pt x="107336" y="53731"/>
                      <a:pt x="107336" y="53731"/>
                    </a:cubicBezTo>
                    <a:cubicBezTo>
                      <a:pt x="107336" y="53731"/>
                      <a:pt x="107939" y="53731"/>
                      <a:pt x="107939" y="53731"/>
                    </a:cubicBezTo>
                    <a:cubicBezTo>
                      <a:pt x="109145" y="53731"/>
                      <a:pt x="109748" y="51940"/>
                      <a:pt x="109748" y="51343"/>
                    </a:cubicBezTo>
                    <a:cubicBezTo>
                      <a:pt x="110351" y="50746"/>
                      <a:pt x="110954" y="49552"/>
                      <a:pt x="111557" y="48358"/>
                    </a:cubicBezTo>
                    <a:cubicBezTo>
                      <a:pt x="112763" y="47164"/>
                      <a:pt x="113969" y="47164"/>
                      <a:pt x="114572" y="45970"/>
                    </a:cubicBezTo>
                    <a:cubicBezTo>
                      <a:pt x="117587" y="42388"/>
                      <a:pt x="120000" y="38208"/>
                      <a:pt x="118190" y="34029"/>
                    </a:cubicBezTo>
                    <a:cubicBezTo>
                      <a:pt x="116984" y="31641"/>
                      <a:pt x="119396" y="35820"/>
                      <a:pt x="118190" y="34029"/>
                    </a:cubicBezTo>
                    <a:close/>
                    <a:moveTo>
                      <a:pt x="69346" y="111044"/>
                    </a:moveTo>
                    <a:cubicBezTo>
                      <a:pt x="68140" y="111641"/>
                      <a:pt x="67537" y="112835"/>
                      <a:pt x="66331" y="113432"/>
                    </a:cubicBezTo>
                    <a:cubicBezTo>
                      <a:pt x="64522" y="114029"/>
                      <a:pt x="67537" y="112238"/>
                      <a:pt x="67537" y="111641"/>
                    </a:cubicBezTo>
                    <a:cubicBezTo>
                      <a:pt x="68140" y="111044"/>
                      <a:pt x="68743" y="109850"/>
                      <a:pt x="69949" y="108656"/>
                    </a:cubicBezTo>
                    <a:cubicBezTo>
                      <a:pt x="71155" y="107462"/>
                      <a:pt x="70552" y="109850"/>
                      <a:pt x="69346" y="111044"/>
                    </a:cubicBezTo>
                    <a:cubicBezTo>
                      <a:pt x="69346" y="111044"/>
                      <a:pt x="69949" y="110447"/>
                      <a:pt x="69346" y="11104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5" name="Shape 2506">
                <a:extLst>
                  <a:ext uri="{FF2B5EF4-FFF2-40B4-BE49-F238E27FC236}">
                    <a16:creationId xmlns:a16="http://schemas.microsoft.com/office/drawing/2014/main" id="{628BD2F3-21F2-4A4D-B7E8-B7D4BD5E9AC8}"/>
                  </a:ext>
                </a:extLst>
              </p:cNvPr>
              <p:cNvSpPr/>
              <p:nvPr/>
            </p:nvSpPr>
            <p:spPr>
              <a:xfrm>
                <a:off x="9341927" y="10663547"/>
                <a:ext cx="227020" cy="235702"/>
              </a:xfrm>
              <a:custGeom>
                <a:avLst/>
                <a:gdLst/>
                <a:ahLst/>
                <a:cxnLst/>
                <a:rect l="0" t="0" r="0" b="0"/>
                <a:pathLst>
                  <a:path w="120000" h="120000" extrusionOk="0">
                    <a:moveTo>
                      <a:pt x="93333" y="42857"/>
                    </a:moveTo>
                    <a:cubicBezTo>
                      <a:pt x="88888" y="34285"/>
                      <a:pt x="80000" y="34285"/>
                      <a:pt x="75555" y="29999"/>
                    </a:cubicBezTo>
                    <a:cubicBezTo>
                      <a:pt x="71111" y="25714"/>
                      <a:pt x="66666" y="29999"/>
                      <a:pt x="62222" y="25714"/>
                    </a:cubicBezTo>
                    <a:cubicBezTo>
                      <a:pt x="57777" y="21428"/>
                      <a:pt x="53333" y="17142"/>
                      <a:pt x="48888" y="12857"/>
                    </a:cubicBezTo>
                    <a:cubicBezTo>
                      <a:pt x="44444" y="0"/>
                      <a:pt x="40000" y="4285"/>
                      <a:pt x="26666" y="8571"/>
                    </a:cubicBezTo>
                    <a:cubicBezTo>
                      <a:pt x="22222" y="8571"/>
                      <a:pt x="22222" y="4285"/>
                      <a:pt x="17777" y="12857"/>
                    </a:cubicBezTo>
                    <a:cubicBezTo>
                      <a:pt x="13333" y="17142"/>
                      <a:pt x="13333" y="21428"/>
                      <a:pt x="13333" y="25714"/>
                    </a:cubicBezTo>
                    <a:cubicBezTo>
                      <a:pt x="13333" y="34285"/>
                      <a:pt x="13333" y="42857"/>
                      <a:pt x="13333" y="51428"/>
                    </a:cubicBezTo>
                    <a:cubicBezTo>
                      <a:pt x="13333" y="55714"/>
                      <a:pt x="13333" y="64285"/>
                      <a:pt x="8888" y="72857"/>
                    </a:cubicBezTo>
                    <a:cubicBezTo>
                      <a:pt x="0" y="81428"/>
                      <a:pt x="0" y="81428"/>
                      <a:pt x="4444" y="94285"/>
                    </a:cubicBezTo>
                    <a:cubicBezTo>
                      <a:pt x="8888" y="102857"/>
                      <a:pt x="8888" y="102857"/>
                      <a:pt x="17777" y="107142"/>
                    </a:cubicBezTo>
                    <a:cubicBezTo>
                      <a:pt x="26666" y="107142"/>
                      <a:pt x="35555" y="107142"/>
                      <a:pt x="40000" y="111428"/>
                    </a:cubicBezTo>
                    <a:cubicBezTo>
                      <a:pt x="44444" y="111428"/>
                      <a:pt x="53333" y="119999"/>
                      <a:pt x="57777" y="119999"/>
                    </a:cubicBezTo>
                    <a:cubicBezTo>
                      <a:pt x="66666" y="115714"/>
                      <a:pt x="75555" y="119999"/>
                      <a:pt x="84444" y="119999"/>
                    </a:cubicBezTo>
                    <a:cubicBezTo>
                      <a:pt x="88888" y="119999"/>
                      <a:pt x="102222" y="111428"/>
                      <a:pt x="106666" y="107142"/>
                    </a:cubicBezTo>
                    <a:cubicBezTo>
                      <a:pt x="115555" y="98571"/>
                      <a:pt x="120000" y="89999"/>
                      <a:pt x="115555" y="81428"/>
                    </a:cubicBezTo>
                    <a:cubicBezTo>
                      <a:pt x="111111" y="72857"/>
                      <a:pt x="111111" y="68571"/>
                      <a:pt x="106666" y="59999"/>
                    </a:cubicBezTo>
                    <a:cubicBezTo>
                      <a:pt x="106666" y="51428"/>
                      <a:pt x="102222" y="47142"/>
                      <a:pt x="93333" y="42857"/>
                    </a:cubicBezTo>
                    <a:cubicBezTo>
                      <a:pt x="88888" y="38571"/>
                      <a:pt x="97777" y="42857"/>
                      <a:pt x="93333" y="4285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6" name="Shape 2507">
                <a:extLst>
                  <a:ext uri="{FF2B5EF4-FFF2-40B4-BE49-F238E27FC236}">
                    <a16:creationId xmlns:a16="http://schemas.microsoft.com/office/drawing/2014/main" id="{E8AFA1F6-F39D-4C36-9B4F-C46672F241F0}"/>
                  </a:ext>
                </a:extLst>
              </p:cNvPr>
              <p:cNvSpPr/>
              <p:nvPr/>
            </p:nvSpPr>
            <p:spPr>
              <a:xfrm>
                <a:off x="8692476" y="10292745"/>
                <a:ext cx="867849" cy="1509074"/>
              </a:xfrm>
              <a:custGeom>
                <a:avLst/>
                <a:gdLst/>
                <a:ahLst/>
                <a:cxnLst/>
                <a:rect l="0" t="0" r="0" b="0"/>
                <a:pathLst>
                  <a:path w="120000" h="120000" extrusionOk="0">
                    <a:moveTo>
                      <a:pt x="90873" y="41564"/>
                    </a:moveTo>
                    <a:cubicBezTo>
                      <a:pt x="94368" y="39553"/>
                      <a:pt x="92038" y="37541"/>
                      <a:pt x="93203" y="34860"/>
                    </a:cubicBezTo>
                    <a:cubicBezTo>
                      <a:pt x="93203" y="34189"/>
                      <a:pt x="93203" y="32849"/>
                      <a:pt x="93203" y="32178"/>
                    </a:cubicBezTo>
                    <a:cubicBezTo>
                      <a:pt x="94368" y="30167"/>
                      <a:pt x="96699" y="29497"/>
                      <a:pt x="99029" y="28156"/>
                    </a:cubicBezTo>
                    <a:cubicBezTo>
                      <a:pt x="103689" y="26145"/>
                      <a:pt x="106019" y="22793"/>
                      <a:pt x="110679" y="20782"/>
                    </a:cubicBezTo>
                    <a:cubicBezTo>
                      <a:pt x="113009" y="20111"/>
                      <a:pt x="116504" y="20111"/>
                      <a:pt x="118834" y="19441"/>
                    </a:cubicBezTo>
                    <a:cubicBezTo>
                      <a:pt x="120000" y="18100"/>
                      <a:pt x="118834" y="16089"/>
                      <a:pt x="117669" y="15418"/>
                    </a:cubicBezTo>
                    <a:cubicBezTo>
                      <a:pt x="116504" y="14078"/>
                      <a:pt x="117669" y="14078"/>
                      <a:pt x="115339" y="14078"/>
                    </a:cubicBezTo>
                    <a:cubicBezTo>
                      <a:pt x="113009" y="13407"/>
                      <a:pt x="114174" y="16089"/>
                      <a:pt x="113009" y="16759"/>
                    </a:cubicBezTo>
                    <a:cubicBezTo>
                      <a:pt x="111844" y="17430"/>
                      <a:pt x="110679" y="18770"/>
                      <a:pt x="109514" y="19441"/>
                    </a:cubicBezTo>
                    <a:cubicBezTo>
                      <a:pt x="108349" y="20111"/>
                      <a:pt x="104854" y="19441"/>
                      <a:pt x="102524" y="20111"/>
                    </a:cubicBezTo>
                    <a:cubicBezTo>
                      <a:pt x="101359" y="21452"/>
                      <a:pt x="97864" y="20111"/>
                      <a:pt x="95533" y="20111"/>
                    </a:cubicBezTo>
                    <a:cubicBezTo>
                      <a:pt x="94368" y="20111"/>
                      <a:pt x="92038" y="20782"/>
                      <a:pt x="90873" y="20111"/>
                    </a:cubicBezTo>
                    <a:cubicBezTo>
                      <a:pt x="88543" y="20111"/>
                      <a:pt x="92038" y="18770"/>
                      <a:pt x="92038" y="18770"/>
                    </a:cubicBezTo>
                    <a:cubicBezTo>
                      <a:pt x="93203" y="18100"/>
                      <a:pt x="92038" y="17430"/>
                      <a:pt x="92038" y="17430"/>
                    </a:cubicBezTo>
                    <a:cubicBezTo>
                      <a:pt x="92038" y="16089"/>
                      <a:pt x="93203" y="15418"/>
                      <a:pt x="94368" y="14748"/>
                    </a:cubicBezTo>
                    <a:cubicBezTo>
                      <a:pt x="99029" y="12067"/>
                      <a:pt x="89708" y="10726"/>
                      <a:pt x="86213" y="9385"/>
                    </a:cubicBezTo>
                    <a:cubicBezTo>
                      <a:pt x="82718" y="8044"/>
                      <a:pt x="78058" y="8044"/>
                      <a:pt x="74563" y="6033"/>
                    </a:cubicBezTo>
                    <a:cubicBezTo>
                      <a:pt x="73398" y="5363"/>
                      <a:pt x="71067" y="4692"/>
                      <a:pt x="69902" y="4022"/>
                    </a:cubicBezTo>
                    <a:cubicBezTo>
                      <a:pt x="68737" y="2681"/>
                      <a:pt x="67572" y="1340"/>
                      <a:pt x="66407" y="1340"/>
                    </a:cubicBezTo>
                    <a:cubicBezTo>
                      <a:pt x="65242" y="670"/>
                      <a:pt x="61747" y="670"/>
                      <a:pt x="60582" y="1340"/>
                    </a:cubicBezTo>
                    <a:cubicBezTo>
                      <a:pt x="59417" y="2011"/>
                      <a:pt x="58252" y="4022"/>
                      <a:pt x="55922" y="2681"/>
                    </a:cubicBezTo>
                    <a:cubicBezTo>
                      <a:pt x="54757" y="1340"/>
                      <a:pt x="52427" y="1340"/>
                      <a:pt x="50097" y="1340"/>
                    </a:cubicBezTo>
                    <a:cubicBezTo>
                      <a:pt x="47766" y="1340"/>
                      <a:pt x="47766" y="0"/>
                      <a:pt x="45436" y="670"/>
                    </a:cubicBezTo>
                    <a:cubicBezTo>
                      <a:pt x="44271" y="1340"/>
                      <a:pt x="40776" y="2011"/>
                      <a:pt x="40776" y="2681"/>
                    </a:cubicBezTo>
                    <a:cubicBezTo>
                      <a:pt x="39611" y="4022"/>
                      <a:pt x="40776" y="5363"/>
                      <a:pt x="40776" y="6033"/>
                    </a:cubicBezTo>
                    <a:cubicBezTo>
                      <a:pt x="39611" y="8715"/>
                      <a:pt x="36116" y="8715"/>
                      <a:pt x="32621" y="9385"/>
                    </a:cubicBezTo>
                    <a:cubicBezTo>
                      <a:pt x="30291" y="10055"/>
                      <a:pt x="31456" y="13407"/>
                      <a:pt x="31456" y="14748"/>
                    </a:cubicBezTo>
                    <a:cubicBezTo>
                      <a:pt x="31456" y="16089"/>
                      <a:pt x="32621" y="17430"/>
                      <a:pt x="32621" y="18100"/>
                    </a:cubicBezTo>
                    <a:cubicBezTo>
                      <a:pt x="32621" y="18770"/>
                      <a:pt x="29126" y="20782"/>
                      <a:pt x="29126" y="21452"/>
                    </a:cubicBezTo>
                    <a:cubicBezTo>
                      <a:pt x="27961" y="22122"/>
                      <a:pt x="24466" y="23463"/>
                      <a:pt x="24466" y="24134"/>
                    </a:cubicBezTo>
                    <a:cubicBezTo>
                      <a:pt x="24466" y="24804"/>
                      <a:pt x="24466" y="25474"/>
                      <a:pt x="24466" y="26145"/>
                    </a:cubicBezTo>
                    <a:cubicBezTo>
                      <a:pt x="24466" y="26815"/>
                      <a:pt x="23300" y="27486"/>
                      <a:pt x="23300" y="28156"/>
                    </a:cubicBezTo>
                    <a:cubicBezTo>
                      <a:pt x="23300" y="28826"/>
                      <a:pt x="24466" y="30837"/>
                      <a:pt x="22135" y="31508"/>
                    </a:cubicBezTo>
                    <a:cubicBezTo>
                      <a:pt x="22135" y="32178"/>
                      <a:pt x="22135" y="33519"/>
                      <a:pt x="22135" y="34189"/>
                    </a:cubicBezTo>
                    <a:cubicBezTo>
                      <a:pt x="20970" y="34189"/>
                      <a:pt x="19805" y="34189"/>
                      <a:pt x="19805" y="34860"/>
                    </a:cubicBezTo>
                    <a:cubicBezTo>
                      <a:pt x="19805" y="36201"/>
                      <a:pt x="22135" y="36871"/>
                      <a:pt x="22135" y="38212"/>
                    </a:cubicBezTo>
                    <a:cubicBezTo>
                      <a:pt x="22135" y="38882"/>
                      <a:pt x="22135" y="40223"/>
                      <a:pt x="23300" y="40893"/>
                    </a:cubicBezTo>
                    <a:cubicBezTo>
                      <a:pt x="25631" y="43575"/>
                      <a:pt x="20970" y="46256"/>
                      <a:pt x="20970" y="48938"/>
                    </a:cubicBezTo>
                    <a:cubicBezTo>
                      <a:pt x="19805" y="50279"/>
                      <a:pt x="22135" y="51620"/>
                      <a:pt x="20970" y="52960"/>
                    </a:cubicBezTo>
                    <a:cubicBezTo>
                      <a:pt x="19805" y="53631"/>
                      <a:pt x="17475" y="54301"/>
                      <a:pt x="16310" y="55642"/>
                    </a:cubicBezTo>
                    <a:cubicBezTo>
                      <a:pt x="15145" y="56983"/>
                      <a:pt x="19805" y="62346"/>
                      <a:pt x="17475" y="63016"/>
                    </a:cubicBezTo>
                    <a:cubicBezTo>
                      <a:pt x="12815" y="64357"/>
                      <a:pt x="13980" y="67709"/>
                      <a:pt x="12815" y="70391"/>
                    </a:cubicBezTo>
                    <a:cubicBezTo>
                      <a:pt x="10485" y="72402"/>
                      <a:pt x="11650" y="75754"/>
                      <a:pt x="11650" y="78435"/>
                    </a:cubicBezTo>
                    <a:cubicBezTo>
                      <a:pt x="11650" y="80446"/>
                      <a:pt x="11650" y="82458"/>
                      <a:pt x="11650" y="84469"/>
                    </a:cubicBezTo>
                    <a:cubicBezTo>
                      <a:pt x="11650" y="85139"/>
                      <a:pt x="17475" y="87150"/>
                      <a:pt x="15145" y="87150"/>
                    </a:cubicBezTo>
                    <a:cubicBezTo>
                      <a:pt x="15145" y="87150"/>
                      <a:pt x="10485" y="87821"/>
                      <a:pt x="12815" y="88491"/>
                    </a:cubicBezTo>
                    <a:cubicBezTo>
                      <a:pt x="15145" y="88491"/>
                      <a:pt x="15145" y="89162"/>
                      <a:pt x="13980" y="90502"/>
                    </a:cubicBezTo>
                    <a:cubicBezTo>
                      <a:pt x="12815" y="91843"/>
                      <a:pt x="12815" y="93184"/>
                      <a:pt x="12815" y="95195"/>
                    </a:cubicBezTo>
                    <a:cubicBezTo>
                      <a:pt x="12815" y="96536"/>
                      <a:pt x="10485" y="97206"/>
                      <a:pt x="9320" y="98547"/>
                    </a:cubicBezTo>
                    <a:cubicBezTo>
                      <a:pt x="8155" y="99217"/>
                      <a:pt x="9320" y="100558"/>
                      <a:pt x="9320" y="101899"/>
                    </a:cubicBezTo>
                    <a:cubicBezTo>
                      <a:pt x="9320" y="102569"/>
                      <a:pt x="6990" y="104581"/>
                      <a:pt x="5825" y="104581"/>
                    </a:cubicBezTo>
                    <a:cubicBezTo>
                      <a:pt x="0" y="105921"/>
                      <a:pt x="3495" y="109944"/>
                      <a:pt x="4660" y="111955"/>
                    </a:cubicBezTo>
                    <a:cubicBezTo>
                      <a:pt x="5825" y="113296"/>
                      <a:pt x="9320" y="111284"/>
                      <a:pt x="9320" y="113966"/>
                    </a:cubicBezTo>
                    <a:cubicBezTo>
                      <a:pt x="9320" y="114636"/>
                      <a:pt x="8155" y="116648"/>
                      <a:pt x="10485" y="117318"/>
                    </a:cubicBezTo>
                    <a:cubicBezTo>
                      <a:pt x="11650" y="117988"/>
                      <a:pt x="12815" y="117988"/>
                      <a:pt x="15145" y="117988"/>
                    </a:cubicBezTo>
                    <a:cubicBezTo>
                      <a:pt x="17475" y="118659"/>
                      <a:pt x="20970" y="118659"/>
                      <a:pt x="23300" y="118659"/>
                    </a:cubicBezTo>
                    <a:cubicBezTo>
                      <a:pt x="24466" y="118659"/>
                      <a:pt x="25631" y="118659"/>
                      <a:pt x="26796" y="119329"/>
                    </a:cubicBezTo>
                    <a:cubicBezTo>
                      <a:pt x="26796" y="118659"/>
                      <a:pt x="27961" y="118659"/>
                      <a:pt x="29126" y="118659"/>
                    </a:cubicBezTo>
                    <a:cubicBezTo>
                      <a:pt x="29126" y="119329"/>
                      <a:pt x="31456" y="120000"/>
                      <a:pt x="31456" y="120000"/>
                    </a:cubicBezTo>
                    <a:cubicBezTo>
                      <a:pt x="32621" y="120000"/>
                      <a:pt x="30291" y="117988"/>
                      <a:pt x="30291" y="117318"/>
                    </a:cubicBezTo>
                    <a:cubicBezTo>
                      <a:pt x="27961" y="115977"/>
                      <a:pt x="27961" y="114636"/>
                      <a:pt x="27961" y="113296"/>
                    </a:cubicBezTo>
                    <a:cubicBezTo>
                      <a:pt x="27961" y="111955"/>
                      <a:pt x="27961" y="111284"/>
                      <a:pt x="31456" y="109944"/>
                    </a:cubicBezTo>
                    <a:cubicBezTo>
                      <a:pt x="33786" y="109273"/>
                      <a:pt x="29126" y="109273"/>
                      <a:pt x="29126" y="109273"/>
                    </a:cubicBezTo>
                    <a:cubicBezTo>
                      <a:pt x="29126" y="109273"/>
                      <a:pt x="31456" y="108603"/>
                      <a:pt x="30291" y="108603"/>
                    </a:cubicBezTo>
                    <a:cubicBezTo>
                      <a:pt x="31456" y="108603"/>
                      <a:pt x="31456" y="109273"/>
                      <a:pt x="32621" y="109273"/>
                    </a:cubicBezTo>
                    <a:cubicBezTo>
                      <a:pt x="33786" y="109944"/>
                      <a:pt x="34951" y="109273"/>
                      <a:pt x="36116" y="109273"/>
                    </a:cubicBezTo>
                    <a:cubicBezTo>
                      <a:pt x="37281" y="107932"/>
                      <a:pt x="36116" y="106592"/>
                      <a:pt x="36116" y="105251"/>
                    </a:cubicBezTo>
                    <a:cubicBezTo>
                      <a:pt x="37281" y="103910"/>
                      <a:pt x="39611" y="103240"/>
                      <a:pt x="43106" y="102569"/>
                    </a:cubicBezTo>
                    <a:cubicBezTo>
                      <a:pt x="44271" y="101899"/>
                      <a:pt x="45436" y="101899"/>
                      <a:pt x="46601" y="101229"/>
                    </a:cubicBezTo>
                    <a:cubicBezTo>
                      <a:pt x="47766" y="100558"/>
                      <a:pt x="45436" y="99888"/>
                      <a:pt x="45436" y="99888"/>
                    </a:cubicBezTo>
                    <a:cubicBezTo>
                      <a:pt x="45436" y="99217"/>
                      <a:pt x="48932" y="98547"/>
                      <a:pt x="47766" y="97206"/>
                    </a:cubicBezTo>
                    <a:cubicBezTo>
                      <a:pt x="46601" y="95865"/>
                      <a:pt x="41941" y="97206"/>
                      <a:pt x="40776" y="95865"/>
                    </a:cubicBezTo>
                    <a:cubicBezTo>
                      <a:pt x="39611" y="95195"/>
                      <a:pt x="38446" y="95195"/>
                      <a:pt x="37281" y="93854"/>
                    </a:cubicBezTo>
                    <a:cubicBezTo>
                      <a:pt x="36116" y="92513"/>
                      <a:pt x="38446" y="90502"/>
                      <a:pt x="39611" y="89832"/>
                    </a:cubicBezTo>
                    <a:cubicBezTo>
                      <a:pt x="41941" y="89162"/>
                      <a:pt x="43106" y="87821"/>
                      <a:pt x="45436" y="87821"/>
                    </a:cubicBezTo>
                    <a:cubicBezTo>
                      <a:pt x="47766" y="87150"/>
                      <a:pt x="47766" y="88491"/>
                      <a:pt x="48932" y="86480"/>
                    </a:cubicBezTo>
                    <a:cubicBezTo>
                      <a:pt x="48932" y="85139"/>
                      <a:pt x="51262" y="84469"/>
                      <a:pt x="50097" y="83128"/>
                    </a:cubicBezTo>
                    <a:cubicBezTo>
                      <a:pt x="48932" y="81117"/>
                      <a:pt x="54757" y="81117"/>
                      <a:pt x="55922" y="79776"/>
                    </a:cubicBezTo>
                    <a:cubicBezTo>
                      <a:pt x="55922" y="79776"/>
                      <a:pt x="50097" y="77094"/>
                      <a:pt x="55922" y="77765"/>
                    </a:cubicBezTo>
                    <a:cubicBezTo>
                      <a:pt x="57087" y="78435"/>
                      <a:pt x="57087" y="79106"/>
                      <a:pt x="58252" y="79106"/>
                    </a:cubicBezTo>
                    <a:cubicBezTo>
                      <a:pt x="60582" y="79106"/>
                      <a:pt x="60582" y="77094"/>
                      <a:pt x="59417" y="76424"/>
                    </a:cubicBezTo>
                    <a:cubicBezTo>
                      <a:pt x="59417" y="75754"/>
                      <a:pt x="57087" y="77094"/>
                      <a:pt x="57087" y="77094"/>
                    </a:cubicBezTo>
                    <a:cubicBezTo>
                      <a:pt x="54757" y="77094"/>
                      <a:pt x="52427" y="76424"/>
                      <a:pt x="52427" y="75754"/>
                    </a:cubicBezTo>
                    <a:cubicBezTo>
                      <a:pt x="52427" y="75083"/>
                      <a:pt x="50097" y="70391"/>
                      <a:pt x="52427" y="70391"/>
                    </a:cubicBezTo>
                    <a:cubicBezTo>
                      <a:pt x="55922" y="71061"/>
                      <a:pt x="58252" y="72402"/>
                      <a:pt x="62912" y="72402"/>
                    </a:cubicBezTo>
                    <a:cubicBezTo>
                      <a:pt x="64077" y="72402"/>
                      <a:pt x="65242" y="71731"/>
                      <a:pt x="66407" y="71731"/>
                    </a:cubicBezTo>
                    <a:cubicBezTo>
                      <a:pt x="68737" y="70391"/>
                      <a:pt x="66407" y="69720"/>
                      <a:pt x="67572" y="68379"/>
                    </a:cubicBezTo>
                    <a:cubicBezTo>
                      <a:pt x="67572" y="67709"/>
                      <a:pt x="68737" y="67039"/>
                      <a:pt x="68737" y="67039"/>
                    </a:cubicBezTo>
                    <a:cubicBezTo>
                      <a:pt x="69902" y="65698"/>
                      <a:pt x="68737" y="65698"/>
                      <a:pt x="68737" y="65027"/>
                    </a:cubicBezTo>
                    <a:cubicBezTo>
                      <a:pt x="67572" y="64357"/>
                      <a:pt x="67572" y="63016"/>
                      <a:pt x="68737" y="63016"/>
                    </a:cubicBezTo>
                    <a:cubicBezTo>
                      <a:pt x="71067" y="63016"/>
                      <a:pt x="69902" y="64357"/>
                      <a:pt x="69902" y="64357"/>
                    </a:cubicBezTo>
                    <a:cubicBezTo>
                      <a:pt x="68737" y="63687"/>
                      <a:pt x="75728" y="63687"/>
                      <a:pt x="75728" y="63687"/>
                    </a:cubicBezTo>
                    <a:cubicBezTo>
                      <a:pt x="80388" y="63687"/>
                      <a:pt x="83883" y="62346"/>
                      <a:pt x="88543" y="62346"/>
                    </a:cubicBezTo>
                    <a:cubicBezTo>
                      <a:pt x="89708" y="61675"/>
                      <a:pt x="93203" y="61005"/>
                      <a:pt x="95533" y="60335"/>
                    </a:cubicBezTo>
                    <a:cubicBezTo>
                      <a:pt x="96699" y="59664"/>
                      <a:pt x="96699" y="58994"/>
                      <a:pt x="97864" y="58324"/>
                    </a:cubicBezTo>
                    <a:cubicBezTo>
                      <a:pt x="99029" y="57653"/>
                      <a:pt x="100194" y="56983"/>
                      <a:pt x="101359" y="55642"/>
                    </a:cubicBezTo>
                    <a:cubicBezTo>
                      <a:pt x="101359" y="53631"/>
                      <a:pt x="99029" y="53631"/>
                      <a:pt x="96699" y="52290"/>
                    </a:cubicBezTo>
                    <a:cubicBezTo>
                      <a:pt x="95533" y="50949"/>
                      <a:pt x="99029" y="50279"/>
                      <a:pt x="96699" y="48938"/>
                    </a:cubicBezTo>
                    <a:cubicBezTo>
                      <a:pt x="95533" y="48268"/>
                      <a:pt x="90873" y="47597"/>
                      <a:pt x="90873" y="46256"/>
                    </a:cubicBezTo>
                    <a:cubicBezTo>
                      <a:pt x="90873" y="46256"/>
                      <a:pt x="90873" y="45586"/>
                      <a:pt x="92038" y="45586"/>
                    </a:cubicBezTo>
                    <a:cubicBezTo>
                      <a:pt x="92038" y="44916"/>
                      <a:pt x="90873" y="44916"/>
                      <a:pt x="90873" y="44245"/>
                    </a:cubicBezTo>
                    <a:cubicBezTo>
                      <a:pt x="90873" y="43575"/>
                      <a:pt x="89708" y="42234"/>
                      <a:pt x="90873" y="41564"/>
                    </a:cubicBezTo>
                    <a:cubicBezTo>
                      <a:pt x="92038" y="40893"/>
                      <a:pt x="89708" y="42234"/>
                      <a:pt x="90873" y="4156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7" name="Shape 2508">
                <a:extLst>
                  <a:ext uri="{FF2B5EF4-FFF2-40B4-BE49-F238E27FC236}">
                    <a16:creationId xmlns:a16="http://schemas.microsoft.com/office/drawing/2014/main" id="{89B25A08-F08D-42BB-A831-95DAA9B6FB97}"/>
                  </a:ext>
                </a:extLst>
              </p:cNvPr>
              <p:cNvSpPr/>
              <p:nvPr/>
            </p:nvSpPr>
            <p:spPr>
              <a:xfrm>
                <a:off x="8129234" y="8703189"/>
                <a:ext cx="183916" cy="204084"/>
              </a:xfrm>
              <a:custGeom>
                <a:avLst/>
                <a:gdLst/>
                <a:ahLst/>
                <a:cxnLst/>
                <a:rect l="0" t="0" r="0" b="0"/>
                <a:pathLst>
                  <a:path w="120000" h="120000" extrusionOk="0">
                    <a:moveTo>
                      <a:pt x="81818" y="115000"/>
                    </a:moveTo>
                    <a:cubicBezTo>
                      <a:pt x="87272" y="120000"/>
                      <a:pt x="92727" y="120000"/>
                      <a:pt x="103636" y="120000"/>
                    </a:cubicBezTo>
                    <a:cubicBezTo>
                      <a:pt x="92727" y="105000"/>
                      <a:pt x="103636" y="100000"/>
                      <a:pt x="103636" y="85000"/>
                    </a:cubicBezTo>
                    <a:cubicBezTo>
                      <a:pt x="103636" y="75000"/>
                      <a:pt x="109090" y="60000"/>
                      <a:pt x="109090" y="50000"/>
                    </a:cubicBezTo>
                    <a:cubicBezTo>
                      <a:pt x="109090" y="45000"/>
                      <a:pt x="114545" y="40000"/>
                      <a:pt x="114545" y="35000"/>
                    </a:cubicBezTo>
                    <a:cubicBezTo>
                      <a:pt x="120000" y="30000"/>
                      <a:pt x="114545" y="25000"/>
                      <a:pt x="120000" y="15000"/>
                    </a:cubicBezTo>
                    <a:cubicBezTo>
                      <a:pt x="120000" y="0"/>
                      <a:pt x="98181" y="20000"/>
                      <a:pt x="92727" y="20000"/>
                    </a:cubicBezTo>
                    <a:cubicBezTo>
                      <a:pt x="81818" y="20000"/>
                      <a:pt x="76363" y="15000"/>
                      <a:pt x="65454" y="25000"/>
                    </a:cubicBezTo>
                    <a:cubicBezTo>
                      <a:pt x="65454" y="25000"/>
                      <a:pt x="54545" y="45000"/>
                      <a:pt x="49090" y="40000"/>
                    </a:cubicBezTo>
                    <a:cubicBezTo>
                      <a:pt x="38181" y="40000"/>
                      <a:pt x="32727" y="40000"/>
                      <a:pt x="21818" y="45000"/>
                    </a:cubicBezTo>
                    <a:cubicBezTo>
                      <a:pt x="21818" y="50000"/>
                      <a:pt x="21818" y="60000"/>
                      <a:pt x="16363" y="60000"/>
                    </a:cubicBezTo>
                    <a:cubicBezTo>
                      <a:pt x="16363" y="65000"/>
                      <a:pt x="5454" y="65000"/>
                      <a:pt x="0" y="65000"/>
                    </a:cubicBezTo>
                    <a:cubicBezTo>
                      <a:pt x="10909" y="75000"/>
                      <a:pt x="21818" y="90000"/>
                      <a:pt x="32727" y="95000"/>
                    </a:cubicBezTo>
                    <a:cubicBezTo>
                      <a:pt x="38181" y="105000"/>
                      <a:pt x="49090" y="110000"/>
                      <a:pt x="60000" y="110000"/>
                    </a:cubicBezTo>
                    <a:cubicBezTo>
                      <a:pt x="65454" y="110000"/>
                      <a:pt x="76363" y="110000"/>
                      <a:pt x="81818" y="115000"/>
                    </a:cubicBezTo>
                    <a:cubicBezTo>
                      <a:pt x="87272" y="115000"/>
                      <a:pt x="81818" y="110000"/>
                      <a:pt x="81818" y="11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8" name="Shape 2509">
                <a:extLst>
                  <a:ext uri="{FF2B5EF4-FFF2-40B4-BE49-F238E27FC236}">
                    <a16:creationId xmlns:a16="http://schemas.microsoft.com/office/drawing/2014/main" id="{EED168B7-0208-454F-94EE-0E75B4686922}"/>
                  </a:ext>
                </a:extLst>
              </p:cNvPr>
              <p:cNvSpPr/>
              <p:nvPr/>
            </p:nvSpPr>
            <p:spPr>
              <a:xfrm>
                <a:off x="8186710" y="8890023"/>
                <a:ext cx="143683" cy="126474"/>
              </a:xfrm>
              <a:custGeom>
                <a:avLst/>
                <a:gdLst/>
                <a:ahLst/>
                <a:cxnLst/>
                <a:rect l="0" t="0" r="0" b="0"/>
                <a:pathLst>
                  <a:path w="120000" h="120000" extrusionOk="0">
                    <a:moveTo>
                      <a:pt x="112941" y="80000"/>
                    </a:moveTo>
                    <a:cubicBezTo>
                      <a:pt x="112941" y="72000"/>
                      <a:pt x="112941" y="64000"/>
                      <a:pt x="120000" y="64000"/>
                    </a:cubicBezTo>
                    <a:cubicBezTo>
                      <a:pt x="112941" y="56000"/>
                      <a:pt x="112941" y="48000"/>
                      <a:pt x="105882" y="48000"/>
                    </a:cubicBezTo>
                    <a:cubicBezTo>
                      <a:pt x="98823" y="40000"/>
                      <a:pt x="91764" y="16000"/>
                      <a:pt x="84705" y="16000"/>
                    </a:cubicBezTo>
                    <a:cubicBezTo>
                      <a:pt x="70588" y="16000"/>
                      <a:pt x="63529" y="16000"/>
                      <a:pt x="56470" y="8000"/>
                    </a:cubicBezTo>
                    <a:cubicBezTo>
                      <a:pt x="49411" y="0"/>
                      <a:pt x="28235" y="0"/>
                      <a:pt x="21176" y="0"/>
                    </a:cubicBezTo>
                    <a:cubicBezTo>
                      <a:pt x="28235" y="8000"/>
                      <a:pt x="0" y="48000"/>
                      <a:pt x="21176" y="48000"/>
                    </a:cubicBezTo>
                    <a:cubicBezTo>
                      <a:pt x="28235" y="48000"/>
                      <a:pt x="28235" y="64000"/>
                      <a:pt x="42352" y="56000"/>
                    </a:cubicBezTo>
                    <a:cubicBezTo>
                      <a:pt x="49411" y="48000"/>
                      <a:pt x="28235" y="40000"/>
                      <a:pt x="28235" y="40000"/>
                    </a:cubicBezTo>
                    <a:cubicBezTo>
                      <a:pt x="35294" y="40000"/>
                      <a:pt x="49411" y="48000"/>
                      <a:pt x="49411" y="56000"/>
                    </a:cubicBezTo>
                    <a:cubicBezTo>
                      <a:pt x="56470" y="72000"/>
                      <a:pt x="70588" y="64000"/>
                      <a:pt x="77647" y="80000"/>
                    </a:cubicBezTo>
                    <a:cubicBezTo>
                      <a:pt x="84705" y="88000"/>
                      <a:pt x="84705" y="104000"/>
                      <a:pt x="98823" y="112000"/>
                    </a:cubicBezTo>
                    <a:cubicBezTo>
                      <a:pt x="120000" y="120000"/>
                      <a:pt x="120000" y="96000"/>
                      <a:pt x="112941" y="80000"/>
                    </a:cubicBezTo>
                    <a:cubicBezTo>
                      <a:pt x="112941" y="72000"/>
                      <a:pt x="112941" y="88000"/>
                      <a:pt x="112941"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59" name="Shape 2510">
                <a:extLst>
                  <a:ext uri="{FF2B5EF4-FFF2-40B4-BE49-F238E27FC236}">
                    <a16:creationId xmlns:a16="http://schemas.microsoft.com/office/drawing/2014/main" id="{0B8A4E6A-356A-4E74-B83A-6F7667088163}"/>
                  </a:ext>
                </a:extLst>
              </p:cNvPr>
              <p:cNvSpPr/>
              <p:nvPr/>
            </p:nvSpPr>
            <p:spPr>
              <a:xfrm>
                <a:off x="8025781" y="8746304"/>
                <a:ext cx="94832" cy="74737"/>
              </a:xfrm>
              <a:custGeom>
                <a:avLst/>
                <a:gdLst/>
                <a:ahLst/>
                <a:cxnLst/>
                <a:rect l="0" t="0" r="0" b="0"/>
                <a:pathLst>
                  <a:path w="120000" h="120000" extrusionOk="0">
                    <a:moveTo>
                      <a:pt x="43636" y="13333"/>
                    </a:moveTo>
                    <a:cubicBezTo>
                      <a:pt x="43636" y="0"/>
                      <a:pt x="43636" y="0"/>
                      <a:pt x="43636" y="0"/>
                    </a:cubicBezTo>
                    <a:cubicBezTo>
                      <a:pt x="32727" y="13333"/>
                      <a:pt x="10909" y="40000"/>
                      <a:pt x="0" y="53333"/>
                    </a:cubicBezTo>
                    <a:cubicBezTo>
                      <a:pt x="21818" y="66666"/>
                      <a:pt x="120000" y="120000"/>
                      <a:pt x="120000" y="66666"/>
                    </a:cubicBezTo>
                    <a:cubicBezTo>
                      <a:pt x="120000" y="26666"/>
                      <a:pt x="65454" y="40000"/>
                      <a:pt x="43636" y="1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0" name="Shape 2511">
                <a:extLst>
                  <a:ext uri="{FF2B5EF4-FFF2-40B4-BE49-F238E27FC236}">
                    <a16:creationId xmlns:a16="http://schemas.microsoft.com/office/drawing/2014/main" id="{B7473624-237A-4AF8-B590-3EA973E97C49}"/>
                  </a:ext>
                </a:extLst>
              </p:cNvPr>
              <p:cNvSpPr/>
              <p:nvPr/>
            </p:nvSpPr>
            <p:spPr>
              <a:xfrm>
                <a:off x="7925202" y="8593962"/>
                <a:ext cx="169549" cy="195458"/>
              </a:xfrm>
              <a:custGeom>
                <a:avLst/>
                <a:gdLst/>
                <a:ahLst/>
                <a:cxnLst/>
                <a:rect l="0" t="0" r="0" b="0"/>
                <a:pathLst>
                  <a:path w="120000" h="120000" extrusionOk="0">
                    <a:moveTo>
                      <a:pt x="96000" y="83478"/>
                    </a:moveTo>
                    <a:cubicBezTo>
                      <a:pt x="96000" y="73043"/>
                      <a:pt x="114000" y="67826"/>
                      <a:pt x="120000" y="62608"/>
                    </a:cubicBezTo>
                    <a:cubicBezTo>
                      <a:pt x="102000" y="57391"/>
                      <a:pt x="96000" y="57391"/>
                      <a:pt x="96000" y="41739"/>
                    </a:cubicBezTo>
                    <a:cubicBezTo>
                      <a:pt x="96000" y="36521"/>
                      <a:pt x="102000" y="10434"/>
                      <a:pt x="96000" y="5217"/>
                    </a:cubicBezTo>
                    <a:cubicBezTo>
                      <a:pt x="90000" y="0"/>
                      <a:pt x="60000" y="5217"/>
                      <a:pt x="48000" y="5217"/>
                    </a:cubicBezTo>
                    <a:cubicBezTo>
                      <a:pt x="36000" y="5217"/>
                      <a:pt x="36000" y="20869"/>
                      <a:pt x="42000" y="31304"/>
                    </a:cubicBezTo>
                    <a:cubicBezTo>
                      <a:pt x="48000" y="36521"/>
                      <a:pt x="72000" y="52173"/>
                      <a:pt x="48000" y="52173"/>
                    </a:cubicBezTo>
                    <a:cubicBezTo>
                      <a:pt x="42000" y="52173"/>
                      <a:pt x="30000" y="52173"/>
                      <a:pt x="24000" y="52173"/>
                    </a:cubicBezTo>
                    <a:cubicBezTo>
                      <a:pt x="12000" y="52173"/>
                      <a:pt x="12000" y="73043"/>
                      <a:pt x="12000" y="78260"/>
                    </a:cubicBezTo>
                    <a:cubicBezTo>
                      <a:pt x="0" y="109565"/>
                      <a:pt x="48000" y="104347"/>
                      <a:pt x="72000" y="109565"/>
                    </a:cubicBezTo>
                    <a:cubicBezTo>
                      <a:pt x="78000" y="120000"/>
                      <a:pt x="96000" y="88695"/>
                      <a:pt x="96000" y="8347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1" name="Shape 2512">
                <a:extLst>
                  <a:ext uri="{FF2B5EF4-FFF2-40B4-BE49-F238E27FC236}">
                    <a16:creationId xmlns:a16="http://schemas.microsoft.com/office/drawing/2014/main" id="{2802C2A8-DDEF-4B51-9FF7-1FD2704DD456}"/>
                  </a:ext>
                </a:extLst>
              </p:cNvPr>
              <p:cNvSpPr/>
              <p:nvPr/>
            </p:nvSpPr>
            <p:spPr>
              <a:xfrm>
                <a:off x="6899302" y="7927094"/>
                <a:ext cx="1261546" cy="810588"/>
              </a:xfrm>
              <a:custGeom>
                <a:avLst/>
                <a:gdLst/>
                <a:ahLst/>
                <a:cxnLst/>
                <a:rect l="0" t="0" r="0" b="0"/>
                <a:pathLst>
                  <a:path w="120000" h="120000" extrusionOk="0">
                    <a:moveTo>
                      <a:pt x="100800" y="111250"/>
                    </a:moveTo>
                    <a:cubicBezTo>
                      <a:pt x="101600" y="111250"/>
                      <a:pt x="107200" y="112500"/>
                      <a:pt x="105600" y="110000"/>
                    </a:cubicBezTo>
                    <a:cubicBezTo>
                      <a:pt x="104800" y="107500"/>
                      <a:pt x="103200" y="106250"/>
                      <a:pt x="102400" y="103750"/>
                    </a:cubicBezTo>
                    <a:cubicBezTo>
                      <a:pt x="102400" y="103750"/>
                      <a:pt x="103200" y="100000"/>
                      <a:pt x="104000" y="100000"/>
                    </a:cubicBezTo>
                    <a:cubicBezTo>
                      <a:pt x="104800" y="98750"/>
                      <a:pt x="108800" y="100000"/>
                      <a:pt x="110400" y="100000"/>
                    </a:cubicBezTo>
                    <a:cubicBezTo>
                      <a:pt x="112800" y="100000"/>
                      <a:pt x="112000" y="93750"/>
                      <a:pt x="115200" y="97500"/>
                    </a:cubicBezTo>
                    <a:cubicBezTo>
                      <a:pt x="116000" y="95000"/>
                      <a:pt x="116800" y="93750"/>
                      <a:pt x="116800" y="91250"/>
                    </a:cubicBezTo>
                    <a:cubicBezTo>
                      <a:pt x="116800" y="88750"/>
                      <a:pt x="116000" y="86250"/>
                      <a:pt x="116800" y="85000"/>
                    </a:cubicBezTo>
                    <a:cubicBezTo>
                      <a:pt x="117600" y="82500"/>
                      <a:pt x="120000" y="80000"/>
                      <a:pt x="120000" y="78750"/>
                    </a:cubicBezTo>
                    <a:cubicBezTo>
                      <a:pt x="119200" y="76250"/>
                      <a:pt x="118400" y="76250"/>
                      <a:pt x="116800" y="76250"/>
                    </a:cubicBezTo>
                    <a:cubicBezTo>
                      <a:pt x="114400" y="76250"/>
                      <a:pt x="111200" y="76250"/>
                      <a:pt x="108800" y="77500"/>
                    </a:cubicBezTo>
                    <a:cubicBezTo>
                      <a:pt x="107200" y="77500"/>
                      <a:pt x="106400" y="78750"/>
                      <a:pt x="105600" y="80000"/>
                    </a:cubicBezTo>
                    <a:cubicBezTo>
                      <a:pt x="104800" y="82500"/>
                      <a:pt x="105600" y="85000"/>
                      <a:pt x="104800" y="87500"/>
                    </a:cubicBezTo>
                    <a:cubicBezTo>
                      <a:pt x="104800" y="88750"/>
                      <a:pt x="100800" y="95000"/>
                      <a:pt x="100800" y="95000"/>
                    </a:cubicBezTo>
                    <a:cubicBezTo>
                      <a:pt x="97600" y="93750"/>
                      <a:pt x="94400" y="95000"/>
                      <a:pt x="91200" y="97500"/>
                    </a:cubicBezTo>
                    <a:cubicBezTo>
                      <a:pt x="89600" y="97500"/>
                      <a:pt x="88800" y="96250"/>
                      <a:pt x="88000" y="95000"/>
                    </a:cubicBezTo>
                    <a:cubicBezTo>
                      <a:pt x="87200" y="93750"/>
                      <a:pt x="85600" y="93750"/>
                      <a:pt x="84000" y="92500"/>
                    </a:cubicBezTo>
                    <a:cubicBezTo>
                      <a:pt x="82400" y="92500"/>
                      <a:pt x="82400" y="88750"/>
                      <a:pt x="81600" y="86250"/>
                    </a:cubicBezTo>
                    <a:cubicBezTo>
                      <a:pt x="80800" y="83750"/>
                      <a:pt x="79200" y="82500"/>
                      <a:pt x="78400" y="80000"/>
                    </a:cubicBezTo>
                    <a:cubicBezTo>
                      <a:pt x="77600" y="75000"/>
                      <a:pt x="76000" y="68750"/>
                      <a:pt x="76800" y="63750"/>
                    </a:cubicBezTo>
                    <a:cubicBezTo>
                      <a:pt x="76800" y="60000"/>
                      <a:pt x="76000" y="55000"/>
                      <a:pt x="77600" y="51250"/>
                    </a:cubicBezTo>
                    <a:cubicBezTo>
                      <a:pt x="78400" y="50000"/>
                      <a:pt x="78400" y="48750"/>
                      <a:pt x="78400" y="47500"/>
                    </a:cubicBezTo>
                    <a:cubicBezTo>
                      <a:pt x="79200" y="45000"/>
                      <a:pt x="77600" y="46250"/>
                      <a:pt x="76800" y="45000"/>
                    </a:cubicBezTo>
                    <a:cubicBezTo>
                      <a:pt x="75200" y="45000"/>
                      <a:pt x="73600" y="43750"/>
                      <a:pt x="72000" y="43750"/>
                    </a:cubicBezTo>
                    <a:cubicBezTo>
                      <a:pt x="71200" y="42500"/>
                      <a:pt x="69600" y="40000"/>
                      <a:pt x="69600" y="37500"/>
                    </a:cubicBezTo>
                    <a:cubicBezTo>
                      <a:pt x="69600" y="33750"/>
                      <a:pt x="67200" y="32500"/>
                      <a:pt x="65600" y="30000"/>
                    </a:cubicBezTo>
                    <a:cubicBezTo>
                      <a:pt x="64800" y="27500"/>
                      <a:pt x="64800" y="25000"/>
                      <a:pt x="64000" y="22500"/>
                    </a:cubicBezTo>
                    <a:cubicBezTo>
                      <a:pt x="63200" y="21250"/>
                      <a:pt x="61600" y="21250"/>
                      <a:pt x="60000" y="21250"/>
                    </a:cubicBezTo>
                    <a:cubicBezTo>
                      <a:pt x="59200" y="20000"/>
                      <a:pt x="57600" y="20000"/>
                      <a:pt x="56800" y="21250"/>
                    </a:cubicBezTo>
                    <a:cubicBezTo>
                      <a:pt x="56800" y="22500"/>
                      <a:pt x="56000" y="25000"/>
                      <a:pt x="54400" y="25000"/>
                    </a:cubicBezTo>
                    <a:cubicBezTo>
                      <a:pt x="52800" y="25000"/>
                      <a:pt x="50400" y="22500"/>
                      <a:pt x="49600" y="20000"/>
                    </a:cubicBezTo>
                    <a:cubicBezTo>
                      <a:pt x="48800" y="16250"/>
                      <a:pt x="48800" y="15000"/>
                      <a:pt x="47200" y="12500"/>
                    </a:cubicBezTo>
                    <a:cubicBezTo>
                      <a:pt x="45600" y="11250"/>
                      <a:pt x="43200" y="7500"/>
                      <a:pt x="41600" y="7500"/>
                    </a:cubicBezTo>
                    <a:cubicBezTo>
                      <a:pt x="40800" y="6250"/>
                      <a:pt x="36000" y="6250"/>
                      <a:pt x="36000" y="7500"/>
                    </a:cubicBezTo>
                    <a:cubicBezTo>
                      <a:pt x="34400" y="11250"/>
                      <a:pt x="33600" y="10000"/>
                      <a:pt x="31200" y="10000"/>
                    </a:cubicBezTo>
                    <a:cubicBezTo>
                      <a:pt x="28000" y="10000"/>
                      <a:pt x="25600" y="10000"/>
                      <a:pt x="23200" y="10000"/>
                    </a:cubicBezTo>
                    <a:cubicBezTo>
                      <a:pt x="22400" y="10000"/>
                      <a:pt x="20000" y="7500"/>
                      <a:pt x="18400" y="6250"/>
                    </a:cubicBezTo>
                    <a:cubicBezTo>
                      <a:pt x="16000" y="5000"/>
                      <a:pt x="13600" y="3750"/>
                      <a:pt x="10400" y="1250"/>
                    </a:cubicBezTo>
                    <a:cubicBezTo>
                      <a:pt x="7200" y="0"/>
                      <a:pt x="3200" y="1250"/>
                      <a:pt x="0" y="2500"/>
                    </a:cubicBezTo>
                    <a:cubicBezTo>
                      <a:pt x="800" y="8750"/>
                      <a:pt x="4000" y="13750"/>
                      <a:pt x="5600" y="20000"/>
                    </a:cubicBezTo>
                    <a:cubicBezTo>
                      <a:pt x="6400" y="22500"/>
                      <a:pt x="8800" y="25000"/>
                      <a:pt x="10400" y="26250"/>
                    </a:cubicBezTo>
                    <a:cubicBezTo>
                      <a:pt x="11200" y="28750"/>
                      <a:pt x="12800" y="32500"/>
                      <a:pt x="12000" y="35000"/>
                    </a:cubicBezTo>
                    <a:cubicBezTo>
                      <a:pt x="12000" y="35000"/>
                      <a:pt x="6400" y="32500"/>
                      <a:pt x="9600" y="36250"/>
                    </a:cubicBezTo>
                    <a:cubicBezTo>
                      <a:pt x="10400" y="37500"/>
                      <a:pt x="11200" y="38750"/>
                      <a:pt x="12000" y="40000"/>
                    </a:cubicBezTo>
                    <a:cubicBezTo>
                      <a:pt x="13600" y="40000"/>
                      <a:pt x="14400" y="40000"/>
                      <a:pt x="15200" y="41250"/>
                    </a:cubicBezTo>
                    <a:cubicBezTo>
                      <a:pt x="16800" y="42500"/>
                      <a:pt x="18400" y="45000"/>
                      <a:pt x="20000" y="47500"/>
                    </a:cubicBezTo>
                    <a:cubicBezTo>
                      <a:pt x="20800" y="48750"/>
                      <a:pt x="20000" y="51250"/>
                      <a:pt x="19200" y="52500"/>
                    </a:cubicBezTo>
                    <a:cubicBezTo>
                      <a:pt x="18400" y="53750"/>
                      <a:pt x="20000" y="55000"/>
                      <a:pt x="20800" y="55000"/>
                    </a:cubicBezTo>
                    <a:cubicBezTo>
                      <a:pt x="23200" y="57500"/>
                      <a:pt x="24800" y="60000"/>
                      <a:pt x="26400" y="62500"/>
                    </a:cubicBezTo>
                    <a:cubicBezTo>
                      <a:pt x="27200" y="63750"/>
                      <a:pt x="28000" y="66250"/>
                      <a:pt x="28800" y="66250"/>
                    </a:cubicBezTo>
                    <a:cubicBezTo>
                      <a:pt x="29600" y="66250"/>
                      <a:pt x="30400" y="63750"/>
                      <a:pt x="29600" y="62500"/>
                    </a:cubicBezTo>
                    <a:cubicBezTo>
                      <a:pt x="29600" y="61250"/>
                      <a:pt x="28800" y="60000"/>
                      <a:pt x="28800" y="58750"/>
                    </a:cubicBezTo>
                    <a:cubicBezTo>
                      <a:pt x="28000" y="57500"/>
                      <a:pt x="26400" y="58750"/>
                      <a:pt x="25600" y="57500"/>
                    </a:cubicBezTo>
                    <a:cubicBezTo>
                      <a:pt x="24000" y="55000"/>
                      <a:pt x="25600" y="55000"/>
                      <a:pt x="25600" y="52500"/>
                    </a:cubicBezTo>
                    <a:cubicBezTo>
                      <a:pt x="25600" y="52500"/>
                      <a:pt x="24000" y="50000"/>
                      <a:pt x="24000" y="48750"/>
                    </a:cubicBezTo>
                    <a:cubicBezTo>
                      <a:pt x="22400" y="46250"/>
                      <a:pt x="22400" y="42500"/>
                      <a:pt x="20800" y="40000"/>
                    </a:cubicBezTo>
                    <a:cubicBezTo>
                      <a:pt x="19200" y="38750"/>
                      <a:pt x="17600" y="36250"/>
                      <a:pt x="16800" y="33750"/>
                    </a:cubicBezTo>
                    <a:cubicBezTo>
                      <a:pt x="16800" y="32500"/>
                      <a:pt x="16800" y="30000"/>
                      <a:pt x="16000" y="28750"/>
                    </a:cubicBezTo>
                    <a:cubicBezTo>
                      <a:pt x="15200" y="27500"/>
                      <a:pt x="14400" y="26250"/>
                      <a:pt x="13600" y="25000"/>
                    </a:cubicBezTo>
                    <a:cubicBezTo>
                      <a:pt x="12800" y="22500"/>
                      <a:pt x="12000" y="21250"/>
                      <a:pt x="10400" y="20000"/>
                    </a:cubicBezTo>
                    <a:cubicBezTo>
                      <a:pt x="9600" y="18750"/>
                      <a:pt x="9600" y="16250"/>
                      <a:pt x="9600" y="15000"/>
                    </a:cubicBezTo>
                    <a:cubicBezTo>
                      <a:pt x="9600" y="13750"/>
                      <a:pt x="8000" y="7500"/>
                      <a:pt x="8800" y="6250"/>
                    </a:cubicBezTo>
                    <a:cubicBezTo>
                      <a:pt x="9600" y="5000"/>
                      <a:pt x="10400" y="8750"/>
                      <a:pt x="11200" y="8750"/>
                    </a:cubicBezTo>
                    <a:cubicBezTo>
                      <a:pt x="12000" y="8750"/>
                      <a:pt x="12000" y="8750"/>
                      <a:pt x="12000" y="8750"/>
                    </a:cubicBezTo>
                    <a:cubicBezTo>
                      <a:pt x="13600" y="7500"/>
                      <a:pt x="13600" y="8750"/>
                      <a:pt x="14400" y="10000"/>
                    </a:cubicBezTo>
                    <a:cubicBezTo>
                      <a:pt x="15200" y="10000"/>
                      <a:pt x="16000" y="10000"/>
                      <a:pt x="16000" y="11250"/>
                    </a:cubicBezTo>
                    <a:cubicBezTo>
                      <a:pt x="16000" y="13750"/>
                      <a:pt x="16800" y="16250"/>
                      <a:pt x="17600" y="18750"/>
                    </a:cubicBezTo>
                    <a:cubicBezTo>
                      <a:pt x="17600" y="20000"/>
                      <a:pt x="18400" y="22500"/>
                      <a:pt x="18400" y="23750"/>
                    </a:cubicBezTo>
                    <a:cubicBezTo>
                      <a:pt x="18400" y="25000"/>
                      <a:pt x="17600" y="26250"/>
                      <a:pt x="17600" y="27500"/>
                    </a:cubicBezTo>
                    <a:cubicBezTo>
                      <a:pt x="18400" y="27500"/>
                      <a:pt x="18400" y="25000"/>
                      <a:pt x="18400" y="25000"/>
                    </a:cubicBezTo>
                    <a:cubicBezTo>
                      <a:pt x="19200" y="23750"/>
                      <a:pt x="20000" y="27500"/>
                      <a:pt x="20800" y="27500"/>
                    </a:cubicBezTo>
                    <a:cubicBezTo>
                      <a:pt x="21600" y="28750"/>
                      <a:pt x="25600" y="32500"/>
                      <a:pt x="25600" y="33750"/>
                    </a:cubicBezTo>
                    <a:cubicBezTo>
                      <a:pt x="25600" y="36250"/>
                      <a:pt x="26400" y="37500"/>
                      <a:pt x="27200" y="37500"/>
                    </a:cubicBezTo>
                    <a:cubicBezTo>
                      <a:pt x="28000" y="38750"/>
                      <a:pt x="28000" y="40000"/>
                      <a:pt x="28800" y="41250"/>
                    </a:cubicBezTo>
                    <a:cubicBezTo>
                      <a:pt x="29600" y="42500"/>
                      <a:pt x="30400" y="41250"/>
                      <a:pt x="30400" y="42500"/>
                    </a:cubicBezTo>
                    <a:cubicBezTo>
                      <a:pt x="31200" y="43750"/>
                      <a:pt x="29600" y="45000"/>
                      <a:pt x="30400" y="47500"/>
                    </a:cubicBezTo>
                    <a:cubicBezTo>
                      <a:pt x="32000" y="48750"/>
                      <a:pt x="33600" y="50000"/>
                      <a:pt x="35200" y="52500"/>
                    </a:cubicBezTo>
                    <a:cubicBezTo>
                      <a:pt x="36000" y="53750"/>
                      <a:pt x="36000" y="55000"/>
                      <a:pt x="36800" y="56250"/>
                    </a:cubicBezTo>
                    <a:cubicBezTo>
                      <a:pt x="37600" y="57500"/>
                      <a:pt x="38400" y="57500"/>
                      <a:pt x="39200" y="60000"/>
                    </a:cubicBezTo>
                    <a:cubicBezTo>
                      <a:pt x="40800" y="61250"/>
                      <a:pt x="41600" y="63750"/>
                      <a:pt x="43200" y="66250"/>
                    </a:cubicBezTo>
                    <a:cubicBezTo>
                      <a:pt x="44000" y="67500"/>
                      <a:pt x="44800" y="68750"/>
                      <a:pt x="45600" y="70000"/>
                    </a:cubicBezTo>
                    <a:cubicBezTo>
                      <a:pt x="46400" y="72500"/>
                      <a:pt x="44800" y="72500"/>
                      <a:pt x="44800" y="73750"/>
                    </a:cubicBezTo>
                    <a:cubicBezTo>
                      <a:pt x="44800" y="75000"/>
                      <a:pt x="47200" y="73750"/>
                      <a:pt x="47200" y="76250"/>
                    </a:cubicBezTo>
                    <a:cubicBezTo>
                      <a:pt x="46400" y="78750"/>
                      <a:pt x="45600" y="78750"/>
                      <a:pt x="46400" y="81250"/>
                    </a:cubicBezTo>
                    <a:cubicBezTo>
                      <a:pt x="46400" y="81250"/>
                      <a:pt x="44800" y="83750"/>
                      <a:pt x="45600" y="85000"/>
                    </a:cubicBezTo>
                    <a:cubicBezTo>
                      <a:pt x="46400" y="86250"/>
                      <a:pt x="47200" y="88750"/>
                      <a:pt x="48000" y="90000"/>
                    </a:cubicBezTo>
                    <a:cubicBezTo>
                      <a:pt x="48800" y="91250"/>
                      <a:pt x="49600" y="91250"/>
                      <a:pt x="50400" y="91250"/>
                    </a:cubicBezTo>
                    <a:cubicBezTo>
                      <a:pt x="52800" y="92500"/>
                      <a:pt x="52800" y="95000"/>
                      <a:pt x="54400" y="96250"/>
                    </a:cubicBezTo>
                    <a:cubicBezTo>
                      <a:pt x="56800" y="98750"/>
                      <a:pt x="60000" y="98750"/>
                      <a:pt x="61600" y="101250"/>
                    </a:cubicBezTo>
                    <a:cubicBezTo>
                      <a:pt x="64800" y="103750"/>
                      <a:pt x="68000" y="106250"/>
                      <a:pt x="71200" y="107500"/>
                    </a:cubicBezTo>
                    <a:cubicBezTo>
                      <a:pt x="73600" y="110000"/>
                      <a:pt x="77600" y="112500"/>
                      <a:pt x="80800" y="113750"/>
                    </a:cubicBezTo>
                    <a:cubicBezTo>
                      <a:pt x="84000" y="113750"/>
                      <a:pt x="86400" y="108750"/>
                      <a:pt x="90400" y="110000"/>
                    </a:cubicBezTo>
                    <a:cubicBezTo>
                      <a:pt x="93600" y="111250"/>
                      <a:pt x="96000" y="116250"/>
                      <a:pt x="98400" y="120000"/>
                    </a:cubicBezTo>
                    <a:cubicBezTo>
                      <a:pt x="98400" y="118750"/>
                      <a:pt x="99200" y="112500"/>
                      <a:pt x="100800" y="111250"/>
                    </a:cubicBezTo>
                    <a:cubicBezTo>
                      <a:pt x="101600" y="111250"/>
                      <a:pt x="100000" y="111250"/>
                      <a:pt x="100800" y="11125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2" name="Shape 2513">
                <a:extLst>
                  <a:ext uri="{FF2B5EF4-FFF2-40B4-BE49-F238E27FC236}">
                    <a16:creationId xmlns:a16="http://schemas.microsoft.com/office/drawing/2014/main" id="{74443820-0D30-42A8-9C17-9CD79DF5050D}"/>
                  </a:ext>
                </a:extLst>
              </p:cNvPr>
              <p:cNvSpPr/>
              <p:nvPr/>
            </p:nvSpPr>
            <p:spPr>
              <a:xfrm>
                <a:off x="8051647" y="8680195"/>
                <a:ext cx="252884" cy="135097"/>
              </a:xfrm>
              <a:custGeom>
                <a:avLst/>
                <a:gdLst/>
                <a:ahLst/>
                <a:cxnLst/>
                <a:rect l="0" t="0" r="0" b="0"/>
                <a:pathLst>
                  <a:path w="120000" h="120000" extrusionOk="0">
                    <a:moveTo>
                      <a:pt x="48000" y="112500"/>
                    </a:moveTo>
                    <a:cubicBezTo>
                      <a:pt x="52000" y="112500"/>
                      <a:pt x="52000" y="105000"/>
                      <a:pt x="52000" y="97500"/>
                    </a:cubicBezTo>
                    <a:cubicBezTo>
                      <a:pt x="52000" y="90000"/>
                      <a:pt x="60000" y="82500"/>
                      <a:pt x="64000" y="82500"/>
                    </a:cubicBezTo>
                    <a:cubicBezTo>
                      <a:pt x="72000" y="75000"/>
                      <a:pt x="72000" y="90000"/>
                      <a:pt x="80000" y="75000"/>
                    </a:cubicBezTo>
                    <a:cubicBezTo>
                      <a:pt x="84000" y="67500"/>
                      <a:pt x="88000" y="45000"/>
                      <a:pt x="96000" y="52500"/>
                    </a:cubicBezTo>
                    <a:cubicBezTo>
                      <a:pt x="108000" y="52500"/>
                      <a:pt x="108000" y="45000"/>
                      <a:pt x="120000" y="37500"/>
                    </a:cubicBezTo>
                    <a:cubicBezTo>
                      <a:pt x="104000" y="22500"/>
                      <a:pt x="100000" y="0"/>
                      <a:pt x="80000" y="7500"/>
                    </a:cubicBezTo>
                    <a:cubicBezTo>
                      <a:pt x="72000" y="7500"/>
                      <a:pt x="64000" y="15000"/>
                      <a:pt x="56000" y="15000"/>
                    </a:cubicBezTo>
                    <a:cubicBezTo>
                      <a:pt x="48000" y="15000"/>
                      <a:pt x="40000" y="7500"/>
                      <a:pt x="32000" y="7500"/>
                    </a:cubicBezTo>
                    <a:cubicBezTo>
                      <a:pt x="20000" y="15000"/>
                      <a:pt x="16000" y="15000"/>
                      <a:pt x="8000" y="30000"/>
                    </a:cubicBezTo>
                    <a:cubicBezTo>
                      <a:pt x="8000" y="37500"/>
                      <a:pt x="0" y="52500"/>
                      <a:pt x="4000" y="67500"/>
                    </a:cubicBezTo>
                    <a:cubicBezTo>
                      <a:pt x="16000" y="82500"/>
                      <a:pt x="32000" y="67500"/>
                      <a:pt x="32000" y="105000"/>
                    </a:cubicBezTo>
                    <a:cubicBezTo>
                      <a:pt x="32000" y="105000"/>
                      <a:pt x="40000" y="105000"/>
                      <a:pt x="40000" y="105000"/>
                    </a:cubicBezTo>
                    <a:cubicBezTo>
                      <a:pt x="40000" y="105000"/>
                      <a:pt x="36000" y="120000"/>
                      <a:pt x="36000" y="120000"/>
                    </a:cubicBezTo>
                    <a:cubicBezTo>
                      <a:pt x="40000" y="120000"/>
                      <a:pt x="48000" y="120000"/>
                      <a:pt x="48000" y="1125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3" name="Shape 2514">
                <a:extLst>
                  <a:ext uri="{FF2B5EF4-FFF2-40B4-BE49-F238E27FC236}">
                    <a16:creationId xmlns:a16="http://schemas.microsoft.com/office/drawing/2014/main" id="{4F92B7FC-046D-4BC0-91F7-7C49F96D6834}"/>
                  </a:ext>
                </a:extLst>
              </p:cNvPr>
              <p:cNvSpPr/>
              <p:nvPr/>
            </p:nvSpPr>
            <p:spPr>
              <a:xfrm>
                <a:off x="8051647" y="8568090"/>
                <a:ext cx="60346" cy="126474"/>
              </a:xfrm>
              <a:custGeom>
                <a:avLst/>
                <a:gdLst/>
                <a:ahLst/>
                <a:cxnLst/>
                <a:rect l="0" t="0" r="0" b="0"/>
                <a:pathLst>
                  <a:path w="120000" h="120000" extrusionOk="0">
                    <a:moveTo>
                      <a:pt x="85714" y="8000"/>
                    </a:moveTo>
                    <a:cubicBezTo>
                      <a:pt x="68571" y="0"/>
                      <a:pt x="34285" y="24000"/>
                      <a:pt x="34285" y="32000"/>
                    </a:cubicBezTo>
                    <a:cubicBezTo>
                      <a:pt x="17142" y="40000"/>
                      <a:pt x="17142" y="32000"/>
                      <a:pt x="17142" y="48000"/>
                    </a:cubicBezTo>
                    <a:cubicBezTo>
                      <a:pt x="17142" y="56000"/>
                      <a:pt x="0" y="120000"/>
                      <a:pt x="34285" y="112000"/>
                    </a:cubicBezTo>
                    <a:cubicBezTo>
                      <a:pt x="34285" y="104000"/>
                      <a:pt x="85714" y="80000"/>
                      <a:pt x="102857" y="64000"/>
                    </a:cubicBezTo>
                    <a:cubicBezTo>
                      <a:pt x="102857" y="40000"/>
                      <a:pt x="102857" y="32000"/>
                      <a:pt x="119999" y="16000"/>
                    </a:cubicBezTo>
                    <a:cubicBezTo>
                      <a:pt x="119999" y="8000"/>
                      <a:pt x="102857" y="8000"/>
                      <a:pt x="85714" y="8000"/>
                    </a:cubicBezTo>
                    <a:cubicBezTo>
                      <a:pt x="68571" y="0"/>
                      <a:pt x="102857" y="8000"/>
                      <a:pt x="85714" y="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4" name="Shape 2515">
                <a:extLst>
                  <a:ext uri="{FF2B5EF4-FFF2-40B4-BE49-F238E27FC236}">
                    <a16:creationId xmlns:a16="http://schemas.microsoft.com/office/drawing/2014/main" id="{6767733D-6718-490F-A260-71644C78FD2B}"/>
                  </a:ext>
                </a:extLst>
              </p:cNvPr>
              <p:cNvSpPr/>
              <p:nvPr/>
            </p:nvSpPr>
            <p:spPr>
              <a:xfrm>
                <a:off x="8683852" y="8493354"/>
                <a:ext cx="109198" cy="91980"/>
              </a:xfrm>
              <a:custGeom>
                <a:avLst/>
                <a:gdLst/>
                <a:ahLst/>
                <a:cxnLst/>
                <a:rect l="0" t="0" r="0" b="0"/>
                <a:pathLst>
                  <a:path w="120000" h="120000" extrusionOk="0">
                    <a:moveTo>
                      <a:pt x="110769" y="32727"/>
                    </a:moveTo>
                    <a:cubicBezTo>
                      <a:pt x="92307" y="32727"/>
                      <a:pt x="73846" y="0"/>
                      <a:pt x="55384" y="10909"/>
                    </a:cubicBezTo>
                    <a:cubicBezTo>
                      <a:pt x="27692" y="21818"/>
                      <a:pt x="64615" y="32727"/>
                      <a:pt x="64615" y="54545"/>
                    </a:cubicBezTo>
                    <a:cubicBezTo>
                      <a:pt x="73846" y="65454"/>
                      <a:pt x="92307" y="87272"/>
                      <a:pt x="83076" y="98181"/>
                    </a:cubicBezTo>
                    <a:cubicBezTo>
                      <a:pt x="73846" y="109090"/>
                      <a:pt x="64615" y="109090"/>
                      <a:pt x="55384" y="109090"/>
                    </a:cubicBezTo>
                    <a:cubicBezTo>
                      <a:pt x="36923" y="98181"/>
                      <a:pt x="55384" y="98181"/>
                      <a:pt x="46153" y="87272"/>
                    </a:cubicBezTo>
                    <a:cubicBezTo>
                      <a:pt x="46153" y="87272"/>
                      <a:pt x="0" y="98181"/>
                      <a:pt x="0" y="98181"/>
                    </a:cubicBezTo>
                    <a:cubicBezTo>
                      <a:pt x="0" y="120000"/>
                      <a:pt x="18461" y="120000"/>
                      <a:pt x="27692" y="120000"/>
                    </a:cubicBezTo>
                    <a:cubicBezTo>
                      <a:pt x="55384" y="109090"/>
                      <a:pt x="83076" y="120000"/>
                      <a:pt x="120000" y="120000"/>
                    </a:cubicBezTo>
                    <a:cubicBezTo>
                      <a:pt x="120000" y="87272"/>
                      <a:pt x="110769" y="54545"/>
                      <a:pt x="110769" y="32727"/>
                    </a:cubicBezTo>
                    <a:cubicBezTo>
                      <a:pt x="101538" y="32727"/>
                      <a:pt x="110769" y="54545"/>
                      <a:pt x="110769" y="3272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5" name="Shape 2516">
                <a:extLst>
                  <a:ext uri="{FF2B5EF4-FFF2-40B4-BE49-F238E27FC236}">
                    <a16:creationId xmlns:a16="http://schemas.microsoft.com/office/drawing/2014/main" id="{CA1B48E8-E008-43CF-B7D9-C8E2086AA90C}"/>
                  </a:ext>
                </a:extLst>
              </p:cNvPr>
              <p:cNvSpPr/>
              <p:nvPr/>
            </p:nvSpPr>
            <p:spPr>
              <a:xfrm>
                <a:off x="8784433" y="8493354"/>
                <a:ext cx="152305" cy="126474"/>
              </a:xfrm>
              <a:custGeom>
                <a:avLst/>
                <a:gdLst/>
                <a:ahLst/>
                <a:cxnLst/>
                <a:rect l="0" t="0" r="0" b="0"/>
                <a:pathLst>
                  <a:path w="120000" h="120000" extrusionOk="0">
                    <a:moveTo>
                      <a:pt x="93333" y="56000"/>
                    </a:moveTo>
                    <a:cubicBezTo>
                      <a:pt x="80000" y="48000"/>
                      <a:pt x="66666" y="32000"/>
                      <a:pt x="53333" y="24000"/>
                    </a:cubicBezTo>
                    <a:cubicBezTo>
                      <a:pt x="46666" y="16000"/>
                      <a:pt x="13333" y="0"/>
                      <a:pt x="6666" y="8000"/>
                    </a:cubicBezTo>
                    <a:cubicBezTo>
                      <a:pt x="6666" y="8000"/>
                      <a:pt x="20000" y="24000"/>
                      <a:pt x="0" y="24000"/>
                    </a:cubicBezTo>
                    <a:cubicBezTo>
                      <a:pt x="0" y="40000"/>
                      <a:pt x="6666" y="56000"/>
                      <a:pt x="6666" y="80000"/>
                    </a:cubicBezTo>
                    <a:cubicBezTo>
                      <a:pt x="6666" y="88000"/>
                      <a:pt x="6666" y="88000"/>
                      <a:pt x="13333" y="96000"/>
                    </a:cubicBezTo>
                    <a:cubicBezTo>
                      <a:pt x="20000" y="120000"/>
                      <a:pt x="20000" y="88000"/>
                      <a:pt x="26666" y="80000"/>
                    </a:cubicBezTo>
                    <a:cubicBezTo>
                      <a:pt x="40000" y="64000"/>
                      <a:pt x="73333" y="80000"/>
                      <a:pt x="86666" y="80000"/>
                    </a:cubicBezTo>
                    <a:cubicBezTo>
                      <a:pt x="100000" y="80000"/>
                      <a:pt x="100000" y="88000"/>
                      <a:pt x="113333" y="80000"/>
                    </a:cubicBezTo>
                    <a:cubicBezTo>
                      <a:pt x="120000" y="64000"/>
                      <a:pt x="113333" y="56000"/>
                      <a:pt x="93333" y="56000"/>
                    </a:cubicBezTo>
                    <a:cubicBezTo>
                      <a:pt x="80000" y="56000"/>
                      <a:pt x="106666" y="56000"/>
                      <a:pt x="93333" y="5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6" name="Shape 2517">
                <a:extLst>
                  <a:ext uri="{FF2B5EF4-FFF2-40B4-BE49-F238E27FC236}">
                    <a16:creationId xmlns:a16="http://schemas.microsoft.com/office/drawing/2014/main" id="{5E93F608-1F5D-4461-9FE1-D1B0F64D4FF8}"/>
                  </a:ext>
                </a:extLst>
              </p:cNvPr>
              <p:cNvSpPr/>
              <p:nvPr/>
            </p:nvSpPr>
            <p:spPr>
              <a:xfrm>
                <a:off x="4723927" y="5682165"/>
                <a:ext cx="1635124" cy="1098029"/>
              </a:xfrm>
              <a:custGeom>
                <a:avLst/>
                <a:gdLst/>
                <a:ahLst/>
                <a:cxnLst/>
                <a:rect l="0" t="0" r="0" b="0"/>
                <a:pathLst>
                  <a:path w="120000" h="120000" extrusionOk="0">
                    <a:moveTo>
                      <a:pt x="120000" y="116307"/>
                    </a:moveTo>
                    <a:cubicBezTo>
                      <a:pt x="119381" y="115384"/>
                      <a:pt x="118144" y="115384"/>
                      <a:pt x="119381" y="113538"/>
                    </a:cubicBezTo>
                    <a:cubicBezTo>
                      <a:pt x="119381" y="112615"/>
                      <a:pt x="118762" y="112615"/>
                      <a:pt x="118144" y="112615"/>
                    </a:cubicBezTo>
                    <a:cubicBezTo>
                      <a:pt x="116907" y="110769"/>
                      <a:pt x="114432" y="109846"/>
                      <a:pt x="113814" y="108923"/>
                    </a:cubicBezTo>
                    <a:cubicBezTo>
                      <a:pt x="111340" y="104307"/>
                      <a:pt x="110103" y="98769"/>
                      <a:pt x="107628" y="95076"/>
                    </a:cubicBezTo>
                    <a:cubicBezTo>
                      <a:pt x="106391" y="94153"/>
                      <a:pt x="105154" y="92307"/>
                      <a:pt x="104536" y="91384"/>
                    </a:cubicBezTo>
                    <a:cubicBezTo>
                      <a:pt x="103298" y="90461"/>
                      <a:pt x="103298" y="87692"/>
                      <a:pt x="102061" y="87692"/>
                    </a:cubicBezTo>
                    <a:cubicBezTo>
                      <a:pt x="101443" y="87692"/>
                      <a:pt x="99587" y="89538"/>
                      <a:pt x="99587" y="89538"/>
                    </a:cubicBezTo>
                    <a:cubicBezTo>
                      <a:pt x="100206" y="91384"/>
                      <a:pt x="98350" y="92307"/>
                      <a:pt x="97731" y="92307"/>
                    </a:cubicBezTo>
                    <a:cubicBezTo>
                      <a:pt x="95876" y="93230"/>
                      <a:pt x="94020" y="89538"/>
                      <a:pt x="92783" y="87692"/>
                    </a:cubicBezTo>
                    <a:cubicBezTo>
                      <a:pt x="92164" y="86769"/>
                      <a:pt x="91546" y="86769"/>
                      <a:pt x="90927" y="84923"/>
                    </a:cubicBezTo>
                    <a:cubicBezTo>
                      <a:pt x="90309" y="83076"/>
                      <a:pt x="89072" y="84000"/>
                      <a:pt x="88453" y="84923"/>
                    </a:cubicBezTo>
                    <a:cubicBezTo>
                      <a:pt x="87216" y="84923"/>
                      <a:pt x="87216" y="84000"/>
                      <a:pt x="85979" y="84923"/>
                    </a:cubicBezTo>
                    <a:cubicBezTo>
                      <a:pt x="85979" y="84923"/>
                      <a:pt x="85360" y="84923"/>
                      <a:pt x="85360" y="84000"/>
                    </a:cubicBezTo>
                    <a:cubicBezTo>
                      <a:pt x="85360" y="83076"/>
                      <a:pt x="85360" y="83076"/>
                      <a:pt x="85360" y="82153"/>
                    </a:cubicBezTo>
                    <a:cubicBezTo>
                      <a:pt x="85360" y="78461"/>
                      <a:pt x="85360" y="73846"/>
                      <a:pt x="85360" y="70153"/>
                    </a:cubicBezTo>
                    <a:cubicBezTo>
                      <a:pt x="85360" y="59076"/>
                      <a:pt x="85360" y="47076"/>
                      <a:pt x="85360" y="35076"/>
                    </a:cubicBezTo>
                    <a:cubicBezTo>
                      <a:pt x="85360" y="30461"/>
                      <a:pt x="85360" y="24923"/>
                      <a:pt x="85360" y="19384"/>
                    </a:cubicBezTo>
                    <a:cubicBezTo>
                      <a:pt x="85360" y="18461"/>
                      <a:pt x="85360" y="16615"/>
                      <a:pt x="85360" y="14769"/>
                    </a:cubicBezTo>
                    <a:cubicBezTo>
                      <a:pt x="85360" y="13846"/>
                      <a:pt x="84742" y="13846"/>
                      <a:pt x="83505" y="12923"/>
                    </a:cubicBezTo>
                    <a:cubicBezTo>
                      <a:pt x="80412" y="11076"/>
                      <a:pt x="78556" y="11076"/>
                      <a:pt x="75463" y="11076"/>
                    </a:cubicBezTo>
                    <a:cubicBezTo>
                      <a:pt x="72371" y="11076"/>
                      <a:pt x="69896" y="10153"/>
                      <a:pt x="66804" y="9230"/>
                    </a:cubicBezTo>
                    <a:cubicBezTo>
                      <a:pt x="63092" y="9230"/>
                      <a:pt x="60000" y="7384"/>
                      <a:pt x="56907" y="7384"/>
                    </a:cubicBezTo>
                    <a:cubicBezTo>
                      <a:pt x="55051" y="7384"/>
                      <a:pt x="53814" y="8307"/>
                      <a:pt x="51958" y="7384"/>
                    </a:cubicBezTo>
                    <a:cubicBezTo>
                      <a:pt x="51958" y="7384"/>
                      <a:pt x="49484" y="6461"/>
                      <a:pt x="49484" y="6461"/>
                    </a:cubicBezTo>
                    <a:cubicBezTo>
                      <a:pt x="49484" y="6461"/>
                      <a:pt x="50103" y="4615"/>
                      <a:pt x="50103" y="3692"/>
                    </a:cubicBezTo>
                    <a:cubicBezTo>
                      <a:pt x="50103" y="3692"/>
                      <a:pt x="48247" y="3692"/>
                      <a:pt x="48247" y="3692"/>
                    </a:cubicBezTo>
                    <a:cubicBezTo>
                      <a:pt x="47010" y="3692"/>
                      <a:pt x="45154" y="4615"/>
                      <a:pt x="43917" y="4615"/>
                    </a:cubicBezTo>
                    <a:cubicBezTo>
                      <a:pt x="42680" y="4615"/>
                      <a:pt x="43298" y="923"/>
                      <a:pt x="41443" y="2769"/>
                    </a:cubicBezTo>
                    <a:cubicBezTo>
                      <a:pt x="40824" y="2769"/>
                      <a:pt x="40206" y="4615"/>
                      <a:pt x="39587" y="3692"/>
                    </a:cubicBezTo>
                    <a:cubicBezTo>
                      <a:pt x="38350" y="3692"/>
                      <a:pt x="38350" y="2769"/>
                      <a:pt x="39587" y="1846"/>
                    </a:cubicBezTo>
                    <a:cubicBezTo>
                      <a:pt x="40824" y="1846"/>
                      <a:pt x="38969" y="923"/>
                      <a:pt x="38350" y="923"/>
                    </a:cubicBezTo>
                    <a:cubicBezTo>
                      <a:pt x="35876" y="0"/>
                      <a:pt x="35876" y="923"/>
                      <a:pt x="34639" y="2769"/>
                    </a:cubicBezTo>
                    <a:cubicBezTo>
                      <a:pt x="32783" y="5538"/>
                      <a:pt x="30309" y="3692"/>
                      <a:pt x="27835" y="4615"/>
                    </a:cubicBezTo>
                    <a:cubicBezTo>
                      <a:pt x="25360" y="5538"/>
                      <a:pt x="27835" y="7384"/>
                      <a:pt x="27835" y="7384"/>
                    </a:cubicBezTo>
                    <a:cubicBezTo>
                      <a:pt x="27216" y="7384"/>
                      <a:pt x="26597" y="7384"/>
                      <a:pt x="26597" y="7384"/>
                    </a:cubicBezTo>
                    <a:cubicBezTo>
                      <a:pt x="26597" y="7384"/>
                      <a:pt x="27216" y="9230"/>
                      <a:pt x="26597" y="9230"/>
                    </a:cubicBezTo>
                    <a:cubicBezTo>
                      <a:pt x="25979" y="9230"/>
                      <a:pt x="25979" y="7384"/>
                      <a:pt x="25979" y="6461"/>
                    </a:cubicBezTo>
                    <a:cubicBezTo>
                      <a:pt x="25360" y="6461"/>
                      <a:pt x="23505" y="9230"/>
                      <a:pt x="23505" y="9230"/>
                    </a:cubicBezTo>
                    <a:cubicBezTo>
                      <a:pt x="22268" y="10153"/>
                      <a:pt x="21030" y="8307"/>
                      <a:pt x="19793" y="10153"/>
                    </a:cubicBezTo>
                    <a:cubicBezTo>
                      <a:pt x="18556" y="11076"/>
                      <a:pt x="17319" y="12000"/>
                      <a:pt x="16701" y="13846"/>
                    </a:cubicBezTo>
                    <a:cubicBezTo>
                      <a:pt x="16701" y="15692"/>
                      <a:pt x="16701" y="17538"/>
                      <a:pt x="15463" y="18461"/>
                    </a:cubicBezTo>
                    <a:cubicBezTo>
                      <a:pt x="14226" y="19384"/>
                      <a:pt x="13608" y="20307"/>
                      <a:pt x="12371" y="20307"/>
                    </a:cubicBezTo>
                    <a:cubicBezTo>
                      <a:pt x="11752" y="20307"/>
                      <a:pt x="8041" y="20307"/>
                      <a:pt x="7422" y="21230"/>
                    </a:cubicBezTo>
                    <a:cubicBezTo>
                      <a:pt x="7422" y="22153"/>
                      <a:pt x="6185" y="24923"/>
                      <a:pt x="6185" y="24923"/>
                    </a:cubicBezTo>
                    <a:cubicBezTo>
                      <a:pt x="6804" y="25846"/>
                      <a:pt x="8659" y="25846"/>
                      <a:pt x="9278" y="26769"/>
                    </a:cubicBezTo>
                    <a:cubicBezTo>
                      <a:pt x="11134" y="27692"/>
                      <a:pt x="12989" y="29538"/>
                      <a:pt x="14226" y="31384"/>
                    </a:cubicBezTo>
                    <a:cubicBezTo>
                      <a:pt x="14845" y="32307"/>
                      <a:pt x="14845" y="34153"/>
                      <a:pt x="16082" y="35076"/>
                    </a:cubicBezTo>
                    <a:cubicBezTo>
                      <a:pt x="17319" y="35076"/>
                      <a:pt x="17938" y="35076"/>
                      <a:pt x="19175" y="34153"/>
                    </a:cubicBezTo>
                    <a:cubicBezTo>
                      <a:pt x="19175" y="34153"/>
                      <a:pt x="21030" y="35076"/>
                      <a:pt x="21030" y="35076"/>
                    </a:cubicBezTo>
                    <a:cubicBezTo>
                      <a:pt x="22268" y="37846"/>
                      <a:pt x="19175" y="36000"/>
                      <a:pt x="19175" y="36000"/>
                    </a:cubicBezTo>
                    <a:cubicBezTo>
                      <a:pt x="17938" y="36000"/>
                      <a:pt x="19793" y="37846"/>
                      <a:pt x="20412" y="38769"/>
                    </a:cubicBezTo>
                    <a:cubicBezTo>
                      <a:pt x="21030" y="40615"/>
                      <a:pt x="21649" y="39692"/>
                      <a:pt x="22886" y="38769"/>
                    </a:cubicBezTo>
                    <a:cubicBezTo>
                      <a:pt x="23505" y="37846"/>
                      <a:pt x="25360" y="37846"/>
                      <a:pt x="25979" y="38769"/>
                    </a:cubicBezTo>
                    <a:cubicBezTo>
                      <a:pt x="26597" y="39692"/>
                      <a:pt x="23505" y="40615"/>
                      <a:pt x="23505" y="40615"/>
                    </a:cubicBezTo>
                    <a:cubicBezTo>
                      <a:pt x="22886" y="40615"/>
                      <a:pt x="23505" y="40615"/>
                      <a:pt x="23505" y="41538"/>
                    </a:cubicBezTo>
                    <a:cubicBezTo>
                      <a:pt x="23505" y="42461"/>
                      <a:pt x="22268" y="41538"/>
                      <a:pt x="22268" y="41538"/>
                    </a:cubicBezTo>
                    <a:cubicBezTo>
                      <a:pt x="21649" y="41538"/>
                      <a:pt x="21030" y="42461"/>
                      <a:pt x="19793" y="42461"/>
                    </a:cubicBezTo>
                    <a:cubicBezTo>
                      <a:pt x="18556" y="42461"/>
                      <a:pt x="16082" y="43384"/>
                      <a:pt x="14845" y="42461"/>
                    </a:cubicBezTo>
                    <a:cubicBezTo>
                      <a:pt x="13608" y="41538"/>
                      <a:pt x="15463" y="39692"/>
                      <a:pt x="14845" y="38769"/>
                    </a:cubicBezTo>
                    <a:cubicBezTo>
                      <a:pt x="14226" y="38769"/>
                      <a:pt x="12989" y="38769"/>
                      <a:pt x="12371" y="39692"/>
                    </a:cubicBezTo>
                    <a:cubicBezTo>
                      <a:pt x="11752" y="39692"/>
                      <a:pt x="10515" y="39692"/>
                      <a:pt x="9896" y="39692"/>
                    </a:cubicBezTo>
                    <a:cubicBezTo>
                      <a:pt x="8659" y="40615"/>
                      <a:pt x="9278" y="42461"/>
                      <a:pt x="9278" y="42461"/>
                    </a:cubicBezTo>
                    <a:cubicBezTo>
                      <a:pt x="8041" y="42461"/>
                      <a:pt x="6804" y="41538"/>
                      <a:pt x="5567" y="42461"/>
                    </a:cubicBezTo>
                    <a:cubicBezTo>
                      <a:pt x="4948" y="43384"/>
                      <a:pt x="3711" y="44307"/>
                      <a:pt x="3092" y="45230"/>
                    </a:cubicBezTo>
                    <a:cubicBezTo>
                      <a:pt x="0" y="48000"/>
                      <a:pt x="7422" y="48000"/>
                      <a:pt x="7422" y="48923"/>
                    </a:cubicBezTo>
                    <a:cubicBezTo>
                      <a:pt x="6804" y="49846"/>
                      <a:pt x="4948" y="49846"/>
                      <a:pt x="6185" y="50769"/>
                    </a:cubicBezTo>
                    <a:cubicBezTo>
                      <a:pt x="6804" y="51692"/>
                      <a:pt x="6804" y="53538"/>
                      <a:pt x="7422" y="53538"/>
                    </a:cubicBezTo>
                    <a:cubicBezTo>
                      <a:pt x="9896" y="54461"/>
                      <a:pt x="11752" y="53538"/>
                      <a:pt x="14226" y="53538"/>
                    </a:cubicBezTo>
                    <a:cubicBezTo>
                      <a:pt x="14845" y="54461"/>
                      <a:pt x="15463" y="54461"/>
                      <a:pt x="16082" y="54461"/>
                    </a:cubicBezTo>
                    <a:cubicBezTo>
                      <a:pt x="17319" y="54461"/>
                      <a:pt x="16701" y="54461"/>
                      <a:pt x="17938" y="55384"/>
                    </a:cubicBezTo>
                    <a:cubicBezTo>
                      <a:pt x="17938" y="55384"/>
                      <a:pt x="19175" y="53538"/>
                      <a:pt x="19793" y="53538"/>
                    </a:cubicBezTo>
                    <a:cubicBezTo>
                      <a:pt x="20412" y="52615"/>
                      <a:pt x="21030" y="52615"/>
                      <a:pt x="21649" y="52615"/>
                    </a:cubicBezTo>
                    <a:cubicBezTo>
                      <a:pt x="22268" y="51692"/>
                      <a:pt x="22886" y="50769"/>
                      <a:pt x="22886" y="50769"/>
                    </a:cubicBezTo>
                    <a:cubicBezTo>
                      <a:pt x="23505" y="51692"/>
                      <a:pt x="24123" y="52615"/>
                      <a:pt x="23505" y="53538"/>
                    </a:cubicBezTo>
                    <a:cubicBezTo>
                      <a:pt x="22886" y="54461"/>
                      <a:pt x="22268" y="54461"/>
                      <a:pt x="23505" y="56307"/>
                    </a:cubicBezTo>
                    <a:cubicBezTo>
                      <a:pt x="24742" y="60000"/>
                      <a:pt x="23505" y="62769"/>
                      <a:pt x="20412" y="61846"/>
                    </a:cubicBezTo>
                    <a:cubicBezTo>
                      <a:pt x="20412" y="61846"/>
                      <a:pt x="19793" y="60923"/>
                      <a:pt x="19175" y="61846"/>
                    </a:cubicBezTo>
                    <a:cubicBezTo>
                      <a:pt x="18556" y="62769"/>
                      <a:pt x="17938" y="64615"/>
                      <a:pt x="17319" y="64615"/>
                    </a:cubicBezTo>
                    <a:cubicBezTo>
                      <a:pt x="16082" y="65538"/>
                      <a:pt x="12371" y="62769"/>
                      <a:pt x="12989" y="65538"/>
                    </a:cubicBezTo>
                    <a:cubicBezTo>
                      <a:pt x="12989" y="65538"/>
                      <a:pt x="11134" y="67384"/>
                      <a:pt x="11752" y="67384"/>
                    </a:cubicBezTo>
                    <a:cubicBezTo>
                      <a:pt x="11752" y="67384"/>
                      <a:pt x="12371" y="67384"/>
                      <a:pt x="12371" y="67384"/>
                    </a:cubicBezTo>
                    <a:cubicBezTo>
                      <a:pt x="12989" y="68307"/>
                      <a:pt x="11134" y="69230"/>
                      <a:pt x="10515" y="70153"/>
                    </a:cubicBezTo>
                    <a:cubicBezTo>
                      <a:pt x="9896" y="70153"/>
                      <a:pt x="9278" y="71076"/>
                      <a:pt x="9278" y="72000"/>
                    </a:cubicBezTo>
                    <a:cubicBezTo>
                      <a:pt x="8659" y="73846"/>
                      <a:pt x="9896" y="73846"/>
                      <a:pt x="8659" y="74769"/>
                    </a:cubicBezTo>
                    <a:cubicBezTo>
                      <a:pt x="7422" y="75692"/>
                      <a:pt x="8659" y="77538"/>
                      <a:pt x="9278" y="78461"/>
                    </a:cubicBezTo>
                    <a:cubicBezTo>
                      <a:pt x="9278" y="79384"/>
                      <a:pt x="11134" y="74769"/>
                      <a:pt x="11752" y="74769"/>
                    </a:cubicBezTo>
                    <a:cubicBezTo>
                      <a:pt x="11752" y="74769"/>
                      <a:pt x="10515" y="77538"/>
                      <a:pt x="10515" y="77538"/>
                    </a:cubicBezTo>
                    <a:cubicBezTo>
                      <a:pt x="9896" y="78461"/>
                      <a:pt x="11752" y="80307"/>
                      <a:pt x="12371" y="80307"/>
                    </a:cubicBezTo>
                    <a:cubicBezTo>
                      <a:pt x="12989" y="81230"/>
                      <a:pt x="12989" y="82153"/>
                      <a:pt x="13608" y="81230"/>
                    </a:cubicBezTo>
                    <a:cubicBezTo>
                      <a:pt x="14226" y="80307"/>
                      <a:pt x="14845" y="79384"/>
                      <a:pt x="14845" y="79384"/>
                    </a:cubicBezTo>
                    <a:cubicBezTo>
                      <a:pt x="14845" y="80307"/>
                      <a:pt x="15463" y="82153"/>
                      <a:pt x="16082" y="82153"/>
                    </a:cubicBezTo>
                    <a:cubicBezTo>
                      <a:pt x="14845" y="83076"/>
                      <a:pt x="14226" y="82153"/>
                      <a:pt x="13608" y="82153"/>
                    </a:cubicBezTo>
                    <a:cubicBezTo>
                      <a:pt x="12989" y="83076"/>
                      <a:pt x="12371" y="80307"/>
                      <a:pt x="11752" y="80307"/>
                    </a:cubicBezTo>
                    <a:cubicBezTo>
                      <a:pt x="11134" y="80307"/>
                      <a:pt x="9896" y="83076"/>
                      <a:pt x="11134" y="84000"/>
                    </a:cubicBezTo>
                    <a:cubicBezTo>
                      <a:pt x="12371" y="84923"/>
                      <a:pt x="12371" y="85846"/>
                      <a:pt x="13608" y="86769"/>
                    </a:cubicBezTo>
                    <a:cubicBezTo>
                      <a:pt x="14226" y="88615"/>
                      <a:pt x="15463" y="87692"/>
                      <a:pt x="16701" y="87692"/>
                    </a:cubicBezTo>
                    <a:cubicBezTo>
                      <a:pt x="17319" y="86769"/>
                      <a:pt x="18556" y="87692"/>
                      <a:pt x="18556" y="85846"/>
                    </a:cubicBezTo>
                    <a:cubicBezTo>
                      <a:pt x="18556" y="84000"/>
                      <a:pt x="19175" y="81230"/>
                      <a:pt x="20412" y="82153"/>
                    </a:cubicBezTo>
                    <a:cubicBezTo>
                      <a:pt x="20412" y="81230"/>
                      <a:pt x="19175" y="84923"/>
                      <a:pt x="19175" y="85846"/>
                    </a:cubicBezTo>
                    <a:cubicBezTo>
                      <a:pt x="19175" y="86769"/>
                      <a:pt x="21649" y="89538"/>
                      <a:pt x="21030" y="90461"/>
                    </a:cubicBezTo>
                    <a:cubicBezTo>
                      <a:pt x="19793" y="92307"/>
                      <a:pt x="21649" y="93230"/>
                      <a:pt x="21649" y="93230"/>
                    </a:cubicBezTo>
                    <a:cubicBezTo>
                      <a:pt x="21030" y="93230"/>
                      <a:pt x="19793" y="96000"/>
                      <a:pt x="19793" y="96000"/>
                    </a:cubicBezTo>
                    <a:cubicBezTo>
                      <a:pt x="20412" y="96923"/>
                      <a:pt x="23505" y="94153"/>
                      <a:pt x="23505" y="94153"/>
                    </a:cubicBezTo>
                    <a:cubicBezTo>
                      <a:pt x="23505" y="95076"/>
                      <a:pt x="22886" y="95076"/>
                      <a:pt x="22886" y="96000"/>
                    </a:cubicBezTo>
                    <a:cubicBezTo>
                      <a:pt x="22886" y="96000"/>
                      <a:pt x="24123" y="94153"/>
                      <a:pt x="24742" y="93230"/>
                    </a:cubicBezTo>
                    <a:cubicBezTo>
                      <a:pt x="25360" y="93230"/>
                      <a:pt x="27835" y="94153"/>
                      <a:pt x="27835" y="95076"/>
                    </a:cubicBezTo>
                    <a:cubicBezTo>
                      <a:pt x="28453" y="96000"/>
                      <a:pt x="29690" y="98769"/>
                      <a:pt x="29690" y="96923"/>
                    </a:cubicBezTo>
                    <a:cubicBezTo>
                      <a:pt x="29690" y="96000"/>
                      <a:pt x="30927" y="92307"/>
                      <a:pt x="30927" y="92307"/>
                    </a:cubicBezTo>
                    <a:cubicBezTo>
                      <a:pt x="30927" y="91384"/>
                      <a:pt x="32783" y="94153"/>
                      <a:pt x="32783" y="93230"/>
                    </a:cubicBezTo>
                    <a:cubicBezTo>
                      <a:pt x="32783" y="93230"/>
                      <a:pt x="30927" y="93230"/>
                      <a:pt x="30927" y="94153"/>
                    </a:cubicBezTo>
                    <a:cubicBezTo>
                      <a:pt x="30927" y="96000"/>
                      <a:pt x="32783" y="96000"/>
                      <a:pt x="33402" y="95076"/>
                    </a:cubicBezTo>
                    <a:cubicBezTo>
                      <a:pt x="34020" y="94153"/>
                      <a:pt x="34639" y="95076"/>
                      <a:pt x="35257" y="94153"/>
                    </a:cubicBezTo>
                    <a:cubicBezTo>
                      <a:pt x="35257" y="94153"/>
                      <a:pt x="36494" y="92307"/>
                      <a:pt x="36494" y="92307"/>
                    </a:cubicBezTo>
                    <a:cubicBezTo>
                      <a:pt x="36494" y="92307"/>
                      <a:pt x="35257" y="95076"/>
                      <a:pt x="34639" y="96000"/>
                    </a:cubicBezTo>
                    <a:cubicBezTo>
                      <a:pt x="34639" y="96923"/>
                      <a:pt x="34639" y="96923"/>
                      <a:pt x="34020" y="97846"/>
                    </a:cubicBezTo>
                    <a:cubicBezTo>
                      <a:pt x="34020" y="98769"/>
                      <a:pt x="34639" y="97846"/>
                      <a:pt x="34639" y="98769"/>
                    </a:cubicBezTo>
                    <a:cubicBezTo>
                      <a:pt x="34639" y="98769"/>
                      <a:pt x="34020" y="99692"/>
                      <a:pt x="33402" y="100615"/>
                    </a:cubicBezTo>
                    <a:cubicBezTo>
                      <a:pt x="33402" y="102461"/>
                      <a:pt x="33402" y="102461"/>
                      <a:pt x="34020" y="103384"/>
                    </a:cubicBezTo>
                    <a:cubicBezTo>
                      <a:pt x="34020" y="103384"/>
                      <a:pt x="32164" y="105230"/>
                      <a:pt x="31546" y="105230"/>
                    </a:cubicBezTo>
                    <a:cubicBezTo>
                      <a:pt x="30927" y="107076"/>
                      <a:pt x="30309" y="108000"/>
                      <a:pt x="29072" y="108923"/>
                    </a:cubicBezTo>
                    <a:cubicBezTo>
                      <a:pt x="27835" y="108923"/>
                      <a:pt x="26597" y="110769"/>
                      <a:pt x="25979" y="111692"/>
                    </a:cubicBezTo>
                    <a:cubicBezTo>
                      <a:pt x="25360" y="111692"/>
                      <a:pt x="25360" y="112615"/>
                      <a:pt x="24742" y="112615"/>
                    </a:cubicBezTo>
                    <a:cubicBezTo>
                      <a:pt x="24742" y="113538"/>
                      <a:pt x="25360" y="114461"/>
                      <a:pt x="25360" y="114461"/>
                    </a:cubicBezTo>
                    <a:cubicBezTo>
                      <a:pt x="24742" y="115384"/>
                      <a:pt x="22886" y="114461"/>
                      <a:pt x="22268" y="114461"/>
                    </a:cubicBezTo>
                    <a:cubicBezTo>
                      <a:pt x="20412" y="114461"/>
                      <a:pt x="19793" y="115384"/>
                      <a:pt x="18556" y="117230"/>
                    </a:cubicBezTo>
                    <a:cubicBezTo>
                      <a:pt x="17938" y="118153"/>
                      <a:pt x="18556" y="120000"/>
                      <a:pt x="19175" y="119076"/>
                    </a:cubicBezTo>
                    <a:cubicBezTo>
                      <a:pt x="20412" y="118153"/>
                      <a:pt x="21649" y="115384"/>
                      <a:pt x="22268" y="116307"/>
                    </a:cubicBezTo>
                    <a:cubicBezTo>
                      <a:pt x="22268" y="115384"/>
                      <a:pt x="21649" y="119076"/>
                      <a:pt x="23505" y="116307"/>
                    </a:cubicBezTo>
                    <a:cubicBezTo>
                      <a:pt x="23505" y="116307"/>
                      <a:pt x="24742" y="119076"/>
                      <a:pt x="25360" y="117230"/>
                    </a:cubicBezTo>
                    <a:cubicBezTo>
                      <a:pt x="25360" y="116307"/>
                      <a:pt x="24742" y="116307"/>
                      <a:pt x="25360" y="116307"/>
                    </a:cubicBezTo>
                    <a:cubicBezTo>
                      <a:pt x="25979" y="115384"/>
                      <a:pt x="25979" y="115384"/>
                      <a:pt x="26597" y="115384"/>
                    </a:cubicBezTo>
                    <a:cubicBezTo>
                      <a:pt x="27216" y="115384"/>
                      <a:pt x="27216" y="115384"/>
                      <a:pt x="27835" y="114461"/>
                    </a:cubicBezTo>
                    <a:cubicBezTo>
                      <a:pt x="28453" y="113538"/>
                      <a:pt x="29690" y="113538"/>
                      <a:pt x="30927" y="112615"/>
                    </a:cubicBezTo>
                    <a:cubicBezTo>
                      <a:pt x="32783" y="111692"/>
                      <a:pt x="30309" y="111692"/>
                      <a:pt x="31546" y="110769"/>
                    </a:cubicBezTo>
                    <a:cubicBezTo>
                      <a:pt x="32164" y="109846"/>
                      <a:pt x="32783" y="108923"/>
                      <a:pt x="33402" y="108923"/>
                    </a:cubicBezTo>
                    <a:cubicBezTo>
                      <a:pt x="34639" y="108000"/>
                      <a:pt x="35876" y="107076"/>
                      <a:pt x="36494" y="107076"/>
                    </a:cubicBezTo>
                    <a:cubicBezTo>
                      <a:pt x="38350" y="105230"/>
                      <a:pt x="37113" y="106153"/>
                      <a:pt x="37113" y="104307"/>
                    </a:cubicBezTo>
                    <a:cubicBezTo>
                      <a:pt x="37113" y="104307"/>
                      <a:pt x="42061" y="100615"/>
                      <a:pt x="42680" y="99692"/>
                    </a:cubicBezTo>
                    <a:cubicBezTo>
                      <a:pt x="43298" y="99692"/>
                      <a:pt x="44536" y="99692"/>
                      <a:pt x="44536" y="98769"/>
                    </a:cubicBezTo>
                    <a:cubicBezTo>
                      <a:pt x="44536" y="96000"/>
                      <a:pt x="45154" y="96923"/>
                      <a:pt x="46391" y="96000"/>
                    </a:cubicBezTo>
                    <a:cubicBezTo>
                      <a:pt x="48247" y="94153"/>
                      <a:pt x="42680" y="93230"/>
                      <a:pt x="45154" y="89538"/>
                    </a:cubicBezTo>
                    <a:cubicBezTo>
                      <a:pt x="46391" y="88615"/>
                      <a:pt x="47628" y="88615"/>
                      <a:pt x="48247" y="87692"/>
                    </a:cubicBezTo>
                    <a:cubicBezTo>
                      <a:pt x="48865" y="86769"/>
                      <a:pt x="48865" y="84000"/>
                      <a:pt x="47628" y="84000"/>
                    </a:cubicBezTo>
                    <a:cubicBezTo>
                      <a:pt x="48865" y="84000"/>
                      <a:pt x="48865" y="84923"/>
                      <a:pt x="50103" y="84000"/>
                    </a:cubicBezTo>
                    <a:cubicBezTo>
                      <a:pt x="50721" y="83076"/>
                      <a:pt x="51340" y="81230"/>
                      <a:pt x="52577" y="80307"/>
                    </a:cubicBezTo>
                    <a:cubicBezTo>
                      <a:pt x="53195" y="79384"/>
                      <a:pt x="54432" y="77538"/>
                      <a:pt x="55051" y="77538"/>
                    </a:cubicBezTo>
                    <a:cubicBezTo>
                      <a:pt x="55670" y="77538"/>
                      <a:pt x="58762" y="77538"/>
                      <a:pt x="58144" y="79384"/>
                    </a:cubicBezTo>
                    <a:cubicBezTo>
                      <a:pt x="57525" y="80307"/>
                      <a:pt x="56288" y="78461"/>
                      <a:pt x="55051" y="79384"/>
                    </a:cubicBezTo>
                    <a:cubicBezTo>
                      <a:pt x="53814" y="80307"/>
                      <a:pt x="53814" y="81230"/>
                      <a:pt x="53195" y="83076"/>
                    </a:cubicBezTo>
                    <a:cubicBezTo>
                      <a:pt x="53195" y="84923"/>
                      <a:pt x="51958" y="86769"/>
                      <a:pt x="51958" y="88615"/>
                    </a:cubicBezTo>
                    <a:cubicBezTo>
                      <a:pt x="51340" y="89538"/>
                      <a:pt x="53814" y="88615"/>
                      <a:pt x="53814" y="89538"/>
                    </a:cubicBezTo>
                    <a:cubicBezTo>
                      <a:pt x="53195" y="89538"/>
                      <a:pt x="50103" y="91384"/>
                      <a:pt x="52577" y="91384"/>
                    </a:cubicBezTo>
                    <a:cubicBezTo>
                      <a:pt x="54432" y="91384"/>
                      <a:pt x="55670" y="89538"/>
                      <a:pt x="57525" y="88615"/>
                    </a:cubicBezTo>
                    <a:cubicBezTo>
                      <a:pt x="58762" y="86769"/>
                      <a:pt x="60000" y="86769"/>
                      <a:pt x="61237" y="85846"/>
                    </a:cubicBezTo>
                    <a:cubicBezTo>
                      <a:pt x="63711" y="84923"/>
                      <a:pt x="62474" y="83076"/>
                      <a:pt x="62474" y="81230"/>
                    </a:cubicBezTo>
                    <a:cubicBezTo>
                      <a:pt x="61855" y="77538"/>
                      <a:pt x="67422" y="80307"/>
                      <a:pt x="68659" y="81230"/>
                    </a:cubicBezTo>
                    <a:cubicBezTo>
                      <a:pt x="69896" y="81230"/>
                      <a:pt x="70515" y="83076"/>
                      <a:pt x="71752" y="84000"/>
                    </a:cubicBezTo>
                    <a:cubicBezTo>
                      <a:pt x="71752" y="84000"/>
                      <a:pt x="72989" y="81230"/>
                      <a:pt x="73608" y="82153"/>
                    </a:cubicBezTo>
                    <a:cubicBezTo>
                      <a:pt x="73608" y="82153"/>
                      <a:pt x="73608" y="84000"/>
                      <a:pt x="73608" y="84923"/>
                    </a:cubicBezTo>
                    <a:cubicBezTo>
                      <a:pt x="74845" y="85846"/>
                      <a:pt x="75463" y="85846"/>
                      <a:pt x="76082" y="85846"/>
                    </a:cubicBezTo>
                    <a:cubicBezTo>
                      <a:pt x="77938" y="85846"/>
                      <a:pt x="79793" y="84923"/>
                      <a:pt x="81030" y="85846"/>
                    </a:cubicBezTo>
                    <a:cubicBezTo>
                      <a:pt x="81649" y="85846"/>
                      <a:pt x="82268" y="86769"/>
                      <a:pt x="82886" y="85846"/>
                    </a:cubicBezTo>
                    <a:cubicBezTo>
                      <a:pt x="83505" y="85846"/>
                      <a:pt x="83505" y="86769"/>
                      <a:pt x="84123" y="87692"/>
                    </a:cubicBezTo>
                    <a:cubicBezTo>
                      <a:pt x="84742" y="87692"/>
                      <a:pt x="85979" y="88615"/>
                      <a:pt x="86597" y="88615"/>
                    </a:cubicBezTo>
                    <a:cubicBezTo>
                      <a:pt x="87835" y="88615"/>
                      <a:pt x="88453" y="86769"/>
                      <a:pt x="89072" y="86769"/>
                    </a:cubicBezTo>
                    <a:cubicBezTo>
                      <a:pt x="90309" y="85846"/>
                      <a:pt x="89690" y="88615"/>
                      <a:pt x="89690" y="88615"/>
                    </a:cubicBezTo>
                    <a:cubicBezTo>
                      <a:pt x="89072" y="89538"/>
                      <a:pt x="89072" y="89538"/>
                      <a:pt x="89690" y="90461"/>
                    </a:cubicBezTo>
                    <a:cubicBezTo>
                      <a:pt x="91546" y="91384"/>
                      <a:pt x="92783" y="92307"/>
                      <a:pt x="94020" y="93230"/>
                    </a:cubicBezTo>
                    <a:cubicBezTo>
                      <a:pt x="95257" y="95076"/>
                      <a:pt x="96494" y="96923"/>
                      <a:pt x="97731" y="97846"/>
                    </a:cubicBezTo>
                    <a:cubicBezTo>
                      <a:pt x="98350" y="97846"/>
                      <a:pt x="98969" y="96923"/>
                      <a:pt x="99587" y="96923"/>
                    </a:cubicBezTo>
                    <a:cubicBezTo>
                      <a:pt x="100206" y="96000"/>
                      <a:pt x="98969" y="95076"/>
                      <a:pt x="98969" y="94153"/>
                    </a:cubicBezTo>
                    <a:cubicBezTo>
                      <a:pt x="98969" y="93230"/>
                      <a:pt x="100824" y="95076"/>
                      <a:pt x="100824" y="95076"/>
                    </a:cubicBezTo>
                    <a:cubicBezTo>
                      <a:pt x="100824" y="96000"/>
                      <a:pt x="102680" y="97846"/>
                      <a:pt x="103298" y="96923"/>
                    </a:cubicBezTo>
                    <a:cubicBezTo>
                      <a:pt x="103298" y="96923"/>
                      <a:pt x="102061" y="91384"/>
                      <a:pt x="102061" y="91384"/>
                    </a:cubicBezTo>
                    <a:cubicBezTo>
                      <a:pt x="102680" y="91384"/>
                      <a:pt x="103917" y="96000"/>
                      <a:pt x="104536" y="96000"/>
                    </a:cubicBezTo>
                    <a:cubicBezTo>
                      <a:pt x="104536" y="96923"/>
                      <a:pt x="105154" y="98769"/>
                      <a:pt x="105773" y="98769"/>
                    </a:cubicBezTo>
                    <a:cubicBezTo>
                      <a:pt x="106391" y="98769"/>
                      <a:pt x="107010" y="96923"/>
                      <a:pt x="107010" y="96923"/>
                    </a:cubicBezTo>
                    <a:cubicBezTo>
                      <a:pt x="105773" y="97846"/>
                      <a:pt x="109484" y="101538"/>
                      <a:pt x="109484" y="102461"/>
                    </a:cubicBezTo>
                    <a:cubicBezTo>
                      <a:pt x="108865" y="102461"/>
                      <a:pt x="108865" y="102461"/>
                      <a:pt x="108865" y="102461"/>
                    </a:cubicBezTo>
                    <a:cubicBezTo>
                      <a:pt x="108247" y="103384"/>
                      <a:pt x="109484" y="103384"/>
                      <a:pt x="109484" y="104307"/>
                    </a:cubicBezTo>
                    <a:cubicBezTo>
                      <a:pt x="109484" y="104307"/>
                      <a:pt x="108247" y="105230"/>
                      <a:pt x="108865" y="105230"/>
                    </a:cubicBezTo>
                    <a:cubicBezTo>
                      <a:pt x="109484" y="106153"/>
                      <a:pt x="110103" y="107076"/>
                      <a:pt x="110721" y="108000"/>
                    </a:cubicBezTo>
                    <a:cubicBezTo>
                      <a:pt x="111958" y="109846"/>
                      <a:pt x="112577" y="110769"/>
                      <a:pt x="113814" y="111692"/>
                    </a:cubicBezTo>
                    <a:cubicBezTo>
                      <a:pt x="113814" y="111692"/>
                      <a:pt x="112577" y="115384"/>
                      <a:pt x="113195" y="115384"/>
                    </a:cubicBezTo>
                    <a:cubicBezTo>
                      <a:pt x="113814" y="116307"/>
                      <a:pt x="113814" y="114461"/>
                      <a:pt x="113814" y="114461"/>
                    </a:cubicBezTo>
                    <a:cubicBezTo>
                      <a:pt x="114432" y="113538"/>
                      <a:pt x="114432" y="116307"/>
                      <a:pt x="115051" y="117230"/>
                    </a:cubicBezTo>
                    <a:cubicBezTo>
                      <a:pt x="115051" y="117230"/>
                      <a:pt x="115051" y="116307"/>
                      <a:pt x="115051" y="115384"/>
                    </a:cubicBezTo>
                    <a:cubicBezTo>
                      <a:pt x="115051" y="117230"/>
                      <a:pt x="118762" y="120000"/>
                      <a:pt x="119381" y="117230"/>
                    </a:cubicBezTo>
                    <a:cubicBezTo>
                      <a:pt x="119381" y="117230"/>
                      <a:pt x="119381" y="118153"/>
                      <a:pt x="119381" y="118153"/>
                    </a:cubicBezTo>
                    <a:cubicBezTo>
                      <a:pt x="119381" y="118153"/>
                      <a:pt x="120000" y="117230"/>
                      <a:pt x="120000" y="116307"/>
                    </a:cubicBezTo>
                    <a:cubicBezTo>
                      <a:pt x="119381" y="116307"/>
                      <a:pt x="120000" y="117230"/>
                      <a:pt x="120000" y="11630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7" name="Shape 2518">
                <a:extLst>
                  <a:ext uri="{FF2B5EF4-FFF2-40B4-BE49-F238E27FC236}">
                    <a16:creationId xmlns:a16="http://schemas.microsoft.com/office/drawing/2014/main" id="{C3864D4D-7BE5-4AD9-B535-57FAC441F43B}"/>
                  </a:ext>
                </a:extLst>
              </p:cNvPr>
              <p:cNvSpPr/>
              <p:nvPr/>
            </p:nvSpPr>
            <p:spPr>
              <a:xfrm>
                <a:off x="6568827" y="7082011"/>
                <a:ext cx="2434005" cy="1207259"/>
              </a:xfrm>
              <a:custGeom>
                <a:avLst/>
                <a:gdLst/>
                <a:ahLst/>
                <a:cxnLst/>
                <a:rect l="0" t="0" r="0" b="0"/>
                <a:pathLst>
                  <a:path w="120000" h="120000" extrusionOk="0">
                    <a:moveTo>
                      <a:pt x="28235" y="90629"/>
                    </a:moveTo>
                    <a:cubicBezTo>
                      <a:pt x="29480" y="90629"/>
                      <a:pt x="30726" y="90629"/>
                      <a:pt x="32387" y="90629"/>
                    </a:cubicBezTo>
                    <a:cubicBezTo>
                      <a:pt x="32802" y="90629"/>
                      <a:pt x="33633" y="90629"/>
                      <a:pt x="34048" y="90629"/>
                    </a:cubicBezTo>
                    <a:cubicBezTo>
                      <a:pt x="34463" y="90629"/>
                      <a:pt x="34463" y="88951"/>
                      <a:pt x="34878" y="88951"/>
                    </a:cubicBezTo>
                    <a:cubicBezTo>
                      <a:pt x="35294" y="88111"/>
                      <a:pt x="37785" y="88111"/>
                      <a:pt x="37785" y="88951"/>
                    </a:cubicBezTo>
                    <a:cubicBezTo>
                      <a:pt x="39031" y="90629"/>
                      <a:pt x="40276" y="92307"/>
                      <a:pt x="41522" y="93986"/>
                    </a:cubicBezTo>
                    <a:cubicBezTo>
                      <a:pt x="41522" y="93986"/>
                      <a:pt x="41937" y="96503"/>
                      <a:pt x="41937" y="97342"/>
                    </a:cubicBezTo>
                    <a:cubicBezTo>
                      <a:pt x="42352" y="99020"/>
                      <a:pt x="42352" y="99020"/>
                      <a:pt x="43598" y="99860"/>
                    </a:cubicBezTo>
                    <a:cubicBezTo>
                      <a:pt x="44429" y="100699"/>
                      <a:pt x="44844" y="101538"/>
                      <a:pt x="45259" y="99860"/>
                    </a:cubicBezTo>
                    <a:cubicBezTo>
                      <a:pt x="45674" y="97342"/>
                      <a:pt x="46089" y="97342"/>
                      <a:pt x="47335" y="98181"/>
                    </a:cubicBezTo>
                    <a:cubicBezTo>
                      <a:pt x="48166" y="98181"/>
                      <a:pt x="49411" y="99020"/>
                      <a:pt x="49411" y="100699"/>
                    </a:cubicBezTo>
                    <a:cubicBezTo>
                      <a:pt x="50242" y="103216"/>
                      <a:pt x="51072" y="104055"/>
                      <a:pt x="51903" y="106573"/>
                    </a:cubicBezTo>
                    <a:cubicBezTo>
                      <a:pt x="52733" y="108251"/>
                      <a:pt x="52318" y="111608"/>
                      <a:pt x="53564" y="112447"/>
                    </a:cubicBezTo>
                    <a:cubicBezTo>
                      <a:pt x="54394" y="114125"/>
                      <a:pt x="56055" y="114125"/>
                      <a:pt x="56885" y="114965"/>
                    </a:cubicBezTo>
                    <a:cubicBezTo>
                      <a:pt x="56885" y="114125"/>
                      <a:pt x="56055" y="108251"/>
                      <a:pt x="56055" y="108251"/>
                    </a:cubicBezTo>
                    <a:cubicBezTo>
                      <a:pt x="56885" y="109090"/>
                      <a:pt x="56470" y="106573"/>
                      <a:pt x="56885" y="106573"/>
                    </a:cubicBezTo>
                    <a:cubicBezTo>
                      <a:pt x="56885" y="105734"/>
                      <a:pt x="57716" y="105734"/>
                      <a:pt x="58131" y="104895"/>
                    </a:cubicBezTo>
                    <a:cubicBezTo>
                      <a:pt x="58546" y="104895"/>
                      <a:pt x="58961" y="102377"/>
                      <a:pt x="58961" y="102377"/>
                    </a:cubicBezTo>
                    <a:cubicBezTo>
                      <a:pt x="59377" y="103216"/>
                      <a:pt x="59792" y="103216"/>
                      <a:pt x="60207" y="102377"/>
                    </a:cubicBezTo>
                    <a:cubicBezTo>
                      <a:pt x="61038" y="101538"/>
                      <a:pt x="61453" y="101538"/>
                      <a:pt x="61868" y="99860"/>
                    </a:cubicBezTo>
                    <a:cubicBezTo>
                      <a:pt x="62698" y="99020"/>
                      <a:pt x="61453" y="99020"/>
                      <a:pt x="61453" y="98181"/>
                    </a:cubicBezTo>
                    <a:cubicBezTo>
                      <a:pt x="61453" y="98181"/>
                      <a:pt x="62698" y="99020"/>
                      <a:pt x="63114" y="98181"/>
                    </a:cubicBezTo>
                    <a:cubicBezTo>
                      <a:pt x="63944" y="97342"/>
                      <a:pt x="64359" y="97342"/>
                      <a:pt x="65190" y="97342"/>
                    </a:cubicBezTo>
                    <a:cubicBezTo>
                      <a:pt x="66020" y="97342"/>
                      <a:pt x="66435" y="99860"/>
                      <a:pt x="67266" y="99020"/>
                    </a:cubicBezTo>
                    <a:cubicBezTo>
                      <a:pt x="68512" y="97342"/>
                      <a:pt x="68927" y="99020"/>
                      <a:pt x="69757" y="99860"/>
                    </a:cubicBezTo>
                    <a:cubicBezTo>
                      <a:pt x="70588" y="100699"/>
                      <a:pt x="71003" y="99020"/>
                      <a:pt x="71418" y="99020"/>
                    </a:cubicBezTo>
                    <a:cubicBezTo>
                      <a:pt x="71833" y="98181"/>
                      <a:pt x="73079" y="99860"/>
                      <a:pt x="73079" y="100699"/>
                    </a:cubicBezTo>
                    <a:cubicBezTo>
                      <a:pt x="73494" y="101538"/>
                      <a:pt x="73910" y="100699"/>
                      <a:pt x="73494" y="99860"/>
                    </a:cubicBezTo>
                    <a:cubicBezTo>
                      <a:pt x="73494" y="99860"/>
                      <a:pt x="73079" y="99020"/>
                      <a:pt x="72664" y="99020"/>
                    </a:cubicBezTo>
                    <a:cubicBezTo>
                      <a:pt x="72249" y="98181"/>
                      <a:pt x="73079" y="98181"/>
                      <a:pt x="73079" y="98181"/>
                    </a:cubicBezTo>
                    <a:cubicBezTo>
                      <a:pt x="72664" y="96503"/>
                      <a:pt x="72664" y="95664"/>
                      <a:pt x="71833" y="96503"/>
                    </a:cubicBezTo>
                    <a:cubicBezTo>
                      <a:pt x="71833" y="96503"/>
                      <a:pt x="70173" y="96503"/>
                      <a:pt x="71003" y="94825"/>
                    </a:cubicBezTo>
                    <a:cubicBezTo>
                      <a:pt x="71833" y="94825"/>
                      <a:pt x="72249" y="95664"/>
                      <a:pt x="72664" y="95664"/>
                    </a:cubicBezTo>
                    <a:cubicBezTo>
                      <a:pt x="73910" y="94825"/>
                      <a:pt x="74740" y="94825"/>
                      <a:pt x="75986" y="94825"/>
                    </a:cubicBezTo>
                    <a:cubicBezTo>
                      <a:pt x="76401" y="94825"/>
                      <a:pt x="75986" y="94825"/>
                      <a:pt x="76401" y="95664"/>
                    </a:cubicBezTo>
                    <a:cubicBezTo>
                      <a:pt x="76401" y="95664"/>
                      <a:pt x="76816" y="95664"/>
                      <a:pt x="77231" y="94825"/>
                    </a:cubicBezTo>
                    <a:cubicBezTo>
                      <a:pt x="78062" y="94825"/>
                      <a:pt x="78892" y="94825"/>
                      <a:pt x="79723" y="94825"/>
                    </a:cubicBezTo>
                    <a:cubicBezTo>
                      <a:pt x="80553" y="94825"/>
                      <a:pt x="80553" y="96503"/>
                      <a:pt x="81384" y="97342"/>
                    </a:cubicBezTo>
                    <a:cubicBezTo>
                      <a:pt x="82214" y="99020"/>
                      <a:pt x="83044" y="97342"/>
                      <a:pt x="83875" y="96503"/>
                    </a:cubicBezTo>
                    <a:cubicBezTo>
                      <a:pt x="84290" y="96503"/>
                      <a:pt x="86782" y="101538"/>
                      <a:pt x="86782" y="102377"/>
                    </a:cubicBezTo>
                    <a:cubicBezTo>
                      <a:pt x="87197" y="103216"/>
                      <a:pt x="86366" y="104895"/>
                      <a:pt x="86782" y="105734"/>
                    </a:cubicBezTo>
                    <a:cubicBezTo>
                      <a:pt x="87197" y="107412"/>
                      <a:pt x="86782" y="107412"/>
                      <a:pt x="87197" y="109090"/>
                    </a:cubicBezTo>
                    <a:cubicBezTo>
                      <a:pt x="87197" y="109930"/>
                      <a:pt x="87612" y="110769"/>
                      <a:pt x="87612" y="110769"/>
                    </a:cubicBezTo>
                    <a:cubicBezTo>
                      <a:pt x="88027" y="110769"/>
                      <a:pt x="88027" y="111608"/>
                      <a:pt x="88442" y="111608"/>
                    </a:cubicBezTo>
                    <a:cubicBezTo>
                      <a:pt x="88858" y="112447"/>
                      <a:pt x="88442" y="114125"/>
                      <a:pt x="88858" y="114965"/>
                    </a:cubicBezTo>
                    <a:cubicBezTo>
                      <a:pt x="89273" y="115804"/>
                      <a:pt x="89688" y="115804"/>
                      <a:pt x="90103" y="117482"/>
                    </a:cubicBezTo>
                    <a:cubicBezTo>
                      <a:pt x="90934" y="120000"/>
                      <a:pt x="90519" y="117482"/>
                      <a:pt x="91349" y="118321"/>
                    </a:cubicBezTo>
                    <a:cubicBezTo>
                      <a:pt x="91349" y="118321"/>
                      <a:pt x="91349" y="120000"/>
                      <a:pt x="91349" y="120000"/>
                    </a:cubicBezTo>
                    <a:cubicBezTo>
                      <a:pt x="91764" y="120000"/>
                      <a:pt x="92179" y="114125"/>
                      <a:pt x="92179" y="113286"/>
                    </a:cubicBezTo>
                    <a:cubicBezTo>
                      <a:pt x="92179" y="110769"/>
                      <a:pt x="91764" y="109090"/>
                      <a:pt x="91349" y="105734"/>
                    </a:cubicBezTo>
                    <a:cubicBezTo>
                      <a:pt x="90519" y="103216"/>
                      <a:pt x="90519" y="100699"/>
                      <a:pt x="90103" y="98181"/>
                    </a:cubicBezTo>
                    <a:cubicBezTo>
                      <a:pt x="89273" y="96503"/>
                      <a:pt x="88858" y="93146"/>
                      <a:pt x="89273" y="90629"/>
                    </a:cubicBezTo>
                    <a:cubicBezTo>
                      <a:pt x="89688" y="88111"/>
                      <a:pt x="90519" y="86433"/>
                      <a:pt x="91764" y="84755"/>
                    </a:cubicBezTo>
                    <a:cubicBezTo>
                      <a:pt x="92179" y="83916"/>
                      <a:pt x="92595" y="83916"/>
                      <a:pt x="93010" y="83076"/>
                    </a:cubicBezTo>
                    <a:cubicBezTo>
                      <a:pt x="93425" y="82237"/>
                      <a:pt x="93840" y="80559"/>
                      <a:pt x="94256" y="80559"/>
                    </a:cubicBezTo>
                    <a:cubicBezTo>
                      <a:pt x="95086" y="78881"/>
                      <a:pt x="96332" y="78881"/>
                      <a:pt x="97162" y="77202"/>
                    </a:cubicBezTo>
                    <a:cubicBezTo>
                      <a:pt x="97577" y="76363"/>
                      <a:pt x="97993" y="74685"/>
                      <a:pt x="98823" y="74685"/>
                    </a:cubicBezTo>
                    <a:cubicBezTo>
                      <a:pt x="98823" y="74685"/>
                      <a:pt x="100484" y="74685"/>
                      <a:pt x="100069" y="73006"/>
                    </a:cubicBezTo>
                    <a:cubicBezTo>
                      <a:pt x="100069" y="73006"/>
                      <a:pt x="98823" y="73846"/>
                      <a:pt x="98823" y="73846"/>
                    </a:cubicBezTo>
                    <a:cubicBezTo>
                      <a:pt x="98823" y="73006"/>
                      <a:pt x="99653" y="73846"/>
                      <a:pt x="99238" y="72167"/>
                    </a:cubicBezTo>
                    <a:cubicBezTo>
                      <a:pt x="99238" y="72167"/>
                      <a:pt x="98823" y="71328"/>
                      <a:pt x="99238" y="71328"/>
                    </a:cubicBezTo>
                    <a:cubicBezTo>
                      <a:pt x="99238" y="70489"/>
                      <a:pt x="99238" y="71328"/>
                      <a:pt x="99653" y="70489"/>
                    </a:cubicBezTo>
                    <a:cubicBezTo>
                      <a:pt x="99238" y="71328"/>
                      <a:pt x="100069" y="72167"/>
                      <a:pt x="100069" y="71328"/>
                    </a:cubicBezTo>
                    <a:cubicBezTo>
                      <a:pt x="100484" y="71328"/>
                      <a:pt x="101730" y="69650"/>
                      <a:pt x="101314" y="68811"/>
                    </a:cubicBezTo>
                    <a:cubicBezTo>
                      <a:pt x="101314" y="69650"/>
                      <a:pt x="98823" y="68811"/>
                      <a:pt x="99238" y="67972"/>
                    </a:cubicBezTo>
                    <a:cubicBezTo>
                      <a:pt x="99238" y="67132"/>
                      <a:pt x="99653" y="68811"/>
                      <a:pt x="100069" y="67972"/>
                    </a:cubicBezTo>
                    <a:cubicBezTo>
                      <a:pt x="100069" y="67972"/>
                      <a:pt x="100899" y="67132"/>
                      <a:pt x="100899" y="67132"/>
                    </a:cubicBezTo>
                    <a:cubicBezTo>
                      <a:pt x="100899" y="67132"/>
                      <a:pt x="100484" y="66293"/>
                      <a:pt x="100484" y="65454"/>
                    </a:cubicBezTo>
                    <a:cubicBezTo>
                      <a:pt x="100899" y="64615"/>
                      <a:pt x="100899" y="63776"/>
                      <a:pt x="100069" y="63776"/>
                    </a:cubicBezTo>
                    <a:cubicBezTo>
                      <a:pt x="100069" y="63776"/>
                      <a:pt x="98408" y="62097"/>
                      <a:pt x="98408" y="62097"/>
                    </a:cubicBezTo>
                    <a:cubicBezTo>
                      <a:pt x="98823" y="61258"/>
                      <a:pt x="99238" y="62097"/>
                      <a:pt x="99653" y="62097"/>
                    </a:cubicBezTo>
                    <a:cubicBezTo>
                      <a:pt x="100069" y="61258"/>
                      <a:pt x="99238" y="59580"/>
                      <a:pt x="98823" y="59580"/>
                    </a:cubicBezTo>
                    <a:cubicBezTo>
                      <a:pt x="98408" y="58741"/>
                      <a:pt x="97993" y="57902"/>
                      <a:pt x="97993" y="57062"/>
                    </a:cubicBezTo>
                    <a:cubicBezTo>
                      <a:pt x="97577" y="56223"/>
                      <a:pt x="98823" y="54545"/>
                      <a:pt x="98408" y="53706"/>
                    </a:cubicBezTo>
                    <a:cubicBezTo>
                      <a:pt x="98823" y="54545"/>
                      <a:pt x="98408" y="55384"/>
                      <a:pt x="98408" y="56223"/>
                    </a:cubicBezTo>
                    <a:cubicBezTo>
                      <a:pt x="98408" y="56223"/>
                      <a:pt x="99238" y="57902"/>
                      <a:pt x="99238" y="57902"/>
                    </a:cubicBezTo>
                    <a:cubicBezTo>
                      <a:pt x="100069" y="56223"/>
                      <a:pt x="99238" y="52027"/>
                      <a:pt x="100484" y="51188"/>
                    </a:cubicBezTo>
                    <a:cubicBezTo>
                      <a:pt x="100069" y="51188"/>
                      <a:pt x="100069" y="55384"/>
                      <a:pt x="100484" y="56223"/>
                    </a:cubicBezTo>
                    <a:cubicBezTo>
                      <a:pt x="100484" y="57902"/>
                      <a:pt x="101314" y="57902"/>
                      <a:pt x="101314" y="59580"/>
                    </a:cubicBezTo>
                    <a:cubicBezTo>
                      <a:pt x="101314" y="60419"/>
                      <a:pt x="100069" y="62097"/>
                      <a:pt x="100484" y="62937"/>
                    </a:cubicBezTo>
                    <a:cubicBezTo>
                      <a:pt x="100484" y="62937"/>
                      <a:pt x="102975" y="57902"/>
                      <a:pt x="102560" y="56223"/>
                    </a:cubicBezTo>
                    <a:cubicBezTo>
                      <a:pt x="102560" y="54545"/>
                      <a:pt x="101730" y="53706"/>
                      <a:pt x="101730" y="52027"/>
                    </a:cubicBezTo>
                    <a:cubicBezTo>
                      <a:pt x="101314" y="51188"/>
                      <a:pt x="101730" y="48671"/>
                      <a:pt x="102560" y="49510"/>
                    </a:cubicBezTo>
                    <a:cubicBezTo>
                      <a:pt x="102145" y="48671"/>
                      <a:pt x="101730" y="51188"/>
                      <a:pt x="102145" y="52027"/>
                    </a:cubicBezTo>
                    <a:cubicBezTo>
                      <a:pt x="102975" y="53706"/>
                      <a:pt x="102975" y="54545"/>
                      <a:pt x="103806" y="52027"/>
                    </a:cubicBezTo>
                    <a:cubicBezTo>
                      <a:pt x="104221" y="51188"/>
                      <a:pt x="105051" y="48671"/>
                      <a:pt x="104636" y="46993"/>
                    </a:cubicBezTo>
                    <a:cubicBezTo>
                      <a:pt x="104636" y="46993"/>
                      <a:pt x="104221" y="46153"/>
                      <a:pt x="104636" y="45314"/>
                    </a:cubicBezTo>
                    <a:cubicBezTo>
                      <a:pt x="104636" y="45314"/>
                      <a:pt x="105051" y="43636"/>
                      <a:pt x="105051" y="43636"/>
                    </a:cubicBezTo>
                    <a:cubicBezTo>
                      <a:pt x="105051" y="43636"/>
                      <a:pt x="105051" y="45314"/>
                      <a:pt x="105051" y="45314"/>
                    </a:cubicBezTo>
                    <a:cubicBezTo>
                      <a:pt x="105051" y="45314"/>
                      <a:pt x="107128" y="42797"/>
                      <a:pt x="107958" y="42797"/>
                    </a:cubicBezTo>
                    <a:cubicBezTo>
                      <a:pt x="108373" y="41958"/>
                      <a:pt x="109204" y="42797"/>
                      <a:pt x="109619" y="42797"/>
                    </a:cubicBezTo>
                    <a:cubicBezTo>
                      <a:pt x="110449" y="41958"/>
                      <a:pt x="110034" y="41118"/>
                      <a:pt x="110034" y="40279"/>
                    </a:cubicBezTo>
                    <a:cubicBezTo>
                      <a:pt x="110449" y="40279"/>
                      <a:pt x="110449" y="41958"/>
                      <a:pt x="110865" y="41958"/>
                    </a:cubicBezTo>
                    <a:cubicBezTo>
                      <a:pt x="110865" y="41958"/>
                      <a:pt x="111695" y="41118"/>
                      <a:pt x="111695" y="41118"/>
                    </a:cubicBezTo>
                    <a:cubicBezTo>
                      <a:pt x="112525" y="42797"/>
                      <a:pt x="114186" y="38601"/>
                      <a:pt x="112941" y="38601"/>
                    </a:cubicBezTo>
                    <a:cubicBezTo>
                      <a:pt x="112941" y="38601"/>
                      <a:pt x="112941" y="40279"/>
                      <a:pt x="112525" y="40279"/>
                    </a:cubicBezTo>
                    <a:cubicBezTo>
                      <a:pt x="112110" y="40279"/>
                      <a:pt x="111280" y="36923"/>
                      <a:pt x="111280" y="36923"/>
                    </a:cubicBezTo>
                    <a:cubicBezTo>
                      <a:pt x="111695" y="36083"/>
                      <a:pt x="111280" y="35244"/>
                      <a:pt x="111695" y="34405"/>
                    </a:cubicBezTo>
                    <a:cubicBezTo>
                      <a:pt x="112110" y="32727"/>
                      <a:pt x="112525" y="31048"/>
                      <a:pt x="112941" y="30209"/>
                    </a:cubicBezTo>
                    <a:cubicBezTo>
                      <a:pt x="113356" y="30209"/>
                      <a:pt x="113771" y="29370"/>
                      <a:pt x="113771" y="29370"/>
                    </a:cubicBezTo>
                    <a:cubicBezTo>
                      <a:pt x="114602" y="30209"/>
                      <a:pt x="115017" y="27692"/>
                      <a:pt x="115432" y="26853"/>
                    </a:cubicBezTo>
                    <a:cubicBezTo>
                      <a:pt x="115432" y="26853"/>
                      <a:pt x="116262" y="27692"/>
                      <a:pt x="116678" y="26853"/>
                    </a:cubicBezTo>
                    <a:cubicBezTo>
                      <a:pt x="117508" y="26013"/>
                      <a:pt x="118339" y="26013"/>
                      <a:pt x="118754" y="25174"/>
                    </a:cubicBezTo>
                    <a:cubicBezTo>
                      <a:pt x="119169" y="25174"/>
                      <a:pt x="120000" y="24335"/>
                      <a:pt x="119584" y="23496"/>
                    </a:cubicBezTo>
                    <a:cubicBezTo>
                      <a:pt x="118754" y="21818"/>
                      <a:pt x="118754" y="20979"/>
                      <a:pt x="118339" y="20139"/>
                    </a:cubicBezTo>
                    <a:cubicBezTo>
                      <a:pt x="116678" y="19300"/>
                      <a:pt x="119169" y="11748"/>
                      <a:pt x="116678" y="11748"/>
                    </a:cubicBezTo>
                    <a:cubicBezTo>
                      <a:pt x="116262" y="10909"/>
                      <a:pt x="115847" y="12587"/>
                      <a:pt x="115432" y="11748"/>
                    </a:cubicBezTo>
                    <a:cubicBezTo>
                      <a:pt x="115017" y="10909"/>
                      <a:pt x="115017" y="10069"/>
                      <a:pt x="114602" y="10909"/>
                    </a:cubicBezTo>
                    <a:cubicBezTo>
                      <a:pt x="114186" y="11748"/>
                      <a:pt x="113771" y="13426"/>
                      <a:pt x="113356" y="14265"/>
                    </a:cubicBezTo>
                    <a:cubicBezTo>
                      <a:pt x="112941" y="15104"/>
                      <a:pt x="112941" y="16783"/>
                      <a:pt x="112525" y="17622"/>
                    </a:cubicBezTo>
                    <a:cubicBezTo>
                      <a:pt x="112525" y="19300"/>
                      <a:pt x="112110" y="21818"/>
                      <a:pt x="111280" y="21818"/>
                    </a:cubicBezTo>
                    <a:cubicBezTo>
                      <a:pt x="110449" y="21818"/>
                      <a:pt x="110449" y="23496"/>
                      <a:pt x="109619" y="23496"/>
                    </a:cubicBezTo>
                    <a:cubicBezTo>
                      <a:pt x="107543" y="23496"/>
                      <a:pt x="105467" y="23496"/>
                      <a:pt x="103391" y="23496"/>
                    </a:cubicBezTo>
                    <a:cubicBezTo>
                      <a:pt x="102560" y="23496"/>
                      <a:pt x="102560" y="23496"/>
                      <a:pt x="102145" y="24335"/>
                    </a:cubicBezTo>
                    <a:cubicBezTo>
                      <a:pt x="101730" y="26013"/>
                      <a:pt x="100069" y="27692"/>
                      <a:pt x="100069" y="28531"/>
                    </a:cubicBezTo>
                    <a:cubicBezTo>
                      <a:pt x="100484" y="31048"/>
                      <a:pt x="99238" y="32727"/>
                      <a:pt x="98408" y="32727"/>
                    </a:cubicBezTo>
                    <a:cubicBezTo>
                      <a:pt x="97577" y="32727"/>
                      <a:pt x="97162" y="31888"/>
                      <a:pt x="96332" y="31888"/>
                    </a:cubicBezTo>
                    <a:cubicBezTo>
                      <a:pt x="95501" y="31888"/>
                      <a:pt x="94671" y="32727"/>
                      <a:pt x="94256" y="32727"/>
                    </a:cubicBezTo>
                    <a:cubicBezTo>
                      <a:pt x="94256" y="32727"/>
                      <a:pt x="94256" y="35244"/>
                      <a:pt x="94671" y="35244"/>
                    </a:cubicBezTo>
                    <a:cubicBezTo>
                      <a:pt x="94256" y="36083"/>
                      <a:pt x="93840" y="36923"/>
                      <a:pt x="93010" y="37762"/>
                    </a:cubicBezTo>
                    <a:cubicBezTo>
                      <a:pt x="92179" y="38601"/>
                      <a:pt x="90934" y="40279"/>
                      <a:pt x="89688" y="41118"/>
                    </a:cubicBezTo>
                    <a:cubicBezTo>
                      <a:pt x="88442" y="41958"/>
                      <a:pt x="87197" y="41958"/>
                      <a:pt x="85951" y="41118"/>
                    </a:cubicBezTo>
                    <a:cubicBezTo>
                      <a:pt x="85536" y="40279"/>
                      <a:pt x="85121" y="39440"/>
                      <a:pt x="85536" y="38601"/>
                    </a:cubicBezTo>
                    <a:cubicBezTo>
                      <a:pt x="85536" y="38601"/>
                      <a:pt x="85951" y="36923"/>
                      <a:pt x="86366" y="36923"/>
                    </a:cubicBezTo>
                    <a:cubicBezTo>
                      <a:pt x="86366" y="36923"/>
                      <a:pt x="86366" y="37762"/>
                      <a:pt x="86366" y="38601"/>
                    </a:cubicBezTo>
                    <a:cubicBezTo>
                      <a:pt x="87197" y="35244"/>
                      <a:pt x="87612" y="32727"/>
                      <a:pt x="86782" y="29370"/>
                    </a:cubicBezTo>
                    <a:cubicBezTo>
                      <a:pt x="86366" y="28531"/>
                      <a:pt x="85536" y="30209"/>
                      <a:pt x="85121" y="30209"/>
                    </a:cubicBezTo>
                    <a:cubicBezTo>
                      <a:pt x="84705" y="31048"/>
                      <a:pt x="84705" y="30209"/>
                      <a:pt x="84290" y="30209"/>
                    </a:cubicBezTo>
                    <a:cubicBezTo>
                      <a:pt x="83875" y="29370"/>
                      <a:pt x="84705" y="28531"/>
                      <a:pt x="84705" y="28531"/>
                    </a:cubicBezTo>
                    <a:cubicBezTo>
                      <a:pt x="86366" y="25174"/>
                      <a:pt x="85121" y="21818"/>
                      <a:pt x="83460" y="20979"/>
                    </a:cubicBezTo>
                    <a:cubicBezTo>
                      <a:pt x="82214" y="20139"/>
                      <a:pt x="82214" y="20979"/>
                      <a:pt x="81384" y="21818"/>
                    </a:cubicBezTo>
                    <a:cubicBezTo>
                      <a:pt x="81384" y="22657"/>
                      <a:pt x="81384" y="22657"/>
                      <a:pt x="81384" y="23496"/>
                    </a:cubicBezTo>
                    <a:cubicBezTo>
                      <a:pt x="81384" y="24335"/>
                      <a:pt x="80553" y="23496"/>
                      <a:pt x="80138" y="23496"/>
                    </a:cubicBezTo>
                    <a:cubicBezTo>
                      <a:pt x="79723" y="23496"/>
                      <a:pt x="78892" y="30209"/>
                      <a:pt x="78892" y="31048"/>
                    </a:cubicBezTo>
                    <a:cubicBezTo>
                      <a:pt x="79307" y="35244"/>
                      <a:pt x="79723" y="37762"/>
                      <a:pt x="78062" y="39440"/>
                    </a:cubicBezTo>
                    <a:cubicBezTo>
                      <a:pt x="78062" y="40279"/>
                      <a:pt x="76816" y="41118"/>
                      <a:pt x="76816" y="40279"/>
                    </a:cubicBezTo>
                    <a:cubicBezTo>
                      <a:pt x="76816" y="38601"/>
                      <a:pt x="76401" y="36923"/>
                      <a:pt x="76401" y="35244"/>
                    </a:cubicBezTo>
                    <a:cubicBezTo>
                      <a:pt x="76401" y="34405"/>
                      <a:pt x="77231" y="25174"/>
                      <a:pt x="77231" y="25174"/>
                    </a:cubicBezTo>
                    <a:cubicBezTo>
                      <a:pt x="76816" y="25174"/>
                      <a:pt x="75986" y="26853"/>
                      <a:pt x="75986" y="26013"/>
                    </a:cubicBezTo>
                    <a:cubicBezTo>
                      <a:pt x="75986" y="25174"/>
                      <a:pt x="77231" y="21818"/>
                      <a:pt x="77647" y="20979"/>
                    </a:cubicBezTo>
                    <a:cubicBezTo>
                      <a:pt x="78062" y="19300"/>
                      <a:pt x="79307" y="19300"/>
                      <a:pt x="80138" y="18461"/>
                    </a:cubicBezTo>
                    <a:cubicBezTo>
                      <a:pt x="81384" y="18461"/>
                      <a:pt x="82629" y="19300"/>
                      <a:pt x="83875" y="19300"/>
                    </a:cubicBezTo>
                    <a:cubicBezTo>
                      <a:pt x="85121" y="19300"/>
                      <a:pt x="83460" y="16783"/>
                      <a:pt x="82629" y="16783"/>
                    </a:cubicBezTo>
                    <a:cubicBezTo>
                      <a:pt x="81799" y="16783"/>
                      <a:pt x="82629" y="14265"/>
                      <a:pt x="81384" y="14265"/>
                    </a:cubicBezTo>
                    <a:cubicBezTo>
                      <a:pt x="80553" y="15104"/>
                      <a:pt x="79723" y="15944"/>
                      <a:pt x="78477" y="15944"/>
                    </a:cubicBezTo>
                    <a:cubicBezTo>
                      <a:pt x="77647" y="15944"/>
                      <a:pt x="76816" y="14265"/>
                      <a:pt x="75986" y="13426"/>
                    </a:cubicBezTo>
                    <a:cubicBezTo>
                      <a:pt x="75986" y="13426"/>
                      <a:pt x="74740" y="13426"/>
                      <a:pt x="75155" y="12587"/>
                    </a:cubicBezTo>
                    <a:cubicBezTo>
                      <a:pt x="75570" y="12587"/>
                      <a:pt x="76401" y="11748"/>
                      <a:pt x="76401" y="10909"/>
                    </a:cubicBezTo>
                    <a:cubicBezTo>
                      <a:pt x="76401" y="10909"/>
                      <a:pt x="73079" y="13426"/>
                      <a:pt x="72664" y="13426"/>
                    </a:cubicBezTo>
                    <a:cubicBezTo>
                      <a:pt x="72249" y="14265"/>
                      <a:pt x="71833" y="15104"/>
                      <a:pt x="71418" y="15104"/>
                    </a:cubicBezTo>
                    <a:cubicBezTo>
                      <a:pt x="70588" y="15104"/>
                      <a:pt x="70588" y="13426"/>
                      <a:pt x="69757" y="13426"/>
                    </a:cubicBezTo>
                    <a:cubicBezTo>
                      <a:pt x="69342" y="13426"/>
                      <a:pt x="67266" y="15104"/>
                      <a:pt x="68512" y="12587"/>
                    </a:cubicBezTo>
                    <a:cubicBezTo>
                      <a:pt x="69757" y="10909"/>
                      <a:pt x="71003" y="9230"/>
                      <a:pt x="72249" y="7552"/>
                    </a:cubicBezTo>
                    <a:cubicBezTo>
                      <a:pt x="71418" y="7552"/>
                      <a:pt x="70588" y="5874"/>
                      <a:pt x="69757" y="7552"/>
                    </a:cubicBezTo>
                    <a:cubicBezTo>
                      <a:pt x="68512" y="8391"/>
                      <a:pt x="68096" y="6713"/>
                      <a:pt x="66851" y="5874"/>
                    </a:cubicBezTo>
                    <a:cubicBezTo>
                      <a:pt x="66435" y="5874"/>
                      <a:pt x="66020" y="5034"/>
                      <a:pt x="65605" y="4195"/>
                    </a:cubicBezTo>
                    <a:cubicBezTo>
                      <a:pt x="64775" y="4195"/>
                      <a:pt x="64359" y="5034"/>
                      <a:pt x="63529" y="5034"/>
                    </a:cubicBezTo>
                    <a:cubicBezTo>
                      <a:pt x="63114" y="4195"/>
                      <a:pt x="62283" y="4195"/>
                      <a:pt x="62283" y="2517"/>
                    </a:cubicBezTo>
                    <a:cubicBezTo>
                      <a:pt x="62283" y="2517"/>
                      <a:pt x="61453" y="0"/>
                      <a:pt x="61453" y="839"/>
                    </a:cubicBezTo>
                    <a:cubicBezTo>
                      <a:pt x="61038" y="839"/>
                      <a:pt x="61453" y="3356"/>
                      <a:pt x="61038" y="3356"/>
                    </a:cubicBezTo>
                    <a:cubicBezTo>
                      <a:pt x="60622" y="3356"/>
                      <a:pt x="60207" y="3356"/>
                      <a:pt x="60207" y="3356"/>
                    </a:cubicBezTo>
                    <a:cubicBezTo>
                      <a:pt x="58961" y="3356"/>
                      <a:pt x="57716" y="3356"/>
                      <a:pt x="56470" y="3356"/>
                    </a:cubicBezTo>
                    <a:cubicBezTo>
                      <a:pt x="51903" y="3356"/>
                      <a:pt x="47750" y="3356"/>
                      <a:pt x="43598" y="3356"/>
                    </a:cubicBezTo>
                    <a:cubicBezTo>
                      <a:pt x="33217" y="3356"/>
                      <a:pt x="22837" y="3356"/>
                      <a:pt x="12456" y="3356"/>
                    </a:cubicBezTo>
                    <a:cubicBezTo>
                      <a:pt x="9965" y="3356"/>
                      <a:pt x="7058" y="3356"/>
                      <a:pt x="4567" y="3356"/>
                    </a:cubicBezTo>
                    <a:cubicBezTo>
                      <a:pt x="4982" y="4195"/>
                      <a:pt x="5813" y="10909"/>
                      <a:pt x="4567" y="11748"/>
                    </a:cubicBezTo>
                    <a:cubicBezTo>
                      <a:pt x="3737" y="11748"/>
                      <a:pt x="3321" y="11748"/>
                      <a:pt x="4152" y="10069"/>
                    </a:cubicBezTo>
                    <a:cubicBezTo>
                      <a:pt x="4982" y="7552"/>
                      <a:pt x="3737" y="7552"/>
                      <a:pt x="2906" y="7552"/>
                    </a:cubicBezTo>
                    <a:cubicBezTo>
                      <a:pt x="2076" y="7552"/>
                      <a:pt x="830" y="5874"/>
                      <a:pt x="415" y="5874"/>
                    </a:cubicBezTo>
                    <a:cubicBezTo>
                      <a:pt x="0" y="6713"/>
                      <a:pt x="830" y="10069"/>
                      <a:pt x="830" y="10069"/>
                    </a:cubicBezTo>
                    <a:cubicBezTo>
                      <a:pt x="1245" y="12587"/>
                      <a:pt x="1660" y="13426"/>
                      <a:pt x="1660" y="15104"/>
                    </a:cubicBezTo>
                    <a:cubicBezTo>
                      <a:pt x="1660" y="15944"/>
                      <a:pt x="2906" y="17622"/>
                      <a:pt x="3321" y="17622"/>
                    </a:cubicBezTo>
                    <a:cubicBezTo>
                      <a:pt x="2906" y="17622"/>
                      <a:pt x="2491" y="17622"/>
                      <a:pt x="2076" y="18461"/>
                    </a:cubicBezTo>
                    <a:cubicBezTo>
                      <a:pt x="1660" y="19300"/>
                      <a:pt x="2076" y="20139"/>
                      <a:pt x="2076" y="20979"/>
                    </a:cubicBezTo>
                    <a:cubicBezTo>
                      <a:pt x="2076" y="23496"/>
                      <a:pt x="2076" y="25174"/>
                      <a:pt x="1660" y="26853"/>
                    </a:cubicBezTo>
                    <a:cubicBezTo>
                      <a:pt x="1660" y="29370"/>
                      <a:pt x="1245" y="31048"/>
                      <a:pt x="830" y="33566"/>
                    </a:cubicBezTo>
                    <a:cubicBezTo>
                      <a:pt x="415" y="36083"/>
                      <a:pt x="1245" y="38601"/>
                      <a:pt x="1660" y="41118"/>
                    </a:cubicBezTo>
                    <a:cubicBezTo>
                      <a:pt x="1660" y="43636"/>
                      <a:pt x="1245" y="45314"/>
                      <a:pt x="1245" y="46993"/>
                    </a:cubicBezTo>
                    <a:cubicBezTo>
                      <a:pt x="1245" y="47832"/>
                      <a:pt x="1660" y="48671"/>
                      <a:pt x="1660" y="49510"/>
                    </a:cubicBezTo>
                    <a:cubicBezTo>
                      <a:pt x="2076" y="50349"/>
                      <a:pt x="2076" y="52027"/>
                      <a:pt x="2076" y="52867"/>
                    </a:cubicBezTo>
                    <a:cubicBezTo>
                      <a:pt x="2491" y="55384"/>
                      <a:pt x="3737" y="56223"/>
                      <a:pt x="4152" y="58741"/>
                    </a:cubicBezTo>
                    <a:cubicBezTo>
                      <a:pt x="4567" y="60419"/>
                      <a:pt x="4567" y="59580"/>
                      <a:pt x="4982" y="58741"/>
                    </a:cubicBezTo>
                    <a:cubicBezTo>
                      <a:pt x="4982" y="58741"/>
                      <a:pt x="5397" y="61258"/>
                      <a:pt x="5397" y="61258"/>
                    </a:cubicBezTo>
                    <a:cubicBezTo>
                      <a:pt x="5397" y="61258"/>
                      <a:pt x="4982" y="60419"/>
                      <a:pt x="4982" y="61258"/>
                    </a:cubicBezTo>
                    <a:cubicBezTo>
                      <a:pt x="4982" y="62097"/>
                      <a:pt x="4982" y="62937"/>
                      <a:pt x="5397" y="63776"/>
                    </a:cubicBezTo>
                    <a:cubicBezTo>
                      <a:pt x="5813" y="63776"/>
                      <a:pt x="5813" y="63776"/>
                      <a:pt x="6228" y="64615"/>
                    </a:cubicBezTo>
                    <a:cubicBezTo>
                      <a:pt x="6643" y="65454"/>
                      <a:pt x="5813" y="66293"/>
                      <a:pt x="6228" y="67132"/>
                    </a:cubicBezTo>
                    <a:cubicBezTo>
                      <a:pt x="7058" y="69650"/>
                      <a:pt x="8719" y="71328"/>
                      <a:pt x="8719" y="73846"/>
                    </a:cubicBezTo>
                    <a:cubicBezTo>
                      <a:pt x="9134" y="75524"/>
                      <a:pt x="9550" y="75524"/>
                      <a:pt x="10380" y="76363"/>
                    </a:cubicBezTo>
                    <a:cubicBezTo>
                      <a:pt x="11211" y="77202"/>
                      <a:pt x="12041" y="78041"/>
                      <a:pt x="12871" y="78041"/>
                    </a:cubicBezTo>
                    <a:cubicBezTo>
                      <a:pt x="13702" y="78041"/>
                      <a:pt x="14532" y="79720"/>
                      <a:pt x="14948" y="80559"/>
                    </a:cubicBezTo>
                    <a:cubicBezTo>
                      <a:pt x="14948" y="81398"/>
                      <a:pt x="16608" y="84755"/>
                      <a:pt x="16193" y="85594"/>
                    </a:cubicBezTo>
                    <a:cubicBezTo>
                      <a:pt x="17854" y="84755"/>
                      <a:pt x="19930" y="83916"/>
                      <a:pt x="21591" y="84755"/>
                    </a:cubicBezTo>
                    <a:cubicBezTo>
                      <a:pt x="24083" y="86433"/>
                      <a:pt x="26159" y="88951"/>
                      <a:pt x="28235" y="9062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8" name="Shape 2519">
                <a:extLst>
                  <a:ext uri="{FF2B5EF4-FFF2-40B4-BE49-F238E27FC236}">
                    <a16:creationId xmlns:a16="http://schemas.microsoft.com/office/drawing/2014/main" id="{C4C51C5A-6E5E-41F6-9A88-D408A636171F}"/>
                  </a:ext>
                </a:extLst>
              </p:cNvPr>
              <p:cNvSpPr/>
              <p:nvPr/>
            </p:nvSpPr>
            <p:spPr>
              <a:xfrm>
                <a:off x="5887766" y="5630428"/>
                <a:ext cx="3594969" cy="1848258"/>
              </a:xfrm>
              <a:custGeom>
                <a:avLst/>
                <a:gdLst/>
                <a:ahLst/>
                <a:cxnLst/>
                <a:rect l="0" t="0" r="0" b="0"/>
                <a:pathLst>
                  <a:path w="120000" h="120000" extrusionOk="0">
                    <a:moveTo>
                      <a:pt x="64355" y="95342"/>
                    </a:moveTo>
                    <a:cubicBezTo>
                      <a:pt x="64355" y="95342"/>
                      <a:pt x="64355" y="94794"/>
                      <a:pt x="64355" y="94794"/>
                    </a:cubicBezTo>
                    <a:cubicBezTo>
                      <a:pt x="64355" y="94794"/>
                      <a:pt x="65199" y="96986"/>
                      <a:pt x="65199" y="96986"/>
                    </a:cubicBezTo>
                    <a:cubicBezTo>
                      <a:pt x="65761" y="96986"/>
                      <a:pt x="66042" y="97534"/>
                      <a:pt x="66323" y="97534"/>
                    </a:cubicBezTo>
                    <a:cubicBezTo>
                      <a:pt x="66885" y="97534"/>
                      <a:pt x="66885" y="96986"/>
                      <a:pt x="67166" y="97534"/>
                    </a:cubicBezTo>
                    <a:cubicBezTo>
                      <a:pt x="68009" y="98082"/>
                      <a:pt x="68571" y="98630"/>
                      <a:pt x="69133" y="99178"/>
                    </a:cubicBezTo>
                    <a:cubicBezTo>
                      <a:pt x="69414" y="99726"/>
                      <a:pt x="69695" y="99178"/>
                      <a:pt x="69976" y="99178"/>
                    </a:cubicBezTo>
                    <a:cubicBezTo>
                      <a:pt x="70257" y="98630"/>
                      <a:pt x="70538" y="98630"/>
                      <a:pt x="70819" y="98630"/>
                    </a:cubicBezTo>
                    <a:cubicBezTo>
                      <a:pt x="71100" y="98630"/>
                      <a:pt x="71381" y="99178"/>
                      <a:pt x="71662" y="99178"/>
                    </a:cubicBezTo>
                    <a:cubicBezTo>
                      <a:pt x="72224" y="99178"/>
                      <a:pt x="72505" y="98630"/>
                      <a:pt x="72786" y="98082"/>
                    </a:cubicBezTo>
                    <a:cubicBezTo>
                      <a:pt x="73067" y="97534"/>
                      <a:pt x="73911" y="95890"/>
                      <a:pt x="74192" y="95890"/>
                    </a:cubicBezTo>
                    <a:cubicBezTo>
                      <a:pt x="74192" y="95890"/>
                      <a:pt x="74473" y="96438"/>
                      <a:pt x="74473" y="96438"/>
                    </a:cubicBezTo>
                    <a:cubicBezTo>
                      <a:pt x="75035" y="96438"/>
                      <a:pt x="75316" y="96438"/>
                      <a:pt x="75597" y="96438"/>
                    </a:cubicBezTo>
                    <a:cubicBezTo>
                      <a:pt x="76721" y="96438"/>
                      <a:pt x="76440" y="98082"/>
                      <a:pt x="77002" y="99178"/>
                    </a:cubicBezTo>
                    <a:cubicBezTo>
                      <a:pt x="77283" y="99726"/>
                      <a:pt x="78407" y="99178"/>
                      <a:pt x="78407" y="100273"/>
                    </a:cubicBezTo>
                    <a:cubicBezTo>
                      <a:pt x="78407" y="101369"/>
                      <a:pt x="78688" y="102465"/>
                      <a:pt x="78969" y="103561"/>
                    </a:cubicBezTo>
                    <a:cubicBezTo>
                      <a:pt x="78969" y="106301"/>
                      <a:pt x="81498" y="105753"/>
                      <a:pt x="82341" y="106301"/>
                    </a:cubicBezTo>
                    <a:cubicBezTo>
                      <a:pt x="82903" y="106301"/>
                      <a:pt x="83747" y="106301"/>
                      <a:pt x="84028" y="106849"/>
                    </a:cubicBezTo>
                    <a:cubicBezTo>
                      <a:pt x="84309" y="107397"/>
                      <a:pt x="85714" y="110136"/>
                      <a:pt x="85433" y="110136"/>
                    </a:cubicBezTo>
                    <a:cubicBezTo>
                      <a:pt x="84871" y="111232"/>
                      <a:pt x="84871" y="111232"/>
                      <a:pt x="84309" y="110684"/>
                    </a:cubicBezTo>
                    <a:cubicBezTo>
                      <a:pt x="84028" y="110136"/>
                      <a:pt x="82903" y="109041"/>
                      <a:pt x="82903" y="109041"/>
                    </a:cubicBezTo>
                    <a:cubicBezTo>
                      <a:pt x="82903" y="109589"/>
                      <a:pt x="83747" y="110136"/>
                      <a:pt x="83466" y="111232"/>
                    </a:cubicBezTo>
                    <a:cubicBezTo>
                      <a:pt x="83185" y="111780"/>
                      <a:pt x="82903" y="112876"/>
                      <a:pt x="82903" y="113424"/>
                    </a:cubicBezTo>
                    <a:cubicBezTo>
                      <a:pt x="82903" y="114520"/>
                      <a:pt x="82903" y="115068"/>
                      <a:pt x="82622" y="115616"/>
                    </a:cubicBezTo>
                    <a:cubicBezTo>
                      <a:pt x="82622" y="116164"/>
                      <a:pt x="81779" y="116712"/>
                      <a:pt x="81779" y="116712"/>
                    </a:cubicBezTo>
                    <a:cubicBezTo>
                      <a:pt x="81498" y="117260"/>
                      <a:pt x="80655" y="120000"/>
                      <a:pt x="81779" y="120000"/>
                    </a:cubicBezTo>
                    <a:cubicBezTo>
                      <a:pt x="82060" y="120000"/>
                      <a:pt x="82622" y="118904"/>
                      <a:pt x="83185" y="117808"/>
                    </a:cubicBezTo>
                    <a:cubicBezTo>
                      <a:pt x="83747" y="117260"/>
                      <a:pt x="84028" y="118356"/>
                      <a:pt x="84590" y="117808"/>
                    </a:cubicBezTo>
                    <a:cubicBezTo>
                      <a:pt x="85433" y="117808"/>
                      <a:pt x="85714" y="116712"/>
                      <a:pt x="86557" y="116712"/>
                    </a:cubicBezTo>
                    <a:cubicBezTo>
                      <a:pt x="86557" y="115616"/>
                      <a:pt x="86557" y="116164"/>
                      <a:pt x="85995" y="115616"/>
                    </a:cubicBezTo>
                    <a:cubicBezTo>
                      <a:pt x="85714" y="115616"/>
                      <a:pt x="85714" y="115068"/>
                      <a:pt x="85995" y="115068"/>
                    </a:cubicBezTo>
                    <a:cubicBezTo>
                      <a:pt x="86276" y="113972"/>
                      <a:pt x="86557" y="113424"/>
                      <a:pt x="87400" y="113424"/>
                    </a:cubicBezTo>
                    <a:cubicBezTo>
                      <a:pt x="87681" y="113424"/>
                      <a:pt x="88524" y="112328"/>
                      <a:pt x="89086" y="112876"/>
                    </a:cubicBezTo>
                    <a:cubicBezTo>
                      <a:pt x="89648" y="113424"/>
                      <a:pt x="89929" y="111232"/>
                      <a:pt x="90491" y="112876"/>
                    </a:cubicBezTo>
                    <a:cubicBezTo>
                      <a:pt x="91053" y="111780"/>
                      <a:pt x="91334" y="111232"/>
                      <a:pt x="91896" y="110136"/>
                    </a:cubicBezTo>
                    <a:cubicBezTo>
                      <a:pt x="92459" y="109589"/>
                      <a:pt x="92740" y="109589"/>
                      <a:pt x="93302" y="109589"/>
                    </a:cubicBezTo>
                    <a:cubicBezTo>
                      <a:pt x="94145" y="109589"/>
                      <a:pt x="95269" y="109589"/>
                      <a:pt x="96112" y="109589"/>
                    </a:cubicBezTo>
                    <a:cubicBezTo>
                      <a:pt x="96955" y="109589"/>
                      <a:pt x="97236" y="110136"/>
                      <a:pt x="97517" y="109041"/>
                    </a:cubicBezTo>
                    <a:cubicBezTo>
                      <a:pt x="97798" y="108493"/>
                      <a:pt x="98079" y="109041"/>
                      <a:pt x="98360" y="108493"/>
                    </a:cubicBezTo>
                    <a:cubicBezTo>
                      <a:pt x="98641" y="107397"/>
                      <a:pt x="98922" y="106849"/>
                      <a:pt x="98922" y="105753"/>
                    </a:cubicBezTo>
                    <a:cubicBezTo>
                      <a:pt x="99203" y="104657"/>
                      <a:pt x="99203" y="104109"/>
                      <a:pt x="99484" y="103013"/>
                    </a:cubicBezTo>
                    <a:cubicBezTo>
                      <a:pt x="99765" y="102465"/>
                      <a:pt x="100046" y="101917"/>
                      <a:pt x="100327" y="101369"/>
                    </a:cubicBezTo>
                    <a:cubicBezTo>
                      <a:pt x="100608" y="100821"/>
                      <a:pt x="100889" y="102465"/>
                      <a:pt x="101451" y="101917"/>
                    </a:cubicBezTo>
                    <a:cubicBezTo>
                      <a:pt x="102014" y="100821"/>
                      <a:pt x="102576" y="102465"/>
                      <a:pt x="102576" y="103561"/>
                    </a:cubicBezTo>
                    <a:cubicBezTo>
                      <a:pt x="102576" y="104109"/>
                      <a:pt x="102295" y="107397"/>
                      <a:pt x="102857" y="107397"/>
                    </a:cubicBezTo>
                    <a:cubicBezTo>
                      <a:pt x="103138" y="107945"/>
                      <a:pt x="103419" y="109041"/>
                      <a:pt x="103700" y="110136"/>
                    </a:cubicBezTo>
                    <a:cubicBezTo>
                      <a:pt x="103981" y="109041"/>
                      <a:pt x="107072" y="107397"/>
                      <a:pt x="107072" y="107397"/>
                    </a:cubicBezTo>
                    <a:cubicBezTo>
                      <a:pt x="107072" y="106849"/>
                      <a:pt x="106791" y="106849"/>
                      <a:pt x="106791" y="106301"/>
                    </a:cubicBezTo>
                    <a:cubicBezTo>
                      <a:pt x="106791" y="106301"/>
                      <a:pt x="107353" y="107397"/>
                      <a:pt x="107353" y="107397"/>
                    </a:cubicBezTo>
                    <a:cubicBezTo>
                      <a:pt x="107353" y="107945"/>
                      <a:pt x="106791" y="107945"/>
                      <a:pt x="106791" y="107945"/>
                    </a:cubicBezTo>
                    <a:cubicBezTo>
                      <a:pt x="106791" y="107945"/>
                      <a:pt x="108477" y="108493"/>
                      <a:pt x="108477" y="108493"/>
                    </a:cubicBezTo>
                    <a:cubicBezTo>
                      <a:pt x="108477" y="108493"/>
                      <a:pt x="108477" y="108493"/>
                      <a:pt x="108477" y="108493"/>
                    </a:cubicBezTo>
                    <a:cubicBezTo>
                      <a:pt x="108477" y="108493"/>
                      <a:pt x="108477" y="109041"/>
                      <a:pt x="108477" y="109041"/>
                    </a:cubicBezTo>
                    <a:cubicBezTo>
                      <a:pt x="108196" y="109041"/>
                      <a:pt x="107915" y="109041"/>
                      <a:pt x="107634" y="109589"/>
                    </a:cubicBezTo>
                    <a:cubicBezTo>
                      <a:pt x="107634" y="110136"/>
                      <a:pt x="107353" y="108493"/>
                      <a:pt x="107353" y="108493"/>
                    </a:cubicBezTo>
                    <a:cubicBezTo>
                      <a:pt x="107072" y="108493"/>
                      <a:pt x="107072" y="109041"/>
                      <a:pt x="107072" y="109041"/>
                    </a:cubicBezTo>
                    <a:cubicBezTo>
                      <a:pt x="107072" y="109041"/>
                      <a:pt x="107072" y="108493"/>
                      <a:pt x="106791" y="109041"/>
                    </a:cubicBezTo>
                    <a:cubicBezTo>
                      <a:pt x="106510" y="109589"/>
                      <a:pt x="106229" y="109589"/>
                      <a:pt x="105948" y="110136"/>
                    </a:cubicBezTo>
                    <a:cubicBezTo>
                      <a:pt x="105386" y="110684"/>
                      <a:pt x="104262" y="112328"/>
                      <a:pt x="104824" y="113972"/>
                    </a:cubicBezTo>
                    <a:cubicBezTo>
                      <a:pt x="105667" y="115068"/>
                      <a:pt x="106229" y="113972"/>
                      <a:pt x="106510" y="113424"/>
                    </a:cubicBezTo>
                    <a:cubicBezTo>
                      <a:pt x="106791" y="112876"/>
                      <a:pt x="107915" y="111232"/>
                      <a:pt x="107915" y="110684"/>
                    </a:cubicBezTo>
                    <a:cubicBezTo>
                      <a:pt x="107915" y="111232"/>
                      <a:pt x="108477" y="111780"/>
                      <a:pt x="108758" y="111232"/>
                    </a:cubicBezTo>
                    <a:cubicBezTo>
                      <a:pt x="108758" y="110684"/>
                      <a:pt x="109601" y="110136"/>
                      <a:pt x="109882" y="110136"/>
                    </a:cubicBezTo>
                    <a:cubicBezTo>
                      <a:pt x="110444" y="109589"/>
                      <a:pt x="111007" y="109041"/>
                      <a:pt x="111569" y="109041"/>
                    </a:cubicBezTo>
                    <a:cubicBezTo>
                      <a:pt x="111850" y="109041"/>
                      <a:pt x="111850" y="109041"/>
                      <a:pt x="111850" y="108493"/>
                    </a:cubicBezTo>
                    <a:cubicBezTo>
                      <a:pt x="111569" y="107945"/>
                      <a:pt x="111850" y="107945"/>
                      <a:pt x="111850" y="107945"/>
                    </a:cubicBezTo>
                    <a:cubicBezTo>
                      <a:pt x="111850" y="107397"/>
                      <a:pt x="111288" y="107945"/>
                      <a:pt x="111007" y="107397"/>
                    </a:cubicBezTo>
                    <a:cubicBezTo>
                      <a:pt x="110725" y="107397"/>
                      <a:pt x="111007" y="106301"/>
                      <a:pt x="110444" y="107397"/>
                    </a:cubicBezTo>
                    <a:cubicBezTo>
                      <a:pt x="109882" y="107945"/>
                      <a:pt x="108758" y="107397"/>
                      <a:pt x="108196" y="106849"/>
                    </a:cubicBezTo>
                    <a:cubicBezTo>
                      <a:pt x="107915" y="106849"/>
                      <a:pt x="108196" y="105753"/>
                      <a:pt x="107915" y="105753"/>
                    </a:cubicBezTo>
                    <a:cubicBezTo>
                      <a:pt x="107915" y="105753"/>
                      <a:pt x="107353" y="105753"/>
                      <a:pt x="107072" y="105205"/>
                    </a:cubicBezTo>
                    <a:cubicBezTo>
                      <a:pt x="106791" y="105205"/>
                      <a:pt x="106791" y="103561"/>
                      <a:pt x="106791" y="103013"/>
                    </a:cubicBezTo>
                    <a:cubicBezTo>
                      <a:pt x="106791" y="102465"/>
                      <a:pt x="106229" y="103013"/>
                      <a:pt x="105948" y="102465"/>
                    </a:cubicBezTo>
                    <a:cubicBezTo>
                      <a:pt x="105948" y="102465"/>
                      <a:pt x="106510" y="101369"/>
                      <a:pt x="106510" y="101369"/>
                    </a:cubicBezTo>
                    <a:cubicBezTo>
                      <a:pt x="106791" y="100821"/>
                      <a:pt x="106791" y="99178"/>
                      <a:pt x="106229" y="99178"/>
                    </a:cubicBezTo>
                    <a:cubicBezTo>
                      <a:pt x="106229" y="99178"/>
                      <a:pt x="105667" y="101369"/>
                      <a:pt x="105386" y="100273"/>
                    </a:cubicBezTo>
                    <a:cubicBezTo>
                      <a:pt x="105386" y="99178"/>
                      <a:pt x="105105" y="99726"/>
                      <a:pt x="104824" y="99178"/>
                    </a:cubicBezTo>
                    <a:cubicBezTo>
                      <a:pt x="104824" y="98630"/>
                      <a:pt x="105667" y="99178"/>
                      <a:pt x="105667" y="99178"/>
                    </a:cubicBezTo>
                    <a:cubicBezTo>
                      <a:pt x="106229" y="99178"/>
                      <a:pt x="106510" y="98630"/>
                      <a:pt x="106791" y="98630"/>
                    </a:cubicBezTo>
                    <a:cubicBezTo>
                      <a:pt x="107072" y="98082"/>
                      <a:pt x="107353" y="98082"/>
                      <a:pt x="107634" y="98082"/>
                    </a:cubicBezTo>
                    <a:cubicBezTo>
                      <a:pt x="107915" y="97534"/>
                      <a:pt x="107353" y="96438"/>
                      <a:pt x="107353" y="96438"/>
                    </a:cubicBezTo>
                    <a:cubicBezTo>
                      <a:pt x="107353" y="96438"/>
                      <a:pt x="107634" y="96438"/>
                      <a:pt x="107634" y="96438"/>
                    </a:cubicBezTo>
                    <a:cubicBezTo>
                      <a:pt x="107634" y="96438"/>
                      <a:pt x="106510" y="95342"/>
                      <a:pt x="106510" y="95342"/>
                    </a:cubicBezTo>
                    <a:cubicBezTo>
                      <a:pt x="105948" y="94794"/>
                      <a:pt x="105386" y="94794"/>
                      <a:pt x="104824" y="95342"/>
                    </a:cubicBezTo>
                    <a:cubicBezTo>
                      <a:pt x="103700" y="95890"/>
                      <a:pt x="102857" y="96438"/>
                      <a:pt x="102014" y="97534"/>
                    </a:cubicBezTo>
                    <a:cubicBezTo>
                      <a:pt x="101170" y="98082"/>
                      <a:pt x="100608" y="99178"/>
                      <a:pt x="99765" y="100273"/>
                    </a:cubicBezTo>
                    <a:cubicBezTo>
                      <a:pt x="99484" y="100821"/>
                      <a:pt x="99203" y="101369"/>
                      <a:pt x="98922" y="102465"/>
                    </a:cubicBezTo>
                    <a:cubicBezTo>
                      <a:pt x="98922" y="102465"/>
                      <a:pt x="97798" y="103561"/>
                      <a:pt x="97798" y="103561"/>
                    </a:cubicBezTo>
                    <a:cubicBezTo>
                      <a:pt x="97798" y="103013"/>
                      <a:pt x="99203" y="100821"/>
                      <a:pt x="99484" y="100273"/>
                    </a:cubicBezTo>
                    <a:cubicBezTo>
                      <a:pt x="99484" y="99726"/>
                      <a:pt x="99765" y="99178"/>
                      <a:pt x="99484" y="98630"/>
                    </a:cubicBezTo>
                    <a:cubicBezTo>
                      <a:pt x="99203" y="98630"/>
                      <a:pt x="98641" y="98082"/>
                      <a:pt x="98360" y="98082"/>
                    </a:cubicBezTo>
                    <a:cubicBezTo>
                      <a:pt x="98641" y="98082"/>
                      <a:pt x="99203" y="98630"/>
                      <a:pt x="99484" y="98630"/>
                    </a:cubicBezTo>
                    <a:cubicBezTo>
                      <a:pt x="100046" y="99178"/>
                      <a:pt x="100608" y="97534"/>
                      <a:pt x="100889" y="96986"/>
                    </a:cubicBezTo>
                    <a:cubicBezTo>
                      <a:pt x="101170" y="96438"/>
                      <a:pt x="101451" y="95342"/>
                      <a:pt x="102014" y="94794"/>
                    </a:cubicBezTo>
                    <a:cubicBezTo>
                      <a:pt x="102576" y="94794"/>
                      <a:pt x="103138" y="95342"/>
                      <a:pt x="103419" y="94246"/>
                    </a:cubicBezTo>
                    <a:cubicBezTo>
                      <a:pt x="103700" y="92054"/>
                      <a:pt x="104262" y="91506"/>
                      <a:pt x="105386" y="91506"/>
                    </a:cubicBezTo>
                    <a:cubicBezTo>
                      <a:pt x="106510" y="91506"/>
                      <a:pt x="107634" y="91506"/>
                      <a:pt x="108758" y="91506"/>
                    </a:cubicBezTo>
                    <a:cubicBezTo>
                      <a:pt x="110725" y="91506"/>
                      <a:pt x="113536" y="92602"/>
                      <a:pt x="114941" y="89315"/>
                    </a:cubicBezTo>
                    <a:cubicBezTo>
                      <a:pt x="115503" y="88219"/>
                      <a:pt x="115784" y="87671"/>
                      <a:pt x="116346" y="87671"/>
                    </a:cubicBezTo>
                    <a:cubicBezTo>
                      <a:pt x="116908" y="87671"/>
                      <a:pt x="117470" y="87671"/>
                      <a:pt x="118313" y="86575"/>
                    </a:cubicBezTo>
                    <a:cubicBezTo>
                      <a:pt x="118594" y="86575"/>
                      <a:pt x="119437" y="85479"/>
                      <a:pt x="119437" y="84931"/>
                    </a:cubicBezTo>
                    <a:cubicBezTo>
                      <a:pt x="120000" y="83287"/>
                      <a:pt x="118594" y="83835"/>
                      <a:pt x="118594" y="83287"/>
                    </a:cubicBezTo>
                    <a:cubicBezTo>
                      <a:pt x="118594" y="82739"/>
                      <a:pt x="119156" y="82739"/>
                      <a:pt x="119156" y="82739"/>
                    </a:cubicBezTo>
                    <a:cubicBezTo>
                      <a:pt x="119437" y="82191"/>
                      <a:pt x="119156" y="81643"/>
                      <a:pt x="119156" y="81095"/>
                    </a:cubicBezTo>
                    <a:cubicBezTo>
                      <a:pt x="119156" y="81095"/>
                      <a:pt x="119437" y="80547"/>
                      <a:pt x="119437" y="80547"/>
                    </a:cubicBezTo>
                    <a:cubicBezTo>
                      <a:pt x="119437" y="80000"/>
                      <a:pt x="118875" y="79452"/>
                      <a:pt x="118875" y="79452"/>
                    </a:cubicBezTo>
                    <a:cubicBezTo>
                      <a:pt x="118594" y="78904"/>
                      <a:pt x="118313" y="78904"/>
                      <a:pt x="118313" y="78356"/>
                    </a:cubicBezTo>
                    <a:cubicBezTo>
                      <a:pt x="118032" y="78356"/>
                      <a:pt x="117470" y="80000"/>
                      <a:pt x="117189" y="78904"/>
                    </a:cubicBezTo>
                    <a:cubicBezTo>
                      <a:pt x="117189" y="78904"/>
                      <a:pt x="117751" y="78356"/>
                      <a:pt x="117470" y="78356"/>
                    </a:cubicBezTo>
                    <a:cubicBezTo>
                      <a:pt x="117470" y="77808"/>
                      <a:pt x="117189" y="77260"/>
                      <a:pt x="116908" y="77260"/>
                    </a:cubicBezTo>
                    <a:cubicBezTo>
                      <a:pt x="116627" y="76712"/>
                      <a:pt x="115503" y="77260"/>
                      <a:pt x="115222" y="77808"/>
                    </a:cubicBezTo>
                    <a:cubicBezTo>
                      <a:pt x="114941" y="78904"/>
                      <a:pt x="114098" y="79452"/>
                      <a:pt x="113536" y="80000"/>
                    </a:cubicBezTo>
                    <a:cubicBezTo>
                      <a:pt x="113255" y="80000"/>
                      <a:pt x="112412" y="78904"/>
                      <a:pt x="112412" y="78356"/>
                    </a:cubicBezTo>
                    <a:cubicBezTo>
                      <a:pt x="112412" y="77808"/>
                      <a:pt x="113255" y="79452"/>
                      <a:pt x="113255" y="79452"/>
                    </a:cubicBezTo>
                    <a:cubicBezTo>
                      <a:pt x="113536" y="79452"/>
                      <a:pt x="114660" y="77808"/>
                      <a:pt x="114660" y="77808"/>
                    </a:cubicBezTo>
                    <a:cubicBezTo>
                      <a:pt x="114660" y="77808"/>
                      <a:pt x="114098" y="77260"/>
                      <a:pt x="114098" y="77260"/>
                    </a:cubicBezTo>
                    <a:cubicBezTo>
                      <a:pt x="114941" y="76712"/>
                      <a:pt x="115784" y="76712"/>
                      <a:pt x="116627" y="76164"/>
                    </a:cubicBezTo>
                    <a:cubicBezTo>
                      <a:pt x="116627" y="76164"/>
                      <a:pt x="117189" y="75616"/>
                      <a:pt x="116908" y="75068"/>
                    </a:cubicBezTo>
                    <a:cubicBezTo>
                      <a:pt x="116908" y="75068"/>
                      <a:pt x="116346" y="73972"/>
                      <a:pt x="116346" y="73972"/>
                    </a:cubicBezTo>
                    <a:cubicBezTo>
                      <a:pt x="115784" y="74520"/>
                      <a:pt x="115222" y="74520"/>
                      <a:pt x="114941" y="73424"/>
                    </a:cubicBezTo>
                    <a:cubicBezTo>
                      <a:pt x="114660" y="73424"/>
                      <a:pt x="113536" y="75068"/>
                      <a:pt x="113536" y="74520"/>
                    </a:cubicBezTo>
                    <a:cubicBezTo>
                      <a:pt x="113536" y="74520"/>
                      <a:pt x="114379" y="72876"/>
                      <a:pt x="113536" y="73424"/>
                    </a:cubicBezTo>
                    <a:cubicBezTo>
                      <a:pt x="113536" y="73424"/>
                      <a:pt x="112412" y="73972"/>
                      <a:pt x="112412" y="73972"/>
                    </a:cubicBezTo>
                    <a:cubicBezTo>
                      <a:pt x="112693" y="72876"/>
                      <a:pt x="113536" y="72876"/>
                      <a:pt x="112974" y="71232"/>
                    </a:cubicBezTo>
                    <a:cubicBezTo>
                      <a:pt x="112974" y="71232"/>
                      <a:pt x="111850" y="70136"/>
                      <a:pt x="111850" y="70136"/>
                    </a:cubicBezTo>
                    <a:cubicBezTo>
                      <a:pt x="111288" y="70136"/>
                      <a:pt x="111288" y="69041"/>
                      <a:pt x="110725" y="69041"/>
                    </a:cubicBezTo>
                    <a:cubicBezTo>
                      <a:pt x="111007" y="69041"/>
                      <a:pt x="110163" y="66849"/>
                      <a:pt x="110163" y="66849"/>
                    </a:cubicBezTo>
                    <a:cubicBezTo>
                      <a:pt x="110163" y="66849"/>
                      <a:pt x="110444" y="67397"/>
                      <a:pt x="110725" y="67397"/>
                    </a:cubicBezTo>
                    <a:cubicBezTo>
                      <a:pt x="111007" y="67945"/>
                      <a:pt x="111007" y="66849"/>
                      <a:pt x="111288" y="66849"/>
                    </a:cubicBezTo>
                    <a:cubicBezTo>
                      <a:pt x="112412" y="66301"/>
                      <a:pt x="110444" y="64657"/>
                      <a:pt x="110163" y="64109"/>
                    </a:cubicBezTo>
                    <a:cubicBezTo>
                      <a:pt x="110163" y="64657"/>
                      <a:pt x="110725" y="63561"/>
                      <a:pt x="110725" y="63561"/>
                    </a:cubicBezTo>
                    <a:cubicBezTo>
                      <a:pt x="111007" y="63013"/>
                      <a:pt x="110444" y="63013"/>
                      <a:pt x="110163" y="62465"/>
                    </a:cubicBezTo>
                    <a:cubicBezTo>
                      <a:pt x="110163" y="62465"/>
                      <a:pt x="109882" y="61917"/>
                      <a:pt x="109601" y="61917"/>
                    </a:cubicBezTo>
                    <a:cubicBezTo>
                      <a:pt x="109601" y="61917"/>
                      <a:pt x="109039" y="61917"/>
                      <a:pt x="109039" y="61917"/>
                    </a:cubicBezTo>
                    <a:cubicBezTo>
                      <a:pt x="109320" y="61369"/>
                      <a:pt x="109882" y="61917"/>
                      <a:pt x="109601" y="60273"/>
                    </a:cubicBezTo>
                    <a:cubicBezTo>
                      <a:pt x="109320" y="60273"/>
                      <a:pt x="108477" y="60821"/>
                      <a:pt x="108477" y="60821"/>
                    </a:cubicBezTo>
                    <a:cubicBezTo>
                      <a:pt x="108477" y="60273"/>
                      <a:pt x="109320" y="60273"/>
                      <a:pt x="109039" y="59178"/>
                    </a:cubicBezTo>
                    <a:cubicBezTo>
                      <a:pt x="109039" y="58630"/>
                      <a:pt x="109039" y="58082"/>
                      <a:pt x="108758" y="57534"/>
                    </a:cubicBezTo>
                    <a:cubicBezTo>
                      <a:pt x="108758" y="57534"/>
                      <a:pt x="108477" y="58082"/>
                      <a:pt x="108477" y="57534"/>
                    </a:cubicBezTo>
                    <a:cubicBezTo>
                      <a:pt x="108477" y="58082"/>
                      <a:pt x="107915" y="55890"/>
                      <a:pt x="107915" y="55890"/>
                    </a:cubicBezTo>
                    <a:cubicBezTo>
                      <a:pt x="107634" y="54794"/>
                      <a:pt x="107353" y="54246"/>
                      <a:pt x="107353" y="53698"/>
                    </a:cubicBezTo>
                    <a:cubicBezTo>
                      <a:pt x="107072" y="52602"/>
                      <a:pt x="107072" y="51506"/>
                      <a:pt x="106510" y="53150"/>
                    </a:cubicBezTo>
                    <a:cubicBezTo>
                      <a:pt x="106510" y="53150"/>
                      <a:pt x="106229" y="55342"/>
                      <a:pt x="106510" y="54794"/>
                    </a:cubicBezTo>
                    <a:cubicBezTo>
                      <a:pt x="105386" y="55342"/>
                      <a:pt x="105948" y="55342"/>
                      <a:pt x="106229" y="56986"/>
                    </a:cubicBezTo>
                    <a:cubicBezTo>
                      <a:pt x="106229" y="56438"/>
                      <a:pt x="105948" y="56438"/>
                      <a:pt x="105948" y="56986"/>
                    </a:cubicBezTo>
                    <a:cubicBezTo>
                      <a:pt x="105667" y="56986"/>
                      <a:pt x="105667" y="56986"/>
                      <a:pt x="105386" y="57534"/>
                    </a:cubicBezTo>
                    <a:cubicBezTo>
                      <a:pt x="105386" y="57534"/>
                      <a:pt x="105948" y="58082"/>
                      <a:pt x="105948" y="58082"/>
                    </a:cubicBezTo>
                    <a:cubicBezTo>
                      <a:pt x="105667" y="58630"/>
                      <a:pt x="105105" y="58082"/>
                      <a:pt x="105105" y="58630"/>
                    </a:cubicBezTo>
                    <a:cubicBezTo>
                      <a:pt x="104824" y="59178"/>
                      <a:pt x="105386" y="60273"/>
                      <a:pt x="104824" y="60821"/>
                    </a:cubicBezTo>
                    <a:cubicBezTo>
                      <a:pt x="105105" y="60821"/>
                      <a:pt x="104543" y="58630"/>
                      <a:pt x="103981" y="59726"/>
                    </a:cubicBezTo>
                    <a:cubicBezTo>
                      <a:pt x="103981" y="60273"/>
                      <a:pt x="102857" y="61917"/>
                      <a:pt x="102857" y="61917"/>
                    </a:cubicBezTo>
                    <a:cubicBezTo>
                      <a:pt x="102576" y="61917"/>
                      <a:pt x="102576" y="61369"/>
                      <a:pt x="102576" y="60821"/>
                    </a:cubicBezTo>
                    <a:cubicBezTo>
                      <a:pt x="102295" y="60821"/>
                      <a:pt x="102295" y="61369"/>
                      <a:pt x="102295" y="61369"/>
                    </a:cubicBezTo>
                    <a:cubicBezTo>
                      <a:pt x="102014" y="60821"/>
                      <a:pt x="102295" y="60821"/>
                      <a:pt x="102295" y="60273"/>
                    </a:cubicBezTo>
                    <a:cubicBezTo>
                      <a:pt x="102295" y="60821"/>
                      <a:pt x="100327" y="63561"/>
                      <a:pt x="100327" y="63013"/>
                    </a:cubicBezTo>
                    <a:cubicBezTo>
                      <a:pt x="100046" y="62465"/>
                      <a:pt x="101170" y="61917"/>
                      <a:pt x="101451" y="61917"/>
                    </a:cubicBezTo>
                    <a:cubicBezTo>
                      <a:pt x="102014" y="60821"/>
                      <a:pt x="102014" y="60273"/>
                      <a:pt x="101733" y="59178"/>
                    </a:cubicBezTo>
                    <a:cubicBezTo>
                      <a:pt x="101451" y="58630"/>
                      <a:pt x="100608" y="58630"/>
                      <a:pt x="100327" y="58630"/>
                    </a:cubicBezTo>
                    <a:cubicBezTo>
                      <a:pt x="100046" y="58630"/>
                      <a:pt x="100046" y="59178"/>
                      <a:pt x="100046" y="59178"/>
                    </a:cubicBezTo>
                    <a:cubicBezTo>
                      <a:pt x="99765" y="60273"/>
                      <a:pt x="99203" y="59178"/>
                      <a:pt x="98922" y="59178"/>
                    </a:cubicBezTo>
                    <a:cubicBezTo>
                      <a:pt x="99203" y="59178"/>
                      <a:pt x="99765" y="58082"/>
                      <a:pt x="99765" y="58082"/>
                    </a:cubicBezTo>
                    <a:cubicBezTo>
                      <a:pt x="99765" y="58082"/>
                      <a:pt x="100046" y="58630"/>
                      <a:pt x="100046" y="58630"/>
                    </a:cubicBezTo>
                    <a:cubicBezTo>
                      <a:pt x="99765" y="58630"/>
                      <a:pt x="100327" y="57534"/>
                      <a:pt x="100327" y="57534"/>
                    </a:cubicBezTo>
                    <a:cubicBezTo>
                      <a:pt x="100608" y="56438"/>
                      <a:pt x="100046" y="56986"/>
                      <a:pt x="99765" y="56438"/>
                    </a:cubicBezTo>
                    <a:cubicBezTo>
                      <a:pt x="99765" y="56438"/>
                      <a:pt x="100046" y="53698"/>
                      <a:pt x="99484" y="54246"/>
                    </a:cubicBezTo>
                    <a:cubicBezTo>
                      <a:pt x="99765" y="53698"/>
                      <a:pt x="100046" y="53698"/>
                      <a:pt x="99765" y="52602"/>
                    </a:cubicBezTo>
                    <a:cubicBezTo>
                      <a:pt x="99203" y="52054"/>
                      <a:pt x="100327" y="51506"/>
                      <a:pt x="100046" y="50410"/>
                    </a:cubicBezTo>
                    <a:cubicBezTo>
                      <a:pt x="100046" y="49863"/>
                      <a:pt x="99484" y="50958"/>
                      <a:pt x="99203" y="50410"/>
                    </a:cubicBezTo>
                    <a:cubicBezTo>
                      <a:pt x="98922" y="49863"/>
                      <a:pt x="98360" y="49863"/>
                      <a:pt x="98079" y="49863"/>
                    </a:cubicBezTo>
                    <a:cubicBezTo>
                      <a:pt x="97517" y="49315"/>
                      <a:pt x="97236" y="49315"/>
                      <a:pt x="96955" y="48219"/>
                    </a:cubicBezTo>
                    <a:cubicBezTo>
                      <a:pt x="96955" y="47123"/>
                      <a:pt x="96112" y="47671"/>
                      <a:pt x="96112" y="46575"/>
                    </a:cubicBezTo>
                    <a:cubicBezTo>
                      <a:pt x="96112" y="46027"/>
                      <a:pt x="95550" y="46575"/>
                      <a:pt x="95550" y="46575"/>
                    </a:cubicBezTo>
                    <a:cubicBezTo>
                      <a:pt x="95831" y="45479"/>
                      <a:pt x="95269" y="45479"/>
                      <a:pt x="94988" y="44931"/>
                    </a:cubicBezTo>
                    <a:cubicBezTo>
                      <a:pt x="94426" y="44383"/>
                      <a:pt x="94426" y="43835"/>
                      <a:pt x="93864" y="44383"/>
                    </a:cubicBezTo>
                    <a:cubicBezTo>
                      <a:pt x="93302" y="44931"/>
                      <a:pt x="93021" y="45479"/>
                      <a:pt x="92459" y="44931"/>
                    </a:cubicBezTo>
                    <a:cubicBezTo>
                      <a:pt x="91896" y="44383"/>
                      <a:pt x="91615" y="45479"/>
                      <a:pt x="91053" y="44931"/>
                    </a:cubicBezTo>
                    <a:cubicBezTo>
                      <a:pt x="90491" y="43835"/>
                      <a:pt x="89929" y="43835"/>
                      <a:pt x="89367" y="43835"/>
                    </a:cubicBezTo>
                    <a:cubicBezTo>
                      <a:pt x="88805" y="43835"/>
                      <a:pt x="88243" y="43835"/>
                      <a:pt x="87962" y="44931"/>
                    </a:cubicBezTo>
                    <a:cubicBezTo>
                      <a:pt x="87681" y="46027"/>
                      <a:pt x="88524" y="46575"/>
                      <a:pt x="88524" y="47123"/>
                    </a:cubicBezTo>
                    <a:cubicBezTo>
                      <a:pt x="88805" y="47671"/>
                      <a:pt x="88524" y="49315"/>
                      <a:pt x="88243" y="49863"/>
                    </a:cubicBezTo>
                    <a:cubicBezTo>
                      <a:pt x="88243" y="50410"/>
                      <a:pt x="88243" y="49863"/>
                      <a:pt x="87962" y="50410"/>
                    </a:cubicBezTo>
                    <a:cubicBezTo>
                      <a:pt x="87962" y="50410"/>
                      <a:pt x="88524" y="51506"/>
                      <a:pt x="88524" y="51506"/>
                    </a:cubicBezTo>
                    <a:cubicBezTo>
                      <a:pt x="88524" y="52602"/>
                      <a:pt x="88805" y="53698"/>
                      <a:pt x="88805" y="54246"/>
                    </a:cubicBezTo>
                    <a:cubicBezTo>
                      <a:pt x="88805" y="54794"/>
                      <a:pt x="88805" y="54794"/>
                      <a:pt x="88805" y="55342"/>
                    </a:cubicBezTo>
                    <a:cubicBezTo>
                      <a:pt x="88805" y="55890"/>
                      <a:pt x="88524" y="55342"/>
                      <a:pt x="88524" y="55342"/>
                    </a:cubicBezTo>
                    <a:cubicBezTo>
                      <a:pt x="88243" y="55890"/>
                      <a:pt x="88243" y="56986"/>
                      <a:pt x="88243" y="56986"/>
                    </a:cubicBezTo>
                    <a:cubicBezTo>
                      <a:pt x="87962" y="57534"/>
                      <a:pt x="87681" y="58082"/>
                      <a:pt x="87681" y="58630"/>
                    </a:cubicBezTo>
                    <a:cubicBezTo>
                      <a:pt x="87400" y="59726"/>
                      <a:pt x="87400" y="59726"/>
                      <a:pt x="87681" y="60273"/>
                    </a:cubicBezTo>
                    <a:cubicBezTo>
                      <a:pt x="88524" y="61369"/>
                      <a:pt x="89367" y="62465"/>
                      <a:pt x="89929" y="63561"/>
                    </a:cubicBezTo>
                    <a:cubicBezTo>
                      <a:pt x="90210" y="65205"/>
                      <a:pt x="90491" y="67945"/>
                      <a:pt x="90210" y="69589"/>
                    </a:cubicBezTo>
                    <a:cubicBezTo>
                      <a:pt x="89648" y="71780"/>
                      <a:pt x="87962" y="72876"/>
                      <a:pt x="87119" y="73972"/>
                    </a:cubicBezTo>
                    <a:cubicBezTo>
                      <a:pt x="86838" y="74520"/>
                      <a:pt x="86557" y="74520"/>
                      <a:pt x="86276" y="75068"/>
                    </a:cubicBezTo>
                    <a:cubicBezTo>
                      <a:pt x="85433" y="75616"/>
                      <a:pt x="86557" y="77260"/>
                      <a:pt x="86557" y="78356"/>
                    </a:cubicBezTo>
                    <a:cubicBezTo>
                      <a:pt x="86557" y="78356"/>
                      <a:pt x="86838" y="79452"/>
                      <a:pt x="86838" y="80000"/>
                    </a:cubicBezTo>
                    <a:cubicBezTo>
                      <a:pt x="86838" y="81095"/>
                      <a:pt x="86838" y="81643"/>
                      <a:pt x="87119" y="82739"/>
                    </a:cubicBezTo>
                    <a:cubicBezTo>
                      <a:pt x="87400" y="83835"/>
                      <a:pt x="87400" y="84383"/>
                      <a:pt x="86838" y="85479"/>
                    </a:cubicBezTo>
                    <a:cubicBezTo>
                      <a:pt x="86838" y="85479"/>
                      <a:pt x="87119" y="87671"/>
                      <a:pt x="86838" y="88219"/>
                    </a:cubicBezTo>
                    <a:cubicBezTo>
                      <a:pt x="86557" y="88219"/>
                      <a:pt x="86276" y="86027"/>
                      <a:pt x="85995" y="87123"/>
                    </a:cubicBezTo>
                    <a:cubicBezTo>
                      <a:pt x="85714" y="88219"/>
                      <a:pt x="86276" y="89863"/>
                      <a:pt x="86276" y="89863"/>
                    </a:cubicBezTo>
                    <a:cubicBezTo>
                      <a:pt x="86276" y="89315"/>
                      <a:pt x="84590" y="86575"/>
                      <a:pt x="83747" y="88219"/>
                    </a:cubicBezTo>
                    <a:cubicBezTo>
                      <a:pt x="84028" y="87671"/>
                      <a:pt x="84871" y="87123"/>
                      <a:pt x="84309" y="86027"/>
                    </a:cubicBezTo>
                    <a:cubicBezTo>
                      <a:pt x="84028" y="85479"/>
                      <a:pt x="83747" y="84931"/>
                      <a:pt x="83466" y="84931"/>
                    </a:cubicBezTo>
                    <a:cubicBezTo>
                      <a:pt x="83466" y="84383"/>
                      <a:pt x="82903" y="84383"/>
                      <a:pt x="82622" y="84383"/>
                    </a:cubicBezTo>
                    <a:cubicBezTo>
                      <a:pt x="82622" y="83835"/>
                      <a:pt x="82903" y="83835"/>
                      <a:pt x="82622" y="82739"/>
                    </a:cubicBezTo>
                    <a:cubicBezTo>
                      <a:pt x="82341" y="82191"/>
                      <a:pt x="82060" y="81095"/>
                      <a:pt x="82341" y="80000"/>
                    </a:cubicBezTo>
                    <a:cubicBezTo>
                      <a:pt x="82622" y="78356"/>
                      <a:pt x="81779" y="77808"/>
                      <a:pt x="81779" y="76712"/>
                    </a:cubicBezTo>
                    <a:cubicBezTo>
                      <a:pt x="81779" y="75616"/>
                      <a:pt x="82341" y="75068"/>
                      <a:pt x="82060" y="73972"/>
                    </a:cubicBezTo>
                    <a:cubicBezTo>
                      <a:pt x="81498" y="72876"/>
                      <a:pt x="80374" y="72876"/>
                      <a:pt x="79531" y="72876"/>
                    </a:cubicBezTo>
                    <a:cubicBezTo>
                      <a:pt x="79250" y="72876"/>
                      <a:pt x="78969" y="72876"/>
                      <a:pt x="78407" y="72876"/>
                    </a:cubicBezTo>
                    <a:cubicBezTo>
                      <a:pt x="78407" y="72876"/>
                      <a:pt x="77845" y="73972"/>
                      <a:pt x="77845" y="73972"/>
                    </a:cubicBezTo>
                    <a:cubicBezTo>
                      <a:pt x="77845" y="73424"/>
                      <a:pt x="78126" y="73424"/>
                      <a:pt x="77845" y="72876"/>
                    </a:cubicBezTo>
                    <a:cubicBezTo>
                      <a:pt x="77845" y="72328"/>
                      <a:pt x="77564" y="71780"/>
                      <a:pt x="77283" y="71780"/>
                    </a:cubicBezTo>
                    <a:cubicBezTo>
                      <a:pt x="76721" y="71232"/>
                      <a:pt x="76159" y="71232"/>
                      <a:pt x="75597" y="70684"/>
                    </a:cubicBezTo>
                    <a:cubicBezTo>
                      <a:pt x="74754" y="70136"/>
                      <a:pt x="74192" y="68493"/>
                      <a:pt x="73348" y="67397"/>
                    </a:cubicBezTo>
                    <a:cubicBezTo>
                      <a:pt x="72786" y="66849"/>
                      <a:pt x="72224" y="66301"/>
                      <a:pt x="71943" y="66301"/>
                    </a:cubicBezTo>
                    <a:cubicBezTo>
                      <a:pt x="71381" y="66301"/>
                      <a:pt x="70819" y="65205"/>
                      <a:pt x="70257" y="65205"/>
                    </a:cubicBezTo>
                    <a:cubicBezTo>
                      <a:pt x="69976" y="65205"/>
                      <a:pt x="67447" y="66301"/>
                      <a:pt x="67447" y="66301"/>
                    </a:cubicBezTo>
                    <a:cubicBezTo>
                      <a:pt x="67447" y="65753"/>
                      <a:pt x="67728" y="65753"/>
                      <a:pt x="68009" y="65205"/>
                    </a:cubicBezTo>
                    <a:cubicBezTo>
                      <a:pt x="68009" y="64657"/>
                      <a:pt x="67728" y="64109"/>
                      <a:pt x="67728" y="64109"/>
                    </a:cubicBezTo>
                    <a:cubicBezTo>
                      <a:pt x="67447" y="62465"/>
                      <a:pt x="67166" y="61369"/>
                      <a:pt x="66885" y="60273"/>
                    </a:cubicBezTo>
                    <a:cubicBezTo>
                      <a:pt x="66604" y="59178"/>
                      <a:pt x="66323" y="59178"/>
                      <a:pt x="65761" y="59178"/>
                    </a:cubicBezTo>
                    <a:cubicBezTo>
                      <a:pt x="64918" y="59178"/>
                      <a:pt x="64637" y="59178"/>
                      <a:pt x="64637" y="57534"/>
                    </a:cubicBezTo>
                    <a:cubicBezTo>
                      <a:pt x="64918" y="56438"/>
                      <a:pt x="64637" y="54794"/>
                      <a:pt x="64637" y="53698"/>
                    </a:cubicBezTo>
                    <a:cubicBezTo>
                      <a:pt x="64918" y="52054"/>
                      <a:pt x="65480" y="50958"/>
                      <a:pt x="65761" y="49315"/>
                    </a:cubicBezTo>
                    <a:cubicBezTo>
                      <a:pt x="66042" y="48219"/>
                      <a:pt x="66042" y="47671"/>
                      <a:pt x="66604" y="47123"/>
                    </a:cubicBezTo>
                    <a:cubicBezTo>
                      <a:pt x="66885" y="47123"/>
                      <a:pt x="66604" y="46575"/>
                      <a:pt x="66604" y="46027"/>
                    </a:cubicBezTo>
                    <a:cubicBezTo>
                      <a:pt x="66885" y="46027"/>
                      <a:pt x="67447" y="44931"/>
                      <a:pt x="67447" y="44931"/>
                    </a:cubicBezTo>
                    <a:cubicBezTo>
                      <a:pt x="67447" y="44931"/>
                      <a:pt x="67447" y="44931"/>
                      <a:pt x="67166" y="44383"/>
                    </a:cubicBezTo>
                    <a:cubicBezTo>
                      <a:pt x="67166" y="44383"/>
                      <a:pt x="67447" y="44383"/>
                      <a:pt x="67447" y="44383"/>
                    </a:cubicBezTo>
                    <a:cubicBezTo>
                      <a:pt x="67447" y="43287"/>
                      <a:pt x="68009" y="43835"/>
                      <a:pt x="68290" y="43835"/>
                    </a:cubicBezTo>
                    <a:cubicBezTo>
                      <a:pt x="68571" y="43835"/>
                      <a:pt x="68571" y="43287"/>
                      <a:pt x="68571" y="43287"/>
                    </a:cubicBezTo>
                    <a:cubicBezTo>
                      <a:pt x="68852" y="42191"/>
                      <a:pt x="68290" y="42739"/>
                      <a:pt x="68009" y="42191"/>
                    </a:cubicBezTo>
                    <a:cubicBezTo>
                      <a:pt x="68009" y="42191"/>
                      <a:pt x="68571" y="42191"/>
                      <a:pt x="68571" y="42191"/>
                    </a:cubicBezTo>
                    <a:cubicBezTo>
                      <a:pt x="68852" y="41643"/>
                      <a:pt x="69133" y="42191"/>
                      <a:pt x="69133" y="42191"/>
                    </a:cubicBezTo>
                    <a:cubicBezTo>
                      <a:pt x="69695" y="43287"/>
                      <a:pt x="69695" y="42191"/>
                      <a:pt x="70257" y="41643"/>
                    </a:cubicBezTo>
                    <a:cubicBezTo>
                      <a:pt x="70819" y="40547"/>
                      <a:pt x="69695" y="39452"/>
                      <a:pt x="69133" y="38904"/>
                    </a:cubicBezTo>
                    <a:cubicBezTo>
                      <a:pt x="68852" y="38904"/>
                      <a:pt x="67728" y="39452"/>
                      <a:pt x="67728" y="39452"/>
                    </a:cubicBezTo>
                    <a:cubicBezTo>
                      <a:pt x="67447" y="38356"/>
                      <a:pt x="68290" y="38356"/>
                      <a:pt x="67447" y="37808"/>
                    </a:cubicBezTo>
                    <a:cubicBezTo>
                      <a:pt x="67166" y="37808"/>
                      <a:pt x="65761" y="37808"/>
                      <a:pt x="65761" y="37260"/>
                    </a:cubicBezTo>
                    <a:cubicBezTo>
                      <a:pt x="65761" y="36712"/>
                      <a:pt x="66323" y="36712"/>
                      <a:pt x="66323" y="36712"/>
                    </a:cubicBezTo>
                    <a:cubicBezTo>
                      <a:pt x="66604" y="36164"/>
                      <a:pt x="66604" y="36712"/>
                      <a:pt x="66885" y="36712"/>
                    </a:cubicBezTo>
                    <a:cubicBezTo>
                      <a:pt x="66604" y="37260"/>
                      <a:pt x="67447" y="37260"/>
                      <a:pt x="67447" y="37260"/>
                    </a:cubicBezTo>
                    <a:cubicBezTo>
                      <a:pt x="68009" y="37260"/>
                      <a:pt x="68852" y="38356"/>
                      <a:pt x="69133" y="38356"/>
                    </a:cubicBezTo>
                    <a:cubicBezTo>
                      <a:pt x="69414" y="38356"/>
                      <a:pt x="69695" y="38904"/>
                      <a:pt x="69976" y="38904"/>
                    </a:cubicBezTo>
                    <a:cubicBezTo>
                      <a:pt x="70538" y="39452"/>
                      <a:pt x="70257" y="38904"/>
                      <a:pt x="70538" y="38904"/>
                    </a:cubicBezTo>
                    <a:cubicBezTo>
                      <a:pt x="70819" y="38904"/>
                      <a:pt x="71662" y="38904"/>
                      <a:pt x="71381" y="38356"/>
                    </a:cubicBezTo>
                    <a:cubicBezTo>
                      <a:pt x="71100" y="37808"/>
                      <a:pt x="71381" y="36712"/>
                      <a:pt x="71662" y="36164"/>
                    </a:cubicBezTo>
                    <a:cubicBezTo>
                      <a:pt x="71662" y="36712"/>
                      <a:pt x="72505" y="37260"/>
                      <a:pt x="72505" y="37260"/>
                    </a:cubicBezTo>
                    <a:cubicBezTo>
                      <a:pt x="73067" y="37260"/>
                      <a:pt x="73348" y="37260"/>
                      <a:pt x="73911" y="36712"/>
                    </a:cubicBezTo>
                    <a:cubicBezTo>
                      <a:pt x="74192" y="36164"/>
                      <a:pt x="74473" y="35068"/>
                      <a:pt x="74754" y="34520"/>
                    </a:cubicBezTo>
                    <a:cubicBezTo>
                      <a:pt x="75035" y="33972"/>
                      <a:pt x="75597" y="33424"/>
                      <a:pt x="75316" y="32328"/>
                    </a:cubicBezTo>
                    <a:cubicBezTo>
                      <a:pt x="75035" y="31232"/>
                      <a:pt x="74192" y="31780"/>
                      <a:pt x="73911" y="31780"/>
                    </a:cubicBezTo>
                    <a:cubicBezTo>
                      <a:pt x="73067" y="31780"/>
                      <a:pt x="72505" y="31232"/>
                      <a:pt x="71943" y="30684"/>
                    </a:cubicBezTo>
                    <a:cubicBezTo>
                      <a:pt x="71662" y="30136"/>
                      <a:pt x="71381" y="29589"/>
                      <a:pt x="70819" y="29041"/>
                    </a:cubicBezTo>
                    <a:cubicBezTo>
                      <a:pt x="70819" y="29041"/>
                      <a:pt x="69414" y="29041"/>
                      <a:pt x="69414" y="29041"/>
                    </a:cubicBezTo>
                    <a:cubicBezTo>
                      <a:pt x="69414" y="28493"/>
                      <a:pt x="70819" y="29041"/>
                      <a:pt x="71100" y="29041"/>
                    </a:cubicBezTo>
                    <a:cubicBezTo>
                      <a:pt x="71662" y="29041"/>
                      <a:pt x="71662" y="28493"/>
                      <a:pt x="72224" y="29041"/>
                    </a:cubicBezTo>
                    <a:cubicBezTo>
                      <a:pt x="73348" y="30136"/>
                      <a:pt x="74473" y="32328"/>
                      <a:pt x="75597" y="30684"/>
                    </a:cubicBezTo>
                    <a:cubicBezTo>
                      <a:pt x="76159" y="29589"/>
                      <a:pt x="76440" y="29041"/>
                      <a:pt x="76721" y="27945"/>
                    </a:cubicBezTo>
                    <a:cubicBezTo>
                      <a:pt x="77002" y="27397"/>
                      <a:pt x="75316" y="26849"/>
                      <a:pt x="76159" y="25753"/>
                    </a:cubicBezTo>
                    <a:cubicBezTo>
                      <a:pt x="76440" y="25753"/>
                      <a:pt x="77283" y="25753"/>
                      <a:pt x="77564" y="26301"/>
                    </a:cubicBezTo>
                    <a:cubicBezTo>
                      <a:pt x="78407" y="26301"/>
                      <a:pt x="78407" y="27397"/>
                      <a:pt x="79250" y="26301"/>
                    </a:cubicBezTo>
                    <a:cubicBezTo>
                      <a:pt x="79250" y="26301"/>
                      <a:pt x="80093" y="26849"/>
                      <a:pt x="79812" y="25753"/>
                    </a:cubicBezTo>
                    <a:cubicBezTo>
                      <a:pt x="79531" y="25205"/>
                      <a:pt x="78407" y="24109"/>
                      <a:pt x="78126" y="24109"/>
                    </a:cubicBezTo>
                    <a:cubicBezTo>
                      <a:pt x="78688" y="23561"/>
                      <a:pt x="79250" y="24657"/>
                      <a:pt x="79812" y="24657"/>
                    </a:cubicBezTo>
                    <a:cubicBezTo>
                      <a:pt x="80093" y="24657"/>
                      <a:pt x="80655" y="27397"/>
                      <a:pt x="81217" y="26849"/>
                    </a:cubicBezTo>
                    <a:cubicBezTo>
                      <a:pt x="81217" y="26849"/>
                      <a:pt x="80936" y="26301"/>
                      <a:pt x="80936" y="26301"/>
                    </a:cubicBezTo>
                    <a:cubicBezTo>
                      <a:pt x="81217" y="25753"/>
                      <a:pt x="81498" y="25753"/>
                      <a:pt x="82060" y="25205"/>
                    </a:cubicBezTo>
                    <a:cubicBezTo>
                      <a:pt x="82341" y="24657"/>
                      <a:pt x="83185" y="23013"/>
                      <a:pt x="83466" y="22465"/>
                    </a:cubicBezTo>
                    <a:cubicBezTo>
                      <a:pt x="83466" y="20821"/>
                      <a:pt x="82903" y="20821"/>
                      <a:pt x="82341" y="19726"/>
                    </a:cubicBezTo>
                    <a:cubicBezTo>
                      <a:pt x="82341" y="19726"/>
                      <a:pt x="81498" y="16438"/>
                      <a:pt x="81498" y="16986"/>
                    </a:cubicBezTo>
                    <a:cubicBezTo>
                      <a:pt x="81779" y="16438"/>
                      <a:pt x="82903" y="16438"/>
                      <a:pt x="83185" y="16438"/>
                    </a:cubicBezTo>
                    <a:cubicBezTo>
                      <a:pt x="84028" y="15890"/>
                      <a:pt x="82622" y="15342"/>
                      <a:pt x="82622" y="14794"/>
                    </a:cubicBezTo>
                    <a:cubicBezTo>
                      <a:pt x="82341" y="14246"/>
                      <a:pt x="83466" y="14246"/>
                      <a:pt x="83466" y="13698"/>
                    </a:cubicBezTo>
                    <a:cubicBezTo>
                      <a:pt x="83466" y="13698"/>
                      <a:pt x="80655" y="11506"/>
                      <a:pt x="80655" y="11506"/>
                    </a:cubicBezTo>
                    <a:cubicBezTo>
                      <a:pt x="80936" y="11506"/>
                      <a:pt x="81498" y="10958"/>
                      <a:pt x="81779" y="10958"/>
                    </a:cubicBezTo>
                    <a:cubicBezTo>
                      <a:pt x="80936" y="10958"/>
                      <a:pt x="80093" y="10410"/>
                      <a:pt x="79250" y="10410"/>
                    </a:cubicBezTo>
                    <a:cubicBezTo>
                      <a:pt x="78688" y="10410"/>
                      <a:pt x="77845" y="10958"/>
                      <a:pt x="77564" y="10410"/>
                    </a:cubicBezTo>
                    <a:cubicBezTo>
                      <a:pt x="78126" y="10958"/>
                      <a:pt x="77283" y="11506"/>
                      <a:pt x="77564" y="12602"/>
                    </a:cubicBezTo>
                    <a:cubicBezTo>
                      <a:pt x="77845" y="13150"/>
                      <a:pt x="78688" y="13698"/>
                      <a:pt x="78688" y="14246"/>
                    </a:cubicBezTo>
                    <a:cubicBezTo>
                      <a:pt x="78688" y="14246"/>
                      <a:pt x="78126" y="14794"/>
                      <a:pt x="78126" y="14794"/>
                    </a:cubicBezTo>
                    <a:cubicBezTo>
                      <a:pt x="78126" y="14794"/>
                      <a:pt x="78688" y="15342"/>
                      <a:pt x="78407" y="15342"/>
                    </a:cubicBezTo>
                    <a:cubicBezTo>
                      <a:pt x="77845" y="15890"/>
                      <a:pt x="77564" y="14794"/>
                      <a:pt x="77283" y="16986"/>
                    </a:cubicBezTo>
                    <a:cubicBezTo>
                      <a:pt x="77002" y="18082"/>
                      <a:pt x="77002" y="19178"/>
                      <a:pt x="76721" y="20273"/>
                    </a:cubicBezTo>
                    <a:cubicBezTo>
                      <a:pt x="76440" y="20273"/>
                      <a:pt x="76159" y="20821"/>
                      <a:pt x="76159" y="21369"/>
                    </a:cubicBezTo>
                    <a:cubicBezTo>
                      <a:pt x="76159" y="21917"/>
                      <a:pt x="75878" y="21917"/>
                      <a:pt x="75878" y="22465"/>
                    </a:cubicBezTo>
                    <a:cubicBezTo>
                      <a:pt x="75035" y="23013"/>
                      <a:pt x="75316" y="23561"/>
                      <a:pt x="74754" y="21917"/>
                    </a:cubicBezTo>
                    <a:cubicBezTo>
                      <a:pt x="74473" y="21369"/>
                      <a:pt x="73629" y="20273"/>
                      <a:pt x="73629" y="19178"/>
                    </a:cubicBezTo>
                    <a:cubicBezTo>
                      <a:pt x="73629" y="19178"/>
                      <a:pt x="73629" y="17534"/>
                      <a:pt x="73911" y="17534"/>
                    </a:cubicBezTo>
                    <a:cubicBezTo>
                      <a:pt x="73911" y="17534"/>
                      <a:pt x="74473" y="18082"/>
                      <a:pt x="74473" y="16986"/>
                    </a:cubicBezTo>
                    <a:cubicBezTo>
                      <a:pt x="74192" y="15890"/>
                      <a:pt x="74192" y="15342"/>
                      <a:pt x="73629" y="14246"/>
                    </a:cubicBezTo>
                    <a:cubicBezTo>
                      <a:pt x="73067" y="13698"/>
                      <a:pt x="72505" y="12602"/>
                      <a:pt x="71943" y="13698"/>
                    </a:cubicBezTo>
                    <a:cubicBezTo>
                      <a:pt x="71662" y="14246"/>
                      <a:pt x="71662" y="15342"/>
                      <a:pt x="71662" y="16438"/>
                    </a:cubicBezTo>
                    <a:cubicBezTo>
                      <a:pt x="71662" y="16986"/>
                      <a:pt x="70538" y="16986"/>
                      <a:pt x="70538" y="16438"/>
                    </a:cubicBezTo>
                    <a:cubicBezTo>
                      <a:pt x="70538" y="15890"/>
                      <a:pt x="70538" y="14246"/>
                      <a:pt x="70257" y="13698"/>
                    </a:cubicBezTo>
                    <a:cubicBezTo>
                      <a:pt x="69133" y="12054"/>
                      <a:pt x="70538" y="13698"/>
                      <a:pt x="70538" y="13150"/>
                    </a:cubicBezTo>
                    <a:cubicBezTo>
                      <a:pt x="70819" y="13150"/>
                      <a:pt x="71100" y="12602"/>
                      <a:pt x="70819" y="12602"/>
                    </a:cubicBezTo>
                    <a:cubicBezTo>
                      <a:pt x="70819" y="12054"/>
                      <a:pt x="70538" y="11506"/>
                      <a:pt x="70257" y="12054"/>
                    </a:cubicBezTo>
                    <a:cubicBezTo>
                      <a:pt x="69976" y="12602"/>
                      <a:pt x="69976" y="11506"/>
                      <a:pt x="69695" y="11506"/>
                    </a:cubicBezTo>
                    <a:cubicBezTo>
                      <a:pt x="69414" y="10958"/>
                      <a:pt x="69133" y="12054"/>
                      <a:pt x="68852" y="11506"/>
                    </a:cubicBezTo>
                    <a:cubicBezTo>
                      <a:pt x="68290" y="10958"/>
                      <a:pt x="68009" y="11506"/>
                      <a:pt x="68290" y="9863"/>
                    </a:cubicBezTo>
                    <a:cubicBezTo>
                      <a:pt x="68290" y="9863"/>
                      <a:pt x="68290" y="9863"/>
                      <a:pt x="68571" y="9863"/>
                    </a:cubicBezTo>
                    <a:cubicBezTo>
                      <a:pt x="68571" y="9315"/>
                      <a:pt x="68571" y="9315"/>
                      <a:pt x="68571" y="8767"/>
                    </a:cubicBezTo>
                    <a:cubicBezTo>
                      <a:pt x="68852" y="8767"/>
                      <a:pt x="68852" y="8767"/>
                      <a:pt x="69133" y="8767"/>
                    </a:cubicBezTo>
                    <a:cubicBezTo>
                      <a:pt x="68852" y="8767"/>
                      <a:pt x="68571" y="7123"/>
                      <a:pt x="68571" y="7123"/>
                    </a:cubicBezTo>
                    <a:cubicBezTo>
                      <a:pt x="68290" y="6027"/>
                      <a:pt x="67728" y="6027"/>
                      <a:pt x="67728" y="5479"/>
                    </a:cubicBezTo>
                    <a:cubicBezTo>
                      <a:pt x="67166" y="4931"/>
                      <a:pt x="67447" y="4931"/>
                      <a:pt x="67166" y="3835"/>
                    </a:cubicBezTo>
                    <a:cubicBezTo>
                      <a:pt x="67166" y="2739"/>
                      <a:pt x="66604" y="2191"/>
                      <a:pt x="66604" y="1643"/>
                    </a:cubicBezTo>
                    <a:cubicBezTo>
                      <a:pt x="66323" y="547"/>
                      <a:pt x="65761" y="547"/>
                      <a:pt x="65199" y="547"/>
                    </a:cubicBezTo>
                    <a:cubicBezTo>
                      <a:pt x="64918" y="547"/>
                      <a:pt x="65199" y="0"/>
                      <a:pt x="64637" y="0"/>
                    </a:cubicBezTo>
                    <a:cubicBezTo>
                      <a:pt x="64355" y="0"/>
                      <a:pt x="64074" y="0"/>
                      <a:pt x="64074" y="1095"/>
                    </a:cubicBezTo>
                    <a:cubicBezTo>
                      <a:pt x="64074" y="1095"/>
                      <a:pt x="63231" y="1643"/>
                      <a:pt x="63231" y="1643"/>
                    </a:cubicBezTo>
                    <a:cubicBezTo>
                      <a:pt x="63512" y="1643"/>
                      <a:pt x="64074" y="1643"/>
                      <a:pt x="64074" y="2191"/>
                    </a:cubicBezTo>
                    <a:cubicBezTo>
                      <a:pt x="64074" y="2191"/>
                      <a:pt x="63512" y="2739"/>
                      <a:pt x="63512" y="2739"/>
                    </a:cubicBezTo>
                    <a:cubicBezTo>
                      <a:pt x="63231" y="3287"/>
                      <a:pt x="62950" y="2191"/>
                      <a:pt x="62669" y="3287"/>
                    </a:cubicBezTo>
                    <a:cubicBezTo>
                      <a:pt x="62388" y="3287"/>
                      <a:pt x="62107" y="4931"/>
                      <a:pt x="62107" y="5479"/>
                    </a:cubicBezTo>
                    <a:cubicBezTo>
                      <a:pt x="62388" y="5479"/>
                      <a:pt x="62950" y="5479"/>
                      <a:pt x="63231" y="6027"/>
                    </a:cubicBezTo>
                    <a:cubicBezTo>
                      <a:pt x="62950" y="5479"/>
                      <a:pt x="62388" y="7671"/>
                      <a:pt x="62388" y="8219"/>
                    </a:cubicBezTo>
                    <a:cubicBezTo>
                      <a:pt x="62388" y="8767"/>
                      <a:pt x="62950" y="9863"/>
                      <a:pt x="63231" y="10410"/>
                    </a:cubicBezTo>
                    <a:cubicBezTo>
                      <a:pt x="63512" y="10410"/>
                      <a:pt x="64074" y="11506"/>
                      <a:pt x="64355" y="11506"/>
                    </a:cubicBezTo>
                    <a:cubicBezTo>
                      <a:pt x="64918" y="10958"/>
                      <a:pt x="64918" y="10958"/>
                      <a:pt x="65199" y="11506"/>
                    </a:cubicBezTo>
                    <a:cubicBezTo>
                      <a:pt x="65480" y="11506"/>
                      <a:pt x="66042" y="12602"/>
                      <a:pt x="66042" y="12602"/>
                    </a:cubicBezTo>
                    <a:cubicBezTo>
                      <a:pt x="65761" y="13150"/>
                      <a:pt x="65480" y="12054"/>
                      <a:pt x="65480" y="13150"/>
                    </a:cubicBezTo>
                    <a:cubicBezTo>
                      <a:pt x="65480" y="14246"/>
                      <a:pt x="65199" y="14246"/>
                      <a:pt x="65199" y="14794"/>
                    </a:cubicBezTo>
                    <a:cubicBezTo>
                      <a:pt x="64918" y="15890"/>
                      <a:pt x="65480" y="15890"/>
                      <a:pt x="65761" y="15342"/>
                    </a:cubicBezTo>
                    <a:cubicBezTo>
                      <a:pt x="65761" y="15342"/>
                      <a:pt x="66323" y="13698"/>
                      <a:pt x="66323" y="14246"/>
                    </a:cubicBezTo>
                    <a:cubicBezTo>
                      <a:pt x="66604" y="14794"/>
                      <a:pt x="66323" y="15890"/>
                      <a:pt x="66323" y="16438"/>
                    </a:cubicBezTo>
                    <a:cubicBezTo>
                      <a:pt x="66042" y="16986"/>
                      <a:pt x="65761" y="16986"/>
                      <a:pt x="65480" y="16986"/>
                    </a:cubicBezTo>
                    <a:cubicBezTo>
                      <a:pt x="65480" y="17534"/>
                      <a:pt x="65480" y="18082"/>
                      <a:pt x="65199" y="18630"/>
                    </a:cubicBezTo>
                    <a:cubicBezTo>
                      <a:pt x="64918" y="18630"/>
                      <a:pt x="64355" y="18630"/>
                      <a:pt x="64074" y="19178"/>
                    </a:cubicBezTo>
                    <a:cubicBezTo>
                      <a:pt x="63793" y="19178"/>
                      <a:pt x="63512" y="20273"/>
                      <a:pt x="63512" y="20273"/>
                    </a:cubicBezTo>
                    <a:cubicBezTo>
                      <a:pt x="63793" y="20821"/>
                      <a:pt x="64074" y="21369"/>
                      <a:pt x="64074" y="22465"/>
                    </a:cubicBezTo>
                    <a:cubicBezTo>
                      <a:pt x="64074" y="23013"/>
                      <a:pt x="63793" y="22465"/>
                      <a:pt x="63512" y="21917"/>
                    </a:cubicBezTo>
                    <a:cubicBezTo>
                      <a:pt x="63512" y="21917"/>
                      <a:pt x="63231" y="21917"/>
                      <a:pt x="63231" y="22465"/>
                    </a:cubicBezTo>
                    <a:cubicBezTo>
                      <a:pt x="62950" y="22465"/>
                      <a:pt x="62388" y="21917"/>
                      <a:pt x="62388" y="21369"/>
                    </a:cubicBezTo>
                    <a:cubicBezTo>
                      <a:pt x="62388" y="20821"/>
                      <a:pt x="62950" y="19178"/>
                      <a:pt x="62950" y="18630"/>
                    </a:cubicBezTo>
                    <a:cubicBezTo>
                      <a:pt x="63231" y="17534"/>
                      <a:pt x="62388" y="18630"/>
                      <a:pt x="62388" y="18630"/>
                    </a:cubicBezTo>
                    <a:cubicBezTo>
                      <a:pt x="62107" y="18630"/>
                      <a:pt x="61264" y="17534"/>
                      <a:pt x="60983" y="16986"/>
                    </a:cubicBezTo>
                    <a:cubicBezTo>
                      <a:pt x="60421" y="16438"/>
                      <a:pt x="60702" y="17534"/>
                      <a:pt x="60140" y="17534"/>
                    </a:cubicBezTo>
                    <a:cubicBezTo>
                      <a:pt x="59859" y="17534"/>
                      <a:pt x="59016" y="16986"/>
                      <a:pt x="59578" y="18082"/>
                    </a:cubicBezTo>
                    <a:cubicBezTo>
                      <a:pt x="59859" y="18630"/>
                      <a:pt x="59859" y="19178"/>
                      <a:pt x="60421" y="19178"/>
                    </a:cubicBezTo>
                    <a:cubicBezTo>
                      <a:pt x="60702" y="19178"/>
                      <a:pt x="61264" y="19178"/>
                      <a:pt x="61264" y="20273"/>
                    </a:cubicBezTo>
                    <a:cubicBezTo>
                      <a:pt x="61826" y="22465"/>
                      <a:pt x="60140" y="19726"/>
                      <a:pt x="59859" y="19178"/>
                    </a:cubicBezTo>
                    <a:cubicBezTo>
                      <a:pt x="59297" y="19178"/>
                      <a:pt x="59297" y="20273"/>
                      <a:pt x="58735" y="20273"/>
                    </a:cubicBezTo>
                    <a:cubicBezTo>
                      <a:pt x="58173" y="20273"/>
                      <a:pt x="57892" y="19726"/>
                      <a:pt x="57330" y="19726"/>
                    </a:cubicBezTo>
                    <a:cubicBezTo>
                      <a:pt x="56206" y="20273"/>
                      <a:pt x="55362" y="20273"/>
                      <a:pt x="54238" y="20273"/>
                    </a:cubicBezTo>
                    <a:cubicBezTo>
                      <a:pt x="53395" y="19726"/>
                      <a:pt x="52271" y="18630"/>
                      <a:pt x="51147" y="18082"/>
                    </a:cubicBezTo>
                    <a:cubicBezTo>
                      <a:pt x="50866" y="18082"/>
                      <a:pt x="50304" y="18082"/>
                      <a:pt x="50023" y="17534"/>
                    </a:cubicBezTo>
                    <a:cubicBezTo>
                      <a:pt x="49742" y="16438"/>
                      <a:pt x="49742" y="15342"/>
                      <a:pt x="49461" y="15342"/>
                    </a:cubicBezTo>
                    <a:cubicBezTo>
                      <a:pt x="48899" y="14794"/>
                      <a:pt x="48337" y="15342"/>
                      <a:pt x="48056" y="15342"/>
                    </a:cubicBezTo>
                    <a:cubicBezTo>
                      <a:pt x="47213" y="15890"/>
                      <a:pt x="46651" y="15890"/>
                      <a:pt x="46088" y="15890"/>
                    </a:cubicBezTo>
                    <a:cubicBezTo>
                      <a:pt x="45807" y="16438"/>
                      <a:pt x="45245" y="16986"/>
                      <a:pt x="45245" y="17534"/>
                    </a:cubicBezTo>
                    <a:cubicBezTo>
                      <a:pt x="45245" y="17534"/>
                      <a:pt x="46370" y="18630"/>
                      <a:pt x="46651" y="18630"/>
                    </a:cubicBezTo>
                    <a:cubicBezTo>
                      <a:pt x="46651" y="18630"/>
                      <a:pt x="46370" y="16986"/>
                      <a:pt x="46932" y="17534"/>
                    </a:cubicBezTo>
                    <a:cubicBezTo>
                      <a:pt x="47213" y="17534"/>
                      <a:pt x="47213" y="18082"/>
                      <a:pt x="47494" y="17534"/>
                    </a:cubicBezTo>
                    <a:cubicBezTo>
                      <a:pt x="47775" y="17534"/>
                      <a:pt x="49461" y="15342"/>
                      <a:pt x="49461" y="16438"/>
                    </a:cubicBezTo>
                    <a:cubicBezTo>
                      <a:pt x="49461" y="16986"/>
                      <a:pt x="48618" y="17534"/>
                      <a:pt x="48337" y="18082"/>
                    </a:cubicBezTo>
                    <a:cubicBezTo>
                      <a:pt x="48056" y="18630"/>
                      <a:pt x="47494" y="18630"/>
                      <a:pt x="46932" y="18630"/>
                    </a:cubicBezTo>
                    <a:cubicBezTo>
                      <a:pt x="46651" y="19178"/>
                      <a:pt x="45807" y="20273"/>
                      <a:pt x="46370" y="20821"/>
                    </a:cubicBezTo>
                    <a:cubicBezTo>
                      <a:pt x="46932" y="20821"/>
                      <a:pt x="46932" y="21369"/>
                      <a:pt x="46651" y="22465"/>
                    </a:cubicBezTo>
                    <a:cubicBezTo>
                      <a:pt x="46651" y="23013"/>
                      <a:pt x="47213" y="23013"/>
                      <a:pt x="47213" y="23561"/>
                    </a:cubicBezTo>
                    <a:cubicBezTo>
                      <a:pt x="47494" y="24109"/>
                      <a:pt x="47494" y="25205"/>
                      <a:pt x="46932" y="24109"/>
                    </a:cubicBezTo>
                    <a:cubicBezTo>
                      <a:pt x="46370" y="23013"/>
                      <a:pt x="46932" y="25205"/>
                      <a:pt x="46651" y="24657"/>
                    </a:cubicBezTo>
                    <a:cubicBezTo>
                      <a:pt x="46370" y="24657"/>
                      <a:pt x="45807" y="23013"/>
                      <a:pt x="45526" y="23561"/>
                    </a:cubicBezTo>
                    <a:cubicBezTo>
                      <a:pt x="46088" y="23013"/>
                      <a:pt x="46932" y="23561"/>
                      <a:pt x="46088" y="22465"/>
                    </a:cubicBezTo>
                    <a:cubicBezTo>
                      <a:pt x="46370" y="22465"/>
                      <a:pt x="46651" y="21917"/>
                      <a:pt x="46088" y="21369"/>
                    </a:cubicBezTo>
                    <a:cubicBezTo>
                      <a:pt x="46651" y="21917"/>
                      <a:pt x="45245" y="21917"/>
                      <a:pt x="45526" y="21917"/>
                    </a:cubicBezTo>
                    <a:cubicBezTo>
                      <a:pt x="45526" y="21369"/>
                      <a:pt x="45526" y="21369"/>
                      <a:pt x="45807" y="21369"/>
                    </a:cubicBezTo>
                    <a:cubicBezTo>
                      <a:pt x="45807" y="20821"/>
                      <a:pt x="44964" y="21917"/>
                      <a:pt x="44964" y="21917"/>
                    </a:cubicBezTo>
                    <a:cubicBezTo>
                      <a:pt x="44683" y="21917"/>
                      <a:pt x="44964" y="20821"/>
                      <a:pt x="44683" y="20273"/>
                    </a:cubicBezTo>
                    <a:cubicBezTo>
                      <a:pt x="44683" y="20273"/>
                      <a:pt x="44121" y="20273"/>
                      <a:pt x="44121" y="20273"/>
                    </a:cubicBezTo>
                    <a:cubicBezTo>
                      <a:pt x="43559" y="20273"/>
                      <a:pt x="43559" y="18630"/>
                      <a:pt x="42997" y="19178"/>
                    </a:cubicBezTo>
                    <a:cubicBezTo>
                      <a:pt x="42435" y="20273"/>
                      <a:pt x="42154" y="20273"/>
                      <a:pt x="41311" y="20273"/>
                    </a:cubicBezTo>
                    <a:cubicBezTo>
                      <a:pt x="40187" y="20273"/>
                      <a:pt x="39344" y="20273"/>
                      <a:pt x="38220" y="20273"/>
                    </a:cubicBezTo>
                    <a:cubicBezTo>
                      <a:pt x="37939" y="20273"/>
                      <a:pt x="35971" y="20273"/>
                      <a:pt x="35971" y="19726"/>
                    </a:cubicBezTo>
                    <a:cubicBezTo>
                      <a:pt x="35690" y="19726"/>
                      <a:pt x="36533" y="18630"/>
                      <a:pt x="36814" y="18082"/>
                    </a:cubicBezTo>
                    <a:cubicBezTo>
                      <a:pt x="37096" y="17534"/>
                      <a:pt x="37377" y="18082"/>
                      <a:pt x="37939" y="18082"/>
                    </a:cubicBezTo>
                    <a:cubicBezTo>
                      <a:pt x="38220" y="17534"/>
                      <a:pt x="37377" y="16438"/>
                      <a:pt x="37377" y="16438"/>
                    </a:cubicBezTo>
                    <a:cubicBezTo>
                      <a:pt x="36814" y="15342"/>
                      <a:pt x="36533" y="15342"/>
                      <a:pt x="35971" y="14794"/>
                    </a:cubicBezTo>
                    <a:cubicBezTo>
                      <a:pt x="35690" y="14794"/>
                      <a:pt x="35409" y="14246"/>
                      <a:pt x="35128" y="14794"/>
                    </a:cubicBezTo>
                    <a:cubicBezTo>
                      <a:pt x="34847" y="15342"/>
                      <a:pt x="34566" y="15890"/>
                      <a:pt x="34285" y="15342"/>
                    </a:cubicBezTo>
                    <a:cubicBezTo>
                      <a:pt x="33442" y="14246"/>
                      <a:pt x="32599" y="14246"/>
                      <a:pt x="31756" y="13698"/>
                    </a:cubicBezTo>
                    <a:cubicBezTo>
                      <a:pt x="30632" y="13150"/>
                      <a:pt x="29789" y="13150"/>
                      <a:pt x="28665" y="12054"/>
                    </a:cubicBezTo>
                    <a:cubicBezTo>
                      <a:pt x="27822" y="10958"/>
                      <a:pt x="27259" y="10410"/>
                      <a:pt x="26135" y="10410"/>
                    </a:cubicBezTo>
                    <a:cubicBezTo>
                      <a:pt x="25854" y="10410"/>
                      <a:pt x="25573" y="10410"/>
                      <a:pt x="25292" y="10958"/>
                    </a:cubicBezTo>
                    <a:cubicBezTo>
                      <a:pt x="25011" y="11506"/>
                      <a:pt x="24730" y="12602"/>
                      <a:pt x="24449" y="12602"/>
                    </a:cubicBezTo>
                    <a:cubicBezTo>
                      <a:pt x="24168" y="12602"/>
                      <a:pt x="23325" y="13150"/>
                      <a:pt x="23325" y="12602"/>
                    </a:cubicBezTo>
                    <a:cubicBezTo>
                      <a:pt x="23325" y="12054"/>
                      <a:pt x="23887" y="11506"/>
                      <a:pt x="23887" y="10958"/>
                    </a:cubicBezTo>
                    <a:cubicBezTo>
                      <a:pt x="23887" y="10958"/>
                      <a:pt x="23044" y="11506"/>
                      <a:pt x="23044" y="10958"/>
                    </a:cubicBezTo>
                    <a:cubicBezTo>
                      <a:pt x="23325" y="10410"/>
                      <a:pt x="23325" y="9863"/>
                      <a:pt x="23044" y="9315"/>
                    </a:cubicBezTo>
                    <a:cubicBezTo>
                      <a:pt x="23044" y="8219"/>
                      <a:pt x="21920" y="9315"/>
                      <a:pt x="21920" y="9863"/>
                    </a:cubicBezTo>
                    <a:cubicBezTo>
                      <a:pt x="21920" y="9863"/>
                      <a:pt x="22482" y="9315"/>
                      <a:pt x="22482" y="9863"/>
                    </a:cubicBezTo>
                    <a:cubicBezTo>
                      <a:pt x="22763" y="9863"/>
                      <a:pt x="21639" y="10958"/>
                      <a:pt x="22482" y="10958"/>
                    </a:cubicBezTo>
                    <a:cubicBezTo>
                      <a:pt x="22201" y="10958"/>
                      <a:pt x="21920" y="10958"/>
                      <a:pt x="21920" y="12054"/>
                    </a:cubicBezTo>
                    <a:cubicBezTo>
                      <a:pt x="21920" y="12602"/>
                      <a:pt x="21639" y="13150"/>
                      <a:pt x="21358" y="12602"/>
                    </a:cubicBezTo>
                    <a:cubicBezTo>
                      <a:pt x="20515" y="12054"/>
                      <a:pt x="20234" y="11506"/>
                      <a:pt x="19953" y="9863"/>
                    </a:cubicBezTo>
                    <a:cubicBezTo>
                      <a:pt x="19672" y="8767"/>
                      <a:pt x="19110" y="8219"/>
                      <a:pt x="18548" y="7123"/>
                    </a:cubicBezTo>
                    <a:cubicBezTo>
                      <a:pt x="18266" y="7123"/>
                      <a:pt x="17985" y="6027"/>
                      <a:pt x="17704" y="6575"/>
                    </a:cubicBezTo>
                    <a:cubicBezTo>
                      <a:pt x="17704" y="7671"/>
                      <a:pt x="18548" y="8219"/>
                      <a:pt x="18829" y="8767"/>
                    </a:cubicBezTo>
                    <a:cubicBezTo>
                      <a:pt x="18829" y="8219"/>
                      <a:pt x="17704" y="8767"/>
                      <a:pt x="17704" y="9315"/>
                    </a:cubicBezTo>
                    <a:cubicBezTo>
                      <a:pt x="17423" y="9863"/>
                      <a:pt x="17704" y="9863"/>
                      <a:pt x="17423" y="10410"/>
                    </a:cubicBezTo>
                    <a:cubicBezTo>
                      <a:pt x="17142" y="10410"/>
                      <a:pt x="16861" y="11506"/>
                      <a:pt x="16580" y="10958"/>
                    </a:cubicBezTo>
                    <a:cubicBezTo>
                      <a:pt x="16580" y="10958"/>
                      <a:pt x="16580" y="10410"/>
                      <a:pt x="16580" y="10410"/>
                    </a:cubicBezTo>
                    <a:cubicBezTo>
                      <a:pt x="16580" y="9863"/>
                      <a:pt x="15175" y="10958"/>
                      <a:pt x="15175" y="11506"/>
                    </a:cubicBezTo>
                    <a:cubicBezTo>
                      <a:pt x="14894" y="12054"/>
                      <a:pt x="14613" y="12602"/>
                      <a:pt x="14051" y="13150"/>
                    </a:cubicBezTo>
                    <a:cubicBezTo>
                      <a:pt x="13770" y="13698"/>
                      <a:pt x="14051" y="12054"/>
                      <a:pt x="13770" y="12054"/>
                    </a:cubicBezTo>
                    <a:cubicBezTo>
                      <a:pt x="13489" y="12054"/>
                      <a:pt x="13208" y="12602"/>
                      <a:pt x="12927" y="12602"/>
                    </a:cubicBezTo>
                    <a:cubicBezTo>
                      <a:pt x="12646" y="12602"/>
                      <a:pt x="12646" y="13698"/>
                      <a:pt x="12365" y="13698"/>
                    </a:cubicBezTo>
                    <a:cubicBezTo>
                      <a:pt x="12084" y="13698"/>
                      <a:pt x="11241" y="14794"/>
                      <a:pt x="11522" y="14794"/>
                    </a:cubicBezTo>
                    <a:cubicBezTo>
                      <a:pt x="11522" y="15342"/>
                      <a:pt x="12084" y="15342"/>
                      <a:pt x="11241" y="15890"/>
                    </a:cubicBezTo>
                    <a:cubicBezTo>
                      <a:pt x="11241" y="15890"/>
                      <a:pt x="10398" y="15890"/>
                      <a:pt x="10398" y="15342"/>
                    </a:cubicBezTo>
                    <a:cubicBezTo>
                      <a:pt x="10398" y="14794"/>
                      <a:pt x="11241" y="14246"/>
                      <a:pt x="11241" y="14246"/>
                    </a:cubicBezTo>
                    <a:cubicBezTo>
                      <a:pt x="11522" y="13150"/>
                      <a:pt x="12084" y="12602"/>
                      <a:pt x="12365" y="12054"/>
                    </a:cubicBezTo>
                    <a:cubicBezTo>
                      <a:pt x="12927" y="11506"/>
                      <a:pt x="13208" y="11506"/>
                      <a:pt x="13770" y="12054"/>
                    </a:cubicBezTo>
                    <a:cubicBezTo>
                      <a:pt x="13489" y="12054"/>
                      <a:pt x="15737" y="9863"/>
                      <a:pt x="15737" y="9863"/>
                    </a:cubicBezTo>
                    <a:cubicBezTo>
                      <a:pt x="16299" y="9315"/>
                      <a:pt x="16018" y="8767"/>
                      <a:pt x="15737" y="8767"/>
                    </a:cubicBezTo>
                    <a:cubicBezTo>
                      <a:pt x="15175" y="8767"/>
                      <a:pt x="14613" y="8767"/>
                      <a:pt x="14051" y="9315"/>
                    </a:cubicBezTo>
                    <a:cubicBezTo>
                      <a:pt x="13770" y="9315"/>
                      <a:pt x="13770" y="10410"/>
                      <a:pt x="13208" y="10410"/>
                    </a:cubicBezTo>
                    <a:cubicBezTo>
                      <a:pt x="12927" y="10410"/>
                      <a:pt x="12365" y="10958"/>
                      <a:pt x="12084" y="10958"/>
                    </a:cubicBezTo>
                    <a:cubicBezTo>
                      <a:pt x="11522" y="10958"/>
                      <a:pt x="10117" y="13698"/>
                      <a:pt x="9836" y="13150"/>
                    </a:cubicBezTo>
                    <a:cubicBezTo>
                      <a:pt x="9555" y="13150"/>
                      <a:pt x="10117" y="12602"/>
                      <a:pt x="10117" y="12054"/>
                    </a:cubicBezTo>
                    <a:cubicBezTo>
                      <a:pt x="10117" y="12054"/>
                      <a:pt x="9274" y="11506"/>
                      <a:pt x="9274" y="11506"/>
                    </a:cubicBezTo>
                    <a:cubicBezTo>
                      <a:pt x="9274" y="11506"/>
                      <a:pt x="8430" y="12602"/>
                      <a:pt x="8149" y="12602"/>
                    </a:cubicBezTo>
                    <a:cubicBezTo>
                      <a:pt x="7868" y="12602"/>
                      <a:pt x="7306" y="13150"/>
                      <a:pt x="7025" y="13698"/>
                    </a:cubicBezTo>
                    <a:cubicBezTo>
                      <a:pt x="6744" y="13698"/>
                      <a:pt x="7306" y="14246"/>
                      <a:pt x="7306" y="14246"/>
                    </a:cubicBezTo>
                    <a:cubicBezTo>
                      <a:pt x="7587" y="14246"/>
                      <a:pt x="7306" y="14794"/>
                      <a:pt x="7306" y="14794"/>
                    </a:cubicBezTo>
                    <a:cubicBezTo>
                      <a:pt x="7306" y="15342"/>
                      <a:pt x="8430" y="14794"/>
                      <a:pt x="8430" y="14794"/>
                    </a:cubicBezTo>
                    <a:cubicBezTo>
                      <a:pt x="8711" y="14246"/>
                      <a:pt x="9274" y="13698"/>
                      <a:pt x="9555" y="13150"/>
                    </a:cubicBezTo>
                    <a:cubicBezTo>
                      <a:pt x="8149" y="14246"/>
                      <a:pt x="9555" y="14794"/>
                      <a:pt x="9274" y="15890"/>
                    </a:cubicBezTo>
                    <a:cubicBezTo>
                      <a:pt x="9274" y="15890"/>
                      <a:pt x="8992" y="15342"/>
                      <a:pt x="8992" y="15342"/>
                    </a:cubicBezTo>
                    <a:cubicBezTo>
                      <a:pt x="8430" y="14794"/>
                      <a:pt x="8149" y="15342"/>
                      <a:pt x="7868" y="15890"/>
                    </a:cubicBezTo>
                    <a:cubicBezTo>
                      <a:pt x="7587" y="15890"/>
                      <a:pt x="6463" y="15342"/>
                      <a:pt x="5901" y="15342"/>
                    </a:cubicBezTo>
                    <a:cubicBezTo>
                      <a:pt x="5339" y="15342"/>
                      <a:pt x="4496" y="14246"/>
                      <a:pt x="3934" y="13698"/>
                    </a:cubicBezTo>
                    <a:cubicBezTo>
                      <a:pt x="3653" y="13698"/>
                      <a:pt x="3372" y="13150"/>
                      <a:pt x="3091" y="13150"/>
                    </a:cubicBezTo>
                    <a:cubicBezTo>
                      <a:pt x="2810" y="12602"/>
                      <a:pt x="2529" y="11506"/>
                      <a:pt x="2810" y="11506"/>
                    </a:cubicBezTo>
                    <a:cubicBezTo>
                      <a:pt x="2529" y="11506"/>
                      <a:pt x="1967" y="11506"/>
                      <a:pt x="1686" y="12054"/>
                    </a:cubicBezTo>
                    <a:cubicBezTo>
                      <a:pt x="1124" y="12054"/>
                      <a:pt x="562" y="12054"/>
                      <a:pt x="0" y="11506"/>
                    </a:cubicBezTo>
                    <a:cubicBezTo>
                      <a:pt x="0" y="22465"/>
                      <a:pt x="0" y="33424"/>
                      <a:pt x="0" y="43835"/>
                    </a:cubicBezTo>
                    <a:cubicBezTo>
                      <a:pt x="0" y="46575"/>
                      <a:pt x="0" y="48767"/>
                      <a:pt x="0" y="51506"/>
                    </a:cubicBezTo>
                    <a:cubicBezTo>
                      <a:pt x="0" y="52054"/>
                      <a:pt x="0" y="52602"/>
                      <a:pt x="0" y="53150"/>
                    </a:cubicBezTo>
                    <a:cubicBezTo>
                      <a:pt x="0" y="54246"/>
                      <a:pt x="562" y="53150"/>
                      <a:pt x="843" y="53150"/>
                    </a:cubicBezTo>
                    <a:cubicBezTo>
                      <a:pt x="1405" y="53698"/>
                      <a:pt x="1405" y="53150"/>
                      <a:pt x="1967" y="53150"/>
                    </a:cubicBezTo>
                    <a:cubicBezTo>
                      <a:pt x="2529" y="53150"/>
                      <a:pt x="2529" y="53698"/>
                      <a:pt x="2810" y="54246"/>
                    </a:cubicBezTo>
                    <a:cubicBezTo>
                      <a:pt x="3091" y="55342"/>
                      <a:pt x="4496" y="58630"/>
                      <a:pt x="5058" y="58630"/>
                    </a:cubicBezTo>
                    <a:cubicBezTo>
                      <a:pt x="5339" y="58630"/>
                      <a:pt x="5901" y="58082"/>
                      <a:pt x="6182" y="57534"/>
                    </a:cubicBezTo>
                    <a:cubicBezTo>
                      <a:pt x="6463" y="56986"/>
                      <a:pt x="6182" y="56438"/>
                      <a:pt x="6463" y="55890"/>
                    </a:cubicBezTo>
                    <a:cubicBezTo>
                      <a:pt x="6744" y="55890"/>
                      <a:pt x="7868" y="55342"/>
                      <a:pt x="7868" y="55890"/>
                    </a:cubicBezTo>
                    <a:cubicBezTo>
                      <a:pt x="8430" y="56986"/>
                      <a:pt x="8992" y="57534"/>
                      <a:pt x="9274" y="58630"/>
                    </a:cubicBezTo>
                    <a:cubicBezTo>
                      <a:pt x="9836" y="59726"/>
                      <a:pt x="10398" y="60273"/>
                      <a:pt x="10679" y="61369"/>
                    </a:cubicBezTo>
                    <a:cubicBezTo>
                      <a:pt x="10960" y="61917"/>
                      <a:pt x="10960" y="62465"/>
                      <a:pt x="11241" y="63561"/>
                    </a:cubicBezTo>
                    <a:cubicBezTo>
                      <a:pt x="11803" y="64657"/>
                      <a:pt x="12084" y="66849"/>
                      <a:pt x="12927" y="67945"/>
                    </a:cubicBezTo>
                    <a:cubicBezTo>
                      <a:pt x="13489" y="69041"/>
                      <a:pt x="14613" y="69589"/>
                      <a:pt x="15175" y="70136"/>
                    </a:cubicBezTo>
                    <a:cubicBezTo>
                      <a:pt x="15737" y="70684"/>
                      <a:pt x="14894" y="71232"/>
                      <a:pt x="15175" y="72328"/>
                    </a:cubicBezTo>
                    <a:cubicBezTo>
                      <a:pt x="15456" y="72328"/>
                      <a:pt x="15737" y="72328"/>
                      <a:pt x="15737" y="72876"/>
                    </a:cubicBezTo>
                    <a:cubicBezTo>
                      <a:pt x="15737" y="72876"/>
                      <a:pt x="15456" y="74520"/>
                      <a:pt x="15737" y="73972"/>
                    </a:cubicBezTo>
                    <a:cubicBezTo>
                      <a:pt x="15456" y="74520"/>
                      <a:pt x="14894" y="74520"/>
                      <a:pt x="14894" y="75616"/>
                    </a:cubicBezTo>
                    <a:cubicBezTo>
                      <a:pt x="14613" y="76164"/>
                      <a:pt x="15456" y="77260"/>
                      <a:pt x="15737" y="77260"/>
                    </a:cubicBezTo>
                    <a:cubicBezTo>
                      <a:pt x="15737" y="77260"/>
                      <a:pt x="15175" y="78356"/>
                      <a:pt x="15175" y="78356"/>
                    </a:cubicBezTo>
                    <a:cubicBezTo>
                      <a:pt x="15175" y="78356"/>
                      <a:pt x="14894" y="77808"/>
                      <a:pt x="14894" y="77260"/>
                    </a:cubicBezTo>
                    <a:cubicBezTo>
                      <a:pt x="14613" y="77260"/>
                      <a:pt x="14894" y="78356"/>
                      <a:pt x="14894" y="78356"/>
                    </a:cubicBezTo>
                    <a:cubicBezTo>
                      <a:pt x="15175" y="78904"/>
                      <a:pt x="14894" y="79452"/>
                      <a:pt x="15175" y="80000"/>
                    </a:cubicBezTo>
                    <a:cubicBezTo>
                      <a:pt x="15456" y="81095"/>
                      <a:pt x="15456" y="81095"/>
                      <a:pt x="16018" y="80547"/>
                    </a:cubicBezTo>
                    <a:cubicBezTo>
                      <a:pt x="16018" y="80547"/>
                      <a:pt x="16299" y="80547"/>
                      <a:pt x="16299" y="80547"/>
                    </a:cubicBezTo>
                    <a:cubicBezTo>
                      <a:pt x="16580" y="80547"/>
                      <a:pt x="16580" y="79452"/>
                      <a:pt x="16580" y="79452"/>
                    </a:cubicBezTo>
                    <a:cubicBezTo>
                      <a:pt x="16580" y="79452"/>
                      <a:pt x="16861" y="80547"/>
                      <a:pt x="17142" y="80547"/>
                    </a:cubicBezTo>
                    <a:cubicBezTo>
                      <a:pt x="17142" y="80547"/>
                      <a:pt x="16861" y="81643"/>
                      <a:pt x="16861" y="82191"/>
                    </a:cubicBezTo>
                    <a:cubicBezTo>
                      <a:pt x="16580" y="82739"/>
                      <a:pt x="16580" y="83287"/>
                      <a:pt x="17142" y="82739"/>
                    </a:cubicBezTo>
                    <a:cubicBezTo>
                      <a:pt x="17142" y="82191"/>
                      <a:pt x="17423" y="82191"/>
                      <a:pt x="17423" y="82191"/>
                    </a:cubicBezTo>
                    <a:cubicBezTo>
                      <a:pt x="17704" y="82191"/>
                      <a:pt x="17704" y="81643"/>
                      <a:pt x="17704" y="81643"/>
                    </a:cubicBezTo>
                    <a:cubicBezTo>
                      <a:pt x="18266" y="81095"/>
                      <a:pt x="17985" y="82739"/>
                      <a:pt x="17985" y="83287"/>
                    </a:cubicBezTo>
                    <a:cubicBezTo>
                      <a:pt x="17985" y="83835"/>
                      <a:pt x="18266" y="84383"/>
                      <a:pt x="18548" y="84383"/>
                    </a:cubicBezTo>
                    <a:cubicBezTo>
                      <a:pt x="18829" y="84383"/>
                      <a:pt x="19110" y="83287"/>
                      <a:pt x="19391" y="83287"/>
                    </a:cubicBezTo>
                    <a:cubicBezTo>
                      <a:pt x="19391" y="83287"/>
                      <a:pt x="19110" y="83835"/>
                      <a:pt x="19110" y="83835"/>
                    </a:cubicBezTo>
                    <a:cubicBezTo>
                      <a:pt x="19110" y="83835"/>
                      <a:pt x="19672" y="84383"/>
                      <a:pt x="19672" y="84383"/>
                    </a:cubicBezTo>
                    <a:cubicBezTo>
                      <a:pt x="19672" y="84383"/>
                      <a:pt x="17704" y="85479"/>
                      <a:pt x="18548" y="86575"/>
                    </a:cubicBezTo>
                    <a:cubicBezTo>
                      <a:pt x="18548" y="86575"/>
                      <a:pt x="20234" y="86027"/>
                      <a:pt x="19953" y="86575"/>
                    </a:cubicBezTo>
                    <a:cubicBezTo>
                      <a:pt x="19953" y="86575"/>
                      <a:pt x="18548" y="86575"/>
                      <a:pt x="18829" y="87671"/>
                    </a:cubicBezTo>
                    <a:cubicBezTo>
                      <a:pt x="18829" y="87671"/>
                      <a:pt x="19391" y="87671"/>
                      <a:pt x="19391" y="87671"/>
                    </a:cubicBezTo>
                    <a:cubicBezTo>
                      <a:pt x="19110" y="88219"/>
                      <a:pt x="18548" y="88219"/>
                      <a:pt x="18829" y="88767"/>
                    </a:cubicBezTo>
                    <a:cubicBezTo>
                      <a:pt x="19391" y="89315"/>
                      <a:pt x="19953" y="89315"/>
                      <a:pt x="20234" y="89315"/>
                    </a:cubicBezTo>
                    <a:cubicBezTo>
                      <a:pt x="20796" y="89315"/>
                      <a:pt x="20515" y="89863"/>
                      <a:pt x="20796" y="89863"/>
                    </a:cubicBezTo>
                    <a:cubicBezTo>
                      <a:pt x="21358" y="90410"/>
                      <a:pt x="21358" y="88767"/>
                      <a:pt x="21639" y="88767"/>
                    </a:cubicBezTo>
                    <a:cubicBezTo>
                      <a:pt x="21920" y="88767"/>
                      <a:pt x="21639" y="89863"/>
                      <a:pt x="21639" y="89863"/>
                    </a:cubicBezTo>
                    <a:cubicBezTo>
                      <a:pt x="21358" y="90410"/>
                      <a:pt x="21358" y="90410"/>
                      <a:pt x="21639" y="90958"/>
                    </a:cubicBezTo>
                    <a:cubicBezTo>
                      <a:pt x="22482" y="92054"/>
                      <a:pt x="22763" y="89315"/>
                      <a:pt x="22763" y="89315"/>
                    </a:cubicBezTo>
                    <a:cubicBezTo>
                      <a:pt x="22763" y="89315"/>
                      <a:pt x="22763" y="90958"/>
                      <a:pt x="22482" y="90958"/>
                    </a:cubicBezTo>
                    <a:cubicBezTo>
                      <a:pt x="22482" y="91506"/>
                      <a:pt x="23044" y="90958"/>
                      <a:pt x="23325" y="90958"/>
                    </a:cubicBezTo>
                    <a:cubicBezTo>
                      <a:pt x="23044" y="92054"/>
                      <a:pt x="22763" y="92602"/>
                      <a:pt x="23325" y="93150"/>
                    </a:cubicBezTo>
                    <a:cubicBezTo>
                      <a:pt x="23887" y="93698"/>
                      <a:pt x="24168" y="92054"/>
                      <a:pt x="24168" y="92054"/>
                    </a:cubicBezTo>
                    <a:cubicBezTo>
                      <a:pt x="24168" y="92054"/>
                      <a:pt x="24168" y="92602"/>
                      <a:pt x="24168" y="93150"/>
                    </a:cubicBezTo>
                    <a:cubicBezTo>
                      <a:pt x="24449" y="94246"/>
                      <a:pt x="24168" y="93698"/>
                      <a:pt x="23887" y="93698"/>
                    </a:cubicBezTo>
                    <a:cubicBezTo>
                      <a:pt x="23606" y="94246"/>
                      <a:pt x="25292" y="94794"/>
                      <a:pt x="25011" y="93698"/>
                    </a:cubicBezTo>
                    <a:cubicBezTo>
                      <a:pt x="25573" y="95342"/>
                      <a:pt x="25292" y="96438"/>
                      <a:pt x="26416" y="96438"/>
                    </a:cubicBezTo>
                    <a:cubicBezTo>
                      <a:pt x="27259" y="96438"/>
                      <a:pt x="27822" y="96438"/>
                      <a:pt x="28665" y="96438"/>
                    </a:cubicBezTo>
                    <a:cubicBezTo>
                      <a:pt x="31756" y="96438"/>
                      <a:pt x="34566" y="96438"/>
                      <a:pt x="37377" y="96438"/>
                    </a:cubicBezTo>
                    <a:cubicBezTo>
                      <a:pt x="44402" y="96438"/>
                      <a:pt x="51428" y="96438"/>
                      <a:pt x="58454" y="96438"/>
                    </a:cubicBezTo>
                    <a:cubicBezTo>
                      <a:pt x="59859" y="96438"/>
                      <a:pt x="61264" y="96438"/>
                      <a:pt x="62669" y="96438"/>
                    </a:cubicBezTo>
                    <a:cubicBezTo>
                      <a:pt x="62950" y="96438"/>
                      <a:pt x="64355" y="96986"/>
                      <a:pt x="64355" y="95342"/>
                    </a:cubicBezTo>
                    <a:close/>
                    <a:moveTo>
                      <a:pt x="31475" y="29589"/>
                    </a:moveTo>
                    <a:cubicBezTo>
                      <a:pt x="30913" y="29589"/>
                      <a:pt x="30351" y="29041"/>
                      <a:pt x="29789" y="29589"/>
                    </a:cubicBezTo>
                    <a:cubicBezTo>
                      <a:pt x="29227" y="31232"/>
                      <a:pt x="30351" y="30684"/>
                      <a:pt x="30351" y="31232"/>
                    </a:cubicBezTo>
                    <a:cubicBezTo>
                      <a:pt x="30351" y="30684"/>
                      <a:pt x="28103" y="32876"/>
                      <a:pt x="28103" y="32876"/>
                    </a:cubicBezTo>
                    <a:cubicBezTo>
                      <a:pt x="27540" y="32328"/>
                      <a:pt x="30070" y="29041"/>
                      <a:pt x="27822" y="30684"/>
                    </a:cubicBezTo>
                    <a:cubicBezTo>
                      <a:pt x="27540" y="30684"/>
                      <a:pt x="27259" y="31232"/>
                      <a:pt x="27259" y="31232"/>
                    </a:cubicBezTo>
                    <a:cubicBezTo>
                      <a:pt x="26978" y="31780"/>
                      <a:pt x="27259" y="32328"/>
                      <a:pt x="26978" y="32876"/>
                    </a:cubicBezTo>
                    <a:cubicBezTo>
                      <a:pt x="26697" y="32876"/>
                      <a:pt x="24730" y="32328"/>
                      <a:pt x="24730" y="32328"/>
                    </a:cubicBezTo>
                    <a:cubicBezTo>
                      <a:pt x="24730" y="31780"/>
                      <a:pt x="25573" y="32328"/>
                      <a:pt x="25573" y="31780"/>
                    </a:cubicBezTo>
                    <a:cubicBezTo>
                      <a:pt x="25854" y="31232"/>
                      <a:pt x="25573" y="31232"/>
                      <a:pt x="25854" y="30684"/>
                    </a:cubicBezTo>
                    <a:cubicBezTo>
                      <a:pt x="25854" y="30136"/>
                      <a:pt x="26416" y="29589"/>
                      <a:pt x="26416" y="29589"/>
                    </a:cubicBezTo>
                    <a:cubicBezTo>
                      <a:pt x="26416" y="29041"/>
                      <a:pt x="25573" y="28493"/>
                      <a:pt x="26416" y="28493"/>
                    </a:cubicBezTo>
                    <a:cubicBezTo>
                      <a:pt x="26416" y="28493"/>
                      <a:pt x="27540" y="29041"/>
                      <a:pt x="27540" y="28493"/>
                    </a:cubicBezTo>
                    <a:cubicBezTo>
                      <a:pt x="27540" y="27945"/>
                      <a:pt x="26135" y="27397"/>
                      <a:pt x="25854" y="27397"/>
                    </a:cubicBezTo>
                    <a:cubicBezTo>
                      <a:pt x="25573" y="27397"/>
                      <a:pt x="25011" y="27945"/>
                      <a:pt x="24449" y="27945"/>
                    </a:cubicBezTo>
                    <a:cubicBezTo>
                      <a:pt x="24168" y="27945"/>
                      <a:pt x="23606" y="27397"/>
                      <a:pt x="23044" y="27945"/>
                    </a:cubicBezTo>
                    <a:cubicBezTo>
                      <a:pt x="22763" y="27945"/>
                      <a:pt x="22201" y="29041"/>
                      <a:pt x="22482" y="27945"/>
                    </a:cubicBezTo>
                    <a:cubicBezTo>
                      <a:pt x="22763" y="26849"/>
                      <a:pt x="23325" y="27397"/>
                      <a:pt x="23606" y="26849"/>
                    </a:cubicBezTo>
                    <a:cubicBezTo>
                      <a:pt x="24168" y="26849"/>
                      <a:pt x="25011" y="26301"/>
                      <a:pt x="25573" y="25753"/>
                    </a:cubicBezTo>
                    <a:cubicBezTo>
                      <a:pt x="26697" y="25205"/>
                      <a:pt x="27822" y="25205"/>
                      <a:pt x="28665" y="24109"/>
                    </a:cubicBezTo>
                    <a:cubicBezTo>
                      <a:pt x="29227" y="24109"/>
                      <a:pt x="30070" y="23561"/>
                      <a:pt x="30351" y="24657"/>
                    </a:cubicBezTo>
                    <a:cubicBezTo>
                      <a:pt x="30632" y="25205"/>
                      <a:pt x="29508" y="25753"/>
                      <a:pt x="29227" y="26301"/>
                    </a:cubicBezTo>
                    <a:cubicBezTo>
                      <a:pt x="28665" y="26849"/>
                      <a:pt x="30913" y="26849"/>
                      <a:pt x="31194" y="26849"/>
                    </a:cubicBezTo>
                    <a:cubicBezTo>
                      <a:pt x="31194" y="26849"/>
                      <a:pt x="31756" y="26849"/>
                      <a:pt x="31756" y="26849"/>
                    </a:cubicBezTo>
                    <a:cubicBezTo>
                      <a:pt x="32037" y="26301"/>
                      <a:pt x="32599" y="25205"/>
                      <a:pt x="32880" y="25753"/>
                    </a:cubicBezTo>
                    <a:cubicBezTo>
                      <a:pt x="33161" y="26301"/>
                      <a:pt x="31756" y="29589"/>
                      <a:pt x="31475" y="29589"/>
                    </a:cubicBezTo>
                    <a:cubicBezTo>
                      <a:pt x="30913" y="29589"/>
                      <a:pt x="32037" y="29589"/>
                      <a:pt x="31475" y="29589"/>
                    </a:cubicBezTo>
                    <a:close/>
                    <a:moveTo>
                      <a:pt x="44121" y="42739"/>
                    </a:moveTo>
                    <a:cubicBezTo>
                      <a:pt x="44121" y="42739"/>
                      <a:pt x="42716" y="42739"/>
                      <a:pt x="42997" y="42739"/>
                    </a:cubicBezTo>
                    <a:cubicBezTo>
                      <a:pt x="42997" y="43287"/>
                      <a:pt x="43559" y="42739"/>
                      <a:pt x="43559" y="43287"/>
                    </a:cubicBezTo>
                    <a:cubicBezTo>
                      <a:pt x="43559" y="43835"/>
                      <a:pt x="42435" y="44383"/>
                      <a:pt x="42154" y="44383"/>
                    </a:cubicBezTo>
                    <a:cubicBezTo>
                      <a:pt x="41592" y="44383"/>
                      <a:pt x="41311" y="45479"/>
                      <a:pt x="40749" y="46027"/>
                    </a:cubicBezTo>
                    <a:cubicBezTo>
                      <a:pt x="40749" y="46027"/>
                      <a:pt x="39625" y="46027"/>
                      <a:pt x="39906" y="46575"/>
                    </a:cubicBezTo>
                    <a:cubicBezTo>
                      <a:pt x="39906" y="47123"/>
                      <a:pt x="40749" y="47123"/>
                      <a:pt x="39906" y="48219"/>
                    </a:cubicBezTo>
                    <a:cubicBezTo>
                      <a:pt x="39625" y="48219"/>
                      <a:pt x="38501" y="48219"/>
                      <a:pt x="38501" y="48767"/>
                    </a:cubicBezTo>
                    <a:cubicBezTo>
                      <a:pt x="38220" y="48767"/>
                      <a:pt x="38501" y="49315"/>
                      <a:pt x="38501" y="49315"/>
                    </a:cubicBezTo>
                    <a:cubicBezTo>
                      <a:pt x="38501" y="50410"/>
                      <a:pt x="37939" y="50410"/>
                      <a:pt x="37658" y="50410"/>
                    </a:cubicBezTo>
                    <a:cubicBezTo>
                      <a:pt x="36814" y="50958"/>
                      <a:pt x="35971" y="50958"/>
                      <a:pt x="35128" y="50958"/>
                    </a:cubicBezTo>
                    <a:cubicBezTo>
                      <a:pt x="35128" y="50958"/>
                      <a:pt x="33723" y="49315"/>
                      <a:pt x="33723" y="49315"/>
                    </a:cubicBezTo>
                    <a:cubicBezTo>
                      <a:pt x="34285" y="48767"/>
                      <a:pt x="35128" y="49315"/>
                      <a:pt x="35409" y="48767"/>
                    </a:cubicBezTo>
                    <a:cubicBezTo>
                      <a:pt x="35690" y="48767"/>
                      <a:pt x="35409" y="47671"/>
                      <a:pt x="35690" y="47671"/>
                    </a:cubicBezTo>
                    <a:cubicBezTo>
                      <a:pt x="35971" y="46575"/>
                      <a:pt x="36533" y="47123"/>
                      <a:pt x="36814" y="46575"/>
                    </a:cubicBezTo>
                    <a:cubicBezTo>
                      <a:pt x="37096" y="46575"/>
                      <a:pt x="36533" y="45479"/>
                      <a:pt x="36533" y="45479"/>
                    </a:cubicBezTo>
                    <a:cubicBezTo>
                      <a:pt x="35971" y="44931"/>
                      <a:pt x="35971" y="44931"/>
                      <a:pt x="35971" y="44383"/>
                    </a:cubicBezTo>
                    <a:cubicBezTo>
                      <a:pt x="35971" y="43287"/>
                      <a:pt x="35409" y="43835"/>
                      <a:pt x="35409" y="43287"/>
                    </a:cubicBezTo>
                    <a:cubicBezTo>
                      <a:pt x="35128" y="42739"/>
                      <a:pt x="35971" y="43287"/>
                      <a:pt x="35971" y="43287"/>
                    </a:cubicBezTo>
                    <a:cubicBezTo>
                      <a:pt x="36814" y="43835"/>
                      <a:pt x="37658" y="44383"/>
                      <a:pt x="38220" y="44931"/>
                    </a:cubicBezTo>
                    <a:cubicBezTo>
                      <a:pt x="38782" y="46027"/>
                      <a:pt x="39906" y="45479"/>
                      <a:pt x="40468" y="44931"/>
                    </a:cubicBezTo>
                    <a:cubicBezTo>
                      <a:pt x="41311" y="44383"/>
                      <a:pt x="41592" y="42739"/>
                      <a:pt x="42716" y="42191"/>
                    </a:cubicBezTo>
                    <a:cubicBezTo>
                      <a:pt x="42997" y="41643"/>
                      <a:pt x="43559" y="41643"/>
                      <a:pt x="44121" y="42191"/>
                    </a:cubicBezTo>
                    <a:cubicBezTo>
                      <a:pt x="44121" y="42191"/>
                      <a:pt x="44964" y="42739"/>
                      <a:pt x="44964" y="42739"/>
                    </a:cubicBezTo>
                    <a:cubicBezTo>
                      <a:pt x="44964" y="42739"/>
                      <a:pt x="44402" y="42739"/>
                      <a:pt x="44121" y="42739"/>
                    </a:cubicBezTo>
                    <a:close/>
                    <a:moveTo>
                      <a:pt x="62388" y="90410"/>
                    </a:moveTo>
                    <a:cubicBezTo>
                      <a:pt x="62107" y="91506"/>
                      <a:pt x="61545" y="89315"/>
                      <a:pt x="61545" y="88767"/>
                    </a:cubicBezTo>
                    <a:cubicBezTo>
                      <a:pt x="61545" y="87671"/>
                      <a:pt x="62107" y="87123"/>
                      <a:pt x="62107" y="86027"/>
                    </a:cubicBezTo>
                    <a:cubicBezTo>
                      <a:pt x="61826" y="85479"/>
                      <a:pt x="61545" y="87123"/>
                      <a:pt x="61264" y="86575"/>
                    </a:cubicBezTo>
                    <a:cubicBezTo>
                      <a:pt x="61264" y="86027"/>
                      <a:pt x="61264" y="84383"/>
                      <a:pt x="60702" y="84383"/>
                    </a:cubicBezTo>
                    <a:cubicBezTo>
                      <a:pt x="60702" y="84383"/>
                      <a:pt x="60702" y="85479"/>
                      <a:pt x="60421" y="85479"/>
                    </a:cubicBezTo>
                    <a:cubicBezTo>
                      <a:pt x="60140" y="84931"/>
                      <a:pt x="60140" y="84383"/>
                      <a:pt x="59859" y="83835"/>
                    </a:cubicBezTo>
                    <a:cubicBezTo>
                      <a:pt x="59578" y="83287"/>
                      <a:pt x="59297" y="82739"/>
                      <a:pt x="59016" y="82191"/>
                    </a:cubicBezTo>
                    <a:cubicBezTo>
                      <a:pt x="58735" y="81643"/>
                      <a:pt x="59578" y="81643"/>
                      <a:pt x="59578" y="81095"/>
                    </a:cubicBezTo>
                    <a:cubicBezTo>
                      <a:pt x="59297" y="80547"/>
                      <a:pt x="58735" y="81095"/>
                      <a:pt x="58735" y="80547"/>
                    </a:cubicBezTo>
                    <a:cubicBezTo>
                      <a:pt x="58735" y="80000"/>
                      <a:pt x="59016" y="78356"/>
                      <a:pt x="59016" y="77808"/>
                    </a:cubicBezTo>
                    <a:cubicBezTo>
                      <a:pt x="59578" y="76712"/>
                      <a:pt x="60983" y="80547"/>
                      <a:pt x="60983" y="81095"/>
                    </a:cubicBezTo>
                    <a:cubicBezTo>
                      <a:pt x="61264" y="82191"/>
                      <a:pt x="61545" y="82739"/>
                      <a:pt x="61545" y="83835"/>
                    </a:cubicBezTo>
                    <a:cubicBezTo>
                      <a:pt x="61826" y="84931"/>
                      <a:pt x="61826" y="84383"/>
                      <a:pt x="62107" y="85479"/>
                    </a:cubicBezTo>
                    <a:cubicBezTo>
                      <a:pt x="62107" y="86027"/>
                      <a:pt x="62388" y="86575"/>
                      <a:pt x="62388" y="87123"/>
                    </a:cubicBezTo>
                    <a:cubicBezTo>
                      <a:pt x="62669" y="88219"/>
                      <a:pt x="62388" y="89315"/>
                      <a:pt x="62388" y="90410"/>
                    </a:cubicBezTo>
                    <a:cubicBezTo>
                      <a:pt x="62107" y="90958"/>
                      <a:pt x="62388" y="89863"/>
                      <a:pt x="62388" y="9041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69" name="Shape 2520">
                <a:extLst>
                  <a:ext uri="{FF2B5EF4-FFF2-40B4-BE49-F238E27FC236}">
                    <a16:creationId xmlns:a16="http://schemas.microsoft.com/office/drawing/2014/main" id="{0B722F1B-8458-43E9-AF22-34753F974CBE}"/>
                  </a:ext>
                </a:extLst>
              </p:cNvPr>
              <p:cNvSpPr/>
              <p:nvPr/>
            </p:nvSpPr>
            <p:spPr>
              <a:xfrm>
                <a:off x="16905446" y="9743731"/>
                <a:ext cx="86210" cy="74737"/>
              </a:xfrm>
              <a:custGeom>
                <a:avLst/>
                <a:gdLst/>
                <a:ahLst/>
                <a:cxnLst/>
                <a:rect l="0" t="0" r="0" b="0"/>
                <a:pathLst>
                  <a:path w="120000" h="120000" extrusionOk="0">
                    <a:moveTo>
                      <a:pt x="108000" y="0"/>
                    </a:moveTo>
                    <a:cubicBezTo>
                      <a:pt x="84000" y="13333"/>
                      <a:pt x="0" y="53333"/>
                      <a:pt x="24000" y="93333"/>
                    </a:cubicBezTo>
                    <a:cubicBezTo>
                      <a:pt x="48000" y="120000"/>
                      <a:pt x="108000" y="40000"/>
                      <a:pt x="120000" y="40000"/>
                    </a:cubicBezTo>
                    <a:cubicBezTo>
                      <a:pt x="120000" y="26666"/>
                      <a:pt x="108000" y="13333"/>
                      <a:pt x="108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0" name="Shape 2521">
                <a:extLst>
                  <a:ext uri="{FF2B5EF4-FFF2-40B4-BE49-F238E27FC236}">
                    <a16:creationId xmlns:a16="http://schemas.microsoft.com/office/drawing/2014/main" id="{508C276F-E0F1-4B11-9C55-244B1C3BCDB6}"/>
                  </a:ext>
                </a:extLst>
              </p:cNvPr>
              <p:cNvSpPr/>
              <p:nvPr/>
            </p:nvSpPr>
            <p:spPr>
              <a:xfrm>
                <a:off x="16974412" y="9726483"/>
                <a:ext cx="109198" cy="40242"/>
              </a:xfrm>
              <a:custGeom>
                <a:avLst/>
                <a:gdLst/>
                <a:ahLst/>
                <a:cxnLst/>
                <a:rect l="0" t="0" r="0" b="0"/>
                <a:pathLst>
                  <a:path w="120000" h="120000" extrusionOk="0">
                    <a:moveTo>
                      <a:pt x="110769" y="0"/>
                    </a:moveTo>
                    <a:cubicBezTo>
                      <a:pt x="120000" y="0"/>
                      <a:pt x="64615" y="0"/>
                      <a:pt x="64615" y="0"/>
                    </a:cubicBezTo>
                    <a:cubicBezTo>
                      <a:pt x="55384" y="0"/>
                      <a:pt x="0" y="24000"/>
                      <a:pt x="9230" y="48000"/>
                    </a:cubicBezTo>
                    <a:cubicBezTo>
                      <a:pt x="27692" y="120000"/>
                      <a:pt x="18461" y="120000"/>
                      <a:pt x="46153" y="72000"/>
                    </a:cubicBezTo>
                    <a:cubicBezTo>
                      <a:pt x="73846" y="48000"/>
                      <a:pt x="92307" y="48000"/>
                      <a:pt x="110769"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1" name="Shape 2522">
                <a:extLst>
                  <a:ext uri="{FF2B5EF4-FFF2-40B4-BE49-F238E27FC236}">
                    <a16:creationId xmlns:a16="http://schemas.microsoft.com/office/drawing/2014/main" id="{87D77911-29DB-4AA5-89E8-619A6E6FD677}"/>
                  </a:ext>
                </a:extLst>
              </p:cNvPr>
              <p:cNvSpPr/>
              <p:nvPr/>
            </p:nvSpPr>
            <p:spPr>
              <a:xfrm>
                <a:off x="12330551" y="6990030"/>
                <a:ext cx="261506" cy="143723"/>
              </a:xfrm>
              <a:custGeom>
                <a:avLst/>
                <a:gdLst/>
                <a:ahLst/>
                <a:cxnLst/>
                <a:rect l="0" t="0" r="0" b="0"/>
                <a:pathLst>
                  <a:path w="120000" h="120000" extrusionOk="0">
                    <a:moveTo>
                      <a:pt x="38709" y="120000"/>
                    </a:moveTo>
                    <a:cubicBezTo>
                      <a:pt x="46451" y="120000"/>
                      <a:pt x="42580" y="98823"/>
                      <a:pt x="50322" y="98823"/>
                    </a:cubicBezTo>
                    <a:cubicBezTo>
                      <a:pt x="58064" y="98823"/>
                      <a:pt x="61935" y="112941"/>
                      <a:pt x="69677" y="112941"/>
                    </a:cubicBezTo>
                    <a:cubicBezTo>
                      <a:pt x="73548" y="112941"/>
                      <a:pt x="77419" y="112941"/>
                      <a:pt x="81290" y="112941"/>
                    </a:cubicBezTo>
                    <a:cubicBezTo>
                      <a:pt x="85161" y="112941"/>
                      <a:pt x="89032" y="105882"/>
                      <a:pt x="89032" y="105882"/>
                    </a:cubicBezTo>
                    <a:cubicBezTo>
                      <a:pt x="100645" y="98823"/>
                      <a:pt x="104516" y="91764"/>
                      <a:pt x="112258" y="77647"/>
                    </a:cubicBezTo>
                    <a:cubicBezTo>
                      <a:pt x="120000" y="63529"/>
                      <a:pt x="112258" y="56470"/>
                      <a:pt x="104516" y="49411"/>
                    </a:cubicBezTo>
                    <a:cubicBezTo>
                      <a:pt x="96774" y="42352"/>
                      <a:pt x="85161" y="21176"/>
                      <a:pt x="81290" y="35294"/>
                    </a:cubicBezTo>
                    <a:cubicBezTo>
                      <a:pt x="73548" y="56470"/>
                      <a:pt x="69677" y="28235"/>
                      <a:pt x="65806" y="21176"/>
                    </a:cubicBezTo>
                    <a:cubicBezTo>
                      <a:pt x="61935" y="14117"/>
                      <a:pt x="50322" y="21176"/>
                      <a:pt x="50322" y="0"/>
                    </a:cubicBezTo>
                    <a:cubicBezTo>
                      <a:pt x="50322" y="7058"/>
                      <a:pt x="46451" y="21176"/>
                      <a:pt x="42580" y="14117"/>
                    </a:cubicBezTo>
                    <a:cubicBezTo>
                      <a:pt x="34838" y="0"/>
                      <a:pt x="34838" y="0"/>
                      <a:pt x="30967" y="14117"/>
                    </a:cubicBezTo>
                    <a:cubicBezTo>
                      <a:pt x="27096" y="21176"/>
                      <a:pt x="0" y="35294"/>
                      <a:pt x="0" y="42352"/>
                    </a:cubicBezTo>
                    <a:cubicBezTo>
                      <a:pt x="0" y="42352"/>
                      <a:pt x="3870" y="63529"/>
                      <a:pt x="7741" y="70588"/>
                    </a:cubicBezTo>
                    <a:cubicBezTo>
                      <a:pt x="7741" y="77647"/>
                      <a:pt x="11612" y="84705"/>
                      <a:pt x="15483" y="91764"/>
                    </a:cubicBezTo>
                    <a:cubicBezTo>
                      <a:pt x="23225" y="98823"/>
                      <a:pt x="30967" y="120000"/>
                      <a:pt x="38709"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2" name="Shape 2523">
                <a:extLst>
                  <a:ext uri="{FF2B5EF4-FFF2-40B4-BE49-F238E27FC236}">
                    <a16:creationId xmlns:a16="http://schemas.microsoft.com/office/drawing/2014/main" id="{98B47E92-6C83-4629-9E3A-10D82F541223}"/>
                  </a:ext>
                </a:extLst>
              </p:cNvPr>
              <p:cNvSpPr/>
              <p:nvPr/>
            </p:nvSpPr>
            <p:spPr>
              <a:xfrm>
                <a:off x="12212731" y="7107882"/>
                <a:ext cx="313229" cy="135097"/>
              </a:xfrm>
              <a:custGeom>
                <a:avLst/>
                <a:gdLst/>
                <a:ahLst/>
                <a:cxnLst/>
                <a:rect l="0" t="0" r="0" b="0"/>
                <a:pathLst>
                  <a:path w="120000" h="120000" extrusionOk="0">
                    <a:moveTo>
                      <a:pt x="103783" y="15000"/>
                    </a:moveTo>
                    <a:cubicBezTo>
                      <a:pt x="97297" y="15000"/>
                      <a:pt x="90810" y="0"/>
                      <a:pt x="87567" y="0"/>
                    </a:cubicBezTo>
                    <a:cubicBezTo>
                      <a:pt x="81081" y="0"/>
                      <a:pt x="84324" y="22500"/>
                      <a:pt x="77837" y="22500"/>
                    </a:cubicBezTo>
                    <a:cubicBezTo>
                      <a:pt x="71351" y="22500"/>
                      <a:pt x="71351" y="15000"/>
                      <a:pt x="64864" y="22500"/>
                    </a:cubicBezTo>
                    <a:cubicBezTo>
                      <a:pt x="64864" y="22500"/>
                      <a:pt x="51891" y="45000"/>
                      <a:pt x="55135" y="52500"/>
                    </a:cubicBezTo>
                    <a:cubicBezTo>
                      <a:pt x="55135" y="60000"/>
                      <a:pt x="61621" y="75000"/>
                      <a:pt x="51891" y="67500"/>
                    </a:cubicBezTo>
                    <a:cubicBezTo>
                      <a:pt x="48648" y="67500"/>
                      <a:pt x="45405" y="60000"/>
                      <a:pt x="42162" y="67500"/>
                    </a:cubicBezTo>
                    <a:cubicBezTo>
                      <a:pt x="38918" y="67500"/>
                      <a:pt x="32432" y="75000"/>
                      <a:pt x="29189" y="75000"/>
                    </a:cubicBezTo>
                    <a:cubicBezTo>
                      <a:pt x="22702" y="75000"/>
                      <a:pt x="19459" y="60000"/>
                      <a:pt x="16216" y="82500"/>
                    </a:cubicBezTo>
                    <a:cubicBezTo>
                      <a:pt x="16216" y="82500"/>
                      <a:pt x="3243" y="67500"/>
                      <a:pt x="0" y="67500"/>
                    </a:cubicBezTo>
                    <a:cubicBezTo>
                      <a:pt x="0" y="82500"/>
                      <a:pt x="3243" y="90000"/>
                      <a:pt x="12972" y="97500"/>
                    </a:cubicBezTo>
                    <a:cubicBezTo>
                      <a:pt x="16216" y="97500"/>
                      <a:pt x="16216" y="97500"/>
                      <a:pt x="19459" y="97500"/>
                    </a:cubicBezTo>
                    <a:cubicBezTo>
                      <a:pt x="22702" y="97500"/>
                      <a:pt x="22702" y="112500"/>
                      <a:pt x="25945" y="105000"/>
                    </a:cubicBezTo>
                    <a:cubicBezTo>
                      <a:pt x="32432" y="97500"/>
                      <a:pt x="32432" y="97500"/>
                      <a:pt x="38918" y="97500"/>
                    </a:cubicBezTo>
                    <a:cubicBezTo>
                      <a:pt x="45405" y="97500"/>
                      <a:pt x="42162" y="105000"/>
                      <a:pt x="48648" y="112500"/>
                    </a:cubicBezTo>
                    <a:cubicBezTo>
                      <a:pt x="55135" y="120000"/>
                      <a:pt x="64864" y="120000"/>
                      <a:pt x="71351" y="120000"/>
                    </a:cubicBezTo>
                    <a:cubicBezTo>
                      <a:pt x="81081" y="120000"/>
                      <a:pt x="84324" y="105000"/>
                      <a:pt x="94054" y="105000"/>
                    </a:cubicBezTo>
                    <a:cubicBezTo>
                      <a:pt x="100540" y="105000"/>
                      <a:pt x="107027" y="97500"/>
                      <a:pt x="107027" y="90000"/>
                    </a:cubicBezTo>
                    <a:cubicBezTo>
                      <a:pt x="110270" y="82500"/>
                      <a:pt x="110270" y="75000"/>
                      <a:pt x="110270" y="67500"/>
                    </a:cubicBezTo>
                    <a:cubicBezTo>
                      <a:pt x="110270" y="52500"/>
                      <a:pt x="113513" y="67500"/>
                      <a:pt x="116756" y="60000"/>
                    </a:cubicBezTo>
                    <a:cubicBezTo>
                      <a:pt x="120000" y="45000"/>
                      <a:pt x="116756" y="22500"/>
                      <a:pt x="116756" y="15000"/>
                    </a:cubicBezTo>
                    <a:cubicBezTo>
                      <a:pt x="110270" y="15000"/>
                      <a:pt x="107027" y="15000"/>
                      <a:pt x="103783" y="1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3" name="Shape 2524">
                <a:extLst>
                  <a:ext uri="{FF2B5EF4-FFF2-40B4-BE49-F238E27FC236}">
                    <a16:creationId xmlns:a16="http://schemas.microsoft.com/office/drawing/2014/main" id="{BC062507-1905-4756-A89A-69A2E08C7406}"/>
                  </a:ext>
                </a:extLst>
              </p:cNvPr>
              <p:cNvSpPr/>
              <p:nvPr/>
            </p:nvSpPr>
            <p:spPr>
              <a:xfrm>
                <a:off x="12103531" y="7208485"/>
                <a:ext cx="479904" cy="465656"/>
              </a:xfrm>
              <a:custGeom>
                <a:avLst/>
                <a:gdLst/>
                <a:ahLst/>
                <a:cxnLst/>
                <a:rect l="0" t="0" r="0" b="0"/>
                <a:pathLst>
                  <a:path w="120000" h="120000" extrusionOk="0">
                    <a:moveTo>
                      <a:pt x="77894" y="21818"/>
                    </a:moveTo>
                    <a:cubicBezTo>
                      <a:pt x="80000" y="19636"/>
                      <a:pt x="84210" y="21818"/>
                      <a:pt x="86315" y="19636"/>
                    </a:cubicBezTo>
                    <a:cubicBezTo>
                      <a:pt x="90526" y="17454"/>
                      <a:pt x="88421" y="15272"/>
                      <a:pt x="90526" y="13090"/>
                    </a:cubicBezTo>
                    <a:cubicBezTo>
                      <a:pt x="90526" y="10909"/>
                      <a:pt x="92631" y="8727"/>
                      <a:pt x="94736" y="8727"/>
                    </a:cubicBezTo>
                    <a:cubicBezTo>
                      <a:pt x="96842" y="6545"/>
                      <a:pt x="94736" y="6545"/>
                      <a:pt x="94736" y="2181"/>
                    </a:cubicBezTo>
                    <a:cubicBezTo>
                      <a:pt x="92631" y="4363"/>
                      <a:pt x="90526" y="4363"/>
                      <a:pt x="86315" y="4363"/>
                    </a:cubicBezTo>
                    <a:cubicBezTo>
                      <a:pt x="82105" y="4363"/>
                      <a:pt x="77894" y="10909"/>
                      <a:pt x="75789" y="8727"/>
                    </a:cubicBezTo>
                    <a:cubicBezTo>
                      <a:pt x="69473" y="6545"/>
                      <a:pt x="58947" y="8727"/>
                      <a:pt x="56842" y="2181"/>
                    </a:cubicBezTo>
                    <a:cubicBezTo>
                      <a:pt x="54736" y="0"/>
                      <a:pt x="48421" y="2181"/>
                      <a:pt x="46315" y="2181"/>
                    </a:cubicBezTo>
                    <a:cubicBezTo>
                      <a:pt x="42105" y="6545"/>
                      <a:pt x="42105" y="2181"/>
                      <a:pt x="40000" y="2181"/>
                    </a:cubicBezTo>
                    <a:cubicBezTo>
                      <a:pt x="37894" y="2181"/>
                      <a:pt x="37894" y="6545"/>
                      <a:pt x="37894" y="6545"/>
                    </a:cubicBezTo>
                    <a:cubicBezTo>
                      <a:pt x="37894" y="6545"/>
                      <a:pt x="35789" y="8727"/>
                      <a:pt x="35789" y="8727"/>
                    </a:cubicBezTo>
                    <a:cubicBezTo>
                      <a:pt x="35789" y="10909"/>
                      <a:pt x="33684" y="10909"/>
                      <a:pt x="31578" y="10909"/>
                    </a:cubicBezTo>
                    <a:cubicBezTo>
                      <a:pt x="31578" y="10909"/>
                      <a:pt x="29473" y="10909"/>
                      <a:pt x="27368" y="10909"/>
                    </a:cubicBezTo>
                    <a:cubicBezTo>
                      <a:pt x="27368" y="10909"/>
                      <a:pt x="27368" y="10909"/>
                      <a:pt x="25263" y="8727"/>
                    </a:cubicBezTo>
                    <a:cubicBezTo>
                      <a:pt x="25263" y="8727"/>
                      <a:pt x="23157" y="15272"/>
                      <a:pt x="23157" y="17454"/>
                    </a:cubicBezTo>
                    <a:cubicBezTo>
                      <a:pt x="23157" y="19636"/>
                      <a:pt x="18947" y="13090"/>
                      <a:pt x="18947" y="10909"/>
                    </a:cubicBezTo>
                    <a:cubicBezTo>
                      <a:pt x="14736" y="8727"/>
                      <a:pt x="12631" y="15272"/>
                      <a:pt x="10526" y="15272"/>
                    </a:cubicBezTo>
                    <a:cubicBezTo>
                      <a:pt x="6315" y="15272"/>
                      <a:pt x="2105" y="15272"/>
                      <a:pt x="0" y="15272"/>
                    </a:cubicBezTo>
                    <a:cubicBezTo>
                      <a:pt x="0" y="17454"/>
                      <a:pt x="2105" y="19636"/>
                      <a:pt x="2105" y="21818"/>
                    </a:cubicBezTo>
                    <a:cubicBezTo>
                      <a:pt x="2105" y="26181"/>
                      <a:pt x="0" y="26181"/>
                      <a:pt x="0" y="30545"/>
                    </a:cubicBezTo>
                    <a:cubicBezTo>
                      <a:pt x="0" y="32727"/>
                      <a:pt x="0" y="39272"/>
                      <a:pt x="4210" y="39272"/>
                    </a:cubicBezTo>
                    <a:cubicBezTo>
                      <a:pt x="6315" y="41454"/>
                      <a:pt x="8421" y="39272"/>
                      <a:pt x="8421" y="45818"/>
                    </a:cubicBezTo>
                    <a:cubicBezTo>
                      <a:pt x="12631" y="43636"/>
                      <a:pt x="21052" y="34909"/>
                      <a:pt x="25263" y="37090"/>
                    </a:cubicBezTo>
                    <a:cubicBezTo>
                      <a:pt x="27368" y="39272"/>
                      <a:pt x="29473" y="41454"/>
                      <a:pt x="31578" y="41454"/>
                    </a:cubicBezTo>
                    <a:cubicBezTo>
                      <a:pt x="33684" y="41454"/>
                      <a:pt x="35789" y="45818"/>
                      <a:pt x="35789" y="48000"/>
                    </a:cubicBezTo>
                    <a:cubicBezTo>
                      <a:pt x="37894" y="50181"/>
                      <a:pt x="37894" y="52363"/>
                      <a:pt x="37894" y="54545"/>
                    </a:cubicBezTo>
                    <a:cubicBezTo>
                      <a:pt x="40000" y="56727"/>
                      <a:pt x="42105" y="58909"/>
                      <a:pt x="44210" y="61090"/>
                    </a:cubicBezTo>
                    <a:cubicBezTo>
                      <a:pt x="48421" y="63272"/>
                      <a:pt x="52631" y="67636"/>
                      <a:pt x="58947" y="72000"/>
                    </a:cubicBezTo>
                    <a:cubicBezTo>
                      <a:pt x="63157" y="76363"/>
                      <a:pt x="65263" y="76363"/>
                      <a:pt x="69473" y="78545"/>
                    </a:cubicBezTo>
                    <a:cubicBezTo>
                      <a:pt x="75789" y="82909"/>
                      <a:pt x="80000" y="89454"/>
                      <a:pt x="88421" y="91636"/>
                    </a:cubicBezTo>
                    <a:cubicBezTo>
                      <a:pt x="92631" y="93818"/>
                      <a:pt x="92631" y="100363"/>
                      <a:pt x="94736" y="104727"/>
                    </a:cubicBezTo>
                    <a:cubicBezTo>
                      <a:pt x="94736" y="109090"/>
                      <a:pt x="88421" y="113454"/>
                      <a:pt x="90526" y="120000"/>
                    </a:cubicBezTo>
                    <a:cubicBezTo>
                      <a:pt x="90526" y="117818"/>
                      <a:pt x="103157" y="106909"/>
                      <a:pt x="103157" y="104727"/>
                    </a:cubicBezTo>
                    <a:cubicBezTo>
                      <a:pt x="105263" y="102545"/>
                      <a:pt x="98947" y="98181"/>
                      <a:pt x="98947" y="98181"/>
                    </a:cubicBezTo>
                    <a:cubicBezTo>
                      <a:pt x="94736" y="93818"/>
                      <a:pt x="103157" y="85090"/>
                      <a:pt x="105263" y="87272"/>
                    </a:cubicBezTo>
                    <a:cubicBezTo>
                      <a:pt x="107368" y="89454"/>
                      <a:pt x="109473" y="89454"/>
                      <a:pt x="111578" y="89454"/>
                    </a:cubicBezTo>
                    <a:cubicBezTo>
                      <a:pt x="113684" y="91636"/>
                      <a:pt x="113684" y="93818"/>
                      <a:pt x="115789" y="96000"/>
                    </a:cubicBezTo>
                    <a:cubicBezTo>
                      <a:pt x="119999" y="96000"/>
                      <a:pt x="113684" y="87272"/>
                      <a:pt x="111578" y="85090"/>
                    </a:cubicBezTo>
                    <a:cubicBezTo>
                      <a:pt x="107368" y="80727"/>
                      <a:pt x="98947" y="80727"/>
                      <a:pt x="92631" y="76363"/>
                    </a:cubicBezTo>
                    <a:cubicBezTo>
                      <a:pt x="90526" y="74181"/>
                      <a:pt x="96842" y="69818"/>
                      <a:pt x="92631" y="69818"/>
                    </a:cubicBezTo>
                    <a:cubicBezTo>
                      <a:pt x="90526" y="67636"/>
                      <a:pt x="86315" y="69818"/>
                      <a:pt x="82105" y="67636"/>
                    </a:cubicBezTo>
                    <a:cubicBezTo>
                      <a:pt x="77894" y="65454"/>
                      <a:pt x="75789" y="61090"/>
                      <a:pt x="73684" y="56727"/>
                    </a:cubicBezTo>
                    <a:cubicBezTo>
                      <a:pt x="71578" y="52363"/>
                      <a:pt x="71578" y="48000"/>
                      <a:pt x="67368" y="45818"/>
                    </a:cubicBezTo>
                    <a:cubicBezTo>
                      <a:pt x="65263" y="43636"/>
                      <a:pt x="56842" y="41454"/>
                      <a:pt x="56842" y="37090"/>
                    </a:cubicBezTo>
                    <a:cubicBezTo>
                      <a:pt x="56842" y="34909"/>
                      <a:pt x="56842" y="32727"/>
                      <a:pt x="56842" y="32727"/>
                    </a:cubicBezTo>
                    <a:cubicBezTo>
                      <a:pt x="58947" y="28363"/>
                      <a:pt x="58947" y="28363"/>
                      <a:pt x="58947" y="26181"/>
                    </a:cubicBezTo>
                    <a:cubicBezTo>
                      <a:pt x="56842" y="19636"/>
                      <a:pt x="63157" y="21818"/>
                      <a:pt x="63157" y="19636"/>
                    </a:cubicBezTo>
                    <a:cubicBezTo>
                      <a:pt x="65263" y="17454"/>
                      <a:pt x="67368" y="17454"/>
                      <a:pt x="67368" y="17454"/>
                    </a:cubicBezTo>
                    <a:cubicBezTo>
                      <a:pt x="71578" y="17454"/>
                      <a:pt x="71578" y="19636"/>
                      <a:pt x="71578" y="21818"/>
                    </a:cubicBezTo>
                    <a:cubicBezTo>
                      <a:pt x="73684" y="21818"/>
                      <a:pt x="75789" y="21818"/>
                      <a:pt x="77894" y="21818"/>
                    </a:cubicBezTo>
                    <a:cubicBezTo>
                      <a:pt x="77894" y="19636"/>
                      <a:pt x="75789" y="21818"/>
                      <a:pt x="77894" y="2181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4" name="Shape 2525">
                <a:extLst>
                  <a:ext uri="{FF2B5EF4-FFF2-40B4-BE49-F238E27FC236}">
                    <a16:creationId xmlns:a16="http://schemas.microsoft.com/office/drawing/2014/main" id="{01360344-DB92-4423-9463-686DAA7A669C}"/>
                  </a:ext>
                </a:extLst>
              </p:cNvPr>
              <p:cNvSpPr/>
              <p:nvPr/>
            </p:nvSpPr>
            <p:spPr>
              <a:xfrm>
                <a:off x="12382276" y="7234356"/>
                <a:ext cx="227020" cy="212707"/>
              </a:xfrm>
              <a:custGeom>
                <a:avLst/>
                <a:gdLst/>
                <a:ahLst/>
                <a:cxnLst/>
                <a:rect l="0" t="0" r="0" b="0"/>
                <a:pathLst>
                  <a:path w="120000" h="120000" extrusionOk="0">
                    <a:moveTo>
                      <a:pt x="53333" y="48000"/>
                    </a:moveTo>
                    <a:cubicBezTo>
                      <a:pt x="66666" y="48000"/>
                      <a:pt x="80000" y="38400"/>
                      <a:pt x="93333" y="43200"/>
                    </a:cubicBezTo>
                    <a:cubicBezTo>
                      <a:pt x="102222" y="43200"/>
                      <a:pt x="111111" y="48000"/>
                      <a:pt x="120000" y="52800"/>
                    </a:cubicBezTo>
                    <a:cubicBezTo>
                      <a:pt x="115555" y="43200"/>
                      <a:pt x="115555" y="33600"/>
                      <a:pt x="111111" y="19200"/>
                    </a:cubicBezTo>
                    <a:cubicBezTo>
                      <a:pt x="97777" y="28800"/>
                      <a:pt x="84444" y="19200"/>
                      <a:pt x="75555" y="14400"/>
                    </a:cubicBezTo>
                    <a:cubicBezTo>
                      <a:pt x="66666" y="9600"/>
                      <a:pt x="62222" y="9600"/>
                      <a:pt x="57777" y="0"/>
                    </a:cubicBezTo>
                    <a:cubicBezTo>
                      <a:pt x="57777" y="0"/>
                      <a:pt x="48888" y="4800"/>
                      <a:pt x="48888" y="9600"/>
                    </a:cubicBezTo>
                    <a:cubicBezTo>
                      <a:pt x="40000" y="14400"/>
                      <a:pt x="44444" y="38400"/>
                      <a:pt x="26666" y="33600"/>
                    </a:cubicBezTo>
                    <a:cubicBezTo>
                      <a:pt x="17777" y="28800"/>
                      <a:pt x="8888" y="33600"/>
                      <a:pt x="4444" y="33600"/>
                    </a:cubicBezTo>
                    <a:cubicBezTo>
                      <a:pt x="0" y="38400"/>
                      <a:pt x="4444" y="52800"/>
                      <a:pt x="4444" y="52800"/>
                    </a:cubicBezTo>
                    <a:cubicBezTo>
                      <a:pt x="4444" y="52800"/>
                      <a:pt x="13333" y="48000"/>
                      <a:pt x="13333" y="48000"/>
                    </a:cubicBezTo>
                    <a:cubicBezTo>
                      <a:pt x="17777" y="48000"/>
                      <a:pt x="17777" y="57600"/>
                      <a:pt x="17777" y="62400"/>
                    </a:cubicBezTo>
                    <a:cubicBezTo>
                      <a:pt x="17777" y="52800"/>
                      <a:pt x="22222" y="38400"/>
                      <a:pt x="26666" y="48000"/>
                    </a:cubicBezTo>
                    <a:cubicBezTo>
                      <a:pt x="31111" y="62400"/>
                      <a:pt x="40000" y="72000"/>
                      <a:pt x="48888" y="81600"/>
                    </a:cubicBezTo>
                    <a:cubicBezTo>
                      <a:pt x="62222" y="96000"/>
                      <a:pt x="84444" y="105600"/>
                      <a:pt x="102222" y="120000"/>
                    </a:cubicBezTo>
                    <a:cubicBezTo>
                      <a:pt x="102222" y="110400"/>
                      <a:pt x="102222" y="110400"/>
                      <a:pt x="93333" y="105600"/>
                    </a:cubicBezTo>
                    <a:cubicBezTo>
                      <a:pt x="84444" y="100800"/>
                      <a:pt x="75555" y="96000"/>
                      <a:pt x="71111" y="91200"/>
                    </a:cubicBezTo>
                    <a:cubicBezTo>
                      <a:pt x="62222" y="81600"/>
                      <a:pt x="40000" y="48000"/>
                      <a:pt x="53333" y="4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5" name="Shape 2526">
                <a:extLst>
                  <a:ext uri="{FF2B5EF4-FFF2-40B4-BE49-F238E27FC236}">
                    <a16:creationId xmlns:a16="http://schemas.microsoft.com/office/drawing/2014/main" id="{8DD2C349-8500-4FC4-93B0-B65D8B077D38}"/>
                  </a:ext>
                </a:extLst>
              </p:cNvPr>
              <p:cNvSpPr/>
              <p:nvPr/>
            </p:nvSpPr>
            <p:spPr>
              <a:xfrm>
                <a:off x="11606382" y="6990030"/>
                <a:ext cx="557493" cy="480028"/>
              </a:xfrm>
              <a:custGeom>
                <a:avLst/>
                <a:gdLst/>
                <a:ahLst/>
                <a:cxnLst/>
                <a:rect l="0" t="0" r="0" b="0"/>
                <a:pathLst>
                  <a:path w="120000" h="120000" extrusionOk="0">
                    <a:moveTo>
                      <a:pt x="107272" y="65263"/>
                    </a:moveTo>
                    <a:cubicBezTo>
                      <a:pt x="105454" y="61052"/>
                      <a:pt x="100000" y="69473"/>
                      <a:pt x="101818" y="63157"/>
                    </a:cubicBezTo>
                    <a:cubicBezTo>
                      <a:pt x="101818" y="61052"/>
                      <a:pt x="107272" y="50526"/>
                      <a:pt x="109090" y="50526"/>
                    </a:cubicBezTo>
                    <a:cubicBezTo>
                      <a:pt x="110909" y="48421"/>
                      <a:pt x="112727" y="52631"/>
                      <a:pt x="114545" y="48421"/>
                    </a:cubicBezTo>
                    <a:cubicBezTo>
                      <a:pt x="116363" y="42105"/>
                      <a:pt x="114545" y="37894"/>
                      <a:pt x="118181" y="31578"/>
                    </a:cubicBezTo>
                    <a:cubicBezTo>
                      <a:pt x="120000" y="27368"/>
                      <a:pt x="110909" y="27368"/>
                      <a:pt x="109090" y="27368"/>
                    </a:cubicBezTo>
                    <a:cubicBezTo>
                      <a:pt x="105454" y="27368"/>
                      <a:pt x="103636" y="25263"/>
                      <a:pt x="103636" y="23157"/>
                    </a:cubicBezTo>
                    <a:cubicBezTo>
                      <a:pt x="101818" y="23157"/>
                      <a:pt x="100000" y="23157"/>
                      <a:pt x="100000" y="23157"/>
                    </a:cubicBezTo>
                    <a:cubicBezTo>
                      <a:pt x="96363" y="23157"/>
                      <a:pt x="87272" y="18947"/>
                      <a:pt x="87272" y="14736"/>
                    </a:cubicBezTo>
                    <a:cubicBezTo>
                      <a:pt x="85454" y="21052"/>
                      <a:pt x="80000" y="10526"/>
                      <a:pt x="78181" y="10526"/>
                    </a:cubicBezTo>
                    <a:cubicBezTo>
                      <a:pt x="74545" y="8421"/>
                      <a:pt x="70909" y="6315"/>
                      <a:pt x="69090" y="2105"/>
                    </a:cubicBezTo>
                    <a:cubicBezTo>
                      <a:pt x="67272" y="0"/>
                      <a:pt x="63636" y="0"/>
                      <a:pt x="61818" y="2105"/>
                    </a:cubicBezTo>
                    <a:cubicBezTo>
                      <a:pt x="60000" y="4210"/>
                      <a:pt x="58181" y="8421"/>
                      <a:pt x="60000" y="10526"/>
                    </a:cubicBezTo>
                    <a:cubicBezTo>
                      <a:pt x="60000" y="12631"/>
                      <a:pt x="56363" y="14736"/>
                      <a:pt x="54545" y="16842"/>
                    </a:cubicBezTo>
                    <a:cubicBezTo>
                      <a:pt x="52727" y="16842"/>
                      <a:pt x="49090" y="16842"/>
                      <a:pt x="47272" y="21052"/>
                    </a:cubicBezTo>
                    <a:cubicBezTo>
                      <a:pt x="47272" y="23157"/>
                      <a:pt x="45454" y="25263"/>
                      <a:pt x="43636" y="25263"/>
                    </a:cubicBezTo>
                    <a:cubicBezTo>
                      <a:pt x="40000" y="25263"/>
                      <a:pt x="38181" y="25263"/>
                      <a:pt x="36363" y="23157"/>
                    </a:cubicBezTo>
                    <a:cubicBezTo>
                      <a:pt x="32727" y="23157"/>
                      <a:pt x="32727" y="21052"/>
                      <a:pt x="29090" y="21052"/>
                    </a:cubicBezTo>
                    <a:cubicBezTo>
                      <a:pt x="25454" y="18947"/>
                      <a:pt x="36363" y="33684"/>
                      <a:pt x="29090" y="33684"/>
                    </a:cubicBezTo>
                    <a:cubicBezTo>
                      <a:pt x="23636" y="33684"/>
                      <a:pt x="20000" y="35789"/>
                      <a:pt x="16363" y="31578"/>
                    </a:cubicBezTo>
                    <a:cubicBezTo>
                      <a:pt x="14545" y="29473"/>
                      <a:pt x="1818" y="33684"/>
                      <a:pt x="1818" y="35789"/>
                    </a:cubicBezTo>
                    <a:cubicBezTo>
                      <a:pt x="1818" y="37894"/>
                      <a:pt x="7272" y="37894"/>
                      <a:pt x="3636" y="40000"/>
                    </a:cubicBezTo>
                    <a:cubicBezTo>
                      <a:pt x="0" y="42105"/>
                      <a:pt x="5454" y="44210"/>
                      <a:pt x="7272" y="44210"/>
                    </a:cubicBezTo>
                    <a:cubicBezTo>
                      <a:pt x="10909" y="46315"/>
                      <a:pt x="27272" y="48421"/>
                      <a:pt x="27272" y="52631"/>
                    </a:cubicBezTo>
                    <a:cubicBezTo>
                      <a:pt x="27272" y="54736"/>
                      <a:pt x="23636" y="54736"/>
                      <a:pt x="25454" y="58947"/>
                    </a:cubicBezTo>
                    <a:cubicBezTo>
                      <a:pt x="29090" y="63157"/>
                      <a:pt x="30909" y="63157"/>
                      <a:pt x="34545" y="65263"/>
                    </a:cubicBezTo>
                    <a:cubicBezTo>
                      <a:pt x="38181" y="67368"/>
                      <a:pt x="32727" y="71578"/>
                      <a:pt x="36363" y="73684"/>
                    </a:cubicBezTo>
                    <a:cubicBezTo>
                      <a:pt x="36363" y="73684"/>
                      <a:pt x="40000" y="80000"/>
                      <a:pt x="40000" y="80000"/>
                    </a:cubicBezTo>
                    <a:cubicBezTo>
                      <a:pt x="38181" y="82105"/>
                      <a:pt x="36363" y="75789"/>
                      <a:pt x="34545" y="75789"/>
                    </a:cubicBezTo>
                    <a:cubicBezTo>
                      <a:pt x="32727" y="75789"/>
                      <a:pt x="34545" y="101052"/>
                      <a:pt x="29090" y="103157"/>
                    </a:cubicBezTo>
                    <a:cubicBezTo>
                      <a:pt x="34545" y="107368"/>
                      <a:pt x="41818" y="113684"/>
                      <a:pt x="49090" y="111578"/>
                    </a:cubicBezTo>
                    <a:cubicBezTo>
                      <a:pt x="50909" y="111578"/>
                      <a:pt x="52727" y="109473"/>
                      <a:pt x="54545" y="111578"/>
                    </a:cubicBezTo>
                    <a:cubicBezTo>
                      <a:pt x="56363" y="111578"/>
                      <a:pt x="58181" y="113684"/>
                      <a:pt x="60000" y="115789"/>
                    </a:cubicBezTo>
                    <a:cubicBezTo>
                      <a:pt x="63636" y="117894"/>
                      <a:pt x="74545" y="119999"/>
                      <a:pt x="72727" y="113684"/>
                    </a:cubicBezTo>
                    <a:cubicBezTo>
                      <a:pt x="70909" y="103157"/>
                      <a:pt x="80000" y="98947"/>
                      <a:pt x="85454" y="101052"/>
                    </a:cubicBezTo>
                    <a:cubicBezTo>
                      <a:pt x="92727" y="103157"/>
                      <a:pt x="96363" y="109473"/>
                      <a:pt x="103636" y="105263"/>
                    </a:cubicBezTo>
                    <a:cubicBezTo>
                      <a:pt x="107272" y="103157"/>
                      <a:pt x="109090" y="101052"/>
                      <a:pt x="112727" y="98947"/>
                    </a:cubicBezTo>
                    <a:cubicBezTo>
                      <a:pt x="112727" y="98947"/>
                      <a:pt x="116363" y="94736"/>
                      <a:pt x="112727" y="94736"/>
                    </a:cubicBezTo>
                    <a:cubicBezTo>
                      <a:pt x="109090" y="92631"/>
                      <a:pt x="105454" y="84210"/>
                      <a:pt x="107272" y="80000"/>
                    </a:cubicBezTo>
                    <a:cubicBezTo>
                      <a:pt x="110909" y="75789"/>
                      <a:pt x="109090" y="75789"/>
                      <a:pt x="107272" y="71578"/>
                    </a:cubicBezTo>
                    <a:cubicBezTo>
                      <a:pt x="107272" y="69473"/>
                      <a:pt x="107272" y="67368"/>
                      <a:pt x="107272" y="65263"/>
                    </a:cubicBezTo>
                    <a:cubicBezTo>
                      <a:pt x="105454" y="63157"/>
                      <a:pt x="107272" y="67368"/>
                      <a:pt x="107272" y="6526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6" name="Shape 2527">
                <a:extLst>
                  <a:ext uri="{FF2B5EF4-FFF2-40B4-BE49-F238E27FC236}">
                    <a16:creationId xmlns:a16="http://schemas.microsoft.com/office/drawing/2014/main" id="{8CBE9B45-68FA-4F93-8626-32DBB77EA0D9}"/>
                  </a:ext>
                </a:extLst>
              </p:cNvPr>
              <p:cNvSpPr/>
              <p:nvPr/>
            </p:nvSpPr>
            <p:spPr>
              <a:xfrm>
                <a:off x="12069045" y="7176869"/>
                <a:ext cx="186789" cy="126474"/>
              </a:xfrm>
              <a:custGeom>
                <a:avLst/>
                <a:gdLst/>
                <a:ahLst/>
                <a:cxnLst/>
                <a:rect l="0" t="0" r="0" b="0"/>
                <a:pathLst>
                  <a:path w="120000" h="120000" extrusionOk="0">
                    <a:moveTo>
                      <a:pt x="92727" y="8000"/>
                    </a:moveTo>
                    <a:cubicBezTo>
                      <a:pt x="76363" y="0"/>
                      <a:pt x="65454" y="8000"/>
                      <a:pt x="49090" y="8000"/>
                    </a:cubicBezTo>
                    <a:cubicBezTo>
                      <a:pt x="38181" y="8000"/>
                      <a:pt x="49090" y="8000"/>
                      <a:pt x="43636" y="16000"/>
                    </a:cubicBezTo>
                    <a:cubicBezTo>
                      <a:pt x="38181" y="16000"/>
                      <a:pt x="27272" y="16000"/>
                      <a:pt x="27272" y="16000"/>
                    </a:cubicBezTo>
                    <a:cubicBezTo>
                      <a:pt x="21818" y="16000"/>
                      <a:pt x="16363" y="40000"/>
                      <a:pt x="16363" y="40000"/>
                    </a:cubicBezTo>
                    <a:cubicBezTo>
                      <a:pt x="10909" y="48000"/>
                      <a:pt x="0" y="80000"/>
                      <a:pt x="5454" y="72000"/>
                    </a:cubicBezTo>
                    <a:cubicBezTo>
                      <a:pt x="16363" y="72000"/>
                      <a:pt x="16363" y="64000"/>
                      <a:pt x="21818" y="80000"/>
                    </a:cubicBezTo>
                    <a:cubicBezTo>
                      <a:pt x="21818" y="96000"/>
                      <a:pt x="27272" y="88000"/>
                      <a:pt x="38181" y="88000"/>
                    </a:cubicBezTo>
                    <a:cubicBezTo>
                      <a:pt x="43636" y="88000"/>
                      <a:pt x="54545" y="88000"/>
                      <a:pt x="60000" y="80000"/>
                    </a:cubicBezTo>
                    <a:cubicBezTo>
                      <a:pt x="65454" y="64000"/>
                      <a:pt x="70909" y="72000"/>
                      <a:pt x="70909" y="80000"/>
                    </a:cubicBezTo>
                    <a:cubicBezTo>
                      <a:pt x="87272" y="120000"/>
                      <a:pt x="81818" y="64000"/>
                      <a:pt x="87272" y="64000"/>
                    </a:cubicBezTo>
                    <a:cubicBezTo>
                      <a:pt x="92727" y="64000"/>
                      <a:pt x="92727" y="72000"/>
                      <a:pt x="98181" y="72000"/>
                    </a:cubicBezTo>
                    <a:cubicBezTo>
                      <a:pt x="103636" y="72000"/>
                      <a:pt x="109090" y="72000"/>
                      <a:pt x="114545" y="64000"/>
                    </a:cubicBezTo>
                    <a:cubicBezTo>
                      <a:pt x="120000" y="56000"/>
                      <a:pt x="120000" y="56000"/>
                      <a:pt x="120000" y="40000"/>
                    </a:cubicBezTo>
                    <a:cubicBezTo>
                      <a:pt x="120000" y="40000"/>
                      <a:pt x="103636" y="32000"/>
                      <a:pt x="98181" y="32000"/>
                    </a:cubicBezTo>
                    <a:cubicBezTo>
                      <a:pt x="92727" y="24000"/>
                      <a:pt x="92727" y="16000"/>
                      <a:pt x="92727" y="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7" name="Shape 2528">
                <a:extLst>
                  <a:ext uri="{FF2B5EF4-FFF2-40B4-BE49-F238E27FC236}">
                    <a16:creationId xmlns:a16="http://schemas.microsoft.com/office/drawing/2014/main" id="{3036D086-E1FB-47DE-A817-5FBB4315109B}"/>
                  </a:ext>
                </a:extLst>
              </p:cNvPr>
              <p:cNvSpPr/>
              <p:nvPr/>
            </p:nvSpPr>
            <p:spPr>
              <a:xfrm>
                <a:off x="11910995" y="6972783"/>
                <a:ext cx="175294" cy="109228"/>
              </a:xfrm>
              <a:custGeom>
                <a:avLst/>
                <a:gdLst/>
                <a:ahLst/>
                <a:cxnLst/>
                <a:rect l="0" t="0" r="0" b="0"/>
                <a:pathLst>
                  <a:path w="120000" h="120000" extrusionOk="0">
                    <a:moveTo>
                      <a:pt x="108571" y="83076"/>
                    </a:moveTo>
                    <a:cubicBezTo>
                      <a:pt x="102857" y="83076"/>
                      <a:pt x="120000" y="64615"/>
                      <a:pt x="114285" y="55384"/>
                    </a:cubicBezTo>
                    <a:cubicBezTo>
                      <a:pt x="114285" y="46153"/>
                      <a:pt x="108571" y="27692"/>
                      <a:pt x="102857" y="27692"/>
                    </a:cubicBezTo>
                    <a:cubicBezTo>
                      <a:pt x="97142" y="18461"/>
                      <a:pt x="85714" y="0"/>
                      <a:pt x="74285" y="0"/>
                    </a:cubicBezTo>
                    <a:cubicBezTo>
                      <a:pt x="62857" y="0"/>
                      <a:pt x="57142" y="9230"/>
                      <a:pt x="45714" y="9230"/>
                    </a:cubicBezTo>
                    <a:cubicBezTo>
                      <a:pt x="34285" y="9230"/>
                      <a:pt x="28571" y="0"/>
                      <a:pt x="17142" y="9230"/>
                    </a:cubicBezTo>
                    <a:cubicBezTo>
                      <a:pt x="0" y="27692"/>
                      <a:pt x="17142" y="46153"/>
                      <a:pt x="28571" y="55384"/>
                    </a:cubicBezTo>
                    <a:cubicBezTo>
                      <a:pt x="40000" y="64615"/>
                      <a:pt x="45714" y="64615"/>
                      <a:pt x="57142" y="83076"/>
                    </a:cubicBezTo>
                    <a:cubicBezTo>
                      <a:pt x="57142" y="92307"/>
                      <a:pt x="68571" y="92307"/>
                      <a:pt x="68571" y="83076"/>
                    </a:cubicBezTo>
                    <a:cubicBezTo>
                      <a:pt x="68571" y="92307"/>
                      <a:pt x="97142" y="120000"/>
                      <a:pt x="102857" y="120000"/>
                    </a:cubicBezTo>
                    <a:cubicBezTo>
                      <a:pt x="102857" y="101538"/>
                      <a:pt x="102857" y="92307"/>
                      <a:pt x="108571" y="83076"/>
                    </a:cubicBezTo>
                    <a:cubicBezTo>
                      <a:pt x="108571" y="83076"/>
                      <a:pt x="97142" y="92307"/>
                      <a:pt x="108571" y="8307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8" name="Shape 2529">
                <a:extLst>
                  <a:ext uri="{FF2B5EF4-FFF2-40B4-BE49-F238E27FC236}">
                    <a16:creationId xmlns:a16="http://schemas.microsoft.com/office/drawing/2014/main" id="{8ADAD1D3-7D9D-4B99-BD4B-D1F8EDB8DE81}"/>
                  </a:ext>
                </a:extLst>
              </p:cNvPr>
              <p:cNvSpPr/>
              <p:nvPr/>
            </p:nvSpPr>
            <p:spPr>
              <a:xfrm>
                <a:off x="12054678" y="7050392"/>
                <a:ext cx="31611" cy="31619"/>
              </a:xfrm>
              <a:custGeom>
                <a:avLst/>
                <a:gdLst/>
                <a:ahLst/>
                <a:cxnLst/>
                <a:rect l="0" t="0" r="0" b="0"/>
                <a:pathLst>
                  <a:path w="120000" h="120000" extrusionOk="0">
                    <a:moveTo>
                      <a:pt x="60000" y="0"/>
                    </a:moveTo>
                    <a:cubicBezTo>
                      <a:pt x="30000" y="0"/>
                      <a:pt x="30000" y="60000"/>
                      <a:pt x="30000" y="90000"/>
                    </a:cubicBezTo>
                    <a:cubicBezTo>
                      <a:pt x="30000" y="120000"/>
                      <a:pt x="90000" y="120000"/>
                      <a:pt x="120000" y="120000"/>
                    </a:cubicBezTo>
                    <a:cubicBezTo>
                      <a:pt x="120000" y="60000"/>
                      <a:pt x="120000" y="30000"/>
                      <a:pt x="60000" y="0"/>
                    </a:cubicBezTo>
                    <a:cubicBezTo>
                      <a:pt x="0" y="30000"/>
                      <a:pt x="90000" y="30000"/>
                      <a:pt x="6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79" name="Shape 2530">
                <a:extLst>
                  <a:ext uri="{FF2B5EF4-FFF2-40B4-BE49-F238E27FC236}">
                    <a16:creationId xmlns:a16="http://schemas.microsoft.com/office/drawing/2014/main" id="{557C3C31-67CB-43DD-9B98-B863B69D96B7}"/>
                  </a:ext>
                </a:extLst>
              </p:cNvPr>
              <p:cNvSpPr/>
              <p:nvPr/>
            </p:nvSpPr>
            <p:spPr>
              <a:xfrm>
                <a:off x="11951225" y="6854932"/>
                <a:ext cx="169549" cy="152346"/>
              </a:xfrm>
              <a:custGeom>
                <a:avLst/>
                <a:gdLst/>
                <a:ahLst/>
                <a:cxnLst/>
                <a:rect l="0" t="0" r="0" b="0"/>
                <a:pathLst>
                  <a:path w="120000" h="120000" extrusionOk="0">
                    <a:moveTo>
                      <a:pt x="30000" y="93333"/>
                    </a:moveTo>
                    <a:cubicBezTo>
                      <a:pt x="42000" y="80000"/>
                      <a:pt x="78000" y="106666"/>
                      <a:pt x="84000" y="120000"/>
                    </a:cubicBezTo>
                    <a:cubicBezTo>
                      <a:pt x="90000" y="106666"/>
                      <a:pt x="90000" y="93333"/>
                      <a:pt x="84000" y="86666"/>
                    </a:cubicBezTo>
                    <a:cubicBezTo>
                      <a:pt x="78000" y="60000"/>
                      <a:pt x="90000" y="73333"/>
                      <a:pt x="102000" y="73333"/>
                    </a:cubicBezTo>
                    <a:cubicBezTo>
                      <a:pt x="114000" y="66666"/>
                      <a:pt x="114000" y="53333"/>
                      <a:pt x="108000" y="40000"/>
                    </a:cubicBezTo>
                    <a:cubicBezTo>
                      <a:pt x="108000" y="40000"/>
                      <a:pt x="120000" y="33333"/>
                      <a:pt x="120000" y="33333"/>
                    </a:cubicBezTo>
                    <a:cubicBezTo>
                      <a:pt x="120000" y="20000"/>
                      <a:pt x="120000" y="13333"/>
                      <a:pt x="114000" y="0"/>
                    </a:cubicBezTo>
                    <a:cubicBezTo>
                      <a:pt x="114000" y="0"/>
                      <a:pt x="90000" y="6666"/>
                      <a:pt x="90000" y="6666"/>
                    </a:cubicBezTo>
                    <a:cubicBezTo>
                      <a:pt x="78000" y="6666"/>
                      <a:pt x="72000" y="6666"/>
                      <a:pt x="60000" y="20000"/>
                    </a:cubicBezTo>
                    <a:cubicBezTo>
                      <a:pt x="60000" y="20000"/>
                      <a:pt x="78000" y="33333"/>
                      <a:pt x="72000" y="40000"/>
                    </a:cubicBezTo>
                    <a:cubicBezTo>
                      <a:pt x="60000" y="53333"/>
                      <a:pt x="54000" y="26666"/>
                      <a:pt x="60000" y="26666"/>
                    </a:cubicBezTo>
                    <a:cubicBezTo>
                      <a:pt x="60000" y="26666"/>
                      <a:pt x="42000" y="33333"/>
                      <a:pt x="42000" y="40000"/>
                    </a:cubicBezTo>
                    <a:cubicBezTo>
                      <a:pt x="42000" y="46666"/>
                      <a:pt x="36000" y="46666"/>
                      <a:pt x="30000" y="53333"/>
                    </a:cubicBezTo>
                    <a:cubicBezTo>
                      <a:pt x="30000" y="60000"/>
                      <a:pt x="18000" y="80000"/>
                      <a:pt x="30000" y="80000"/>
                    </a:cubicBezTo>
                    <a:cubicBezTo>
                      <a:pt x="30000" y="80000"/>
                      <a:pt x="24000" y="80000"/>
                      <a:pt x="18000" y="80000"/>
                    </a:cubicBezTo>
                    <a:cubicBezTo>
                      <a:pt x="18000" y="80000"/>
                      <a:pt x="24000" y="80000"/>
                      <a:pt x="24000" y="80000"/>
                    </a:cubicBezTo>
                    <a:cubicBezTo>
                      <a:pt x="24000" y="80000"/>
                      <a:pt x="18000" y="80000"/>
                      <a:pt x="18000" y="80000"/>
                    </a:cubicBezTo>
                    <a:cubicBezTo>
                      <a:pt x="12000" y="86666"/>
                      <a:pt x="24000" y="93333"/>
                      <a:pt x="24000" y="93333"/>
                    </a:cubicBezTo>
                    <a:cubicBezTo>
                      <a:pt x="24000" y="86666"/>
                      <a:pt x="12000" y="86666"/>
                      <a:pt x="12000" y="86666"/>
                    </a:cubicBezTo>
                    <a:cubicBezTo>
                      <a:pt x="12000" y="86666"/>
                      <a:pt x="18000" y="93333"/>
                      <a:pt x="18000" y="93333"/>
                    </a:cubicBezTo>
                    <a:cubicBezTo>
                      <a:pt x="18000" y="93333"/>
                      <a:pt x="12000" y="86666"/>
                      <a:pt x="6000" y="93333"/>
                    </a:cubicBezTo>
                    <a:cubicBezTo>
                      <a:pt x="6000" y="93333"/>
                      <a:pt x="12000" y="100000"/>
                      <a:pt x="12000" y="100000"/>
                    </a:cubicBezTo>
                    <a:cubicBezTo>
                      <a:pt x="12000" y="93333"/>
                      <a:pt x="6000" y="93333"/>
                      <a:pt x="0" y="100000"/>
                    </a:cubicBezTo>
                    <a:cubicBezTo>
                      <a:pt x="6000" y="100000"/>
                      <a:pt x="24000" y="106666"/>
                      <a:pt x="30000" y="93333"/>
                    </a:cubicBezTo>
                    <a:cubicBezTo>
                      <a:pt x="30000" y="93333"/>
                      <a:pt x="30000" y="100000"/>
                      <a:pt x="30000" y="9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0" name="Shape 2531">
                <a:extLst>
                  <a:ext uri="{FF2B5EF4-FFF2-40B4-BE49-F238E27FC236}">
                    <a16:creationId xmlns:a16="http://schemas.microsoft.com/office/drawing/2014/main" id="{7A570D45-9D00-4C29-B680-27E02E5C8757}"/>
                  </a:ext>
                </a:extLst>
              </p:cNvPr>
              <p:cNvSpPr/>
              <p:nvPr/>
            </p:nvSpPr>
            <p:spPr>
              <a:xfrm>
                <a:off x="12155254" y="6601982"/>
                <a:ext cx="126441" cy="186837"/>
              </a:xfrm>
              <a:custGeom>
                <a:avLst/>
                <a:gdLst/>
                <a:ahLst/>
                <a:cxnLst/>
                <a:rect l="0" t="0" r="0" b="0"/>
                <a:pathLst>
                  <a:path w="120000" h="120000" extrusionOk="0">
                    <a:moveTo>
                      <a:pt x="80000" y="114545"/>
                    </a:moveTo>
                    <a:cubicBezTo>
                      <a:pt x="80000" y="109090"/>
                      <a:pt x="48000" y="98181"/>
                      <a:pt x="64000" y="92727"/>
                    </a:cubicBezTo>
                    <a:cubicBezTo>
                      <a:pt x="72000" y="87272"/>
                      <a:pt x="72000" y="70909"/>
                      <a:pt x="88000" y="65454"/>
                    </a:cubicBezTo>
                    <a:cubicBezTo>
                      <a:pt x="88000" y="65454"/>
                      <a:pt x="88000" y="70909"/>
                      <a:pt x="88000" y="70909"/>
                    </a:cubicBezTo>
                    <a:cubicBezTo>
                      <a:pt x="96000" y="70909"/>
                      <a:pt x="120000" y="60000"/>
                      <a:pt x="120000" y="54545"/>
                    </a:cubicBezTo>
                    <a:cubicBezTo>
                      <a:pt x="120000" y="49090"/>
                      <a:pt x="88000" y="49090"/>
                      <a:pt x="88000" y="38181"/>
                    </a:cubicBezTo>
                    <a:cubicBezTo>
                      <a:pt x="88000" y="32727"/>
                      <a:pt x="80000" y="32727"/>
                      <a:pt x="80000" y="27272"/>
                    </a:cubicBezTo>
                    <a:cubicBezTo>
                      <a:pt x="80000" y="21818"/>
                      <a:pt x="96000" y="27272"/>
                      <a:pt x="96000" y="21818"/>
                    </a:cubicBezTo>
                    <a:cubicBezTo>
                      <a:pt x="96000" y="16363"/>
                      <a:pt x="96000" y="10909"/>
                      <a:pt x="96000" y="5454"/>
                    </a:cubicBezTo>
                    <a:cubicBezTo>
                      <a:pt x="96000" y="0"/>
                      <a:pt x="96000" y="5454"/>
                      <a:pt x="88000" y="5454"/>
                    </a:cubicBezTo>
                    <a:cubicBezTo>
                      <a:pt x="64000" y="5454"/>
                      <a:pt x="72000" y="10909"/>
                      <a:pt x="56000" y="21818"/>
                    </a:cubicBezTo>
                    <a:cubicBezTo>
                      <a:pt x="48000" y="27272"/>
                      <a:pt x="24000" y="16363"/>
                      <a:pt x="16000" y="27272"/>
                    </a:cubicBezTo>
                    <a:cubicBezTo>
                      <a:pt x="0" y="38181"/>
                      <a:pt x="24000" y="38181"/>
                      <a:pt x="32000" y="32727"/>
                    </a:cubicBezTo>
                    <a:cubicBezTo>
                      <a:pt x="40000" y="27272"/>
                      <a:pt x="56000" y="32727"/>
                      <a:pt x="48000" y="43636"/>
                    </a:cubicBezTo>
                    <a:cubicBezTo>
                      <a:pt x="48000" y="38181"/>
                      <a:pt x="32000" y="32727"/>
                      <a:pt x="32000" y="43636"/>
                    </a:cubicBezTo>
                    <a:cubicBezTo>
                      <a:pt x="24000" y="43636"/>
                      <a:pt x="16000" y="49090"/>
                      <a:pt x="16000" y="43636"/>
                    </a:cubicBezTo>
                    <a:cubicBezTo>
                      <a:pt x="16000" y="49090"/>
                      <a:pt x="0" y="38181"/>
                      <a:pt x="0" y="49090"/>
                    </a:cubicBezTo>
                    <a:cubicBezTo>
                      <a:pt x="0" y="60000"/>
                      <a:pt x="0" y="65454"/>
                      <a:pt x="0" y="76363"/>
                    </a:cubicBezTo>
                    <a:cubicBezTo>
                      <a:pt x="8000" y="81818"/>
                      <a:pt x="16000" y="81818"/>
                      <a:pt x="16000" y="87272"/>
                    </a:cubicBezTo>
                    <a:cubicBezTo>
                      <a:pt x="24000" y="98181"/>
                      <a:pt x="8000" y="103636"/>
                      <a:pt x="16000" y="109090"/>
                    </a:cubicBezTo>
                    <a:cubicBezTo>
                      <a:pt x="32000" y="120000"/>
                      <a:pt x="64000" y="114545"/>
                      <a:pt x="80000" y="11454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1" name="Shape 2532">
                <a:extLst>
                  <a:ext uri="{FF2B5EF4-FFF2-40B4-BE49-F238E27FC236}">
                    <a16:creationId xmlns:a16="http://schemas.microsoft.com/office/drawing/2014/main" id="{B0062375-0603-4FCD-8D72-A3F68ABEE8AA}"/>
                  </a:ext>
                </a:extLst>
              </p:cNvPr>
              <p:cNvSpPr/>
              <p:nvPr/>
            </p:nvSpPr>
            <p:spPr>
              <a:xfrm>
                <a:off x="12063299" y="6771575"/>
                <a:ext cx="376451" cy="436913"/>
              </a:xfrm>
              <a:custGeom>
                <a:avLst/>
                <a:gdLst/>
                <a:ahLst/>
                <a:cxnLst/>
                <a:rect l="0" t="0" r="0" b="0"/>
                <a:pathLst>
                  <a:path w="120000" h="120000" extrusionOk="0">
                    <a:moveTo>
                      <a:pt x="117333" y="55384"/>
                    </a:moveTo>
                    <a:cubicBezTo>
                      <a:pt x="114666" y="50769"/>
                      <a:pt x="114666" y="46153"/>
                      <a:pt x="114666" y="41538"/>
                    </a:cubicBezTo>
                    <a:cubicBezTo>
                      <a:pt x="112000" y="36923"/>
                      <a:pt x="109333" y="34615"/>
                      <a:pt x="112000" y="27692"/>
                    </a:cubicBezTo>
                    <a:cubicBezTo>
                      <a:pt x="114666" y="23076"/>
                      <a:pt x="112000" y="18461"/>
                      <a:pt x="109333" y="16153"/>
                    </a:cubicBezTo>
                    <a:cubicBezTo>
                      <a:pt x="106666" y="13846"/>
                      <a:pt x="101333" y="11538"/>
                      <a:pt x="101333" y="9230"/>
                    </a:cubicBezTo>
                    <a:cubicBezTo>
                      <a:pt x="101333" y="9230"/>
                      <a:pt x="104000" y="6923"/>
                      <a:pt x="101333" y="4615"/>
                    </a:cubicBezTo>
                    <a:cubicBezTo>
                      <a:pt x="98666" y="4615"/>
                      <a:pt x="98666" y="11538"/>
                      <a:pt x="98666" y="11538"/>
                    </a:cubicBezTo>
                    <a:cubicBezTo>
                      <a:pt x="93333" y="11538"/>
                      <a:pt x="93333" y="9230"/>
                      <a:pt x="88000" y="9230"/>
                    </a:cubicBezTo>
                    <a:cubicBezTo>
                      <a:pt x="82666" y="11538"/>
                      <a:pt x="74666" y="16153"/>
                      <a:pt x="66666" y="16153"/>
                    </a:cubicBezTo>
                    <a:cubicBezTo>
                      <a:pt x="64000" y="13846"/>
                      <a:pt x="69333" y="11538"/>
                      <a:pt x="69333" y="9230"/>
                    </a:cubicBezTo>
                    <a:cubicBezTo>
                      <a:pt x="64000" y="9230"/>
                      <a:pt x="61333" y="11538"/>
                      <a:pt x="56000" y="9230"/>
                    </a:cubicBezTo>
                    <a:cubicBezTo>
                      <a:pt x="53333" y="6923"/>
                      <a:pt x="61333" y="2307"/>
                      <a:pt x="53333" y="2307"/>
                    </a:cubicBezTo>
                    <a:cubicBezTo>
                      <a:pt x="48000" y="2307"/>
                      <a:pt x="42666" y="2307"/>
                      <a:pt x="34666" y="0"/>
                    </a:cubicBezTo>
                    <a:cubicBezTo>
                      <a:pt x="37333" y="2307"/>
                      <a:pt x="40000" y="2307"/>
                      <a:pt x="40000" y="6923"/>
                    </a:cubicBezTo>
                    <a:cubicBezTo>
                      <a:pt x="37333" y="9230"/>
                      <a:pt x="37333" y="9230"/>
                      <a:pt x="40000" y="13846"/>
                    </a:cubicBezTo>
                    <a:cubicBezTo>
                      <a:pt x="40000" y="18461"/>
                      <a:pt x="40000" y="16153"/>
                      <a:pt x="45333" y="16153"/>
                    </a:cubicBezTo>
                    <a:cubicBezTo>
                      <a:pt x="48000" y="16153"/>
                      <a:pt x="50666" y="18461"/>
                      <a:pt x="53333" y="20769"/>
                    </a:cubicBezTo>
                    <a:cubicBezTo>
                      <a:pt x="50666" y="18461"/>
                      <a:pt x="42666" y="18461"/>
                      <a:pt x="40000" y="18461"/>
                    </a:cubicBezTo>
                    <a:cubicBezTo>
                      <a:pt x="40000" y="18461"/>
                      <a:pt x="37333" y="18461"/>
                      <a:pt x="37333" y="18461"/>
                    </a:cubicBezTo>
                    <a:cubicBezTo>
                      <a:pt x="34666" y="20769"/>
                      <a:pt x="37333" y="23076"/>
                      <a:pt x="34666" y="23076"/>
                    </a:cubicBezTo>
                    <a:cubicBezTo>
                      <a:pt x="29333" y="25384"/>
                      <a:pt x="18666" y="13846"/>
                      <a:pt x="16000" y="23076"/>
                    </a:cubicBezTo>
                    <a:cubicBezTo>
                      <a:pt x="18666" y="27692"/>
                      <a:pt x="21333" y="32307"/>
                      <a:pt x="16000" y="34615"/>
                    </a:cubicBezTo>
                    <a:cubicBezTo>
                      <a:pt x="13333" y="39230"/>
                      <a:pt x="13333" y="34615"/>
                      <a:pt x="16000" y="39230"/>
                    </a:cubicBezTo>
                    <a:cubicBezTo>
                      <a:pt x="16000" y="50769"/>
                      <a:pt x="0" y="46153"/>
                      <a:pt x="2666" y="50769"/>
                    </a:cubicBezTo>
                    <a:cubicBezTo>
                      <a:pt x="2666" y="53076"/>
                      <a:pt x="5333" y="55384"/>
                      <a:pt x="5333" y="60000"/>
                    </a:cubicBezTo>
                    <a:cubicBezTo>
                      <a:pt x="5333" y="64615"/>
                      <a:pt x="2666" y="64615"/>
                      <a:pt x="5333" y="69230"/>
                    </a:cubicBezTo>
                    <a:cubicBezTo>
                      <a:pt x="8000" y="71538"/>
                      <a:pt x="0" y="76153"/>
                      <a:pt x="2666" y="76153"/>
                    </a:cubicBezTo>
                    <a:cubicBezTo>
                      <a:pt x="8000" y="78461"/>
                      <a:pt x="5333" y="83076"/>
                      <a:pt x="8000" y="85384"/>
                    </a:cubicBezTo>
                    <a:cubicBezTo>
                      <a:pt x="10666" y="92307"/>
                      <a:pt x="21333" y="90000"/>
                      <a:pt x="29333" y="92307"/>
                    </a:cubicBezTo>
                    <a:cubicBezTo>
                      <a:pt x="29333" y="92307"/>
                      <a:pt x="24000" y="110769"/>
                      <a:pt x="24000" y="113076"/>
                    </a:cubicBezTo>
                    <a:cubicBezTo>
                      <a:pt x="34666" y="113076"/>
                      <a:pt x="40000" y="110769"/>
                      <a:pt x="50666" y="113076"/>
                    </a:cubicBezTo>
                    <a:cubicBezTo>
                      <a:pt x="50666" y="113076"/>
                      <a:pt x="61333" y="120000"/>
                      <a:pt x="61333" y="117692"/>
                    </a:cubicBezTo>
                    <a:cubicBezTo>
                      <a:pt x="64000" y="113076"/>
                      <a:pt x="66666" y="113076"/>
                      <a:pt x="69333" y="115384"/>
                    </a:cubicBezTo>
                    <a:cubicBezTo>
                      <a:pt x="72000" y="117692"/>
                      <a:pt x="85333" y="110769"/>
                      <a:pt x="88000" y="113076"/>
                    </a:cubicBezTo>
                    <a:cubicBezTo>
                      <a:pt x="88000" y="113076"/>
                      <a:pt x="98666" y="115384"/>
                      <a:pt x="96000" y="113076"/>
                    </a:cubicBezTo>
                    <a:cubicBezTo>
                      <a:pt x="93333" y="106153"/>
                      <a:pt x="90666" y="106153"/>
                      <a:pt x="96000" y="103846"/>
                    </a:cubicBezTo>
                    <a:cubicBezTo>
                      <a:pt x="101333" y="99230"/>
                      <a:pt x="101333" y="99230"/>
                      <a:pt x="106666" y="99230"/>
                    </a:cubicBezTo>
                    <a:cubicBezTo>
                      <a:pt x="109333" y="96923"/>
                      <a:pt x="96000" y="87692"/>
                      <a:pt x="93333" y="85384"/>
                    </a:cubicBezTo>
                    <a:cubicBezTo>
                      <a:pt x="90666" y="85384"/>
                      <a:pt x="82666" y="73846"/>
                      <a:pt x="85333" y="71538"/>
                    </a:cubicBezTo>
                    <a:cubicBezTo>
                      <a:pt x="96000" y="69230"/>
                      <a:pt x="101333" y="66923"/>
                      <a:pt x="109333" y="60000"/>
                    </a:cubicBezTo>
                    <a:cubicBezTo>
                      <a:pt x="112000" y="57692"/>
                      <a:pt x="114666" y="66923"/>
                      <a:pt x="117333" y="64615"/>
                    </a:cubicBezTo>
                    <a:cubicBezTo>
                      <a:pt x="120000" y="62307"/>
                      <a:pt x="120000" y="57692"/>
                      <a:pt x="117333" y="55384"/>
                    </a:cubicBezTo>
                    <a:cubicBezTo>
                      <a:pt x="117333" y="53076"/>
                      <a:pt x="117333" y="55384"/>
                      <a:pt x="117333" y="5538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2" name="Shape 2533">
                <a:extLst>
                  <a:ext uri="{FF2B5EF4-FFF2-40B4-BE49-F238E27FC236}">
                    <a16:creationId xmlns:a16="http://schemas.microsoft.com/office/drawing/2014/main" id="{FBD2A771-AA24-4E6B-A379-262A1BEA4C87}"/>
                  </a:ext>
                </a:extLst>
              </p:cNvPr>
              <p:cNvSpPr/>
              <p:nvPr/>
            </p:nvSpPr>
            <p:spPr>
              <a:xfrm>
                <a:off x="12727120" y="6906673"/>
                <a:ext cx="750031" cy="445537"/>
              </a:xfrm>
              <a:custGeom>
                <a:avLst/>
                <a:gdLst/>
                <a:ahLst/>
                <a:cxnLst/>
                <a:rect l="0" t="0" r="0" b="0"/>
                <a:pathLst>
                  <a:path w="120000" h="120000" extrusionOk="0">
                    <a:moveTo>
                      <a:pt x="0" y="61132"/>
                    </a:moveTo>
                    <a:cubicBezTo>
                      <a:pt x="0" y="67924"/>
                      <a:pt x="9438" y="67924"/>
                      <a:pt x="12134" y="67924"/>
                    </a:cubicBezTo>
                    <a:cubicBezTo>
                      <a:pt x="14831" y="67924"/>
                      <a:pt x="17528" y="72452"/>
                      <a:pt x="21573" y="70188"/>
                    </a:cubicBezTo>
                    <a:cubicBezTo>
                      <a:pt x="22921" y="65660"/>
                      <a:pt x="26966" y="63396"/>
                      <a:pt x="29662" y="63396"/>
                    </a:cubicBezTo>
                    <a:cubicBezTo>
                      <a:pt x="33707" y="58867"/>
                      <a:pt x="41797" y="63396"/>
                      <a:pt x="44494" y="67924"/>
                    </a:cubicBezTo>
                    <a:cubicBezTo>
                      <a:pt x="48539" y="76981"/>
                      <a:pt x="49887" y="86037"/>
                      <a:pt x="53932" y="92830"/>
                    </a:cubicBezTo>
                    <a:cubicBezTo>
                      <a:pt x="56629" y="90566"/>
                      <a:pt x="56629" y="88301"/>
                      <a:pt x="59325" y="86037"/>
                    </a:cubicBezTo>
                    <a:cubicBezTo>
                      <a:pt x="62022" y="86037"/>
                      <a:pt x="62022" y="90566"/>
                      <a:pt x="63370" y="92830"/>
                    </a:cubicBezTo>
                    <a:cubicBezTo>
                      <a:pt x="64719" y="95094"/>
                      <a:pt x="76853" y="97358"/>
                      <a:pt x="76853" y="95094"/>
                    </a:cubicBezTo>
                    <a:cubicBezTo>
                      <a:pt x="76853" y="97358"/>
                      <a:pt x="68764" y="101886"/>
                      <a:pt x="68764" y="104150"/>
                    </a:cubicBezTo>
                    <a:cubicBezTo>
                      <a:pt x="70112" y="106415"/>
                      <a:pt x="75505" y="104150"/>
                      <a:pt x="74157" y="110943"/>
                    </a:cubicBezTo>
                    <a:cubicBezTo>
                      <a:pt x="72808" y="115471"/>
                      <a:pt x="76853" y="120000"/>
                      <a:pt x="79550" y="115471"/>
                    </a:cubicBezTo>
                    <a:cubicBezTo>
                      <a:pt x="82247" y="113207"/>
                      <a:pt x="86292" y="108679"/>
                      <a:pt x="90337" y="108679"/>
                    </a:cubicBezTo>
                    <a:cubicBezTo>
                      <a:pt x="94382" y="108679"/>
                      <a:pt x="95730" y="108679"/>
                      <a:pt x="97078" y="104150"/>
                    </a:cubicBezTo>
                    <a:cubicBezTo>
                      <a:pt x="97078" y="104150"/>
                      <a:pt x="93033" y="104150"/>
                      <a:pt x="91685" y="104150"/>
                    </a:cubicBezTo>
                    <a:cubicBezTo>
                      <a:pt x="88988" y="104150"/>
                      <a:pt x="86292" y="106415"/>
                      <a:pt x="84943" y="99622"/>
                    </a:cubicBezTo>
                    <a:cubicBezTo>
                      <a:pt x="80898" y="90566"/>
                      <a:pt x="94382" y="86037"/>
                      <a:pt x="97078" y="86037"/>
                    </a:cubicBezTo>
                    <a:cubicBezTo>
                      <a:pt x="99775" y="83773"/>
                      <a:pt x="102471" y="81509"/>
                      <a:pt x="105168" y="79245"/>
                    </a:cubicBezTo>
                    <a:cubicBezTo>
                      <a:pt x="106516" y="74716"/>
                      <a:pt x="109213" y="70188"/>
                      <a:pt x="113258" y="70188"/>
                    </a:cubicBezTo>
                    <a:cubicBezTo>
                      <a:pt x="114606" y="70188"/>
                      <a:pt x="117303" y="70188"/>
                      <a:pt x="117303" y="63396"/>
                    </a:cubicBezTo>
                    <a:cubicBezTo>
                      <a:pt x="117303" y="61132"/>
                      <a:pt x="115955" y="61132"/>
                      <a:pt x="115955" y="58867"/>
                    </a:cubicBezTo>
                    <a:cubicBezTo>
                      <a:pt x="115955" y="56603"/>
                      <a:pt x="118651" y="56603"/>
                      <a:pt x="118651" y="56603"/>
                    </a:cubicBezTo>
                    <a:cubicBezTo>
                      <a:pt x="118651" y="56603"/>
                      <a:pt x="115955" y="54339"/>
                      <a:pt x="115955" y="54339"/>
                    </a:cubicBezTo>
                    <a:cubicBezTo>
                      <a:pt x="115955" y="52075"/>
                      <a:pt x="120000" y="52075"/>
                      <a:pt x="118651" y="47547"/>
                    </a:cubicBezTo>
                    <a:cubicBezTo>
                      <a:pt x="118651" y="47547"/>
                      <a:pt x="115955" y="45283"/>
                      <a:pt x="114606" y="43018"/>
                    </a:cubicBezTo>
                    <a:cubicBezTo>
                      <a:pt x="113258" y="40754"/>
                      <a:pt x="111910" y="45283"/>
                      <a:pt x="110561" y="40754"/>
                    </a:cubicBezTo>
                    <a:cubicBezTo>
                      <a:pt x="109213" y="38490"/>
                      <a:pt x="107865" y="38490"/>
                      <a:pt x="105168" y="40754"/>
                    </a:cubicBezTo>
                    <a:cubicBezTo>
                      <a:pt x="103820" y="40754"/>
                      <a:pt x="102471" y="33962"/>
                      <a:pt x="101123" y="33962"/>
                    </a:cubicBezTo>
                    <a:cubicBezTo>
                      <a:pt x="99775" y="31698"/>
                      <a:pt x="98426" y="36226"/>
                      <a:pt x="97078" y="38490"/>
                    </a:cubicBezTo>
                    <a:cubicBezTo>
                      <a:pt x="95730" y="38490"/>
                      <a:pt x="94382" y="31698"/>
                      <a:pt x="93033" y="31698"/>
                    </a:cubicBezTo>
                    <a:cubicBezTo>
                      <a:pt x="91685" y="31698"/>
                      <a:pt x="87640" y="33962"/>
                      <a:pt x="87640" y="31698"/>
                    </a:cubicBezTo>
                    <a:cubicBezTo>
                      <a:pt x="87640" y="29433"/>
                      <a:pt x="87640" y="24905"/>
                      <a:pt x="86292" y="22641"/>
                    </a:cubicBezTo>
                    <a:cubicBezTo>
                      <a:pt x="84943" y="20377"/>
                      <a:pt x="82247" y="22641"/>
                      <a:pt x="80898" y="20377"/>
                    </a:cubicBezTo>
                    <a:cubicBezTo>
                      <a:pt x="79550" y="18113"/>
                      <a:pt x="78202" y="13584"/>
                      <a:pt x="80898" y="11320"/>
                    </a:cubicBezTo>
                    <a:cubicBezTo>
                      <a:pt x="82247" y="11320"/>
                      <a:pt x="79550" y="4528"/>
                      <a:pt x="78202" y="4528"/>
                    </a:cubicBezTo>
                    <a:cubicBezTo>
                      <a:pt x="76853" y="2264"/>
                      <a:pt x="72808" y="4528"/>
                      <a:pt x="71460" y="2264"/>
                    </a:cubicBezTo>
                    <a:cubicBezTo>
                      <a:pt x="67415" y="0"/>
                      <a:pt x="67415" y="13584"/>
                      <a:pt x="63370" y="4528"/>
                    </a:cubicBezTo>
                    <a:cubicBezTo>
                      <a:pt x="62022" y="4528"/>
                      <a:pt x="59325" y="6792"/>
                      <a:pt x="57977" y="6792"/>
                    </a:cubicBezTo>
                    <a:cubicBezTo>
                      <a:pt x="55280" y="9056"/>
                      <a:pt x="56629" y="20377"/>
                      <a:pt x="55280" y="20377"/>
                    </a:cubicBezTo>
                    <a:cubicBezTo>
                      <a:pt x="53932" y="20377"/>
                      <a:pt x="52584" y="15849"/>
                      <a:pt x="51235" y="15849"/>
                    </a:cubicBezTo>
                    <a:cubicBezTo>
                      <a:pt x="51235" y="15849"/>
                      <a:pt x="49887" y="18113"/>
                      <a:pt x="48539" y="18113"/>
                    </a:cubicBezTo>
                    <a:cubicBezTo>
                      <a:pt x="47191" y="18113"/>
                      <a:pt x="45842" y="15849"/>
                      <a:pt x="45842" y="13584"/>
                    </a:cubicBezTo>
                    <a:cubicBezTo>
                      <a:pt x="45842" y="11320"/>
                      <a:pt x="43146" y="15849"/>
                      <a:pt x="41797" y="15849"/>
                    </a:cubicBezTo>
                    <a:cubicBezTo>
                      <a:pt x="40449" y="15849"/>
                      <a:pt x="40449" y="13584"/>
                      <a:pt x="39101" y="13584"/>
                    </a:cubicBezTo>
                    <a:cubicBezTo>
                      <a:pt x="37752" y="13584"/>
                      <a:pt x="37752" y="15849"/>
                      <a:pt x="37752" y="18113"/>
                    </a:cubicBezTo>
                    <a:cubicBezTo>
                      <a:pt x="37752" y="18113"/>
                      <a:pt x="28314" y="11320"/>
                      <a:pt x="28314" y="11320"/>
                    </a:cubicBezTo>
                    <a:cubicBezTo>
                      <a:pt x="24269" y="9056"/>
                      <a:pt x="20224" y="9056"/>
                      <a:pt x="16179" y="9056"/>
                    </a:cubicBezTo>
                    <a:cubicBezTo>
                      <a:pt x="13483" y="9056"/>
                      <a:pt x="12134" y="13584"/>
                      <a:pt x="8089" y="13584"/>
                    </a:cubicBezTo>
                    <a:cubicBezTo>
                      <a:pt x="8089" y="20377"/>
                      <a:pt x="12134" y="20377"/>
                      <a:pt x="12134" y="24905"/>
                    </a:cubicBezTo>
                    <a:cubicBezTo>
                      <a:pt x="12134" y="27169"/>
                      <a:pt x="13483" y="29433"/>
                      <a:pt x="13483" y="31698"/>
                    </a:cubicBezTo>
                    <a:cubicBezTo>
                      <a:pt x="12134" y="33962"/>
                      <a:pt x="8089" y="33962"/>
                      <a:pt x="6741" y="36226"/>
                    </a:cubicBezTo>
                    <a:cubicBezTo>
                      <a:pt x="2696" y="40754"/>
                      <a:pt x="4044" y="45283"/>
                      <a:pt x="2696" y="52075"/>
                    </a:cubicBezTo>
                    <a:cubicBezTo>
                      <a:pt x="2696" y="56603"/>
                      <a:pt x="1348" y="58867"/>
                      <a:pt x="0" y="6113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3" name="Shape 2534">
                <a:extLst>
                  <a:ext uri="{FF2B5EF4-FFF2-40B4-BE49-F238E27FC236}">
                    <a16:creationId xmlns:a16="http://schemas.microsoft.com/office/drawing/2014/main" id="{7E7AC125-CBB4-4541-A723-8F147C1E4D19}"/>
                  </a:ext>
                </a:extLst>
              </p:cNvPr>
              <p:cNvSpPr/>
              <p:nvPr/>
            </p:nvSpPr>
            <p:spPr>
              <a:xfrm>
                <a:off x="12491478" y="7073387"/>
                <a:ext cx="252884" cy="103478"/>
              </a:xfrm>
              <a:custGeom>
                <a:avLst/>
                <a:gdLst/>
                <a:ahLst/>
                <a:cxnLst/>
                <a:rect l="0" t="0" r="0" b="0"/>
                <a:pathLst>
                  <a:path w="120000" h="120000" extrusionOk="0">
                    <a:moveTo>
                      <a:pt x="120000" y="40000"/>
                    </a:moveTo>
                    <a:cubicBezTo>
                      <a:pt x="108000" y="20000"/>
                      <a:pt x="104000" y="0"/>
                      <a:pt x="88000" y="0"/>
                    </a:cubicBezTo>
                    <a:cubicBezTo>
                      <a:pt x="80000" y="0"/>
                      <a:pt x="76000" y="0"/>
                      <a:pt x="68000" y="0"/>
                    </a:cubicBezTo>
                    <a:cubicBezTo>
                      <a:pt x="60000" y="0"/>
                      <a:pt x="60000" y="10000"/>
                      <a:pt x="56000" y="10000"/>
                    </a:cubicBezTo>
                    <a:cubicBezTo>
                      <a:pt x="52000" y="10000"/>
                      <a:pt x="48000" y="0"/>
                      <a:pt x="44000" y="0"/>
                    </a:cubicBezTo>
                    <a:cubicBezTo>
                      <a:pt x="40000" y="10000"/>
                      <a:pt x="36000" y="20000"/>
                      <a:pt x="32000" y="30000"/>
                    </a:cubicBezTo>
                    <a:cubicBezTo>
                      <a:pt x="24000" y="50000"/>
                      <a:pt x="0" y="40000"/>
                      <a:pt x="12000" y="90000"/>
                    </a:cubicBezTo>
                    <a:cubicBezTo>
                      <a:pt x="16000" y="110000"/>
                      <a:pt x="32000" y="120000"/>
                      <a:pt x="44000" y="110000"/>
                    </a:cubicBezTo>
                    <a:cubicBezTo>
                      <a:pt x="48000" y="110000"/>
                      <a:pt x="48000" y="90000"/>
                      <a:pt x="52000" y="90000"/>
                    </a:cubicBezTo>
                    <a:cubicBezTo>
                      <a:pt x="60000" y="90000"/>
                      <a:pt x="68000" y="90000"/>
                      <a:pt x="72000" y="90000"/>
                    </a:cubicBezTo>
                    <a:cubicBezTo>
                      <a:pt x="76000" y="90000"/>
                      <a:pt x="76000" y="70000"/>
                      <a:pt x="76000" y="60000"/>
                    </a:cubicBezTo>
                    <a:cubicBezTo>
                      <a:pt x="80000" y="50000"/>
                      <a:pt x="92000" y="70000"/>
                      <a:pt x="96000" y="70000"/>
                    </a:cubicBezTo>
                    <a:cubicBezTo>
                      <a:pt x="100000" y="70000"/>
                      <a:pt x="108000" y="70000"/>
                      <a:pt x="112000" y="70000"/>
                    </a:cubicBezTo>
                    <a:cubicBezTo>
                      <a:pt x="116000" y="70000"/>
                      <a:pt x="116000" y="50000"/>
                      <a:pt x="12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4" name="Shape 2535">
                <a:extLst>
                  <a:ext uri="{FF2B5EF4-FFF2-40B4-BE49-F238E27FC236}">
                    <a16:creationId xmlns:a16="http://schemas.microsoft.com/office/drawing/2014/main" id="{0EE717AF-B26C-4331-A1DE-D62B89F79A64}"/>
                  </a:ext>
                </a:extLst>
              </p:cNvPr>
              <p:cNvSpPr/>
              <p:nvPr/>
            </p:nvSpPr>
            <p:spPr>
              <a:xfrm>
                <a:off x="12770222" y="6693964"/>
                <a:ext cx="396567" cy="296068"/>
              </a:xfrm>
              <a:custGeom>
                <a:avLst/>
                <a:gdLst/>
                <a:ahLst/>
                <a:cxnLst/>
                <a:rect l="0" t="0" r="0" b="0"/>
                <a:pathLst>
                  <a:path w="120000" h="120000" extrusionOk="0">
                    <a:moveTo>
                      <a:pt x="28085" y="99428"/>
                    </a:moveTo>
                    <a:cubicBezTo>
                      <a:pt x="35744" y="99428"/>
                      <a:pt x="40851" y="102857"/>
                      <a:pt x="45957" y="102857"/>
                    </a:cubicBezTo>
                    <a:cubicBezTo>
                      <a:pt x="45957" y="102857"/>
                      <a:pt x="58723" y="113142"/>
                      <a:pt x="58723" y="113142"/>
                    </a:cubicBezTo>
                    <a:cubicBezTo>
                      <a:pt x="58723" y="109714"/>
                      <a:pt x="61276" y="99428"/>
                      <a:pt x="63829" y="106285"/>
                    </a:cubicBezTo>
                    <a:cubicBezTo>
                      <a:pt x="68936" y="116571"/>
                      <a:pt x="71489" y="99428"/>
                      <a:pt x="74042" y="109714"/>
                    </a:cubicBezTo>
                    <a:cubicBezTo>
                      <a:pt x="76595" y="116571"/>
                      <a:pt x="81702" y="109714"/>
                      <a:pt x="84255" y="109714"/>
                    </a:cubicBezTo>
                    <a:cubicBezTo>
                      <a:pt x="86808" y="106285"/>
                      <a:pt x="91914" y="120000"/>
                      <a:pt x="91914" y="113142"/>
                    </a:cubicBezTo>
                    <a:cubicBezTo>
                      <a:pt x="94468" y="106285"/>
                      <a:pt x="91914" y="99428"/>
                      <a:pt x="97021" y="96000"/>
                    </a:cubicBezTo>
                    <a:cubicBezTo>
                      <a:pt x="99574" y="96000"/>
                      <a:pt x="104680" y="92571"/>
                      <a:pt x="107234" y="92571"/>
                    </a:cubicBezTo>
                    <a:cubicBezTo>
                      <a:pt x="104680" y="89142"/>
                      <a:pt x="102127" y="82285"/>
                      <a:pt x="102127" y="75428"/>
                    </a:cubicBezTo>
                    <a:cubicBezTo>
                      <a:pt x="102127" y="68571"/>
                      <a:pt x="107234" y="75428"/>
                      <a:pt x="112340" y="72000"/>
                    </a:cubicBezTo>
                    <a:cubicBezTo>
                      <a:pt x="117446" y="72000"/>
                      <a:pt x="120000" y="65142"/>
                      <a:pt x="114893" y="58285"/>
                    </a:cubicBezTo>
                    <a:cubicBezTo>
                      <a:pt x="112340" y="54857"/>
                      <a:pt x="109787" y="58285"/>
                      <a:pt x="107234" y="51428"/>
                    </a:cubicBezTo>
                    <a:cubicBezTo>
                      <a:pt x="104680" y="48000"/>
                      <a:pt x="102127" y="44571"/>
                      <a:pt x="99574" y="37714"/>
                    </a:cubicBezTo>
                    <a:cubicBezTo>
                      <a:pt x="97021" y="34285"/>
                      <a:pt x="97021" y="27428"/>
                      <a:pt x="97021" y="20571"/>
                    </a:cubicBezTo>
                    <a:cubicBezTo>
                      <a:pt x="99574" y="13714"/>
                      <a:pt x="91914" y="6857"/>
                      <a:pt x="89361" y="6857"/>
                    </a:cubicBezTo>
                    <a:cubicBezTo>
                      <a:pt x="86808" y="3428"/>
                      <a:pt x="86808" y="6857"/>
                      <a:pt x="84255" y="6857"/>
                    </a:cubicBezTo>
                    <a:cubicBezTo>
                      <a:pt x="79148" y="10285"/>
                      <a:pt x="79148" y="6857"/>
                      <a:pt x="76595" y="3428"/>
                    </a:cubicBezTo>
                    <a:cubicBezTo>
                      <a:pt x="74042" y="0"/>
                      <a:pt x="74042" y="6857"/>
                      <a:pt x="71489" y="6857"/>
                    </a:cubicBezTo>
                    <a:cubicBezTo>
                      <a:pt x="68936" y="6857"/>
                      <a:pt x="63829" y="0"/>
                      <a:pt x="63829" y="0"/>
                    </a:cubicBezTo>
                    <a:cubicBezTo>
                      <a:pt x="58723" y="0"/>
                      <a:pt x="58723" y="6857"/>
                      <a:pt x="56170" y="6857"/>
                    </a:cubicBezTo>
                    <a:cubicBezTo>
                      <a:pt x="51063" y="10285"/>
                      <a:pt x="48510" y="10285"/>
                      <a:pt x="43404" y="10285"/>
                    </a:cubicBezTo>
                    <a:cubicBezTo>
                      <a:pt x="40851" y="13714"/>
                      <a:pt x="43404" y="20571"/>
                      <a:pt x="43404" y="20571"/>
                    </a:cubicBezTo>
                    <a:cubicBezTo>
                      <a:pt x="40851" y="27428"/>
                      <a:pt x="33191" y="24000"/>
                      <a:pt x="33191" y="30857"/>
                    </a:cubicBezTo>
                    <a:cubicBezTo>
                      <a:pt x="30638" y="34285"/>
                      <a:pt x="30638" y="37714"/>
                      <a:pt x="30638" y="44571"/>
                    </a:cubicBezTo>
                    <a:cubicBezTo>
                      <a:pt x="30638" y="48000"/>
                      <a:pt x="22978" y="48000"/>
                      <a:pt x="20425" y="48000"/>
                    </a:cubicBezTo>
                    <a:cubicBezTo>
                      <a:pt x="12765" y="51428"/>
                      <a:pt x="10212" y="54857"/>
                      <a:pt x="2553" y="54857"/>
                    </a:cubicBezTo>
                    <a:cubicBezTo>
                      <a:pt x="5106" y="65142"/>
                      <a:pt x="12765" y="72000"/>
                      <a:pt x="5106" y="82285"/>
                    </a:cubicBezTo>
                    <a:cubicBezTo>
                      <a:pt x="0" y="85714"/>
                      <a:pt x="0" y="89142"/>
                      <a:pt x="2553" y="92571"/>
                    </a:cubicBezTo>
                    <a:cubicBezTo>
                      <a:pt x="7659" y="96000"/>
                      <a:pt x="2553" y="102857"/>
                      <a:pt x="2553" y="106285"/>
                    </a:cubicBezTo>
                    <a:cubicBezTo>
                      <a:pt x="7659" y="106285"/>
                      <a:pt x="10212" y="106285"/>
                      <a:pt x="12765" y="102857"/>
                    </a:cubicBezTo>
                    <a:cubicBezTo>
                      <a:pt x="17872" y="99428"/>
                      <a:pt x="25531" y="99428"/>
                      <a:pt x="28085" y="9942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5" name="Shape 2536">
                <a:extLst>
                  <a:ext uri="{FF2B5EF4-FFF2-40B4-BE49-F238E27FC236}">
                    <a16:creationId xmlns:a16="http://schemas.microsoft.com/office/drawing/2014/main" id="{F05B3B77-CA35-4B0B-BBEB-527A75EED0FF}"/>
                  </a:ext>
                </a:extLst>
              </p:cNvPr>
              <p:cNvSpPr/>
              <p:nvPr/>
            </p:nvSpPr>
            <p:spPr>
              <a:xfrm>
                <a:off x="12678265" y="6676718"/>
                <a:ext cx="244262" cy="160969"/>
              </a:xfrm>
              <a:custGeom>
                <a:avLst/>
                <a:gdLst/>
                <a:ahLst/>
                <a:cxnLst/>
                <a:rect l="0" t="0" r="0" b="0"/>
                <a:pathLst>
                  <a:path w="120000" h="120000" extrusionOk="0">
                    <a:moveTo>
                      <a:pt x="66206" y="113684"/>
                    </a:moveTo>
                    <a:cubicBezTo>
                      <a:pt x="74482" y="101052"/>
                      <a:pt x="86896" y="101052"/>
                      <a:pt x="95172" y="94736"/>
                    </a:cubicBezTo>
                    <a:cubicBezTo>
                      <a:pt x="95172" y="88421"/>
                      <a:pt x="95172" y="82105"/>
                      <a:pt x="95172" y="75789"/>
                    </a:cubicBezTo>
                    <a:cubicBezTo>
                      <a:pt x="99310" y="63157"/>
                      <a:pt x="103448" y="63157"/>
                      <a:pt x="111724" y="56842"/>
                    </a:cubicBezTo>
                    <a:cubicBezTo>
                      <a:pt x="120000" y="50526"/>
                      <a:pt x="115862" y="31578"/>
                      <a:pt x="107586" y="25263"/>
                    </a:cubicBezTo>
                    <a:cubicBezTo>
                      <a:pt x="99310" y="18947"/>
                      <a:pt x="91034" y="12631"/>
                      <a:pt x="78620" y="6315"/>
                    </a:cubicBezTo>
                    <a:cubicBezTo>
                      <a:pt x="70344" y="0"/>
                      <a:pt x="53793" y="6315"/>
                      <a:pt x="41379" y="6315"/>
                    </a:cubicBezTo>
                    <a:cubicBezTo>
                      <a:pt x="33103" y="6315"/>
                      <a:pt x="0" y="0"/>
                      <a:pt x="0" y="25263"/>
                    </a:cubicBezTo>
                    <a:cubicBezTo>
                      <a:pt x="0" y="25263"/>
                      <a:pt x="4137" y="31578"/>
                      <a:pt x="4137" y="37894"/>
                    </a:cubicBezTo>
                    <a:cubicBezTo>
                      <a:pt x="8275" y="44210"/>
                      <a:pt x="4137" y="50526"/>
                      <a:pt x="8275" y="56842"/>
                    </a:cubicBezTo>
                    <a:cubicBezTo>
                      <a:pt x="12413" y="56842"/>
                      <a:pt x="16551" y="69473"/>
                      <a:pt x="20689" y="63157"/>
                    </a:cubicBezTo>
                    <a:cubicBezTo>
                      <a:pt x="28965" y="63157"/>
                      <a:pt x="37241" y="56842"/>
                      <a:pt x="37241" y="69473"/>
                    </a:cubicBezTo>
                    <a:cubicBezTo>
                      <a:pt x="37241" y="75789"/>
                      <a:pt x="37241" y="88421"/>
                      <a:pt x="33103" y="94736"/>
                    </a:cubicBezTo>
                    <a:cubicBezTo>
                      <a:pt x="45517" y="94736"/>
                      <a:pt x="45517" y="94736"/>
                      <a:pt x="49655" y="113684"/>
                    </a:cubicBezTo>
                    <a:cubicBezTo>
                      <a:pt x="53793" y="113684"/>
                      <a:pt x="66206" y="113684"/>
                      <a:pt x="66206" y="113684"/>
                    </a:cubicBezTo>
                    <a:cubicBezTo>
                      <a:pt x="70344" y="107368"/>
                      <a:pt x="62068" y="120000"/>
                      <a:pt x="66206" y="11368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6" name="Shape 2537">
                <a:extLst>
                  <a:ext uri="{FF2B5EF4-FFF2-40B4-BE49-F238E27FC236}">
                    <a16:creationId xmlns:a16="http://schemas.microsoft.com/office/drawing/2014/main" id="{75DA6CE4-DAC4-4EAD-A312-CB1F76471719}"/>
                  </a:ext>
                </a:extLst>
              </p:cNvPr>
              <p:cNvSpPr/>
              <p:nvPr/>
            </p:nvSpPr>
            <p:spPr>
              <a:xfrm>
                <a:off x="12678265" y="6576112"/>
                <a:ext cx="301738" cy="152346"/>
              </a:xfrm>
              <a:custGeom>
                <a:avLst/>
                <a:gdLst/>
                <a:ahLst/>
                <a:cxnLst/>
                <a:rect l="0" t="0" r="0" b="0"/>
                <a:pathLst>
                  <a:path w="120000" h="120000" extrusionOk="0">
                    <a:moveTo>
                      <a:pt x="36666" y="86666"/>
                    </a:moveTo>
                    <a:cubicBezTo>
                      <a:pt x="46666" y="86666"/>
                      <a:pt x="53333" y="80000"/>
                      <a:pt x="63333" y="80000"/>
                    </a:cubicBezTo>
                    <a:cubicBezTo>
                      <a:pt x="66666" y="80000"/>
                      <a:pt x="80000" y="93333"/>
                      <a:pt x="83333" y="100000"/>
                    </a:cubicBezTo>
                    <a:cubicBezTo>
                      <a:pt x="86666" y="106666"/>
                      <a:pt x="90000" y="120000"/>
                      <a:pt x="96666" y="113333"/>
                    </a:cubicBezTo>
                    <a:cubicBezTo>
                      <a:pt x="100000" y="113333"/>
                      <a:pt x="103333" y="106666"/>
                      <a:pt x="110000" y="106666"/>
                    </a:cubicBezTo>
                    <a:cubicBezTo>
                      <a:pt x="113333" y="106666"/>
                      <a:pt x="113333" y="93333"/>
                      <a:pt x="120000" y="93333"/>
                    </a:cubicBezTo>
                    <a:cubicBezTo>
                      <a:pt x="116666" y="80000"/>
                      <a:pt x="110000" y="60000"/>
                      <a:pt x="113333" y="53333"/>
                    </a:cubicBezTo>
                    <a:cubicBezTo>
                      <a:pt x="116666" y="40000"/>
                      <a:pt x="106666" y="26666"/>
                      <a:pt x="103333" y="26666"/>
                    </a:cubicBezTo>
                    <a:cubicBezTo>
                      <a:pt x="96666" y="20000"/>
                      <a:pt x="90000" y="33333"/>
                      <a:pt x="83333" y="20000"/>
                    </a:cubicBezTo>
                    <a:cubicBezTo>
                      <a:pt x="73333" y="6666"/>
                      <a:pt x="70000" y="0"/>
                      <a:pt x="60000" y="6666"/>
                    </a:cubicBezTo>
                    <a:cubicBezTo>
                      <a:pt x="53333" y="13333"/>
                      <a:pt x="56666" y="20000"/>
                      <a:pt x="56666" y="33333"/>
                    </a:cubicBezTo>
                    <a:cubicBezTo>
                      <a:pt x="53333" y="40000"/>
                      <a:pt x="53333" y="46666"/>
                      <a:pt x="50000" y="46666"/>
                    </a:cubicBezTo>
                    <a:cubicBezTo>
                      <a:pt x="40000" y="60000"/>
                      <a:pt x="33333" y="33333"/>
                      <a:pt x="26666" y="26666"/>
                    </a:cubicBezTo>
                    <a:cubicBezTo>
                      <a:pt x="10000" y="0"/>
                      <a:pt x="0" y="73333"/>
                      <a:pt x="0" y="100000"/>
                    </a:cubicBezTo>
                    <a:cubicBezTo>
                      <a:pt x="13333" y="86666"/>
                      <a:pt x="23333" y="86666"/>
                      <a:pt x="36666" y="8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7" name="Shape 2538">
                <a:extLst>
                  <a:ext uri="{FF2B5EF4-FFF2-40B4-BE49-F238E27FC236}">
                    <a16:creationId xmlns:a16="http://schemas.microsoft.com/office/drawing/2014/main" id="{4F436BA4-7612-44A7-A789-EE0BBE9CA5B7}"/>
                  </a:ext>
                </a:extLst>
              </p:cNvPr>
              <p:cNvSpPr/>
              <p:nvPr/>
            </p:nvSpPr>
            <p:spPr>
              <a:xfrm>
                <a:off x="12770222" y="6484132"/>
                <a:ext cx="201159" cy="126474"/>
              </a:xfrm>
              <a:custGeom>
                <a:avLst/>
                <a:gdLst/>
                <a:ahLst/>
                <a:cxnLst/>
                <a:rect l="0" t="0" r="0" b="0"/>
                <a:pathLst>
                  <a:path w="120000" h="120000" extrusionOk="0">
                    <a:moveTo>
                      <a:pt x="80000" y="120000"/>
                    </a:moveTo>
                    <a:cubicBezTo>
                      <a:pt x="85000" y="120000"/>
                      <a:pt x="95000" y="120000"/>
                      <a:pt x="100000" y="120000"/>
                    </a:cubicBezTo>
                    <a:cubicBezTo>
                      <a:pt x="100000" y="112000"/>
                      <a:pt x="110000" y="112000"/>
                      <a:pt x="110000" y="104000"/>
                    </a:cubicBezTo>
                    <a:cubicBezTo>
                      <a:pt x="110000" y="96000"/>
                      <a:pt x="110000" y="88000"/>
                      <a:pt x="110000" y="80000"/>
                    </a:cubicBezTo>
                    <a:cubicBezTo>
                      <a:pt x="105000" y="64000"/>
                      <a:pt x="100000" y="56000"/>
                      <a:pt x="105000" y="40000"/>
                    </a:cubicBezTo>
                    <a:cubicBezTo>
                      <a:pt x="115000" y="32000"/>
                      <a:pt x="120000" y="16000"/>
                      <a:pt x="120000" y="0"/>
                    </a:cubicBezTo>
                    <a:cubicBezTo>
                      <a:pt x="110000" y="24000"/>
                      <a:pt x="75000" y="0"/>
                      <a:pt x="60000" y="0"/>
                    </a:cubicBezTo>
                    <a:cubicBezTo>
                      <a:pt x="50000" y="0"/>
                      <a:pt x="40000" y="0"/>
                      <a:pt x="30000" y="8000"/>
                    </a:cubicBezTo>
                    <a:cubicBezTo>
                      <a:pt x="25000" y="8000"/>
                      <a:pt x="0" y="40000"/>
                      <a:pt x="0" y="40000"/>
                    </a:cubicBezTo>
                    <a:cubicBezTo>
                      <a:pt x="0" y="48000"/>
                      <a:pt x="15000" y="40000"/>
                      <a:pt x="10000" y="48000"/>
                    </a:cubicBezTo>
                    <a:cubicBezTo>
                      <a:pt x="10000" y="56000"/>
                      <a:pt x="10000" y="56000"/>
                      <a:pt x="10000" y="64000"/>
                    </a:cubicBezTo>
                    <a:cubicBezTo>
                      <a:pt x="15000" y="80000"/>
                      <a:pt x="35000" y="72000"/>
                      <a:pt x="35000" y="72000"/>
                    </a:cubicBezTo>
                    <a:cubicBezTo>
                      <a:pt x="35000" y="80000"/>
                      <a:pt x="30000" y="96000"/>
                      <a:pt x="30000" y="104000"/>
                    </a:cubicBezTo>
                    <a:cubicBezTo>
                      <a:pt x="35000" y="96000"/>
                      <a:pt x="45000" y="88000"/>
                      <a:pt x="55000" y="96000"/>
                    </a:cubicBezTo>
                    <a:cubicBezTo>
                      <a:pt x="65000" y="104000"/>
                      <a:pt x="70000" y="120000"/>
                      <a:pt x="8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8" name="Shape 2539">
                <a:extLst>
                  <a:ext uri="{FF2B5EF4-FFF2-40B4-BE49-F238E27FC236}">
                    <a16:creationId xmlns:a16="http://schemas.microsoft.com/office/drawing/2014/main" id="{79984BC7-1E50-4F35-BAE1-2B337B62F702}"/>
                  </a:ext>
                </a:extLst>
              </p:cNvPr>
              <p:cNvSpPr/>
              <p:nvPr/>
            </p:nvSpPr>
            <p:spPr>
              <a:xfrm>
                <a:off x="12617921" y="6745705"/>
                <a:ext cx="135063" cy="66112"/>
              </a:xfrm>
              <a:custGeom>
                <a:avLst/>
                <a:gdLst/>
                <a:ahLst/>
                <a:cxnLst/>
                <a:rect l="0" t="0" r="0" b="0"/>
                <a:pathLst>
                  <a:path w="120000" h="120000" extrusionOk="0">
                    <a:moveTo>
                      <a:pt x="120000" y="60000"/>
                    </a:moveTo>
                    <a:cubicBezTo>
                      <a:pt x="120000" y="15000"/>
                      <a:pt x="105000" y="30000"/>
                      <a:pt x="90000" y="30000"/>
                    </a:cubicBezTo>
                    <a:cubicBezTo>
                      <a:pt x="82500" y="45000"/>
                      <a:pt x="75000" y="15000"/>
                      <a:pt x="60000" y="0"/>
                    </a:cubicBezTo>
                    <a:cubicBezTo>
                      <a:pt x="60000" y="15000"/>
                      <a:pt x="60000" y="30000"/>
                      <a:pt x="52500" y="45000"/>
                    </a:cubicBezTo>
                    <a:cubicBezTo>
                      <a:pt x="45000" y="45000"/>
                      <a:pt x="52500" y="15000"/>
                      <a:pt x="37500" y="30000"/>
                    </a:cubicBezTo>
                    <a:cubicBezTo>
                      <a:pt x="30000" y="30000"/>
                      <a:pt x="15000" y="30000"/>
                      <a:pt x="15000" y="45000"/>
                    </a:cubicBezTo>
                    <a:cubicBezTo>
                      <a:pt x="7500" y="75000"/>
                      <a:pt x="15000" y="90000"/>
                      <a:pt x="0" y="75000"/>
                    </a:cubicBezTo>
                    <a:cubicBezTo>
                      <a:pt x="0" y="75000"/>
                      <a:pt x="0" y="75000"/>
                      <a:pt x="0" y="90000"/>
                    </a:cubicBezTo>
                    <a:cubicBezTo>
                      <a:pt x="0" y="90000"/>
                      <a:pt x="7500" y="90000"/>
                      <a:pt x="15000" y="90000"/>
                    </a:cubicBezTo>
                    <a:cubicBezTo>
                      <a:pt x="30000" y="105000"/>
                      <a:pt x="45000" y="105000"/>
                      <a:pt x="60000" y="105000"/>
                    </a:cubicBezTo>
                    <a:cubicBezTo>
                      <a:pt x="75000" y="105000"/>
                      <a:pt x="120000" y="120000"/>
                      <a:pt x="12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89" name="Shape 2540">
                <a:extLst>
                  <a:ext uri="{FF2B5EF4-FFF2-40B4-BE49-F238E27FC236}">
                    <a16:creationId xmlns:a16="http://schemas.microsoft.com/office/drawing/2014/main" id="{75641357-94F0-4FF2-BCE3-1B95AEEA676E}"/>
                  </a:ext>
                </a:extLst>
              </p:cNvPr>
              <p:cNvSpPr/>
              <p:nvPr/>
            </p:nvSpPr>
            <p:spPr>
              <a:xfrm>
                <a:off x="12408138" y="6762948"/>
                <a:ext cx="402314" cy="353554"/>
              </a:xfrm>
              <a:custGeom>
                <a:avLst/>
                <a:gdLst/>
                <a:ahLst/>
                <a:cxnLst/>
                <a:rect l="0" t="0" r="0" b="0"/>
                <a:pathLst>
                  <a:path w="120000" h="120000" extrusionOk="0">
                    <a:moveTo>
                      <a:pt x="2500" y="34285"/>
                    </a:moveTo>
                    <a:cubicBezTo>
                      <a:pt x="2500" y="37142"/>
                      <a:pt x="0" y="42857"/>
                      <a:pt x="0" y="45714"/>
                    </a:cubicBezTo>
                    <a:cubicBezTo>
                      <a:pt x="2500" y="48571"/>
                      <a:pt x="5000" y="54285"/>
                      <a:pt x="5000" y="57142"/>
                    </a:cubicBezTo>
                    <a:cubicBezTo>
                      <a:pt x="5000" y="62857"/>
                      <a:pt x="7500" y="71428"/>
                      <a:pt x="10000" y="77142"/>
                    </a:cubicBezTo>
                    <a:cubicBezTo>
                      <a:pt x="12500" y="85714"/>
                      <a:pt x="20000" y="82857"/>
                      <a:pt x="22500" y="88571"/>
                    </a:cubicBezTo>
                    <a:cubicBezTo>
                      <a:pt x="22500" y="88571"/>
                      <a:pt x="22500" y="94285"/>
                      <a:pt x="25000" y="94285"/>
                    </a:cubicBezTo>
                    <a:cubicBezTo>
                      <a:pt x="27500" y="97142"/>
                      <a:pt x="30000" y="91428"/>
                      <a:pt x="32500" y="91428"/>
                    </a:cubicBezTo>
                    <a:cubicBezTo>
                      <a:pt x="37500" y="88571"/>
                      <a:pt x="47500" y="100000"/>
                      <a:pt x="52500" y="102857"/>
                    </a:cubicBezTo>
                    <a:cubicBezTo>
                      <a:pt x="55000" y="105714"/>
                      <a:pt x="57500" y="111428"/>
                      <a:pt x="62500" y="105714"/>
                    </a:cubicBezTo>
                    <a:cubicBezTo>
                      <a:pt x="65000" y="102857"/>
                      <a:pt x="77500" y="105714"/>
                      <a:pt x="82500" y="105714"/>
                    </a:cubicBezTo>
                    <a:cubicBezTo>
                      <a:pt x="90000" y="105714"/>
                      <a:pt x="92500" y="111428"/>
                      <a:pt x="97500" y="117142"/>
                    </a:cubicBezTo>
                    <a:cubicBezTo>
                      <a:pt x="100000" y="120000"/>
                      <a:pt x="100000" y="102857"/>
                      <a:pt x="102500" y="100000"/>
                    </a:cubicBezTo>
                    <a:cubicBezTo>
                      <a:pt x="105000" y="97142"/>
                      <a:pt x="107500" y="94285"/>
                      <a:pt x="110000" y="91428"/>
                    </a:cubicBezTo>
                    <a:cubicBezTo>
                      <a:pt x="112500" y="91428"/>
                      <a:pt x="120000" y="91428"/>
                      <a:pt x="120000" y="88571"/>
                    </a:cubicBezTo>
                    <a:cubicBezTo>
                      <a:pt x="117500" y="80000"/>
                      <a:pt x="117500" y="77142"/>
                      <a:pt x="112500" y="74285"/>
                    </a:cubicBezTo>
                    <a:cubicBezTo>
                      <a:pt x="107500" y="68571"/>
                      <a:pt x="115000" y="60000"/>
                      <a:pt x="110000" y="54285"/>
                    </a:cubicBezTo>
                    <a:cubicBezTo>
                      <a:pt x="105000" y="51428"/>
                      <a:pt x="117500" y="40000"/>
                      <a:pt x="115000" y="34285"/>
                    </a:cubicBezTo>
                    <a:cubicBezTo>
                      <a:pt x="112500" y="28571"/>
                      <a:pt x="110000" y="25714"/>
                      <a:pt x="110000" y="20000"/>
                    </a:cubicBezTo>
                    <a:cubicBezTo>
                      <a:pt x="110000" y="17142"/>
                      <a:pt x="110000" y="14285"/>
                      <a:pt x="105000" y="14285"/>
                    </a:cubicBezTo>
                    <a:cubicBezTo>
                      <a:pt x="92500" y="8571"/>
                      <a:pt x="75000" y="17142"/>
                      <a:pt x="62500" y="11428"/>
                    </a:cubicBezTo>
                    <a:cubicBezTo>
                      <a:pt x="62500" y="20000"/>
                      <a:pt x="52500" y="5714"/>
                      <a:pt x="50000" y="5714"/>
                    </a:cubicBezTo>
                    <a:cubicBezTo>
                      <a:pt x="42500" y="0"/>
                      <a:pt x="37500" y="5714"/>
                      <a:pt x="32500" y="11428"/>
                    </a:cubicBezTo>
                    <a:cubicBezTo>
                      <a:pt x="25000" y="14285"/>
                      <a:pt x="20000" y="17142"/>
                      <a:pt x="15000" y="17142"/>
                    </a:cubicBezTo>
                    <a:cubicBezTo>
                      <a:pt x="12500" y="20000"/>
                      <a:pt x="7500" y="20000"/>
                      <a:pt x="5000" y="20000"/>
                    </a:cubicBezTo>
                    <a:cubicBezTo>
                      <a:pt x="2500" y="22857"/>
                      <a:pt x="7500" y="25714"/>
                      <a:pt x="2500" y="25714"/>
                    </a:cubicBezTo>
                    <a:cubicBezTo>
                      <a:pt x="2500" y="28571"/>
                      <a:pt x="2500" y="31428"/>
                      <a:pt x="2500" y="34285"/>
                    </a:cubicBezTo>
                    <a:cubicBezTo>
                      <a:pt x="2500" y="40000"/>
                      <a:pt x="2500" y="34285"/>
                      <a:pt x="2500" y="3428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0" name="Shape 2541">
                <a:extLst>
                  <a:ext uri="{FF2B5EF4-FFF2-40B4-BE49-F238E27FC236}">
                    <a16:creationId xmlns:a16="http://schemas.microsoft.com/office/drawing/2014/main" id="{2C035EFE-1081-41B6-82D5-D5A6999EDB1E}"/>
                  </a:ext>
                </a:extLst>
              </p:cNvPr>
              <p:cNvSpPr/>
              <p:nvPr/>
            </p:nvSpPr>
            <p:spPr>
              <a:xfrm>
                <a:off x="12652400" y="7133753"/>
                <a:ext cx="387947" cy="252949"/>
              </a:xfrm>
              <a:custGeom>
                <a:avLst/>
                <a:gdLst/>
                <a:ahLst/>
                <a:cxnLst/>
                <a:rect l="0" t="0" r="0" b="0"/>
                <a:pathLst>
                  <a:path w="120000" h="120000" extrusionOk="0">
                    <a:moveTo>
                      <a:pt x="99130" y="52000"/>
                    </a:moveTo>
                    <a:cubicBezTo>
                      <a:pt x="101739" y="40000"/>
                      <a:pt x="93913" y="32000"/>
                      <a:pt x="91304" y="24000"/>
                    </a:cubicBezTo>
                    <a:cubicBezTo>
                      <a:pt x="86086" y="20000"/>
                      <a:pt x="83478" y="8000"/>
                      <a:pt x="83478" y="0"/>
                    </a:cubicBezTo>
                    <a:cubicBezTo>
                      <a:pt x="75652" y="4000"/>
                      <a:pt x="67826" y="16000"/>
                      <a:pt x="57391" y="16000"/>
                    </a:cubicBezTo>
                    <a:cubicBezTo>
                      <a:pt x="54782" y="16000"/>
                      <a:pt x="49565" y="12000"/>
                      <a:pt x="46956" y="12000"/>
                    </a:cubicBezTo>
                    <a:cubicBezTo>
                      <a:pt x="41739" y="12000"/>
                      <a:pt x="36521" y="12000"/>
                      <a:pt x="31304" y="12000"/>
                    </a:cubicBezTo>
                    <a:cubicBezTo>
                      <a:pt x="31304" y="12000"/>
                      <a:pt x="23478" y="24000"/>
                      <a:pt x="20869" y="24000"/>
                    </a:cubicBezTo>
                    <a:cubicBezTo>
                      <a:pt x="18260" y="36000"/>
                      <a:pt x="13043" y="44000"/>
                      <a:pt x="10434" y="56000"/>
                    </a:cubicBezTo>
                    <a:cubicBezTo>
                      <a:pt x="7826" y="56000"/>
                      <a:pt x="2608" y="56000"/>
                      <a:pt x="0" y="60000"/>
                    </a:cubicBezTo>
                    <a:cubicBezTo>
                      <a:pt x="0" y="64000"/>
                      <a:pt x="7826" y="68000"/>
                      <a:pt x="7826" y="72000"/>
                    </a:cubicBezTo>
                    <a:cubicBezTo>
                      <a:pt x="7826" y="80000"/>
                      <a:pt x="10434" y="80000"/>
                      <a:pt x="13043" y="88000"/>
                    </a:cubicBezTo>
                    <a:cubicBezTo>
                      <a:pt x="13043" y="96000"/>
                      <a:pt x="15652" y="96000"/>
                      <a:pt x="20869" y="96000"/>
                    </a:cubicBezTo>
                    <a:cubicBezTo>
                      <a:pt x="23478" y="96000"/>
                      <a:pt x="28695" y="96000"/>
                      <a:pt x="28695" y="100000"/>
                    </a:cubicBezTo>
                    <a:cubicBezTo>
                      <a:pt x="28695" y="104000"/>
                      <a:pt x="28695" y="108000"/>
                      <a:pt x="28695" y="112000"/>
                    </a:cubicBezTo>
                    <a:cubicBezTo>
                      <a:pt x="33913" y="120000"/>
                      <a:pt x="46956" y="120000"/>
                      <a:pt x="54782" y="120000"/>
                    </a:cubicBezTo>
                    <a:cubicBezTo>
                      <a:pt x="62608" y="120000"/>
                      <a:pt x="67826" y="120000"/>
                      <a:pt x="73043" y="112000"/>
                    </a:cubicBezTo>
                    <a:cubicBezTo>
                      <a:pt x="83478" y="104000"/>
                      <a:pt x="93913" y="112000"/>
                      <a:pt x="104347" y="120000"/>
                    </a:cubicBezTo>
                    <a:cubicBezTo>
                      <a:pt x="104347" y="112000"/>
                      <a:pt x="104347" y="100000"/>
                      <a:pt x="106956" y="92000"/>
                    </a:cubicBezTo>
                    <a:cubicBezTo>
                      <a:pt x="109565" y="88000"/>
                      <a:pt x="117391" y="96000"/>
                      <a:pt x="120000" y="80000"/>
                    </a:cubicBezTo>
                    <a:cubicBezTo>
                      <a:pt x="112173" y="72000"/>
                      <a:pt x="109565" y="80000"/>
                      <a:pt x="101739" y="80000"/>
                    </a:cubicBezTo>
                    <a:cubicBezTo>
                      <a:pt x="96521" y="76000"/>
                      <a:pt x="96521" y="56000"/>
                      <a:pt x="99130" y="52000"/>
                    </a:cubicBezTo>
                    <a:cubicBezTo>
                      <a:pt x="101739" y="44000"/>
                      <a:pt x="96521" y="60000"/>
                      <a:pt x="99130" y="5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1" name="Shape 2542">
                <a:extLst>
                  <a:ext uri="{FF2B5EF4-FFF2-40B4-BE49-F238E27FC236}">
                    <a16:creationId xmlns:a16="http://schemas.microsoft.com/office/drawing/2014/main" id="{FDDAE253-E14D-433F-AEAC-5D1AA5AF8066}"/>
                  </a:ext>
                </a:extLst>
              </p:cNvPr>
              <p:cNvSpPr/>
              <p:nvPr/>
            </p:nvSpPr>
            <p:spPr>
              <a:xfrm>
                <a:off x="12922527" y="7125129"/>
                <a:ext cx="140809" cy="169594"/>
              </a:xfrm>
              <a:custGeom>
                <a:avLst/>
                <a:gdLst/>
                <a:ahLst/>
                <a:cxnLst/>
                <a:rect l="0" t="0" r="0" b="0"/>
                <a:pathLst>
                  <a:path w="120000" h="120000" extrusionOk="0">
                    <a:moveTo>
                      <a:pt x="98823" y="60000"/>
                    </a:moveTo>
                    <a:cubicBezTo>
                      <a:pt x="84705" y="48000"/>
                      <a:pt x="77647" y="24000"/>
                      <a:pt x="63529" y="18000"/>
                    </a:cubicBezTo>
                    <a:cubicBezTo>
                      <a:pt x="56470" y="18000"/>
                      <a:pt x="0" y="0"/>
                      <a:pt x="0" y="6000"/>
                    </a:cubicBezTo>
                    <a:cubicBezTo>
                      <a:pt x="7058" y="30000"/>
                      <a:pt x="21176" y="42000"/>
                      <a:pt x="35294" y="60000"/>
                    </a:cubicBezTo>
                    <a:cubicBezTo>
                      <a:pt x="49411" y="78000"/>
                      <a:pt x="28235" y="102000"/>
                      <a:pt x="49411" y="120000"/>
                    </a:cubicBezTo>
                    <a:cubicBezTo>
                      <a:pt x="56470" y="114000"/>
                      <a:pt x="63529" y="96000"/>
                      <a:pt x="70588" y="84000"/>
                    </a:cubicBezTo>
                    <a:cubicBezTo>
                      <a:pt x="84705" y="78000"/>
                      <a:pt x="91764" y="84000"/>
                      <a:pt x="98823" y="84000"/>
                    </a:cubicBezTo>
                    <a:cubicBezTo>
                      <a:pt x="120000" y="84000"/>
                      <a:pt x="98823" y="60000"/>
                      <a:pt x="98823" y="60000"/>
                    </a:cubicBezTo>
                    <a:cubicBezTo>
                      <a:pt x="91764" y="54000"/>
                      <a:pt x="98823" y="60000"/>
                      <a:pt x="98823"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2" name="Shape 2543">
                <a:extLst>
                  <a:ext uri="{FF2B5EF4-FFF2-40B4-BE49-F238E27FC236}">
                    <a16:creationId xmlns:a16="http://schemas.microsoft.com/office/drawing/2014/main" id="{56E4FB32-5CE7-493F-AAB6-9B84A7AE0492}"/>
                  </a:ext>
                </a:extLst>
              </p:cNvPr>
              <p:cNvSpPr/>
              <p:nvPr/>
            </p:nvSpPr>
            <p:spPr>
              <a:xfrm>
                <a:off x="12980002" y="7217109"/>
                <a:ext cx="83336" cy="86232"/>
              </a:xfrm>
              <a:custGeom>
                <a:avLst/>
                <a:gdLst/>
                <a:ahLst/>
                <a:cxnLst/>
                <a:rect l="0" t="0" r="0" b="0"/>
                <a:pathLst>
                  <a:path w="120000" h="120000" extrusionOk="0">
                    <a:moveTo>
                      <a:pt x="84000" y="108000"/>
                    </a:moveTo>
                    <a:cubicBezTo>
                      <a:pt x="72000" y="96000"/>
                      <a:pt x="72000" y="96000"/>
                      <a:pt x="84000" y="84000"/>
                    </a:cubicBezTo>
                    <a:cubicBezTo>
                      <a:pt x="96000" y="72000"/>
                      <a:pt x="108000" y="60000"/>
                      <a:pt x="120000" y="48000"/>
                    </a:cubicBezTo>
                    <a:cubicBezTo>
                      <a:pt x="120000" y="48000"/>
                      <a:pt x="96000" y="24000"/>
                      <a:pt x="96000" y="12000"/>
                    </a:cubicBezTo>
                    <a:cubicBezTo>
                      <a:pt x="96000" y="60000"/>
                      <a:pt x="36000" y="0"/>
                      <a:pt x="36000" y="48000"/>
                    </a:cubicBezTo>
                    <a:cubicBezTo>
                      <a:pt x="36000" y="72000"/>
                      <a:pt x="12000" y="96000"/>
                      <a:pt x="0" y="108000"/>
                    </a:cubicBezTo>
                    <a:cubicBezTo>
                      <a:pt x="0" y="120000"/>
                      <a:pt x="24000" y="108000"/>
                      <a:pt x="36000" y="108000"/>
                    </a:cubicBezTo>
                    <a:cubicBezTo>
                      <a:pt x="60000" y="108000"/>
                      <a:pt x="72000" y="108000"/>
                      <a:pt x="84000" y="120000"/>
                    </a:cubicBezTo>
                    <a:cubicBezTo>
                      <a:pt x="84000" y="120000"/>
                      <a:pt x="84000" y="108000"/>
                      <a:pt x="84000" y="108000"/>
                    </a:cubicBezTo>
                    <a:cubicBezTo>
                      <a:pt x="72000" y="96000"/>
                      <a:pt x="84000" y="108000"/>
                      <a:pt x="84000" y="10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3" name="Shape 2544">
                <a:extLst>
                  <a:ext uri="{FF2B5EF4-FFF2-40B4-BE49-F238E27FC236}">
                    <a16:creationId xmlns:a16="http://schemas.microsoft.com/office/drawing/2014/main" id="{3776E1B6-CF65-4539-BB66-50A44A85F9E4}"/>
                  </a:ext>
                </a:extLst>
              </p:cNvPr>
              <p:cNvSpPr/>
              <p:nvPr/>
            </p:nvSpPr>
            <p:spPr>
              <a:xfrm>
                <a:off x="12727120" y="7352207"/>
                <a:ext cx="270126" cy="160969"/>
              </a:xfrm>
              <a:custGeom>
                <a:avLst/>
                <a:gdLst/>
                <a:ahLst/>
                <a:cxnLst/>
                <a:rect l="0" t="0" r="0" b="0"/>
                <a:pathLst>
                  <a:path w="120000" h="120000" extrusionOk="0">
                    <a:moveTo>
                      <a:pt x="63750" y="25263"/>
                    </a:moveTo>
                    <a:cubicBezTo>
                      <a:pt x="48750" y="25263"/>
                      <a:pt x="11250" y="37894"/>
                      <a:pt x="7500" y="0"/>
                    </a:cubicBezTo>
                    <a:cubicBezTo>
                      <a:pt x="3750" y="12631"/>
                      <a:pt x="0" y="25263"/>
                      <a:pt x="7500" y="31578"/>
                    </a:cubicBezTo>
                    <a:cubicBezTo>
                      <a:pt x="11250" y="37894"/>
                      <a:pt x="15000" y="44210"/>
                      <a:pt x="11250" y="50526"/>
                    </a:cubicBezTo>
                    <a:cubicBezTo>
                      <a:pt x="7500" y="56842"/>
                      <a:pt x="3750" y="56842"/>
                      <a:pt x="3750" y="69473"/>
                    </a:cubicBezTo>
                    <a:cubicBezTo>
                      <a:pt x="7500" y="82105"/>
                      <a:pt x="11250" y="88421"/>
                      <a:pt x="11250" y="107368"/>
                    </a:cubicBezTo>
                    <a:cubicBezTo>
                      <a:pt x="18750" y="107368"/>
                      <a:pt x="26250" y="107368"/>
                      <a:pt x="33750" y="107368"/>
                    </a:cubicBezTo>
                    <a:cubicBezTo>
                      <a:pt x="41250" y="107368"/>
                      <a:pt x="52500" y="120000"/>
                      <a:pt x="60000" y="113684"/>
                    </a:cubicBezTo>
                    <a:cubicBezTo>
                      <a:pt x="67500" y="113684"/>
                      <a:pt x="75000" y="101052"/>
                      <a:pt x="78750" y="94736"/>
                    </a:cubicBezTo>
                    <a:cubicBezTo>
                      <a:pt x="86250" y="82105"/>
                      <a:pt x="93750" y="88421"/>
                      <a:pt x="105000" y="88421"/>
                    </a:cubicBezTo>
                    <a:cubicBezTo>
                      <a:pt x="101250" y="75789"/>
                      <a:pt x="101250" y="69473"/>
                      <a:pt x="105000" y="50526"/>
                    </a:cubicBezTo>
                    <a:cubicBezTo>
                      <a:pt x="108750" y="37894"/>
                      <a:pt x="120000" y="25263"/>
                      <a:pt x="108750" y="18947"/>
                    </a:cubicBezTo>
                    <a:cubicBezTo>
                      <a:pt x="101250" y="12631"/>
                      <a:pt x="90000" y="6315"/>
                      <a:pt x="78750" y="12631"/>
                    </a:cubicBezTo>
                    <a:cubicBezTo>
                      <a:pt x="71250" y="12631"/>
                      <a:pt x="67500" y="25263"/>
                      <a:pt x="63750" y="2526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4" name="Shape 2545">
                <a:extLst>
                  <a:ext uri="{FF2B5EF4-FFF2-40B4-BE49-F238E27FC236}">
                    <a16:creationId xmlns:a16="http://schemas.microsoft.com/office/drawing/2014/main" id="{39CA7E6E-DE37-4AED-9FA4-52932A624DBB}"/>
                  </a:ext>
                </a:extLst>
              </p:cNvPr>
              <p:cNvSpPr/>
              <p:nvPr/>
            </p:nvSpPr>
            <p:spPr>
              <a:xfrm>
                <a:off x="12465613" y="7311966"/>
                <a:ext cx="152305" cy="126474"/>
              </a:xfrm>
              <a:custGeom>
                <a:avLst/>
                <a:gdLst/>
                <a:ahLst/>
                <a:cxnLst/>
                <a:rect l="0" t="0" r="0" b="0"/>
                <a:pathLst>
                  <a:path w="120000" h="120000" extrusionOk="0">
                    <a:moveTo>
                      <a:pt x="66666" y="0"/>
                    </a:moveTo>
                    <a:cubicBezTo>
                      <a:pt x="53333" y="0"/>
                      <a:pt x="0" y="0"/>
                      <a:pt x="6666" y="16000"/>
                    </a:cubicBezTo>
                    <a:cubicBezTo>
                      <a:pt x="6666" y="24000"/>
                      <a:pt x="20000" y="56000"/>
                      <a:pt x="26666" y="64000"/>
                    </a:cubicBezTo>
                    <a:cubicBezTo>
                      <a:pt x="40000" y="88000"/>
                      <a:pt x="66666" y="104000"/>
                      <a:pt x="86666" y="120000"/>
                    </a:cubicBezTo>
                    <a:cubicBezTo>
                      <a:pt x="86666" y="104000"/>
                      <a:pt x="86666" y="88000"/>
                      <a:pt x="100000" y="80000"/>
                    </a:cubicBezTo>
                    <a:cubicBezTo>
                      <a:pt x="113333" y="72000"/>
                      <a:pt x="120000" y="64000"/>
                      <a:pt x="113333" y="48000"/>
                    </a:cubicBezTo>
                    <a:cubicBezTo>
                      <a:pt x="113333" y="32000"/>
                      <a:pt x="113333" y="24000"/>
                      <a:pt x="106666" y="16000"/>
                    </a:cubicBezTo>
                    <a:cubicBezTo>
                      <a:pt x="93333" y="8000"/>
                      <a:pt x="80000" y="0"/>
                      <a:pt x="66666"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5" name="Shape 2546">
                <a:extLst>
                  <a:ext uri="{FF2B5EF4-FFF2-40B4-BE49-F238E27FC236}">
                    <a16:creationId xmlns:a16="http://schemas.microsoft.com/office/drawing/2014/main" id="{1D1E5849-EDEC-434B-9C76-A72447DEBA9E}"/>
                  </a:ext>
                </a:extLst>
              </p:cNvPr>
              <p:cNvSpPr/>
              <p:nvPr/>
            </p:nvSpPr>
            <p:spPr>
              <a:xfrm>
                <a:off x="12574812" y="7251602"/>
                <a:ext cx="186789" cy="227079"/>
              </a:xfrm>
              <a:custGeom>
                <a:avLst/>
                <a:gdLst/>
                <a:ahLst/>
                <a:cxnLst/>
                <a:rect l="0" t="0" r="0" b="0"/>
                <a:pathLst>
                  <a:path w="120000" h="120000" extrusionOk="0">
                    <a:moveTo>
                      <a:pt x="114545" y="84444"/>
                    </a:moveTo>
                    <a:cubicBezTo>
                      <a:pt x="120000" y="80000"/>
                      <a:pt x="114545" y="80000"/>
                      <a:pt x="109090" y="75555"/>
                    </a:cubicBezTo>
                    <a:cubicBezTo>
                      <a:pt x="103636" y="71111"/>
                      <a:pt x="103636" y="66666"/>
                      <a:pt x="103636" y="57777"/>
                    </a:cubicBezTo>
                    <a:cubicBezTo>
                      <a:pt x="114545" y="44444"/>
                      <a:pt x="98181" y="44444"/>
                      <a:pt x="81818" y="44444"/>
                    </a:cubicBezTo>
                    <a:cubicBezTo>
                      <a:pt x="76363" y="44444"/>
                      <a:pt x="76363" y="40000"/>
                      <a:pt x="76363" y="35555"/>
                    </a:cubicBezTo>
                    <a:cubicBezTo>
                      <a:pt x="70909" y="26666"/>
                      <a:pt x="65454" y="31111"/>
                      <a:pt x="65454" y="22222"/>
                    </a:cubicBezTo>
                    <a:cubicBezTo>
                      <a:pt x="60000" y="8888"/>
                      <a:pt x="49090" y="0"/>
                      <a:pt x="27272" y="4444"/>
                    </a:cubicBezTo>
                    <a:cubicBezTo>
                      <a:pt x="10909" y="8888"/>
                      <a:pt x="10909" y="8888"/>
                      <a:pt x="10909" y="17777"/>
                    </a:cubicBezTo>
                    <a:cubicBezTo>
                      <a:pt x="16363" y="31111"/>
                      <a:pt x="21818" y="44444"/>
                      <a:pt x="21818" y="62222"/>
                    </a:cubicBezTo>
                    <a:cubicBezTo>
                      <a:pt x="27272" y="75555"/>
                      <a:pt x="10909" y="71111"/>
                      <a:pt x="5454" y="84444"/>
                    </a:cubicBezTo>
                    <a:cubicBezTo>
                      <a:pt x="0" y="88888"/>
                      <a:pt x="0" y="97777"/>
                      <a:pt x="0" y="102222"/>
                    </a:cubicBezTo>
                    <a:cubicBezTo>
                      <a:pt x="0" y="111111"/>
                      <a:pt x="16363" y="115555"/>
                      <a:pt x="21818" y="120000"/>
                    </a:cubicBezTo>
                    <a:cubicBezTo>
                      <a:pt x="21818" y="115555"/>
                      <a:pt x="21818" y="102222"/>
                      <a:pt x="32727" y="102222"/>
                    </a:cubicBezTo>
                    <a:cubicBezTo>
                      <a:pt x="43636" y="102222"/>
                      <a:pt x="49090" y="106666"/>
                      <a:pt x="54545" y="115555"/>
                    </a:cubicBezTo>
                    <a:cubicBezTo>
                      <a:pt x="60000" y="115555"/>
                      <a:pt x="98181" y="106666"/>
                      <a:pt x="109090" y="106666"/>
                    </a:cubicBezTo>
                    <a:cubicBezTo>
                      <a:pt x="98181" y="97777"/>
                      <a:pt x="109090" y="93333"/>
                      <a:pt x="114545" y="84444"/>
                    </a:cubicBezTo>
                    <a:cubicBezTo>
                      <a:pt x="120000" y="80000"/>
                      <a:pt x="109090" y="88888"/>
                      <a:pt x="114545" y="8444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6" name="Shape 2547">
                <a:extLst>
                  <a:ext uri="{FF2B5EF4-FFF2-40B4-BE49-F238E27FC236}">
                    <a16:creationId xmlns:a16="http://schemas.microsoft.com/office/drawing/2014/main" id="{6B8C27EB-527E-4302-84D5-25198980BC70}"/>
                  </a:ext>
                </a:extLst>
              </p:cNvPr>
              <p:cNvSpPr/>
              <p:nvPr/>
            </p:nvSpPr>
            <p:spPr>
              <a:xfrm>
                <a:off x="12474234" y="7116506"/>
                <a:ext cx="295991" cy="160969"/>
              </a:xfrm>
              <a:custGeom>
                <a:avLst/>
                <a:gdLst/>
                <a:ahLst/>
                <a:cxnLst/>
                <a:rect l="0" t="0" r="0" b="0"/>
                <a:pathLst>
                  <a:path w="120000" h="120000" extrusionOk="0">
                    <a:moveTo>
                      <a:pt x="102857" y="18947"/>
                    </a:moveTo>
                    <a:cubicBezTo>
                      <a:pt x="102857" y="12631"/>
                      <a:pt x="85714" y="12631"/>
                      <a:pt x="82285" y="6315"/>
                    </a:cubicBezTo>
                    <a:cubicBezTo>
                      <a:pt x="68571" y="0"/>
                      <a:pt x="75428" y="25263"/>
                      <a:pt x="65142" y="25263"/>
                    </a:cubicBezTo>
                    <a:cubicBezTo>
                      <a:pt x="61714" y="18947"/>
                      <a:pt x="58285" y="25263"/>
                      <a:pt x="51428" y="25263"/>
                    </a:cubicBezTo>
                    <a:cubicBezTo>
                      <a:pt x="48000" y="25263"/>
                      <a:pt x="48000" y="37894"/>
                      <a:pt x="44571" y="37894"/>
                    </a:cubicBezTo>
                    <a:cubicBezTo>
                      <a:pt x="30857" y="50526"/>
                      <a:pt x="24000" y="37894"/>
                      <a:pt x="17142" y="25263"/>
                    </a:cubicBezTo>
                    <a:cubicBezTo>
                      <a:pt x="17142" y="31578"/>
                      <a:pt x="17142" y="37894"/>
                      <a:pt x="17142" y="44210"/>
                    </a:cubicBezTo>
                    <a:cubicBezTo>
                      <a:pt x="13714" y="50526"/>
                      <a:pt x="10285" y="37894"/>
                      <a:pt x="10285" y="50526"/>
                    </a:cubicBezTo>
                    <a:cubicBezTo>
                      <a:pt x="10285" y="69473"/>
                      <a:pt x="0" y="82105"/>
                      <a:pt x="10285" y="94736"/>
                    </a:cubicBezTo>
                    <a:cubicBezTo>
                      <a:pt x="17142" y="107368"/>
                      <a:pt x="27428" y="120000"/>
                      <a:pt x="37714" y="120000"/>
                    </a:cubicBezTo>
                    <a:cubicBezTo>
                      <a:pt x="51428" y="120000"/>
                      <a:pt x="58285" y="101052"/>
                      <a:pt x="72000" y="107368"/>
                    </a:cubicBezTo>
                    <a:cubicBezTo>
                      <a:pt x="72000" y="101052"/>
                      <a:pt x="82285" y="101052"/>
                      <a:pt x="85714" y="94736"/>
                    </a:cubicBezTo>
                    <a:cubicBezTo>
                      <a:pt x="89142" y="82105"/>
                      <a:pt x="92571" y="69473"/>
                      <a:pt x="99428" y="56842"/>
                    </a:cubicBezTo>
                    <a:cubicBezTo>
                      <a:pt x="102857" y="44210"/>
                      <a:pt x="106285" y="44210"/>
                      <a:pt x="113142" y="37894"/>
                    </a:cubicBezTo>
                    <a:cubicBezTo>
                      <a:pt x="120000" y="25263"/>
                      <a:pt x="102857" y="25263"/>
                      <a:pt x="102857" y="18947"/>
                    </a:cubicBezTo>
                    <a:cubicBezTo>
                      <a:pt x="102857" y="18947"/>
                      <a:pt x="102857" y="25263"/>
                      <a:pt x="102857" y="1894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7" name="Shape 2548">
                <a:extLst>
                  <a:ext uri="{FF2B5EF4-FFF2-40B4-BE49-F238E27FC236}">
                    <a16:creationId xmlns:a16="http://schemas.microsoft.com/office/drawing/2014/main" id="{2E0C4D14-6565-4166-B785-2445B231C5FF}"/>
                  </a:ext>
                </a:extLst>
              </p:cNvPr>
              <p:cNvSpPr/>
              <p:nvPr/>
            </p:nvSpPr>
            <p:spPr>
              <a:xfrm>
                <a:off x="12643779" y="7478683"/>
                <a:ext cx="261506" cy="270196"/>
              </a:xfrm>
              <a:custGeom>
                <a:avLst/>
                <a:gdLst/>
                <a:ahLst/>
                <a:cxnLst/>
                <a:rect l="0" t="0" r="0" b="0"/>
                <a:pathLst>
                  <a:path w="120000" h="120000" extrusionOk="0">
                    <a:moveTo>
                      <a:pt x="120000" y="0"/>
                    </a:moveTo>
                    <a:cubicBezTo>
                      <a:pt x="108387" y="7500"/>
                      <a:pt x="104516" y="15000"/>
                      <a:pt x="89032" y="11250"/>
                    </a:cubicBezTo>
                    <a:cubicBezTo>
                      <a:pt x="81290" y="7500"/>
                      <a:pt x="58064" y="3750"/>
                      <a:pt x="50322" y="7500"/>
                    </a:cubicBezTo>
                    <a:cubicBezTo>
                      <a:pt x="50322" y="18750"/>
                      <a:pt x="38709" y="11250"/>
                      <a:pt x="34838" y="15000"/>
                    </a:cubicBezTo>
                    <a:cubicBezTo>
                      <a:pt x="30967" y="18750"/>
                      <a:pt x="27096" y="18750"/>
                      <a:pt x="23225" y="18750"/>
                    </a:cubicBezTo>
                    <a:cubicBezTo>
                      <a:pt x="15483" y="22500"/>
                      <a:pt x="15483" y="26250"/>
                      <a:pt x="15483" y="30000"/>
                    </a:cubicBezTo>
                    <a:cubicBezTo>
                      <a:pt x="11612" y="33750"/>
                      <a:pt x="11612" y="37500"/>
                      <a:pt x="7741" y="41250"/>
                    </a:cubicBezTo>
                    <a:cubicBezTo>
                      <a:pt x="0" y="48750"/>
                      <a:pt x="0" y="48750"/>
                      <a:pt x="7741" y="56250"/>
                    </a:cubicBezTo>
                    <a:cubicBezTo>
                      <a:pt x="11612" y="60000"/>
                      <a:pt x="15483" y="60000"/>
                      <a:pt x="15483" y="63750"/>
                    </a:cubicBezTo>
                    <a:cubicBezTo>
                      <a:pt x="15483" y="71250"/>
                      <a:pt x="15483" y="75000"/>
                      <a:pt x="19354" y="82500"/>
                    </a:cubicBezTo>
                    <a:cubicBezTo>
                      <a:pt x="19354" y="86250"/>
                      <a:pt x="19354" y="90000"/>
                      <a:pt x="23225" y="93750"/>
                    </a:cubicBezTo>
                    <a:cubicBezTo>
                      <a:pt x="30967" y="97500"/>
                      <a:pt x="23225" y="101250"/>
                      <a:pt x="27096" y="105000"/>
                    </a:cubicBezTo>
                    <a:cubicBezTo>
                      <a:pt x="27096" y="112500"/>
                      <a:pt x="30967" y="108750"/>
                      <a:pt x="30967" y="108750"/>
                    </a:cubicBezTo>
                    <a:cubicBezTo>
                      <a:pt x="38709" y="108750"/>
                      <a:pt x="38709" y="112500"/>
                      <a:pt x="38709" y="116250"/>
                    </a:cubicBezTo>
                    <a:cubicBezTo>
                      <a:pt x="42580" y="116250"/>
                      <a:pt x="46451" y="112500"/>
                      <a:pt x="46451" y="112500"/>
                    </a:cubicBezTo>
                    <a:cubicBezTo>
                      <a:pt x="50322" y="108750"/>
                      <a:pt x="50322" y="116250"/>
                      <a:pt x="50322" y="116250"/>
                    </a:cubicBezTo>
                    <a:cubicBezTo>
                      <a:pt x="54193" y="120000"/>
                      <a:pt x="50322" y="93750"/>
                      <a:pt x="50322" y="97500"/>
                    </a:cubicBezTo>
                    <a:cubicBezTo>
                      <a:pt x="50322" y="93750"/>
                      <a:pt x="61935" y="97500"/>
                      <a:pt x="65806" y="97500"/>
                    </a:cubicBezTo>
                    <a:cubicBezTo>
                      <a:pt x="65806" y="93750"/>
                      <a:pt x="54193" y="90000"/>
                      <a:pt x="54193" y="86250"/>
                    </a:cubicBezTo>
                    <a:cubicBezTo>
                      <a:pt x="58064" y="78750"/>
                      <a:pt x="65806" y="86250"/>
                      <a:pt x="65806" y="90000"/>
                    </a:cubicBezTo>
                    <a:cubicBezTo>
                      <a:pt x="73548" y="93750"/>
                      <a:pt x="69677" y="86250"/>
                      <a:pt x="69677" y="82500"/>
                    </a:cubicBezTo>
                    <a:cubicBezTo>
                      <a:pt x="69677" y="78750"/>
                      <a:pt x="81290" y="86250"/>
                      <a:pt x="81290" y="86250"/>
                    </a:cubicBezTo>
                    <a:cubicBezTo>
                      <a:pt x="81290" y="82500"/>
                      <a:pt x="73548" y="71250"/>
                      <a:pt x="73548" y="71250"/>
                    </a:cubicBezTo>
                    <a:cubicBezTo>
                      <a:pt x="69677" y="67500"/>
                      <a:pt x="61935" y="67500"/>
                      <a:pt x="58064" y="63750"/>
                    </a:cubicBezTo>
                    <a:cubicBezTo>
                      <a:pt x="58064" y="63750"/>
                      <a:pt x="58064" y="56250"/>
                      <a:pt x="58064" y="60000"/>
                    </a:cubicBezTo>
                    <a:cubicBezTo>
                      <a:pt x="54193" y="52500"/>
                      <a:pt x="42580" y="45000"/>
                      <a:pt x="42580" y="37500"/>
                    </a:cubicBezTo>
                    <a:cubicBezTo>
                      <a:pt x="46451" y="22500"/>
                      <a:pt x="58064" y="37500"/>
                      <a:pt x="61935" y="41250"/>
                    </a:cubicBezTo>
                    <a:cubicBezTo>
                      <a:pt x="61935" y="41250"/>
                      <a:pt x="61935" y="37500"/>
                      <a:pt x="61935" y="37500"/>
                    </a:cubicBezTo>
                    <a:cubicBezTo>
                      <a:pt x="65806" y="33750"/>
                      <a:pt x="69677" y="37500"/>
                      <a:pt x="69677" y="41250"/>
                    </a:cubicBezTo>
                    <a:cubicBezTo>
                      <a:pt x="69677" y="41250"/>
                      <a:pt x="65806" y="33750"/>
                      <a:pt x="65806" y="33750"/>
                    </a:cubicBezTo>
                    <a:cubicBezTo>
                      <a:pt x="69677" y="33750"/>
                      <a:pt x="77419" y="37500"/>
                      <a:pt x="81290" y="37500"/>
                    </a:cubicBezTo>
                    <a:cubicBezTo>
                      <a:pt x="81290" y="33750"/>
                      <a:pt x="65806" y="33750"/>
                      <a:pt x="65806" y="26250"/>
                    </a:cubicBezTo>
                    <a:cubicBezTo>
                      <a:pt x="65806" y="26250"/>
                      <a:pt x="81290" y="18750"/>
                      <a:pt x="85161" y="18750"/>
                    </a:cubicBezTo>
                    <a:cubicBezTo>
                      <a:pt x="85161" y="18750"/>
                      <a:pt x="81290" y="26250"/>
                      <a:pt x="81290" y="26250"/>
                    </a:cubicBezTo>
                    <a:cubicBezTo>
                      <a:pt x="81290" y="26250"/>
                      <a:pt x="92903" y="18750"/>
                      <a:pt x="96774" y="18750"/>
                    </a:cubicBezTo>
                    <a:cubicBezTo>
                      <a:pt x="100645" y="18750"/>
                      <a:pt x="104516" y="22500"/>
                      <a:pt x="112258" y="26250"/>
                    </a:cubicBezTo>
                    <a:cubicBezTo>
                      <a:pt x="116129" y="18750"/>
                      <a:pt x="120000" y="7500"/>
                      <a:pt x="12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8" name="Shape 2549">
                <a:extLst>
                  <a:ext uri="{FF2B5EF4-FFF2-40B4-BE49-F238E27FC236}">
                    <a16:creationId xmlns:a16="http://schemas.microsoft.com/office/drawing/2014/main" id="{79F064C5-BDDC-4599-83F8-91DEE0250417}"/>
                  </a:ext>
                </a:extLst>
              </p:cNvPr>
              <p:cNvSpPr/>
              <p:nvPr/>
            </p:nvSpPr>
            <p:spPr>
              <a:xfrm>
                <a:off x="12879424" y="7464308"/>
                <a:ext cx="126441" cy="83358"/>
              </a:xfrm>
              <a:custGeom>
                <a:avLst/>
                <a:gdLst/>
                <a:ahLst/>
                <a:cxnLst/>
                <a:rect l="0" t="0" r="0" b="0"/>
                <a:pathLst>
                  <a:path w="120000" h="120000" extrusionOk="0">
                    <a:moveTo>
                      <a:pt x="120000" y="72000"/>
                    </a:moveTo>
                    <a:cubicBezTo>
                      <a:pt x="104000" y="48000"/>
                      <a:pt x="80000" y="48000"/>
                      <a:pt x="80000" y="12000"/>
                    </a:cubicBezTo>
                    <a:cubicBezTo>
                      <a:pt x="40000" y="0"/>
                      <a:pt x="32000" y="0"/>
                      <a:pt x="16000" y="60000"/>
                    </a:cubicBezTo>
                    <a:cubicBezTo>
                      <a:pt x="16000" y="72000"/>
                      <a:pt x="0" y="108000"/>
                      <a:pt x="8000" y="108000"/>
                    </a:cubicBezTo>
                    <a:cubicBezTo>
                      <a:pt x="24000" y="120000"/>
                      <a:pt x="40000" y="120000"/>
                      <a:pt x="48000" y="108000"/>
                    </a:cubicBezTo>
                    <a:cubicBezTo>
                      <a:pt x="64000" y="96000"/>
                      <a:pt x="72000" y="84000"/>
                      <a:pt x="88000" y="84000"/>
                    </a:cubicBezTo>
                    <a:cubicBezTo>
                      <a:pt x="88000" y="84000"/>
                      <a:pt x="120000" y="84000"/>
                      <a:pt x="120000" y="72000"/>
                    </a:cubicBezTo>
                    <a:cubicBezTo>
                      <a:pt x="112000" y="72000"/>
                      <a:pt x="120000" y="84000"/>
                      <a:pt x="120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299" name="Shape 2550">
                <a:extLst>
                  <a:ext uri="{FF2B5EF4-FFF2-40B4-BE49-F238E27FC236}">
                    <a16:creationId xmlns:a16="http://schemas.microsoft.com/office/drawing/2014/main" id="{D5A732B0-0705-483F-80BC-44B81224746E}"/>
                  </a:ext>
                </a:extLst>
              </p:cNvPr>
              <p:cNvSpPr/>
              <p:nvPr/>
            </p:nvSpPr>
            <p:spPr>
              <a:xfrm>
                <a:off x="12609297" y="7438442"/>
                <a:ext cx="74715" cy="152346"/>
              </a:xfrm>
              <a:custGeom>
                <a:avLst/>
                <a:gdLst/>
                <a:ahLst/>
                <a:cxnLst/>
                <a:rect l="0" t="0" r="0" b="0"/>
                <a:pathLst>
                  <a:path w="120000" h="120000" extrusionOk="0">
                    <a:moveTo>
                      <a:pt x="80000" y="106666"/>
                    </a:moveTo>
                    <a:cubicBezTo>
                      <a:pt x="93333" y="93333"/>
                      <a:pt x="120000" y="80000"/>
                      <a:pt x="93333" y="73333"/>
                    </a:cubicBezTo>
                    <a:cubicBezTo>
                      <a:pt x="80000" y="66666"/>
                      <a:pt x="66666" y="53333"/>
                      <a:pt x="80000" y="40000"/>
                    </a:cubicBezTo>
                    <a:cubicBezTo>
                      <a:pt x="80000" y="40000"/>
                      <a:pt x="93333" y="26666"/>
                      <a:pt x="93333" y="26666"/>
                    </a:cubicBezTo>
                    <a:cubicBezTo>
                      <a:pt x="80000" y="20000"/>
                      <a:pt x="53333" y="6666"/>
                      <a:pt x="40000" y="6666"/>
                    </a:cubicBezTo>
                    <a:cubicBezTo>
                      <a:pt x="0" y="0"/>
                      <a:pt x="0" y="46666"/>
                      <a:pt x="0" y="60000"/>
                    </a:cubicBezTo>
                    <a:cubicBezTo>
                      <a:pt x="0" y="86666"/>
                      <a:pt x="26666" y="100000"/>
                      <a:pt x="53333" y="120000"/>
                    </a:cubicBezTo>
                    <a:cubicBezTo>
                      <a:pt x="66666" y="113333"/>
                      <a:pt x="80000" y="106666"/>
                      <a:pt x="80000" y="106666"/>
                    </a:cubicBezTo>
                    <a:cubicBezTo>
                      <a:pt x="93333" y="93333"/>
                      <a:pt x="80000" y="106666"/>
                      <a:pt x="80000" y="10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0" name="Shape 2551">
                <a:extLst>
                  <a:ext uri="{FF2B5EF4-FFF2-40B4-BE49-F238E27FC236}">
                    <a16:creationId xmlns:a16="http://schemas.microsoft.com/office/drawing/2014/main" id="{C2CDAB90-175B-4E76-B473-3C59E23BC82E}"/>
                  </a:ext>
                </a:extLst>
              </p:cNvPr>
              <p:cNvSpPr/>
              <p:nvPr/>
            </p:nvSpPr>
            <p:spPr>
              <a:xfrm>
                <a:off x="12652400" y="7455689"/>
                <a:ext cx="109198" cy="74737"/>
              </a:xfrm>
              <a:custGeom>
                <a:avLst/>
                <a:gdLst/>
                <a:ahLst/>
                <a:cxnLst/>
                <a:rect l="0" t="0" r="0" b="0"/>
                <a:pathLst>
                  <a:path w="120000" h="120000" extrusionOk="0">
                    <a:moveTo>
                      <a:pt x="101538" y="0"/>
                    </a:moveTo>
                    <a:cubicBezTo>
                      <a:pt x="83076" y="0"/>
                      <a:pt x="18461" y="0"/>
                      <a:pt x="18461" y="26666"/>
                    </a:cubicBezTo>
                    <a:cubicBezTo>
                      <a:pt x="0" y="53333"/>
                      <a:pt x="0" y="106666"/>
                      <a:pt x="27692" y="120000"/>
                    </a:cubicBezTo>
                    <a:cubicBezTo>
                      <a:pt x="36923" y="106666"/>
                      <a:pt x="55384" y="120000"/>
                      <a:pt x="64615" y="106666"/>
                    </a:cubicBezTo>
                    <a:cubicBezTo>
                      <a:pt x="73846" y="106666"/>
                      <a:pt x="83076" y="80000"/>
                      <a:pt x="92307" y="93333"/>
                    </a:cubicBezTo>
                    <a:cubicBezTo>
                      <a:pt x="120000" y="120000"/>
                      <a:pt x="101538" y="13333"/>
                      <a:pt x="101538"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1" name="Shape 2552">
                <a:extLst>
                  <a:ext uri="{FF2B5EF4-FFF2-40B4-BE49-F238E27FC236}">
                    <a16:creationId xmlns:a16="http://schemas.microsoft.com/office/drawing/2014/main" id="{6A14E216-E524-4FB5-A863-59174E048151}"/>
                  </a:ext>
                </a:extLst>
              </p:cNvPr>
              <p:cNvSpPr/>
              <p:nvPr/>
            </p:nvSpPr>
            <p:spPr>
              <a:xfrm>
                <a:off x="13577726" y="7504551"/>
                <a:ext cx="160928" cy="135097"/>
              </a:xfrm>
              <a:custGeom>
                <a:avLst/>
                <a:gdLst/>
                <a:ahLst/>
                <a:cxnLst/>
                <a:rect l="0" t="0" r="0" b="0"/>
                <a:pathLst>
                  <a:path w="120000" h="120000" extrusionOk="0">
                    <a:moveTo>
                      <a:pt x="120000" y="105000"/>
                    </a:moveTo>
                    <a:cubicBezTo>
                      <a:pt x="120000" y="90000"/>
                      <a:pt x="120000" y="82500"/>
                      <a:pt x="107368" y="75000"/>
                    </a:cubicBezTo>
                    <a:cubicBezTo>
                      <a:pt x="94736" y="67500"/>
                      <a:pt x="107368" y="60000"/>
                      <a:pt x="101052" y="52500"/>
                    </a:cubicBezTo>
                    <a:cubicBezTo>
                      <a:pt x="94736" y="37500"/>
                      <a:pt x="88421" y="45000"/>
                      <a:pt x="88421" y="22500"/>
                    </a:cubicBezTo>
                    <a:cubicBezTo>
                      <a:pt x="88421" y="22500"/>
                      <a:pt x="69473" y="7500"/>
                      <a:pt x="75789" y="0"/>
                    </a:cubicBezTo>
                    <a:cubicBezTo>
                      <a:pt x="56842" y="0"/>
                      <a:pt x="0" y="7500"/>
                      <a:pt x="37894" y="45000"/>
                    </a:cubicBezTo>
                    <a:cubicBezTo>
                      <a:pt x="44210" y="52500"/>
                      <a:pt x="50526" y="60000"/>
                      <a:pt x="56842" y="67500"/>
                    </a:cubicBezTo>
                    <a:cubicBezTo>
                      <a:pt x="63157" y="75000"/>
                      <a:pt x="69473" y="75000"/>
                      <a:pt x="75789" y="82500"/>
                    </a:cubicBezTo>
                    <a:cubicBezTo>
                      <a:pt x="88421" y="82500"/>
                      <a:pt x="101052" y="82500"/>
                      <a:pt x="101052" y="97500"/>
                    </a:cubicBezTo>
                    <a:cubicBezTo>
                      <a:pt x="107368" y="105000"/>
                      <a:pt x="113684" y="120000"/>
                      <a:pt x="120000" y="105000"/>
                    </a:cubicBezTo>
                    <a:cubicBezTo>
                      <a:pt x="120000" y="97500"/>
                      <a:pt x="113684" y="112500"/>
                      <a:pt x="120000" y="10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2" name="Shape 2553">
                <a:extLst>
                  <a:ext uri="{FF2B5EF4-FFF2-40B4-BE49-F238E27FC236}">
                    <a16:creationId xmlns:a16="http://schemas.microsoft.com/office/drawing/2014/main" id="{74ADDE0A-56F0-43AF-B8CC-D6EC8AF4EB10}"/>
                  </a:ext>
                </a:extLst>
              </p:cNvPr>
              <p:cNvSpPr/>
              <p:nvPr/>
            </p:nvSpPr>
            <p:spPr>
              <a:xfrm>
                <a:off x="13638074" y="7573537"/>
                <a:ext cx="833366" cy="707108"/>
              </a:xfrm>
              <a:custGeom>
                <a:avLst/>
                <a:gdLst/>
                <a:ahLst/>
                <a:cxnLst/>
                <a:rect l="0" t="0" r="0" b="0"/>
                <a:pathLst>
                  <a:path w="120000" h="120000" extrusionOk="0">
                    <a:moveTo>
                      <a:pt x="115151" y="104285"/>
                    </a:moveTo>
                    <a:cubicBezTo>
                      <a:pt x="112727" y="102857"/>
                      <a:pt x="113939" y="100000"/>
                      <a:pt x="112727" y="97142"/>
                    </a:cubicBezTo>
                    <a:cubicBezTo>
                      <a:pt x="112727" y="95714"/>
                      <a:pt x="110303" y="94285"/>
                      <a:pt x="109090" y="92857"/>
                    </a:cubicBezTo>
                    <a:cubicBezTo>
                      <a:pt x="106666" y="91428"/>
                      <a:pt x="105454" y="88571"/>
                      <a:pt x="104242" y="85714"/>
                    </a:cubicBezTo>
                    <a:cubicBezTo>
                      <a:pt x="101818" y="82857"/>
                      <a:pt x="103030" y="82857"/>
                      <a:pt x="105454" y="78571"/>
                    </a:cubicBezTo>
                    <a:cubicBezTo>
                      <a:pt x="106666" y="77142"/>
                      <a:pt x="109090" y="74285"/>
                      <a:pt x="107878" y="71428"/>
                    </a:cubicBezTo>
                    <a:cubicBezTo>
                      <a:pt x="106666" y="70000"/>
                      <a:pt x="103030" y="70000"/>
                      <a:pt x="101818" y="70000"/>
                    </a:cubicBezTo>
                    <a:cubicBezTo>
                      <a:pt x="100606" y="68571"/>
                      <a:pt x="101818" y="65714"/>
                      <a:pt x="101818" y="65714"/>
                    </a:cubicBezTo>
                    <a:cubicBezTo>
                      <a:pt x="100606" y="62857"/>
                      <a:pt x="100606" y="58571"/>
                      <a:pt x="101818" y="57142"/>
                    </a:cubicBezTo>
                    <a:cubicBezTo>
                      <a:pt x="104242" y="54285"/>
                      <a:pt x="100606" y="52857"/>
                      <a:pt x="99393" y="51428"/>
                    </a:cubicBezTo>
                    <a:cubicBezTo>
                      <a:pt x="99393" y="50000"/>
                      <a:pt x="101818" y="45714"/>
                      <a:pt x="103030" y="44285"/>
                    </a:cubicBezTo>
                    <a:cubicBezTo>
                      <a:pt x="103030" y="42857"/>
                      <a:pt x="105454" y="28571"/>
                      <a:pt x="104242" y="28571"/>
                    </a:cubicBezTo>
                    <a:cubicBezTo>
                      <a:pt x="100606" y="28571"/>
                      <a:pt x="99393" y="28571"/>
                      <a:pt x="95757" y="25714"/>
                    </a:cubicBezTo>
                    <a:cubicBezTo>
                      <a:pt x="94545" y="24285"/>
                      <a:pt x="93333" y="22857"/>
                      <a:pt x="92121" y="21428"/>
                    </a:cubicBezTo>
                    <a:cubicBezTo>
                      <a:pt x="90909" y="20000"/>
                      <a:pt x="87272" y="20000"/>
                      <a:pt x="86060" y="18571"/>
                    </a:cubicBezTo>
                    <a:cubicBezTo>
                      <a:pt x="83636" y="18571"/>
                      <a:pt x="82424" y="18571"/>
                      <a:pt x="80000" y="17142"/>
                    </a:cubicBezTo>
                    <a:cubicBezTo>
                      <a:pt x="78787" y="14285"/>
                      <a:pt x="76363" y="15714"/>
                      <a:pt x="73939" y="15714"/>
                    </a:cubicBezTo>
                    <a:cubicBezTo>
                      <a:pt x="72727" y="17142"/>
                      <a:pt x="70303" y="15714"/>
                      <a:pt x="69090" y="17142"/>
                    </a:cubicBezTo>
                    <a:cubicBezTo>
                      <a:pt x="66666" y="17142"/>
                      <a:pt x="65454" y="20000"/>
                      <a:pt x="64242" y="21428"/>
                    </a:cubicBezTo>
                    <a:cubicBezTo>
                      <a:pt x="63030" y="22857"/>
                      <a:pt x="59393" y="21428"/>
                      <a:pt x="59393" y="24285"/>
                    </a:cubicBezTo>
                    <a:cubicBezTo>
                      <a:pt x="59393" y="27142"/>
                      <a:pt x="58181" y="27142"/>
                      <a:pt x="55757" y="28571"/>
                    </a:cubicBezTo>
                    <a:cubicBezTo>
                      <a:pt x="49696" y="30000"/>
                      <a:pt x="44848" y="30000"/>
                      <a:pt x="40000" y="25714"/>
                    </a:cubicBezTo>
                    <a:cubicBezTo>
                      <a:pt x="38787" y="24285"/>
                      <a:pt x="37575" y="22857"/>
                      <a:pt x="36363" y="22857"/>
                    </a:cubicBezTo>
                    <a:cubicBezTo>
                      <a:pt x="33939" y="20000"/>
                      <a:pt x="32727" y="21428"/>
                      <a:pt x="30303" y="21428"/>
                    </a:cubicBezTo>
                    <a:cubicBezTo>
                      <a:pt x="29090" y="20000"/>
                      <a:pt x="29090" y="15714"/>
                      <a:pt x="29090" y="14285"/>
                    </a:cubicBezTo>
                    <a:cubicBezTo>
                      <a:pt x="25454" y="12857"/>
                      <a:pt x="24242" y="11428"/>
                      <a:pt x="24242" y="7142"/>
                    </a:cubicBezTo>
                    <a:cubicBezTo>
                      <a:pt x="24242" y="0"/>
                      <a:pt x="19393" y="4285"/>
                      <a:pt x="16969" y="7142"/>
                    </a:cubicBezTo>
                    <a:cubicBezTo>
                      <a:pt x="15757" y="8571"/>
                      <a:pt x="14545" y="10000"/>
                      <a:pt x="13333" y="10000"/>
                    </a:cubicBezTo>
                    <a:cubicBezTo>
                      <a:pt x="10909" y="8571"/>
                      <a:pt x="7272" y="8571"/>
                      <a:pt x="6060" y="5714"/>
                    </a:cubicBezTo>
                    <a:cubicBezTo>
                      <a:pt x="3636" y="2857"/>
                      <a:pt x="3636" y="1428"/>
                      <a:pt x="1212" y="4285"/>
                    </a:cubicBezTo>
                    <a:cubicBezTo>
                      <a:pt x="1212" y="5714"/>
                      <a:pt x="0" y="5714"/>
                      <a:pt x="0" y="7142"/>
                    </a:cubicBezTo>
                    <a:cubicBezTo>
                      <a:pt x="0" y="8571"/>
                      <a:pt x="0" y="10000"/>
                      <a:pt x="1212" y="11428"/>
                    </a:cubicBezTo>
                    <a:cubicBezTo>
                      <a:pt x="1212" y="11428"/>
                      <a:pt x="2424" y="14285"/>
                      <a:pt x="1212" y="14285"/>
                    </a:cubicBezTo>
                    <a:cubicBezTo>
                      <a:pt x="1212" y="15714"/>
                      <a:pt x="0" y="15714"/>
                      <a:pt x="1212" y="17142"/>
                    </a:cubicBezTo>
                    <a:cubicBezTo>
                      <a:pt x="1212" y="18571"/>
                      <a:pt x="3636" y="18571"/>
                      <a:pt x="3636" y="20000"/>
                    </a:cubicBezTo>
                    <a:cubicBezTo>
                      <a:pt x="3636" y="21428"/>
                      <a:pt x="2424" y="22857"/>
                      <a:pt x="3636" y="22857"/>
                    </a:cubicBezTo>
                    <a:cubicBezTo>
                      <a:pt x="4848" y="25714"/>
                      <a:pt x="4848" y="27142"/>
                      <a:pt x="6060" y="30000"/>
                    </a:cubicBezTo>
                    <a:cubicBezTo>
                      <a:pt x="7272" y="31428"/>
                      <a:pt x="7272" y="32857"/>
                      <a:pt x="9696" y="34285"/>
                    </a:cubicBezTo>
                    <a:cubicBezTo>
                      <a:pt x="9696" y="34285"/>
                      <a:pt x="12121" y="35714"/>
                      <a:pt x="12121" y="35714"/>
                    </a:cubicBezTo>
                    <a:cubicBezTo>
                      <a:pt x="13333" y="41428"/>
                      <a:pt x="2424" y="47142"/>
                      <a:pt x="9696" y="52857"/>
                    </a:cubicBezTo>
                    <a:cubicBezTo>
                      <a:pt x="12121" y="54285"/>
                      <a:pt x="12121" y="57142"/>
                      <a:pt x="14545" y="58571"/>
                    </a:cubicBezTo>
                    <a:cubicBezTo>
                      <a:pt x="16969" y="61428"/>
                      <a:pt x="19393" y="62857"/>
                      <a:pt x="21818" y="67142"/>
                    </a:cubicBezTo>
                    <a:cubicBezTo>
                      <a:pt x="21818" y="68571"/>
                      <a:pt x="20606" y="70000"/>
                      <a:pt x="20606" y="71428"/>
                    </a:cubicBezTo>
                    <a:cubicBezTo>
                      <a:pt x="21818" y="72857"/>
                      <a:pt x="24242" y="72857"/>
                      <a:pt x="23030" y="74285"/>
                    </a:cubicBezTo>
                    <a:cubicBezTo>
                      <a:pt x="23030" y="78571"/>
                      <a:pt x="25454" y="80000"/>
                      <a:pt x="26666" y="82857"/>
                    </a:cubicBezTo>
                    <a:cubicBezTo>
                      <a:pt x="29090" y="81428"/>
                      <a:pt x="27878" y="80000"/>
                      <a:pt x="29090" y="78571"/>
                    </a:cubicBezTo>
                    <a:cubicBezTo>
                      <a:pt x="29090" y="78571"/>
                      <a:pt x="30303" y="80000"/>
                      <a:pt x="30303" y="80000"/>
                    </a:cubicBezTo>
                    <a:cubicBezTo>
                      <a:pt x="32727" y="80000"/>
                      <a:pt x="30303" y="80000"/>
                      <a:pt x="31515" y="81428"/>
                    </a:cubicBezTo>
                    <a:cubicBezTo>
                      <a:pt x="32727" y="82857"/>
                      <a:pt x="33939" y="78571"/>
                      <a:pt x="36363" y="81428"/>
                    </a:cubicBezTo>
                    <a:cubicBezTo>
                      <a:pt x="38787" y="85714"/>
                      <a:pt x="40000" y="90000"/>
                      <a:pt x="42424" y="94285"/>
                    </a:cubicBezTo>
                    <a:cubicBezTo>
                      <a:pt x="44848" y="98571"/>
                      <a:pt x="50909" y="102857"/>
                      <a:pt x="55757" y="105714"/>
                    </a:cubicBezTo>
                    <a:cubicBezTo>
                      <a:pt x="58181" y="107142"/>
                      <a:pt x="60606" y="107142"/>
                      <a:pt x="63030" y="108571"/>
                    </a:cubicBezTo>
                    <a:cubicBezTo>
                      <a:pt x="64242" y="108571"/>
                      <a:pt x="67878" y="107142"/>
                      <a:pt x="67878" y="107142"/>
                    </a:cubicBezTo>
                    <a:cubicBezTo>
                      <a:pt x="67878" y="107142"/>
                      <a:pt x="67878" y="108571"/>
                      <a:pt x="67878" y="108571"/>
                    </a:cubicBezTo>
                    <a:cubicBezTo>
                      <a:pt x="69090" y="108571"/>
                      <a:pt x="72727" y="105714"/>
                      <a:pt x="73939" y="104285"/>
                    </a:cubicBezTo>
                    <a:cubicBezTo>
                      <a:pt x="73939" y="104285"/>
                      <a:pt x="72727" y="104285"/>
                      <a:pt x="72727" y="104285"/>
                    </a:cubicBezTo>
                    <a:cubicBezTo>
                      <a:pt x="72727" y="102857"/>
                      <a:pt x="75151" y="104285"/>
                      <a:pt x="75151" y="104285"/>
                    </a:cubicBezTo>
                    <a:cubicBezTo>
                      <a:pt x="77575" y="105714"/>
                      <a:pt x="77575" y="107142"/>
                      <a:pt x="78787" y="110000"/>
                    </a:cubicBezTo>
                    <a:cubicBezTo>
                      <a:pt x="80000" y="114285"/>
                      <a:pt x="81212" y="114285"/>
                      <a:pt x="83636" y="115714"/>
                    </a:cubicBezTo>
                    <a:cubicBezTo>
                      <a:pt x="90909" y="117142"/>
                      <a:pt x="99393" y="118571"/>
                      <a:pt x="106666" y="120000"/>
                    </a:cubicBezTo>
                    <a:cubicBezTo>
                      <a:pt x="106666" y="114285"/>
                      <a:pt x="107878" y="112857"/>
                      <a:pt x="111515" y="110000"/>
                    </a:cubicBezTo>
                    <a:cubicBezTo>
                      <a:pt x="113939" y="108571"/>
                      <a:pt x="119999" y="107142"/>
                      <a:pt x="115151" y="104285"/>
                    </a:cubicBezTo>
                    <a:cubicBezTo>
                      <a:pt x="113939" y="102857"/>
                      <a:pt x="117575" y="105714"/>
                      <a:pt x="115151" y="10428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3" name="Shape 2554">
                <a:extLst>
                  <a:ext uri="{FF2B5EF4-FFF2-40B4-BE49-F238E27FC236}">
                    <a16:creationId xmlns:a16="http://schemas.microsoft.com/office/drawing/2014/main" id="{C423AC42-3C84-46DF-9B43-FE1C1DA188D3}"/>
                  </a:ext>
                </a:extLst>
              </p:cNvPr>
              <p:cNvSpPr/>
              <p:nvPr/>
            </p:nvSpPr>
            <p:spPr>
              <a:xfrm>
                <a:off x="13655315" y="7582162"/>
                <a:ext cx="66095" cy="48867"/>
              </a:xfrm>
              <a:custGeom>
                <a:avLst/>
                <a:gdLst/>
                <a:ahLst/>
                <a:cxnLst/>
                <a:rect l="0" t="0" r="0" b="0"/>
                <a:pathLst>
                  <a:path w="120000" h="120000" extrusionOk="0">
                    <a:moveTo>
                      <a:pt x="15000" y="20000"/>
                    </a:moveTo>
                    <a:cubicBezTo>
                      <a:pt x="30000" y="20000"/>
                      <a:pt x="30000" y="60000"/>
                      <a:pt x="45000" y="80000"/>
                    </a:cubicBezTo>
                    <a:cubicBezTo>
                      <a:pt x="75000" y="80000"/>
                      <a:pt x="90000" y="100000"/>
                      <a:pt x="120000" y="120000"/>
                    </a:cubicBezTo>
                    <a:cubicBezTo>
                      <a:pt x="105000" y="40000"/>
                      <a:pt x="45000" y="20000"/>
                      <a:pt x="0" y="0"/>
                    </a:cubicBezTo>
                    <a:cubicBezTo>
                      <a:pt x="0" y="20000"/>
                      <a:pt x="0" y="20000"/>
                      <a:pt x="15000" y="20000"/>
                    </a:cubicBezTo>
                    <a:cubicBezTo>
                      <a:pt x="30000" y="20000"/>
                      <a:pt x="0" y="20000"/>
                      <a:pt x="15000" y="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4" name="Shape 2555">
                <a:extLst>
                  <a:ext uri="{FF2B5EF4-FFF2-40B4-BE49-F238E27FC236}">
                    <a16:creationId xmlns:a16="http://schemas.microsoft.com/office/drawing/2014/main" id="{E2229BE3-7F79-4EBF-945E-69A51C9D6F87}"/>
                  </a:ext>
                </a:extLst>
              </p:cNvPr>
              <p:cNvSpPr/>
              <p:nvPr/>
            </p:nvSpPr>
            <p:spPr>
              <a:xfrm>
                <a:off x="13459904" y="7378076"/>
                <a:ext cx="295991" cy="152346"/>
              </a:xfrm>
              <a:custGeom>
                <a:avLst/>
                <a:gdLst/>
                <a:ahLst/>
                <a:cxnLst/>
                <a:rect l="0" t="0" r="0" b="0"/>
                <a:pathLst>
                  <a:path w="120000" h="120000" extrusionOk="0">
                    <a:moveTo>
                      <a:pt x="89142" y="100000"/>
                    </a:moveTo>
                    <a:cubicBezTo>
                      <a:pt x="92571" y="93333"/>
                      <a:pt x="99428" y="106666"/>
                      <a:pt x="102857" y="113333"/>
                    </a:cubicBezTo>
                    <a:cubicBezTo>
                      <a:pt x="102857" y="113333"/>
                      <a:pt x="116571" y="113333"/>
                      <a:pt x="116571" y="113333"/>
                    </a:cubicBezTo>
                    <a:cubicBezTo>
                      <a:pt x="120000" y="106666"/>
                      <a:pt x="102857" y="80000"/>
                      <a:pt x="113142" y="80000"/>
                    </a:cubicBezTo>
                    <a:cubicBezTo>
                      <a:pt x="109714" y="73333"/>
                      <a:pt x="102857" y="73333"/>
                      <a:pt x="102857" y="66666"/>
                    </a:cubicBezTo>
                    <a:cubicBezTo>
                      <a:pt x="102857" y="53333"/>
                      <a:pt x="99428" y="46666"/>
                      <a:pt x="92571" y="46666"/>
                    </a:cubicBezTo>
                    <a:cubicBezTo>
                      <a:pt x="82285" y="46666"/>
                      <a:pt x="75428" y="53333"/>
                      <a:pt x="65142" y="40000"/>
                    </a:cubicBezTo>
                    <a:cubicBezTo>
                      <a:pt x="54857" y="33333"/>
                      <a:pt x="44571" y="33333"/>
                      <a:pt x="30857" y="26666"/>
                    </a:cubicBezTo>
                    <a:cubicBezTo>
                      <a:pt x="20571" y="20000"/>
                      <a:pt x="13714" y="0"/>
                      <a:pt x="0" y="13333"/>
                    </a:cubicBezTo>
                    <a:cubicBezTo>
                      <a:pt x="10285" y="40000"/>
                      <a:pt x="37714" y="46666"/>
                      <a:pt x="27428" y="93333"/>
                    </a:cubicBezTo>
                    <a:cubicBezTo>
                      <a:pt x="37714" y="93333"/>
                      <a:pt x="61714" y="93333"/>
                      <a:pt x="61714" y="120000"/>
                    </a:cubicBezTo>
                    <a:cubicBezTo>
                      <a:pt x="61714" y="100000"/>
                      <a:pt x="82285" y="100000"/>
                      <a:pt x="89142" y="100000"/>
                    </a:cubicBezTo>
                    <a:cubicBezTo>
                      <a:pt x="92571" y="93333"/>
                      <a:pt x="65142" y="100000"/>
                      <a:pt x="89142" y="10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5" name="Shape 2556">
                <a:extLst>
                  <a:ext uri="{FF2B5EF4-FFF2-40B4-BE49-F238E27FC236}">
                    <a16:creationId xmlns:a16="http://schemas.microsoft.com/office/drawing/2014/main" id="{627E90D3-F5DA-49F3-BBAE-1F86DEDC69D6}"/>
                  </a:ext>
                </a:extLst>
              </p:cNvPr>
              <p:cNvSpPr/>
              <p:nvPr/>
            </p:nvSpPr>
            <p:spPr>
              <a:xfrm>
                <a:off x="13663939" y="7478683"/>
                <a:ext cx="227020" cy="178216"/>
              </a:xfrm>
              <a:custGeom>
                <a:avLst/>
                <a:gdLst/>
                <a:ahLst/>
                <a:cxnLst/>
                <a:rect l="0" t="0" r="0" b="0"/>
                <a:pathLst>
                  <a:path w="120000" h="120000" extrusionOk="0">
                    <a:moveTo>
                      <a:pt x="35555" y="11428"/>
                    </a:moveTo>
                    <a:cubicBezTo>
                      <a:pt x="35555" y="11428"/>
                      <a:pt x="48888" y="22857"/>
                      <a:pt x="44444" y="28571"/>
                    </a:cubicBezTo>
                    <a:cubicBezTo>
                      <a:pt x="44444" y="28571"/>
                      <a:pt x="31111" y="28571"/>
                      <a:pt x="31111" y="28571"/>
                    </a:cubicBezTo>
                    <a:cubicBezTo>
                      <a:pt x="22222" y="28571"/>
                      <a:pt x="22222" y="17142"/>
                      <a:pt x="17777" y="17142"/>
                    </a:cubicBezTo>
                    <a:cubicBezTo>
                      <a:pt x="0" y="11428"/>
                      <a:pt x="17777" y="34285"/>
                      <a:pt x="17777" y="40000"/>
                    </a:cubicBezTo>
                    <a:cubicBezTo>
                      <a:pt x="17777" y="57142"/>
                      <a:pt x="31111" y="45714"/>
                      <a:pt x="26666" y="62857"/>
                    </a:cubicBezTo>
                    <a:cubicBezTo>
                      <a:pt x="22222" y="74285"/>
                      <a:pt x="31111" y="74285"/>
                      <a:pt x="35555" y="80000"/>
                    </a:cubicBezTo>
                    <a:cubicBezTo>
                      <a:pt x="40000" y="80000"/>
                      <a:pt x="40000" y="91428"/>
                      <a:pt x="40000" y="97142"/>
                    </a:cubicBezTo>
                    <a:cubicBezTo>
                      <a:pt x="44444" y="91428"/>
                      <a:pt x="62222" y="80000"/>
                      <a:pt x="71111" y="74285"/>
                    </a:cubicBezTo>
                    <a:cubicBezTo>
                      <a:pt x="75555" y="74285"/>
                      <a:pt x="75555" y="85714"/>
                      <a:pt x="75555" y="91428"/>
                    </a:cubicBezTo>
                    <a:cubicBezTo>
                      <a:pt x="75555" y="108571"/>
                      <a:pt x="80000" y="114285"/>
                      <a:pt x="93333" y="120000"/>
                    </a:cubicBezTo>
                    <a:cubicBezTo>
                      <a:pt x="93333" y="114285"/>
                      <a:pt x="93333" y="102857"/>
                      <a:pt x="93333" y="102857"/>
                    </a:cubicBezTo>
                    <a:cubicBezTo>
                      <a:pt x="97777" y="97142"/>
                      <a:pt x="102222" y="97142"/>
                      <a:pt x="102222" y="91428"/>
                    </a:cubicBezTo>
                    <a:cubicBezTo>
                      <a:pt x="106666" y="80000"/>
                      <a:pt x="106666" y="68571"/>
                      <a:pt x="111111" y="62857"/>
                    </a:cubicBezTo>
                    <a:cubicBezTo>
                      <a:pt x="120000" y="45714"/>
                      <a:pt x="93333" y="11428"/>
                      <a:pt x="84444" y="5714"/>
                    </a:cubicBezTo>
                    <a:cubicBezTo>
                      <a:pt x="75555" y="22857"/>
                      <a:pt x="66666" y="22857"/>
                      <a:pt x="53333" y="11428"/>
                    </a:cubicBezTo>
                    <a:cubicBezTo>
                      <a:pt x="53333" y="5714"/>
                      <a:pt x="44444" y="0"/>
                      <a:pt x="40000" y="0"/>
                    </a:cubicBezTo>
                    <a:cubicBezTo>
                      <a:pt x="35555" y="0"/>
                      <a:pt x="35555" y="5714"/>
                      <a:pt x="35555" y="11428"/>
                    </a:cubicBezTo>
                    <a:cubicBezTo>
                      <a:pt x="40000" y="17142"/>
                      <a:pt x="31111" y="0"/>
                      <a:pt x="35555" y="1142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6" name="Shape 2557">
                <a:extLst>
                  <a:ext uri="{FF2B5EF4-FFF2-40B4-BE49-F238E27FC236}">
                    <a16:creationId xmlns:a16="http://schemas.microsoft.com/office/drawing/2014/main" id="{65758A25-0177-4CF7-8FD8-CA9DB82B51F5}"/>
                  </a:ext>
                </a:extLst>
              </p:cNvPr>
              <p:cNvSpPr/>
              <p:nvPr/>
            </p:nvSpPr>
            <p:spPr>
              <a:xfrm>
                <a:off x="13738653" y="8036322"/>
                <a:ext cx="74715" cy="86232"/>
              </a:xfrm>
              <a:custGeom>
                <a:avLst/>
                <a:gdLst/>
                <a:ahLst/>
                <a:cxnLst/>
                <a:rect l="0" t="0" r="0" b="0"/>
                <a:pathLst>
                  <a:path w="120000" h="120000" extrusionOk="0">
                    <a:moveTo>
                      <a:pt x="40000" y="24000"/>
                    </a:moveTo>
                    <a:cubicBezTo>
                      <a:pt x="13333" y="36000"/>
                      <a:pt x="0" y="60000"/>
                      <a:pt x="0" y="84000"/>
                    </a:cubicBezTo>
                    <a:cubicBezTo>
                      <a:pt x="13333" y="84000"/>
                      <a:pt x="53333" y="84000"/>
                      <a:pt x="53333" y="96000"/>
                    </a:cubicBezTo>
                    <a:cubicBezTo>
                      <a:pt x="80000" y="120000"/>
                      <a:pt x="93333" y="120000"/>
                      <a:pt x="120000" y="120000"/>
                    </a:cubicBezTo>
                    <a:cubicBezTo>
                      <a:pt x="120000" y="120000"/>
                      <a:pt x="93333" y="60000"/>
                      <a:pt x="93333" y="60000"/>
                    </a:cubicBezTo>
                    <a:cubicBezTo>
                      <a:pt x="106666" y="60000"/>
                      <a:pt x="120000" y="60000"/>
                      <a:pt x="106666" y="36000"/>
                    </a:cubicBezTo>
                    <a:cubicBezTo>
                      <a:pt x="80000" y="24000"/>
                      <a:pt x="66666" y="0"/>
                      <a:pt x="40000" y="24000"/>
                    </a:cubicBezTo>
                    <a:cubicBezTo>
                      <a:pt x="13333" y="48000"/>
                      <a:pt x="53333" y="12000"/>
                      <a:pt x="40000" y="24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7" name="Shape 2558">
                <a:extLst>
                  <a:ext uri="{FF2B5EF4-FFF2-40B4-BE49-F238E27FC236}">
                    <a16:creationId xmlns:a16="http://schemas.microsoft.com/office/drawing/2014/main" id="{D5DDCC41-7513-4B89-9C25-F15DD3CF2CE1}"/>
                  </a:ext>
                </a:extLst>
              </p:cNvPr>
              <p:cNvSpPr/>
              <p:nvPr/>
            </p:nvSpPr>
            <p:spPr>
              <a:xfrm>
                <a:off x="13267371" y="7717259"/>
                <a:ext cx="293115" cy="227079"/>
              </a:xfrm>
              <a:custGeom>
                <a:avLst/>
                <a:gdLst/>
                <a:ahLst/>
                <a:cxnLst/>
                <a:rect l="0" t="0" r="0" b="0"/>
                <a:pathLst>
                  <a:path w="120000" h="120000" extrusionOk="0">
                    <a:moveTo>
                      <a:pt x="99428" y="44444"/>
                    </a:moveTo>
                    <a:cubicBezTo>
                      <a:pt x="102857" y="40000"/>
                      <a:pt x="106285" y="35555"/>
                      <a:pt x="102857" y="31111"/>
                    </a:cubicBezTo>
                    <a:cubicBezTo>
                      <a:pt x="99428" y="26666"/>
                      <a:pt x="96000" y="26666"/>
                      <a:pt x="99428" y="22222"/>
                    </a:cubicBezTo>
                    <a:cubicBezTo>
                      <a:pt x="106285" y="13333"/>
                      <a:pt x="120000" y="13333"/>
                      <a:pt x="120000" y="0"/>
                    </a:cubicBezTo>
                    <a:cubicBezTo>
                      <a:pt x="109714" y="0"/>
                      <a:pt x="96000" y="0"/>
                      <a:pt x="85714" y="4444"/>
                    </a:cubicBezTo>
                    <a:cubicBezTo>
                      <a:pt x="78857" y="4444"/>
                      <a:pt x="72000" y="8888"/>
                      <a:pt x="65142" y="8888"/>
                    </a:cubicBezTo>
                    <a:cubicBezTo>
                      <a:pt x="54857" y="8888"/>
                      <a:pt x="51428" y="4444"/>
                      <a:pt x="44571" y="8888"/>
                    </a:cubicBezTo>
                    <a:cubicBezTo>
                      <a:pt x="37714" y="13333"/>
                      <a:pt x="34285" y="13333"/>
                      <a:pt x="27428" y="8888"/>
                    </a:cubicBezTo>
                    <a:cubicBezTo>
                      <a:pt x="20571" y="0"/>
                      <a:pt x="24000" y="17777"/>
                      <a:pt x="24000" y="17777"/>
                    </a:cubicBezTo>
                    <a:cubicBezTo>
                      <a:pt x="20571" y="22222"/>
                      <a:pt x="20571" y="26666"/>
                      <a:pt x="20571" y="26666"/>
                    </a:cubicBezTo>
                    <a:cubicBezTo>
                      <a:pt x="17142" y="35555"/>
                      <a:pt x="13714" y="26666"/>
                      <a:pt x="10285" y="26666"/>
                    </a:cubicBezTo>
                    <a:cubicBezTo>
                      <a:pt x="6857" y="31111"/>
                      <a:pt x="10285" y="40000"/>
                      <a:pt x="10285" y="44444"/>
                    </a:cubicBezTo>
                    <a:cubicBezTo>
                      <a:pt x="10285" y="48888"/>
                      <a:pt x="6857" y="57777"/>
                      <a:pt x="13714" y="62222"/>
                    </a:cubicBezTo>
                    <a:cubicBezTo>
                      <a:pt x="30857" y="75555"/>
                      <a:pt x="17142" y="84444"/>
                      <a:pt x="6857" y="97777"/>
                    </a:cubicBezTo>
                    <a:cubicBezTo>
                      <a:pt x="0" y="106666"/>
                      <a:pt x="17142" y="120000"/>
                      <a:pt x="24000" y="120000"/>
                    </a:cubicBezTo>
                    <a:cubicBezTo>
                      <a:pt x="30857" y="120000"/>
                      <a:pt x="37714" y="111111"/>
                      <a:pt x="44571" y="106666"/>
                    </a:cubicBezTo>
                    <a:cubicBezTo>
                      <a:pt x="54857" y="97777"/>
                      <a:pt x="65142" y="93333"/>
                      <a:pt x="75428" y="84444"/>
                    </a:cubicBezTo>
                    <a:cubicBezTo>
                      <a:pt x="82285" y="80000"/>
                      <a:pt x="89142" y="75555"/>
                      <a:pt x="96000" y="66666"/>
                    </a:cubicBezTo>
                    <a:cubicBezTo>
                      <a:pt x="99428" y="57777"/>
                      <a:pt x="96000" y="48888"/>
                      <a:pt x="99428" y="44444"/>
                    </a:cubicBezTo>
                    <a:cubicBezTo>
                      <a:pt x="102857" y="35555"/>
                      <a:pt x="99428" y="48888"/>
                      <a:pt x="99428" y="4444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8" name="Shape 2559">
                <a:extLst>
                  <a:ext uri="{FF2B5EF4-FFF2-40B4-BE49-F238E27FC236}">
                    <a16:creationId xmlns:a16="http://schemas.microsoft.com/office/drawing/2014/main" id="{8B07237F-5C69-4490-AA3A-CC713654E8D7}"/>
                  </a:ext>
                </a:extLst>
              </p:cNvPr>
              <p:cNvSpPr/>
              <p:nvPr/>
            </p:nvSpPr>
            <p:spPr>
              <a:xfrm>
                <a:off x="13402431" y="7700013"/>
                <a:ext cx="419556" cy="396670"/>
              </a:xfrm>
              <a:custGeom>
                <a:avLst/>
                <a:gdLst/>
                <a:ahLst/>
                <a:cxnLst/>
                <a:rect l="0" t="0" r="0" b="0"/>
                <a:pathLst>
                  <a:path w="120000" h="120000" extrusionOk="0">
                    <a:moveTo>
                      <a:pt x="112800" y="91914"/>
                    </a:moveTo>
                    <a:cubicBezTo>
                      <a:pt x="112800" y="91914"/>
                      <a:pt x="108000" y="89361"/>
                      <a:pt x="108000" y="86808"/>
                    </a:cubicBezTo>
                    <a:cubicBezTo>
                      <a:pt x="108000" y="84255"/>
                      <a:pt x="110400" y="84255"/>
                      <a:pt x="110400" y="81702"/>
                    </a:cubicBezTo>
                    <a:cubicBezTo>
                      <a:pt x="108000" y="76595"/>
                      <a:pt x="103200" y="74042"/>
                      <a:pt x="98400" y="68936"/>
                    </a:cubicBezTo>
                    <a:cubicBezTo>
                      <a:pt x="96000" y="68936"/>
                      <a:pt x="91200" y="66382"/>
                      <a:pt x="91200" y="63829"/>
                    </a:cubicBezTo>
                    <a:cubicBezTo>
                      <a:pt x="88800" y="58723"/>
                      <a:pt x="84000" y="53617"/>
                      <a:pt x="84000" y="45957"/>
                    </a:cubicBezTo>
                    <a:cubicBezTo>
                      <a:pt x="81600" y="40851"/>
                      <a:pt x="96000" y="30638"/>
                      <a:pt x="91200" y="25531"/>
                    </a:cubicBezTo>
                    <a:cubicBezTo>
                      <a:pt x="86400" y="22978"/>
                      <a:pt x="84000" y="20425"/>
                      <a:pt x="81600" y="15319"/>
                    </a:cubicBezTo>
                    <a:cubicBezTo>
                      <a:pt x="79200" y="12765"/>
                      <a:pt x="79200" y="7659"/>
                      <a:pt x="76800" y="5106"/>
                    </a:cubicBezTo>
                    <a:cubicBezTo>
                      <a:pt x="74400" y="5106"/>
                      <a:pt x="74400" y="7659"/>
                      <a:pt x="72000" y="7659"/>
                    </a:cubicBezTo>
                    <a:cubicBezTo>
                      <a:pt x="67200" y="7659"/>
                      <a:pt x="69600" y="2553"/>
                      <a:pt x="67200" y="2553"/>
                    </a:cubicBezTo>
                    <a:cubicBezTo>
                      <a:pt x="64800" y="2553"/>
                      <a:pt x="60000" y="5106"/>
                      <a:pt x="60000" y="5106"/>
                    </a:cubicBezTo>
                    <a:cubicBezTo>
                      <a:pt x="55200" y="0"/>
                      <a:pt x="52800" y="2553"/>
                      <a:pt x="48000" y="2553"/>
                    </a:cubicBezTo>
                    <a:cubicBezTo>
                      <a:pt x="43200" y="5106"/>
                      <a:pt x="45600" y="7659"/>
                      <a:pt x="43200" y="10212"/>
                    </a:cubicBezTo>
                    <a:cubicBezTo>
                      <a:pt x="38400" y="12765"/>
                      <a:pt x="33600" y="12765"/>
                      <a:pt x="31200" y="17872"/>
                    </a:cubicBezTo>
                    <a:cubicBezTo>
                      <a:pt x="28800" y="22978"/>
                      <a:pt x="33600" y="20425"/>
                      <a:pt x="33600" y="25531"/>
                    </a:cubicBezTo>
                    <a:cubicBezTo>
                      <a:pt x="33600" y="28085"/>
                      <a:pt x="31200" y="28085"/>
                      <a:pt x="31200" y="33191"/>
                    </a:cubicBezTo>
                    <a:cubicBezTo>
                      <a:pt x="31200" y="40851"/>
                      <a:pt x="28800" y="43404"/>
                      <a:pt x="21600" y="48510"/>
                    </a:cubicBezTo>
                    <a:cubicBezTo>
                      <a:pt x="16800" y="51063"/>
                      <a:pt x="0" y="58723"/>
                      <a:pt x="2400" y="63829"/>
                    </a:cubicBezTo>
                    <a:cubicBezTo>
                      <a:pt x="4800" y="66382"/>
                      <a:pt x="4800" y="74042"/>
                      <a:pt x="7200" y="76595"/>
                    </a:cubicBezTo>
                    <a:cubicBezTo>
                      <a:pt x="9600" y="79148"/>
                      <a:pt x="19200" y="79148"/>
                      <a:pt x="21600" y="79148"/>
                    </a:cubicBezTo>
                    <a:cubicBezTo>
                      <a:pt x="28800" y="81702"/>
                      <a:pt x="36000" y="86808"/>
                      <a:pt x="43200" y="91914"/>
                    </a:cubicBezTo>
                    <a:cubicBezTo>
                      <a:pt x="52800" y="99574"/>
                      <a:pt x="60000" y="107234"/>
                      <a:pt x="69600" y="114893"/>
                    </a:cubicBezTo>
                    <a:cubicBezTo>
                      <a:pt x="76800" y="120000"/>
                      <a:pt x="84000" y="120000"/>
                      <a:pt x="91200" y="120000"/>
                    </a:cubicBezTo>
                    <a:cubicBezTo>
                      <a:pt x="98400" y="120000"/>
                      <a:pt x="98400" y="112340"/>
                      <a:pt x="103200" y="107234"/>
                    </a:cubicBezTo>
                    <a:cubicBezTo>
                      <a:pt x="108000" y="102127"/>
                      <a:pt x="117600" y="112340"/>
                      <a:pt x="120000" y="109787"/>
                    </a:cubicBezTo>
                    <a:cubicBezTo>
                      <a:pt x="117600" y="107234"/>
                      <a:pt x="115200" y="104680"/>
                      <a:pt x="112800" y="99574"/>
                    </a:cubicBezTo>
                    <a:cubicBezTo>
                      <a:pt x="112800" y="97021"/>
                      <a:pt x="115200" y="94468"/>
                      <a:pt x="112800" y="91914"/>
                    </a:cubicBezTo>
                    <a:cubicBezTo>
                      <a:pt x="110400" y="89361"/>
                      <a:pt x="115200" y="94468"/>
                      <a:pt x="112800" y="9191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09" name="Shape 2560">
                <a:extLst>
                  <a:ext uri="{FF2B5EF4-FFF2-40B4-BE49-F238E27FC236}">
                    <a16:creationId xmlns:a16="http://schemas.microsoft.com/office/drawing/2014/main" id="{C341E285-479F-4C11-AA09-7509E91B8F46}"/>
                  </a:ext>
                </a:extLst>
              </p:cNvPr>
              <p:cNvSpPr/>
              <p:nvPr/>
            </p:nvSpPr>
            <p:spPr>
              <a:xfrm>
                <a:off x="12870800" y="7470060"/>
                <a:ext cx="798881" cy="304688"/>
              </a:xfrm>
              <a:custGeom>
                <a:avLst/>
                <a:gdLst/>
                <a:ahLst/>
                <a:cxnLst/>
                <a:rect l="0" t="0" r="0" b="0"/>
                <a:pathLst>
                  <a:path w="120000" h="120000" extrusionOk="0">
                    <a:moveTo>
                      <a:pt x="65684" y="120000"/>
                    </a:moveTo>
                    <a:cubicBezTo>
                      <a:pt x="66947" y="116666"/>
                      <a:pt x="68210" y="110000"/>
                      <a:pt x="68210" y="110000"/>
                    </a:cubicBezTo>
                    <a:cubicBezTo>
                      <a:pt x="66947" y="103333"/>
                      <a:pt x="68210" y="100000"/>
                      <a:pt x="69473" y="103333"/>
                    </a:cubicBezTo>
                    <a:cubicBezTo>
                      <a:pt x="72000" y="106666"/>
                      <a:pt x="73263" y="103333"/>
                      <a:pt x="75789" y="103333"/>
                    </a:cubicBezTo>
                    <a:cubicBezTo>
                      <a:pt x="78315" y="100000"/>
                      <a:pt x="78315" y="100000"/>
                      <a:pt x="80842" y="103333"/>
                    </a:cubicBezTo>
                    <a:cubicBezTo>
                      <a:pt x="85894" y="103333"/>
                      <a:pt x="89684" y="96666"/>
                      <a:pt x="94736" y="96666"/>
                    </a:cubicBezTo>
                    <a:cubicBezTo>
                      <a:pt x="98526" y="96666"/>
                      <a:pt x="103578" y="96666"/>
                      <a:pt x="107368" y="93333"/>
                    </a:cubicBezTo>
                    <a:cubicBezTo>
                      <a:pt x="109894" y="90000"/>
                      <a:pt x="109894" y="96666"/>
                      <a:pt x="113684" y="93333"/>
                    </a:cubicBezTo>
                    <a:cubicBezTo>
                      <a:pt x="116210" y="90000"/>
                      <a:pt x="114947" y="96666"/>
                      <a:pt x="116210" y="100000"/>
                    </a:cubicBezTo>
                    <a:cubicBezTo>
                      <a:pt x="117473" y="103333"/>
                      <a:pt x="120000" y="96666"/>
                      <a:pt x="118736" y="93333"/>
                    </a:cubicBezTo>
                    <a:cubicBezTo>
                      <a:pt x="117473" y="90000"/>
                      <a:pt x="120000" y="83333"/>
                      <a:pt x="116210" y="80000"/>
                    </a:cubicBezTo>
                    <a:cubicBezTo>
                      <a:pt x="114947" y="76666"/>
                      <a:pt x="117473" y="76666"/>
                      <a:pt x="116210" y="73333"/>
                    </a:cubicBezTo>
                    <a:cubicBezTo>
                      <a:pt x="116210" y="66666"/>
                      <a:pt x="114947" y="63333"/>
                      <a:pt x="114947" y="56666"/>
                    </a:cubicBezTo>
                    <a:cubicBezTo>
                      <a:pt x="114947" y="53333"/>
                      <a:pt x="117473" y="46666"/>
                      <a:pt x="117473" y="46666"/>
                    </a:cubicBezTo>
                    <a:cubicBezTo>
                      <a:pt x="116210" y="40000"/>
                      <a:pt x="113684" y="36666"/>
                      <a:pt x="112421" y="26666"/>
                    </a:cubicBezTo>
                    <a:cubicBezTo>
                      <a:pt x="109894" y="16666"/>
                      <a:pt x="109894" y="13333"/>
                      <a:pt x="104842" y="10000"/>
                    </a:cubicBezTo>
                    <a:cubicBezTo>
                      <a:pt x="103578" y="10000"/>
                      <a:pt x="102315" y="10000"/>
                      <a:pt x="101052" y="10000"/>
                    </a:cubicBezTo>
                    <a:cubicBezTo>
                      <a:pt x="98526" y="6666"/>
                      <a:pt x="99789" y="10000"/>
                      <a:pt x="98526" y="10000"/>
                    </a:cubicBezTo>
                    <a:cubicBezTo>
                      <a:pt x="96000" y="16666"/>
                      <a:pt x="93473" y="16666"/>
                      <a:pt x="92210" y="20000"/>
                    </a:cubicBezTo>
                    <a:cubicBezTo>
                      <a:pt x="88421" y="23333"/>
                      <a:pt x="83368" y="20000"/>
                      <a:pt x="79578" y="20000"/>
                    </a:cubicBezTo>
                    <a:cubicBezTo>
                      <a:pt x="77052" y="20000"/>
                      <a:pt x="74526" y="20000"/>
                      <a:pt x="73263" y="20000"/>
                    </a:cubicBezTo>
                    <a:cubicBezTo>
                      <a:pt x="70736" y="16666"/>
                      <a:pt x="70736" y="13333"/>
                      <a:pt x="68210" y="13333"/>
                    </a:cubicBezTo>
                    <a:cubicBezTo>
                      <a:pt x="65684" y="13333"/>
                      <a:pt x="64421" y="10000"/>
                      <a:pt x="63157" y="6666"/>
                    </a:cubicBezTo>
                    <a:cubicBezTo>
                      <a:pt x="61894" y="6666"/>
                      <a:pt x="56842" y="0"/>
                      <a:pt x="58105" y="0"/>
                    </a:cubicBezTo>
                    <a:cubicBezTo>
                      <a:pt x="55578" y="3333"/>
                      <a:pt x="49263" y="0"/>
                      <a:pt x="46736" y="0"/>
                    </a:cubicBezTo>
                    <a:cubicBezTo>
                      <a:pt x="42947" y="0"/>
                      <a:pt x="39157" y="10000"/>
                      <a:pt x="36631" y="13333"/>
                    </a:cubicBezTo>
                    <a:cubicBezTo>
                      <a:pt x="32842" y="20000"/>
                      <a:pt x="26526" y="13333"/>
                      <a:pt x="22736" y="16666"/>
                    </a:cubicBezTo>
                    <a:cubicBezTo>
                      <a:pt x="21473" y="16666"/>
                      <a:pt x="20210" y="16666"/>
                      <a:pt x="20210" y="20000"/>
                    </a:cubicBezTo>
                    <a:cubicBezTo>
                      <a:pt x="20210" y="20000"/>
                      <a:pt x="22736" y="20000"/>
                      <a:pt x="22736" y="23333"/>
                    </a:cubicBezTo>
                    <a:cubicBezTo>
                      <a:pt x="22736" y="23333"/>
                      <a:pt x="18947" y="23333"/>
                      <a:pt x="18947" y="26666"/>
                    </a:cubicBezTo>
                    <a:cubicBezTo>
                      <a:pt x="18947" y="30000"/>
                      <a:pt x="18947" y="30000"/>
                      <a:pt x="16421" y="30000"/>
                    </a:cubicBezTo>
                    <a:cubicBezTo>
                      <a:pt x="12631" y="30000"/>
                      <a:pt x="8842" y="30000"/>
                      <a:pt x="5052" y="30000"/>
                    </a:cubicBezTo>
                    <a:cubicBezTo>
                      <a:pt x="2526" y="30000"/>
                      <a:pt x="3789" y="33333"/>
                      <a:pt x="3789" y="36666"/>
                    </a:cubicBezTo>
                    <a:cubicBezTo>
                      <a:pt x="2526" y="43333"/>
                      <a:pt x="0" y="46666"/>
                      <a:pt x="3789" y="50000"/>
                    </a:cubicBezTo>
                    <a:cubicBezTo>
                      <a:pt x="3789" y="50000"/>
                      <a:pt x="6315" y="46666"/>
                      <a:pt x="6315" y="46666"/>
                    </a:cubicBezTo>
                    <a:cubicBezTo>
                      <a:pt x="6315" y="50000"/>
                      <a:pt x="3789" y="56666"/>
                      <a:pt x="3789" y="56666"/>
                    </a:cubicBezTo>
                    <a:cubicBezTo>
                      <a:pt x="5052" y="60000"/>
                      <a:pt x="5052" y="56666"/>
                      <a:pt x="6315" y="56666"/>
                    </a:cubicBezTo>
                    <a:cubicBezTo>
                      <a:pt x="6315" y="56666"/>
                      <a:pt x="6315" y="63333"/>
                      <a:pt x="6315" y="63333"/>
                    </a:cubicBezTo>
                    <a:cubicBezTo>
                      <a:pt x="8842" y="73333"/>
                      <a:pt x="5052" y="66666"/>
                      <a:pt x="3789" y="66666"/>
                    </a:cubicBezTo>
                    <a:cubicBezTo>
                      <a:pt x="3789" y="66666"/>
                      <a:pt x="2526" y="76666"/>
                      <a:pt x="5052" y="73333"/>
                    </a:cubicBezTo>
                    <a:cubicBezTo>
                      <a:pt x="7578" y="73333"/>
                      <a:pt x="5052" y="80000"/>
                      <a:pt x="5052" y="83333"/>
                    </a:cubicBezTo>
                    <a:cubicBezTo>
                      <a:pt x="5052" y="86666"/>
                      <a:pt x="8842" y="86666"/>
                      <a:pt x="10105" y="90000"/>
                    </a:cubicBezTo>
                    <a:cubicBezTo>
                      <a:pt x="11368" y="93333"/>
                      <a:pt x="8842" y="100000"/>
                      <a:pt x="8842" y="100000"/>
                    </a:cubicBezTo>
                    <a:cubicBezTo>
                      <a:pt x="10105" y="100000"/>
                      <a:pt x="11368" y="93333"/>
                      <a:pt x="12631" y="100000"/>
                    </a:cubicBezTo>
                    <a:cubicBezTo>
                      <a:pt x="12631" y="103333"/>
                      <a:pt x="10105" y="103333"/>
                      <a:pt x="10105" y="103333"/>
                    </a:cubicBezTo>
                    <a:cubicBezTo>
                      <a:pt x="10105" y="103333"/>
                      <a:pt x="12631" y="103333"/>
                      <a:pt x="12631" y="103333"/>
                    </a:cubicBezTo>
                    <a:cubicBezTo>
                      <a:pt x="13894" y="106666"/>
                      <a:pt x="12631" y="110000"/>
                      <a:pt x="11368" y="113333"/>
                    </a:cubicBezTo>
                    <a:cubicBezTo>
                      <a:pt x="11368" y="116666"/>
                      <a:pt x="13894" y="120000"/>
                      <a:pt x="13894" y="116666"/>
                    </a:cubicBezTo>
                    <a:cubicBezTo>
                      <a:pt x="15157" y="113333"/>
                      <a:pt x="13894" y="106666"/>
                      <a:pt x="15157" y="103333"/>
                    </a:cubicBezTo>
                    <a:cubicBezTo>
                      <a:pt x="16421" y="100000"/>
                      <a:pt x="18947" y="106666"/>
                      <a:pt x="20210" y="106666"/>
                    </a:cubicBezTo>
                    <a:cubicBezTo>
                      <a:pt x="22736" y="110000"/>
                      <a:pt x="25263" y="116666"/>
                      <a:pt x="27789" y="110000"/>
                    </a:cubicBezTo>
                    <a:cubicBezTo>
                      <a:pt x="31578" y="106666"/>
                      <a:pt x="29052" y="96666"/>
                      <a:pt x="34105" y="103333"/>
                    </a:cubicBezTo>
                    <a:cubicBezTo>
                      <a:pt x="36631" y="110000"/>
                      <a:pt x="40421" y="116666"/>
                      <a:pt x="44210" y="116666"/>
                    </a:cubicBezTo>
                    <a:cubicBezTo>
                      <a:pt x="46736" y="113333"/>
                      <a:pt x="50526" y="110000"/>
                      <a:pt x="53052" y="106666"/>
                    </a:cubicBezTo>
                    <a:cubicBezTo>
                      <a:pt x="54315" y="103333"/>
                      <a:pt x="54315" y="100000"/>
                      <a:pt x="55578" y="100000"/>
                    </a:cubicBezTo>
                    <a:cubicBezTo>
                      <a:pt x="58105" y="103333"/>
                      <a:pt x="59368" y="106666"/>
                      <a:pt x="60631" y="103333"/>
                    </a:cubicBezTo>
                    <a:cubicBezTo>
                      <a:pt x="64421" y="100000"/>
                      <a:pt x="64421" y="103333"/>
                      <a:pt x="63157" y="110000"/>
                    </a:cubicBezTo>
                    <a:cubicBezTo>
                      <a:pt x="63157" y="113333"/>
                      <a:pt x="65684" y="113333"/>
                      <a:pt x="63157" y="116666"/>
                    </a:cubicBezTo>
                    <a:cubicBezTo>
                      <a:pt x="64421" y="120000"/>
                      <a:pt x="64421" y="120000"/>
                      <a:pt x="65684" y="120000"/>
                    </a:cubicBezTo>
                    <a:cubicBezTo>
                      <a:pt x="66947" y="116666"/>
                      <a:pt x="64421" y="120000"/>
                      <a:pt x="65684"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0" name="Shape 2561">
                <a:extLst>
                  <a:ext uri="{FF2B5EF4-FFF2-40B4-BE49-F238E27FC236}">
                    <a16:creationId xmlns:a16="http://schemas.microsoft.com/office/drawing/2014/main" id="{7D245CE9-D885-4DDA-96D3-0AFE7638E59D}"/>
                  </a:ext>
                </a:extLst>
              </p:cNvPr>
              <p:cNvSpPr/>
              <p:nvPr/>
            </p:nvSpPr>
            <p:spPr>
              <a:xfrm>
                <a:off x="13232884" y="7952963"/>
                <a:ext cx="885091" cy="709984"/>
              </a:xfrm>
              <a:custGeom>
                <a:avLst/>
                <a:gdLst/>
                <a:ahLst/>
                <a:cxnLst/>
                <a:rect l="0" t="0" r="0" b="0"/>
                <a:pathLst>
                  <a:path w="120000" h="120000" extrusionOk="0">
                    <a:moveTo>
                      <a:pt x="74285" y="28571"/>
                    </a:moveTo>
                    <a:cubicBezTo>
                      <a:pt x="73142" y="24285"/>
                      <a:pt x="73142" y="24285"/>
                      <a:pt x="69714" y="24285"/>
                    </a:cubicBezTo>
                    <a:cubicBezTo>
                      <a:pt x="66285" y="24285"/>
                      <a:pt x="62857" y="24285"/>
                      <a:pt x="59428" y="24285"/>
                    </a:cubicBezTo>
                    <a:cubicBezTo>
                      <a:pt x="57142" y="24285"/>
                      <a:pt x="56000" y="21428"/>
                      <a:pt x="54857" y="21428"/>
                    </a:cubicBezTo>
                    <a:cubicBezTo>
                      <a:pt x="51428" y="17142"/>
                      <a:pt x="48000" y="14285"/>
                      <a:pt x="45714" y="11428"/>
                    </a:cubicBezTo>
                    <a:cubicBezTo>
                      <a:pt x="41142" y="7142"/>
                      <a:pt x="36571" y="2857"/>
                      <a:pt x="30857" y="1428"/>
                    </a:cubicBezTo>
                    <a:cubicBezTo>
                      <a:pt x="28571" y="0"/>
                      <a:pt x="27428" y="0"/>
                      <a:pt x="24000" y="1428"/>
                    </a:cubicBezTo>
                    <a:cubicBezTo>
                      <a:pt x="21714" y="1428"/>
                      <a:pt x="18285" y="2857"/>
                      <a:pt x="14857" y="4285"/>
                    </a:cubicBezTo>
                    <a:cubicBezTo>
                      <a:pt x="16000" y="7142"/>
                      <a:pt x="19428" y="10000"/>
                      <a:pt x="19428" y="12857"/>
                    </a:cubicBezTo>
                    <a:cubicBezTo>
                      <a:pt x="19428" y="15714"/>
                      <a:pt x="16000" y="17142"/>
                      <a:pt x="14857" y="17142"/>
                    </a:cubicBezTo>
                    <a:cubicBezTo>
                      <a:pt x="13714" y="18571"/>
                      <a:pt x="12571" y="17142"/>
                      <a:pt x="11428" y="17142"/>
                    </a:cubicBezTo>
                    <a:cubicBezTo>
                      <a:pt x="10285" y="18571"/>
                      <a:pt x="10285" y="20000"/>
                      <a:pt x="10285" y="20000"/>
                    </a:cubicBezTo>
                    <a:cubicBezTo>
                      <a:pt x="8000" y="24285"/>
                      <a:pt x="3428" y="21428"/>
                      <a:pt x="2285" y="20000"/>
                    </a:cubicBezTo>
                    <a:cubicBezTo>
                      <a:pt x="1142" y="22857"/>
                      <a:pt x="1142" y="24285"/>
                      <a:pt x="1142" y="27142"/>
                    </a:cubicBezTo>
                    <a:cubicBezTo>
                      <a:pt x="0" y="31428"/>
                      <a:pt x="1142" y="30000"/>
                      <a:pt x="3428" y="31428"/>
                    </a:cubicBezTo>
                    <a:cubicBezTo>
                      <a:pt x="5714" y="34285"/>
                      <a:pt x="8000" y="40000"/>
                      <a:pt x="9142" y="44285"/>
                    </a:cubicBezTo>
                    <a:cubicBezTo>
                      <a:pt x="11428" y="47142"/>
                      <a:pt x="12571" y="50000"/>
                      <a:pt x="13714" y="54285"/>
                    </a:cubicBezTo>
                    <a:cubicBezTo>
                      <a:pt x="14857" y="57142"/>
                      <a:pt x="16000" y="58571"/>
                      <a:pt x="17142" y="60000"/>
                    </a:cubicBezTo>
                    <a:cubicBezTo>
                      <a:pt x="19428" y="62857"/>
                      <a:pt x="21714" y="62857"/>
                      <a:pt x="22857" y="65714"/>
                    </a:cubicBezTo>
                    <a:cubicBezTo>
                      <a:pt x="24000" y="68571"/>
                      <a:pt x="25142" y="71428"/>
                      <a:pt x="25142" y="75714"/>
                    </a:cubicBezTo>
                    <a:cubicBezTo>
                      <a:pt x="26285" y="78571"/>
                      <a:pt x="25142" y="81428"/>
                      <a:pt x="26285" y="84285"/>
                    </a:cubicBezTo>
                    <a:cubicBezTo>
                      <a:pt x="28571" y="90000"/>
                      <a:pt x="33142" y="91428"/>
                      <a:pt x="35428" y="95714"/>
                    </a:cubicBezTo>
                    <a:cubicBezTo>
                      <a:pt x="37714" y="100000"/>
                      <a:pt x="38857" y="105714"/>
                      <a:pt x="41142" y="108571"/>
                    </a:cubicBezTo>
                    <a:cubicBezTo>
                      <a:pt x="42285" y="111428"/>
                      <a:pt x="44571" y="114285"/>
                      <a:pt x="45714" y="115714"/>
                    </a:cubicBezTo>
                    <a:cubicBezTo>
                      <a:pt x="45714" y="117142"/>
                      <a:pt x="45714" y="120000"/>
                      <a:pt x="46857" y="120000"/>
                    </a:cubicBezTo>
                    <a:cubicBezTo>
                      <a:pt x="49142" y="120000"/>
                      <a:pt x="48000" y="117142"/>
                      <a:pt x="49142" y="115714"/>
                    </a:cubicBezTo>
                    <a:cubicBezTo>
                      <a:pt x="49142" y="111428"/>
                      <a:pt x="54857" y="112857"/>
                      <a:pt x="57142" y="112857"/>
                    </a:cubicBezTo>
                    <a:cubicBezTo>
                      <a:pt x="60571" y="112857"/>
                      <a:pt x="66285" y="111428"/>
                      <a:pt x="68571" y="114285"/>
                    </a:cubicBezTo>
                    <a:cubicBezTo>
                      <a:pt x="72000" y="115714"/>
                      <a:pt x="73142" y="112857"/>
                      <a:pt x="75428" y="110000"/>
                    </a:cubicBezTo>
                    <a:cubicBezTo>
                      <a:pt x="78857" y="104285"/>
                      <a:pt x="82285" y="104285"/>
                      <a:pt x="86857" y="102857"/>
                    </a:cubicBezTo>
                    <a:cubicBezTo>
                      <a:pt x="93714" y="102857"/>
                      <a:pt x="100571" y="100000"/>
                      <a:pt x="107428" y="97142"/>
                    </a:cubicBezTo>
                    <a:cubicBezTo>
                      <a:pt x="109714" y="95714"/>
                      <a:pt x="113142" y="94285"/>
                      <a:pt x="116571" y="94285"/>
                    </a:cubicBezTo>
                    <a:cubicBezTo>
                      <a:pt x="117714" y="92857"/>
                      <a:pt x="117714" y="90000"/>
                      <a:pt x="118857" y="87142"/>
                    </a:cubicBezTo>
                    <a:cubicBezTo>
                      <a:pt x="118857" y="85714"/>
                      <a:pt x="120000" y="82857"/>
                      <a:pt x="120000" y="80000"/>
                    </a:cubicBezTo>
                    <a:cubicBezTo>
                      <a:pt x="120000" y="78571"/>
                      <a:pt x="118857" y="74285"/>
                      <a:pt x="117714" y="72857"/>
                    </a:cubicBezTo>
                    <a:cubicBezTo>
                      <a:pt x="114285" y="72857"/>
                      <a:pt x="109714" y="72857"/>
                      <a:pt x="106285" y="71428"/>
                    </a:cubicBezTo>
                    <a:cubicBezTo>
                      <a:pt x="102857" y="71428"/>
                      <a:pt x="102857" y="70000"/>
                      <a:pt x="100571" y="67142"/>
                    </a:cubicBezTo>
                    <a:cubicBezTo>
                      <a:pt x="98285" y="61428"/>
                      <a:pt x="94857" y="60000"/>
                      <a:pt x="92571" y="55714"/>
                    </a:cubicBezTo>
                    <a:cubicBezTo>
                      <a:pt x="91428" y="55714"/>
                      <a:pt x="89142" y="50000"/>
                      <a:pt x="88000" y="48571"/>
                    </a:cubicBezTo>
                    <a:cubicBezTo>
                      <a:pt x="86857" y="45714"/>
                      <a:pt x="92571" y="44285"/>
                      <a:pt x="88000" y="41428"/>
                    </a:cubicBezTo>
                    <a:cubicBezTo>
                      <a:pt x="86857" y="41428"/>
                      <a:pt x="85714" y="38571"/>
                      <a:pt x="84571" y="38571"/>
                    </a:cubicBezTo>
                    <a:cubicBezTo>
                      <a:pt x="82285" y="38571"/>
                      <a:pt x="81142" y="34285"/>
                      <a:pt x="80000" y="31428"/>
                    </a:cubicBezTo>
                    <a:cubicBezTo>
                      <a:pt x="78857" y="27142"/>
                      <a:pt x="78857" y="28571"/>
                      <a:pt x="74285" y="2857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1" name="Shape 2562">
                <a:extLst>
                  <a:ext uri="{FF2B5EF4-FFF2-40B4-BE49-F238E27FC236}">
                    <a16:creationId xmlns:a16="http://schemas.microsoft.com/office/drawing/2014/main" id="{60295B04-3E36-466C-8DAC-5A4827C1D132}"/>
                  </a:ext>
                </a:extLst>
              </p:cNvPr>
              <p:cNvSpPr/>
              <p:nvPr/>
            </p:nvSpPr>
            <p:spPr>
              <a:xfrm>
                <a:off x="13250127" y="7901221"/>
                <a:ext cx="175294" cy="186837"/>
              </a:xfrm>
              <a:custGeom>
                <a:avLst/>
                <a:gdLst/>
                <a:ahLst/>
                <a:cxnLst/>
                <a:rect l="0" t="0" r="0" b="0"/>
                <a:pathLst>
                  <a:path w="120000" h="120000" extrusionOk="0">
                    <a:moveTo>
                      <a:pt x="28571" y="120000"/>
                    </a:moveTo>
                    <a:cubicBezTo>
                      <a:pt x="40000" y="120000"/>
                      <a:pt x="40000" y="103636"/>
                      <a:pt x="45714" y="103636"/>
                    </a:cubicBezTo>
                    <a:cubicBezTo>
                      <a:pt x="51428" y="92727"/>
                      <a:pt x="62857" y="98181"/>
                      <a:pt x="68571" y="98181"/>
                    </a:cubicBezTo>
                    <a:cubicBezTo>
                      <a:pt x="74285" y="92727"/>
                      <a:pt x="91428" y="87272"/>
                      <a:pt x="85714" y="81818"/>
                    </a:cubicBezTo>
                    <a:cubicBezTo>
                      <a:pt x="80000" y="70909"/>
                      <a:pt x="74285" y="60000"/>
                      <a:pt x="62857" y="49090"/>
                    </a:cubicBezTo>
                    <a:cubicBezTo>
                      <a:pt x="85714" y="43636"/>
                      <a:pt x="102857" y="38181"/>
                      <a:pt x="120000" y="32727"/>
                    </a:cubicBezTo>
                    <a:cubicBezTo>
                      <a:pt x="120000" y="21818"/>
                      <a:pt x="114285" y="10909"/>
                      <a:pt x="108571" y="0"/>
                    </a:cubicBezTo>
                    <a:cubicBezTo>
                      <a:pt x="91428" y="5454"/>
                      <a:pt x="68571" y="27272"/>
                      <a:pt x="51428" y="27272"/>
                    </a:cubicBezTo>
                    <a:cubicBezTo>
                      <a:pt x="40000" y="27272"/>
                      <a:pt x="22857" y="16363"/>
                      <a:pt x="22857" y="5454"/>
                    </a:cubicBezTo>
                    <a:cubicBezTo>
                      <a:pt x="17142" y="27272"/>
                      <a:pt x="17142" y="43636"/>
                      <a:pt x="17142" y="60000"/>
                    </a:cubicBezTo>
                    <a:cubicBezTo>
                      <a:pt x="11428" y="70909"/>
                      <a:pt x="0" y="87272"/>
                      <a:pt x="0" y="98181"/>
                    </a:cubicBezTo>
                    <a:cubicBezTo>
                      <a:pt x="0" y="109090"/>
                      <a:pt x="0" y="109090"/>
                      <a:pt x="5714" y="114545"/>
                    </a:cubicBezTo>
                    <a:cubicBezTo>
                      <a:pt x="17142" y="114545"/>
                      <a:pt x="22857" y="120000"/>
                      <a:pt x="28571"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2" name="Shape 2563">
                <a:extLst>
                  <a:ext uri="{FF2B5EF4-FFF2-40B4-BE49-F238E27FC236}">
                    <a16:creationId xmlns:a16="http://schemas.microsoft.com/office/drawing/2014/main" id="{501AAB8B-AF06-4E37-8F11-102BE85D3AF0}"/>
                  </a:ext>
                </a:extLst>
              </p:cNvPr>
              <p:cNvSpPr/>
              <p:nvPr/>
            </p:nvSpPr>
            <p:spPr>
              <a:xfrm>
                <a:off x="13258748" y="7835112"/>
                <a:ext cx="66095" cy="74737"/>
              </a:xfrm>
              <a:custGeom>
                <a:avLst/>
                <a:gdLst/>
                <a:ahLst/>
                <a:cxnLst/>
                <a:rect l="0" t="0" r="0" b="0"/>
                <a:pathLst>
                  <a:path w="120000" h="120000" extrusionOk="0">
                    <a:moveTo>
                      <a:pt x="105000" y="26666"/>
                    </a:moveTo>
                    <a:cubicBezTo>
                      <a:pt x="105000" y="13333"/>
                      <a:pt x="75000" y="0"/>
                      <a:pt x="60000" y="0"/>
                    </a:cubicBezTo>
                    <a:cubicBezTo>
                      <a:pt x="45000" y="13333"/>
                      <a:pt x="45000" y="13333"/>
                      <a:pt x="30000" y="26666"/>
                    </a:cubicBezTo>
                    <a:cubicBezTo>
                      <a:pt x="30000" y="53333"/>
                      <a:pt x="15000" y="80000"/>
                      <a:pt x="0" y="106666"/>
                    </a:cubicBezTo>
                    <a:cubicBezTo>
                      <a:pt x="30000" y="106666"/>
                      <a:pt x="30000" y="120000"/>
                      <a:pt x="60000" y="106666"/>
                    </a:cubicBezTo>
                    <a:cubicBezTo>
                      <a:pt x="75000" y="93333"/>
                      <a:pt x="120000" y="53333"/>
                      <a:pt x="105000" y="2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3" name="Shape 2564">
                <a:extLst>
                  <a:ext uri="{FF2B5EF4-FFF2-40B4-BE49-F238E27FC236}">
                    <a16:creationId xmlns:a16="http://schemas.microsoft.com/office/drawing/2014/main" id="{D34E2E75-5B43-4691-8052-1B8B50FBB5E4}"/>
                  </a:ext>
                </a:extLst>
              </p:cNvPr>
              <p:cNvSpPr/>
              <p:nvPr/>
            </p:nvSpPr>
            <p:spPr>
              <a:xfrm>
                <a:off x="13250127" y="7935718"/>
                <a:ext cx="25864" cy="60363"/>
              </a:xfrm>
              <a:custGeom>
                <a:avLst/>
                <a:gdLst/>
                <a:ahLst/>
                <a:cxnLst/>
                <a:rect l="0" t="0" r="0" b="0"/>
                <a:pathLst>
                  <a:path w="120000" h="120000" extrusionOk="0">
                    <a:moveTo>
                      <a:pt x="0" y="51428"/>
                    </a:moveTo>
                    <a:cubicBezTo>
                      <a:pt x="0" y="85714"/>
                      <a:pt x="40000" y="102857"/>
                      <a:pt x="120000" y="119999"/>
                    </a:cubicBezTo>
                    <a:cubicBezTo>
                      <a:pt x="120000" y="85714"/>
                      <a:pt x="120000" y="51428"/>
                      <a:pt x="120000" y="17142"/>
                    </a:cubicBezTo>
                    <a:cubicBezTo>
                      <a:pt x="120000" y="0"/>
                      <a:pt x="120000" y="0"/>
                      <a:pt x="80000" y="0"/>
                    </a:cubicBezTo>
                    <a:cubicBezTo>
                      <a:pt x="0" y="0"/>
                      <a:pt x="0" y="34285"/>
                      <a:pt x="0" y="5142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4" name="Shape 2565">
                <a:extLst>
                  <a:ext uri="{FF2B5EF4-FFF2-40B4-BE49-F238E27FC236}">
                    <a16:creationId xmlns:a16="http://schemas.microsoft.com/office/drawing/2014/main" id="{7DFBA0DC-1795-41C6-9A6D-98C865E3B13F}"/>
                  </a:ext>
                </a:extLst>
              </p:cNvPr>
              <p:cNvSpPr/>
              <p:nvPr/>
            </p:nvSpPr>
            <p:spPr>
              <a:xfrm>
                <a:off x="13215643" y="7901221"/>
                <a:ext cx="68966" cy="221332"/>
              </a:xfrm>
              <a:custGeom>
                <a:avLst/>
                <a:gdLst/>
                <a:ahLst/>
                <a:cxnLst/>
                <a:rect l="0" t="0" r="0" b="0"/>
                <a:pathLst>
                  <a:path w="120000" h="120000" extrusionOk="0">
                    <a:moveTo>
                      <a:pt x="60000" y="78461"/>
                    </a:moveTo>
                    <a:cubicBezTo>
                      <a:pt x="60000" y="73846"/>
                      <a:pt x="75000" y="69230"/>
                      <a:pt x="90000" y="60000"/>
                    </a:cubicBezTo>
                    <a:cubicBezTo>
                      <a:pt x="105000" y="50769"/>
                      <a:pt x="90000" y="55384"/>
                      <a:pt x="75000" y="46153"/>
                    </a:cubicBezTo>
                    <a:cubicBezTo>
                      <a:pt x="45000" y="36923"/>
                      <a:pt x="60000" y="13846"/>
                      <a:pt x="105000" y="18461"/>
                    </a:cubicBezTo>
                    <a:cubicBezTo>
                      <a:pt x="120000" y="4615"/>
                      <a:pt x="120000" y="4615"/>
                      <a:pt x="90000" y="0"/>
                    </a:cubicBezTo>
                    <a:cubicBezTo>
                      <a:pt x="60000" y="0"/>
                      <a:pt x="45000" y="23076"/>
                      <a:pt x="30000" y="32307"/>
                    </a:cubicBezTo>
                    <a:cubicBezTo>
                      <a:pt x="15000" y="36923"/>
                      <a:pt x="0" y="41538"/>
                      <a:pt x="0" y="50769"/>
                    </a:cubicBezTo>
                    <a:cubicBezTo>
                      <a:pt x="0" y="55384"/>
                      <a:pt x="15000" y="64615"/>
                      <a:pt x="15000" y="73846"/>
                    </a:cubicBezTo>
                    <a:cubicBezTo>
                      <a:pt x="15000" y="87692"/>
                      <a:pt x="30000" y="101538"/>
                      <a:pt x="30000" y="120000"/>
                    </a:cubicBezTo>
                    <a:cubicBezTo>
                      <a:pt x="30000" y="115384"/>
                      <a:pt x="30000" y="115384"/>
                      <a:pt x="30000" y="115384"/>
                    </a:cubicBezTo>
                    <a:cubicBezTo>
                      <a:pt x="45000" y="106153"/>
                      <a:pt x="45000" y="92307"/>
                      <a:pt x="60000" y="78461"/>
                    </a:cubicBezTo>
                    <a:cubicBezTo>
                      <a:pt x="60000" y="73846"/>
                      <a:pt x="60000" y="83076"/>
                      <a:pt x="60000" y="7846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5" name="Shape 2566">
                <a:extLst>
                  <a:ext uri="{FF2B5EF4-FFF2-40B4-BE49-F238E27FC236}">
                    <a16:creationId xmlns:a16="http://schemas.microsoft.com/office/drawing/2014/main" id="{E58811DC-33E2-4FC3-890A-9DF6CBEB6EC4}"/>
                  </a:ext>
                </a:extLst>
              </p:cNvPr>
              <p:cNvSpPr/>
              <p:nvPr/>
            </p:nvSpPr>
            <p:spPr>
              <a:xfrm>
                <a:off x="13913946" y="8231781"/>
                <a:ext cx="43104" cy="66112"/>
              </a:xfrm>
              <a:custGeom>
                <a:avLst/>
                <a:gdLst/>
                <a:ahLst/>
                <a:cxnLst/>
                <a:rect l="0" t="0" r="0" b="0"/>
                <a:pathLst>
                  <a:path w="120000" h="120000" extrusionOk="0">
                    <a:moveTo>
                      <a:pt x="72000" y="120000"/>
                    </a:moveTo>
                    <a:cubicBezTo>
                      <a:pt x="72000" y="105000"/>
                      <a:pt x="120000" y="0"/>
                      <a:pt x="48000" y="0"/>
                    </a:cubicBezTo>
                    <a:cubicBezTo>
                      <a:pt x="24000" y="15000"/>
                      <a:pt x="0" y="45000"/>
                      <a:pt x="0" y="60000"/>
                    </a:cubicBezTo>
                    <a:cubicBezTo>
                      <a:pt x="0" y="90000"/>
                      <a:pt x="24000" y="105000"/>
                      <a:pt x="72000" y="120000"/>
                    </a:cubicBezTo>
                    <a:cubicBezTo>
                      <a:pt x="72000" y="120000"/>
                      <a:pt x="48000" y="120000"/>
                      <a:pt x="72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6" name="Shape 2567">
                <a:extLst>
                  <a:ext uri="{FF2B5EF4-FFF2-40B4-BE49-F238E27FC236}">
                    <a16:creationId xmlns:a16="http://schemas.microsoft.com/office/drawing/2014/main" id="{AF702724-DAE9-4CED-8C7E-9E8AA094D718}"/>
                  </a:ext>
                </a:extLst>
              </p:cNvPr>
              <p:cNvSpPr/>
              <p:nvPr/>
            </p:nvSpPr>
            <p:spPr>
              <a:xfrm>
                <a:off x="13569106" y="8545096"/>
                <a:ext cx="448292" cy="284570"/>
              </a:xfrm>
              <a:custGeom>
                <a:avLst/>
                <a:gdLst/>
                <a:ahLst/>
                <a:cxnLst/>
                <a:rect l="0" t="0" r="0" b="0"/>
                <a:pathLst>
                  <a:path w="120000" h="120000" extrusionOk="0">
                    <a:moveTo>
                      <a:pt x="106415" y="0"/>
                    </a:moveTo>
                    <a:cubicBezTo>
                      <a:pt x="99622" y="3529"/>
                      <a:pt x="92830" y="7058"/>
                      <a:pt x="86037" y="7058"/>
                    </a:cubicBezTo>
                    <a:cubicBezTo>
                      <a:pt x="79245" y="10588"/>
                      <a:pt x="70188" y="7058"/>
                      <a:pt x="63396" y="14117"/>
                    </a:cubicBezTo>
                    <a:cubicBezTo>
                      <a:pt x="58867" y="21176"/>
                      <a:pt x="56603" y="28235"/>
                      <a:pt x="52075" y="35294"/>
                    </a:cubicBezTo>
                    <a:cubicBezTo>
                      <a:pt x="49811" y="38823"/>
                      <a:pt x="43018" y="31764"/>
                      <a:pt x="38490" y="31764"/>
                    </a:cubicBezTo>
                    <a:cubicBezTo>
                      <a:pt x="31698" y="31764"/>
                      <a:pt x="27169" y="31764"/>
                      <a:pt x="20377" y="31764"/>
                    </a:cubicBezTo>
                    <a:cubicBezTo>
                      <a:pt x="13584" y="31764"/>
                      <a:pt x="6792" y="28235"/>
                      <a:pt x="6792" y="42352"/>
                    </a:cubicBezTo>
                    <a:cubicBezTo>
                      <a:pt x="4528" y="49411"/>
                      <a:pt x="2264" y="45882"/>
                      <a:pt x="2264" y="52941"/>
                    </a:cubicBezTo>
                    <a:cubicBezTo>
                      <a:pt x="0" y="60000"/>
                      <a:pt x="0" y="67058"/>
                      <a:pt x="2264" y="74117"/>
                    </a:cubicBezTo>
                    <a:cubicBezTo>
                      <a:pt x="2264" y="81176"/>
                      <a:pt x="4528" y="91764"/>
                      <a:pt x="6792" y="98823"/>
                    </a:cubicBezTo>
                    <a:cubicBezTo>
                      <a:pt x="6792" y="102352"/>
                      <a:pt x="6792" y="109411"/>
                      <a:pt x="9056" y="112941"/>
                    </a:cubicBezTo>
                    <a:cubicBezTo>
                      <a:pt x="11320" y="120000"/>
                      <a:pt x="22641" y="116470"/>
                      <a:pt x="27169" y="112941"/>
                    </a:cubicBezTo>
                    <a:cubicBezTo>
                      <a:pt x="29433" y="109411"/>
                      <a:pt x="31698" y="105882"/>
                      <a:pt x="36226" y="102352"/>
                    </a:cubicBezTo>
                    <a:cubicBezTo>
                      <a:pt x="38490" y="102352"/>
                      <a:pt x="43018" y="102352"/>
                      <a:pt x="47547" y="102352"/>
                    </a:cubicBezTo>
                    <a:cubicBezTo>
                      <a:pt x="49811" y="98823"/>
                      <a:pt x="52075" y="95294"/>
                      <a:pt x="54339" y="91764"/>
                    </a:cubicBezTo>
                    <a:cubicBezTo>
                      <a:pt x="61132" y="88235"/>
                      <a:pt x="65660" y="88235"/>
                      <a:pt x="72452" y="84705"/>
                    </a:cubicBezTo>
                    <a:cubicBezTo>
                      <a:pt x="79245" y="81176"/>
                      <a:pt x="86037" y="77647"/>
                      <a:pt x="92830" y="74117"/>
                    </a:cubicBezTo>
                    <a:cubicBezTo>
                      <a:pt x="97358" y="70588"/>
                      <a:pt x="106415" y="67058"/>
                      <a:pt x="106415" y="60000"/>
                    </a:cubicBezTo>
                    <a:cubicBezTo>
                      <a:pt x="108679" y="49411"/>
                      <a:pt x="120000" y="49411"/>
                      <a:pt x="117735" y="42352"/>
                    </a:cubicBezTo>
                    <a:cubicBezTo>
                      <a:pt x="113207" y="28235"/>
                      <a:pt x="110943" y="14117"/>
                      <a:pt x="106415"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7" name="Shape 2568">
                <a:extLst>
                  <a:ext uri="{FF2B5EF4-FFF2-40B4-BE49-F238E27FC236}">
                    <a16:creationId xmlns:a16="http://schemas.microsoft.com/office/drawing/2014/main" id="{C479CAA8-0595-4CA7-95E0-302F69211764}"/>
                  </a:ext>
                </a:extLst>
              </p:cNvPr>
              <p:cNvSpPr/>
              <p:nvPr/>
            </p:nvSpPr>
            <p:spPr>
              <a:xfrm>
                <a:off x="13965672" y="8231781"/>
                <a:ext cx="344839" cy="413917"/>
              </a:xfrm>
              <a:custGeom>
                <a:avLst/>
                <a:gdLst/>
                <a:ahLst/>
                <a:cxnLst/>
                <a:rect l="0" t="0" r="0" b="0"/>
                <a:pathLst>
                  <a:path w="120000" h="120000" extrusionOk="0">
                    <a:moveTo>
                      <a:pt x="114146" y="46530"/>
                    </a:moveTo>
                    <a:cubicBezTo>
                      <a:pt x="105365" y="46530"/>
                      <a:pt x="102439" y="39183"/>
                      <a:pt x="99512" y="34285"/>
                    </a:cubicBezTo>
                    <a:cubicBezTo>
                      <a:pt x="96585" y="31836"/>
                      <a:pt x="84878" y="31836"/>
                      <a:pt x="81951" y="29387"/>
                    </a:cubicBezTo>
                    <a:cubicBezTo>
                      <a:pt x="73170" y="26938"/>
                      <a:pt x="70243" y="22040"/>
                      <a:pt x="64390" y="14693"/>
                    </a:cubicBezTo>
                    <a:cubicBezTo>
                      <a:pt x="64390" y="12244"/>
                      <a:pt x="61463" y="9795"/>
                      <a:pt x="61463" y="7346"/>
                    </a:cubicBezTo>
                    <a:cubicBezTo>
                      <a:pt x="61463" y="7346"/>
                      <a:pt x="64390" y="0"/>
                      <a:pt x="64390" y="0"/>
                    </a:cubicBezTo>
                    <a:cubicBezTo>
                      <a:pt x="61463" y="0"/>
                      <a:pt x="52682" y="9795"/>
                      <a:pt x="49756" y="12244"/>
                    </a:cubicBezTo>
                    <a:cubicBezTo>
                      <a:pt x="43902" y="17142"/>
                      <a:pt x="38048" y="24489"/>
                      <a:pt x="29268" y="24489"/>
                    </a:cubicBezTo>
                    <a:cubicBezTo>
                      <a:pt x="23414" y="26938"/>
                      <a:pt x="20487" y="24489"/>
                      <a:pt x="14634" y="24489"/>
                    </a:cubicBezTo>
                    <a:cubicBezTo>
                      <a:pt x="8780" y="26938"/>
                      <a:pt x="2926" y="31836"/>
                      <a:pt x="0" y="26938"/>
                    </a:cubicBezTo>
                    <a:cubicBezTo>
                      <a:pt x="2926" y="34285"/>
                      <a:pt x="5853" y="41632"/>
                      <a:pt x="14634" y="41632"/>
                    </a:cubicBezTo>
                    <a:cubicBezTo>
                      <a:pt x="20487" y="41632"/>
                      <a:pt x="43902" y="41632"/>
                      <a:pt x="46829" y="46530"/>
                    </a:cubicBezTo>
                    <a:cubicBezTo>
                      <a:pt x="55609" y="56326"/>
                      <a:pt x="49756" y="66122"/>
                      <a:pt x="46829" y="78367"/>
                    </a:cubicBezTo>
                    <a:cubicBezTo>
                      <a:pt x="43902" y="80816"/>
                      <a:pt x="32195" y="83265"/>
                      <a:pt x="32195" y="83265"/>
                    </a:cubicBezTo>
                    <a:cubicBezTo>
                      <a:pt x="20487" y="85714"/>
                      <a:pt x="8780" y="88163"/>
                      <a:pt x="0" y="90612"/>
                    </a:cubicBezTo>
                    <a:cubicBezTo>
                      <a:pt x="5853" y="100408"/>
                      <a:pt x="11707" y="110204"/>
                      <a:pt x="14634" y="119999"/>
                    </a:cubicBezTo>
                    <a:cubicBezTo>
                      <a:pt x="23414" y="117551"/>
                      <a:pt x="32195" y="117551"/>
                      <a:pt x="40975" y="117551"/>
                    </a:cubicBezTo>
                    <a:cubicBezTo>
                      <a:pt x="52682" y="115102"/>
                      <a:pt x="43902" y="112653"/>
                      <a:pt x="49756" y="107755"/>
                    </a:cubicBezTo>
                    <a:cubicBezTo>
                      <a:pt x="55609" y="105306"/>
                      <a:pt x="64390" y="107755"/>
                      <a:pt x="67317" y="102857"/>
                    </a:cubicBezTo>
                    <a:cubicBezTo>
                      <a:pt x="73170" y="97959"/>
                      <a:pt x="73170" y="95510"/>
                      <a:pt x="81951" y="93061"/>
                    </a:cubicBezTo>
                    <a:cubicBezTo>
                      <a:pt x="87804" y="90612"/>
                      <a:pt x="84878" y="83265"/>
                      <a:pt x="84878" y="78367"/>
                    </a:cubicBezTo>
                    <a:cubicBezTo>
                      <a:pt x="81951" y="73469"/>
                      <a:pt x="87804" y="73469"/>
                      <a:pt x="93658" y="73469"/>
                    </a:cubicBezTo>
                    <a:cubicBezTo>
                      <a:pt x="102439" y="71020"/>
                      <a:pt x="102439" y="63673"/>
                      <a:pt x="108292" y="58775"/>
                    </a:cubicBezTo>
                    <a:cubicBezTo>
                      <a:pt x="111219" y="56326"/>
                      <a:pt x="120000" y="48979"/>
                      <a:pt x="114146" y="46530"/>
                    </a:cubicBezTo>
                    <a:cubicBezTo>
                      <a:pt x="111219" y="46530"/>
                      <a:pt x="117073" y="48979"/>
                      <a:pt x="114146" y="4653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8" name="Shape 2569">
                <a:extLst>
                  <a:ext uri="{FF2B5EF4-FFF2-40B4-BE49-F238E27FC236}">
                    <a16:creationId xmlns:a16="http://schemas.microsoft.com/office/drawing/2014/main" id="{EB02AFE8-470A-40CB-83B9-03DCE7F32FBF}"/>
                  </a:ext>
                </a:extLst>
              </p:cNvPr>
              <p:cNvSpPr/>
              <p:nvPr/>
            </p:nvSpPr>
            <p:spPr>
              <a:xfrm>
                <a:off x="14698457" y="7421194"/>
                <a:ext cx="462663" cy="201211"/>
              </a:xfrm>
              <a:custGeom>
                <a:avLst/>
                <a:gdLst/>
                <a:ahLst/>
                <a:cxnLst/>
                <a:rect l="0" t="0" r="0" b="0"/>
                <a:pathLst>
                  <a:path w="120000" h="120000" extrusionOk="0">
                    <a:moveTo>
                      <a:pt x="120000" y="25000"/>
                    </a:moveTo>
                    <a:cubicBezTo>
                      <a:pt x="113454" y="25000"/>
                      <a:pt x="109090" y="15000"/>
                      <a:pt x="102545" y="15000"/>
                    </a:cubicBezTo>
                    <a:cubicBezTo>
                      <a:pt x="96000" y="10000"/>
                      <a:pt x="87272" y="10000"/>
                      <a:pt x="78545" y="10000"/>
                    </a:cubicBezTo>
                    <a:cubicBezTo>
                      <a:pt x="72000" y="10000"/>
                      <a:pt x="65454" y="10000"/>
                      <a:pt x="58909" y="0"/>
                    </a:cubicBezTo>
                    <a:cubicBezTo>
                      <a:pt x="54545" y="0"/>
                      <a:pt x="50181" y="0"/>
                      <a:pt x="48000" y="10000"/>
                    </a:cubicBezTo>
                    <a:cubicBezTo>
                      <a:pt x="48000" y="20000"/>
                      <a:pt x="45818" y="25000"/>
                      <a:pt x="41454" y="20000"/>
                    </a:cubicBezTo>
                    <a:cubicBezTo>
                      <a:pt x="37090" y="15000"/>
                      <a:pt x="26181" y="5000"/>
                      <a:pt x="24000" y="25000"/>
                    </a:cubicBezTo>
                    <a:cubicBezTo>
                      <a:pt x="21818" y="30000"/>
                      <a:pt x="24000" y="30000"/>
                      <a:pt x="19636" y="35000"/>
                    </a:cubicBezTo>
                    <a:cubicBezTo>
                      <a:pt x="17454" y="40000"/>
                      <a:pt x="13090" y="50000"/>
                      <a:pt x="17454" y="55000"/>
                    </a:cubicBezTo>
                    <a:cubicBezTo>
                      <a:pt x="19636" y="60000"/>
                      <a:pt x="26181" y="65000"/>
                      <a:pt x="26181" y="60000"/>
                    </a:cubicBezTo>
                    <a:cubicBezTo>
                      <a:pt x="28363" y="50000"/>
                      <a:pt x="30545" y="55000"/>
                      <a:pt x="32727" y="60000"/>
                    </a:cubicBezTo>
                    <a:cubicBezTo>
                      <a:pt x="34909" y="65000"/>
                      <a:pt x="43636" y="70000"/>
                      <a:pt x="41454" y="75000"/>
                    </a:cubicBezTo>
                    <a:cubicBezTo>
                      <a:pt x="41454" y="80000"/>
                      <a:pt x="34909" y="80000"/>
                      <a:pt x="32727" y="85000"/>
                    </a:cubicBezTo>
                    <a:cubicBezTo>
                      <a:pt x="30545" y="90000"/>
                      <a:pt x="28363" y="95000"/>
                      <a:pt x="24000" y="85000"/>
                    </a:cubicBezTo>
                    <a:cubicBezTo>
                      <a:pt x="21818" y="80000"/>
                      <a:pt x="21818" y="95000"/>
                      <a:pt x="21818" y="100000"/>
                    </a:cubicBezTo>
                    <a:cubicBezTo>
                      <a:pt x="13090" y="110000"/>
                      <a:pt x="8727" y="75000"/>
                      <a:pt x="2181" y="100000"/>
                    </a:cubicBezTo>
                    <a:cubicBezTo>
                      <a:pt x="0" y="105000"/>
                      <a:pt x="21818" y="115000"/>
                      <a:pt x="24000" y="110000"/>
                    </a:cubicBezTo>
                    <a:cubicBezTo>
                      <a:pt x="26181" y="105000"/>
                      <a:pt x="30545" y="110000"/>
                      <a:pt x="32727" y="115000"/>
                    </a:cubicBezTo>
                    <a:cubicBezTo>
                      <a:pt x="34909" y="115000"/>
                      <a:pt x="41454" y="120000"/>
                      <a:pt x="45818" y="115000"/>
                    </a:cubicBezTo>
                    <a:cubicBezTo>
                      <a:pt x="48000" y="110000"/>
                      <a:pt x="52363" y="115000"/>
                      <a:pt x="54545" y="100000"/>
                    </a:cubicBezTo>
                    <a:cubicBezTo>
                      <a:pt x="54545" y="95000"/>
                      <a:pt x="58909" y="90000"/>
                      <a:pt x="61090" y="85000"/>
                    </a:cubicBezTo>
                    <a:cubicBezTo>
                      <a:pt x="63272" y="80000"/>
                      <a:pt x="72000" y="80000"/>
                      <a:pt x="72000" y="80000"/>
                    </a:cubicBezTo>
                    <a:cubicBezTo>
                      <a:pt x="74181" y="90000"/>
                      <a:pt x="76363" y="80000"/>
                      <a:pt x="80727" y="80000"/>
                    </a:cubicBezTo>
                    <a:cubicBezTo>
                      <a:pt x="82909" y="80000"/>
                      <a:pt x="85090" y="65000"/>
                      <a:pt x="87272" y="65000"/>
                    </a:cubicBezTo>
                    <a:cubicBezTo>
                      <a:pt x="89454" y="60000"/>
                      <a:pt x="93818" y="65000"/>
                      <a:pt x="96000" y="60000"/>
                    </a:cubicBezTo>
                    <a:cubicBezTo>
                      <a:pt x="104727" y="55000"/>
                      <a:pt x="109090" y="45000"/>
                      <a:pt x="117818" y="35000"/>
                    </a:cubicBezTo>
                    <a:cubicBezTo>
                      <a:pt x="120000" y="35000"/>
                      <a:pt x="120000" y="35000"/>
                      <a:pt x="120000" y="2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19" name="Shape 2570">
                <a:extLst>
                  <a:ext uri="{FF2B5EF4-FFF2-40B4-BE49-F238E27FC236}">
                    <a16:creationId xmlns:a16="http://schemas.microsoft.com/office/drawing/2014/main" id="{FACBF0C4-18A4-4EFF-A4CB-41BF3BD98CA8}"/>
                  </a:ext>
                </a:extLst>
              </p:cNvPr>
              <p:cNvSpPr/>
              <p:nvPr/>
            </p:nvSpPr>
            <p:spPr>
              <a:xfrm>
                <a:off x="14135220" y="7294720"/>
                <a:ext cx="750031" cy="439786"/>
              </a:xfrm>
              <a:custGeom>
                <a:avLst/>
                <a:gdLst/>
                <a:ahLst/>
                <a:cxnLst/>
                <a:rect l="0" t="0" r="0" b="0"/>
                <a:pathLst>
                  <a:path w="120000" h="120000" extrusionOk="0">
                    <a:moveTo>
                      <a:pt x="105168" y="73846"/>
                    </a:moveTo>
                    <a:cubicBezTo>
                      <a:pt x="106516" y="76153"/>
                      <a:pt x="106516" y="78461"/>
                      <a:pt x="109213" y="76153"/>
                    </a:cubicBezTo>
                    <a:cubicBezTo>
                      <a:pt x="110561" y="76153"/>
                      <a:pt x="111910" y="71538"/>
                      <a:pt x="113258" y="71538"/>
                    </a:cubicBezTo>
                    <a:cubicBezTo>
                      <a:pt x="120000" y="69230"/>
                      <a:pt x="111910" y="64615"/>
                      <a:pt x="109213" y="60000"/>
                    </a:cubicBezTo>
                    <a:cubicBezTo>
                      <a:pt x="107865" y="57692"/>
                      <a:pt x="107865" y="60000"/>
                      <a:pt x="106516" y="62307"/>
                    </a:cubicBezTo>
                    <a:cubicBezTo>
                      <a:pt x="106516" y="64615"/>
                      <a:pt x="102471" y="62307"/>
                      <a:pt x="101123" y="62307"/>
                    </a:cubicBezTo>
                    <a:cubicBezTo>
                      <a:pt x="95730" y="57692"/>
                      <a:pt x="103820" y="50769"/>
                      <a:pt x="105168" y="48461"/>
                    </a:cubicBezTo>
                    <a:cubicBezTo>
                      <a:pt x="105168" y="48461"/>
                      <a:pt x="99775" y="50769"/>
                      <a:pt x="99775" y="50769"/>
                    </a:cubicBezTo>
                    <a:cubicBezTo>
                      <a:pt x="97078" y="53076"/>
                      <a:pt x="94382" y="53076"/>
                      <a:pt x="91685" y="57692"/>
                    </a:cubicBezTo>
                    <a:cubicBezTo>
                      <a:pt x="90337" y="60000"/>
                      <a:pt x="88988" y="64615"/>
                      <a:pt x="87640" y="66923"/>
                    </a:cubicBezTo>
                    <a:cubicBezTo>
                      <a:pt x="86292" y="73846"/>
                      <a:pt x="84943" y="69230"/>
                      <a:pt x="83595" y="64615"/>
                    </a:cubicBezTo>
                    <a:cubicBezTo>
                      <a:pt x="82247" y="60000"/>
                      <a:pt x="79550" y="62307"/>
                      <a:pt x="76853" y="62307"/>
                    </a:cubicBezTo>
                    <a:cubicBezTo>
                      <a:pt x="74157" y="62307"/>
                      <a:pt x="72808" y="55384"/>
                      <a:pt x="71460" y="53076"/>
                    </a:cubicBezTo>
                    <a:cubicBezTo>
                      <a:pt x="68764" y="48461"/>
                      <a:pt x="72808" y="43846"/>
                      <a:pt x="70112" y="39230"/>
                    </a:cubicBezTo>
                    <a:cubicBezTo>
                      <a:pt x="68764" y="36923"/>
                      <a:pt x="67415" y="32307"/>
                      <a:pt x="66067" y="30000"/>
                    </a:cubicBezTo>
                    <a:cubicBezTo>
                      <a:pt x="64719" y="27692"/>
                      <a:pt x="62022" y="25384"/>
                      <a:pt x="60674" y="27692"/>
                    </a:cubicBezTo>
                    <a:cubicBezTo>
                      <a:pt x="57977" y="30000"/>
                      <a:pt x="55280" y="27692"/>
                      <a:pt x="51235" y="27692"/>
                    </a:cubicBezTo>
                    <a:cubicBezTo>
                      <a:pt x="48539" y="27692"/>
                      <a:pt x="44494" y="30000"/>
                      <a:pt x="41797" y="27692"/>
                    </a:cubicBezTo>
                    <a:cubicBezTo>
                      <a:pt x="40449" y="25384"/>
                      <a:pt x="37752" y="20769"/>
                      <a:pt x="36404" y="18461"/>
                    </a:cubicBezTo>
                    <a:cubicBezTo>
                      <a:pt x="33707" y="13846"/>
                      <a:pt x="32359" y="13846"/>
                      <a:pt x="31011" y="18461"/>
                    </a:cubicBezTo>
                    <a:cubicBezTo>
                      <a:pt x="29662" y="20769"/>
                      <a:pt x="28314" y="23076"/>
                      <a:pt x="25617" y="23076"/>
                    </a:cubicBezTo>
                    <a:cubicBezTo>
                      <a:pt x="21573" y="23076"/>
                      <a:pt x="21573" y="18461"/>
                      <a:pt x="22921" y="13846"/>
                    </a:cubicBezTo>
                    <a:cubicBezTo>
                      <a:pt x="24269" y="6923"/>
                      <a:pt x="24269" y="6923"/>
                      <a:pt x="20224" y="2307"/>
                    </a:cubicBezTo>
                    <a:cubicBezTo>
                      <a:pt x="20224" y="4615"/>
                      <a:pt x="20224" y="9230"/>
                      <a:pt x="20224" y="11538"/>
                    </a:cubicBezTo>
                    <a:cubicBezTo>
                      <a:pt x="20224" y="16153"/>
                      <a:pt x="21573" y="18461"/>
                      <a:pt x="18876" y="18461"/>
                    </a:cubicBezTo>
                    <a:cubicBezTo>
                      <a:pt x="16179" y="16153"/>
                      <a:pt x="16179" y="9230"/>
                      <a:pt x="17528" y="6923"/>
                    </a:cubicBezTo>
                    <a:cubicBezTo>
                      <a:pt x="17528" y="6923"/>
                      <a:pt x="20224" y="0"/>
                      <a:pt x="18876" y="0"/>
                    </a:cubicBezTo>
                    <a:cubicBezTo>
                      <a:pt x="12134" y="2307"/>
                      <a:pt x="6741" y="4615"/>
                      <a:pt x="1348" y="9230"/>
                    </a:cubicBezTo>
                    <a:cubicBezTo>
                      <a:pt x="0" y="9230"/>
                      <a:pt x="1348" y="32307"/>
                      <a:pt x="1348" y="34615"/>
                    </a:cubicBezTo>
                    <a:cubicBezTo>
                      <a:pt x="1348" y="41538"/>
                      <a:pt x="1348" y="48461"/>
                      <a:pt x="1348" y="53076"/>
                    </a:cubicBezTo>
                    <a:cubicBezTo>
                      <a:pt x="1348" y="57692"/>
                      <a:pt x="0" y="60000"/>
                      <a:pt x="2696" y="60000"/>
                    </a:cubicBezTo>
                    <a:cubicBezTo>
                      <a:pt x="4044" y="60000"/>
                      <a:pt x="5393" y="60000"/>
                      <a:pt x="8089" y="60000"/>
                    </a:cubicBezTo>
                    <a:cubicBezTo>
                      <a:pt x="10786" y="60000"/>
                      <a:pt x="6741" y="55384"/>
                      <a:pt x="8089" y="53076"/>
                    </a:cubicBezTo>
                    <a:cubicBezTo>
                      <a:pt x="9438" y="48461"/>
                      <a:pt x="12134" y="50769"/>
                      <a:pt x="13483" y="46153"/>
                    </a:cubicBezTo>
                    <a:cubicBezTo>
                      <a:pt x="16179" y="43846"/>
                      <a:pt x="16179" y="43846"/>
                      <a:pt x="17528" y="41538"/>
                    </a:cubicBezTo>
                    <a:cubicBezTo>
                      <a:pt x="20224" y="39230"/>
                      <a:pt x="21573" y="41538"/>
                      <a:pt x="22921" y="43846"/>
                    </a:cubicBezTo>
                    <a:cubicBezTo>
                      <a:pt x="24269" y="46153"/>
                      <a:pt x="28314" y="46153"/>
                      <a:pt x="28314" y="46153"/>
                    </a:cubicBezTo>
                    <a:cubicBezTo>
                      <a:pt x="29662" y="50769"/>
                      <a:pt x="28314" y="53076"/>
                      <a:pt x="28314" y="55384"/>
                    </a:cubicBezTo>
                    <a:cubicBezTo>
                      <a:pt x="29662" y="62307"/>
                      <a:pt x="33707" y="62307"/>
                      <a:pt x="35056" y="62307"/>
                    </a:cubicBezTo>
                    <a:cubicBezTo>
                      <a:pt x="41797" y="62307"/>
                      <a:pt x="41797" y="69230"/>
                      <a:pt x="44494" y="78461"/>
                    </a:cubicBezTo>
                    <a:cubicBezTo>
                      <a:pt x="45842" y="80769"/>
                      <a:pt x="48539" y="83076"/>
                      <a:pt x="51235" y="85384"/>
                    </a:cubicBezTo>
                    <a:cubicBezTo>
                      <a:pt x="52584" y="85384"/>
                      <a:pt x="53932" y="87692"/>
                      <a:pt x="55280" y="90000"/>
                    </a:cubicBezTo>
                    <a:cubicBezTo>
                      <a:pt x="59325" y="94615"/>
                      <a:pt x="63370" y="101538"/>
                      <a:pt x="67415" y="103846"/>
                    </a:cubicBezTo>
                    <a:cubicBezTo>
                      <a:pt x="72808" y="106153"/>
                      <a:pt x="72808" y="106153"/>
                      <a:pt x="72808" y="113076"/>
                    </a:cubicBezTo>
                    <a:cubicBezTo>
                      <a:pt x="75505" y="113076"/>
                      <a:pt x="79550" y="117692"/>
                      <a:pt x="82247" y="120000"/>
                    </a:cubicBezTo>
                    <a:cubicBezTo>
                      <a:pt x="82247" y="113076"/>
                      <a:pt x="80898" y="113076"/>
                      <a:pt x="84943" y="108461"/>
                    </a:cubicBezTo>
                    <a:cubicBezTo>
                      <a:pt x="86292" y="103846"/>
                      <a:pt x="83595" y="101538"/>
                      <a:pt x="83595" y="96923"/>
                    </a:cubicBezTo>
                    <a:cubicBezTo>
                      <a:pt x="84943" y="90000"/>
                      <a:pt x="80898" y="92307"/>
                      <a:pt x="79550" y="87692"/>
                    </a:cubicBezTo>
                    <a:cubicBezTo>
                      <a:pt x="78202" y="83076"/>
                      <a:pt x="84943" y="85384"/>
                      <a:pt x="86292" y="83076"/>
                    </a:cubicBezTo>
                    <a:cubicBezTo>
                      <a:pt x="90337" y="80769"/>
                      <a:pt x="86292" y="73846"/>
                      <a:pt x="88988" y="76153"/>
                    </a:cubicBezTo>
                    <a:cubicBezTo>
                      <a:pt x="94382" y="76153"/>
                      <a:pt x="88988" y="69230"/>
                      <a:pt x="91685" y="69230"/>
                    </a:cubicBezTo>
                    <a:cubicBezTo>
                      <a:pt x="93033" y="66923"/>
                      <a:pt x="94382" y="71538"/>
                      <a:pt x="95730" y="69230"/>
                    </a:cubicBezTo>
                    <a:cubicBezTo>
                      <a:pt x="97078" y="69230"/>
                      <a:pt x="98426" y="66923"/>
                      <a:pt x="99775" y="66923"/>
                    </a:cubicBezTo>
                    <a:cubicBezTo>
                      <a:pt x="102471" y="66923"/>
                      <a:pt x="99775" y="76153"/>
                      <a:pt x="99775" y="78461"/>
                    </a:cubicBezTo>
                    <a:cubicBezTo>
                      <a:pt x="101123" y="78461"/>
                      <a:pt x="103820" y="71538"/>
                      <a:pt x="103820" y="78461"/>
                    </a:cubicBezTo>
                    <a:cubicBezTo>
                      <a:pt x="103820" y="78461"/>
                      <a:pt x="103820" y="73846"/>
                      <a:pt x="105168" y="73846"/>
                    </a:cubicBezTo>
                    <a:cubicBezTo>
                      <a:pt x="106516" y="73846"/>
                      <a:pt x="103820" y="73846"/>
                      <a:pt x="105168" y="7384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0" name="Shape 2571">
                <a:extLst>
                  <a:ext uri="{FF2B5EF4-FFF2-40B4-BE49-F238E27FC236}">
                    <a16:creationId xmlns:a16="http://schemas.microsoft.com/office/drawing/2014/main" id="{CEAF8CD5-A4F9-457B-9B8A-68F4A714443F}"/>
                  </a:ext>
                </a:extLst>
              </p:cNvPr>
              <p:cNvSpPr/>
              <p:nvPr/>
            </p:nvSpPr>
            <p:spPr>
              <a:xfrm>
                <a:off x="14362240" y="7783372"/>
                <a:ext cx="0" cy="8625"/>
              </a:xfrm>
              <a:custGeom>
                <a:avLst/>
                <a:gdLst/>
                <a:ahLst/>
                <a:cxnLst/>
                <a:rect l="0" t="0" r="0" b="0"/>
                <a:pathLst>
                  <a:path w="120000" h="120000" extrusionOk="0">
                    <a:moveTo>
                      <a:pt x="0" y="120000"/>
                    </a:moveTo>
                    <a:cubicBezTo>
                      <a:pt x="0" y="0"/>
                      <a:pt x="0" y="0"/>
                      <a:pt x="0" y="0"/>
                    </a:cubicBezTo>
                    <a:cubicBezTo>
                      <a:pt x="0" y="0"/>
                      <a:pt x="0" y="0"/>
                      <a:pt x="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1" name="Shape 2572">
                <a:extLst>
                  <a:ext uri="{FF2B5EF4-FFF2-40B4-BE49-F238E27FC236}">
                    <a16:creationId xmlns:a16="http://schemas.microsoft.com/office/drawing/2014/main" id="{E87A8270-480F-4587-8639-19970CCE7FDF}"/>
                  </a:ext>
                </a:extLst>
              </p:cNvPr>
              <p:cNvSpPr/>
              <p:nvPr/>
            </p:nvSpPr>
            <p:spPr>
              <a:xfrm>
                <a:off x="13974292" y="7447063"/>
                <a:ext cx="614965" cy="362177"/>
              </a:xfrm>
              <a:custGeom>
                <a:avLst/>
                <a:gdLst/>
                <a:ahLst/>
                <a:cxnLst/>
                <a:rect l="0" t="0" r="0" b="0"/>
                <a:pathLst>
                  <a:path w="120000" h="120000" extrusionOk="0">
                    <a:moveTo>
                      <a:pt x="119999" y="78139"/>
                    </a:moveTo>
                    <a:cubicBezTo>
                      <a:pt x="118356" y="75348"/>
                      <a:pt x="116712" y="75348"/>
                      <a:pt x="113424" y="75348"/>
                    </a:cubicBezTo>
                    <a:cubicBezTo>
                      <a:pt x="111780" y="72558"/>
                      <a:pt x="108493" y="69767"/>
                      <a:pt x="106849" y="66976"/>
                    </a:cubicBezTo>
                    <a:cubicBezTo>
                      <a:pt x="103561" y="64186"/>
                      <a:pt x="98630" y="61395"/>
                      <a:pt x="95342" y="55813"/>
                    </a:cubicBezTo>
                    <a:cubicBezTo>
                      <a:pt x="93698" y="50232"/>
                      <a:pt x="88767" y="50232"/>
                      <a:pt x="85479" y="44651"/>
                    </a:cubicBezTo>
                    <a:cubicBezTo>
                      <a:pt x="83835" y="36279"/>
                      <a:pt x="82191" y="25116"/>
                      <a:pt x="77260" y="25116"/>
                    </a:cubicBezTo>
                    <a:cubicBezTo>
                      <a:pt x="72328" y="25116"/>
                      <a:pt x="65753" y="25116"/>
                      <a:pt x="65753" y="13953"/>
                    </a:cubicBezTo>
                    <a:cubicBezTo>
                      <a:pt x="65753" y="11162"/>
                      <a:pt x="67397" y="5581"/>
                      <a:pt x="65753" y="5581"/>
                    </a:cubicBezTo>
                    <a:cubicBezTo>
                      <a:pt x="64109" y="2790"/>
                      <a:pt x="62465" y="5581"/>
                      <a:pt x="59178" y="2790"/>
                    </a:cubicBezTo>
                    <a:cubicBezTo>
                      <a:pt x="59178" y="2790"/>
                      <a:pt x="57534" y="0"/>
                      <a:pt x="55890" y="0"/>
                    </a:cubicBezTo>
                    <a:cubicBezTo>
                      <a:pt x="54246" y="0"/>
                      <a:pt x="52602" y="2790"/>
                      <a:pt x="50958" y="2790"/>
                    </a:cubicBezTo>
                    <a:cubicBezTo>
                      <a:pt x="49315" y="0"/>
                      <a:pt x="47671" y="8372"/>
                      <a:pt x="46027" y="8372"/>
                    </a:cubicBezTo>
                    <a:cubicBezTo>
                      <a:pt x="44383" y="8372"/>
                      <a:pt x="39452" y="11162"/>
                      <a:pt x="41095" y="16744"/>
                    </a:cubicBezTo>
                    <a:cubicBezTo>
                      <a:pt x="42739" y="25116"/>
                      <a:pt x="41095" y="22325"/>
                      <a:pt x="36164" y="22325"/>
                    </a:cubicBezTo>
                    <a:cubicBezTo>
                      <a:pt x="34520" y="22325"/>
                      <a:pt x="29589" y="22325"/>
                      <a:pt x="27945" y="22325"/>
                    </a:cubicBezTo>
                    <a:cubicBezTo>
                      <a:pt x="24657" y="16744"/>
                      <a:pt x="23013" y="11162"/>
                      <a:pt x="19726" y="5581"/>
                    </a:cubicBezTo>
                    <a:cubicBezTo>
                      <a:pt x="14794" y="0"/>
                      <a:pt x="8219" y="8372"/>
                      <a:pt x="3287" y="13953"/>
                    </a:cubicBezTo>
                    <a:cubicBezTo>
                      <a:pt x="4931" y="16744"/>
                      <a:pt x="9863" y="27906"/>
                      <a:pt x="8219" y="33488"/>
                    </a:cubicBezTo>
                    <a:cubicBezTo>
                      <a:pt x="0" y="41860"/>
                      <a:pt x="9863" y="41860"/>
                      <a:pt x="13150" y="47441"/>
                    </a:cubicBezTo>
                    <a:cubicBezTo>
                      <a:pt x="13150" y="47441"/>
                      <a:pt x="13150" y="53023"/>
                      <a:pt x="13150" y="53023"/>
                    </a:cubicBezTo>
                    <a:cubicBezTo>
                      <a:pt x="11506" y="55813"/>
                      <a:pt x="14794" y="61395"/>
                      <a:pt x="16438" y="61395"/>
                    </a:cubicBezTo>
                    <a:cubicBezTo>
                      <a:pt x="16438" y="64186"/>
                      <a:pt x="14794" y="66976"/>
                      <a:pt x="14794" y="72558"/>
                    </a:cubicBezTo>
                    <a:cubicBezTo>
                      <a:pt x="14794" y="75348"/>
                      <a:pt x="14794" y="80930"/>
                      <a:pt x="14794" y="86511"/>
                    </a:cubicBezTo>
                    <a:cubicBezTo>
                      <a:pt x="18082" y="86511"/>
                      <a:pt x="19726" y="86511"/>
                      <a:pt x="23013" y="80930"/>
                    </a:cubicBezTo>
                    <a:cubicBezTo>
                      <a:pt x="24657" y="78139"/>
                      <a:pt x="26301" y="75348"/>
                      <a:pt x="27945" y="72558"/>
                    </a:cubicBezTo>
                    <a:cubicBezTo>
                      <a:pt x="34520" y="72558"/>
                      <a:pt x="39452" y="69767"/>
                      <a:pt x="44383" y="75348"/>
                    </a:cubicBezTo>
                    <a:cubicBezTo>
                      <a:pt x="47671" y="83720"/>
                      <a:pt x="57534" y="78139"/>
                      <a:pt x="60821" y="86511"/>
                    </a:cubicBezTo>
                    <a:cubicBezTo>
                      <a:pt x="64109" y="94883"/>
                      <a:pt x="67397" y="97674"/>
                      <a:pt x="73972" y="97674"/>
                    </a:cubicBezTo>
                    <a:cubicBezTo>
                      <a:pt x="75616" y="97674"/>
                      <a:pt x="75616" y="97674"/>
                      <a:pt x="75616" y="103255"/>
                    </a:cubicBezTo>
                    <a:cubicBezTo>
                      <a:pt x="75616" y="111627"/>
                      <a:pt x="75616" y="111627"/>
                      <a:pt x="78904" y="117209"/>
                    </a:cubicBezTo>
                    <a:cubicBezTo>
                      <a:pt x="82191" y="117209"/>
                      <a:pt x="83835" y="120000"/>
                      <a:pt x="87123" y="120000"/>
                    </a:cubicBezTo>
                    <a:cubicBezTo>
                      <a:pt x="92054" y="120000"/>
                      <a:pt x="92054" y="117209"/>
                      <a:pt x="93698" y="111627"/>
                    </a:cubicBezTo>
                    <a:cubicBezTo>
                      <a:pt x="95342" y="106046"/>
                      <a:pt x="98630" y="108837"/>
                      <a:pt x="101917" y="106046"/>
                    </a:cubicBezTo>
                    <a:cubicBezTo>
                      <a:pt x="105205" y="103255"/>
                      <a:pt x="105205" y="97674"/>
                      <a:pt x="106849" y="92093"/>
                    </a:cubicBezTo>
                    <a:cubicBezTo>
                      <a:pt x="106849" y="86511"/>
                      <a:pt x="111780" y="92093"/>
                      <a:pt x="113424" y="86511"/>
                    </a:cubicBezTo>
                    <a:cubicBezTo>
                      <a:pt x="113424" y="80930"/>
                      <a:pt x="118356" y="86511"/>
                      <a:pt x="119999" y="86511"/>
                    </a:cubicBezTo>
                    <a:cubicBezTo>
                      <a:pt x="119999" y="83720"/>
                      <a:pt x="119999" y="80930"/>
                      <a:pt x="119999" y="7813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2" name="Shape 2573">
                <a:extLst>
                  <a:ext uri="{FF2B5EF4-FFF2-40B4-BE49-F238E27FC236}">
                    <a16:creationId xmlns:a16="http://schemas.microsoft.com/office/drawing/2014/main" id="{FE80D869-04E8-40D5-921E-ED636C695D03}"/>
                  </a:ext>
                </a:extLst>
              </p:cNvPr>
              <p:cNvSpPr/>
              <p:nvPr/>
            </p:nvSpPr>
            <p:spPr>
              <a:xfrm>
                <a:off x="14623744" y="7530422"/>
                <a:ext cx="336218" cy="227079"/>
              </a:xfrm>
              <a:custGeom>
                <a:avLst/>
                <a:gdLst/>
                <a:ahLst/>
                <a:cxnLst/>
                <a:rect l="0" t="0" r="0" b="0"/>
                <a:pathLst>
                  <a:path w="120000" h="120000" extrusionOk="0">
                    <a:moveTo>
                      <a:pt x="90000" y="44444"/>
                    </a:moveTo>
                    <a:cubicBezTo>
                      <a:pt x="84000" y="48888"/>
                      <a:pt x="81000" y="44444"/>
                      <a:pt x="75000" y="44444"/>
                    </a:cubicBezTo>
                    <a:cubicBezTo>
                      <a:pt x="69000" y="44444"/>
                      <a:pt x="66000" y="35555"/>
                      <a:pt x="63000" y="35555"/>
                    </a:cubicBezTo>
                    <a:cubicBezTo>
                      <a:pt x="60000" y="35555"/>
                      <a:pt x="60000" y="40000"/>
                      <a:pt x="57000" y="40000"/>
                    </a:cubicBezTo>
                    <a:cubicBezTo>
                      <a:pt x="57000" y="44444"/>
                      <a:pt x="54000" y="40000"/>
                      <a:pt x="51000" y="40000"/>
                    </a:cubicBezTo>
                    <a:cubicBezTo>
                      <a:pt x="45000" y="40000"/>
                      <a:pt x="36000" y="40000"/>
                      <a:pt x="30000" y="35555"/>
                    </a:cubicBezTo>
                    <a:cubicBezTo>
                      <a:pt x="27000" y="31111"/>
                      <a:pt x="36000" y="22222"/>
                      <a:pt x="36000" y="22222"/>
                    </a:cubicBezTo>
                    <a:cubicBezTo>
                      <a:pt x="42000" y="17777"/>
                      <a:pt x="45000" y="31111"/>
                      <a:pt x="48000" y="31111"/>
                    </a:cubicBezTo>
                    <a:cubicBezTo>
                      <a:pt x="54000" y="31111"/>
                      <a:pt x="57000" y="26666"/>
                      <a:pt x="57000" y="22222"/>
                    </a:cubicBezTo>
                    <a:cubicBezTo>
                      <a:pt x="54000" y="17777"/>
                      <a:pt x="51000" y="26666"/>
                      <a:pt x="48000" y="26666"/>
                    </a:cubicBezTo>
                    <a:cubicBezTo>
                      <a:pt x="45000" y="22222"/>
                      <a:pt x="51000" y="8888"/>
                      <a:pt x="48000" y="4444"/>
                    </a:cubicBezTo>
                    <a:cubicBezTo>
                      <a:pt x="48000" y="0"/>
                      <a:pt x="42000" y="8888"/>
                      <a:pt x="42000" y="8888"/>
                    </a:cubicBezTo>
                    <a:cubicBezTo>
                      <a:pt x="36000" y="13333"/>
                      <a:pt x="33000" y="4444"/>
                      <a:pt x="30000" y="8888"/>
                    </a:cubicBezTo>
                    <a:cubicBezTo>
                      <a:pt x="24000" y="8888"/>
                      <a:pt x="36000" y="22222"/>
                      <a:pt x="24000" y="22222"/>
                    </a:cubicBezTo>
                    <a:cubicBezTo>
                      <a:pt x="18000" y="17777"/>
                      <a:pt x="27000" y="35555"/>
                      <a:pt x="18000" y="35555"/>
                    </a:cubicBezTo>
                    <a:cubicBezTo>
                      <a:pt x="15000" y="40000"/>
                      <a:pt x="0" y="35555"/>
                      <a:pt x="3000" y="44444"/>
                    </a:cubicBezTo>
                    <a:cubicBezTo>
                      <a:pt x="6000" y="57777"/>
                      <a:pt x="15000" y="48888"/>
                      <a:pt x="12000" y="62222"/>
                    </a:cubicBezTo>
                    <a:cubicBezTo>
                      <a:pt x="12000" y="75555"/>
                      <a:pt x="21000" y="75555"/>
                      <a:pt x="12000" y="84444"/>
                    </a:cubicBezTo>
                    <a:cubicBezTo>
                      <a:pt x="9000" y="88888"/>
                      <a:pt x="3000" y="106666"/>
                      <a:pt x="12000" y="106666"/>
                    </a:cubicBezTo>
                    <a:cubicBezTo>
                      <a:pt x="18000" y="106666"/>
                      <a:pt x="24000" y="93333"/>
                      <a:pt x="27000" y="97777"/>
                    </a:cubicBezTo>
                    <a:cubicBezTo>
                      <a:pt x="36000" y="111111"/>
                      <a:pt x="27000" y="88888"/>
                      <a:pt x="36000" y="88888"/>
                    </a:cubicBezTo>
                    <a:cubicBezTo>
                      <a:pt x="42000" y="88888"/>
                      <a:pt x="45000" y="84444"/>
                      <a:pt x="51000" y="75555"/>
                    </a:cubicBezTo>
                    <a:cubicBezTo>
                      <a:pt x="54000" y="62222"/>
                      <a:pt x="57000" y="66666"/>
                      <a:pt x="60000" y="75555"/>
                    </a:cubicBezTo>
                    <a:cubicBezTo>
                      <a:pt x="63000" y="80000"/>
                      <a:pt x="66000" y="84444"/>
                      <a:pt x="66000" y="93333"/>
                    </a:cubicBezTo>
                    <a:cubicBezTo>
                      <a:pt x="66000" y="97777"/>
                      <a:pt x="63000" y="102222"/>
                      <a:pt x="63000" y="106666"/>
                    </a:cubicBezTo>
                    <a:cubicBezTo>
                      <a:pt x="66000" y="120000"/>
                      <a:pt x="78000" y="106666"/>
                      <a:pt x="81000" y="102222"/>
                    </a:cubicBezTo>
                    <a:cubicBezTo>
                      <a:pt x="84000" y="97777"/>
                      <a:pt x="93000" y="88888"/>
                      <a:pt x="96000" y="93333"/>
                    </a:cubicBezTo>
                    <a:cubicBezTo>
                      <a:pt x="102000" y="102222"/>
                      <a:pt x="108000" y="88888"/>
                      <a:pt x="117000" y="93333"/>
                    </a:cubicBezTo>
                    <a:cubicBezTo>
                      <a:pt x="120000" y="88888"/>
                      <a:pt x="114000" y="80000"/>
                      <a:pt x="114000" y="80000"/>
                    </a:cubicBezTo>
                    <a:cubicBezTo>
                      <a:pt x="111000" y="71111"/>
                      <a:pt x="114000" y="62222"/>
                      <a:pt x="108000" y="62222"/>
                    </a:cubicBezTo>
                    <a:cubicBezTo>
                      <a:pt x="99000" y="66666"/>
                      <a:pt x="93000" y="53333"/>
                      <a:pt x="96000" y="40000"/>
                    </a:cubicBezTo>
                    <a:cubicBezTo>
                      <a:pt x="96000" y="40000"/>
                      <a:pt x="93000" y="40000"/>
                      <a:pt x="90000" y="44444"/>
                    </a:cubicBezTo>
                    <a:cubicBezTo>
                      <a:pt x="87000" y="44444"/>
                      <a:pt x="93000" y="40000"/>
                      <a:pt x="90000" y="4444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3" name="Shape 2574">
                <a:extLst>
                  <a:ext uri="{FF2B5EF4-FFF2-40B4-BE49-F238E27FC236}">
                    <a16:creationId xmlns:a16="http://schemas.microsoft.com/office/drawing/2014/main" id="{8C88832E-C921-43A3-A87C-13A10C276641}"/>
                  </a:ext>
                </a:extLst>
              </p:cNvPr>
              <p:cNvSpPr/>
              <p:nvPr/>
            </p:nvSpPr>
            <p:spPr>
              <a:xfrm>
                <a:off x="14353620" y="7725884"/>
                <a:ext cx="698306" cy="623751"/>
              </a:xfrm>
              <a:custGeom>
                <a:avLst/>
                <a:gdLst/>
                <a:ahLst/>
                <a:cxnLst/>
                <a:rect l="0" t="0" r="0" b="0"/>
                <a:pathLst>
                  <a:path w="120000" h="120000" extrusionOk="0">
                    <a:moveTo>
                      <a:pt x="11566" y="82702"/>
                    </a:moveTo>
                    <a:cubicBezTo>
                      <a:pt x="11566" y="84324"/>
                      <a:pt x="11566" y="85945"/>
                      <a:pt x="13012" y="87567"/>
                    </a:cubicBezTo>
                    <a:cubicBezTo>
                      <a:pt x="14457" y="89189"/>
                      <a:pt x="15903" y="90810"/>
                      <a:pt x="15903" y="92432"/>
                    </a:cubicBezTo>
                    <a:cubicBezTo>
                      <a:pt x="15903" y="94054"/>
                      <a:pt x="8674" y="97297"/>
                      <a:pt x="7228" y="98918"/>
                    </a:cubicBezTo>
                    <a:cubicBezTo>
                      <a:pt x="5783" y="98918"/>
                      <a:pt x="4337" y="100540"/>
                      <a:pt x="4337" y="103783"/>
                    </a:cubicBezTo>
                    <a:cubicBezTo>
                      <a:pt x="4337" y="107027"/>
                      <a:pt x="4337" y="107027"/>
                      <a:pt x="8674" y="107027"/>
                    </a:cubicBezTo>
                    <a:cubicBezTo>
                      <a:pt x="11566" y="105405"/>
                      <a:pt x="15903" y="105405"/>
                      <a:pt x="18795" y="103783"/>
                    </a:cubicBezTo>
                    <a:cubicBezTo>
                      <a:pt x="21686" y="103783"/>
                      <a:pt x="24578" y="103783"/>
                      <a:pt x="27469" y="105405"/>
                    </a:cubicBezTo>
                    <a:cubicBezTo>
                      <a:pt x="28915" y="105405"/>
                      <a:pt x="31807" y="105405"/>
                      <a:pt x="33253" y="105405"/>
                    </a:cubicBezTo>
                    <a:cubicBezTo>
                      <a:pt x="36144" y="105405"/>
                      <a:pt x="37590" y="103783"/>
                      <a:pt x="40481" y="103783"/>
                    </a:cubicBezTo>
                    <a:cubicBezTo>
                      <a:pt x="41927" y="103783"/>
                      <a:pt x="41927" y="107027"/>
                      <a:pt x="41927" y="108648"/>
                    </a:cubicBezTo>
                    <a:cubicBezTo>
                      <a:pt x="43373" y="110270"/>
                      <a:pt x="44819" y="110270"/>
                      <a:pt x="46265" y="111891"/>
                    </a:cubicBezTo>
                    <a:cubicBezTo>
                      <a:pt x="46265" y="113513"/>
                      <a:pt x="47710" y="116756"/>
                      <a:pt x="47710" y="118378"/>
                    </a:cubicBezTo>
                    <a:cubicBezTo>
                      <a:pt x="50602" y="120000"/>
                      <a:pt x="49156" y="116756"/>
                      <a:pt x="49156" y="115135"/>
                    </a:cubicBezTo>
                    <a:cubicBezTo>
                      <a:pt x="50602" y="115135"/>
                      <a:pt x="52048" y="118378"/>
                      <a:pt x="52048" y="118378"/>
                    </a:cubicBezTo>
                    <a:cubicBezTo>
                      <a:pt x="54939" y="116756"/>
                      <a:pt x="57831" y="113513"/>
                      <a:pt x="62168" y="115135"/>
                    </a:cubicBezTo>
                    <a:cubicBezTo>
                      <a:pt x="63614" y="115135"/>
                      <a:pt x="65060" y="115135"/>
                      <a:pt x="66506" y="113513"/>
                    </a:cubicBezTo>
                    <a:cubicBezTo>
                      <a:pt x="67951" y="113513"/>
                      <a:pt x="70843" y="113513"/>
                      <a:pt x="72289" y="113513"/>
                    </a:cubicBezTo>
                    <a:cubicBezTo>
                      <a:pt x="73734" y="111891"/>
                      <a:pt x="70843" y="103783"/>
                      <a:pt x="69397" y="103783"/>
                    </a:cubicBezTo>
                    <a:cubicBezTo>
                      <a:pt x="67951" y="102162"/>
                      <a:pt x="66506" y="102162"/>
                      <a:pt x="66506" y="98918"/>
                    </a:cubicBezTo>
                    <a:cubicBezTo>
                      <a:pt x="66506" y="95675"/>
                      <a:pt x="65060" y="94054"/>
                      <a:pt x="63614" y="92432"/>
                    </a:cubicBezTo>
                    <a:cubicBezTo>
                      <a:pt x="59277" y="90810"/>
                      <a:pt x="65060" y="87567"/>
                      <a:pt x="66506" y="84324"/>
                    </a:cubicBezTo>
                    <a:cubicBezTo>
                      <a:pt x="67951" y="84324"/>
                      <a:pt x="67951" y="82702"/>
                      <a:pt x="70843" y="84324"/>
                    </a:cubicBezTo>
                    <a:cubicBezTo>
                      <a:pt x="73734" y="87567"/>
                      <a:pt x="72289" y="84324"/>
                      <a:pt x="75180" y="84324"/>
                    </a:cubicBezTo>
                    <a:cubicBezTo>
                      <a:pt x="80963" y="82702"/>
                      <a:pt x="79518" y="77837"/>
                      <a:pt x="82409" y="74594"/>
                    </a:cubicBezTo>
                    <a:cubicBezTo>
                      <a:pt x="83855" y="72972"/>
                      <a:pt x="86746" y="72972"/>
                      <a:pt x="86746" y="71351"/>
                    </a:cubicBezTo>
                    <a:cubicBezTo>
                      <a:pt x="88192" y="69729"/>
                      <a:pt x="89638" y="68108"/>
                      <a:pt x="89638" y="66486"/>
                    </a:cubicBezTo>
                    <a:cubicBezTo>
                      <a:pt x="89638" y="64864"/>
                      <a:pt x="92530" y="63243"/>
                      <a:pt x="93975" y="63243"/>
                    </a:cubicBezTo>
                    <a:cubicBezTo>
                      <a:pt x="95421" y="63243"/>
                      <a:pt x="95421" y="60000"/>
                      <a:pt x="95421" y="60000"/>
                    </a:cubicBezTo>
                    <a:cubicBezTo>
                      <a:pt x="95421" y="55135"/>
                      <a:pt x="101204" y="58378"/>
                      <a:pt x="99759" y="53513"/>
                    </a:cubicBezTo>
                    <a:cubicBezTo>
                      <a:pt x="99759" y="48648"/>
                      <a:pt x="98313" y="47027"/>
                      <a:pt x="102650" y="43783"/>
                    </a:cubicBezTo>
                    <a:cubicBezTo>
                      <a:pt x="104096" y="43783"/>
                      <a:pt x="96867" y="38918"/>
                      <a:pt x="95421" y="37297"/>
                    </a:cubicBezTo>
                    <a:cubicBezTo>
                      <a:pt x="93975" y="34054"/>
                      <a:pt x="95421" y="29189"/>
                      <a:pt x="93975" y="25945"/>
                    </a:cubicBezTo>
                    <a:cubicBezTo>
                      <a:pt x="93975" y="21081"/>
                      <a:pt x="98313" y="21081"/>
                      <a:pt x="101204" y="22702"/>
                    </a:cubicBezTo>
                    <a:cubicBezTo>
                      <a:pt x="102650" y="22702"/>
                      <a:pt x="105542" y="24324"/>
                      <a:pt x="106987" y="24324"/>
                    </a:cubicBezTo>
                    <a:cubicBezTo>
                      <a:pt x="109879" y="24324"/>
                      <a:pt x="109879" y="22702"/>
                      <a:pt x="111325" y="21081"/>
                    </a:cubicBezTo>
                    <a:cubicBezTo>
                      <a:pt x="115662" y="21081"/>
                      <a:pt x="117108" y="21081"/>
                      <a:pt x="119999" y="16216"/>
                    </a:cubicBezTo>
                    <a:cubicBezTo>
                      <a:pt x="115662" y="14594"/>
                      <a:pt x="111325" y="12972"/>
                      <a:pt x="109879" y="9729"/>
                    </a:cubicBezTo>
                    <a:cubicBezTo>
                      <a:pt x="108433" y="8108"/>
                      <a:pt x="108433" y="4864"/>
                      <a:pt x="106987" y="3243"/>
                    </a:cubicBezTo>
                    <a:cubicBezTo>
                      <a:pt x="105542" y="1621"/>
                      <a:pt x="104096" y="1621"/>
                      <a:pt x="102650" y="0"/>
                    </a:cubicBezTo>
                    <a:cubicBezTo>
                      <a:pt x="99759" y="0"/>
                      <a:pt x="95421" y="1621"/>
                      <a:pt x="93975" y="1621"/>
                    </a:cubicBezTo>
                    <a:cubicBezTo>
                      <a:pt x="88192" y="0"/>
                      <a:pt x="85301" y="3243"/>
                      <a:pt x="80963" y="6486"/>
                    </a:cubicBezTo>
                    <a:cubicBezTo>
                      <a:pt x="76626" y="8108"/>
                      <a:pt x="73734" y="8108"/>
                      <a:pt x="76626" y="12972"/>
                    </a:cubicBezTo>
                    <a:cubicBezTo>
                      <a:pt x="79518" y="16216"/>
                      <a:pt x="76626" y="19459"/>
                      <a:pt x="73734" y="21081"/>
                    </a:cubicBezTo>
                    <a:cubicBezTo>
                      <a:pt x="70843" y="24324"/>
                      <a:pt x="75180" y="30810"/>
                      <a:pt x="69397" y="29189"/>
                    </a:cubicBezTo>
                    <a:cubicBezTo>
                      <a:pt x="62168" y="29189"/>
                      <a:pt x="67951" y="30810"/>
                      <a:pt x="67951" y="34054"/>
                    </a:cubicBezTo>
                    <a:cubicBezTo>
                      <a:pt x="69397" y="35675"/>
                      <a:pt x="63614" y="37297"/>
                      <a:pt x="62168" y="38918"/>
                    </a:cubicBezTo>
                    <a:cubicBezTo>
                      <a:pt x="60722" y="42162"/>
                      <a:pt x="60722" y="48648"/>
                      <a:pt x="59277" y="48648"/>
                    </a:cubicBezTo>
                    <a:cubicBezTo>
                      <a:pt x="57831" y="50270"/>
                      <a:pt x="56385" y="48648"/>
                      <a:pt x="54939" y="48648"/>
                    </a:cubicBezTo>
                    <a:cubicBezTo>
                      <a:pt x="52048" y="48648"/>
                      <a:pt x="50602" y="50270"/>
                      <a:pt x="49156" y="51891"/>
                    </a:cubicBezTo>
                    <a:cubicBezTo>
                      <a:pt x="46265" y="53513"/>
                      <a:pt x="44819" y="51891"/>
                      <a:pt x="43373" y="53513"/>
                    </a:cubicBezTo>
                    <a:cubicBezTo>
                      <a:pt x="40481" y="55135"/>
                      <a:pt x="40481" y="56756"/>
                      <a:pt x="39036" y="60000"/>
                    </a:cubicBezTo>
                    <a:cubicBezTo>
                      <a:pt x="39036" y="64864"/>
                      <a:pt x="36144" y="66486"/>
                      <a:pt x="31807" y="68108"/>
                    </a:cubicBezTo>
                    <a:cubicBezTo>
                      <a:pt x="27469" y="69729"/>
                      <a:pt x="23132" y="69729"/>
                      <a:pt x="18795" y="69729"/>
                    </a:cubicBezTo>
                    <a:cubicBezTo>
                      <a:pt x="11566" y="69729"/>
                      <a:pt x="5783" y="68108"/>
                      <a:pt x="0" y="64864"/>
                    </a:cubicBezTo>
                    <a:cubicBezTo>
                      <a:pt x="1445" y="68108"/>
                      <a:pt x="2891" y="71351"/>
                      <a:pt x="4337" y="74594"/>
                    </a:cubicBezTo>
                    <a:cubicBezTo>
                      <a:pt x="5783" y="76216"/>
                      <a:pt x="11566" y="77837"/>
                      <a:pt x="11566" y="8270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4" name="Shape 2575">
                <a:extLst>
                  <a:ext uri="{FF2B5EF4-FFF2-40B4-BE49-F238E27FC236}">
                    <a16:creationId xmlns:a16="http://schemas.microsoft.com/office/drawing/2014/main" id="{DD960DE2-7D74-44DA-8EA8-92F36E9282C9}"/>
                  </a:ext>
                </a:extLst>
              </p:cNvPr>
              <p:cNvSpPr/>
              <p:nvPr/>
            </p:nvSpPr>
            <p:spPr>
              <a:xfrm>
                <a:off x="14319134" y="7648273"/>
                <a:ext cx="632209" cy="448408"/>
              </a:xfrm>
              <a:custGeom>
                <a:avLst/>
                <a:gdLst/>
                <a:ahLst/>
                <a:cxnLst/>
                <a:rect l="0" t="0" r="0" b="0"/>
                <a:pathLst>
                  <a:path w="120000" h="120000" extrusionOk="0">
                    <a:moveTo>
                      <a:pt x="115200" y="15849"/>
                    </a:moveTo>
                    <a:cubicBezTo>
                      <a:pt x="113600" y="15849"/>
                      <a:pt x="112000" y="20377"/>
                      <a:pt x="110400" y="18113"/>
                    </a:cubicBezTo>
                    <a:cubicBezTo>
                      <a:pt x="108800" y="18113"/>
                      <a:pt x="108800" y="13584"/>
                      <a:pt x="107200" y="15849"/>
                    </a:cubicBezTo>
                    <a:cubicBezTo>
                      <a:pt x="104000" y="15849"/>
                      <a:pt x="100800" y="20377"/>
                      <a:pt x="99200" y="22641"/>
                    </a:cubicBezTo>
                    <a:cubicBezTo>
                      <a:pt x="97600" y="22641"/>
                      <a:pt x="94400" y="27169"/>
                      <a:pt x="91200" y="24905"/>
                    </a:cubicBezTo>
                    <a:cubicBezTo>
                      <a:pt x="89600" y="22641"/>
                      <a:pt x="94400" y="13584"/>
                      <a:pt x="91200" y="9056"/>
                    </a:cubicBezTo>
                    <a:cubicBezTo>
                      <a:pt x="91200" y="9056"/>
                      <a:pt x="88000" y="0"/>
                      <a:pt x="86400" y="2264"/>
                    </a:cubicBezTo>
                    <a:cubicBezTo>
                      <a:pt x="84800" y="6792"/>
                      <a:pt x="83200" y="11320"/>
                      <a:pt x="80000" y="13584"/>
                    </a:cubicBezTo>
                    <a:cubicBezTo>
                      <a:pt x="76800" y="15849"/>
                      <a:pt x="75200" y="13584"/>
                      <a:pt x="75200" y="18113"/>
                    </a:cubicBezTo>
                    <a:cubicBezTo>
                      <a:pt x="73600" y="24905"/>
                      <a:pt x="72000" y="15849"/>
                      <a:pt x="70400" y="18113"/>
                    </a:cubicBezTo>
                    <a:cubicBezTo>
                      <a:pt x="67200" y="20377"/>
                      <a:pt x="65600" y="22641"/>
                      <a:pt x="62400" y="22641"/>
                    </a:cubicBezTo>
                    <a:cubicBezTo>
                      <a:pt x="59200" y="20377"/>
                      <a:pt x="56000" y="18113"/>
                      <a:pt x="54400" y="15849"/>
                    </a:cubicBezTo>
                    <a:cubicBezTo>
                      <a:pt x="52800" y="15849"/>
                      <a:pt x="44800" y="13584"/>
                      <a:pt x="44800" y="13584"/>
                    </a:cubicBezTo>
                    <a:cubicBezTo>
                      <a:pt x="43200" y="15849"/>
                      <a:pt x="44800" y="18113"/>
                      <a:pt x="43200" y="18113"/>
                    </a:cubicBezTo>
                    <a:cubicBezTo>
                      <a:pt x="41600" y="18113"/>
                      <a:pt x="38400" y="18113"/>
                      <a:pt x="38400" y="20377"/>
                    </a:cubicBezTo>
                    <a:cubicBezTo>
                      <a:pt x="36800" y="24905"/>
                      <a:pt x="36800" y="29433"/>
                      <a:pt x="33600" y="31698"/>
                    </a:cubicBezTo>
                    <a:cubicBezTo>
                      <a:pt x="28800" y="36226"/>
                      <a:pt x="27200" y="33962"/>
                      <a:pt x="24000" y="38490"/>
                    </a:cubicBezTo>
                    <a:cubicBezTo>
                      <a:pt x="22400" y="43018"/>
                      <a:pt x="19200" y="43018"/>
                      <a:pt x="17600" y="43018"/>
                    </a:cubicBezTo>
                    <a:cubicBezTo>
                      <a:pt x="16000" y="40754"/>
                      <a:pt x="8000" y="38490"/>
                      <a:pt x="8000" y="36226"/>
                    </a:cubicBezTo>
                    <a:cubicBezTo>
                      <a:pt x="8000" y="43018"/>
                      <a:pt x="8000" y="47547"/>
                      <a:pt x="6400" y="52075"/>
                    </a:cubicBezTo>
                    <a:cubicBezTo>
                      <a:pt x="3200" y="56603"/>
                      <a:pt x="0" y="61132"/>
                      <a:pt x="4800" y="65660"/>
                    </a:cubicBezTo>
                    <a:cubicBezTo>
                      <a:pt x="6400" y="67924"/>
                      <a:pt x="3200" y="70188"/>
                      <a:pt x="3200" y="74716"/>
                    </a:cubicBezTo>
                    <a:cubicBezTo>
                      <a:pt x="3200" y="76981"/>
                      <a:pt x="3200" y="81509"/>
                      <a:pt x="4800" y="83773"/>
                    </a:cubicBezTo>
                    <a:cubicBezTo>
                      <a:pt x="4800" y="88301"/>
                      <a:pt x="3200" y="90566"/>
                      <a:pt x="6400" y="90566"/>
                    </a:cubicBezTo>
                    <a:cubicBezTo>
                      <a:pt x="11200" y="92830"/>
                      <a:pt x="12800" y="90566"/>
                      <a:pt x="12800" y="97358"/>
                    </a:cubicBezTo>
                    <a:cubicBezTo>
                      <a:pt x="12800" y="101886"/>
                      <a:pt x="8000" y="108679"/>
                      <a:pt x="6400" y="110943"/>
                    </a:cubicBezTo>
                    <a:cubicBezTo>
                      <a:pt x="19200" y="120000"/>
                      <a:pt x="33600" y="117735"/>
                      <a:pt x="46400" y="113207"/>
                    </a:cubicBezTo>
                    <a:cubicBezTo>
                      <a:pt x="51200" y="110943"/>
                      <a:pt x="49600" y="101886"/>
                      <a:pt x="51200" y="97358"/>
                    </a:cubicBezTo>
                    <a:cubicBezTo>
                      <a:pt x="52800" y="92830"/>
                      <a:pt x="59200" y="95094"/>
                      <a:pt x="62400" y="90566"/>
                    </a:cubicBezTo>
                    <a:cubicBezTo>
                      <a:pt x="64000" y="90566"/>
                      <a:pt x="65600" y="88301"/>
                      <a:pt x="68800" y="88301"/>
                    </a:cubicBezTo>
                    <a:cubicBezTo>
                      <a:pt x="68800" y="88301"/>
                      <a:pt x="72000" y="90566"/>
                      <a:pt x="72000" y="88301"/>
                    </a:cubicBezTo>
                    <a:cubicBezTo>
                      <a:pt x="73600" y="83773"/>
                      <a:pt x="73600" y="79245"/>
                      <a:pt x="75200" y="74716"/>
                    </a:cubicBezTo>
                    <a:cubicBezTo>
                      <a:pt x="76800" y="72452"/>
                      <a:pt x="83200" y="70188"/>
                      <a:pt x="81600" y="67924"/>
                    </a:cubicBezTo>
                    <a:cubicBezTo>
                      <a:pt x="81600" y="65660"/>
                      <a:pt x="75200" y="61132"/>
                      <a:pt x="81600" y="61132"/>
                    </a:cubicBezTo>
                    <a:cubicBezTo>
                      <a:pt x="83200" y="61132"/>
                      <a:pt x="86400" y="63396"/>
                      <a:pt x="88000" y="58867"/>
                    </a:cubicBezTo>
                    <a:cubicBezTo>
                      <a:pt x="88000" y="56603"/>
                      <a:pt x="86400" y="54339"/>
                      <a:pt x="88000" y="52075"/>
                    </a:cubicBezTo>
                    <a:cubicBezTo>
                      <a:pt x="88000" y="47547"/>
                      <a:pt x="92800" y="47547"/>
                      <a:pt x="92800" y="43018"/>
                    </a:cubicBezTo>
                    <a:cubicBezTo>
                      <a:pt x="92800" y="38490"/>
                      <a:pt x="88000" y="36226"/>
                      <a:pt x="89600" y="31698"/>
                    </a:cubicBezTo>
                    <a:cubicBezTo>
                      <a:pt x="92800" y="29433"/>
                      <a:pt x="97600" y="27169"/>
                      <a:pt x="100800" y="24905"/>
                    </a:cubicBezTo>
                    <a:cubicBezTo>
                      <a:pt x="104000" y="20377"/>
                      <a:pt x="108800" y="22641"/>
                      <a:pt x="112000" y="22641"/>
                    </a:cubicBezTo>
                    <a:cubicBezTo>
                      <a:pt x="113600" y="22641"/>
                      <a:pt x="116800" y="22641"/>
                      <a:pt x="118400" y="20377"/>
                    </a:cubicBezTo>
                    <a:cubicBezTo>
                      <a:pt x="118400" y="20377"/>
                      <a:pt x="120000" y="18113"/>
                      <a:pt x="120000" y="15849"/>
                    </a:cubicBezTo>
                    <a:cubicBezTo>
                      <a:pt x="118400" y="15849"/>
                      <a:pt x="116800" y="15849"/>
                      <a:pt x="115200" y="15849"/>
                    </a:cubicBezTo>
                    <a:cubicBezTo>
                      <a:pt x="113600" y="18113"/>
                      <a:pt x="116800" y="15849"/>
                      <a:pt x="115200" y="1584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5" name="Shape 2576">
                <a:extLst>
                  <a:ext uri="{FF2B5EF4-FFF2-40B4-BE49-F238E27FC236}">
                    <a16:creationId xmlns:a16="http://schemas.microsoft.com/office/drawing/2014/main" id="{0E06303A-A892-42B8-B328-7086ED842FCE}"/>
                  </a:ext>
                </a:extLst>
              </p:cNvPr>
              <p:cNvSpPr/>
              <p:nvPr/>
            </p:nvSpPr>
            <p:spPr>
              <a:xfrm>
                <a:off x="14261661" y="7286096"/>
                <a:ext cx="22988" cy="34493"/>
              </a:xfrm>
              <a:custGeom>
                <a:avLst/>
                <a:gdLst/>
                <a:ahLst/>
                <a:cxnLst/>
                <a:rect l="0" t="0" r="0" b="0"/>
                <a:pathLst>
                  <a:path w="120000" h="120000" extrusionOk="0">
                    <a:moveTo>
                      <a:pt x="120000" y="60000"/>
                    </a:moveTo>
                    <a:cubicBezTo>
                      <a:pt x="80000" y="60000"/>
                      <a:pt x="40000" y="0"/>
                      <a:pt x="40000" y="30000"/>
                    </a:cubicBezTo>
                    <a:cubicBezTo>
                      <a:pt x="0" y="60000"/>
                      <a:pt x="80000" y="90000"/>
                      <a:pt x="120000" y="120000"/>
                    </a:cubicBezTo>
                    <a:cubicBezTo>
                      <a:pt x="120000" y="90000"/>
                      <a:pt x="120000" y="60000"/>
                      <a:pt x="120000" y="60000"/>
                    </a:cubicBezTo>
                    <a:cubicBezTo>
                      <a:pt x="80000" y="30000"/>
                      <a:pt x="120000" y="60000"/>
                      <a:pt x="12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6" name="Shape 2577">
                <a:extLst>
                  <a:ext uri="{FF2B5EF4-FFF2-40B4-BE49-F238E27FC236}">
                    <a16:creationId xmlns:a16="http://schemas.microsoft.com/office/drawing/2014/main" id="{53643F42-9D6E-463B-B2AA-FB785A7B92BF}"/>
                  </a:ext>
                </a:extLst>
              </p:cNvPr>
              <p:cNvSpPr/>
              <p:nvPr/>
            </p:nvSpPr>
            <p:spPr>
              <a:xfrm>
                <a:off x="13730030" y="6754328"/>
                <a:ext cx="1709838" cy="819212"/>
              </a:xfrm>
              <a:custGeom>
                <a:avLst/>
                <a:gdLst/>
                <a:ahLst/>
                <a:cxnLst/>
                <a:rect l="0" t="0" r="0" b="0"/>
                <a:pathLst>
                  <a:path w="120000" h="120000" extrusionOk="0">
                    <a:moveTo>
                      <a:pt x="118817" y="48247"/>
                    </a:moveTo>
                    <a:cubicBezTo>
                      <a:pt x="118817" y="47010"/>
                      <a:pt x="116453" y="48247"/>
                      <a:pt x="116453" y="48247"/>
                    </a:cubicBezTo>
                    <a:cubicBezTo>
                      <a:pt x="115270" y="48247"/>
                      <a:pt x="114679" y="47010"/>
                      <a:pt x="114679" y="45773"/>
                    </a:cubicBezTo>
                    <a:cubicBezTo>
                      <a:pt x="114088" y="43298"/>
                      <a:pt x="112906" y="43298"/>
                      <a:pt x="112906" y="42061"/>
                    </a:cubicBezTo>
                    <a:cubicBezTo>
                      <a:pt x="112315" y="40824"/>
                      <a:pt x="111724" y="37113"/>
                      <a:pt x="109950" y="37113"/>
                    </a:cubicBezTo>
                    <a:cubicBezTo>
                      <a:pt x="108177" y="37113"/>
                      <a:pt x="106403" y="40824"/>
                      <a:pt x="104630" y="38350"/>
                    </a:cubicBezTo>
                    <a:cubicBezTo>
                      <a:pt x="104039" y="37113"/>
                      <a:pt x="103448" y="35876"/>
                      <a:pt x="102857" y="34639"/>
                    </a:cubicBezTo>
                    <a:cubicBezTo>
                      <a:pt x="102266" y="34639"/>
                      <a:pt x="101083" y="38350"/>
                      <a:pt x="100492" y="38350"/>
                    </a:cubicBezTo>
                    <a:cubicBezTo>
                      <a:pt x="99901" y="39587"/>
                      <a:pt x="96354" y="25979"/>
                      <a:pt x="96354" y="23505"/>
                    </a:cubicBezTo>
                    <a:cubicBezTo>
                      <a:pt x="95172" y="21030"/>
                      <a:pt x="94581" y="17319"/>
                      <a:pt x="92807" y="16082"/>
                    </a:cubicBezTo>
                    <a:cubicBezTo>
                      <a:pt x="92216" y="14845"/>
                      <a:pt x="91625" y="13608"/>
                      <a:pt x="91034" y="13608"/>
                    </a:cubicBezTo>
                    <a:cubicBezTo>
                      <a:pt x="89852" y="12371"/>
                      <a:pt x="91034" y="9896"/>
                      <a:pt x="91034" y="8659"/>
                    </a:cubicBezTo>
                    <a:cubicBezTo>
                      <a:pt x="91034" y="7422"/>
                      <a:pt x="86896" y="12371"/>
                      <a:pt x="86305" y="13608"/>
                    </a:cubicBezTo>
                    <a:cubicBezTo>
                      <a:pt x="85714" y="13608"/>
                      <a:pt x="80985" y="17319"/>
                      <a:pt x="80985" y="16082"/>
                    </a:cubicBezTo>
                    <a:cubicBezTo>
                      <a:pt x="80985" y="13608"/>
                      <a:pt x="82167" y="12371"/>
                      <a:pt x="80985" y="12371"/>
                    </a:cubicBezTo>
                    <a:cubicBezTo>
                      <a:pt x="80394" y="11134"/>
                      <a:pt x="79802" y="9896"/>
                      <a:pt x="79211" y="11134"/>
                    </a:cubicBezTo>
                    <a:cubicBezTo>
                      <a:pt x="79211" y="11134"/>
                      <a:pt x="79211" y="12371"/>
                      <a:pt x="78620" y="11134"/>
                    </a:cubicBezTo>
                    <a:cubicBezTo>
                      <a:pt x="77438" y="9896"/>
                      <a:pt x="78029" y="8659"/>
                      <a:pt x="76256" y="9896"/>
                    </a:cubicBezTo>
                    <a:cubicBezTo>
                      <a:pt x="74482" y="12371"/>
                      <a:pt x="74482" y="8659"/>
                      <a:pt x="74482" y="6185"/>
                    </a:cubicBezTo>
                    <a:cubicBezTo>
                      <a:pt x="75073" y="1237"/>
                      <a:pt x="71527" y="0"/>
                      <a:pt x="69753" y="0"/>
                    </a:cubicBezTo>
                    <a:cubicBezTo>
                      <a:pt x="68571" y="0"/>
                      <a:pt x="67389" y="1237"/>
                      <a:pt x="66206" y="2474"/>
                    </a:cubicBezTo>
                    <a:cubicBezTo>
                      <a:pt x="65024" y="3711"/>
                      <a:pt x="63842" y="4948"/>
                      <a:pt x="62068" y="4948"/>
                    </a:cubicBezTo>
                    <a:cubicBezTo>
                      <a:pt x="57339" y="7422"/>
                      <a:pt x="52610" y="11134"/>
                      <a:pt x="47881" y="11134"/>
                    </a:cubicBezTo>
                    <a:cubicBezTo>
                      <a:pt x="46699" y="11134"/>
                      <a:pt x="45517" y="11134"/>
                      <a:pt x="44926" y="12371"/>
                    </a:cubicBezTo>
                    <a:cubicBezTo>
                      <a:pt x="44334" y="13608"/>
                      <a:pt x="45517" y="17319"/>
                      <a:pt x="46699" y="17319"/>
                    </a:cubicBezTo>
                    <a:cubicBezTo>
                      <a:pt x="49064" y="21030"/>
                      <a:pt x="44926" y="19793"/>
                      <a:pt x="43743" y="21030"/>
                    </a:cubicBezTo>
                    <a:cubicBezTo>
                      <a:pt x="42561" y="22268"/>
                      <a:pt x="44334" y="23505"/>
                      <a:pt x="44334" y="24742"/>
                    </a:cubicBezTo>
                    <a:cubicBezTo>
                      <a:pt x="44334" y="27216"/>
                      <a:pt x="41970" y="27216"/>
                      <a:pt x="41970" y="28453"/>
                    </a:cubicBezTo>
                    <a:cubicBezTo>
                      <a:pt x="41970" y="32164"/>
                      <a:pt x="46699" y="30927"/>
                      <a:pt x="46108" y="35876"/>
                    </a:cubicBezTo>
                    <a:cubicBezTo>
                      <a:pt x="45517" y="37113"/>
                      <a:pt x="44926" y="38350"/>
                      <a:pt x="43743" y="38350"/>
                    </a:cubicBezTo>
                    <a:cubicBezTo>
                      <a:pt x="43152" y="38350"/>
                      <a:pt x="41379" y="38350"/>
                      <a:pt x="40788" y="38350"/>
                    </a:cubicBezTo>
                    <a:cubicBezTo>
                      <a:pt x="39605" y="39587"/>
                      <a:pt x="40197" y="40824"/>
                      <a:pt x="39014" y="39587"/>
                    </a:cubicBezTo>
                    <a:cubicBezTo>
                      <a:pt x="37832" y="38350"/>
                      <a:pt x="36650" y="35876"/>
                      <a:pt x="35467" y="35876"/>
                    </a:cubicBezTo>
                    <a:cubicBezTo>
                      <a:pt x="34876" y="34639"/>
                      <a:pt x="33694" y="37113"/>
                      <a:pt x="33103" y="37113"/>
                    </a:cubicBezTo>
                    <a:cubicBezTo>
                      <a:pt x="31921" y="35876"/>
                      <a:pt x="31330" y="35876"/>
                      <a:pt x="30147" y="37113"/>
                    </a:cubicBezTo>
                    <a:cubicBezTo>
                      <a:pt x="29556" y="38350"/>
                      <a:pt x="28965" y="40824"/>
                      <a:pt x="28374" y="39587"/>
                    </a:cubicBezTo>
                    <a:cubicBezTo>
                      <a:pt x="27783" y="39587"/>
                      <a:pt x="26009" y="35876"/>
                      <a:pt x="25418" y="37113"/>
                    </a:cubicBezTo>
                    <a:cubicBezTo>
                      <a:pt x="24827" y="37113"/>
                      <a:pt x="24827" y="40824"/>
                      <a:pt x="24236" y="38350"/>
                    </a:cubicBezTo>
                    <a:cubicBezTo>
                      <a:pt x="23645" y="35876"/>
                      <a:pt x="23054" y="34639"/>
                      <a:pt x="21871" y="33402"/>
                    </a:cubicBezTo>
                    <a:cubicBezTo>
                      <a:pt x="20689" y="32164"/>
                      <a:pt x="19507" y="32164"/>
                      <a:pt x="18916" y="30927"/>
                    </a:cubicBezTo>
                    <a:cubicBezTo>
                      <a:pt x="17142" y="29690"/>
                      <a:pt x="17142" y="32164"/>
                      <a:pt x="15960" y="32164"/>
                    </a:cubicBezTo>
                    <a:cubicBezTo>
                      <a:pt x="14778" y="33402"/>
                      <a:pt x="14187" y="29690"/>
                      <a:pt x="13004" y="30927"/>
                    </a:cubicBezTo>
                    <a:cubicBezTo>
                      <a:pt x="12413" y="32164"/>
                      <a:pt x="12413" y="33402"/>
                      <a:pt x="11822" y="33402"/>
                    </a:cubicBezTo>
                    <a:cubicBezTo>
                      <a:pt x="11231" y="34639"/>
                      <a:pt x="10049" y="34639"/>
                      <a:pt x="9458" y="34639"/>
                    </a:cubicBezTo>
                    <a:cubicBezTo>
                      <a:pt x="8866" y="35876"/>
                      <a:pt x="7684" y="38350"/>
                      <a:pt x="7684" y="39587"/>
                    </a:cubicBezTo>
                    <a:cubicBezTo>
                      <a:pt x="7093" y="40824"/>
                      <a:pt x="8275" y="44536"/>
                      <a:pt x="7093" y="44536"/>
                    </a:cubicBezTo>
                    <a:cubicBezTo>
                      <a:pt x="5911" y="45773"/>
                      <a:pt x="4137" y="38350"/>
                      <a:pt x="3546" y="42061"/>
                    </a:cubicBezTo>
                    <a:cubicBezTo>
                      <a:pt x="2955" y="44536"/>
                      <a:pt x="2364" y="44536"/>
                      <a:pt x="1773" y="47010"/>
                    </a:cubicBezTo>
                    <a:cubicBezTo>
                      <a:pt x="1182" y="49484"/>
                      <a:pt x="3546" y="49484"/>
                      <a:pt x="2364" y="51958"/>
                    </a:cubicBezTo>
                    <a:cubicBezTo>
                      <a:pt x="1773" y="53195"/>
                      <a:pt x="0" y="55670"/>
                      <a:pt x="1182" y="56907"/>
                    </a:cubicBezTo>
                    <a:cubicBezTo>
                      <a:pt x="1773" y="56907"/>
                      <a:pt x="2364" y="58144"/>
                      <a:pt x="2364" y="58144"/>
                    </a:cubicBezTo>
                    <a:cubicBezTo>
                      <a:pt x="2955" y="59381"/>
                      <a:pt x="2364" y="60618"/>
                      <a:pt x="2955" y="61855"/>
                    </a:cubicBezTo>
                    <a:cubicBezTo>
                      <a:pt x="4137" y="63092"/>
                      <a:pt x="5320" y="60618"/>
                      <a:pt x="6502" y="63092"/>
                    </a:cubicBezTo>
                    <a:cubicBezTo>
                      <a:pt x="7093" y="64329"/>
                      <a:pt x="8275" y="68041"/>
                      <a:pt x="8275" y="70515"/>
                    </a:cubicBezTo>
                    <a:cubicBezTo>
                      <a:pt x="7684" y="70515"/>
                      <a:pt x="5911" y="69278"/>
                      <a:pt x="7684" y="71752"/>
                    </a:cubicBezTo>
                    <a:cubicBezTo>
                      <a:pt x="8275" y="72989"/>
                      <a:pt x="8275" y="74226"/>
                      <a:pt x="9458" y="71752"/>
                    </a:cubicBezTo>
                    <a:cubicBezTo>
                      <a:pt x="9458" y="70515"/>
                      <a:pt x="9458" y="70515"/>
                      <a:pt x="10049" y="70515"/>
                    </a:cubicBezTo>
                    <a:cubicBezTo>
                      <a:pt x="13004" y="70515"/>
                      <a:pt x="14187" y="66804"/>
                      <a:pt x="17142" y="69278"/>
                    </a:cubicBezTo>
                    <a:cubicBezTo>
                      <a:pt x="18325" y="70515"/>
                      <a:pt x="19507" y="66804"/>
                      <a:pt x="20098" y="69278"/>
                    </a:cubicBezTo>
                    <a:cubicBezTo>
                      <a:pt x="20689" y="70515"/>
                      <a:pt x="21871" y="75463"/>
                      <a:pt x="21280" y="77938"/>
                    </a:cubicBezTo>
                    <a:cubicBezTo>
                      <a:pt x="20689" y="77938"/>
                      <a:pt x="19507" y="79175"/>
                      <a:pt x="20689" y="79175"/>
                    </a:cubicBezTo>
                    <a:cubicBezTo>
                      <a:pt x="20689" y="80412"/>
                      <a:pt x="20689" y="80412"/>
                      <a:pt x="20689" y="80412"/>
                    </a:cubicBezTo>
                    <a:cubicBezTo>
                      <a:pt x="20098" y="81649"/>
                      <a:pt x="19507" y="81649"/>
                      <a:pt x="19507" y="81649"/>
                    </a:cubicBezTo>
                    <a:cubicBezTo>
                      <a:pt x="17733" y="81649"/>
                      <a:pt x="13004" y="79175"/>
                      <a:pt x="14187" y="85360"/>
                    </a:cubicBezTo>
                    <a:cubicBezTo>
                      <a:pt x="14778" y="87835"/>
                      <a:pt x="14187" y="87835"/>
                      <a:pt x="13004" y="86597"/>
                    </a:cubicBezTo>
                    <a:cubicBezTo>
                      <a:pt x="11822" y="85360"/>
                      <a:pt x="12413" y="87835"/>
                      <a:pt x="13004" y="89072"/>
                    </a:cubicBezTo>
                    <a:cubicBezTo>
                      <a:pt x="14187" y="89072"/>
                      <a:pt x="14187" y="92783"/>
                      <a:pt x="14778" y="94020"/>
                    </a:cubicBezTo>
                    <a:cubicBezTo>
                      <a:pt x="15960" y="95257"/>
                      <a:pt x="14187" y="97731"/>
                      <a:pt x="15960" y="97731"/>
                    </a:cubicBezTo>
                    <a:cubicBezTo>
                      <a:pt x="16551" y="97731"/>
                      <a:pt x="17733" y="100206"/>
                      <a:pt x="18325" y="101443"/>
                    </a:cubicBezTo>
                    <a:cubicBezTo>
                      <a:pt x="20098" y="101443"/>
                      <a:pt x="18325" y="105154"/>
                      <a:pt x="18325" y="107628"/>
                    </a:cubicBezTo>
                    <a:cubicBezTo>
                      <a:pt x="20098" y="105154"/>
                      <a:pt x="22463" y="101443"/>
                      <a:pt x="24827" y="105154"/>
                    </a:cubicBezTo>
                    <a:cubicBezTo>
                      <a:pt x="26009" y="107628"/>
                      <a:pt x="26600" y="111340"/>
                      <a:pt x="28374" y="111340"/>
                    </a:cubicBezTo>
                    <a:cubicBezTo>
                      <a:pt x="29556" y="111340"/>
                      <a:pt x="28965" y="108865"/>
                      <a:pt x="28965" y="107628"/>
                    </a:cubicBezTo>
                    <a:cubicBezTo>
                      <a:pt x="28965" y="103917"/>
                      <a:pt x="28965" y="100206"/>
                      <a:pt x="28965" y="96494"/>
                    </a:cubicBezTo>
                    <a:cubicBezTo>
                      <a:pt x="28965" y="94020"/>
                      <a:pt x="28374" y="84123"/>
                      <a:pt x="29556" y="84123"/>
                    </a:cubicBezTo>
                    <a:cubicBezTo>
                      <a:pt x="30738" y="82886"/>
                      <a:pt x="32512" y="81649"/>
                      <a:pt x="33694" y="80412"/>
                    </a:cubicBezTo>
                    <a:cubicBezTo>
                      <a:pt x="34876" y="80412"/>
                      <a:pt x="36059" y="79175"/>
                      <a:pt x="36650" y="79175"/>
                    </a:cubicBezTo>
                    <a:cubicBezTo>
                      <a:pt x="37241" y="77938"/>
                      <a:pt x="36650" y="75463"/>
                      <a:pt x="37832" y="76701"/>
                    </a:cubicBezTo>
                    <a:cubicBezTo>
                      <a:pt x="38423" y="76701"/>
                      <a:pt x="40197" y="79175"/>
                      <a:pt x="40197" y="76701"/>
                    </a:cubicBezTo>
                    <a:cubicBezTo>
                      <a:pt x="40197" y="75463"/>
                      <a:pt x="41379" y="74226"/>
                      <a:pt x="41970" y="76701"/>
                    </a:cubicBezTo>
                    <a:cubicBezTo>
                      <a:pt x="42561" y="77938"/>
                      <a:pt x="41970" y="79175"/>
                      <a:pt x="42561" y="81649"/>
                    </a:cubicBezTo>
                    <a:cubicBezTo>
                      <a:pt x="42561" y="82886"/>
                      <a:pt x="43152" y="85360"/>
                      <a:pt x="42561" y="86597"/>
                    </a:cubicBezTo>
                    <a:cubicBezTo>
                      <a:pt x="43152" y="87835"/>
                      <a:pt x="43743" y="87835"/>
                      <a:pt x="44334" y="89072"/>
                    </a:cubicBezTo>
                    <a:cubicBezTo>
                      <a:pt x="46108" y="92783"/>
                      <a:pt x="47290" y="95257"/>
                      <a:pt x="49655" y="94020"/>
                    </a:cubicBezTo>
                    <a:cubicBezTo>
                      <a:pt x="50837" y="94020"/>
                      <a:pt x="52019" y="95257"/>
                      <a:pt x="53201" y="95257"/>
                    </a:cubicBezTo>
                    <a:cubicBezTo>
                      <a:pt x="54384" y="95257"/>
                      <a:pt x="54975" y="92783"/>
                      <a:pt x="56157" y="92783"/>
                    </a:cubicBezTo>
                    <a:cubicBezTo>
                      <a:pt x="57339" y="94020"/>
                      <a:pt x="58522" y="97731"/>
                      <a:pt x="59113" y="100206"/>
                    </a:cubicBezTo>
                    <a:cubicBezTo>
                      <a:pt x="59704" y="101443"/>
                      <a:pt x="59113" y="102680"/>
                      <a:pt x="59113" y="105154"/>
                    </a:cubicBezTo>
                    <a:cubicBezTo>
                      <a:pt x="59113" y="107628"/>
                      <a:pt x="60886" y="108865"/>
                      <a:pt x="60886" y="111340"/>
                    </a:cubicBezTo>
                    <a:cubicBezTo>
                      <a:pt x="60886" y="112577"/>
                      <a:pt x="62660" y="112577"/>
                      <a:pt x="63251" y="112577"/>
                    </a:cubicBezTo>
                    <a:cubicBezTo>
                      <a:pt x="64433" y="112577"/>
                      <a:pt x="64433" y="112577"/>
                      <a:pt x="65024" y="115051"/>
                    </a:cubicBezTo>
                    <a:cubicBezTo>
                      <a:pt x="66206" y="120000"/>
                      <a:pt x="67389" y="113814"/>
                      <a:pt x="68571" y="111340"/>
                    </a:cubicBezTo>
                    <a:cubicBezTo>
                      <a:pt x="69162" y="107628"/>
                      <a:pt x="71527" y="107628"/>
                      <a:pt x="72709" y="105154"/>
                    </a:cubicBezTo>
                    <a:cubicBezTo>
                      <a:pt x="73891" y="105154"/>
                      <a:pt x="73891" y="105154"/>
                      <a:pt x="74482" y="103917"/>
                    </a:cubicBezTo>
                    <a:cubicBezTo>
                      <a:pt x="75073" y="100206"/>
                      <a:pt x="75665" y="101443"/>
                      <a:pt x="76847" y="101443"/>
                    </a:cubicBezTo>
                    <a:cubicBezTo>
                      <a:pt x="78029" y="101443"/>
                      <a:pt x="80394" y="105154"/>
                      <a:pt x="80985" y="102680"/>
                    </a:cubicBezTo>
                    <a:cubicBezTo>
                      <a:pt x="80985" y="100206"/>
                      <a:pt x="80985" y="98969"/>
                      <a:pt x="82167" y="97731"/>
                    </a:cubicBezTo>
                    <a:cubicBezTo>
                      <a:pt x="83349" y="96494"/>
                      <a:pt x="84532" y="98969"/>
                      <a:pt x="85714" y="98969"/>
                    </a:cubicBezTo>
                    <a:cubicBezTo>
                      <a:pt x="86896" y="100206"/>
                      <a:pt x="89261" y="100206"/>
                      <a:pt x="90443" y="100206"/>
                    </a:cubicBezTo>
                    <a:cubicBezTo>
                      <a:pt x="93990" y="100206"/>
                      <a:pt x="96945" y="102680"/>
                      <a:pt x="100492" y="103917"/>
                    </a:cubicBezTo>
                    <a:cubicBezTo>
                      <a:pt x="99901" y="101443"/>
                      <a:pt x="101083" y="100206"/>
                      <a:pt x="102266" y="97731"/>
                    </a:cubicBezTo>
                    <a:cubicBezTo>
                      <a:pt x="102857" y="96494"/>
                      <a:pt x="102266" y="96494"/>
                      <a:pt x="101674" y="94020"/>
                    </a:cubicBezTo>
                    <a:cubicBezTo>
                      <a:pt x="101083" y="92783"/>
                      <a:pt x="101083" y="90309"/>
                      <a:pt x="101083" y="87835"/>
                    </a:cubicBezTo>
                    <a:cubicBezTo>
                      <a:pt x="100492" y="87835"/>
                      <a:pt x="100492" y="82886"/>
                      <a:pt x="99901" y="84123"/>
                    </a:cubicBezTo>
                    <a:cubicBezTo>
                      <a:pt x="100492" y="82886"/>
                      <a:pt x="102266" y="82886"/>
                      <a:pt x="103448" y="81649"/>
                    </a:cubicBezTo>
                    <a:cubicBezTo>
                      <a:pt x="105221" y="81649"/>
                      <a:pt x="106403" y="84123"/>
                      <a:pt x="107586" y="81649"/>
                    </a:cubicBezTo>
                    <a:cubicBezTo>
                      <a:pt x="108177" y="81649"/>
                      <a:pt x="106995" y="80412"/>
                      <a:pt x="106995" y="79175"/>
                    </a:cubicBezTo>
                    <a:cubicBezTo>
                      <a:pt x="106403" y="77938"/>
                      <a:pt x="106995" y="75463"/>
                      <a:pt x="107586" y="74226"/>
                    </a:cubicBezTo>
                    <a:cubicBezTo>
                      <a:pt x="108177" y="72989"/>
                      <a:pt x="108768" y="65567"/>
                      <a:pt x="109359" y="66804"/>
                    </a:cubicBezTo>
                    <a:cubicBezTo>
                      <a:pt x="110541" y="68041"/>
                      <a:pt x="111133" y="69278"/>
                      <a:pt x="112315" y="69278"/>
                    </a:cubicBezTo>
                    <a:cubicBezTo>
                      <a:pt x="112906" y="68041"/>
                      <a:pt x="113497" y="70515"/>
                      <a:pt x="114088" y="69278"/>
                    </a:cubicBezTo>
                    <a:cubicBezTo>
                      <a:pt x="114679" y="69278"/>
                      <a:pt x="115862" y="68041"/>
                      <a:pt x="116453" y="66804"/>
                    </a:cubicBezTo>
                    <a:cubicBezTo>
                      <a:pt x="117044" y="65567"/>
                      <a:pt x="115862" y="63092"/>
                      <a:pt x="115862" y="60618"/>
                    </a:cubicBezTo>
                    <a:cubicBezTo>
                      <a:pt x="116453" y="56907"/>
                      <a:pt x="118226" y="58144"/>
                      <a:pt x="119408" y="54432"/>
                    </a:cubicBezTo>
                    <a:cubicBezTo>
                      <a:pt x="119408" y="53195"/>
                      <a:pt x="119408" y="53195"/>
                      <a:pt x="120000" y="51958"/>
                    </a:cubicBezTo>
                    <a:cubicBezTo>
                      <a:pt x="120000" y="50721"/>
                      <a:pt x="119408" y="49484"/>
                      <a:pt x="118817" y="48247"/>
                    </a:cubicBezTo>
                    <a:cubicBezTo>
                      <a:pt x="118817" y="47010"/>
                      <a:pt x="119408" y="48247"/>
                      <a:pt x="118817" y="48247"/>
                    </a:cubicBezTo>
                    <a:close/>
                    <a:moveTo>
                      <a:pt x="87487" y="71752"/>
                    </a:moveTo>
                    <a:cubicBezTo>
                      <a:pt x="86305" y="71752"/>
                      <a:pt x="84532" y="75463"/>
                      <a:pt x="83940" y="76701"/>
                    </a:cubicBezTo>
                    <a:cubicBezTo>
                      <a:pt x="83349" y="76701"/>
                      <a:pt x="82758" y="79175"/>
                      <a:pt x="82758" y="80412"/>
                    </a:cubicBezTo>
                    <a:cubicBezTo>
                      <a:pt x="82758" y="81649"/>
                      <a:pt x="83349" y="82886"/>
                      <a:pt x="83349" y="82886"/>
                    </a:cubicBezTo>
                    <a:cubicBezTo>
                      <a:pt x="82758" y="84123"/>
                      <a:pt x="81576" y="79175"/>
                      <a:pt x="81576" y="77938"/>
                    </a:cubicBezTo>
                    <a:cubicBezTo>
                      <a:pt x="81576" y="75463"/>
                      <a:pt x="82167" y="74226"/>
                      <a:pt x="83349" y="72989"/>
                    </a:cubicBezTo>
                    <a:cubicBezTo>
                      <a:pt x="84532" y="71752"/>
                      <a:pt x="85714" y="70515"/>
                      <a:pt x="86896" y="70515"/>
                    </a:cubicBezTo>
                    <a:cubicBezTo>
                      <a:pt x="86896" y="70515"/>
                      <a:pt x="89852" y="71752"/>
                      <a:pt x="89852" y="71752"/>
                    </a:cubicBezTo>
                    <a:cubicBezTo>
                      <a:pt x="89261" y="72989"/>
                      <a:pt x="87487" y="71752"/>
                      <a:pt x="87487" y="71752"/>
                    </a:cubicBezTo>
                    <a:cubicBezTo>
                      <a:pt x="86305" y="71752"/>
                      <a:pt x="88078" y="71752"/>
                      <a:pt x="87487" y="71752"/>
                    </a:cubicBezTo>
                    <a:close/>
                    <a:moveTo>
                      <a:pt x="97536" y="72989"/>
                    </a:moveTo>
                    <a:cubicBezTo>
                      <a:pt x="96945" y="75463"/>
                      <a:pt x="92807" y="74226"/>
                      <a:pt x="92216" y="71752"/>
                    </a:cubicBezTo>
                    <a:cubicBezTo>
                      <a:pt x="92216" y="71752"/>
                      <a:pt x="94581" y="71752"/>
                      <a:pt x="94581" y="71752"/>
                    </a:cubicBezTo>
                    <a:cubicBezTo>
                      <a:pt x="95763" y="71752"/>
                      <a:pt x="96354" y="71752"/>
                      <a:pt x="97536" y="70515"/>
                    </a:cubicBezTo>
                    <a:cubicBezTo>
                      <a:pt x="97536" y="70515"/>
                      <a:pt x="97536" y="72989"/>
                      <a:pt x="97536" y="72989"/>
                    </a:cubicBezTo>
                    <a:cubicBezTo>
                      <a:pt x="96945" y="74226"/>
                      <a:pt x="97536" y="71752"/>
                      <a:pt x="97536" y="7298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7" name="Shape 2578">
                <a:extLst>
                  <a:ext uri="{FF2B5EF4-FFF2-40B4-BE49-F238E27FC236}">
                    <a16:creationId xmlns:a16="http://schemas.microsoft.com/office/drawing/2014/main" id="{3CFFE924-973A-4665-BB76-39488AB14927}"/>
                  </a:ext>
                </a:extLst>
              </p:cNvPr>
              <p:cNvSpPr/>
              <p:nvPr/>
            </p:nvSpPr>
            <p:spPr>
              <a:xfrm>
                <a:off x="14655355" y="7774748"/>
                <a:ext cx="1181080" cy="1258997"/>
              </a:xfrm>
              <a:custGeom>
                <a:avLst/>
                <a:gdLst/>
                <a:ahLst/>
                <a:cxnLst/>
                <a:rect l="0" t="0" r="0" b="0"/>
                <a:pathLst>
                  <a:path w="120000" h="120000" extrusionOk="0">
                    <a:moveTo>
                      <a:pt x="100285" y="61208"/>
                    </a:moveTo>
                    <a:cubicBezTo>
                      <a:pt x="103714" y="62013"/>
                      <a:pt x="102000" y="58791"/>
                      <a:pt x="102857" y="57181"/>
                    </a:cubicBezTo>
                    <a:cubicBezTo>
                      <a:pt x="102857" y="55570"/>
                      <a:pt x="103714" y="53959"/>
                      <a:pt x="103714" y="53154"/>
                    </a:cubicBezTo>
                    <a:cubicBezTo>
                      <a:pt x="104571" y="52348"/>
                      <a:pt x="106285" y="53959"/>
                      <a:pt x="107142" y="52348"/>
                    </a:cubicBezTo>
                    <a:cubicBezTo>
                      <a:pt x="108000" y="50738"/>
                      <a:pt x="108000" y="49127"/>
                      <a:pt x="108000" y="47516"/>
                    </a:cubicBezTo>
                    <a:cubicBezTo>
                      <a:pt x="108857" y="45906"/>
                      <a:pt x="110571" y="45100"/>
                      <a:pt x="110571" y="43489"/>
                    </a:cubicBezTo>
                    <a:cubicBezTo>
                      <a:pt x="110571" y="41879"/>
                      <a:pt x="113142" y="40268"/>
                      <a:pt x="114000" y="39463"/>
                    </a:cubicBezTo>
                    <a:cubicBezTo>
                      <a:pt x="116571" y="37046"/>
                      <a:pt x="115714" y="39463"/>
                      <a:pt x="117428" y="40268"/>
                    </a:cubicBezTo>
                    <a:cubicBezTo>
                      <a:pt x="117428" y="40268"/>
                      <a:pt x="117428" y="37046"/>
                      <a:pt x="117428" y="37046"/>
                    </a:cubicBezTo>
                    <a:cubicBezTo>
                      <a:pt x="117428" y="36241"/>
                      <a:pt x="120000" y="36241"/>
                      <a:pt x="118285" y="34630"/>
                    </a:cubicBezTo>
                    <a:cubicBezTo>
                      <a:pt x="117428" y="34630"/>
                      <a:pt x="115714" y="34630"/>
                      <a:pt x="114857" y="34630"/>
                    </a:cubicBezTo>
                    <a:cubicBezTo>
                      <a:pt x="114857" y="33825"/>
                      <a:pt x="115714" y="33020"/>
                      <a:pt x="115714" y="33020"/>
                    </a:cubicBezTo>
                    <a:cubicBezTo>
                      <a:pt x="116571" y="32214"/>
                      <a:pt x="115714" y="31409"/>
                      <a:pt x="114857" y="30604"/>
                    </a:cubicBezTo>
                    <a:cubicBezTo>
                      <a:pt x="114000" y="29798"/>
                      <a:pt x="114000" y="29798"/>
                      <a:pt x="113142" y="30604"/>
                    </a:cubicBezTo>
                    <a:cubicBezTo>
                      <a:pt x="111428" y="31409"/>
                      <a:pt x="110571" y="30604"/>
                      <a:pt x="108857" y="29798"/>
                    </a:cubicBezTo>
                    <a:cubicBezTo>
                      <a:pt x="108000" y="29798"/>
                      <a:pt x="106285" y="31409"/>
                      <a:pt x="106285" y="32214"/>
                    </a:cubicBezTo>
                    <a:cubicBezTo>
                      <a:pt x="105428" y="33020"/>
                      <a:pt x="104571" y="32214"/>
                      <a:pt x="103714" y="33020"/>
                    </a:cubicBezTo>
                    <a:cubicBezTo>
                      <a:pt x="102857" y="33020"/>
                      <a:pt x="102000" y="33825"/>
                      <a:pt x="102000" y="34630"/>
                    </a:cubicBezTo>
                    <a:cubicBezTo>
                      <a:pt x="100285" y="36241"/>
                      <a:pt x="99428" y="37046"/>
                      <a:pt x="97714" y="36241"/>
                    </a:cubicBezTo>
                    <a:cubicBezTo>
                      <a:pt x="96857" y="37046"/>
                      <a:pt x="97714" y="38657"/>
                      <a:pt x="98571" y="39463"/>
                    </a:cubicBezTo>
                    <a:cubicBezTo>
                      <a:pt x="100285" y="42684"/>
                      <a:pt x="92571" y="40268"/>
                      <a:pt x="90857" y="41073"/>
                    </a:cubicBezTo>
                    <a:cubicBezTo>
                      <a:pt x="90000" y="41879"/>
                      <a:pt x="87428" y="41073"/>
                      <a:pt x="86571" y="40268"/>
                    </a:cubicBezTo>
                    <a:cubicBezTo>
                      <a:pt x="85714" y="39463"/>
                      <a:pt x="86571" y="37852"/>
                      <a:pt x="86571" y="37852"/>
                    </a:cubicBezTo>
                    <a:cubicBezTo>
                      <a:pt x="86571" y="37852"/>
                      <a:pt x="86571" y="35436"/>
                      <a:pt x="85714" y="36241"/>
                    </a:cubicBezTo>
                    <a:cubicBezTo>
                      <a:pt x="84000" y="36241"/>
                      <a:pt x="82285" y="36241"/>
                      <a:pt x="82285" y="38657"/>
                    </a:cubicBezTo>
                    <a:cubicBezTo>
                      <a:pt x="83142" y="39463"/>
                      <a:pt x="84000" y="41879"/>
                      <a:pt x="83142" y="41879"/>
                    </a:cubicBezTo>
                    <a:cubicBezTo>
                      <a:pt x="81428" y="41879"/>
                      <a:pt x="80571" y="43489"/>
                      <a:pt x="78857" y="41879"/>
                    </a:cubicBezTo>
                    <a:cubicBezTo>
                      <a:pt x="78000" y="40268"/>
                      <a:pt x="77142" y="42684"/>
                      <a:pt x="76285" y="41879"/>
                    </a:cubicBezTo>
                    <a:cubicBezTo>
                      <a:pt x="73714" y="41073"/>
                      <a:pt x="72857" y="41073"/>
                      <a:pt x="70285" y="40268"/>
                    </a:cubicBezTo>
                    <a:cubicBezTo>
                      <a:pt x="68571" y="39463"/>
                      <a:pt x="67714" y="37852"/>
                      <a:pt x="66000" y="37852"/>
                    </a:cubicBezTo>
                    <a:cubicBezTo>
                      <a:pt x="63428" y="38657"/>
                      <a:pt x="63428" y="37852"/>
                      <a:pt x="61714" y="37046"/>
                    </a:cubicBezTo>
                    <a:cubicBezTo>
                      <a:pt x="60000" y="36241"/>
                      <a:pt x="58285" y="37046"/>
                      <a:pt x="57428" y="36241"/>
                    </a:cubicBezTo>
                    <a:cubicBezTo>
                      <a:pt x="55714" y="34630"/>
                      <a:pt x="54000" y="33825"/>
                      <a:pt x="53142" y="33020"/>
                    </a:cubicBezTo>
                    <a:cubicBezTo>
                      <a:pt x="51428" y="32214"/>
                      <a:pt x="50571" y="32214"/>
                      <a:pt x="51428" y="30604"/>
                    </a:cubicBezTo>
                    <a:cubicBezTo>
                      <a:pt x="52285" y="29798"/>
                      <a:pt x="51428" y="28187"/>
                      <a:pt x="53142" y="27382"/>
                    </a:cubicBezTo>
                    <a:cubicBezTo>
                      <a:pt x="54857" y="26577"/>
                      <a:pt x="55714" y="27382"/>
                      <a:pt x="54000" y="25771"/>
                    </a:cubicBezTo>
                    <a:cubicBezTo>
                      <a:pt x="52285" y="24966"/>
                      <a:pt x="50571" y="23355"/>
                      <a:pt x="48857" y="22550"/>
                    </a:cubicBezTo>
                    <a:cubicBezTo>
                      <a:pt x="48000" y="22550"/>
                      <a:pt x="47142" y="20939"/>
                      <a:pt x="45428" y="20939"/>
                    </a:cubicBezTo>
                    <a:cubicBezTo>
                      <a:pt x="45428" y="20939"/>
                      <a:pt x="45428" y="18523"/>
                      <a:pt x="44571" y="17718"/>
                    </a:cubicBezTo>
                    <a:cubicBezTo>
                      <a:pt x="40285" y="13691"/>
                      <a:pt x="48857" y="18523"/>
                      <a:pt x="48857" y="15302"/>
                    </a:cubicBezTo>
                    <a:cubicBezTo>
                      <a:pt x="48857" y="13691"/>
                      <a:pt x="48000" y="13691"/>
                      <a:pt x="46285" y="12080"/>
                    </a:cubicBezTo>
                    <a:cubicBezTo>
                      <a:pt x="45428" y="11275"/>
                      <a:pt x="45428" y="10469"/>
                      <a:pt x="47142" y="9664"/>
                    </a:cubicBezTo>
                    <a:cubicBezTo>
                      <a:pt x="48857" y="9664"/>
                      <a:pt x="48000" y="7248"/>
                      <a:pt x="49714" y="6442"/>
                    </a:cubicBezTo>
                    <a:cubicBezTo>
                      <a:pt x="50571" y="5637"/>
                      <a:pt x="52285" y="4832"/>
                      <a:pt x="51428" y="3221"/>
                    </a:cubicBezTo>
                    <a:cubicBezTo>
                      <a:pt x="49714" y="805"/>
                      <a:pt x="45428" y="0"/>
                      <a:pt x="42857" y="1610"/>
                    </a:cubicBezTo>
                    <a:cubicBezTo>
                      <a:pt x="42000" y="2416"/>
                      <a:pt x="42000" y="2416"/>
                      <a:pt x="40285" y="3221"/>
                    </a:cubicBezTo>
                    <a:cubicBezTo>
                      <a:pt x="39428" y="3221"/>
                      <a:pt x="39428" y="4832"/>
                      <a:pt x="38571" y="5637"/>
                    </a:cubicBezTo>
                    <a:cubicBezTo>
                      <a:pt x="36857" y="6442"/>
                      <a:pt x="35142" y="5637"/>
                      <a:pt x="34285" y="6442"/>
                    </a:cubicBezTo>
                    <a:cubicBezTo>
                      <a:pt x="33428" y="7248"/>
                      <a:pt x="31714" y="7248"/>
                      <a:pt x="30000" y="6442"/>
                    </a:cubicBezTo>
                    <a:cubicBezTo>
                      <a:pt x="28285" y="6442"/>
                      <a:pt x="27428" y="5637"/>
                      <a:pt x="25714" y="6442"/>
                    </a:cubicBezTo>
                    <a:cubicBezTo>
                      <a:pt x="24000" y="6442"/>
                      <a:pt x="24857" y="8859"/>
                      <a:pt x="25714" y="9664"/>
                    </a:cubicBezTo>
                    <a:cubicBezTo>
                      <a:pt x="25714" y="11275"/>
                      <a:pt x="25714" y="12885"/>
                      <a:pt x="25714" y="13691"/>
                    </a:cubicBezTo>
                    <a:cubicBezTo>
                      <a:pt x="26571" y="15302"/>
                      <a:pt x="28285" y="15302"/>
                      <a:pt x="30000" y="16107"/>
                    </a:cubicBezTo>
                    <a:cubicBezTo>
                      <a:pt x="30857" y="17718"/>
                      <a:pt x="29142" y="17718"/>
                      <a:pt x="28285" y="17718"/>
                    </a:cubicBezTo>
                    <a:cubicBezTo>
                      <a:pt x="27428" y="19328"/>
                      <a:pt x="28285" y="20939"/>
                      <a:pt x="28285" y="22550"/>
                    </a:cubicBezTo>
                    <a:cubicBezTo>
                      <a:pt x="28285" y="23355"/>
                      <a:pt x="26571" y="23355"/>
                      <a:pt x="26571" y="23355"/>
                    </a:cubicBezTo>
                    <a:cubicBezTo>
                      <a:pt x="24857" y="24161"/>
                      <a:pt x="26571" y="26577"/>
                      <a:pt x="24857" y="26577"/>
                    </a:cubicBezTo>
                    <a:cubicBezTo>
                      <a:pt x="23142" y="27382"/>
                      <a:pt x="22285" y="28187"/>
                      <a:pt x="22285" y="28993"/>
                    </a:cubicBezTo>
                    <a:cubicBezTo>
                      <a:pt x="21428" y="30604"/>
                      <a:pt x="20571" y="30604"/>
                      <a:pt x="18857" y="31409"/>
                    </a:cubicBezTo>
                    <a:cubicBezTo>
                      <a:pt x="17142" y="32214"/>
                      <a:pt x="17142" y="34630"/>
                      <a:pt x="16285" y="35436"/>
                    </a:cubicBezTo>
                    <a:cubicBezTo>
                      <a:pt x="15428" y="37046"/>
                      <a:pt x="13714" y="36241"/>
                      <a:pt x="12857" y="37852"/>
                    </a:cubicBezTo>
                    <a:cubicBezTo>
                      <a:pt x="11142" y="38657"/>
                      <a:pt x="10285" y="35436"/>
                      <a:pt x="9428" y="37046"/>
                    </a:cubicBezTo>
                    <a:cubicBezTo>
                      <a:pt x="8571" y="37852"/>
                      <a:pt x="5142" y="39463"/>
                      <a:pt x="6000" y="40268"/>
                    </a:cubicBezTo>
                    <a:cubicBezTo>
                      <a:pt x="6000" y="41879"/>
                      <a:pt x="8571" y="41879"/>
                      <a:pt x="8571" y="43489"/>
                    </a:cubicBezTo>
                    <a:cubicBezTo>
                      <a:pt x="7714" y="45906"/>
                      <a:pt x="9428" y="45906"/>
                      <a:pt x="11142" y="46711"/>
                    </a:cubicBezTo>
                    <a:cubicBezTo>
                      <a:pt x="11142" y="48322"/>
                      <a:pt x="12000" y="49932"/>
                      <a:pt x="12000" y="51543"/>
                    </a:cubicBezTo>
                    <a:cubicBezTo>
                      <a:pt x="12000" y="51543"/>
                      <a:pt x="9428" y="51543"/>
                      <a:pt x="8571" y="51543"/>
                    </a:cubicBezTo>
                    <a:cubicBezTo>
                      <a:pt x="7714" y="51543"/>
                      <a:pt x="6857" y="52348"/>
                      <a:pt x="6000" y="52348"/>
                    </a:cubicBezTo>
                    <a:cubicBezTo>
                      <a:pt x="6000" y="52348"/>
                      <a:pt x="5142" y="51543"/>
                      <a:pt x="4285" y="51543"/>
                    </a:cubicBezTo>
                    <a:cubicBezTo>
                      <a:pt x="3428" y="51543"/>
                      <a:pt x="0" y="53154"/>
                      <a:pt x="0" y="53959"/>
                    </a:cubicBezTo>
                    <a:cubicBezTo>
                      <a:pt x="1714" y="55570"/>
                      <a:pt x="2571" y="56375"/>
                      <a:pt x="4285" y="57986"/>
                    </a:cubicBezTo>
                    <a:cubicBezTo>
                      <a:pt x="4285" y="57986"/>
                      <a:pt x="9428" y="57986"/>
                      <a:pt x="9428" y="57986"/>
                    </a:cubicBezTo>
                    <a:cubicBezTo>
                      <a:pt x="9428" y="58791"/>
                      <a:pt x="7714" y="59597"/>
                      <a:pt x="6857" y="59597"/>
                    </a:cubicBezTo>
                    <a:cubicBezTo>
                      <a:pt x="6000" y="60402"/>
                      <a:pt x="3428" y="58791"/>
                      <a:pt x="3428" y="60402"/>
                    </a:cubicBezTo>
                    <a:cubicBezTo>
                      <a:pt x="3428" y="62013"/>
                      <a:pt x="7714" y="64429"/>
                      <a:pt x="9428" y="66040"/>
                    </a:cubicBezTo>
                    <a:cubicBezTo>
                      <a:pt x="10285" y="66845"/>
                      <a:pt x="11142" y="66845"/>
                      <a:pt x="12857" y="66845"/>
                    </a:cubicBezTo>
                    <a:cubicBezTo>
                      <a:pt x="14571" y="66040"/>
                      <a:pt x="17142" y="65234"/>
                      <a:pt x="18000" y="63624"/>
                    </a:cubicBezTo>
                    <a:cubicBezTo>
                      <a:pt x="18000" y="63624"/>
                      <a:pt x="17142" y="62818"/>
                      <a:pt x="16285" y="62818"/>
                    </a:cubicBezTo>
                    <a:cubicBezTo>
                      <a:pt x="16285" y="62013"/>
                      <a:pt x="17142" y="62013"/>
                      <a:pt x="17142" y="62013"/>
                    </a:cubicBezTo>
                    <a:cubicBezTo>
                      <a:pt x="18000" y="61208"/>
                      <a:pt x="17142" y="60402"/>
                      <a:pt x="18000" y="60402"/>
                    </a:cubicBezTo>
                    <a:cubicBezTo>
                      <a:pt x="18000" y="60402"/>
                      <a:pt x="19714" y="60402"/>
                      <a:pt x="19714" y="60402"/>
                    </a:cubicBezTo>
                    <a:cubicBezTo>
                      <a:pt x="19714" y="61208"/>
                      <a:pt x="18000" y="61208"/>
                      <a:pt x="18857" y="62013"/>
                    </a:cubicBezTo>
                    <a:cubicBezTo>
                      <a:pt x="18857" y="62013"/>
                      <a:pt x="19714" y="62013"/>
                      <a:pt x="19714" y="62013"/>
                    </a:cubicBezTo>
                    <a:cubicBezTo>
                      <a:pt x="19714" y="62818"/>
                      <a:pt x="18857" y="62818"/>
                      <a:pt x="18857" y="62818"/>
                    </a:cubicBezTo>
                    <a:cubicBezTo>
                      <a:pt x="18000" y="62818"/>
                      <a:pt x="19714" y="62818"/>
                      <a:pt x="19714" y="62818"/>
                    </a:cubicBezTo>
                    <a:cubicBezTo>
                      <a:pt x="19714" y="63624"/>
                      <a:pt x="18857" y="63624"/>
                      <a:pt x="18857" y="64429"/>
                    </a:cubicBezTo>
                    <a:cubicBezTo>
                      <a:pt x="18000" y="64429"/>
                      <a:pt x="19714" y="65234"/>
                      <a:pt x="20571" y="66040"/>
                    </a:cubicBezTo>
                    <a:cubicBezTo>
                      <a:pt x="21428" y="66845"/>
                      <a:pt x="19714" y="68456"/>
                      <a:pt x="18857" y="70067"/>
                    </a:cubicBezTo>
                    <a:cubicBezTo>
                      <a:pt x="18857" y="70872"/>
                      <a:pt x="19714" y="71677"/>
                      <a:pt x="20571" y="72483"/>
                    </a:cubicBezTo>
                    <a:cubicBezTo>
                      <a:pt x="20571" y="74093"/>
                      <a:pt x="20571" y="74899"/>
                      <a:pt x="20571" y="76510"/>
                    </a:cubicBezTo>
                    <a:cubicBezTo>
                      <a:pt x="20571" y="78120"/>
                      <a:pt x="19714" y="80536"/>
                      <a:pt x="19714" y="81342"/>
                    </a:cubicBezTo>
                    <a:cubicBezTo>
                      <a:pt x="19714" y="81342"/>
                      <a:pt x="20571" y="79731"/>
                      <a:pt x="20571" y="79731"/>
                    </a:cubicBezTo>
                    <a:cubicBezTo>
                      <a:pt x="21428" y="80536"/>
                      <a:pt x="22285" y="85369"/>
                      <a:pt x="22285" y="86174"/>
                    </a:cubicBezTo>
                    <a:cubicBezTo>
                      <a:pt x="23142" y="87785"/>
                      <a:pt x="24857" y="90201"/>
                      <a:pt x="25714" y="92617"/>
                    </a:cubicBezTo>
                    <a:cubicBezTo>
                      <a:pt x="26571" y="95033"/>
                      <a:pt x="26571" y="97449"/>
                      <a:pt x="27428" y="99865"/>
                    </a:cubicBezTo>
                    <a:cubicBezTo>
                      <a:pt x="29142" y="103087"/>
                      <a:pt x="31714" y="105503"/>
                      <a:pt x="33428" y="107919"/>
                    </a:cubicBezTo>
                    <a:cubicBezTo>
                      <a:pt x="34285" y="110335"/>
                      <a:pt x="34285" y="112751"/>
                      <a:pt x="35142" y="115167"/>
                    </a:cubicBezTo>
                    <a:cubicBezTo>
                      <a:pt x="36857" y="117583"/>
                      <a:pt x="38571" y="120000"/>
                      <a:pt x="41142" y="117583"/>
                    </a:cubicBezTo>
                    <a:cubicBezTo>
                      <a:pt x="42857" y="116778"/>
                      <a:pt x="42857" y="115973"/>
                      <a:pt x="42857" y="115167"/>
                    </a:cubicBezTo>
                    <a:cubicBezTo>
                      <a:pt x="42857" y="113557"/>
                      <a:pt x="44571" y="112751"/>
                      <a:pt x="45428" y="111946"/>
                    </a:cubicBezTo>
                    <a:cubicBezTo>
                      <a:pt x="46285" y="111140"/>
                      <a:pt x="48000" y="111140"/>
                      <a:pt x="48857" y="110335"/>
                    </a:cubicBezTo>
                    <a:cubicBezTo>
                      <a:pt x="49714" y="109530"/>
                      <a:pt x="48857" y="107114"/>
                      <a:pt x="48857" y="106308"/>
                    </a:cubicBezTo>
                    <a:cubicBezTo>
                      <a:pt x="48000" y="103087"/>
                      <a:pt x="52285" y="100671"/>
                      <a:pt x="51428" y="98255"/>
                    </a:cubicBezTo>
                    <a:cubicBezTo>
                      <a:pt x="50571" y="95838"/>
                      <a:pt x="49714" y="93422"/>
                      <a:pt x="49714" y="91006"/>
                    </a:cubicBezTo>
                    <a:cubicBezTo>
                      <a:pt x="49714" y="87785"/>
                      <a:pt x="53142" y="86979"/>
                      <a:pt x="55714" y="86174"/>
                    </a:cubicBezTo>
                    <a:cubicBezTo>
                      <a:pt x="56571" y="85369"/>
                      <a:pt x="59142" y="85369"/>
                      <a:pt x="59142" y="84563"/>
                    </a:cubicBezTo>
                    <a:cubicBezTo>
                      <a:pt x="60000" y="82953"/>
                      <a:pt x="60857" y="82147"/>
                      <a:pt x="61714" y="81342"/>
                    </a:cubicBezTo>
                    <a:cubicBezTo>
                      <a:pt x="64285" y="78926"/>
                      <a:pt x="66857" y="76510"/>
                      <a:pt x="69428" y="74899"/>
                    </a:cubicBezTo>
                    <a:cubicBezTo>
                      <a:pt x="70285" y="74093"/>
                      <a:pt x="71142" y="72483"/>
                      <a:pt x="72000" y="71677"/>
                    </a:cubicBezTo>
                    <a:cubicBezTo>
                      <a:pt x="72857" y="70872"/>
                      <a:pt x="74571" y="70872"/>
                      <a:pt x="75428" y="70067"/>
                    </a:cubicBezTo>
                    <a:cubicBezTo>
                      <a:pt x="76285" y="69261"/>
                      <a:pt x="77142" y="68456"/>
                      <a:pt x="78000" y="67651"/>
                    </a:cubicBezTo>
                    <a:cubicBezTo>
                      <a:pt x="78857" y="66845"/>
                      <a:pt x="77142" y="66040"/>
                      <a:pt x="77142" y="65234"/>
                    </a:cubicBezTo>
                    <a:cubicBezTo>
                      <a:pt x="78000" y="63624"/>
                      <a:pt x="80571" y="63624"/>
                      <a:pt x="81428" y="62818"/>
                    </a:cubicBezTo>
                    <a:cubicBezTo>
                      <a:pt x="82285" y="62818"/>
                      <a:pt x="84000" y="60402"/>
                      <a:pt x="84000" y="59597"/>
                    </a:cubicBezTo>
                    <a:cubicBezTo>
                      <a:pt x="84000" y="61208"/>
                      <a:pt x="82285" y="61208"/>
                      <a:pt x="83142" y="62818"/>
                    </a:cubicBezTo>
                    <a:cubicBezTo>
                      <a:pt x="84857" y="63624"/>
                      <a:pt x="85714" y="61208"/>
                      <a:pt x="85714" y="61208"/>
                    </a:cubicBezTo>
                    <a:cubicBezTo>
                      <a:pt x="86571" y="62013"/>
                      <a:pt x="85714" y="62818"/>
                      <a:pt x="86571" y="62818"/>
                    </a:cubicBezTo>
                    <a:cubicBezTo>
                      <a:pt x="87428" y="60402"/>
                      <a:pt x="86571" y="57986"/>
                      <a:pt x="84857" y="55570"/>
                    </a:cubicBezTo>
                    <a:cubicBezTo>
                      <a:pt x="84000" y="53959"/>
                      <a:pt x="82285" y="52348"/>
                      <a:pt x="83142" y="49932"/>
                    </a:cubicBezTo>
                    <a:cubicBezTo>
                      <a:pt x="84000" y="47516"/>
                      <a:pt x="88285" y="49127"/>
                      <a:pt x="85714" y="46711"/>
                    </a:cubicBezTo>
                    <a:cubicBezTo>
                      <a:pt x="84857" y="45906"/>
                      <a:pt x="83142" y="45100"/>
                      <a:pt x="84000" y="43489"/>
                    </a:cubicBezTo>
                    <a:cubicBezTo>
                      <a:pt x="84857" y="42684"/>
                      <a:pt x="85714" y="43489"/>
                      <a:pt x="87428" y="44295"/>
                    </a:cubicBezTo>
                    <a:cubicBezTo>
                      <a:pt x="88285" y="45100"/>
                      <a:pt x="89142" y="44295"/>
                      <a:pt x="89142" y="45906"/>
                    </a:cubicBezTo>
                    <a:cubicBezTo>
                      <a:pt x="89142" y="46711"/>
                      <a:pt x="89142" y="47516"/>
                      <a:pt x="90857" y="48322"/>
                    </a:cubicBezTo>
                    <a:cubicBezTo>
                      <a:pt x="91714" y="48322"/>
                      <a:pt x="93428" y="48322"/>
                      <a:pt x="94285" y="48322"/>
                    </a:cubicBezTo>
                    <a:cubicBezTo>
                      <a:pt x="95142" y="48322"/>
                      <a:pt x="96857" y="49127"/>
                      <a:pt x="97714" y="48322"/>
                    </a:cubicBezTo>
                    <a:cubicBezTo>
                      <a:pt x="102000" y="47516"/>
                      <a:pt x="98571" y="52348"/>
                      <a:pt x="96857" y="53154"/>
                    </a:cubicBezTo>
                    <a:cubicBezTo>
                      <a:pt x="94285" y="53154"/>
                      <a:pt x="96000" y="56375"/>
                      <a:pt x="96000" y="57181"/>
                    </a:cubicBezTo>
                    <a:cubicBezTo>
                      <a:pt x="96857" y="57181"/>
                      <a:pt x="98571" y="53959"/>
                      <a:pt x="98571" y="54765"/>
                    </a:cubicBezTo>
                    <a:cubicBezTo>
                      <a:pt x="98571" y="57181"/>
                      <a:pt x="100285" y="59597"/>
                      <a:pt x="100285" y="6120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8" name="Shape 2579">
                <a:extLst>
                  <a:ext uri="{FF2B5EF4-FFF2-40B4-BE49-F238E27FC236}">
                    <a16:creationId xmlns:a16="http://schemas.microsoft.com/office/drawing/2014/main" id="{7E1D1CC3-4ACB-44D0-A2C6-FAAFACE47FF8}"/>
                  </a:ext>
                </a:extLst>
              </p:cNvPr>
              <p:cNvSpPr/>
              <p:nvPr/>
            </p:nvSpPr>
            <p:spPr>
              <a:xfrm>
                <a:off x="15626656" y="8122553"/>
                <a:ext cx="344839" cy="827834"/>
              </a:xfrm>
              <a:custGeom>
                <a:avLst/>
                <a:gdLst/>
                <a:ahLst/>
                <a:cxnLst/>
                <a:rect l="0" t="0" r="0" b="0"/>
                <a:pathLst>
                  <a:path w="120000" h="120000" extrusionOk="0">
                    <a:moveTo>
                      <a:pt x="114146" y="46530"/>
                    </a:moveTo>
                    <a:cubicBezTo>
                      <a:pt x="111219" y="46530"/>
                      <a:pt x="108292" y="47755"/>
                      <a:pt x="108292" y="45306"/>
                    </a:cubicBezTo>
                    <a:cubicBezTo>
                      <a:pt x="108292" y="45306"/>
                      <a:pt x="108292" y="44081"/>
                      <a:pt x="108292" y="44081"/>
                    </a:cubicBezTo>
                    <a:cubicBezTo>
                      <a:pt x="108292" y="42857"/>
                      <a:pt x="99512" y="42857"/>
                      <a:pt x="99512" y="42857"/>
                    </a:cubicBezTo>
                    <a:cubicBezTo>
                      <a:pt x="96585" y="41632"/>
                      <a:pt x="99512" y="39183"/>
                      <a:pt x="99512" y="37959"/>
                    </a:cubicBezTo>
                    <a:cubicBezTo>
                      <a:pt x="102439" y="35510"/>
                      <a:pt x="93658" y="36734"/>
                      <a:pt x="90731" y="35510"/>
                    </a:cubicBezTo>
                    <a:cubicBezTo>
                      <a:pt x="90731" y="34285"/>
                      <a:pt x="87804" y="34285"/>
                      <a:pt x="87804" y="33061"/>
                    </a:cubicBezTo>
                    <a:cubicBezTo>
                      <a:pt x="87804" y="31836"/>
                      <a:pt x="93658" y="30612"/>
                      <a:pt x="93658" y="30612"/>
                    </a:cubicBezTo>
                    <a:cubicBezTo>
                      <a:pt x="90731" y="28163"/>
                      <a:pt x="73170" y="31836"/>
                      <a:pt x="70243" y="30612"/>
                    </a:cubicBezTo>
                    <a:cubicBezTo>
                      <a:pt x="70243" y="30612"/>
                      <a:pt x="73170" y="28163"/>
                      <a:pt x="73170" y="26938"/>
                    </a:cubicBezTo>
                    <a:cubicBezTo>
                      <a:pt x="70243" y="25714"/>
                      <a:pt x="79024" y="23265"/>
                      <a:pt x="79024" y="22040"/>
                    </a:cubicBezTo>
                    <a:cubicBezTo>
                      <a:pt x="84878" y="18367"/>
                      <a:pt x="90731" y="15918"/>
                      <a:pt x="87804" y="12244"/>
                    </a:cubicBezTo>
                    <a:cubicBezTo>
                      <a:pt x="87804" y="11020"/>
                      <a:pt x="90731" y="9795"/>
                      <a:pt x="90731" y="8571"/>
                    </a:cubicBezTo>
                    <a:cubicBezTo>
                      <a:pt x="90731" y="6122"/>
                      <a:pt x="84878" y="8571"/>
                      <a:pt x="81951" y="7346"/>
                    </a:cubicBezTo>
                    <a:cubicBezTo>
                      <a:pt x="81951" y="4897"/>
                      <a:pt x="79024" y="3673"/>
                      <a:pt x="79024" y="2448"/>
                    </a:cubicBezTo>
                    <a:cubicBezTo>
                      <a:pt x="73170" y="0"/>
                      <a:pt x="73170" y="3673"/>
                      <a:pt x="67317" y="2448"/>
                    </a:cubicBezTo>
                    <a:cubicBezTo>
                      <a:pt x="70243" y="4897"/>
                      <a:pt x="64390" y="4897"/>
                      <a:pt x="64390" y="6122"/>
                    </a:cubicBezTo>
                    <a:cubicBezTo>
                      <a:pt x="64390" y="6122"/>
                      <a:pt x="64390" y="11020"/>
                      <a:pt x="64390" y="11020"/>
                    </a:cubicBezTo>
                    <a:cubicBezTo>
                      <a:pt x="61463" y="11020"/>
                      <a:pt x="61463" y="8571"/>
                      <a:pt x="61463" y="8571"/>
                    </a:cubicBezTo>
                    <a:cubicBezTo>
                      <a:pt x="55609" y="8571"/>
                      <a:pt x="52682" y="9795"/>
                      <a:pt x="52682" y="11020"/>
                    </a:cubicBezTo>
                    <a:cubicBezTo>
                      <a:pt x="49756" y="12244"/>
                      <a:pt x="43902" y="12244"/>
                      <a:pt x="40975" y="13469"/>
                    </a:cubicBezTo>
                    <a:cubicBezTo>
                      <a:pt x="38048" y="14693"/>
                      <a:pt x="40975" y="17142"/>
                      <a:pt x="38048" y="18367"/>
                    </a:cubicBezTo>
                    <a:cubicBezTo>
                      <a:pt x="38048" y="19591"/>
                      <a:pt x="35121" y="20816"/>
                      <a:pt x="32195" y="22040"/>
                    </a:cubicBezTo>
                    <a:cubicBezTo>
                      <a:pt x="32195" y="23265"/>
                      <a:pt x="32195" y="24489"/>
                      <a:pt x="32195" y="25714"/>
                    </a:cubicBezTo>
                    <a:cubicBezTo>
                      <a:pt x="32195" y="28163"/>
                      <a:pt x="29268" y="30612"/>
                      <a:pt x="26341" y="30612"/>
                    </a:cubicBezTo>
                    <a:cubicBezTo>
                      <a:pt x="23414" y="30612"/>
                      <a:pt x="20487" y="30612"/>
                      <a:pt x="17560" y="30612"/>
                    </a:cubicBezTo>
                    <a:cubicBezTo>
                      <a:pt x="14634" y="33061"/>
                      <a:pt x="17560" y="42857"/>
                      <a:pt x="11707" y="42857"/>
                    </a:cubicBezTo>
                    <a:cubicBezTo>
                      <a:pt x="11707" y="42857"/>
                      <a:pt x="5853" y="42857"/>
                      <a:pt x="5853" y="42857"/>
                    </a:cubicBezTo>
                    <a:cubicBezTo>
                      <a:pt x="5853" y="44081"/>
                      <a:pt x="5853" y="45306"/>
                      <a:pt x="5853" y="45306"/>
                    </a:cubicBezTo>
                    <a:cubicBezTo>
                      <a:pt x="5853" y="46530"/>
                      <a:pt x="2926" y="47755"/>
                      <a:pt x="0" y="48979"/>
                    </a:cubicBezTo>
                    <a:cubicBezTo>
                      <a:pt x="0" y="50204"/>
                      <a:pt x="11707" y="56326"/>
                      <a:pt x="14634" y="57551"/>
                    </a:cubicBezTo>
                    <a:cubicBezTo>
                      <a:pt x="14634" y="57551"/>
                      <a:pt x="11707" y="53877"/>
                      <a:pt x="11707" y="53877"/>
                    </a:cubicBezTo>
                    <a:cubicBezTo>
                      <a:pt x="11707" y="53877"/>
                      <a:pt x="20487" y="58775"/>
                      <a:pt x="20487" y="58775"/>
                    </a:cubicBezTo>
                    <a:cubicBezTo>
                      <a:pt x="23414" y="61224"/>
                      <a:pt x="17560" y="61224"/>
                      <a:pt x="20487" y="63673"/>
                    </a:cubicBezTo>
                    <a:cubicBezTo>
                      <a:pt x="17560" y="62448"/>
                      <a:pt x="23414" y="62448"/>
                      <a:pt x="26341" y="63673"/>
                    </a:cubicBezTo>
                    <a:cubicBezTo>
                      <a:pt x="29268" y="66122"/>
                      <a:pt x="32195" y="68571"/>
                      <a:pt x="32195" y="71020"/>
                    </a:cubicBezTo>
                    <a:cubicBezTo>
                      <a:pt x="32195" y="71020"/>
                      <a:pt x="29268" y="82040"/>
                      <a:pt x="29268" y="82040"/>
                    </a:cubicBezTo>
                    <a:cubicBezTo>
                      <a:pt x="32195" y="82040"/>
                      <a:pt x="32195" y="78367"/>
                      <a:pt x="32195" y="78367"/>
                    </a:cubicBezTo>
                    <a:cubicBezTo>
                      <a:pt x="32195" y="78367"/>
                      <a:pt x="32195" y="82040"/>
                      <a:pt x="32195" y="82040"/>
                    </a:cubicBezTo>
                    <a:cubicBezTo>
                      <a:pt x="32195" y="82040"/>
                      <a:pt x="35121" y="80816"/>
                      <a:pt x="35121" y="80816"/>
                    </a:cubicBezTo>
                    <a:cubicBezTo>
                      <a:pt x="35121" y="80816"/>
                      <a:pt x="35121" y="83265"/>
                      <a:pt x="35121" y="83265"/>
                    </a:cubicBezTo>
                    <a:cubicBezTo>
                      <a:pt x="38048" y="83265"/>
                      <a:pt x="38048" y="80816"/>
                      <a:pt x="40975" y="80816"/>
                    </a:cubicBezTo>
                    <a:cubicBezTo>
                      <a:pt x="40975" y="80816"/>
                      <a:pt x="40975" y="82040"/>
                      <a:pt x="40975" y="82040"/>
                    </a:cubicBezTo>
                    <a:cubicBezTo>
                      <a:pt x="40975" y="82040"/>
                      <a:pt x="49756" y="80816"/>
                      <a:pt x="49756" y="79591"/>
                    </a:cubicBezTo>
                    <a:cubicBezTo>
                      <a:pt x="52682" y="79591"/>
                      <a:pt x="67317" y="75918"/>
                      <a:pt x="61463" y="74693"/>
                    </a:cubicBezTo>
                    <a:cubicBezTo>
                      <a:pt x="64390" y="74693"/>
                      <a:pt x="61463" y="77142"/>
                      <a:pt x="64390" y="78367"/>
                    </a:cubicBezTo>
                    <a:cubicBezTo>
                      <a:pt x="67317" y="78367"/>
                      <a:pt x="70243" y="78367"/>
                      <a:pt x="70243" y="79591"/>
                    </a:cubicBezTo>
                    <a:cubicBezTo>
                      <a:pt x="73170" y="82040"/>
                      <a:pt x="73170" y="85714"/>
                      <a:pt x="73170" y="88163"/>
                    </a:cubicBezTo>
                    <a:cubicBezTo>
                      <a:pt x="76097" y="91836"/>
                      <a:pt x="76097" y="94285"/>
                      <a:pt x="81951" y="96734"/>
                    </a:cubicBezTo>
                    <a:cubicBezTo>
                      <a:pt x="81951" y="96734"/>
                      <a:pt x="84878" y="97959"/>
                      <a:pt x="84878" y="97959"/>
                    </a:cubicBezTo>
                    <a:cubicBezTo>
                      <a:pt x="84878" y="100408"/>
                      <a:pt x="87804" y="100408"/>
                      <a:pt x="87804" y="100408"/>
                    </a:cubicBezTo>
                    <a:cubicBezTo>
                      <a:pt x="90731" y="101632"/>
                      <a:pt x="84878" y="104081"/>
                      <a:pt x="87804" y="104081"/>
                    </a:cubicBezTo>
                    <a:cubicBezTo>
                      <a:pt x="87804" y="104081"/>
                      <a:pt x="87804" y="104081"/>
                      <a:pt x="90731" y="104081"/>
                    </a:cubicBezTo>
                    <a:cubicBezTo>
                      <a:pt x="90731" y="105306"/>
                      <a:pt x="84878" y="106530"/>
                      <a:pt x="84878" y="107755"/>
                    </a:cubicBezTo>
                    <a:cubicBezTo>
                      <a:pt x="84878" y="110204"/>
                      <a:pt x="87804" y="107755"/>
                      <a:pt x="90731" y="108979"/>
                    </a:cubicBezTo>
                    <a:cubicBezTo>
                      <a:pt x="90731" y="108979"/>
                      <a:pt x="84878" y="118775"/>
                      <a:pt x="84878" y="119999"/>
                    </a:cubicBezTo>
                    <a:cubicBezTo>
                      <a:pt x="90731" y="117551"/>
                      <a:pt x="93658" y="112653"/>
                      <a:pt x="96585" y="110204"/>
                    </a:cubicBezTo>
                    <a:cubicBezTo>
                      <a:pt x="99512" y="107755"/>
                      <a:pt x="102439" y="106530"/>
                      <a:pt x="99512" y="104081"/>
                    </a:cubicBezTo>
                    <a:cubicBezTo>
                      <a:pt x="96585" y="101632"/>
                      <a:pt x="96585" y="100408"/>
                      <a:pt x="96585" y="97959"/>
                    </a:cubicBezTo>
                    <a:cubicBezTo>
                      <a:pt x="93658" y="95510"/>
                      <a:pt x="79024" y="90612"/>
                      <a:pt x="81951" y="86938"/>
                    </a:cubicBezTo>
                    <a:cubicBezTo>
                      <a:pt x="81951" y="86938"/>
                      <a:pt x="87804" y="85714"/>
                      <a:pt x="87804" y="84489"/>
                    </a:cubicBezTo>
                    <a:cubicBezTo>
                      <a:pt x="84878" y="82040"/>
                      <a:pt x="87804" y="82040"/>
                      <a:pt x="87804" y="79591"/>
                    </a:cubicBezTo>
                    <a:cubicBezTo>
                      <a:pt x="90731" y="75918"/>
                      <a:pt x="79024" y="73469"/>
                      <a:pt x="76097" y="71020"/>
                    </a:cubicBezTo>
                    <a:cubicBezTo>
                      <a:pt x="67317" y="68571"/>
                      <a:pt x="73170" y="63673"/>
                      <a:pt x="76097" y="59999"/>
                    </a:cubicBezTo>
                    <a:cubicBezTo>
                      <a:pt x="76097" y="57551"/>
                      <a:pt x="79024" y="57551"/>
                      <a:pt x="84878" y="57551"/>
                    </a:cubicBezTo>
                    <a:cubicBezTo>
                      <a:pt x="90731" y="57551"/>
                      <a:pt x="96585" y="55102"/>
                      <a:pt x="99512" y="53877"/>
                    </a:cubicBezTo>
                    <a:cubicBezTo>
                      <a:pt x="105365" y="52653"/>
                      <a:pt x="108292" y="53877"/>
                      <a:pt x="114146" y="51428"/>
                    </a:cubicBezTo>
                    <a:cubicBezTo>
                      <a:pt x="117073" y="48979"/>
                      <a:pt x="120000" y="47755"/>
                      <a:pt x="120000" y="46530"/>
                    </a:cubicBezTo>
                    <a:cubicBezTo>
                      <a:pt x="120000" y="46530"/>
                      <a:pt x="117073" y="46530"/>
                      <a:pt x="114146" y="4653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29" name="Shape 2580">
                <a:extLst>
                  <a:ext uri="{FF2B5EF4-FFF2-40B4-BE49-F238E27FC236}">
                    <a16:creationId xmlns:a16="http://schemas.microsoft.com/office/drawing/2014/main" id="{7FB13577-5B5A-4C13-B9F5-3DF166EA55EE}"/>
                  </a:ext>
                </a:extLst>
              </p:cNvPr>
              <p:cNvSpPr/>
              <p:nvPr/>
            </p:nvSpPr>
            <p:spPr>
              <a:xfrm>
                <a:off x="15465731" y="8223157"/>
                <a:ext cx="192539" cy="235702"/>
              </a:xfrm>
              <a:custGeom>
                <a:avLst/>
                <a:gdLst/>
                <a:ahLst/>
                <a:cxnLst/>
                <a:rect l="0" t="0" r="0" b="0"/>
                <a:pathLst>
                  <a:path w="120000" h="120000" extrusionOk="0">
                    <a:moveTo>
                      <a:pt x="109565" y="111428"/>
                    </a:moveTo>
                    <a:cubicBezTo>
                      <a:pt x="114782" y="102857"/>
                      <a:pt x="104347" y="81428"/>
                      <a:pt x="104347" y="72857"/>
                    </a:cubicBezTo>
                    <a:cubicBezTo>
                      <a:pt x="104347" y="72857"/>
                      <a:pt x="99130" y="55714"/>
                      <a:pt x="93913" y="68571"/>
                    </a:cubicBezTo>
                    <a:cubicBezTo>
                      <a:pt x="93913" y="68571"/>
                      <a:pt x="88695" y="72857"/>
                      <a:pt x="83478" y="77142"/>
                    </a:cubicBezTo>
                    <a:cubicBezTo>
                      <a:pt x="83478" y="72857"/>
                      <a:pt x="73043" y="55714"/>
                      <a:pt x="88695" y="55714"/>
                    </a:cubicBezTo>
                    <a:cubicBezTo>
                      <a:pt x="99130" y="51428"/>
                      <a:pt x="120000" y="25714"/>
                      <a:pt x="93913" y="29999"/>
                    </a:cubicBezTo>
                    <a:cubicBezTo>
                      <a:pt x="88695" y="34285"/>
                      <a:pt x="78260" y="29999"/>
                      <a:pt x="73043" y="29999"/>
                    </a:cubicBezTo>
                    <a:cubicBezTo>
                      <a:pt x="67826" y="29999"/>
                      <a:pt x="57391" y="29999"/>
                      <a:pt x="52173" y="29999"/>
                    </a:cubicBezTo>
                    <a:cubicBezTo>
                      <a:pt x="41739" y="25714"/>
                      <a:pt x="41739" y="21428"/>
                      <a:pt x="41739" y="17142"/>
                    </a:cubicBezTo>
                    <a:cubicBezTo>
                      <a:pt x="41739" y="8571"/>
                      <a:pt x="36521" y="12857"/>
                      <a:pt x="31304" y="8571"/>
                    </a:cubicBezTo>
                    <a:cubicBezTo>
                      <a:pt x="20869" y="4285"/>
                      <a:pt x="15652" y="0"/>
                      <a:pt x="10434" y="4285"/>
                    </a:cubicBezTo>
                    <a:cubicBezTo>
                      <a:pt x="5217" y="12857"/>
                      <a:pt x="15652" y="17142"/>
                      <a:pt x="20869" y="21428"/>
                    </a:cubicBezTo>
                    <a:cubicBezTo>
                      <a:pt x="36521" y="34285"/>
                      <a:pt x="10434" y="25714"/>
                      <a:pt x="5217" y="38571"/>
                    </a:cubicBezTo>
                    <a:cubicBezTo>
                      <a:pt x="0" y="51428"/>
                      <a:pt x="10434" y="59999"/>
                      <a:pt x="15652" y="68571"/>
                    </a:cubicBezTo>
                    <a:cubicBezTo>
                      <a:pt x="26086" y="81428"/>
                      <a:pt x="31304" y="94285"/>
                      <a:pt x="26086" y="107142"/>
                    </a:cubicBezTo>
                    <a:cubicBezTo>
                      <a:pt x="31304" y="111428"/>
                      <a:pt x="31304" y="98571"/>
                      <a:pt x="31304" y="94285"/>
                    </a:cubicBezTo>
                    <a:cubicBezTo>
                      <a:pt x="31304" y="98571"/>
                      <a:pt x="31304" y="102857"/>
                      <a:pt x="36521" y="102857"/>
                    </a:cubicBezTo>
                    <a:cubicBezTo>
                      <a:pt x="36521" y="102857"/>
                      <a:pt x="36521" y="98571"/>
                      <a:pt x="36521" y="98571"/>
                    </a:cubicBezTo>
                    <a:cubicBezTo>
                      <a:pt x="41739" y="111428"/>
                      <a:pt x="41739" y="98571"/>
                      <a:pt x="41739" y="89999"/>
                    </a:cubicBezTo>
                    <a:cubicBezTo>
                      <a:pt x="41739" y="94285"/>
                      <a:pt x="62608" y="107142"/>
                      <a:pt x="67826" y="94285"/>
                    </a:cubicBezTo>
                    <a:cubicBezTo>
                      <a:pt x="67826" y="89999"/>
                      <a:pt x="62608" y="68571"/>
                      <a:pt x="57391" y="68571"/>
                    </a:cubicBezTo>
                    <a:cubicBezTo>
                      <a:pt x="62608" y="68571"/>
                      <a:pt x="67826" y="77142"/>
                      <a:pt x="67826" y="81428"/>
                    </a:cubicBezTo>
                    <a:cubicBezTo>
                      <a:pt x="73043" y="85714"/>
                      <a:pt x="88695" y="77142"/>
                      <a:pt x="88695" y="85714"/>
                    </a:cubicBezTo>
                    <a:cubicBezTo>
                      <a:pt x="88695" y="89999"/>
                      <a:pt x="93913" y="85714"/>
                      <a:pt x="93913" y="94285"/>
                    </a:cubicBezTo>
                    <a:cubicBezTo>
                      <a:pt x="93913" y="102857"/>
                      <a:pt x="93913" y="111428"/>
                      <a:pt x="99130" y="119999"/>
                    </a:cubicBezTo>
                    <a:cubicBezTo>
                      <a:pt x="104347" y="115714"/>
                      <a:pt x="104347" y="115714"/>
                      <a:pt x="109565" y="111428"/>
                    </a:cubicBezTo>
                    <a:cubicBezTo>
                      <a:pt x="114782" y="107142"/>
                      <a:pt x="104347" y="115714"/>
                      <a:pt x="109565" y="11142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0" name="Shape 2581">
                <a:extLst>
                  <a:ext uri="{FF2B5EF4-FFF2-40B4-BE49-F238E27FC236}">
                    <a16:creationId xmlns:a16="http://schemas.microsoft.com/office/drawing/2014/main" id="{30A7C56B-72B4-489E-AE85-E4AD1FA0265D}"/>
                  </a:ext>
                </a:extLst>
              </p:cNvPr>
              <p:cNvSpPr/>
              <p:nvPr/>
            </p:nvSpPr>
            <p:spPr>
              <a:xfrm>
                <a:off x="15827814" y="8484730"/>
                <a:ext cx="353462" cy="649621"/>
              </a:xfrm>
              <a:custGeom>
                <a:avLst/>
                <a:gdLst/>
                <a:ahLst/>
                <a:cxnLst/>
                <a:rect l="0" t="0" r="0" b="0"/>
                <a:pathLst>
                  <a:path w="120000" h="120000" extrusionOk="0">
                    <a:moveTo>
                      <a:pt x="114285" y="46753"/>
                    </a:moveTo>
                    <a:cubicBezTo>
                      <a:pt x="117142" y="46753"/>
                      <a:pt x="114285" y="43636"/>
                      <a:pt x="117142" y="42077"/>
                    </a:cubicBezTo>
                    <a:cubicBezTo>
                      <a:pt x="120000" y="40519"/>
                      <a:pt x="114285" y="37402"/>
                      <a:pt x="111428" y="37402"/>
                    </a:cubicBezTo>
                    <a:cubicBezTo>
                      <a:pt x="108571" y="35844"/>
                      <a:pt x="102857" y="34285"/>
                      <a:pt x="102857" y="31168"/>
                    </a:cubicBezTo>
                    <a:cubicBezTo>
                      <a:pt x="102857" y="28051"/>
                      <a:pt x="105714" y="26493"/>
                      <a:pt x="100000" y="23376"/>
                    </a:cubicBezTo>
                    <a:cubicBezTo>
                      <a:pt x="97142" y="21818"/>
                      <a:pt x="91428" y="18701"/>
                      <a:pt x="85714" y="18701"/>
                    </a:cubicBezTo>
                    <a:cubicBezTo>
                      <a:pt x="80000" y="18701"/>
                      <a:pt x="77142" y="21818"/>
                      <a:pt x="71428" y="21818"/>
                    </a:cubicBezTo>
                    <a:cubicBezTo>
                      <a:pt x="65714" y="20259"/>
                      <a:pt x="65714" y="20259"/>
                      <a:pt x="60000" y="21818"/>
                    </a:cubicBezTo>
                    <a:cubicBezTo>
                      <a:pt x="60000" y="21818"/>
                      <a:pt x="51428" y="26493"/>
                      <a:pt x="48571" y="24935"/>
                    </a:cubicBezTo>
                    <a:cubicBezTo>
                      <a:pt x="48571" y="23376"/>
                      <a:pt x="57142" y="20259"/>
                      <a:pt x="54285" y="18701"/>
                    </a:cubicBezTo>
                    <a:cubicBezTo>
                      <a:pt x="48571" y="17142"/>
                      <a:pt x="54285" y="15584"/>
                      <a:pt x="54285" y="14025"/>
                    </a:cubicBezTo>
                    <a:cubicBezTo>
                      <a:pt x="54285" y="12467"/>
                      <a:pt x="54285" y="7792"/>
                      <a:pt x="51428" y="7792"/>
                    </a:cubicBezTo>
                    <a:cubicBezTo>
                      <a:pt x="45714" y="9350"/>
                      <a:pt x="40000" y="9350"/>
                      <a:pt x="42857" y="6233"/>
                    </a:cubicBezTo>
                    <a:cubicBezTo>
                      <a:pt x="45714" y="0"/>
                      <a:pt x="31428" y="0"/>
                      <a:pt x="25714" y="1558"/>
                    </a:cubicBezTo>
                    <a:cubicBezTo>
                      <a:pt x="22857" y="4675"/>
                      <a:pt x="17142" y="6233"/>
                      <a:pt x="11428" y="6233"/>
                    </a:cubicBezTo>
                    <a:cubicBezTo>
                      <a:pt x="5714" y="6233"/>
                      <a:pt x="2857" y="10909"/>
                      <a:pt x="2857" y="12467"/>
                    </a:cubicBezTo>
                    <a:cubicBezTo>
                      <a:pt x="2857" y="15584"/>
                      <a:pt x="0" y="17142"/>
                      <a:pt x="0" y="20259"/>
                    </a:cubicBezTo>
                    <a:cubicBezTo>
                      <a:pt x="0" y="23376"/>
                      <a:pt x="2857" y="23376"/>
                      <a:pt x="8571" y="24935"/>
                    </a:cubicBezTo>
                    <a:cubicBezTo>
                      <a:pt x="11428" y="28051"/>
                      <a:pt x="14285" y="29610"/>
                      <a:pt x="17142" y="31168"/>
                    </a:cubicBezTo>
                    <a:cubicBezTo>
                      <a:pt x="20000" y="34285"/>
                      <a:pt x="14285" y="35844"/>
                      <a:pt x="14285" y="37402"/>
                    </a:cubicBezTo>
                    <a:cubicBezTo>
                      <a:pt x="14285" y="38961"/>
                      <a:pt x="17142" y="40519"/>
                      <a:pt x="14285" y="42077"/>
                    </a:cubicBezTo>
                    <a:cubicBezTo>
                      <a:pt x="14285" y="42077"/>
                      <a:pt x="11428" y="42077"/>
                      <a:pt x="11428" y="43636"/>
                    </a:cubicBezTo>
                    <a:cubicBezTo>
                      <a:pt x="8571" y="45194"/>
                      <a:pt x="14285" y="49870"/>
                      <a:pt x="17142" y="51428"/>
                    </a:cubicBezTo>
                    <a:cubicBezTo>
                      <a:pt x="20000" y="52987"/>
                      <a:pt x="22857" y="54545"/>
                      <a:pt x="25714" y="57662"/>
                    </a:cubicBezTo>
                    <a:cubicBezTo>
                      <a:pt x="25714" y="60779"/>
                      <a:pt x="25714" y="62337"/>
                      <a:pt x="28571" y="65454"/>
                    </a:cubicBezTo>
                    <a:cubicBezTo>
                      <a:pt x="31428" y="71688"/>
                      <a:pt x="22857" y="76363"/>
                      <a:pt x="17142" y="81038"/>
                    </a:cubicBezTo>
                    <a:cubicBezTo>
                      <a:pt x="17142" y="82597"/>
                      <a:pt x="14285" y="84155"/>
                      <a:pt x="14285" y="85714"/>
                    </a:cubicBezTo>
                    <a:cubicBezTo>
                      <a:pt x="11428" y="87272"/>
                      <a:pt x="11428" y="88831"/>
                      <a:pt x="11428" y="90389"/>
                    </a:cubicBezTo>
                    <a:cubicBezTo>
                      <a:pt x="11428" y="91948"/>
                      <a:pt x="8571" y="96623"/>
                      <a:pt x="14285" y="96623"/>
                    </a:cubicBezTo>
                    <a:cubicBezTo>
                      <a:pt x="22857" y="99740"/>
                      <a:pt x="25714" y="104415"/>
                      <a:pt x="31428" y="107532"/>
                    </a:cubicBezTo>
                    <a:cubicBezTo>
                      <a:pt x="34285" y="109090"/>
                      <a:pt x="34285" y="110649"/>
                      <a:pt x="37142" y="112207"/>
                    </a:cubicBezTo>
                    <a:cubicBezTo>
                      <a:pt x="40000" y="112207"/>
                      <a:pt x="42857" y="112207"/>
                      <a:pt x="45714" y="112207"/>
                    </a:cubicBezTo>
                    <a:cubicBezTo>
                      <a:pt x="48571" y="113766"/>
                      <a:pt x="51428" y="113766"/>
                      <a:pt x="51428" y="115324"/>
                    </a:cubicBezTo>
                    <a:cubicBezTo>
                      <a:pt x="51428" y="116883"/>
                      <a:pt x="51428" y="118441"/>
                      <a:pt x="54285" y="118441"/>
                    </a:cubicBezTo>
                    <a:cubicBezTo>
                      <a:pt x="54285" y="120000"/>
                      <a:pt x="57142" y="118441"/>
                      <a:pt x="60000" y="118441"/>
                    </a:cubicBezTo>
                    <a:cubicBezTo>
                      <a:pt x="62857" y="118441"/>
                      <a:pt x="65714" y="115324"/>
                      <a:pt x="65714" y="115324"/>
                    </a:cubicBezTo>
                    <a:cubicBezTo>
                      <a:pt x="60000" y="110649"/>
                      <a:pt x="57142" y="109090"/>
                      <a:pt x="45714" y="107532"/>
                    </a:cubicBezTo>
                    <a:cubicBezTo>
                      <a:pt x="42857" y="107532"/>
                      <a:pt x="40000" y="105974"/>
                      <a:pt x="37142" y="104415"/>
                    </a:cubicBezTo>
                    <a:cubicBezTo>
                      <a:pt x="37142" y="101298"/>
                      <a:pt x="40000" y="104415"/>
                      <a:pt x="42857" y="104415"/>
                    </a:cubicBezTo>
                    <a:cubicBezTo>
                      <a:pt x="40000" y="104415"/>
                      <a:pt x="34285" y="95064"/>
                      <a:pt x="34285" y="93506"/>
                    </a:cubicBezTo>
                    <a:cubicBezTo>
                      <a:pt x="34285" y="91948"/>
                      <a:pt x="34285" y="91948"/>
                      <a:pt x="31428" y="90389"/>
                    </a:cubicBezTo>
                    <a:cubicBezTo>
                      <a:pt x="28571" y="90389"/>
                      <a:pt x="25714" y="88831"/>
                      <a:pt x="25714" y="87272"/>
                    </a:cubicBezTo>
                    <a:cubicBezTo>
                      <a:pt x="22857" y="82597"/>
                      <a:pt x="28571" y="77922"/>
                      <a:pt x="31428" y="74805"/>
                    </a:cubicBezTo>
                    <a:cubicBezTo>
                      <a:pt x="31428" y="71688"/>
                      <a:pt x="37142" y="68571"/>
                      <a:pt x="37142" y="67012"/>
                    </a:cubicBezTo>
                    <a:cubicBezTo>
                      <a:pt x="37142" y="63896"/>
                      <a:pt x="34285" y="57662"/>
                      <a:pt x="40000" y="56103"/>
                    </a:cubicBezTo>
                    <a:cubicBezTo>
                      <a:pt x="48571" y="56103"/>
                      <a:pt x="48571" y="57662"/>
                      <a:pt x="48571" y="62337"/>
                    </a:cubicBezTo>
                    <a:cubicBezTo>
                      <a:pt x="45714" y="65454"/>
                      <a:pt x="57142" y="63896"/>
                      <a:pt x="62857" y="63896"/>
                    </a:cubicBezTo>
                    <a:cubicBezTo>
                      <a:pt x="65714" y="63896"/>
                      <a:pt x="74285" y="67012"/>
                      <a:pt x="77142" y="68571"/>
                    </a:cubicBezTo>
                    <a:cubicBezTo>
                      <a:pt x="77142" y="65454"/>
                      <a:pt x="71428" y="63896"/>
                      <a:pt x="68571" y="59220"/>
                    </a:cubicBezTo>
                    <a:cubicBezTo>
                      <a:pt x="68571" y="56103"/>
                      <a:pt x="74285" y="54545"/>
                      <a:pt x="80000" y="51428"/>
                    </a:cubicBezTo>
                    <a:cubicBezTo>
                      <a:pt x="82857" y="49870"/>
                      <a:pt x="91428" y="49870"/>
                      <a:pt x="97142" y="49870"/>
                    </a:cubicBezTo>
                    <a:cubicBezTo>
                      <a:pt x="102857" y="49870"/>
                      <a:pt x="105714" y="49870"/>
                      <a:pt x="108571" y="51428"/>
                    </a:cubicBezTo>
                    <a:cubicBezTo>
                      <a:pt x="114285" y="51428"/>
                      <a:pt x="111428" y="49870"/>
                      <a:pt x="114285" y="46753"/>
                    </a:cubicBezTo>
                    <a:cubicBezTo>
                      <a:pt x="117142" y="46753"/>
                      <a:pt x="114285" y="48311"/>
                      <a:pt x="114285" y="4675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1" name="Shape 2582">
                <a:extLst>
                  <a:ext uri="{FF2B5EF4-FFF2-40B4-BE49-F238E27FC236}">
                    <a16:creationId xmlns:a16="http://schemas.microsoft.com/office/drawing/2014/main" id="{F3A99B41-7D72-408D-A6B4-53A2F9241C2B}"/>
                  </a:ext>
                </a:extLst>
              </p:cNvPr>
              <p:cNvSpPr/>
              <p:nvPr/>
            </p:nvSpPr>
            <p:spPr>
              <a:xfrm>
                <a:off x="16020352" y="8349632"/>
                <a:ext cx="321852" cy="658245"/>
              </a:xfrm>
              <a:custGeom>
                <a:avLst/>
                <a:gdLst/>
                <a:ahLst/>
                <a:cxnLst/>
                <a:rect l="0" t="0" r="0" b="0"/>
                <a:pathLst>
                  <a:path w="120000" h="120000" extrusionOk="0">
                    <a:moveTo>
                      <a:pt x="116842" y="84615"/>
                    </a:moveTo>
                    <a:cubicBezTo>
                      <a:pt x="113684" y="83076"/>
                      <a:pt x="113684" y="80000"/>
                      <a:pt x="113684" y="75384"/>
                    </a:cubicBezTo>
                    <a:cubicBezTo>
                      <a:pt x="110526" y="70769"/>
                      <a:pt x="107368" y="67692"/>
                      <a:pt x="101052" y="63076"/>
                    </a:cubicBezTo>
                    <a:cubicBezTo>
                      <a:pt x="97894" y="60000"/>
                      <a:pt x="94736" y="58461"/>
                      <a:pt x="88421" y="56923"/>
                    </a:cubicBezTo>
                    <a:cubicBezTo>
                      <a:pt x="82105" y="53846"/>
                      <a:pt x="72631" y="52307"/>
                      <a:pt x="69473" y="47692"/>
                    </a:cubicBezTo>
                    <a:cubicBezTo>
                      <a:pt x="69473" y="44615"/>
                      <a:pt x="63157" y="43076"/>
                      <a:pt x="56842" y="40000"/>
                    </a:cubicBezTo>
                    <a:cubicBezTo>
                      <a:pt x="53684" y="38461"/>
                      <a:pt x="56842" y="32307"/>
                      <a:pt x="60000" y="30769"/>
                    </a:cubicBezTo>
                    <a:cubicBezTo>
                      <a:pt x="66315" y="29230"/>
                      <a:pt x="72631" y="26153"/>
                      <a:pt x="72631" y="23076"/>
                    </a:cubicBezTo>
                    <a:cubicBezTo>
                      <a:pt x="75789" y="21538"/>
                      <a:pt x="88421" y="18461"/>
                      <a:pt x="91578" y="16923"/>
                    </a:cubicBezTo>
                    <a:cubicBezTo>
                      <a:pt x="85263" y="15384"/>
                      <a:pt x="78947" y="13846"/>
                      <a:pt x="72631" y="10769"/>
                    </a:cubicBezTo>
                    <a:cubicBezTo>
                      <a:pt x="66315" y="9230"/>
                      <a:pt x="75789" y="9230"/>
                      <a:pt x="75789" y="6153"/>
                    </a:cubicBezTo>
                    <a:cubicBezTo>
                      <a:pt x="75789" y="6153"/>
                      <a:pt x="60000" y="4615"/>
                      <a:pt x="60000" y="4615"/>
                    </a:cubicBezTo>
                    <a:cubicBezTo>
                      <a:pt x="53684" y="3076"/>
                      <a:pt x="47368" y="0"/>
                      <a:pt x="44210" y="4615"/>
                    </a:cubicBezTo>
                    <a:cubicBezTo>
                      <a:pt x="41052" y="6153"/>
                      <a:pt x="37894" y="6153"/>
                      <a:pt x="34736" y="7692"/>
                    </a:cubicBezTo>
                    <a:cubicBezTo>
                      <a:pt x="28421" y="12307"/>
                      <a:pt x="28421" y="6153"/>
                      <a:pt x="25263" y="7692"/>
                    </a:cubicBezTo>
                    <a:cubicBezTo>
                      <a:pt x="18947" y="9230"/>
                      <a:pt x="18947" y="7692"/>
                      <a:pt x="15789" y="7692"/>
                    </a:cubicBezTo>
                    <a:cubicBezTo>
                      <a:pt x="12631" y="9230"/>
                      <a:pt x="9473" y="9230"/>
                      <a:pt x="9473" y="7692"/>
                    </a:cubicBezTo>
                    <a:cubicBezTo>
                      <a:pt x="9473" y="6153"/>
                      <a:pt x="3157" y="9230"/>
                      <a:pt x="0" y="9230"/>
                    </a:cubicBezTo>
                    <a:cubicBezTo>
                      <a:pt x="0" y="10769"/>
                      <a:pt x="9473" y="13846"/>
                      <a:pt x="12631" y="13846"/>
                    </a:cubicBezTo>
                    <a:cubicBezTo>
                      <a:pt x="15789" y="16923"/>
                      <a:pt x="12631" y="18461"/>
                      <a:pt x="15789" y="20000"/>
                    </a:cubicBezTo>
                    <a:cubicBezTo>
                      <a:pt x="15789" y="23076"/>
                      <a:pt x="25263" y="23076"/>
                      <a:pt x="28421" y="21538"/>
                    </a:cubicBezTo>
                    <a:cubicBezTo>
                      <a:pt x="34736" y="20000"/>
                      <a:pt x="37894" y="24615"/>
                      <a:pt x="37894" y="26153"/>
                    </a:cubicBezTo>
                    <a:cubicBezTo>
                      <a:pt x="41052" y="29230"/>
                      <a:pt x="47368" y="29230"/>
                      <a:pt x="41052" y="32307"/>
                    </a:cubicBezTo>
                    <a:cubicBezTo>
                      <a:pt x="34736" y="33846"/>
                      <a:pt x="31578" y="29230"/>
                      <a:pt x="31578" y="33846"/>
                    </a:cubicBezTo>
                    <a:cubicBezTo>
                      <a:pt x="31578" y="36923"/>
                      <a:pt x="41052" y="36923"/>
                      <a:pt x="44210" y="38461"/>
                    </a:cubicBezTo>
                    <a:cubicBezTo>
                      <a:pt x="50526" y="41538"/>
                      <a:pt x="53684" y="44615"/>
                      <a:pt x="60000" y="47692"/>
                    </a:cubicBezTo>
                    <a:cubicBezTo>
                      <a:pt x="63157" y="50769"/>
                      <a:pt x="69473" y="50769"/>
                      <a:pt x="72631" y="53846"/>
                    </a:cubicBezTo>
                    <a:cubicBezTo>
                      <a:pt x="75789" y="56923"/>
                      <a:pt x="75789" y="58461"/>
                      <a:pt x="82105" y="60000"/>
                    </a:cubicBezTo>
                    <a:cubicBezTo>
                      <a:pt x="85263" y="61538"/>
                      <a:pt x="82105" y="64615"/>
                      <a:pt x="88421" y="66153"/>
                    </a:cubicBezTo>
                    <a:cubicBezTo>
                      <a:pt x="91578" y="67692"/>
                      <a:pt x="88421" y="72307"/>
                      <a:pt x="85263" y="73846"/>
                    </a:cubicBezTo>
                    <a:cubicBezTo>
                      <a:pt x="82105" y="75384"/>
                      <a:pt x="85263" y="78461"/>
                      <a:pt x="88421" y="80000"/>
                    </a:cubicBezTo>
                    <a:cubicBezTo>
                      <a:pt x="88421" y="83076"/>
                      <a:pt x="88421" y="84615"/>
                      <a:pt x="88421" y="87692"/>
                    </a:cubicBezTo>
                    <a:cubicBezTo>
                      <a:pt x="82105" y="90769"/>
                      <a:pt x="82105" y="90769"/>
                      <a:pt x="72631" y="92307"/>
                    </a:cubicBezTo>
                    <a:cubicBezTo>
                      <a:pt x="66315" y="92307"/>
                      <a:pt x="75789" y="96923"/>
                      <a:pt x="63157" y="95384"/>
                    </a:cubicBezTo>
                    <a:cubicBezTo>
                      <a:pt x="56842" y="95384"/>
                      <a:pt x="63157" y="98461"/>
                      <a:pt x="63157" y="100000"/>
                    </a:cubicBezTo>
                    <a:cubicBezTo>
                      <a:pt x="66315" y="103076"/>
                      <a:pt x="60000" y="101538"/>
                      <a:pt x="56842" y="101538"/>
                    </a:cubicBezTo>
                    <a:cubicBezTo>
                      <a:pt x="50526" y="101538"/>
                      <a:pt x="47368" y="101538"/>
                      <a:pt x="44210" y="103076"/>
                    </a:cubicBezTo>
                    <a:cubicBezTo>
                      <a:pt x="34736" y="106153"/>
                      <a:pt x="41052" y="106153"/>
                      <a:pt x="47368" y="107692"/>
                    </a:cubicBezTo>
                    <a:cubicBezTo>
                      <a:pt x="50526" y="107692"/>
                      <a:pt x="44210" y="112307"/>
                      <a:pt x="44210" y="113846"/>
                    </a:cubicBezTo>
                    <a:cubicBezTo>
                      <a:pt x="41052" y="113846"/>
                      <a:pt x="41052" y="120000"/>
                      <a:pt x="44210" y="118461"/>
                    </a:cubicBezTo>
                    <a:cubicBezTo>
                      <a:pt x="50526" y="116923"/>
                      <a:pt x="53684" y="115384"/>
                      <a:pt x="56842" y="115384"/>
                    </a:cubicBezTo>
                    <a:cubicBezTo>
                      <a:pt x="69473" y="113846"/>
                      <a:pt x="63157" y="112307"/>
                      <a:pt x="60000" y="109230"/>
                    </a:cubicBezTo>
                    <a:cubicBezTo>
                      <a:pt x="63157" y="109230"/>
                      <a:pt x="66315" y="112307"/>
                      <a:pt x="69473" y="110769"/>
                    </a:cubicBezTo>
                    <a:cubicBezTo>
                      <a:pt x="72631" y="109230"/>
                      <a:pt x="66315" y="107692"/>
                      <a:pt x="66315" y="107692"/>
                    </a:cubicBezTo>
                    <a:cubicBezTo>
                      <a:pt x="66315" y="106153"/>
                      <a:pt x="72631" y="109230"/>
                      <a:pt x="72631" y="109230"/>
                    </a:cubicBezTo>
                    <a:cubicBezTo>
                      <a:pt x="69473" y="109230"/>
                      <a:pt x="72631" y="103076"/>
                      <a:pt x="75789" y="103076"/>
                    </a:cubicBezTo>
                    <a:cubicBezTo>
                      <a:pt x="75789" y="101538"/>
                      <a:pt x="82105" y="104615"/>
                      <a:pt x="82105" y="104615"/>
                    </a:cubicBezTo>
                    <a:cubicBezTo>
                      <a:pt x="88421" y="104615"/>
                      <a:pt x="91578" y="103076"/>
                      <a:pt x="94736" y="101538"/>
                    </a:cubicBezTo>
                    <a:cubicBezTo>
                      <a:pt x="97894" y="100000"/>
                      <a:pt x="113684" y="96923"/>
                      <a:pt x="113684" y="93846"/>
                    </a:cubicBezTo>
                    <a:cubicBezTo>
                      <a:pt x="113684" y="92307"/>
                      <a:pt x="110526" y="90769"/>
                      <a:pt x="113684" y="87692"/>
                    </a:cubicBezTo>
                    <a:cubicBezTo>
                      <a:pt x="113684" y="86153"/>
                      <a:pt x="120000" y="87692"/>
                      <a:pt x="116842" y="84615"/>
                    </a:cubicBezTo>
                    <a:cubicBezTo>
                      <a:pt x="113684" y="83076"/>
                      <a:pt x="120000" y="86153"/>
                      <a:pt x="116842" y="8461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2" name="Shape 2583">
                <a:extLst>
                  <a:ext uri="{FF2B5EF4-FFF2-40B4-BE49-F238E27FC236}">
                    <a16:creationId xmlns:a16="http://schemas.microsoft.com/office/drawing/2014/main" id="{C0F2282D-CB65-4DAA-A9C9-EBF7383D1D8E}"/>
                  </a:ext>
                </a:extLst>
              </p:cNvPr>
              <p:cNvSpPr/>
              <p:nvPr/>
            </p:nvSpPr>
            <p:spPr>
              <a:xfrm>
                <a:off x="15945636" y="8401373"/>
                <a:ext cx="310358" cy="379424"/>
              </a:xfrm>
              <a:custGeom>
                <a:avLst/>
                <a:gdLst/>
                <a:ahLst/>
                <a:cxnLst/>
                <a:rect l="0" t="0" r="0" b="0"/>
                <a:pathLst>
                  <a:path w="120000" h="120000" extrusionOk="0">
                    <a:moveTo>
                      <a:pt x="120000" y="101333"/>
                    </a:moveTo>
                    <a:cubicBezTo>
                      <a:pt x="120000" y="98666"/>
                      <a:pt x="116756" y="98666"/>
                      <a:pt x="113513" y="93333"/>
                    </a:cubicBezTo>
                    <a:cubicBezTo>
                      <a:pt x="113513" y="88000"/>
                      <a:pt x="110270" y="90666"/>
                      <a:pt x="107027" y="85333"/>
                    </a:cubicBezTo>
                    <a:cubicBezTo>
                      <a:pt x="103783" y="80000"/>
                      <a:pt x="103783" y="77333"/>
                      <a:pt x="97297" y="74666"/>
                    </a:cubicBezTo>
                    <a:cubicBezTo>
                      <a:pt x="90810" y="69333"/>
                      <a:pt x="87567" y="64000"/>
                      <a:pt x="84324" y="58666"/>
                    </a:cubicBezTo>
                    <a:cubicBezTo>
                      <a:pt x="81081" y="56000"/>
                      <a:pt x="74594" y="50666"/>
                      <a:pt x="71351" y="48000"/>
                    </a:cubicBezTo>
                    <a:cubicBezTo>
                      <a:pt x="64864" y="45333"/>
                      <a:pt x="61621" y="48000"/>
                      <a:pt x="61621" y="40000"/>
                    </a:cubicBezTo>
                    <a:cubicBezTo>
                      <a:pt x="61621" y="37333"/>
                      <a:pt x="68108" y="42666"/>
                      <a:pt x="71351" y="37333"/>
                    </a:cubicBezTo>
                    <a:cubicBezTo>
                      <a:pt x="77837" y="34666"/>
                      <a:pt x="71351" y="32000"/>
                      <a:pt x="68108" y="26666"/>
                    </a:cubicBezTo>
                    <a:cubicBezTo>
                      <a:pt x="61621" y="13333"/>
                      <a:pt x="51891" y="29333"/>
                      <a:pt x="45405" y="21333"/>
                    </a:cubicBezTo>
                    <a:cubicBezTo>
                      <a:pt x="42162" y="18666"/>
                      <a:pt x="45405" y="13333"/>
                      <a:pt x="42162" y="10666"/>
                    </a:cubicBezTo>
                    <a:cubicBezTo>
                      <a:pt x="38918" y="8000"/>
                      <a:pt x="32432" y="5333"/>
                      <a:pt x="29189" y="0"/>
                    </a:cubicBezTo>
                    <a:cubicBezTo>
                      <a:pt x="29189" y="0"/>
                      <a:pt x="22702" y="0"/>
                      <a:pt x="22702" y="0"/>
                    </a:cubicBezTo>
                    <a:cubicBezTo>
                      <a:pt x="19459" y="2666"/>
                      <a:pt x="25945" y="8000"/>
                      <a:pt x="25945" y="10666"/>
                    </a:cubicBezTo>
                    <a:cubicBezTo>
                      <a:pt x="25945" y="13333"/>
                      <a:pt x="29189" y="18666"/>
                      <a:pt x="25945" y="18666"/>
                    </a:cubicBezTo>
                    <a:cubicBezTo>
                      <a:pt x="19459" y="18666"/>
                      <a:pt x="19459" y="13333"/>
                      <a:pt x="12972" y="13333"/>
                    </a:cubicBezTo>
                    <a:cubicBezTo>
                      <a:pt x="9729" y="10666"/>
                      <a:pt x="0" y="26666"/>
                      <a:pt x="0" y="26666"/>
                    </a:cubicBezTo>
                    <a:cubicBezTo>
                      <a:pt x="3243" y="34666"/>
                      <a:pt x="0" y="45333"/>
                      <a:pt x="12972" y="40000"/>
                    </a:cubicBezTo>
                    <a:cubicBezTo>
                      <a:pt x="19459" y="37333"/>
                      <a:pt x="12972" y="58666"/>
                      <a:pt x="12972" y="58666"/>
                    </a:cubicBezTo>
                    <a:cubicBezTo>
                      <a:pt x="19459" y="61333"/>
                      <a:pt x="12972" y="64000"/>
                      <a:pt x="9729" y="69333"/>
                    </a:cubicBezTo>
                    <a:cubicBezTo>
                      <a:pt x="9729" y="72000"/>
                      <a:pt x="19459" y="66666"/>
                      <a:pt x="22702" y="66666"/>
                    </a:cubicBezTo>
                    <a:cubicBezTo>
                      <a:pt x="22702" y="64000"/>
                      <a:pt x="29189" y="61333"/>
                      <a:pt x="32432" y="61333"/>
                    </a:cubicBezTo>
                    <a:cubicBezTo>
                      <a:pt x="38918" y="64000"/>
                      <a:pt x="42162" y="64000"/>
                      <a:pt x="48648" y="58666"/>
                    </a:cubicBezTo>
                    <a:cubicBezTo>
                      <a:pt x="55135" y="56000"/>
                      <a:pt x="77837" y="66666"/>
                      <a:pt x="74594" y="74666"/>
                    </a:cubicBezTo>
                    <a:cubicBezTo>
                      <a:pt x="68108" y="85333"/>
                      <a:pt x="81081" y="88000"/>
                      <a:pt x="87567" y="96000"/>
                    </a:cubicBezTo>
                    <a:cubicBezTo>
                      <a:pt x="87567" y="98666"/>
                      <a:pt x="87567" y="101333"/>
                      <a:pt x="87567" y="104000"/>
                    </a:cubicBezTo>
                    <a:cubicBezTo>
                      <a:pt x="87567" y="106666"/>
                      <a:pt x="84324" y="112000"/>
                      <a:pt x="81081" y="114666"/>
                    </a:cubicBezTo>
                    <a:cubicBezTo>
                      <a:pt x="84324" y="114666"/>
                      <a:pt x="94054" y="120000"/>
                      <a:pt x="94054" y="114666"/>
                    </a:cubicBezTo>
                    <a:cubicBezTo>
                      <a:pt x="94054" y="112000"/>
                      <a:pt x="100540" y="109333"/>
                      <a:pt x="103783" y="112000"/>
                    </a:cubicBezTo>
                    <a:cubicBezTo>
                      <a:pt x="107027" y="114666"/>
                      <a:pt x="110270" y="114666"/>
                      <a:pt x="113513" y="112000"/>
                    </a:cubicBezTo>
                    <a:cubicBezTo>
                      <a:pt x="120000" y="112000"/>
                      <a:pt x="120000" y="106666"/>
                      <a:pt x="120000" y="101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3" name="Shape 2584">
                <a:extLst>
                  <a:ext uri="{FF2B5EF4-FFF2-40B4-BE49-F238E27FC236}">
                    <a16:creationId xmlns:a16="http://schemas.microsoft.com/office/drawing/2014/main" id="{D9E2B14B-46CC-46DB-956B-137AE8AE4A01}"/>
                  </a:ext>
                </a:extLst>
              </p:cNvPr>
              <p:cNvSpPr/>
              <p:nvPr/>
            </p:nvSpPr>
            <p:spPr>
              <a:xfrm>
                <a:off x="17276147" y="9430415"/>
                <a:ext cx="379326" cy="321936"/>
              </a:xfrm>
              <a:custGeom>
                <a:avLst/>
                <a:gdLst/>
                <a:ahLst/>
                <a:cxnLst/>
                <a:rect l="0" t="0" r="0" b="0"/>
                <a:pathLst>
                  <a:path w="120000" h="120000" extrusionOk="0">
                    <a:moveTo>
                      <a:pt x="120000" y="91578"/>
                    </a:moveTo>
                    <a:cubicBezTo>
                      <a:pt x="120000" y="88421"/>
                      <a:pt x="117333" y="85263"/>
                      <a:pt x="120000" y="82105"/>
                    </a:cubicBezTo>
                    <a:cubicBezTo>
                      <a:pt x="120000" y="78947"/>
                      <a:pt x="120000" y="78947"/>
                      <a:pt x="120000" y="75789"/>
                    </a:cubicBezTo>
                    <a:cubicBezTo>
                      <a:pt x="120000" y="66315"/>
                      <a:pt x="120000" y="56842"/>
                      <a:pt x="120000" y="47368"/>
                    </a:cubicBezTo>
                    <a:cubicBezTo>
                      <a:pt x="120000" y="37894"/>
                      <a:pt x="120000" y="28421"/>
                      <a:pt x="120000" y="18947"/>
                    </a:cubicBezTo>
                    <a:cubicBezTo>
                      <a:pt x="120000" y="18947"/>
                      <a:pt x="96000" y="9473"/>
                      <a:pt x="93333" y="9473"/>
                    </a:cubicBezTo>
                    <a:cubicBezTo>
                      <a:pt x="88000" y="6315"/>
                      <a:pt x="85333" y="3157"/>
                      <a:pt x="80000" y="0"/>
                    </a:cubicBezTo>
                    <a:cubicBezTo>
                      <a:pt x="72000" y="0"/>
                      <a:pt x="72000" y="6315"/>
                      <a:pt x="69333" y="9473"/>
                    </a:cubicBezTo>
                    <a:cubicBezTo>
                      <a:pt x="69333" y="12631"/>
                      <a:pt x="61333" y="12631"/>
                      <a:pt x="58666" y="15789"/>
                    </a:cubicBezTo>
                    <a:cubicBezTo>
                      <a:pt x="56000" y="22105"/>
                      <a:pt x="53333" y="28421"/>
                      <a:pt x="48000" y="31578"/>
                    </a:cubicBezTo>
                    <a:cubicBezTo>
                      <a:pt x="42666" y="34736"/>
                      <a:pt x="37333" y="31578"/>
                      <a:pt x="37333" y="25263"/>
                    </a:cubicBezTo>
                    <a:cubicBezTo>
                      <a:pt x="34666" y="18947"/>
                      <a:pt x="32000" y="18947"/>
                      <a:pt x="29333" y="15789"/>
                    </a:cubicBezTo>
                    <a:cubicBezTo>
                      <a:pt x="29333" y="9473"/>
                      <a:pt x="26666" y="15789"/>
                      <a:pt x="24000" y="18947"/>
                    </a:cubicBezTo>
                    <a:cubicBezTo>
                      <a:pt x="21333" y="18947"/>
                      <a:pt x="18666" y="15789"/>
                      <a:pt x="18666" y="15789"/>
                    </a:cubicBezTo>
                    <a:cubicBezTo>
                      <a:pt x="16000" y="15789"/>
                      <a:pt x="13333" y="18947"/>
                      <a:pt x="10666" y="18947"/>
                    </a:cubicBezTo>
                    <a:cubicBezTo>
                      <a:pt x="10666" y="22105"/>
                      <a:pt x="0" y="18947"/>
                      <a:pt x="0" y="22105"/>
                    </a:cubicBezTo>
                    <a:cubicBezTo>
                      <a:pt x="0" y="25263"/>
                      <a:pt x="5333" y="25263"/>
                      <a:pt x="8000" y="25263"/>
                    </a:cubicBezTo>
                    <a:cubicBezTo>
                      <a:pt x="10666" y="28421"/>
                      <a:pt x="10666" y="31578"/>
                      <a:pt x="10666" y="34736"/>
                    </a:cubicBezTo>
                    <a:cubicBezTo>
                      <a:pt x="10666" y="41052"/>
                      <a:pt x="18666" y="41052"/>
                      <a:pt x="18666" y="44210"/>
                    </a:cubicBezTo>
                    <a:cubicBezTo>
                      <a:pt x="18666" y="37894"/>
                      <a:pt x="18666" y="28421"/>
                      <a:pt x="24000" y="25263"/>
                    </a:cubicBezTo>
                    <a:cubicBezTo>
                      <a:pt x="18666" y="28421"/>
                      <a:pt x="21333" y="34736"/>
                      <a:pt x="26666" y="37894"/>
                    </a:cubicBezTo>
                    <a:cubicBezTo>
                      <a:pt x="32000" y="41052"/>
                      <a:pt x="34666" y="41052"/>
                      <a:pt x="40000" y="37894"/>
                    </a:cubicBezTo>
                    <a:cubicBezTo>
                      <a:pt x="32000" y="41052"/>
                      <a:pt x="45333" y="47368"/>
                      <a:pt x="48000" y="47368"/>
                    </a:cubicBezTo>
                    <a:cubicBezTo>
                      <a:pt x="56000" y="50526"/>
                      <a:pt x="64000" y="56842"/>
                      <a:pt x="72000" y="60000"/>
                    </a:cubicBezTo>
                    <a:cubicBezTo>
                      <a:pt x="77333" y="63157"/>
                      <a:pt x="82666" y="66315"/>
                      <a:pt x="85333" y="69473"/>
                    </a:cubicBezTo>
                    <a:cubicBezTo>
                      <a:pt x="85333" y="75789"/>
                      <a:pt x="88000" y="78947"/>
                      <a:pt x="90666" y="82105"/>
                    </a:cubicBezTo>
                    <a:cubicBezTo>
                      <a:pt x="90666" y="82105"/>
                      <a:pt x="96000" y="85263"/>
                      <a:pt x="96000" y="85263"/>
                    </a:cubicBezTo>
                    <a:cubicBezTo>
                      <a:pt x="96000" y="85263"/>
                      <a:pt x="90666" y="88421"/>
                      <a:pt x="90666" y="88421"/>
                    </a:cubicBezTo>
                    <a:cubicBezTo>
                      <a:pt x="90666" y="88421"/>
                      <a:pt x="96000" y="88421"/>
                      <a:pt x="96000" y="91578"/>
                    </a:cubicBezTo>
                    <a:cubicBezTo>
                      <a:pt x="96000" y="88421"/>
                      <a:pt x="93333" y="91578"/>
                      <a:pt x="93333" y="94736"/>
                    </a:cubicBezTo>
                    <a:cubicBezTo>
                      <a:pt x="90666" y="97894"/>
                      <a:pt x="88000" y="94736"/>
                      <a:pt x="85333" y="97894"/>
                    </a:cubicBezTo>
                    <a:cubicBezTo>
                      <a:pt x="82666" y="97894"/>
                      <a:pt x="74666" y="107368"/>
                      <a:pt x="77333" y="107368"/>
                    </a:cubicBezTo>
                    <a:cubicBezTo>
                      <a:pt x="80000" y="110526"/>
                      <a:pt x="85333" y="110526"/>
                      <a:pt x="90666" y="110526"/>
                    </a:cubicBezTo>
                    <a:cubicBezTo>
                      <a:pt x="90666" y="107368"/>
                      <a:pt x="93333" y="94736"/>
                      <a:pt x="96000" y="97894"/>
                    </a:cubicBezTo>
                    <a:cubicBezTo>
                      <a:pt x="96000" y="101052"/>
                      <a:pt x="88000" y="104210"/>
                      <a:pt x="96000" y="104210"/>
                    </a:cubicBezTo>
                    <a:cubicBezTo>
                      <a:pt x="101333" y="107368"/>
                      <a:pt x="104000" y="107368"/>
                      <a:pt x="106666" y="101052"/>
                    </a:cubicBezTo>
                    <a:cubicBezTo>
                      <a:pt x="104000" y="107368"/>
                      <a:pt x="117333" y="116842"/>
                      <a:pt x="120000" y="120000"/>
                    </a:cubicBezTo>
                    <a:cubicBezTo>
                      <a:pt x="120000" y="110526"/>
                      <a:pt x="120000" y="101052"/>
                      <a:pt x="120000" y="9157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4" name="Shape 2585">
                <a:extLst>
                  <a:ext uri="{FF2B5EF4-FFF2-40B4-BE49-F238E27FC236}">
                    <a16:creationId xmlns:a16="http://schemas.microsoft.com/office/drawing/2014/main" id="{D76DF845-010B-483B-B53F-D3955C940553}"/>
                  </a:ext>
                </a:extLst>
              </p:cNvPr>
              <p:cNvSpPr/>
              <p:nvPr/>
            </p:nvSpPr>
            <p:spPr>
              <a:xfrm>
                <a:off x="17646851" y="9482158"/>
                <a:ext cx="431051" cy="344930"/>
              </a:xfrm>
              <a:custGeom>
                <a:avLst/>
                <a:gdLst/>
                <a:ahLst/>
                <a:cxnLst/>
                <a:rect l="0" t="0" r="0" b="0"/>
                <a:pathLst>
                  <a:path w="120000" h="120000" extrusionOk="0">
                    <a:moveTo>
                      <a:pt x="117647" y="114146"/>
                    </a:moveTo>
                    <a:cubicBezTo>
                      <a:pt x="112941" y="111219"/>
                      <a:pt x="108235" y="111219"/>
                      <a:pt x="105882" y="108292"/>
                    </a:cubicBezTo>
                    <a:cubicBezTo>
                      <a:pt x="103529" y="105365"/>
                      <a:pt x="108235" y="102439"/>
                      <a:pt x="110588" y="105365"/>
                    </a:cubicBezTo>
                    <a:cubicBezTo>
                      <a:pt x="105882" y="102439"/>
                      <a:pt x="98823" y="105365"/>
                      <a:pt x="98823" y="99512"/>
                    </a:cubicBezTo>
                    <a:cubicBezTo>
                      <a:pt x="98823" y="93658"/>
                      <a:pt x="91764" y="93658"/>
                      <a:pt x="89411" y="87804"/>
                    </a:cubicBezTo>
                    <a:cubicBezTo>
                      <a:pt x="87058" y="84878"/>
                      <a:pt x="89411" y="84878"/>
                      <a:pt x="87058" y="81951"/>
                    </a:cubicBezTo>
                    <a:cubicBezTo>
                      <a:pt x="84705" y="79024"/>
                      <a:pt x="82352" y="79024"/>
                      <a:pt x="80000" y="76097"/>
                    </a:cubicBezTo>
                    <a:cubicBezTo>
                      <a:pt x="80000" y="76097"/>
                      <a:pt x="70588" y="61463"/>
                      <a:pt x="68235" y="61463"/>
                    </a:cubicBezTo>
                    <a:cubicBezTo>
                      <a:pt x="70588" y="58536"/>
                      <a:pt x="77647" y="61463"/>
                      <a:pt x="80000" y="61463"/>
                    </a:cubicBezTo>
                    <a:cubicBezTo>
                      <a:pt x="84705" y="61463"/>
                      <a:pt x="82352" y="58536"/>
                      <a:pt x="80000" y="52682"/>
                    </a:cubicBezTo>
                    <a:cubicBezTo>
                      <a:pt x="80000" y="49756"/>
                      <a:pt x="75294" y="49756"/>
                      <a:pt x="72941" y="49756"/>
                    </a:cubicBezTo>
                    <a:cubicBezTo>
                      <a:pt x="65882" y="43902"/>
                      <a:pt x="61176" y="40975"/>
                      <a:pt x="58823" y="35121"/>
                    </a:cubicBezTo>
                    <a:cubicBezTo>
                      <a:pt x="56470" y="29268"/>
                      <a:pt x="49411" y="23414"/>
                      <a:pt x="44705" y="20487"/>
                    </a:cubicBezTo>
                    <a:cubicBezTo>
                      <a:pt x="42352" y="17560"/>
                      <a:pt x="40000" y="17560"/>
                      <a:pt x="37647" y="17560"/>
                    </a:cubicBezTo>
                    <a:cubicBezTo>
                      <a:pt x="35294" y="17560"/>
                      <a:pt x="32941" y="11707"/>
                      <a:pt x="30588" y="11707"/>
                    </a:cubicBezTo>
                    <a:cubicBezTo>
                      <a:pt x="28235" y="8780"/>
                      <a:pt x="23529" y="8780"/>
                      <a:pt x="18823" y="5853"/>
                    </a:cubicBezTo>
                    <a:cubicBezTo>
                      <a:pt x="14117" y="5853"/>
                      <a:pt x="9411" y="0"/>
                      <a:pt x="2352" y="0"/>
                    </a:cubicBezTo>
                    <a:cubicBezTo>
                      <a:pt x="2352" y="8780"/>
                      <a:pt x="2352" y="20487"/>
                      <a:pt x="2352" y="29268"/>
                    </a:cubicBezTo>
                    <a:cubicBezTo>
                      <a:pt x="2352" y="38048"/>
                      <a:pt x="4705" y="49756"/>
                      <a:pt x="2352" y="58536"/>
                    </a:cubicBezTo>
                    <a:cubicBezTo>
                      <a:pt x="0" y="61463"/>
                      <a:pt x="2352" y="67317"/>
                      <a:pt x="2352" y="73170"/>
                    </a:cubicBezTo>
                    <a:cubicBezTo>
                      <a:pt x="2352" y="79024"/>
                      <a:pt x="2352" y="81951"/>
                      <a:pt x="2352" y="87804"/>
                    </a:cubicBezTo>
                    <a:cubicBezTo>
                      <a:pt x="2352" y="96585"/>
                      <a:pt x="4705" y="96585"/>
                      <a:pt x="9411" y="96585"/>
                    </a:cubicBezTo>
                    <a:cubicBezTo>
                      <a:pt x="16470" y="96585"/>
                      <a:pt x="23529" y="96585"/>
                      <a:pt x="30588" y="90731"/>
                    </a:cubicBezTo>
                    <a:cubicBezTo>
                      <a:pt x="32941" y="90731"/>
                      <a:pt x="21176" y="81951"/>
                      <a:pt x="21176" y="81951"/>
                    </a:cubicBezTo>
                    <a:cubicBezTo>
                      <a:pt x="23529" y="81951"/>
                      <a:pt x="32941" y="90731"/>
                      <a:pt x="32941" y="87804"/>
                    </a:cubicBezTo>
                    <a:cubicBezTo>
                      <a:pt x="32941" y="84878"/>
                      <a:pt x="30588" y="81951"/>
                      <a:pt x="30588" y="76097"/>
                    </a:cubicBezTo>
                    <a:cubicBezTo>
                      <a:pt x="30588" y="76097"/>
                      <a:pt x="37647" y="81951"/>
                      <a:pt x="35294" y="79024"/>
                    </a:cubicBezTo>
                    <a:cubicBezTo>
                      <a:pt x="35294" y="73170"/>
                      <a:pt x="40000" y="73170"/>
                      <a:pt x="42352" y="73170"/>
                    </a:cubicBezTo>
                    <a:cubicBezTo>
                      <a:pt x="44705" y="73170"/>
                      <a:pt x="61176" y="81951"/>
                      <a:pt x="61176" y="79024"/>
                    </a:cubicBezTo>
                    <a:cubicBezTo>
                      <a:pt x="61176" y="84878"/>
                      <a:pt x="70588" y="90731"/>
                      <a:pt x="72941" y="96585"/>
                    </a:cubicBezTo>
                    <a:cubicBezTo>
                      <a:pt x="75294" y="102439"/>
                      <a:pt x="80000" y="111219"/>
                      <a:pt x="84705" y="111219"/>
                    </a:cubicBezTo>
                    <a:cubicBezTo>
                      <a:pt x="91764" y="111219"/>
                      <a:pt x="98823" y="114146"/>
                      <a:pt x="105882" y="117073"/>
                    </a:cubicBezTo>
                    <a:cubicBezTo>
                      <a:pt x="108235" y="117073"/>
                      <a:pt x="112941" y="120000"/>
                      <a:pt x="112941" y="117073"/>
                    </a:cubicBezTo>
                    <a:cubicBezTo>
                      <a:pt x="112941" y="114146"/>
                      <a:pt x="120000" y="114146"/>
                      <a:pt x="117647" y="114146"/>
                    </a:cubicBezTo>
                    <a:cubicBezTo>
                      <a:pt x="115294" y="111219"/>
                      <a:pt x="120000" y="114146"/>
                      <a:pt x="117647" y="11414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5" name="Shape 2586">
                <a:extLst>
                  <a:ext uri="{FF2B5EF4-FFF2-40B4-BE49-F238E27FC236}">
                    <a16:creationId xmlns:a16="http://schemas.microsoft.com/office/drawing/2014/main" id="{F30EBD21-9355-4DCF-A8A1-6E252F4790B1}"/>
                  </a:ext>
                </a:extLst>
              </p:cNvPr>
              <p:cNvSpPr/>
              <p:nvPr/>
            </p:nvSpPr>
            <p:spPr>
              <a:xfrm>
                <a:off x="16307719" y="9168845"/>
                <a:ext cx="431051" cy="379424"/>
              </a:xfrm>
              <a:custGeom>
                <a:avLst/>
                <a:gdLst/>
                <a:ahLst/>
                <a:cxnLst/>
                <a:rect l="0" t="0" r="0" b="0"/>
                <a:pathLst>
                  <a:path w="120000" h="120000" extrusionOk="0">
                    <a:moveTo>
                      <a:pt x="77647" y="13333"/>
                    </a:moveTo>
                    <a:cubicBezTo>
                      <a:pt x="75294" y="21333"/>
                      <a:pt x="72941" y="26666"/>
                      <a:pt x="68235" y="34666"/>
                    </a:cubicBezTo>
                    <a:cubicBezTo>
                      <a:pt x="65882" y="45333"/>
                      <a:pt x="54117" y="45333"/>
                      <a:pt x="47058" y="42666"/>
                    </a:cubicBezTo>
                    <a:cubicBezTo>
                      <a:pt x="42352" y="40000"/>
                      <a:pt x="37647" y="45333"/>
                      <a:pt x="35294" y="48000"/>
                    </a:cubicBezTo>
                    <a:cubicBezTo>
                      <a:pt x="32941" y="50666"/>
                      <a:pt x="25882" y="48000"/>
                      <a:pt x="23529" y="50666"/>
                    </a:cubicBezTo>
                    <a:cubicBezTo>
                      <a:pt x="18823" y="53333"/>
                      <a:pt x="18823" y="53333"/>
                      <a:pt x="16470" y="48000"/>
                    </a:cubicBezTo>
                    <a:cubicBezTo>
                      <a:pt x="11764" y="45333"/>
                      <a:pt x="9411" y="42666"/>
                      <a:pt x="7058" y="37333"/>
                    </a:cubicBezTo>
                    <a:cubicBezTo>
                      <a:pt x="4705" y="34666"/>
                      <a:pt x="0" y="50666"/>
                      <a:pt x="0" y="53333"/>
                    </a:cubicBezTo>
                    <a:cubicBezTo>
                      <a:pt x="0" y="61333"/>
                      <a:pt x="7058" y="69333"/>
                      <a:pt x="9411" y="77333"/>
                    </a:cubicBezTo>
                    <a:cubicBezTo>
                      <a:pt x="14117" y="85333"/>
                      <a:pt x="11764" y="93333"/>
                      <a:pt x="18823" y="98666"/>
                    </a:cubicBezTo>
                    <a:cubicBezTo>
                      <a:pt x="23529" y="101333"/>
                      <a:pt x="28235" y="104000"/>
                      <a:pt x="30588" y="104000"/>
                    </a:cubicBezTo>
                    <a:cubicBezTo>
                      <a:pt x="37647" y="101333"/>
                      <a:pt x="30588" y="106666"/>
                      <a:pt x="32941" y="109333"/>
                    </a:cubicBezTo>
                    <a:cubicBezTo>
                      <a:pt x="35294" y="109333"/>
                      <a:pt x="42352" y="109333"/>
                      <a:pt x="44705" y="109333"/>
                    </a:cubicBezTo>
                    <a:cubicBezTo>
                      <a:pt x="47058" y="106666"/>
                      <a:pt x="47058" y="101333"/>
                      <a:pt x="49411" y="104000"/>
                    </a:cubicBezTo>
                    <a:cubicBezTo>
                      <a:pt x="51764" y="106666"/>
                      <a:pt x="56470" y="109333"/>
                      <a:pt x="58823" y="106666"/>
                    </a:cubicBezTo>
                    <a:cubicBezTo>
                      <a:pt x="61176" y="106666"/>
                      <a:pt x="65882" y="104000"/>
                      <a:pt x="65882" y="106666"/>
                    </a:cubicBezTo>
                    <a:cubicBezTo>
                      <a:pt x="68235" y="114666"/>
                      <a:pt x="63529" y="120000"/>
                      <a:pt x="72941" y="114666"/>
                    </a:cubicBezTo>
                    <a:cubicBezTo>
                      <a:pt x="75294" y="114666"/>
                      <a:pt x="77647" y="112000"/>
                      <a:pt x="80000" y="112000"/>
                    </a:cubicBezTo>
                    <a:cubicBezTo>
                      <a:pt x="82352" y="112000"/>
                      <a:pt x="84705" y="114666"/>
                      <a:pt x="84705" y="114666"/>
                    </a:cubicBezTo>
                    <a:cubicBezTo>
                      <a:pt x="87058" y="109333"/>
                      <a:pt x="82352" y="104000"/>
                      <a:pt x="87058" y="98666"/>
                    </a:cubicBezTo>
                    <a:cubicBezTo>
                      <a:pt x="89411" y="96000"/>
                      <a:pt x="87058" y="93333"/>
                      <a:pt x="87058" y="88000"/>
                    </a:cubicBezTo>
                    <a:cubicBezTo>
                      <a:pt x="87058" y="85333"/>
                      <a:pt x="89411" y="82666"/>
                      <a:pt x="91764" y="80000"/>
                    </a:cubicBezTo>
                    <a:cubicBezTo>
                      <a:pt x="96470" y="74666"/>
                      <a:pt x="101176" y="72000"/>
                      <a:pt x="98823" y="64000"/>
                    </a:cubicBezTo>
                    <a:cubicBezTo>
                      <a:pt x="98823" y="58666"/>
                      <a:pt x="105882" y="48000"/>
                      <a:pt x="110588" y="50666"/>
                    </a:cubicBezTo>
                    <a:cubicBezTo>
                      <a:pt x="112941" y="53333"/>
                      <a:pt x="120000" y="50666"/>
                      <a:pt x="115294" y="48000"/>
                    </a:cubicBezTo>
                    <a:cubicBezTo>
                      <a:pt x="112941" y="42666"/>
                      <a:pt x="105882" y="40000"/>
                      <a:pt x="105882" y="34666"/>
                    </a:cubicBezTo>
                    <a:cubicBezTo>
                      <a:pt x="105882" y="29333"/>
                      <a:pt x="101176" y="24000"/>
                      <a:pt x="98823" y="18666"/>
                    </a:cubicBezTo>
                    <a:cubicBezTo>
                      <a:pt x="96470" y="10666"/>
                      <a:pt x="103529" y="18666"/>
                      <a:pt x="103529" y="16000"/>
                    </a:cubicBezTo>
                    <a:cubicBezTo>
                      <a:pt x="105882" y="13333"/>
                      <a:pt x="96470" y="10666"/>
                      <a:pt x="103529" y="8000"/>
                    </a:cubicBezTo>
                    <a:cubicBezTo>
                      <a:pt x="94117" y="5333"/>
                      <a:pt x="80000" y="0"/>
                      <a:pt x="77647" y="13333"/>
                    </a:cubicBezTo>
                    <a:cubicBezTo>
                      <a:pt x="75294" y="18666"/>
                      <a:pt x="80000" y="8000"/>
                      <a:pt x="77647" y="1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6" name="Shape 2587">
                <a:extLst>
                  <a:ext uri="{FF2B5EF4-FFF2-40B4-BE49-F238E27FC236}">
                    <a16:creationId xmlns:a16="http://schemas.microsoft.com/office/drawing/2014/main" id="{E9094F65-5C03-437C-BC82-63EFCD0642A0}"/>
                  </a:ext>
                </a:extLst>
              </p:cNvPr>
              <p:cNvSpPr/>
              <p:nvPr/>
            </p:nvSpPr>
            <p:spPr>
              <a:xfrm>
                <a:off x="16333581" y="9068238"/>
                <a:ext cx="413809" cy="270196"/>
              </a:xfrm>
              <a:custGeom>
                <a:avLst/>
                <a:gdLst/>
                <a:ahLst/>
                <a:cxnLst/>
                <a:rect l="0" t="0" r="0" b="0"/>
                <a:pathLst>
                  <a:path w="120000" h="120000" extrusionOk="0">
                    <a:moveTo>
                      <a:pt x="110204" y="37500"/>
                    </a:moveTo>
                    <a:cubicBezTo>
                      <a:pt x="117551" y="37500"/>
                      <a:pt x="119999" y="33750"/>
                      <a:pt x="115102" y="30000"/>
                    </a:cubicBezTo>
                    <a:cubicBezTo>
                      <a:pt x="110204" y="26250"/>
                      <a:pt x="110204" y="22500"/>
                      <a:pt x="105306" y="26250"/>
                    </a:cubicBezTo>
                    <a:cubicBezTo>
                      <a:pt x="102857" y="30000"/>
                      <a:pt x="105306" y="26250"/>
                      <a:pt x="102857" y="22500"/>
                    </a:cubicBezTo>
                    <a:cubicBezTo>
                      <a:pt x="102857" y="22500"/>
                      <a:pt x="100408" y="22500"/>
                      <a:pt x="100408" y="22500"/>
                    </a:cubicBezTo>
                    <a:cubicBezTo>
                      <a:pt x="100408" y="22500"/>
                      <a:pt x="100408" y="15000"/>
                      <a:pt x="100408" y="15000"/>
                    </a:cubicBezTo>
                    <a:cubicBezTo>
                      <a:pt x="97959" y="11250"/>
                      <a:pt x="95510" y="7500"/>
                      <a:pt x="95510" y="7500"/>
                    </a:cubicBezTo>
                    <a:cubicBezTo>
                      <a:pt x="90612" y="0"/>
                      <a:pt x="93061" y="3750"/>
                      <a:pt x="90612" y="7500"/>
                    </a:cubicBezTo>
                    <a:cubicBezTo>
                      <a:pt x="88163" y="11250"/>
                      <a:pt x="88163" y="3750"/>
                      <a:pt x="88163" y="3750"/>
                    </a:cubicBezTo>
                    <a:cubicBezTo>
                      <a:pt x="85714" y="3750"/>
                      <a:pt x="78367" y="18750"/>
                      <a:pt x="78367" y="22500"/>
                    </a:cubicBezTo>
                    <a:cubicBezTo>
                      <a:pt x="75918" y="22500"/>
                      <a:pt x="73469" y="26250"/>
                      <a:pt x="73469" y="30000"/>
                    </a:cubicBezTo>
                    <a:cubicBezTo>
                      <a:pt x="71020" y="30000"/>
                      <a:pt x="71020" y="33750"/>
                      <a:pt x="71020" y="33750"/>
                    </a:cubicBezTo>
                    <a:cubicBezTo>
                      <a:pt x="71020" y="37500"/>
                      <a:pt x="71020" y="37500"/>
                      <a:pt x="71020" y="37500"/>
                    </a:cubicBezTo>
                    <a:cubicBezTo>
                      <a:pt x="71020" y="41250"/>
                      <a:pt x="63673" y="41250"/>
                      <a:pt x="61224" y="45000"/>
                    </a:cubicBezTo>
                    <a:cubicBezTo>
                      <a:pt x="53877" y="45000"/>
                      <a:pt x="56326" y="52500"/>
                      <a:pt x="61224" y="56250"/>
                    </a:cubicBezTo>
                    <a:cubicBezTo>
                      <a:pt x="66122" y="63750"/>
                      <a:pt x="63673" y="56250"/>
                      <a:pt x="66122" y="52500"/>
                    </a:cubicBezTo>
                    <a:cubicBezTo>
                      <a:pt x="66122" y="48750"/>
                      <a:pt x="71020" y="48750"/>
                      <a:pt x="71020" y="48750"/>
                    </a:cubicBezTo>
                    <a:cubicBezTo>
                      <a:pt x="71020" y="48750"/>
                      <a:pt x="68571" y="45000"/>
                      <a:pt x="68571" y="41250"/>
                    </a:cubicBezTo>
                    <a:cubicBezTo>
                      <a:pt x="68571" y="45000"/>
                      <a:pt x="71020" y="48750"/>
                      <a:pt x="71020" y="48750"/>
                    </a:cubicBezTo>
                    <a:cubicBezTo>
                      <a:pt x="71020" y="48750"/>
                      <a:pt x="66122" y="48750"/>
                      <a:pt x="63673" y="52500"/>
                    </a:cubicBezTo>
                    <a:cubicBezTo>
                      <a:pt x="63673" y="63750"/>
                      <a:pt x="58775" y="52500"/>
                      <a:pt x="56326" y="48750"/>
                    </a:cubicBezTo>
                    <a:cubicBezTo>
                      <a:pt x="48979" y="60000"/>
                      <a:pt x="44081" y="71250"/>
                      <a:pt x="34285" y="75000"/>
                    </a:cubicBezTo>
                    <a:cubicBezTo>
                      <a:pt x="29387" y="78750"/>
                      <a:pt x="24489" y="78750"/>
                      <a:pt x="22040" y="86250"/>
                    </a:cubicBezTo>
                    <a:cubicBezTo>
                      <a:pt x="19591" y="90000"/>
                      <a:pt x="19591" y="93750"/>
                      <a:pt x="17142" y="97500"/>
                    </a:cubicBezTo>
                    <a:cubicBezTo>
                      <a:pt x="17142" y="101250"/>
                      <a:pt x="22040" y="105000"/>
                      <a:pt x="22040" y="105000"/>
                    </a:cubicBezTo>
                    <a:cubicBezTo>
                      <a:pt x="19591" y="108750"/>
                      <a:pt x="2448" y="97500"/>
                      <a:pt x="0" y="97500"/>
                    </a:cubicBezTo>
                    <a:cubicBezTo>
                      <a:pt x="2448" y="105000"/>
                      <a:pt x="7346" y="116250"/>
                      <a:pt x="12244" y="120000"/>
                    </a:cubicBezTo>
                    <a:cubicBezTo>
                      <a:pt x="14693" y="120000"/>
                      <a:pt x="17142" y="116250"/>
                      <a:pt x="17142" y="116250"/>
                    </a:cubicBezTo>
                    <a:cubicBezTo>
                      <a:pt x="22040" y="112500"/>
                      <a:pt x="29387" y="116250"/>
                      <a:pt x="29387" y="112500"/>
                    </a:cubicBezTo>
                    <a:cubicBezTo>
                      <a:pt x="36734" y="101250"/>
                      <a:pt x="41632" y="105000"/>
                      <a:pt x="48979" y="108750"/>
                    </a:cubicBezTo>
                    <a:cubicBezTo>
                      <a:pt x="56326" y="108750"/>
                      <a:pt x="63673" y="101250"/>
                      <a:pt x="66122" y="90000"/>
                    </a:cubicBezTo>
                    <a:cubicBezTo>
                      <a:pt x="68571" y="82500"/>
                      <a:pt x="71020" y="75000"/>
                      <a:pt x="73469" y="67500"/>
                    </a:cubicBezTo>
                    <a:cubicBezTo>
                      <a:pt x="73469" y="56250"/>
                      <a:pt x="75918" y="52500"/>
                      <a:pt x="83265" y="52500"/>
                    </a:cubicBezTo>
                    <a:cubicBezTo>
                      <a:pt x="90612" y="52500"/>
                      <a:pt x="97959" y="56250"/>
                      <a:pt x="105306" y="52500"/>
                    </a:cubicBezTo>
                    <a:cubicBezTo>
                      <a:pt x="115102" y="48750"/>
                      <a:pt x="97959" y="37500"/>
                      <a:pt x="110204" y="375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7" name="Shape 2588">
                <a:extLst>
                  <a:ext uri="{FF2B5EF4-FFF2-40B4-BE49-F238E27FC236}">
                    <a16:creationId xmlns:a16="http://schemas.microsoft.com/office/drawing/2014/main" id="{95F4C7C6-2B08-4B41-907A-BADC6AD96EA8}"/>
                  </a:ext>
                </a:extLst>
              </p:cNvPr>
              <p:cNvSpPr/>
              <p:nvPr/>
            </p:nvSpPr>
            <p:spPr>
              <a:xfrm>
                <a:off x="15491596" y="8131177"/>
                <a:ext cx="143683" cy="83358"/>
              </a:xfrm>
              <a:custGeom>
                <a:avLst/>
                <a:gdLst/>
                <a:ahLst/>
                <a:cxnLst/>
                <a:rect l="0" t="0" r="0" b="0"/>
                <a:pathLst>
                  <a:path w="120000" h="120000" extrusionOk="0">
                    <a:moveTo>
                      <a:pt x="14117" y="96000"/>
                    </a:moveTo>
                    <a:cubicBezTo>
                      <a:pt x="21176" y="108000"/>
                      <a:pt x="42352" y="120000"/>
                      <a:pt x="49411" y="108000"/>
                    </a:cubicBezTo>
                    <a:cubicBezTo>
                      <a:pt x="63529" y="96000"/>
                      <a:pt x="70588" y="120000"/>
                      <a:pt x="84705" y="108000"/>
                    </a:cubicBezTo>
                    <a:cubicBezTo>
                      <a:pt x="91764" y="108000"/>
                      <a:pt x="120000" y="108000"/>
                      <a:pt x="112941" y="96000"/>
                    </a:cubicBezTo>
                    <a:cubicBezTo>
                      <a:pt x="105882" y="72000"/>
                      <a:pt x="98823" y="60000"/>
                      <a:pt x="105882" y="36000"/>
                    </a:cubicBezTo>
                    <a:cubicBezTo>
                      <a:pt x="91764" y="24000"/>
                      <a:pt x="77647" y="48000"/>
                      <a:pt x="70588" y="36000"/>
                    </a:cubicBezTo>
                    <a:cubicBezTo>
                      <a:pt x="63529" y="24000"/>
                      <a:pt x="49411" y="0"/>
                      <a:pt x="42352" y="12000"/>
                    </a:cubicBezTo>
                    <a:cubicBezTo>
                      <a:pt x="28235" y="36000"/>
                      <a:pt x="0" y="72000"/>
                      <a:pt x="14117" y="96000"/>
                    </a:cubicBezTo>
                    <a:cubicBezTo>
                      <a:pt x="21176" y="108000"/>
                      <a:pt x="7058" y="84000"/>
                      <a:pt x="14117" y="96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8" name="Shape 2589">
                <a:extLst>
                  <a:ext uri="{FF2B5EF4-FFF2-40B4-BE49-F238E27FC236}">
                    <a16:creationId xmlns:a16="http://schemas.microsoft.com/office/drawing/2014/main" id="{DC4B0BE4-6AC6-4D56-9298-AFB84541B7DE}"/>
                  </a:ext>
                </a:extLst>
              </p:cNvPr>
              <p:cNvSpPr/>
              <p:nvPr/>
            </p:nvSpPr>
            <p:spPr>
              <a:xfrm>
                <a:off x="15161122" y="8036322"/>
                <a:ext cx="313229" cy="195458"/>
              </a:xfrm>
              <a:custGeom>
                <a:avLst/>
                <a:gdLst/>
                <a:ahLst/>
                <a:cxnLst/>
                <a:rect l="0" t="0" r="0" b="0"/>
                <a:pathLst>
                  <a:path w="120000" h="120000" extrusionOk="0">
                    <a:moveTo>
                      <a:pt x="3243" y="15652"/>
                    </a:moveTo>
                    <a:cubicBezTo>
                      <a:pt x="0" y="20869"/>
                      <a:pt x="0" y="41739"/>
                      <a:pt x="0" y="46956"/>
                    </a:cubicBezTo>
                    <a:cubicBezTo>
                      <a:pt x="3243" y="52173"/>
                      <a:pt x="12972" y="57391"/>
                      <a:pt x="16216" y="67826"/>
                    </a:cubicBezTo>
                    <a:cubicBezTo>
                      <a:pt x="19459" y="67826"/>
                      <a:pt x="22702" y="73043"/>
                      <a:pt x="22702" y="73043"/>
                    </a:cubicBezTo>
                    <a:cubicBezTo>
                      <a:pt x="29189" y="78260"/>
                      <a:pt x="32432" y="73043"/>
                      <a:pt x="38918" y="78260"/>
                    </a:cubicBezTo>
                    <a:cubicBezTo>
                      <a:pt x="42162" y="78260"/>
                      <a:pt x="45405" y="83478"/>
                      <a:pt x="48648" y="83478"/>
                    </a:cubicBezTo>
                    <a:cubicBezTo>
                      <a:pt x="51891" y="83478"/>
                      <a:pt x="58378" y="83478"/>
                      <a:pt x="61621" y="83478"/>
                    </a:cubicBezTo>
                    <a:cubicBezTo>
                      <a:pt x="64864" y="88695"/>
                      <a:pt x="68108" y="93913"/>
                      <a:pt x="71351" y="99130"/>
                    </a:cubicBezTo>
                    <a:cubicBezTo>
                      <a:pt x="74594" y="99130"/>
                      <a:pt x="81081" y="99130"/>
                      <a:pt x="84324" y="104347"/>
                    </a:cubicBezTo>
                    <a:cubicBezTo>
                      <a:pt x="87567" y="104347"/>
                      <a:pt x="90810" y="114782"/>
                      <a:pt x="94054" y="114782"/>
                    </a:cubicBezTo>
                    <a:cubicBezTo>
                      <a:pt x="97297" y="114782"/>
                      <a:pt x="100540" y="104347"/>
                      <a:pt x="103783" y="104347"/>
                    </a:cubicBezTo>
                    <a:cubicBezTo>
                      <a:pt x="107027" y="109565"/>
                      <a:pt x="107027" y="120000"/>
                      <a:pt x="113513" y="114782"/>
                    </a:cubicBezTo>
                    <a:cubicBezTo>
                      <a:pt x="113513" y="114782"/>
                      <a:pt x="120000" y="109565"/>
                      <a:pt x="120000" y="109565"/>
                    </a:cubicBezTo>
                    <a:cubicBezTo>
                      <a:pt x="120000" y="104347"/>
                      <a:pt x="120000" y="99130"/>
                      <a:pt x="120000" y="93913"/>
                    </a:cubicBezTo>
                    <a:cubicBezTo>
                      <a:pt x="116756" y="88695"/>
                      <a:pt x="120000" y="83478"/>
                      <a:pt x="120000" y="73043"/>
                    </a:cubicBezTo>
                    <a:cubicBezTo>
                      <a:pt x="113513" y="73043"/>
                      <a:pt x="110270" y="78260"/>
                      <a:pt x="103783" y="73043"/>
                    </a:cubicBezTo>
                    <a:cubicBezTo>
                      <a:pt x="103783" y="73043"/>
                      <a:pt x="100540" y="67826"/>
                      <a:pt x="100540" y="67826"/>
                    </a:cubicBezTo>
                    <a:cubicBezTo>
                      <a:pt x="97297" y="67826"/>
                      <a:pt x="94054" y="73043"/>
                      <a:pt x="90810" y="67826"/>
                    </a:cubicBezTo>
                    <a:cubicBezTo>
                      <a:pt x="90810" y="67826"/>
                      <a:pt x="87567" y="62608"/>
                      <a:pt x="84324" y="62608"/>
                    </a:cubicBezTo>
                    <a:cubicBezTo>
                      <a:pt x="81081" y="62608"/>
                      <a:pt x="77837" y="73043"/>
                      <a:pt x="77837" y="62608"/>
                    </a:cubicBezTo>
                    <a:cubicBezTo>
                      <a:pt x="71351" y="52173"/>
                      <a:pt x="68108" y="57391"/>
                      <a:pt x="64864" y="52173"/>
                    </a:cubicBezTo>
                    <a:cubicBezTo>
                      <a:pt x="61621" y="46956"/>
                      <a:pt x="61621" y="41739"/>
                      <a:pt x="58378" y="41739"/>
                    </a:cubicBezTo>
                    <a:cubicBezTo>
                      <a:pt x="55135" y="36521"/>
                      <a:pt x="51891" y="36521"/>
                      <a:pt x="51891" y="36521"/>
                    </a:cubicBezTo>
                    <a:cubicBezTo>
                      <a:pt x="45405" y="31304"/>
                      <a:pt x="35675" y="20869"/>
                      <a:pt x="32432" y="10434"/>
                    </a:cubicBezTo>
                    <a:cubicBezTo>
                      <a:pt x="32432" y="5217"/>
                      <a:pt x="29189" y="0"/>
                      <a:pt x="25945" y="0"/>
                    </a:cubicBezTo>
                    <a:cubicBezTo>
                      <a:pt x="19459" y="0"/>
                      <a:pt x="19459" y="5217"/>
                      <a:pt x="16216" y="10434"/>
                    </a:cubicBezTo>
                    <a:cubicBezTo>
                      <a:pt x="16216" y="15652"/>
                      <a:pt x="12972" y="10434"/>
                      <a:pt x="12972" y="10434"/>
                    </a:cubicBezTo>
                    <a:cubicBezTo>
                      <a:pt x="9729" y="15652"/>
                      <a:pt x="6486" y="15652"/>
                      <a:pt x="3243" y="15652"/>
                    </a:cubicBezTo>
                    <a:cubicBezTo>
                      <a:pt x="0" y="20869"/>
                      <a:pt x="6486" y="15652"/>
                      <a:pt x="3243" y="1565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39" name="Shape 2590">
                <a:extLst>
                  <a:ext uri="{FF2B5EF4-FFF2-40B4-BE49-F238E27FC236}">
                    <a16:creationId xmlns:a16="http://schemas.microsoft.com/office/drawing/2014/main" id="{36F562E1-E646-4156-B210-49B0D147AC57}"/>
                  </a:ext>
                </a:extLst>
              </p:cNvPr>
              <p:cNvSpPr/>
              <p:nvPr/>
            </p:nvSpPr>
            <p:spPr>
              <a:xfrm>
                <a:off x="16028971" y="8746304"/>
                <a:ext cx="235640" cy="195458"/>
              </a:xfrm>
              <a:custGeom>
                <a:avLst/>
                <a:gdLst/>
                <a:ahLst/>
                <a:cxnLst/>
                <a:rect l="0" t="0" r="0" b="0"/>
                <a:pathLst>
                  <a:path w="120000" h="120000" extrusionOk="0">
                    <a:moveTo>
                      <a:pt x="59999" y="99130"/>
                    </a:moveTo>
                    <a:cubicBezTo>
                      <a:pt x="59999" y="93913"/>
                      <a:pt x="85714" y="104347"/>
                      <a:pt x="81428" y="93913"/>
                    </a:cubicBezTo>
                    <a:cubicBezTo>
                      <a:pt x="81428" y="93913"/>
                      <a:pt x="77142" y="78260"/>
                      <a:pt x="81428" y="78260"/>
                    </a:cubicBezTo>
                    <a:cubicBezTo>
                      <a:pt x="85714" y="78260"/>
                      <a:pt x="89999" y="83478"/>
                      <a:pt x="89999" y="73043"/>
                    </a:cubicBezTo>
                    <a:cubicBezTo>
                      <a:pt x="89999" y="62608"/>
                      <a:pt x="98571" y="67826"/>
                      <a:pt x="102857" y="62608"/>
                    </a:cubicBezTo>
                    <a:cubicBezTo>
                      <a:pt x="111428" y="62608"/>
                      <a:pt x="111428" y="52173"/>
                      <a:pt x="115714" y="46956"/>
                    </a:cubicBezTo>
                    <a:cubicBezTo>
                      <a:pt x="119999" y="36521"/>
                      <a:pt x="107142" y="10434"/>
                      <a:pt x="111428" y="5217"/>
                    </a:cubicBezTo>
                    <a:cubicBezTo>
                      <a:pt x="102857" y="10434"/>
                      <a:pt x="102857" y="10434"/>
                      <a:pt x="94285" y="5217"/>
                    </a:cubicBezTo>
                    <a:cubicBezTo>
                      <a:pt x="89999" y="0"/>
                      <a:pt x="81428" y="10434"/>
                      <a:pt x="81428" y="10434"/>
                    </a:cubicBezTo>
                    <a:cubicBezTo>
                      <a:pt x="81428" y="20869"/>
                      <a:pt x="72857" y="10434"/>
                      <a:pt x="72857" y="10434"/>
                    </a:cubicBezTo>
                    <a:cubicBezTo>
                      <a:pt x="55714" y="5217"/>
                      <a:pt x="25714" y="0"/>
                      <a:pt x="12857" y="15652"/>
                    </a:cubicBezTo>
                    <a:cubicBezTo>
                      <a:pt x="8571" y="20869"/>
                      <a:pt x="0" y="26086"/>
                      <a:pt x="0" y="36521"/>
                    </a:cubicBezTo>
                    <a:cubicBezTo>
                      <a:pt x="0" y="41739"/>
                      <a:pt x="4285" y="46956"/>
                      <a:pt x="4285" y="52173"/>
                    </a:cubicBezTo>
                    <a:cubicBezTo>
                      <a:pt x="12857" y="57391"/>
                      <a:pt x="12857" y="67826"/>
                      <a:pt x="12857" y="73043"/>
                    </a:cubicBezTo>
                    <a:cubicBezTo>
                      <a:pt x="17142" y="83478"/>
                      <a:pt x="17142" y="88695"/>
                      <a:pt x="21428" y="93913"/>
                    </a:cubicBezTo>
                    <a:cubicBezTo>
                      <a:pt x="21428" y="99130"/>
                      <a:pt x="25714" y="93913"/>
                      <a:pt x="25714" y="99130"/>
                    </a:cubicBezTo>
                    <a:cubicBezTo>
                      <a:pt x="29999" y="99130"/>
                      <a:pt x="25714" y="104347"/>
                      <a:pt x="29999" y="109565"/>
                    </a:cubicBezTo>
                    <a:cubicBezTo>
                      <a:pt x="38571" y="109565"/>
                      <a:pt x="34285" y="114782"/>
                      <a:pt x="34285" y="120000"/>
                    </a:cubicBezTo>
                    <a:cubicBezTo>
                      <a:pt x="34285" y="114782"/>
                      <a:pt x="59999" y="104347"/>
                      <a:pt x="59999" y="99130"/>
                    </a:cubicBezTo>
                    <a:cubicBezTo>
                      <a:pt x="59999" y="99130"/>
                      <a:pt x="59999" y="104347"/>
                      <a:pt x="59999" y="9913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0" name="Shape 2591">
                <a:extLst>
                  <a:ext uri="{FF2B5EF4-FFF2-40B4-BE49-F238E27FC236}">
                    <a16:creationId xmlns:a16="http://schemas.microsoft.com/office/drawing/2014/main" id="{A52841F6-D379-459F-9040-7D0D0395B160}"/>
                  </a:ext>
                </a:extLst>
              </p:cNvPr>
              <p:cNvSpPr/>
              <p:nvPr/>
            </p:nvSpPr>
            <p:spPr>
              <a:xfrm>
                <a:off x="15937013" y="9091234"/>
                <a:ext cx="186789" cy="221332"/>
              </a:xfrm>
              <a:custGeom>
                <a:avLst/>
                <a:gdLst/>
                <a:ahLst/>
                <a:cxnLst/>
                <a:rect l="0" t="0" r="0" b="0"/>
                <a:pathLst>
                  <a:path w="120000" h="120000" extrusionOk="0">
                    <a:moveTo>
                      <a:pt x="54545" y="13846"/>
                    </a:moveTo>
                    <a:cubicBezTo>
                      <a:pt x="49090" y="13846"/>
                      <a:pt x="43636" y="18461"/>
                      <a:pt x="38181" y="18461"/>
                    </a:cubicBezTo>
                    <a:cubicBezTo>
                      <a:pt x="38181" y="13846"/>
                      <a:pt x="32727" y="18461"/>
                      <a:pt x="32727" y="18461"/>
                    </a:cubicBezTo>
                    <a:cubicBezTo>
                      <a:pt x="27272" y="18461"/>
                      <a:pt x="27272" y="9230"/>
                      <a:pt x="27272" y="4615"/>
                    </a:cubicBezTo>
                    <a:cubicBezTo>
                      <a:pt x="21818" y="0"/>
                      <a:pt x="10909" y="0"/>
                      <a:pt x="0" y="0"/>
                    </a:cubicBezTo>
                    <a:cubicBezTo>
                      <a:pt x="5454" y="4615"/>
                      <a:pt x="5454" y="18461"/>
                      <a:pt x="5454" y="27692"/>
                    </a:cubicBezTo>
                    <a:cubicBezTo>
                      <a:pt x="10909" y="36923"/>
                      <a:pt x="16363" y="50769"/>
                      <a:pt x="21818" y="64615"/>
                    </a:cubicBezTo>
                    <a:cubicBezTo>
                      <a:pt x="32727" y="73846"/>
                      <a:pt x="38181" y="87692"/>
                      <a:pt x="49090" y="96923"/>
                    </a:cubicBezTo>
                    <a:cubicBezTo>
                      <a:pt x="65454" y="101538"/>
                      <a:pt x="81818" y="120000"/>
                      <a:pt x="103636" y="120000"/>
                    </a:cubicBezTo>
                    <a:cubicBezTo>
                      <a:pt x="120000" y="120000"/>
                      <a:pt x="114545" y="115384"/>
                      <a:pt x="109090" y="106153"/>
                    </a:cubicBezTo>
                    <a:cubicBezTo>
                      <a:pt x="98181" y="92307"/>
                      <a:pt x="87272" y="83076"/>
                      <a:pt x="87272" y="64615"/>
                    </a:cubicBezTo>
                    <a:cubicBezTo>
                      <a:pt x="87272" y="50769"/>
                      <a:pt x="98181" y="41538"/>
                      <a:pt x="87272" y="27692"/>
                    </a:cubicBezTo>
                    <a:cubicBezTo>
                      <a:pt x="81818" y="23076"/>
                      <a:pt x="60000" y="0"/>
                      <a:pt x="54545" y="13846"/>
                    </a:cubicBezTo>
                    <a:cubicBezTo>
                      <a:pt x="49090" y="18461"/>
                      <a:pt x="54545" y="9230"/>
                      <a:pt x="54545" y="1384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1" name="Shape 2592">
                <a:extLst>
                  <a:ext uri="{FF2B5EF4-FFF2-40B4-BE49-F238E27FC236}">
                    <a16:creationId xmlns:a16="http://schemas.microsoft.com/office/drawing/2014/main" id="{0009CFC3-8768-457A-BB26-568FBF74F428}"/>
                  </a:ext>
                </a:extLst>
              </p:cNvPr>
              <p:cNvSpPr/>
              <p:nvPr/>
            </p:nvSpPr>
            <p:spPr>
              <a:xfrm>
                <a:off x="14885248" y="6854932"/>
                <a:ext cx="2525963" cy="1647045"/>
              </a:xfrm>
              <a:custGeom>
                <a:avLst/>
                <a:gdLst/>
                <a:ahLst/>
                <a:cxnLst/>
                <a:rect l="0" t="0" r="0" b="0"/>
                <a:pathLst>
                  <a:path w="120000" h="120000" extrusionOk="0">
                    <a:moveTo>
                      <a:pt x="119200" y="22769"/>
                    </a:moveTo>
                    <a:cubicBezTo>
                      <a:pt x="119200" y="21538"/>
                      <a:pt x="117600" y="22153"/>
                      <a:pt x="117200" y="22769"/>
                    </a:cubicBezTo>
                    <a:cubicBezTo>
                      <a:pt x="116400" y="22769"/>
                      <a:pt x="116000" y="23384"/>
                      <a:pt x="115200" y="24000"/>
                    </a:cubicBezTo>
                    <a:cubicBezTo>
                      <a:pt x="114400" y="24615"/>
                      <a:pt x="111600" y="24615"/>
                      <a:pt x="111600" y="22769"/>
                    </a:cubicBezTo>
                    <a:cubicBezTo>
                      <a:pt x="110800" y="20307"/>
                      <a:pt x="110400" y="19076"/>
                      <a:pt x="108800" y="17846"/>
                    </a:cubicBezTo>
                    <a:cubicBezTo>
                      <a:pt x="107600" y="17230"/>
                      <a:pt x="105200" y="17230"/>
                      <a:pt x="104800" y="14769"/>
                    </a:cubicBezTo>
                    <a:cubicBezTo>
                      <a:pt x="104400" y="11076"/>
                      <a:pt x="103600" y="6769"/>
                      <a:pt x="102000" y="3692"/>
                    </a:cubicBezTo>
                    <a:cubicBezTo>
                      <a:pt x="100800" y="1846"/>
                      <a:pt x="99200" y="1846"/>
                      <a:pt x="97600" y="615"/>
                    </a:cubicBezTo>
                    <a:cubicBezTo>
                      <a:pt x="96000" y="0"/>
                      <a:pt x="93200" y="615"/>
                      <a:pt x="91600" y="1846"/>
                    </a:cubicBezTo>
                    <a:cubicBezTo>
                      <a:pt x="91200" y="2461"/>
                      <a:pt x="90400" y="3076"/>
                      <a:pt x="90000" y="3692"/>
                    </a:cubicBezTo>
                    <a:cubicBezTo>
                      <a:pt x="90000" y="4307"/>
                      <a:pt x="91200" y="4307"/>
                      <a:pt x="91200" y="4923"/>
                    </a:cubicBezTo>
                    <a:cubicBezTo>
                      <a:pt x="91600" y="7384"/>
                      <a:pt x="89600" y="9230"/>
                      <a:pt x="89200" y="11076"/>
                    </a:cubicBezTo>
                    <a:cubicBezTo>
                      <a:pt x="88800" y="11692"/>
                      <a:pt x="88800" y="12307"/>
                      <a:pt x="88800" y="12923"/>
                    </a:cubicBezTo>
                    <a:cubicBezTo>
                      <a:pt x="88800" y="13538"/>
                      <a:pt x="88800" y="13538"/>
                      <a:pt x="88800" y="14153"/>
                    </a:cubicBezTo>
                    <a:cubicBezTo>
                      <a:pt x="88800" y="15384"/>
                      <a:pt x="87600" y="15384"/>
                      <a:pt x="86800" y="16000"/>
                    </a:cubicBezTo>
                    <a:cubicBezTo>
                      <a:pt x="86400" y="16000"/>
                      <a:pt x="86000" y="16615"/>
                      <a:pt x="85600" y="16615"/>
                    </a:cubicBezTo>
                    <a:cubicBezTo>
                      <a:pt x="85200" y="16615"/>
                      <a:pt x="83200" y="15384"/>
                      <a:pt x="83200" y="15384"/>
                    </a:cubicBezTo>
                    <a:cubicBezTo>
                      <a:pt x="82800" y="16615"/>
                      <a:pt x="82400" y="18461"/>
                      <a:pt x="82000" y="19692"/>
                    </a:cubicBezTo>
                    <a:cubicBezTo>
                      <a:pt x="82000" y="20307"/>
                      <a:pt x="81600" y="20923"/>
                      <a:pt x="81600" y="21538"/>
                    </a:cubicBezTo>
                    <a:cubicBezTo>
                      <a:pt x="81600" y="21538"/>
                      <a:pt x="80800" y="25230"/>
                      <a:pt x="82000" y="24000"/>
                    </a:cubicBezTo>
                    <a:cubicBezTo>
                      <a:pt x="82400" y="23384"/>
                      <a:pt x="82400" y="23384"/>
                      <a:pt x="83200" y="23384"/>
                    </a:cubicBezTo>
                    <a:cubicBezTo>
                      <a:pt x="83600" y="23384"/>
                      <a:pt x="84400" y="24615"/>
                      <a:pt x="84800" y="24000"/>
                    </a:cubicBezTo>
                    <a:cubicBezTo>
                      <a:pt x="86400" y="22153"/>
                      <a:pt x="87600" y="23384"/>
                      <a:pt x="88800" y="25846"/>
                    </a:cubicBezTo>
                    <a:cubicBezTo>
                      <a:pt x="89200" y="26461"/>
                      <a:pt x="90000" y="27692"/>
                      <a:pt x="89600" y="28307"/>
                    </a:cubicBezTo>
                    <a:cubicBezTo>
                      <a:pt x="89600" y="28307"/>
                      <a:pt x="88000" y="27692"/>
                      <a:pt x="87600" y="27692"/>
                    </a:cubicBezTo>
                    <a:cubicBezTo>
                      <a:pt x="86400" y="28307"/>
                      <a:pt x="84800" y="28307"/>
                      <a:pt x="83600" y="28923"/>
                    </a:cubicBezTo>
                    <a:cubicBezTo>
                      <a:pt x="82400" y="29538"/>
                      <a:pt x="82400" y="33230"/>
                      <a:pt x="80800" y="33230"/>
                    </a:cubicBezTo>
                    <a:cubicBezTo>
                      <a:pt x="80000" y="33230"/>
                      <a:pt x="79200" y="32615"/>
                      <a:pt x="78800" y="33846"/>
                    </a:cubicBezTo>
                    <a:cubicBezTo>
                      <a:pt x="78400" y="34461"/>
                      <a:pt x="77600" y="35692"/>
                      <a:pt x="76800" y="35692"/>
                    </a:cubicBezTo>
                    <a:cubicBezTo>
                      <a:pt x="75600" y="35076"/>
                      <a:pt x="73200" y="32615"/>
                      <a:pt x="72800" y="36307"/>
                    </a:cubicBezTo>
                    <a:cubicBezTo>
                      <a:pt x="72800" y="37538"/>
                      <a:pt x="73600" y="38153"/>
                      <a:pt x="73600" y="38769"/>
                    </a:cubicBezTo>
                    <a:cubicBezTo>
                      <a:pt x="73600" y="40000"/>
                      <a:pt x="72400" y="40000"/>
                      <a:pt x="72000" y="40615"/>
                    </a:cubicBezTo>
                    <a:cubicBezTo>
                      <a:pt x="70800" y="42461"/>
                      <a:pt x="70400" y="44307"/>
                      <a:pt x="68800" y="44307"/>
                    </a:cubicBezTo>
                    <a:cubicBezTo>
                      <a:pt x="66800" y="44307"/>
                      <a:pt x="64800" y="44307"/>
                      <a:pt x="62800" y="44923"/>
                    </a:cubicBezTo>
                    <a:cubicBezTo>
                      <a:pt x="62000" y="45538"/>
                      <a:pt x="60400" y="48000"/>
                      <a:pt x="60000" y="47384"/>
                    </a:cubicBezTo>
                    <a:cubicBezTo>
                      <a:pt x="59200" y="47384"/>
                      <a:pt x="58800" y="46153"/>
                      <a:pt x="58400" y="46153"/>
                    </a:cubicBezTo>
                    <a:cubicBezTo>
                      <a:pt x="57600" y="46153"/>
                      <a:pt x="57200" y="46153"/>
                      <a:pt x="56400" y="46153"/>
                    </a:cubicBezTo>
                    <a:cubicBezTo>
                      <a:pt x="55600" y="45538"/>
                      <a:pt x="54800" y="45538"/>
                      <a:pt x="54000" y="44307"/>
                    </a:cubicBezTo>
                    <a:cubicBezTo>
                      <a:pt x="53200" y="43692"/>
                      <a:pt x="52800" y="43692"/>
                      <a:pt x="52400" y="43076"/>
                    </a:cubicBezTo>
                    <a:cubicBezTo>
                      <a:pt x="50800" y="43076"/>
                      <a:pt x="50000" y="43076"/>
                      <a:pt x="48400" y="43076"/>
                    </a:cubicBezTo>
                    <a:cubicBezTo>
                      <a:pt x="47200" y="43076"/>
                      <a:pt x="45200" y="43692"/>
                      <a:pt x="43600" y="43076"/>
                    </a:cubicBezTo>
                    <a:cubicBezTo>
                      <a:pt x="43200" y="43076"/>
                      <a:pt x="42800" y="41846"/>
                      <a:pt x="42800" y="41230"/>
                    </a:cubicBezTo>
                    <a:cubicBezTo>
                      <a:pt x="42000" y="40000"/>
                      <a:pt x="41600" y="38769"/>
                      <a:pt x="40800" y="37538"/>
                    </a:cubicBezTo>
                    <a:cubicBezTo>
                      <a:pt x="39600" y="36307"/>
                      <a:pt x="38800" y="34461"/>
                      <a:pt x="37600" y="34461"/>
                    </a:cubicBezTo>
                    <a:cubicBezTo>
                      <a:pt x="36800" y="34461"/>
                      <a:pt x="32400" y="34461"/>
                      <a:pt x="33200" y="32000"/>
                    </a:cubicBezTo>
                    <a:cubicBezTo>
                      <a:pt x="34000" y="29538"/>
                      <a:pt x="33600" y="25230"/>
                      <a:pt x="31600" y="23384"/>
                    </a:cubicBezTo>
                    <a:cubicBezTo>
                      <a:pt x="30000" y="21538"/>
                      <a:pt x="28000" y="21538"/>
                      <a:pt x="27600" y="17846"/>
                    </a:cubicBezTo>
                    <a:cubicBezTo>
                      <a:pt x="27200" y="18461"/>
                      <a:pt x="26800" y="17846"/>
                      <a:pt x="26400" y="18461"/>
                    </a:cubicBezTo>
                    <a:cubicBezTo>
                      <a:pt x="26000" y="19076"/>
                      <a:pt x="26000" y="19076"/>
                      <a:pt x="26000" y="19692"/>
                    </a:cubicBezTo>
                    <a:cubicBezTo>
                      <a:pt x="25200" y="21538"/>
                      <a:pt x="24000" y="20923"/>
                      <a:pt x="23600" y="22769"/>
                    </a:cubicBezTo>
                    <a:cubicBezTo>
                      <a:pt x="23600" y="24000"/>
                      <a:pt x="24400" y="25230"/>
                      <a:pt x="24000" y="25846"/>
                    </a:cubicBezTo>
                    <a:cubicBezTo>
                      <a:pt x="23600" y="26461"/>
                      <a:pt x="22800" y="27076"/>
                      <a:pt x="22400" y="27076"/>
                    </a:cubicBezTo>
                    <a:cubicBezTo>
                      <a:pt x="22000" y="27692"/>
                      <a:pt x="21600" y="26461"/>
                      <a:pt x="21200" y="27076"/>
                    </a:cubicBezTo>
                    <a:cubicBezTo>
                      <a:pt x="20400" y="27076"/>
                      <a:pt x="20000" y="26461"/>
                      <a:pt x="19200" y="25846"/>
                    </a:cubicBezTo>
                    <a:cubicBezTo>
                      <a:pt x="18800" y="25230"/>
                      <a:pt x="18400" y="28307"/>
                      <a:pt x="18000" y="28923"/>
                    </a:cubicBezTo>
                    <a:cubicBezTo>
                      <a:pt x="18000" y="29538"/>
                      <a:pt x="17600" y="30769"/>
                      <a:pt x="17600" y="31384"/>
                    </a:cubicBezTo>
                    <a:cubicBezTo>
                      <a:pt x="17600" y="32615"/>
                      <a:pt x="18000" y="32615"/>
                      <a:pt x="18000" y="33230"/>
                    </a:cubicBezTo>
                    <a:cubicBezTo>
                      <a:pt x="18000" y="34461"/>
                      <a:pt x="15600" y="33230"/>
                      <a:pt x="15600" y="33230"/>
                    </a:cubicBezTo>
                    <a:cubicBezTo>
                      <a:pt x="14800" y="33846"/>
                      <a:pt x="13200" y="33846"/>
                      <a:pt x="12800" y="34461"/>
                    </a:cubicBezTo>
                    <a:cubicBezTo>
                      <a:pt x="13200" y="33846"/>
                      <a:pt x="13600" y="38153"/>
                      <a:pt x="13600" y="38769"/>
                    </a:cubicBezTo>
                    <a:cubicBezTo>
                      <a:pt x="14000" y="39384"/>
                      <a:pt x="14400" y="40000"/>
                      <a:pt x="14800" y="40615"/>
                    </a:cubicBezTo>
                    <a:cubicBezTo>
                      <a:pt x="14800" y="41230"/>
                      <a:pt x="13600" y="42461"/>
                      <a:pt x="13200" y="43076"/>
                    </a:cubicBezTo>
                    <a:cubicBezTo>
                      <a:pt x="12800" y="43692"/>
                      <a:pt x="13200" y="45538"/>
                      <a:pt x="12800" y="45538"/>
                    </a:cubicBezTo>
                    <a:cubicBezTo>
                      <a:pt x="12400" y="46153"/>
                      <a:pt x="11600" y="46153"/>
                      <a:pt x="11200" y="46769"/>
                    </a:cubicBezTo>
                    <a:cubicBezTo>
                      <a:pt x="10400" y="47384"/>
                      <a:pt x="10000" y="48000"/>
                      <a:pt x="9600" y="48615"/>
                    </a:cubicBezTo>
                    <a:cubicBezTo>
                      <a:pt x="8800" y="48615"/>
                      <a:pt x="8400" y="48615"/>
                      <a:pt x="7600" y="49230"/>
                    </a:cubicBezTo>
                    <a:cubicBezTo>
                      <a:pt x="6800" y="49230"/>
                      <a:pt x="6400" y="49846"/>
                      <a:pt x="6000" y="51076"/>
                    </a:cubicBezTo>
                    <a:cubicBezTo>
                      <a:pt x="6000" y="51076"/>
                      <a:pt x="4400" y="51692"/>
                      <a:pt x="4400" y="51692"/>
                    </a:cubicBezTo>
                    <a:cubicBezTo>
                      <a:pt x="4400" y="51692"/>
                      <a:pt x="4400" y="51076"/>
                      <a:pt x="4400" y="51076"/>
                    </a:cubicBezTo>
                    <a:cubicBezTo>
                      <a:pt x="4000" y="51076"/>
                      <a:pt x="3600" y="51076"/>
                      <a:pt x="2800" y="51076"/>
                    </a:cubicBezTo>
                    <a:cubicBezTo>
                      <a:pt x="2400" y="51076"/>
                      <a:pt x="1200" y="52307"/>
                      <a:pt x="1200" y="52923"/>
                    </a:cubicBezTo>
                    <a:cubicBezTo>
                      <a:pt x="800" y="54153"/>
                      <a:pt x="400" y="55384"/>
                      <a:pt x="400" y="56000"/>
                    </a:cubicBezTo>
                    <a:cubicBezTo>
                      <a:pt x="0" y="57230"/>
                      <a:pt x="1200" y="58461"/>
                      <a:pt x="1600" y="58461"/>
                    </a:cubicBezTo>
                    <a:cubicBezTo>
                      <a:pt x="2800" y="58461"/>
                      <a:pt x="2400" y="58461"/>
                      <a:pt x="2800" y="60307"/>
                    </a:cubicBezTo>
                    <a:cubicBezTo>
                      <a:pt x="2800" y="60923"/>
                      <a:pt x="3200" y="60923"/>
                      <a:pt x="3200" y="62153"/>
                    </a:cubicBezTo>
                    <a:cubicBezTo>
                      <a:pt x="3200" y="62153"/>
                      <a:pt x="2800" y="63384"/>
                      <a:pt x="2800" y="63384"/>
                    </a:cubicBezTo>
                    <a:cubicBezTo>
                      <a:pt x="3600" y="64000"/>
                      <a:pt x="4000" y="64000"/>
                      <a:pt x="4400" y="64615"/>
                    </a:cubicBezTo>
                    <a:cubicBezTo>
                      <a:pt x="5200" y="65846"/>
                      <a:pt x="4800" y="67076"/>
                      <a:pt x="5600" y="67692"/>
                    </a:cubicBezTo>
                    <a:cubicBezTo>
                      <a:pt x="6400" y="68307"/>
                      <a:pt x="7200" y="68923"/>
                      <a:pt x="8000" y="69538"/>
                    </a:cubicBezTo>
                    <a:cubicBezTo>
                      <a:pt x="8400" y="69538"/>
                      <a:pt x="8800" y="68923"/>
                      <a:pt x="9200" y="68307"/>
                    </a:cubicBezTo>
                    <a:cubicBezTo>
                      <a:pt x="10400" y="67076"/>
                      <a:pt x="12400" y="67692"/>
                      <a:pt x="13200" y="69538"/>
                    </a:cubicBezTo>
                    <a:cubicBezTo>
                      <a:pt x="13600" y="70769"/>
                      <a:pt x="12800" y="71384"/>
                      <a:pt x="12400" y="72000"/>
                    </a:cubicBezTo>
                    <a:cubicBezTo>
                      <a:pt x="12000" y="72615"/>
                      <a:pt x="12000" y="72615"/>
                      <a:pt x="12000" y="73230"/>
                    </a:cubicBezTo>
                    <a:cubicBezTo>
                      <a:pt x="11600" y="74461"/>
                      <a:pt x="11200" y="74461"/>
                      <a:pt x="10800" y="74461"/>
                    </a:cubicBezTo>
                    <a:cubicBezTo>
                      <a:pt x="9600" y="75692"/>
                      <a:pt x="12800" y="77538"/>
                      <a:pt x="11600" y="78769"/>
                    </a:cubicBezTo>
                    <a:cubicBezTo>
                      <a:pt x="11200" y="80000"/>
                      <a:pt x="10800" y="79384"/>
                      <a:pt x="10000" y="79384"/>
                    </a:cubicBezTo>
                    <a:cubicBezTo>
                      <a:pt x="8400" y="78769"/>
                      <a:pt x="10400" y="81230"/>
                      <a:pt x="10400" y="81230"/>
                    </a:cubicBezTo>
                    <a:cubicBezTo>
                      <a:pt x="10400" y="82461"/>
                      <a:pt x="10000" y="83076"/>
                      <a:pt x="10800" y="83076"/>
                    </a:cubicBezTo>
                    <a:cubicBezTo>
                      <a:pt x="11600" y="83692"/>
                      <a:pt x="11600" y="84307"/>
                      <a:pt x="12400" y="84923"/>
                    </a:cubicBezTo>
                    <a:cubicBezTo>
                      <a:pt x="13200" y="84923"/>
                      <a:pt x="13600" y="86153"/>
                      <a:pt x="14400" y="86769"/>
                    </a:cubicBezTo>
                    <a:cubicBezTo>
                      <a:pt x="14400" y="86769"/>
                      <a:pt x="14800" y="87384"/>
                      <a:pt x="15200" y="87384"/>
                    </a:cubicBezTo>
                    <a:cubicBezTo>
                      <a:pt x="15600" y="87384"/>
                      <a:pt x="15200" y="86153"/>
                      <a:pt x="16000" y="86153"/>
                    </a:cubicBezTo>
                    <a:cubicBezTo>
                      <a:pt x="17600" y="86153"/>
                      <a:pt x="18400" y="90461"/>
                      <a:pt x="20000" y="90461"/>
                    </a:cubicBezTo>
                    <a:cubicBezTo>
                      <a:pt x="20800" y="90461"/>
                      <a:pt x="20800" y="92307"/>
                      <a:pt x="21600" y="92307"/>
                    </a:cubicBezTo>
                    <a:cubicBezTo>
                      <a:pt x="22400" y="92923"/>
                      <a:pt x="22800" y="94153"/>
                      <a:pt x="23200" y="94153"/>
                    </a:cubicBezTo>
                    <a:cubicBezTo>
                      <a:pt x="24000" y="92923"/>
                      <a:pt x="24000" y="94769"/>
                      <a:pt x="24800" y="94769"/>
                    </a:cubicBezTo>
                    <a:cubicBezTo>
                      <a:pt x="25200" y="94769"/>
                      <a:pt x="25200" y="94153"/>
                      <a:pt x="25600" y="94153"/>
                    </a:cubicBezTo>
                    <a:cubicBezTo>
                      <a:pt x="26000" y="94153"/>
                      <a:pt x="26000" y="94769"/>
                      <a:pt x="26400" y="95384"/>
                    </a:cubicBezTo>
                    <a:cubicBezTo>
                      <a:pt x="27200" y="95384"/>
                      <a:pt x="28000" y="95384"/>
                      <a:pt x="28800" y="94769"/>
                    </a:cubicBezTo>
                    <a:cubicBezTo>
                      <a:pt x="30000" y="94153"/>
                      <a:pt x="29200" y="95384"/>
                      <a:pt x="29600" y="96000"/>
                    </a:cubicBezTo>
                    <a:cubicBezTo>
                      <a:pt x="29600" y="96000"/>
                      <a:pt x="30400" y="94153"/>
                      <a:pt x="30800" y="94153"/>
                    </a:cubicBezTo>
                    <a:cubicBezTo>
                      <a:pt x="31200" y="93538"/>
                      <a:pt x="32000" y="93538"/>
                      <a:pt x="32400" y="94153"/>
                    </a:cubicBezTo>
                    <a:cubicBezTo>
                      <a:pt x="33200" y="95384"/>
                      <a:pt x="34000" y="94153"/>
                      <a:pt x="34800" y="94769"/>
                    </a:cubicBezTo>
                    <a:cubicBezTo>
                      <a:pt x="35600" y="95384"/>
                      <a:pt x="36400" y="94153"/>
                      <a:pt x="36800" y="92923"/>
                    </a:cubicBezTo>
                    <a:cubicBezTo>
                      <a:pt x="37200" y="92923"/>
                      <a:pt x="37200" y="92307"/>
                      <a:pt x="37600" y="92307"/>
                    </a:cubicBezTo>
                    <a:cubicBezTo>
                      <a:pt x="38000" y="91692"/>
                      <a:pt x="38400" y="92307"/>
                      <a:pt x="38800" y="91692"/>
                    </a:cubicBezTo>
                    <a:cubicBezTo>
                      <a:pt x="39200" y="91076"/>
                      <a:pt x="39600" y="89846"/>
                      <a:pt x="40400" y="90461"/>
                    </a:cubicBezTo>
                    <a:cubicBezTo>
                      <a:pt x="41200" y="91076"/>
                      <a:pt x="41200" y="91076"/>
                      <a:pt x="42400" y="89846"/>
                    </a:cubicBezTo>
                    <a:cubicBezTo>
                      <a:pt x="42800" y="89230"/>
                      <a:pt x="43600" y="91076"/>
                      <a:pt x="43600" y="91692"/>
                    </a:cubicBezTo>
                    <a:cubicBezTo>
                      <a:pt x="43200" y="92923"/>
                      <a:pt x="42400" y="93538"/>
                      <a:pt x="43200" y="93538"/>
                    </a:cubicBezTo>
                    <a:cubicBezTo>
                      <a:pt x="44400" y="93538"/>
                      <a:pt x="44400" y="93538"/>
                      <a:pt x="45600" y="92923"/>
                    </a:cubicBezTo>
                    <a:cubicBezTo>
                      <a:pt x="46000" y="92923"/>
                      <a:pt x="46400" y="94769"/>
                      <a:pt x="46400" y="95384"/>
                    </a:cubicBezTo>
                    <a:cubicBezTo>
                      <a:pt x="46400" y="95384"/>
                      <a:pt x="46400" y="96615"/>
                      <a:pt x="46800" y="96000"/>
                    </a:cubicBezTo>
                    <a:cubicBezTo>
                      <a:pt x="46800" y="96000"/>
                      <a:pt x="47600" y="96000"/>
                      <a:pt x="47600" y="96615"/>
                    </a:cubicBezTo>
                    <a:cubicBezTo>
                      <a:pt x="47600" y="97230"/>
                      <a:pt x="46800" y="97846"/>
                      <a:pt x="47200" y="98461"/>
                    </a:cubicBezTo>
                    <a:cubicBezTo>
                      <a:pt x="47600" y="99692"/>
                      <a:pt x="47200" y="101538"/>
                      <a:pt x="46800" y="102153"/>
                    </a:cubicBezTo>
                    <a:cubicBezTo>
                      <a:pt x="46400" y="103384"/>
                      <a:pt x="45600" y="104000"/>
                      <a:pt x="45200" y="104615"/>
                    </a:cubicBezTo>
                    <a:cubicBezTo>
                      <a:pt x="45200" y="105230"/>
                      <a:pt x="45200" y="108307"/>
                      <a:pt x="44800" y="107692"/>
                    </a:cubicBezTo>
                    <a:cubicBezTo>
                      <a:pt x="45200" y="108307"/>
                      <a:pt x="47600" y="106461"/>
                      <a:pt x="48000" y="107692"/>
                    </a:cubicBezTo>
                    <a:cubicBezTo>
                      <a:pt x="48000" y="107692"/>
                      <a:pt x="47200" y="108307"/>
                      <a:pt x="47600" y="109538"/>
                    </a:cubicBezTo>
                    <a:cubicBezTo>
                      <a:pt x="48000" y="110769"/>
                      <a:pt x="49200" y="110769"/>
                      <a:pt x="48800" y="111384"/>
                    </a:cubicBezTo>
                    <a:cubicBezTo>
                      <a:pt x="48800" y="112000"/>
                      <a:pt x="48400" y="113230"/>
                      <a:pt x="48400" y="113846"/>
                    </a:cubicBezTo>
                    <a:cubicBezTo>
                      <a:pt x="48800" y="114461"/>
                      <a:pt x="50000" y="113846"/>
                      <a:pt x="50000" y="114461"/>
                    </a:cubicBezTo>
                    <a:cubicBezTo>
                      <a:pt x="50000" y="114461"/>
                      <a:pt x="50000" y="115076"/>
                      <a:pt x="50000" y="115076"/>
                    </a:cubicBezTo>
                    <a:cubicBezTo>
                      <a:pt x="50000" y="116307"/>
                      <a:pt x="50400" y="115692"/>
                      <a:pt x="50800" y="115692"/>
                    </a:cubicBezTo>
                    <a:cubicBezTo>
                      <a:pt x="51200" y="115692"/>
                      <a:pt x="51600" y="115076"/>
                      <a:pt x="52000" y="115692"/>
                    </a:cubicBezTo>
                    <a:cubicBezTo>
                      <a:pt x="52400" y="115692"/>
                      <a:pt x="52800" y="116307"/>
                      <a:pt x="53200" y="116923"/>
                    </a:cubicBezTo>
                    <a:cubicBezTo>
                      <a:pt x="54000" y="117538"/>
                      <a:pt x="53600" y="115076"/>
                      <a:pt x="53600" y="114461"/>
                    </a:cubicBezTo>
                    <a:cubicBezTo>
                      <a:pt x="52800" y="112000"/>
                      <a:pt x="53600" y="113230"/>
                      <a:pt x="54400" y="112000"/>
                    </a:cubicBezTo>
                    <a:cubicBezTo>
                      <a:pt x="55200" y="111384"/>
                      <a:pt x="54800" y="112000"/>
                      <a:pt x="55600" y="112615"/>
                    </a:cubicBezTo>
                    <a:cubicBezTo>
                      <a:pt x="55600" y="112615"/>
                      <a:pt x="56400" y="112000"/>
                      <a:pt x="56400" y="112000"/>
                    </a:cubicBezTo>
                    <a:cubicBezTo>
                      <a:pt x="56400" y="112615"/>
                      <a:pt x="57200" y="111384"/>
                      <a:pt x="57200" y="112000"/>
                    </a:cubicBezTo>
                    <a:cubicBezTo>
                      <a:pt x="57600" y="112615"/>
                      <a:pt x="57600" y="113230"/>
                      <a:pt x="58400" y="112000"/>
                    </a:cubicBezTo>
                    <a:cubicBezTo>
                      <a:pt x="58800" y="111384"/>
                      <a:pt x="58800" y="112000"/>
                      <a:pt x="59200" y="111384"/>
                    </a:cubicBezTo>
                    <a:cubicBezTo>
                      <a:pt x="59600" y="110769"/>
                      <a:pt x="59600" y="109538"/>
                      <a:pt x="60400" y="109538"/>
                    </a:cubicBezTo>
                    <a:cubicBezTo>
                      <a:pt x="60800" y="109538"/>
                      <a:pt x="61200" y="110769"/>
                      <a:pt x="62000" y="110769"/>
                    </a:cubicBezTo>
                    <a:cubicBezTo>
                      <a:pt x="62000" y="110769"/>
                      <a:pt x="63600" y="111384"/>
                      <a:pt x="63600" y="111384"/>
                    </a:cubicBezTo>
                    <a:cubicBezTo>
                      <a:pt x="63600" y="112000"/>
                      <a:pt x="62800" y="112615"/>
                      <a:pt x="62800" y="113230"/>
                    </a:cubicBezTo>
                    <a:cubicBezTo>
                      <a:pt x="63200" y="113846"/>
                      <a:pt x="64000" y="114461"/>
                      <a:pt x="64400" y="115076"/>
                    </a:cubicBezTo>
                    <a:cubicBezTo>
                      <a:pt x="65200" y="115692"/>
                      <a:pt x="66800" y="116307"/>
                      <a:pt x="67200" y="114461"/>
                    </a:cubicBezTo>
                    <a:cubicBezTo>
                      <a:pt x="67200" y="114461"/>
                      <a:pt x="68000" y="115692"/>
                      <a:pt x="68000" y="115692"/>
                    </a:cubicBezTo>
                    <a:cubicBezTo>
                      <a:pt x="68400" y="116307"/>
                      <a:pt x="68800" y="115076"/>
                      <a:pt x="69600" y="115692"/>
                    </a:cubicBezTo>
                    <a:cubicBezTo>
                      <a:pt x="70000" y="116307"/>
                      <a:pt x="69200" y="116923"/>
                      <a:pt x="69200" y="117538"/>
                    </a:cubicBezTo>
                    <a:cubicBezTo>
                      <a:pt x="69200" y="118153"/>
                      <a:pt x="70000" y="119384"/>
                      <a:pt x="70000" y="120000"/>
                    </a:cubicBezTo>
                    <a:cubicBezTo>
                      <a:pt x="70400" y="120000"/>
                      <a:pt x="70800" y="119384"/>
                      <a:pt x="71200" y="119384"/>
                    </a:cubicBezTo>
                    <a:cubicBezTo>
                      <a:pt x="71200" y="118769"/>
                      <a:pt x="70000" y="118153"/>
                      <a:pt x="70400" y="117538"/>
                    </a:cubicBezTo>
                    <a:cubicBezTo>
                      <a:pt x="71200" y="115692"/>
                      <a:pt x="72000" y="115692"/>
                      <a:pt x="73200" y="115076"/>
                    </a:cubicBezTo>
                    <a:cubicBezTo>
                      <a:pt x="74000" y="114461"/>
                      <a:pt x="74800" y="114461"/>
                      <a:pt x="75600" y="114461"/>
                    </a:cubicBezTo>
                    <a:cubicBezTo>
                      <a:pt x="76000" y="114461"/>
                      <a:pt x="76000" y="113230"/>
                      <a:pt x="76400" y="113230"/>
                    </a:cubicBezTo>
                    <a:cubicBezTo>
                      <a:pt x="77200" y="113230"/>
                      <a:pt x="76800" y="112615"/>
                      <a:pt x="76800" y="112000"/>
                    </a:cubicBezTo>
                    <a:cubicBezTo>
                      <a:pt x="76800" y="112615"/>
                      <a:pt x="78400" y="112000"/>
                      <a:pt x="78400" y="112000"/>
                    </a:cubicBezTo>
                    <a:cubicBezTo>
                      <a:pt x="79200" y="111384"/>
                      <a:pt x="80000" y="112000"/>
                      <a:pt x="80800" y="112000"/>
                    </a:cubicBezTo>
                    <a:cubicBezTo>
                      <a:pt x="81600" y="112000"/>
                      <a:pt x="82000" y="111384"/>
                      <a:pt x="82800" y="110769"/>
                    </a:cubicBezTo>
                    <a:cubicBezTo>
                      <a:pt x="83200" y="110769"/>
                      <a:pt x="83200" y="108923"/>
                      <a:pt x="83600" y="108923"/>
                    </a:cubicBezTo>
                    <a:cubicBezTo>
                      <a:pt x="84400" y="108923"/>
                      <a:pt x="84800" y="108307"/>
                      <a:pt x="85200" y="107692"/>
                    </a:cubicBezTo>
                    <a:cubicBezTo>
                      <a:pt x="85600" y="107692"/>
                      <a:pt x="86000" y="107076"/>
                      <a:pt x="86000" y="106461"/>
                    </a:cubicBezTo>
                    <a:cubicBezTo>
                      <a:pt x="85600" y="106461"/>
                      <a:pt x="87200" y="105846"/>
                      <a:pt x="87200" y="105846"/>
                    </a:cubicBezTo>
                    <a:cubicBezTo>
                      <a:pt x="87600" y="105230"/>
                      <a:pt x="88000" y="104000"/>
                      <a:pt x="88400" y="103384"/>
                    </a:cubicBezTo>
                    <a:cubicBezTo>
                      <a:pt x="88800" y="102769"/>
                      <a:pt x="88800" y="102769"/>
                      <a:pt x="88800" y="102153"/>
                    </a:cubicBezTo>
                    <a:cubicBezTo>
                      <a:pt x="89200" y="100923"/>
                      <a:pt x="88400" y="101538"/>
                      <a:pt x="88400" y="100923"/>
                    </a:cubicBezTo>
                    <a:cubicBezTo>
                      <a:pt x="88400" y="100923"/>
                      <a:pt x="90400" y="100923"/>
                      <a:pt x="89200" y="99692"/>
                    </a:cubicBezTo>
                    <a:cubicBezTo>
                      <a:pt x="88800" y="99076"/>
                      <a:pt x="89200" y="99076"/>
                      <a:pt x="89600" y="99076"/>
                    </a:cubicBezTo>
                    <a:cubicBezTo>
                      <a:pt x="90000" y="99076"/>
                      <a:pt x="90000" y="98461"/>
                      <a:pt x="90400" y="97846"/>
                    </a:cubicBezTo>
                    <a:cubicBezTo>
                      <a:pt x="90800" y="97230"/>
                      <a:pt x="90800" y="96615"/>
                      <a:pt x="91200" y="96000"/>
                    </a:cubicBezTo>
                    <a:cubicBezTo>
                      <a:pt x="91200" y="96000"/>
                      <a:pt x="91200" y="94769"/>
                      <a:pt x="91200" y="94769"/>
                    </a:cubicBezTo>
                    <a:cubicBezTo>
                      <a:pt x="91600" y="94153"/>
                      <a:pt x="92000" y="94153"/>
                      <a:pt x="92400" y="93538"/>
                    </a:cubicBezTo>
                    <a:cubicBezTo>
                      <a:pt x="92800" y="92923"/>
                      <a:pt x="92400" y="92307"/>
                      <a:pt x="92400" y="92307"/>
                    </a:cubicBezTo>
                    <a:cubicBezTo>
                      <a:pt x="92400" y="91692"/>
                      <a:pt x="92800" y="91692"/>
                      <a:pt x="92800" y="91692"/>
                    </a:cubicBezTo>
                    <a:cubicBezTo>
                      <a:pt x="93200" y="91692"/>
                      <a:pt x="92800" y="90461"/>
                      <a:pt x="92800" y="90461"/>
                    </a:cubicBezTo>
                    <a:cubicBezTo>
                      <a:pt x="92800" y="90461"/>
                      <a:pt x="93600" y="91076"/>
                      <a:pt x="93600" y="90461"/>
                    </a:cubicBezTo>
                    <a:cubicBezTo>
                      <a:pt x="94400" y="89846"/>
                      <a:pt x="93600" y="89846"/>
                      <a:pt x="93200" y="89230"/>
                    </a:cubicBezTo>
                    <a:cubicBezTo>
                      <a:pt x="93200" y="89230"/>
                      <a:pt x="94400" y="88000"/>
                      <a:pt x="94400" y="88000"/>
                    </a:cubicBezTo>
                    <a:cubicBezTo>
                      <a:pt x="94000" y="89230"/>
                      <a:pt x="92800" y="87384"/>
                      <a:pt x="92400" y="86769"/>
                    </a:cubicBezTo>
                    <a:cubicBezTo>
                      <a:pt x="92400" y="86769"/>
                      <a:pt x="92000" y="87384"/>
                      <a:pt x="91600" y="87384"/>
                    </a:cubicBezTo>
                    <a:cubicBezTo>
                      <a:pt x="91200" y="88000"/>
                      <a:pt x="90800" y="86769"/>
                      <a:pt x="90400" y="87384"/>
                    </a:cubicBezTo>
                    <a:cubicBezTo>
                      <a:pt x="91200" y="86769"/>
                      <a:pt x="92000" y="86153"/>
                      <a:pt x="92400" y="85538"/>
                    </a:cubicBezTo>
                    <a:cubicBezTo>
                      <a:pt x="92800" y="84923"/>
                      <a:pt x="94000" y="84923"/>
                      <a:pt x="93200" y="83692"/>
                    </a:cubicBezTo>
                    <a:cubicBezTo>
                      <a:pt x="92400" y="83076"/>
                      <a:pt x="92000" y="82461"/>
                      <a:pt x="91200" y="81230"/>
                    </a:cubicBezTo>
                    <a:cubicBezTo>
                      <a:pt x="91200" y="80615"/>
                      <a:pt x="89200" y="81846"/>
                      <a:pt x="89200" y="80000"/>
                    </a:cubicBezTo>
                    <a:cubicBezTo>
                      <a:pt x="89200" y="81230"/>
                      <a:pt x="91200" y="81230"/>
                      <a:pt x="91600" y="81230"/>
                    </a:cubicBezTo>
                    <a:cubicBezTo>
                      <a:pt x="92000" y="81230"/>
                      <a:pt x="93200" y="83076"/>
                      <a:pt x="93600" y="81846"/>
                    </a:cubicBezTo>
                    <a:cubicBezTo>
                      <a:pt x="94000" y="80615"/>
                      <a:pt x="91600" y="79384"/>
                      <a:pt x="91600" y="78153"/>
                    </a:cubicBezTo>
                    <a:cubicBezTo>
                      <a:pt x="91200" y="76923"/>
                      <a:pt x="91200" y="74461"/>
                      <a:pt x="90400" y="73846"/>
                    </a:cubicBezTo>
                    <a:cubicBezTo>
                      <a:pt x="90000" y="72615"/>
                      <a:pt x="87600" y="72615"/>
                      <a:pt x="88400" y="70769"/>
                    </a:cubicBezTo>
                    <a:cubicBezTo>
                      <a:pt x="88800" y="69538"/>
                      <a:pt x="89200" y="68923"/>
                      <a:pt x="89600" y="68307"/>
                    </a:cubicBezTo>
                    <a:cubicBezTo>
                      <a:pt x="90400" y="67076"/>
                      <a:pt x="89600" y="67692"/>
                      <a:pt x="90000" y="67076"/>
                    </a:cubicBezTo>
                    <a:cubicBezTo>
                      <a:pt x="90000" y="66461"/>
                      <a:pt x="91200" y="67076"/>
                      <a:pt x="91200" y="67076"/>
                    </a:cubicBezTo>
                    <a:cubicBezTo>
                      <a:pt x="91600" y="66461"/>
                      <a:pt x="90800" y="65846"/>
                      <a:pt x="91600" y="65230"/>
                    </a:cubicBezTo>
                    <a:cubicBezTo>
                      <a:pt x="92400" y="65230"/>
                      <a:pt x="92800" y="64615"/>
                      <a:pt x="93200" y="64000"/>
                    </a:cubicBezTo>
                    <a:cubicBezTo>
                      <a:pt x="93600" y="64000"/>
                      <a:pt x="94000" y="64000"/>
                      <a:pt x="94000" y="64000"/>
                    </a:cubicBezTo>
                    <a:cubicBezTo>
                      <a:pt x="94400" y="64000"/>
                      <a:pt x="94000" y="64615"/>
                      <a:pt x="94400" y="64615"/>
                    </a:cubicBezTo>
                    <a:cubicBezTo>
                      <a:pt x="94800" y="65230"/>
                      <a:pt x="95200" y="63384"/>
                      <a:pt x="95200" y="62769"/>
                    </a:cubicBezTo>
                    <a:cubicBezTo>
                      <a:pt x="94400" y="61538"/>
                      <a:pt x="93600" y="62153"/>
                      <a:pt x="93200" y="62153"/>
                    </a:cubicBezTo>
                    <a:cubicBezTo>
                      <a:pt x="92400" y="62153"/>
                      <a:pt x="92000" y="60923"/>
                      <a:pt x="91200" y="61538"/>
                    </a:cubicBezTo>
                    <a:cubicBezTo>
                      <a:pt x="90800" y="61538"/>
                      <a:pt x="90400" y="62769"/>
                      <a:pt x="89600" y="62769"/>
                    </a:cubicBezTo>
                    <a:cubicBezTo>
                      <a:pt x="89200" y="63384"/>
                      <a:pt x="88400" y="63384"/>
                      <a:pt x="88000" y="62769"/>
                    </a:cubicBezTo>
                    <a:cubicBezTo>
                      <a:pt x="87600" y="62153"/>
                      <a:pt x="88400" y="60923"/>
                      <a:pt x="88000" y="60307"/>
                    </a:cubicBezTo>
                    <a:cubicBezTo>
                      <a:pt x="87200" y="59692"/>
                      <a:pt x="84000" y="59692"/>
                      <a:pt x="85200" y="56615"/>
                    </a:cubicBezTo>
                    <a:cubicBezTo>
                      <a:pt x="85600" y="56000"/>
                      <a:pt x="86000" y="56615"/>
                      <a:pt x="86800" y="56615"/>
                    </a:cubicBezTo>
                    <a:cubicBezTo>
                      <a:pt x="87200" y="56615"/>
                      <a:pt x="88000" y="56000"/>
                      <a:pt x="88400" y="55384"/>
                    </a:cubicBezTo>
                    <a:cubicBezTo>
                      <a:pt x="89200" y="53538"/>
                      <a:pt x="90400" y="52307"/>
                      <a:pt x="91600" y="51076"/>
                    </a:cubicBezTo>
                    <a:cubicBezTo>
                      <a:pt x="92000" y="49846"/>
                      <a:pt x="92400" y="49846"/>
                      <a:pt x="93200" y="49846"/>
                    </a:cubicBezTo>
                    <a:cubicBezTo>
                      <a:pt x="93200" y="50461"/>
                      <a:pt x="94400" y="50461"/>
                      <a:pt x="94400" y="51076"/>
                    </a:cubicBezTo>
                    <a:cubicBezTo>
                      <a:pt x="94000" y="51692"/>
                      <a:pt x="94000" y="52923"/>
                      <a:pt x="93600" y="53538"/>
                    </a:cubicBezTo>
                    <a:cubicBezTo>
                      <a:pt x="93200" y="53538"/>
                      <a:pt x="92400" y="54153"/>
                      <a:pt x="92400" y="54769"/>
                    </a:cubicBezTo>
                    <a:cubicBezTo>
                      <a:pt x="92400" y="55384"/>
                      <a:pt x="93600" y="55384"/>
                      <a:pt x="93600" y="55384"/>
                    </a:cubicBezTo>
                    <a:cubicBezTo>
                      <a:pt x="93600" y="55384"/>
                      <a:pt x="92000" y="57230"/>
                      <a:pt x="92400" y="57230"/>
                    </a:cubicBezTo>
                    <a:cubicBezTo>
                      <a:pt x="92800" y="57846"/>
                      <a:pt x="94800" y="54769"/>
                      <a:pt x="95200" y="54769"/>
                    </a:cubicBezTo>
                    <a:cubicBezTo>
                      <a:pt x="96000" y="54153"/>
                      <a:pt x="96800" y="53538"/>
                      <a:pt x="97600" y="53538"/>
                    </a:cubicBezTo>
                    <a:cubicBezTo>
                      <a:pt x="98400" y="53538"/>
                      <a:pt x="98400" y="53538"/>
                      <a:pt x="98800" y="52307"/>
                    </a:cubicBezTo>
                    <a:cubicBezTo>
                      <a:pt x="99600" y="51692"/>
                      <a:pt x="100800" y="51076"/>
                      <a:pt x="101600" y="49846"/>
                    </a:cubicBezTo>
                    <a:cubicBezTo>
                      <a:pt x="102000" y="49230"/>
                      <a:pt x="102800" y="47384"/>
                      <a:pt x="103600" y="47384"/>
                    </a:cubicBezTo>
                    <a:cubicBezTo>
                      <a:pt x="104000" y="46769"/>
                      <a:pt x="106400" y="49230"/>
                      <a:pt x="106400" y="47384"/>
                    </a:cubicBezTo>
                    <a:cubicBezTo>
                      <a:pt x="106400" y="46769"/>
                      <a:pt x="106000" y="46153"/>
                      <a:pt x="106400" y="45538"/>
                    </a:cubicBezTo>
                    <a:cubicBezTo>
                      <a:pt x="106800" y="45538"/>
                      <a:pt x="107200" y="45538"/>
                      <a:pt x="107600" y="45538"/>
                    </a:cubicBezTo>
                    <a:cubicBezTo>
                      <a:pt x="108400" y="45538"/>
                      <a:pt x="108000" y="44923"/>
                      <a:pt x="108400" y="44307"/>
                    </a:cubicBezTo>
                    <a:cubicBezTo>
                      <a:pt x="109200" y="43692"/>
                      <a:pt x="109600" y="44307"/>
                      <a:pt x="109600" y="43076"/>
                    </a:cubicBezTo>
                    <a:cubicBezTo>
                      <a:pt x="109600" y="41230"/>
                      <a:pt x="110800" y="43076"/>
                      <a:pt x="111200" y="43692"/>
                    </a:cubicBezTo>
                    <a:cubicBezTo>
                      <a:pt x="111200" y="42461"/>
                      <a:pt x="112400" y="42461"/>
                      <a:pt x="112400" y="41230"/>
                    </a:cubicBezTo>
                    <a:cubicBezTo>
                      <a:pt x="112400" y="40000"/>
                      <a:pt x="112800" y="38153"/>
                      <a:pt x="112400" y="36923"/>
                    </a:cubicBezTo>
                    <a:cubicBezTo>
                      <a:pt x="111600" y="35076"/>
                      <a:pt x="112000" y="35692"/>
                      <a:pt x="112800" y="34461"/>
                    </a:cubicBezTo>
                    <a:cubicBezTo>
                      <a:pt x="113600" y="33846"/>
                      <a:pt x="114000" y="33230"/>
                      <a:pt x="114800" y="33846"/>
                    </a:cubicBezTo>
                    <a:cubicBezTo>
                      <a:pt x="116000" y="34461"/>
                      <a:pt x="116000" y="34461"/>
                      <a:pt x="116400" y="32615"/>
                    </a:cubicBezTo>
                    <a:cubicBezTo>
                      <a:pt x="116800" y="31384"/>
                      <a:pt x="117600" y="30769"/>
                      <a:pt x="118000" y="28923"/>
                    </a:cubicBezTo>
                    <a:cubicBezTo>
                      <a:pt x="118000" y="27692"/>
                      <a:pt x="118400" y="26461"/>
                      <a:pt x="119200" y="25230"/>
                    </a:cubicBezTo>
                    <a:cubicBezTo>
                      <a:pt x="120000" y="24000"/>
                      <a:pt x="119200" y="24000"/>
                      <a:pt x="119200" y="2276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2" name="Shape 2593">
                <a:extLst>
                  <a:ext uri="{FF2B5EF4-FFF2-40B4-BE49-F238E27FC236}">
                    <a16:creationId xmlns:a16="http://schemas.microsoft.com/office/drawing/2014/main" id="{FBD174C4-85FC-48A3-9B95-CD2AFB398F6C}"/>
                  </a:ext>
                </a:extLst>
              </p:cNvPr>
              <p:cNvSpPr/>
              <p:nvPr/>
            </p:nvSpPr>
            <p:spPr>
              <a:xfrm>
                <a:off x="15465731" y="6938291"/>
                <a:ext cx="1321891" cy="574882"/>
              </a:xfrm>
              <a:custGeom>
                <a:avLst/>
                <a:gdLst/>
                <a:ahLst/>
                <a:cxnLst/>
                <a:rect l="0" t="0" r="0" b="0"/>
                <a:pathLst>
                  <a:path w="120000" h="120000" extrusionOk="0">
                    <a:moveTo>
                      <a:pt x="0" y="33529"/>
                    </a:moveTo>
                    <a:cubicBezTo>
                      <a:pt x="764" y="40588"/>
                      <a:pt x="2292" y="44117"/>
                      <a:pt x="5350" y="45882"/>
                    </a:cubicBezTo>
                    <a:cubicBezTo>
                      <a:pt x="6878" y="47647"/>
                      <a:pt x="7643" y="49411"/>
                      <a:pt x="9171" y="51176"/>
                    </a:cubicBezTo>
                    <a:cubicBezTo>
                      <a:pt x="9936" y="54705"/>
                      <a:pt x="10700" y="60000"/>
                      <a:pt x="11464" y="63529"/>
                    </a:cubicBezTo>
                    <a:cubicBezTo>
                      <a:pt x="12229" y="65294"/>
                      <a:pt x="11464" y="65294"/>
                      <a:pt x="11464" y="67058"/>
                    </a:cubicBezTo>
                    <a:cubicBezTo>
                      <a:pt x="10700" y="67058"/>
                      <a:pt x="11464" y="68823"/>
                      <a:pt x="11464" y="70588"/>
                    </a:cubicBezTo>
                    <a:cubicBezTo>
                      <a:pt x="10700" y="75882"/>
                      <a:pt x="9936" y="75882"/>
                      <a:pt x="12229" y="79411"/>
                    </a:cubicBezTo>
                    <a:cubicBezTo>
                      <a:pt x="15286" y="81176"/>
                      <a:pt x="18343" y="79411"/>
                      <a:pt x="21401" y="82941"/>
                    </a:cubicBezTo>
                    <a:cubicBezTo>
                      <a:pt x="22929" y="86470"/>
                      <a:pt x="25987" y="91764"/>
                      <a:pt x="27515" y="95294"/>
                    </a:cubicBezTo>
                    <a:cubicBezTo>
                      <a:pt x="28280" y="97058"/>
                      <a:pt x="29044" y="100588"/>
                      <a:pt x="29808" y="104117"/>
                    </a:cubicBezTo>
                    <a:cubicBezTo>
                      <a:pt x="30573" y="107647"/>
                      <a:pt x="32866" y="105882"/>
                      <a:pt x="33630" y="105882"/>
                    </a:cubicBezTo>
                    <a:cubicBezTo>
                      <a:pt x="36687" y="105882"/>
                      <a:pt x="39745" y="105882"/>
                      <a:pt x="42802" y="105882"/>
                    </a:cubicBezTo>
                    <a:cubicBezTo>
                      <a:pt x="44331" y="105882"/>
                      <a:pt x="47388" y="105882"/>
                      <a:pt x="48917" y="107647"/>
                    </a:cubicBezTo>
                    <a:cubicBezTo>
                      <a:pt x="50445" y="109411"/>
                      <a:pt x="51210" y="112941"/>
                      <a:pt x="52738" y="112941"/>
                    </a:cubicBezTo>
                    <a:cubicBezTo>
                      <a:pt x="54267" y="114705"/>
                      <a:pt x="56560" y="116470"/>
                      <a:pt x="58089" y="116470"/>
                    </a:cubicBezTo>
                    <a:cubicBezTo>
                      <a:pt x="59617" y="114705"/>
                      <a:pt x="61146" y="120000"/>
                      <a:pt x="61910" y="118235"/>
                    </a:cubicBezTo>
                    <a:cubicBezTo>
                      <a:pt x="64968" y="114705"/>
                      <a:pt x="67261" y="111176"/>
                      <a:pt x="71082" y="109411"/>
                    </a:cubicBezTo>
                    <a:cubicBezTo>
                      <a:pt x="74140" y="109411"/>
                      <a:pt x="78726" y="111176"/>
                      <a:pt x="81019" y="107647"/>
                    </a:cubicBezTo>
                    <a:cubicBezTo>
                      <a:pt x="83312" y="104117"/>
                      <a:pt x="84076" y="98823"/>
                      <a:pt x="86369" y="97058"/>
                    </a:cubicBezTo>
                    <a:cubicBezTo>
                      <a:pt x="88662" y="95294"/>
                      <a:pt x="88662" y="93529"/>
                      <a:pt x="87133" y="90000"/>
                    </a:cubicBezTo>
                    <a:cubicBezTo>
                      <a:pt x="86369" y="88235"/>
                      <a:pt x="86369" y="84705"/>
                      <a:pt x="87898" y="82941"/>
                    </a:cubicBezTo>
                    <a:cubicBezTo>
                      <a:pt x="90191" y="77647"/>
                      <a:pt x="93248" y="88235"/>
                      <a:pt x="96305" y="81176"/>
                    </a:cubicBezTo>
                    <a:cubicBezTo>
                      <a:pt x="97070" y="79411"/>
                      <a:pt x="97834" y="77647"/>
                      <a:pt x="99363" y="77647"/>
                    </a:cubicBezTo>
                    <a:cubicBezTo>
                      <a:pt x="101656" y="75882"/>
                      <a:pt x="102420" y="77647"/>
                      <a:pt x="104713" y="74117"/>
                    </a:cubicBezTo>
                    <a:cubicBezTo>
                      <a:pt x="105477" y="72352"/>
                      <a:pt x="105477" y="67058"/>
                      <a:pt x="106242" y="67058"/>
                    </a:cubicBezTo>
                    <a:cubicBezTo>
                      <a:pt x="107770" y="65294"/>
                      <a:pt x="108535" y="65294"/>
                      <a:pt x="109299" y="65294"/>
                    </a:cubicBezTo>
                    <a:cubicBezTo>
                      <a:pt x="112356" y="63529"/>
                      <a:pt x="114649" y="61764"/>
                      <a:pt x="117707" y="63529"/>
                    </a:cubicBezTo>
                    <a:cubicBezTo>
                      <a:pt x="120000" y="63529"/>
                      <a:pt x="115414" y="51176"/>
                      <a:pt x="114649" y="51176"/>
                    </a:cubicBezTo>
                    <a:cubicBezTo>
                      <a:pt x="113885" y="49411"/>
                      <a:pt x="112356" y="47647"/>
                      <a:pt x="110828" y="49411"/>
                    </a:cubicBezTo>
                    <a:cubicBezTo>
                      <a:pt x="109299" y="49411"/>
                      <a:pt x="109299" y="52941"/>
                      <a:pt x="107770" y="51176"/>
                    </a:cubicBezTo>
                    <a:cubicBezTo>
                      <a:pt x="107006" y="49411"/>
                      <a:pt x="104713" y="47647"/>
                      <a:pt x="103949" y="49411"/>
                    </a:cubicBezTo>
                    <a:cubicBezTo>
                      <a:pt x="103184" y="52941"/>
                      <a:pt x="102420" y="51176"/>
                      <a:pt x="102420" y="47647"/>
                    </a:cubicBezTo>
                    <a:cubicBezTo>
                      <a:pt x="102420" y="44117"/>
                      <a:pt x="104713" y="37058"/>
                      <a:pt x="104713" y="33529"/>
                    </a:cubicBezTo>
                    <a:cubicBezTo>
                      <a:pt x="105477" y="30000"/>
                      <a:pt x="107770" y="24705"/>
                      <a:pt x="104713" y="24705"/>
                    </a:cubicBezTo>
                    <a:cubicBezTo>
                      <a:pt x="102420" y="24705"/>
                      <a:pt x="102420" y="26470"/>
                      <a:pt x="100127" y="24705"/>
                    </a:cubicBezTo>
                    <a:cubicBezTo>
                      <a:pt x="97834" y="22941"/>
                      <a:pt x="97070" y="22941"/>
                      <a:pt x="94777" y="26470"/>
                    </a:cubicBezTo>
                    <a:cubicBezTo>
                      <a:pt x="92484" y="30000"/>
                      <a:pt x="89426" y="31764"/>
                      <a:pt x="87133" y="33529"/>
                    </a:cubicBezTo>
                    <a:cubicBezTo>
                      <a:pt x="83312" y="35294"/>
                      <a:pt x="81783" y="33529"/>
                      <a:pt x="78726" y="33529"/>
                    </a:cubicBezTo>
                    <a:cubicBezTo>
                      <a:pt x="77197" y="31764"/>
                      <a:pt x="76433" y="31764"/>
                      <a:pt x="74904" y="30000"/>
                    </a:cubicBezTo>
                    <a:cubicBezTo>
                      <a:pt x="74140" y="30000"/>
                      <a:pt x="73375" y="26470"/>
                      <a:pt x="71847" y="26470"/>
                    </a:cubicBezTo>
                    <a:cubicBezTo>
                      <a:pt x="68789" y="24705"/>
                      <a:pt x="67261" y="21176"/>
                      <a:pt x="63439" y="19411"/>
                    </a:cubicBezTo>
                    <a:cubicBezTo>
                      <a:pt x="61910" y="19411"/>
                      <a:pt x="60382" y="21176"/>
                      <a:pt x="58853" y="22941"/>
                    </a:cubicBezTo>
                    <a:cubicBezTo>
                      <a:pt x="57324" y="24705"/>
                      <a:pt x="55796" y="22941"/>
                      <a:pt x="54267" y="21176"/>
                    </a:cubicBezTo>
                    <a:cubicBezTo>
                      <a:pt x="52738" y="19411"/>
                      <a:pt x="51974" y="19411"/>
                      <a:pt x="51974" y="14117"/>
                    </a:cubicBezTo>
                    <a:cubicBezTo>
                      <a:pt x="51210" y="10588"/>
                      <a:pt x="51210" y="10588"/>
                      <a:pt x="48917" y="8823"/>
                    </a:cubicBezTo>
                    <a:cubicBezTo>
                      <a:pt x="47388" y="7058"/>
                      <a:pt x="45859" y="5294"/>
                      <a:pt x="44331" y="5294"/>
                    </a:cubicBezTo>
                    <a:cubicBezTo>
                      <a:pt x="42802" y="5294"/>
                      <a:pt x="40509" y="0"/>
                      <a:pt x="39745" y="1764"/>
                    </a:cubicBezTo>
                    <a:cubicBezTo>
                      <a:pt x="38216" y="1764"/>
                      <a:pt x="35159" y="8823"/>
                      <a:pt x="34394" y="12352"/>
                    </a:cubicBezTo>
                    <a:cubicBezTo>
                      <a:pt x="34394" y="15882"/>
                      <a:pt x="36687" y="19411"/>
                      <a:pt x="35923" y="22941"/>
                    </a:cubicBezTo>
                    <a:cubicBezTo>
                      <a:pt x="35159" y="26470"/>
                      <a:pt x="32866" y="30000"/>
                      <a:pt x="31337" y="26470"/>
                    </a:cubicBezTo>
                    <a:cubicBezTo>
                      <a:pt x="29808" y="26470"/>
                      <a:pt x="29044" y="24705"/>
                      <a:pt x="28280" y="24705"/>
                    </a:cubicBezTo>
                    <a:cubicBezTo>
                      <a:pt x="27515" y="24705"/>
                      <a:pt x="26751" y="24705"/>
                      <a:pt x="25987" y="24705"/>
                    </a:cubicBezTo>
                    <a:cubicBezTo>
                      <a:pt x="23694" y="22941"/>
                      <a:pt x="23694" y="19411"/>
                      <a:pt x="21401" y="17647"/>
                    </a:cubicBezTo>
                    <a:cubicBezTo>
                      <a:pt x="19872" y="15882"/>
                      <a:pt x="17579" y="14117"/>
                      <a:pt x="16050" y="15882"/>
                    </a:cubicBezTo>
                    <a:cubicBezTo>
                      <a:pt x="13757" y="17647"/>
                      <a:pt x="12229" y="21176"/>
                      <a:pt x="9936" y="22941"/>
                    </a:cubicBezTo>
                    <a:cubicBezTo>
                      <a:pt x="8407" y="24705"/>
                      <a:pt x="6878" y="28235"/>
                      <a:pt x="5350" y="30000"/>
                    </a:cubicBezTo>
                    <a:cubicBezTo>
                      <a:pt x="3057" y="30000"/>
                      <a:pt x="1528" y="33529"/>
                      <a:pt x="0" y="3352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3" name="Shape 2594">
                <a:extLst>
                  <a:ext uri="{FF2B5EF4-FFF2-40B4-BE49-F238E27FC236}">
                    <a16:creationId xmlns:a16="http://schemas.microsoft.com/office/drawing/2014/main" id="{A9DEB605-ED3D-45B2-AFBE-01374EF2F200}"/>
                  </a:ext>
                </a:extLst>
              </p:cNvPr>
              <p:cNvSpPr/>
              <p:nvPr/>
            </p:nvSpPr>
            <p:spPr>
              <a:xfrm>
                <a:off x="12281698" y="5834512"/>
                <a:ext cx="528755" cy="911196"/>
              </a:xfrm>
              <a:custGeom>
                <a:avLst/>
                <a:gdLst/>
                <a:ahLst/>
                <a:cxnLst/>
                <a:rect l="0" t="0" r="0" b="0"/>
                <a:pathLst>
                  <a:path w="120000" h="120000" extrusionOk="0">
                    <a:moveTo>
                      <a:pt x="116190" y="27777"/>
                    </a:moveTo>
                    <a:cubicBezTo>
                      <a:pt x="114285" y="26666"/>
                      <a:pt x="118095" y="24444"/>
                      <a:pt x="116190" y="22222"/>
                    </a:cubicBezTo>
                    <a:cubicBezTo>
                      <a:pt x="114285" y="20000"/>
                      <a:pt x="116190" y="20000"/>
                      <a:pt x="116190" y="17777"/>
                    </a:cubicBezTo>
                    <a:cubicBezTo>
                      <a:pt x="116190" y="16666"/>
                      <a:pt x="114285" y="15555"/>
                      <a:pt x="114285" y="14444"/>
                    </a:cubicBezTo>
                    <a:cubicBezTo>
                      <a:pt x="112380" y="13333"/>
                      <a:pt x="114285" y="13333"/>
                      <a:pt x="114285" y="12222"/>
                    </a:cubicBezTo>
                    <a:cubicBezTo>
                      <a:pt x="112380" y="10000"/>
                      <a:pt x="112380" y="8888"/>
                      <a:pt x="108571" y="7777"/>
                    </a:cubicBezTo>
                    <a:cubicBezTo>
                      <a:pt x="104761" y="6666"/>
                      <a:pt x="100952" y="6666"/>
                      <a:pt x="97142" y="5555"/>
                    </a:cubicBezTo>
                    <a:cubicBezTo>
                      <a:pt x="93333" y="3333"/>
                      <a:pt x="89523" y="0"/>
                      <a:pt x="83809" y="1111"/>
                    </a:cubicBezTo>
                    <a:cubicBezTo>
                      <a:pt x="81904" y="1111"/>
                      <a:pt x="83809" y="4444"/>
                      <a:pt x="83809" y="5555"/>
                    </a:cubicBezTo>
                    <a:cubicBezTo>
                      <a:pt x="81904" y="8888"/>
                      <a:pt x="70476" y="6666"/>
                      <a:pt x="64761" y="5555"/>
                    </a:cubicBezTo>
                    <a:cubicBezTo>
                      <a:pt x="64761" y="7777"/>
                      <a:pt x="64761" y="8888"/>
                      <a:pt x="64761" y="11111"/>
                    </a:cubicBezTo>
                    <a:cubicBezTo>
                      <a:pt x="62857" y="11111"/>
                      <a:pt x="59047" y="10000"/>
                      <a:pt x="55238" y="11111"/>
                    </a:cubicBezTo>
                    <a:cubicBezTo>
                      <a:pt x="53333" y="11111"/>
                      <a:pt x="53333" y="12222"/>
                      <a:pt x="51428" y="13333"/>
                    </a:cubicBezTo>
                    <a:cubicBezTo>
                      <a:pt x="51428" y="14444"/>
                      <a:pt x="47619" y="15555"/>
                      <a:pt x="47619" y="16666"/>
                    </a:cubicBezTo>
                    <a:cubicBezTo>
                      <a:pt x="45714" y="17777"/>
                      <a:pt x="49523" y="20000"/>
                      <a:pt x="47619" y="20000"/>
                    </a:cubicBezTo>
                    <a:cubicBezTo>
                      <a:pt x="47619" y="21111"/>
                      <a:pt x="45714" y="21111"/>
                      <a:pt x="45714" y="22222"/>
                    </a:cubicBezTo>
                    <a:cubicBezTo>
                      <a:pt x="41904" y="23333"/>
                      <a:pt x="38095" y="25555"/>
                      <a:pt x="38095" y="27777"/>
                    </a:cubicBezTo>
                    <a:cubicBezTo>
                      <a:pt x="38095" y="30000"/>
                      <a:pt x="34285" y="27777"/>
                      <a:pt x="32380" y="30000"/>
                    </a:cubicBezTo>
                    <a:cubicBezTo>
                      <a:pt x="32380" y="32222"/>
                      <a:pt x="32380" y="34444"/>
                      <a:pt x="30476" y="36666"/>
                    </a:cubicBezTo>
                    <a:cubicBezTo>
                      <a:pt x="30476" y="38888"/>
                      <a:pt x="24761" y="40000"/>
                      <a:pt x="24761" y="42222"/>
                    </a:cubicBezTo>
                    <a:cubicBezTo>
                      <a:pt x="24761" y="43333"/>
                      <a:pt x="30476" y="45555"/>
                      <a:pt x="28571" y="46666"/>
                    </a:cubicBezTo>
                    <a:cubicBezTo>
                      <a:pt x="24761" y="48888"/>
                      <a:pt x="20952" y="47777"/>
                      <a:pt x="17142" y="48888"/>
                    </a:cubicBezTo>
                    <a:cubicBezTo>
                      <a:pt x="11428" y="50000"/>
                      <a:pt x="9523" y="53333"/>
                      <a:pt x="9523" y="56666"/>
                    </a:cubicBezTo>
                    <a:cubicBezTo>
                      <a:pt x="11428" y="58888"/>
                      <a:pt x="11428" y="61111"/>
                      <a:pt x="11428" y="63333"/>
                    </a:cubicBezTo>
                    <a:cubicBezTo>
                      <a:pt x="11428" y="66666"/>
                      <a:pt x="7619" y="67777"/>
                      <a:pt x="15238" y="70000"/>
                    </a:cubicBezTo>
                    <a:cubicBezTo>
                      <a:pt x="19047" y="72222"/>
                      <a:pt x="17142" y="73333"/>
                      <a:pt x="13333" y="74444"/>
                    </a:cubicBezTo>
                    <a:cubicBezTo>
                      <a:pt x="11428" y="75555"/>
                      <a:pt x="15238" y="80000"/>
                      <a:pt x="13333" y="82222"/>
                    </a:cubicBezTo>
                    <a:cubicBezTo>
                      <a:pt x="13333" y="84444"/>
                      <a:pt x="7619" y="84444"/>
                      <a:pt x="7619" y="86666"/>
                    </a:cubicBezTo>
                    <a:cubicBezTo>
                      <a:pt x="7619" y="87777"/>
                      <a:pt x="7619" y="92222"/>
                      <a:pt x="5714" y="92222"/>
                    </a:cubicBezTo>
                    <a:cubicBezTo>
                      <a:pt x="5714" y="92222"/>
                      <a:pt x="1904" y="91111"/>
                      <a:pt x="0" y="91111"/>
                    </a:cubicBezTo>
                    <a:cubicBezTo>
                      <a:pt x="0" y="95555"/>
                      <a:pt x="7619" y="96666"/>
                      <a:pt x="7619" y="100000"/>
                    </a:cubicBezTo>
                    <a:cubicBezTo>
                      <a:pt x="5714" y="101111"/>
                      <a:pt x="11428" y="106666"/>
                      <a:pt x="13333" y="107777"/>
                    </a:cubicBezTo>
                    <a:cubicBezTo>
                      <a:pt x="17142" y="110000"/>
                      <a:pt x="15238" y="111111"/>
                      <a:pt x="15238" y="113333"/>
                    </a:cubicBezTo>
                    <a:cubicBezTo>
                      <a:pt x="15238" y="114444"/>
                      <a:pt x="19047" y="116666"/>
                      <a:pt x="19047" y="118888"/>
                    </a:cubicBezTo>
                    <a:cubicBezTo>
                      <a:pt x="17142" y="120000"/>
                      <a:pt x="24761" y="118888"/>
                      <a:pt x="26666" y="120000"/>
                    </a:cubicBezTo>
                    <a:cubicBezTo>
                      <a:pt x="30476" y="120000"/>
                      <a:pt x="28571" y="118888"/>
                      <a:pt x="28571" y="116666"/>
                    </a:cubicBezTo>
                    <a:cubicBezTo>
                      <a:pt x="28571" y="111111"/>
                      <a:pt x="43809" y="115555"/>
                      <a:pt x="45714" y="112222"/>
                    </a:cubicBezTo>
                    <a:cubicBezTo>
                      <a:pt x="47619" y="108888"/>
                      <a:pt x="49523" y="105555"/>
                      <a:pt x="51428" y="102222"/>
                    </a:cubicBezTo>
                    <a:cubicBezTo>
                      <a:pt x="51428" y="100000"/>
                      <a:pt x="51428" y="97777"/>
                      <a:pt x="49523" y="96666"/>
                    </a:cubicBezTo>
                    <a:cubicBezTo>
                      <a:pt x="47619" y="94444"/>
                      <a:pt x="49523" y="94444"/>
                      <a:pt x="53333" y="93333"/>
                    </a:cubicBezTo>
                    <a:cubicBezTo>
                      <a:pt x="55238" y="93333"/>
                      <a:pt x="60952" y="92222"/>
                      <a:pt x="60952" y="91111"/>
                    </a:cubicBezTo>
                    <a:cubicBezTo>
                      <a:pt x="60952" y="91111"/>
                      <a:pt x="60952" y="90000"/>
                      <a:pt x="60952" y="90000"/>
                    </a:cubicBezTo>
                    <a:cubicBezTo>
                      <a:pt x="62857" y="90000"/>
                      <a:pt x="66666" y="90000"/>
                      <a:pt x="66666" y="88888"/>
                    </a:cubicBezTo>
                    <a:cubicBezTo>
                      <a:pt x="66666" y="87777"/>
                      <a:pt x="64761" y="87777"/>
                      <a:pt x="64761" y="86666"/>
                    </a:cubicBezTo>
                    <a:cubicBezTo>
                      <a:pt x="66666" y="86666"/>
                      <a:pt x="68571" y="85555"/>
                      <a:pt x="68571" y="85555"/>
                    </a:cubicBezTo>
                    <a:cubicBezTo>
                      <a:pt x="72380" y="83333"/>
                      <a:pt x="70476" y="82222"/>
                      <a:pt x="66666" y="81111"/>
                    </a:cubicBezTo>
                    <a:cubicBezTo>
                      <a:pt x="62857" y="78888"/>
                      <a:pt x="55238" y="77777"/>
                      <a:pt x="55238" y="73333"/>
                    </a:cubicBezTo>
                    <a:cubicBezTo>
                      <a:pt x="55238" y="71111"/>
                      <a:pt x="55238" y="68888"/>
                      <a:pt x="57142" y="66666"/>
                    </a:cubicBezTo>
                    <a:cubicBezTo>
                      <a:pt x="59047" y="64444"/>
                      <a:pt x="59047" y="64444"/>
                      <a:pt x="57142" y="62222"/>
                    </a:cubicBezTo>
                    <a:cubicBezTo>
                      <a:pt x="55238" y="62222"/>
                      <a:pt x="62857" y="58888"/>
                      <a:pt x="62857" y="58888"/>
                    </a:cubicBezTo>
                    <a:cubicBezTo>
                      <a:pt x="66666" y="56666"/>
                      <a:pt x="68571" y="54444"/>
                      <a:pt x="74285" y="53333"/>
                    </a:cubicBezTo>
                    <a:cubicBezTo>
                      <a:pt x="80000" y="52222"/>
                      <a:pt x="89523" y="48888"/>
                      <a:pt x="93333" y="45555"/>
                    </a:cubicBezTo>
                    <a:cubicBezTo>
                      <a:pt x="97142" y="42222"/>
                      <a:pt x="87619" y="40000"/>
                      <a:pt x="95238" y="38888"/>
                    </a:cubicBezTo>
                    <a:cubicBezTo>
                      <a:pt x="99047" y="37777"/>
                      <a:pt x="97142" y="37777"/>
                      <a:pt x="95238" y="35555"/>
                    </a:cubicBezTo>
                    <a:cubicBezTo>
                      <a:pt x="95238" y="34444"/>
                      <a:pt x="100952" y="33333"/>
                      <a:pt x="102857" y="33333"/>
                    </a:cubicBezTo>
                    <a:cubicBezTo>
                      <a:pt x="106666" y="31111"/>
                      <a:pt x="108571" y="30000"/>
                      <a:pt x="110476" y="32222"/>
                    </a:cubicBezTo>
                    <a:cubicBezTo>
                      <a:pt x="112380" y="32222"/>
                      <a:pt x="114285" y="31111"/>
                      <a:pt x="114285" y="31111"/>
                    </a:cubicBezTo>
                    <a:cubicBezTo>
                      <a:pt x="116190" y="31111"/>
                      <a:pt x="118095" y="31111"/>
                      <a:pt x="120000" y="31111"/>
                    </a:cubicBezTo>
                    <a:cubicBezTo>
                      <a:pt x="120000" y="30000"/>
                      <a:pt x="118095" y="30000"/>
                      <a:pt x="116190" y="27777"/>
                    </a:cubicBezTo>
                    <a:cubicBezTo>
                      <a:pt x="114285" y="26666"/>
                      <a:pt x="116190" y="28888"/>
                      <a:pt x="116190" y="2777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4" name="Shape 2595">
                <a:extLst>
                  <a:ext uri="{FF2B5EF4-FFF2-40B4-BE49-F238E27FC236}">
                    <a16:creationId xmlns:a16="http://schemas.microsoft.com/office/drawing/2014/main" id="{5DA9E8A1-E659-4330-9EDC-2CF3502B18C0}"/>
                  </a:ext>
                </a:extLst>
              </p:cNvPr>
              <p:cNvSpPr/>
              <p:nvPr/>
            </p:nvSpPr>
            <p:spPr>
              <a:xfrm>
                <a:off x="12669645" y="5765526"/>
                <a:ext cx="454041" cy="709984"/>
              </a:xfrm>
              <a:custGeom>
                <a:avLst/>
                <a:gdLst/>
                <a:ahLst/>
                <a:cxnLst/>
                <a:rect l="0" t="0" r="0" b="0"/>
                <a:pathLst>
                  <a:path w="120000" h="120000" extrusionOk="0">
                    <a:moveTo>
                      <a:pt x="117777" y="84285"/>
                    </a:moveTo>
                    <a:cubicBezTo>
                      <a:pt x="115555" y="81428"/>
                      <a:pt x="108888" y="80000"/>
                      <a:pt x="104444" y="78571"/>
                    </a:cubicBezTo>
                    <a:cubicBezTo>
                      <a:pt x="97777" y="75714"/>
                      <a:pt x="106666" y="75714"/>
                      <a:pt x="108888" y="72857"/>
                    </a:cubicBezTo>
                    <a:cubicBezTo>
                      <a:pt x="108888" y="72857"/>
                      <a:pt x="100000" y="64285"/>
                      <a:pt x="97777" y="62857"/>
                    </a:cubicBezTo>
                    <a:cubicBezTo>
                      <a:pt x="97777" y="62857"/>
                      <a:pt x="102222" y="61428"/>
                      <a:pt x="102222" y="61428"/>
                    </a:cubicBezTo>
                    <a:cubicBezTo>
                      <a:pt x="102222" y="60000"/>
                      <a:pt x="97777" y="55714"/>
                      <a:pt x="97777" y="54285"/>
                    </a:cubicBezTo>
                    <a:cubicBezTo>
                      <a:pt x="97777" y="52857"/>
                      <a:pt x="100000" y="52857"/>
                      <a:pt x="100000" y="51428"/>
                    </a:cubicBezTo>
                    <a:cubicBezTo>
                      <a:pt x="102222" y="50000"/>
                      <a:pt x="97777" y="47142"/>
                      <a:pt x="97777" y="45714"/>
                    </a:cubicBezTo>
                    <a:cubicBezTo>
                      <a:pt x="93333" y="42857"/>
                      <a:pt x="88888" y="40000"/>
                      <a:pt x="93333" y="37142"/>
                    </a:cubicBezTo>
                    <a:cubicBezTo>
                      <a:pt x="95555" y="35714"/>
                      <a:pt x="100000" y="34285"/>
                      <a:pt x="100000" y="32857"/>
                    </a:cubicBezTo>
                    <a:cubicBezTo>
                      <a:pt x="102222" y="30000"/>
                      <a:pt x="97777" y="28571"/>
                      <a:pt x="97777" y="27142"/>
                    </a:cubicBezTo>
                    <a:cubicBezTo>
                      <a:pt x="95555" y="25714"/>
                      <a:pt x="80000" y="21428"/>
                      <a:pt x="84444" y="18571"/>
                    </a:cubicBezTo>
                    <a:cubicBezTo>
                      <a:pt x="84444" y="18571"/>
                      <a:pt x="88888" y="17142"/>
                      <a:pt x="88888" y="17142"/>
                    </a:cubicBezTo>
                    <a:cubicBezTo>
                      <a:pt x="88888" y="17142"/>
                      <a:pt x="82222" y="14285"/>
                      <a:pt x="86666" y="14285"/>
                    </a:cubicBezTo>
                    <a:cubicBezTo>
                      <a:pt x="93333" y="14285"/>
                      <a:pt x="97777" y="7142"/>
                      <a:pt x="91111" y="4285"/>
                    </a:cubicBezTo>
                    <a:cubicBezTo>
                      <a:pt x="88888" y="2857"/>
                      <a:pt x="84444" y="2857"/>
                      <a:pt x="82222" y="1428"/>
                    </a:cubicBezTo>
                    <a:cubicBezTo>
                      <a:pt x="80000" y="0"/>
                      <a:pt x="77777" y="0"/>
                      <a:pt x="75555" y="0"/>
                    </a:cubicBezTo>
                    <a:cubicBezTo>
                      <a:pt x="71111" y="1428"/>
                      <a:pt x="68888" y="0"/>
                      <a:pt x="64444" y="1428"/>
                    </a:cubicBezTo>
                    <a:cubicBezTo>
                      <a:pt x="62222" y="2857"/>
                      <a:pt x="57777" y="5714"/>
                      <a:pt x="55555" y="7142"/>
                    </a:cubicBezTo>
                    <a:cubicBezTo>
                      <a:pt x="55555" y="8571"/>
                      <a:pt x="55555" y="14285"/>
                      <a:pt x="53333" y="14285"/>
                    </a:cubicBezTo>
                    <a:cubicBezTo>
                      <a:pt x="51111" y="15714"/>
                      <a:pt x="48888" y="17142"/>
                      <a:pt x="46666" y="18571"/>
                    </a:cubicBezTo>
                    <a:cubicBezTo>
                      <a:pt x="44444" y="18571"/>
                      <a:pt x="40000" y="15714"/>
                      <a:pt x="37777" y="15714"/>
                    </a:cubicBezTo>
                    <a:cubicBezTo>
                      <a:pt x="35555" y="15714"/>
                      <a:pt x="33333" y="17142"/>
                      <a:pt x="31111" y="17142"/>
                    </a:cubicBezTo>
                    <a:cubicBezTo>
                      <a:pt x="24444" y="18571"/>
                      <a:pt x="20000" y="17142"/>
                      <a:pt x="15555" y="14285"/>
                    </a:cubicBezTo>
                    <a:cubicBezTo>
                      <a:pt x="15555" y="12857"/>
                      <a:pt x="11111" y="10000"/>
                      <a:pt x="8888" y="10000"/>
                    </a:cubicBezTo>
                    <a:cubicBezTo>
                      <a:pt x="6666" y="10000"/>
                      <a:pt x="2222" y="12857"/>
                      <a:pt x="0" y="12857"/>
                    </a:cubicBezTo>
                    <a:cubicBezTo>
                      <a:pt x="4444" y="15714"/>
                      <a:pt x="11111" y="18571"/>
                      <a:pt x="17777" y="20000"/>
                    </a:cubicBezTo>
                    <a:cubicBezTo>
                      <a:pt x="20000" y="20000"/>
                      <a:pt x="24444" y="21428"/>
                      <a:pt x="26666" y="22857"/>
                    </a:cubicBezTo>
                    <a:cubicBezTo>
                      <a:pt x="28888" y="24285"/>
                      <a:pt x="28888" y="25714"/>
                      <a:pt x="31111" y="27142"/>
                    </a:cubicBezTo>
                    <a:cubicBezTo>
                      <a:pt x="31111" y="28571"/>
                      <a:pt x="28888" y="28571"/>
                      <a:pt x="31111" y="30000"/>
                    </a:cubicBezTo>
                    <a:cubicBezTo>
                      <a:pt x="31111" y="31428"/>
                      <a:pt x="35555" y="32857"/>
                      <a:pt x="33333" y="34285"/>
                    </a:cubicBezTo>
                    <a:cubicBezTo>
                      <a:pt x="33333" y="35714"/>
                      <a:pt x="31111" y="37142"/>
                      <a:pt x="33333" y="38571"/>
                    </a:cubicBezTo>
                    <a:cubicBezTo>
                      <a:pt x="33333" y="38571"/>
                      <a:pt x="35555" y="41428"/>
                      <a:pt x="35555" y="41428"/>
                    </a:cubicBezTo>
                    <a:cubicBezTo>
                      <a:pt x="33333" y="42857"/>
                      <a:pt x="33333" y="45714"/>
                      <a:pt x="33333" y="47142"/>
                    </a:cubicBezTo>
                    <a:cubicBezTo>
                      <a:pt x="33333" y="47142"/>
                      <a:pt x="37777" y="51428"/>
                      <a:pt x="37777" y="51428"/>
                    </a:cubicBezTo>
                    <a:cubicBezTo>
                      <a:pt x="40000" y="52857"/>
                      <a:pt x="44444" y="54285"/>
                      <a:pt x="46666" y="54285"/>
                    </a:cubicBezTo>
                    <a:cubicBezTo>
                      <a:pt x="48888" y="55714"/>
                      <a:pt x="48888" y="57142"/>
                      <a:pt x="48888" y="58571"/>
                    </a:cubicBezTo>
                    <a:cubicBezTo>
                      <a:pt x="48888" y="60000"/>
                      <a:pt x="51111" y="61428"/>
                      <a:pt x="51111" y="62857"/>
                    </a:cubicBezTo>
                    <a:cubicBezTo>
                      <a:pt x="51111" y="64285"/>
                      <a:pt x="46666" y="62857"/>
                      <a:pt x="44444" y="62857"/>
                    </a:cubicBezTo>
                    <a:cubicBezTo>
                      <a:pt x="42222" y="62857"/>
                      <a:pt x="35555" y="68571"/>
                      <a:pt x="35555" y="70000"/>
                    </a:cubicBezTo>
                    <a:cubicBezTo>
                      <a:pt x="33333" y="71428"/>
                      <a:pt x="31111" y="71428"/>
                      <a:pt x="28888" y="72857"/>
                    </a:cubicBezTo>
                    <a:cubicBezTo>
                      <a:pt x="26666" y="74285"/>
                      <a:pt x="24444" y="75714"/>
                      <a:pt x="22222" y="77142"/>
                    </a:cubicBezTo>
                    <a:cubicBezTo>
                      <a:pt x="20000" y="77142"/>
                      <a:pt x="8888" y="82857"/>
                      <a:pt x="8888" y="81428"/>
                    </a:cubicBezTo>
                    <a:cubicBezTo>
                      <a:pt x="8888" y="84285"/>
                      <a:pt x="4444" y="85714"/>
                      <a:pt x="4444" y="88571"/>
                    </a:cubicBezTo>
                    <a:cubicBezTo>
                      <a:pt x="6666" y="91428"/>
                      <a:pt x="4444" y="95714"/>
                      <a:pt x="8888" y="95714"/>
                    </a:cubicBezTo>
                    <a:cubicBezTo>
                      <a:pt x="11111" y="95714"/>
                      <a:pt x="8888" y="102857"/>
                      <a:pt x="8888" y="104285"/>
                    </a:cubicBezTo>
                    <a:cubicBezTo>
                      <a:pt x="8888" y="107142"/>
                      <a:pt x="4444" y="110000"/>
                      <a:pt x="8888" y="111428"/>
                    </a:cubicBezTo>
                    <a:cubicBezTo>
                      <a:pt x="8888" y="111428"/>
                      <a:pt x="17777" y="112857"/>
                      <a:pt x="15555" y="114285"/>
                    </a:cubicBezTo>
                    <a:cubicBezTo>
                      <a:pt x="15555" y="114285"/>
                      <a:pt x="11111" y="115714"/>
                      <a:pt x="11111" y="115714"/>
                    </a:cubicBezTo>
                    <a:cubicBezTo>
                      <a:pt x="15555" y="115714"/>
                      <a:pt x="15555" y="112857"/>
                      <a:pt x="17777" y="112857"/>
                    </a:cubicBezTo>
                    <a:cubicBezTo>
                      <a:pt x="22222" y="111428"/>
                      <a:pt x="17777" y="118571"/>
                      <a:pt x="17777" y="118571"/>
                    </a:cubicBezTo>
                    <a:cubicBezTo>
                      <a:pt x="17777" y="118571"/>
                      <a:pt x="24444" y="114285"/>
                      <a:pt x="24444" y="114285"/>
                    </a:cubicBezTo>
                    <a:cubicBezTo>
                      <a:pt x="26666" y="112857"/>
                      <a:pt x="24444" y="118571"/>
                      <a:pt x="24444" y="118571"/>
                    </a:cubicBezTo>
                    <a:cubicBezTo>
                      <a:pt x="31111" y="120000"/>
                      <a:pt x="44444" y="115714"/>
                      <a:pt x="51111" y="114285"/>
                    </a:cubicBezTo>
                    <a:cubicBezTo>
                      <a:pt x="60000" y="112857"/>
                      <a:pt x="68888" y="112857"/>
                      <a:pt x="80000" y="111428"/>
                    </a:cubicBezTo>
                    <a:cubicBezTo>
                      <a:pt x="86666" y="105714"/>
                      <a:pt x="95555" y="101428"/>
                      <a:pt x="102222" y="97142"/>
                    </a:cubicBezTo>
                    <a:cubicBezTo>
                      <a:pt x="106666" y="94285"/>
                      <a:pt x="120000" y="88571"/>
                      <a:pt x="117777" y="84285"/>
                    </a:cubicBezTo>
                    <a:cubicBezTo>
                      <a:pt x="115555" y="81428"/>
                      <a:pt x="120000" y="88571"/>
                      <a:pt x="117777" y="8428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5" name="Shape 2596">
                <a:extLst>
                  <a:ext uri="{FF2B5EF4-FFF2-40B4-BE49-F238E27FC236}">
                    <a16:creationId xmlns:a16="http://schemas.microsoft.com/office/drawing/2014/main" id="{427D7768-7F14-49B4-82F5-3320AD4AE92B}"/>
                  </a:ext>
                </a:extLst>
              </p:cNvPr>
              <p:cNvSpPr/>
              <p:nvPr/>
            </p:nvSpPr>
            <p:spPr>
              <a:xfrm>
                <a:off x="12020192" y="5682165"/>
                <a:ext cx="1077629" cy="902570"/>
              </a:xfrm>
              <a:custGeom>
                <a:avLst/>
                <a:gdLst/>
                <a:ahLst/>
                <a:cxnLst/>
                <a:rect l="0" t="0" r="0" b="0"/>
                <a:pathLst>
                  <a:path w="120000" h="120000" extrusionOk="0">
                    <a:moveTo>
                      <a:pt x="31875" y="113271"/>
                    </a:moveTo>
                    <a:cubicBezTo>
                      <a:pt x="31875" y="113271"/>
                      <a:pt x="32812" y="109906"/>
                      <a:pt x="32812" y="108785"/>
                    </a:cubicBezTo>
                    <a:cubicBezTo>
                      <a:pt x="32812" y="106542"/>
                      <a:pt x="33750" y="105420"/>
                      <a:pt x="35625" y="104299"/>
                    </a:cubicBezTo>
                    <a:cubicBezTo>
                      <a:pt x="37500" y="102056"/>
                      <a:pt x="35625" y="98691"/>
                      <a:pt x="35625" y="97570"/>
                    </a:cubicBezTo>
                    <a:cubicBezTo>
                      <a:pt x="35625" y="94205"/>
                      <a:pt x="39375" y="94205"/>
                      <a:pt x="36562" y="91962"/>
                    </a:cubicBezTo>
                    <a:cubicBezTo>
                      <a:pt x="34687" y="89719"/>
                      <a:pt x="33750" y="89719"/>
                      <a:pt x="34687" y="86355"/>
                    </a:cubicBezTo>
                    <a:cubicBezTo>
                      <a:pt x="35625" y="84112"/>
                      <a:pt x="34687" y="81869"/>
                      <a:pt x="34687" y="79626"/>
                    </a:cubicBezTo>
                    <a:cubicBezTo>
                      <a:pt x="33750" y="76261"/>
                      <a:pt x="32812" y="72897"/>
                      <a:pt x="35625" y="70654"/>
                    </a:cubicBezTo>
                    <a:cubicBezTo>
                      <a:pt x="36562" y="69532"/>
                      <a:pt x="38437" y="69532"/>
                      <a:pt x="39375" y="68411"/>
                    </a:cubicBezTo>
                    <a:cubicBezTo>
                      <a:pt x="40312" y="68411"/>
                      <a:pt x="41250" y="69532"/>
                      <a:pt x="42187" y="68411"/>
                    </a:cubicBezTo>
                    <a:cubicBezTo>
                      <a:pt x="43125" y="66168"/>
                      <a:pt x="42187" y="65046"/>
                      <a:pt x="41250" y="63925"/>
                    </a:cubicBezTo>
                    <a:cubicBezTo>
                      <a:pt x="41250" y="61682"/>
                      <a:pt x="43125" y="60560"/>
                      <a:pt x="44062" y="58317"/>
                    </a:cubicBezTo>
                    <a:cubicBezTo>
                      <a:pt x="44062" y="57196"/>
                      <a:pt x="45000" y="53831"/>
                      <a:pt x="45000" y="51588"/>
                    </a:cubicBezTo>
                    <a:cubicBezTo>
                      <a:pt x="45000" y="49345"/>
                      <a:pt x="48750" y="49345"/>
                      <a:pt x="47812" y="48224"/>
                    </a:cubicBezTo>
                    <a:cubicBezTo>
                      <a:pt x="47812" y="45981"/>
                      <a:pt x="49687" y="44859"/>
                      <a:pt x="50625" y="42616"/>
                    </a:cubicBezTo>
                    <a:cubicBezTo>
                      <a:pt x="52500" y="40373"/>
                      <a:pt x="52500" y="41495"/>
                      <a:pt x="52500" y="38130"/>
                    </a:cubicBezTo>
                    <a:cubicBezTo>
                      <a:pt x="51562" y="37009"/>
                      <a:pt x="55312" y="31401"/>
                      <a:pt x="56250" y="31401"/>
                    </a:cubicBezTo>
                    <a:cubicBezTo>
                      <a:pt x="57187" y="30280"/>
                      <a:pt x="60000" y="31401"/>
                      <a:pt x="60937" y="31401"/>
                    </a:cubicBezTo>
                    <a:cubicBezTo>
                      <a:pt x="60937" y="29158"/>
                      <a:pt x="60937" y="28037"/>
                      <a:pt x="60937" y="25794"/>
                    </a:cubicBezTo>
                    <a:cubicBezTo>
                      <a:pt x="63750" y="26915"/>
                      <a:pt x="65625" y="26915"/>
                      <a:pt x="67500" y="28037"/>
                    </a:cubicBezTo>
                    <a:cubicBezTo>
                      <a:pt x="71250" y="28037"/>
                      <a:pt x="69375" y="23551"/>
                      <a:pt x="70312" y="21308"/>
                    </a:cubicBezTo>
                    <a:cubicBezTo>
                      <a:pt x="70312" y="21308"/>
                      <a:pt x="72187" y="21308"/>
                      <a:pt x="73125" y="21308"/>
                    </a:cubicBezTo>
                    <a:cubicBezTo>
                      <a:pt x="74062" y="20186"/>
                      <a:pt x="75937" y="17943"/>
                      <a:pt x="76875" y="20186"/>
                    </a:cubicBezTo>
                    <a:cubicBezTo>
                      <a:pt x="78750" y="21308"/>
                      <a:pt x="78750" y="23551"/>
                      <a:pt x="80625" y="24672"/>
                    </a:cubicBezTo>
                    <a:cubicBezTo>
                      <a:pt x="81562" y="24672"/>
                      <a:pt x="83437" y="24672"/>
                      <a:pt x="84375" y="24672"/>
                    </a:cubicBezTo>
                    <a:cubicBezTo>
                      <a:pt x="85312" y="24672"/>
                      <a:pt x="86250" y="23551"/>
                      <a:pt x="88125" y="23551"/>
                    </a:cubicBezTo>
                    <a:cubicBezTo>
                      <a:pt x="89062" y="23551"/>
                      <a:pt x="90000" y="25794"/>
                      <a:pt x="91875" y="25794"/>
                    </a:cubicBezTo>
                    <a:cubicBezTo>
                      <a:pt x="91875" y="24672"/>
                      <a:pt x="95625" y="22429"/>
                      <a:pt x="95625" y="22429"/>
                    </a:cubicBezTo>
                    <a:cubicBezTo>
                      <a:pt x="95625" y="19065"/>
                      <a:pt x="95625" y="17943"/>
                      <a:pt x="96562" y="15700"/>
                    </a:cubicBezTo>
                    <a:cubicBezTo>
                      <a:pt x="97500" y="14579"/>
                      <a:pt x="99375" y="12336"/>
                      <a:pt x="100312" y="12336"/>
                    </a:cubicBezTo>
                    <a:cubicBezTo>
                      <a:pt x="101250" y="12336"/>
                      <a:pt x="102187" y="12336"/>
                      <a:pt x="103125" y="12336"/>
                    </a:cubicBezTo>
                    <a:cubicBezTo>
                      <a:pt x="104062" y="12336"/>
                      <a:pt x="104062" y="11214"/>
                      <a:pt x="105000" y="11214"/>
                    </a:cubicBezTo>
                    <a:cubicBezTo>
                      <a:pt x="105937" y="11214"/>
                      <a:pt x="107812" y="13457"/>
                      <a:pt x="108750" y="13457"/>
                    </a:cubicBezTo>
                    <a:cubicBezTo>
                      <a:pt x="110625" y="14579"/>
                      <a:pt x="111562" y="15700"/>
                      <a:pt x="111562" y="19065"/>
                    </a:cubicBezTo>
                    <a:cubicBezTo>
                      <a:pt x="113437" y="19065"/>
                      <a:pt x="118125" y="15700"/>
                      <a:pt x="116250" y="13457"/>
                    </a:cubicBezTo>
                    <a:cubicBezTo>
                      <a:pt x="118125" y="14579"/>
                      <a:pt x="113437" y="14579"/>
                      <a:pt x="112500" y="14579"/>
                    </a:cubicBezTo>
                    <a:cubicBezTo>
                      <a:pt x="117187" y="13457"/>
                      <a:pt x="110625" y="10093"/>
                      <a:pt x="109687" y="11214"/>
                    </a:cubicBezTo>
                    <a:cubicBezTo>
                      <a:pt x="110625" y="10093"/>
                      <a:pt x="111562" y="11214"/>
                      <a:pt x="111562" y="11214"/>
                    </a:cubicBezTo>
                    <a:cubicBezTo>
                      <a:pt x="113437" y="11214"/>
                      <a:pt x="115312" y="11214"/>
                      <a:pt x="116250" y="10093"/>
                    </a:cubicBezTo>
                    <a:cubicBezTo>
                      <a:pt x="117187" y="10093"/>
                      <a:pt x="120000" y="7850"/>
                      <a:pt x="119062" y="6728"/>
                    </a:cubicBezTo>
                    <a:cubicBezTo>
                      <a:pt x="117187" y="5607"/>
                      <a:pt x="114375" y="4485"/>
                      <a:pt x="111562" y="3364"/>
                    </a:cubicBezTo>
                    <a:cubicBezTo>
                      <a:pt x="110625" y="2242"/>
                      <a:pt x="109687" y="4485"/>
                      <a:pt x="108750" y="5607"/>
                    </a:cubicBezTo>
                    <a:cubicBezTo>
                      <a:pt x="108750" y="5607"/>
                      <a:pt x="106875" y="8971"/>
                      <a:pt x="106875" y="7850"/>
                    </a:cubicBezTo>
                    <a:cubicBezTo>
                      <a:pt x="106875" y="7850"/>
                      <a:pt x="106875" y="6728"/>
                      <a:pt x="106875" y="5607"/>
                    </a:cubicBezTo>
                    <a:cubicBezTo>
                      <a:pt x="106875" y="5607"/>
                      <a:pt x="105000" y="5607"/>
                      <a:pt x="105000" y="5607"/>
                    </a:cubicBezTo>
                    <a:cubicBezTo>
                      <a:pt x="105937" y="4485"/>
                      <a:pt x="107812" y="5607"/>
                      <a:pt x="107812" y="4485"/>
                    </a:cubicBezTo>
                    <a:cubicBezTo>
                      <a:pt x="107812" y="4485"/>
                      <a:pt x="105000" y="4485"/>
                      <a:pt x="105000" y="4485"/>
                    </a:cubicBezTo>
                    <a:cubicBezTo>
                      <a:pt x="105000" y="3364"/>
                      <a:pt x="108750" y="3364"/>
                      <a:pt x="108750" y="2242"/>
                    </a:cubicBezTo>
                    <a:cubicBezTo>
                      <a:pt x="107812" y="1121"/>
                      <a:pt x="102187" y="0"/>
                      <a:pt x="103125" y="2242"/>
                    </a:cubicBezTo>
                    <a:cubicBezTo>
                      <a:pt x="104062" y="3364"/>
                      <a:pt x="104062" y="3364"/>
                      <a:pt x="103125" y="4485"/>
                    </a:cubicBezTo>
                    <a:cubicBezTo>
                      <a:pt x="102187" y="5607"/>
                      <a:pt x="100312" y="7850"/>
                      <a:pt x="99375" y="7850"/>
                    </a:cubicBezTo>
                    <a:cubicBezTo>
                      <a:pt x="98437" y="7850"/>
                      <a:pt x="99375" y="3364"/>
                      <a:pt x="99375" y="3364"/>
                    </a:cubicBezTo>
                    <a:cubicBezTo>
                      <a:pt x="99375" y="2242"/>
                      <a:pt x="94687" y="10093"/>
                      <a:pt x="93750" y="10093"/>
                    </a:cubicBezTo>
                    <a:cubicBezTo>
                      <a:pt x="90937" y="10093"/>
                      <a:pt x="93750" y="5607"/>
                      <a:pt x="94687" y="4485"/>
                    </a:cubicBezTo>
                    <a:cubicBezTo>
                      <a:pt x="95625" y="4485"/>
                      <a:pt x="96562" y="2242"/>
                      <a:pt x="96562" y="2242"/>
                    </a:cubicBezTo>
                    <a:cubicBezTo>
                      <a:pt x="95625" y="1121"/>
                      <a:pt x="93750" y="0"/>
                      <a:pt x="93750" y="1121"/>
                    </a:cubicBezTo>
                    <a:cubicBezTo>
                      <a:pt x="93750" y="1121"/>
                      <a:pt x="94687" y="2242"/>
                      <a:pt x="94687" y="2242"/>
                    </a:cubicBezTo>
                    <a:cubicBezTo>
                      <a:pt x="94687" y="2242"/>
                      <a:pt x="92812" y="2242"/>
                      <a:pt x="91875" y="2242"/>
                    </a:cubicBezTo>
                    <a:cubicBezTo>
                      <a:pt x="90937" y="3364"/>
                      <a:pt x="91875" y="2242"/>
                      <a:pt x="90937" y="1121"/>
                    </a:cubicBezTo>
                    <a:cubicBezTo>
                      <a:pt x="90937" y="1121"/>
                      <a:pt x="89062" y="3364"/>
                      <a:pt x="89062" y="3364"/>
                    </a:cubicBezTo>
                    <a:cubicBezTo>
                      <a:pt x="89062" y="4485"/>
                      <a:pt x="90937" y="5607"/>
                      <a:pt x="90000" y="5607"/>
                    </a:cubicBezTo>
                    <a:cubicBezTo>
                      <a:pt x="89062" y="5607"/>
                      <a:pt x="89062" y="5607"/>
                      <a:pt x="89062" y="5607"/>
                    </a:cubicBezTo>
                    <a:cubicBezTo>
                      <a:pt x="88125" y="5607"/>
                      <a:pt x="88125" y="6728"/>
                      <a:pt x="88125" y="7850"/>
                    </a:cubicBezTo>
                    <a:cubicBezTo>
                      <a:pt x="89062" y="5607"/>
                      <a:pt x="85312" y="6728"/>
                      <a:pt x="85312" y="6728"/>
                    </a:cubicBezTo>
                    <a:cubicBezTo>
                      <a:pt x="85312" y="6728"/>
                      <a:pt x="87187" y="5607"/>
                      <a:pt x="87187" y="4485"/>
                    </a:cubicBezTo>
                    <a:cubicBezTo>
                      <a:pt x="87187" y="5607"/>
                      <a:pt x="83437" y="6728"/>
                      <a:pt x="82500" y="6728"/>
                    </a:cubicBezTo>
                    <a:cubicBezTo>
                      <a:pt x="81562" y="6728"/>
                      <a:pt x="85312" y="10093"/>
                      <a:pt x="85312" y="10093"/>
                    </a:cubicBezTo>
                    <a:cubicBezTo>
                      <a:pt x="85312" y="10093"/>
                      <a:pt x="84375" y="12336"/>
                      <a:pt x="84375" y="12336"/>
                    </a:cubicBezTo>
                    <a:cubicBezTo>
                      <a:pt x="84375" y="12336"/>
                      <a:pt x="81562" y="8971"/>
                      <a:pt x="81562" y="8971"/>
                    </a:cubicBezTo>
                    <a:cubicBezTo>
                      <a:pt x="81562" y="8971"/>
                      <a:pt x="79687" y="12336"/>
                      <a:pt x="79687" y="8971"/>
                    </a:cubicBezTo>
                    <a:cubicBezTo>
                      <a:pt x="78750" y="7850"/>
                      <a:pt x="75937" y="10093"/>
                      <a:pt x="75000" y="8971"/>
                    </a:cubicBezTo>
                    <a:cubicBezTo>
                      <a:pt x="75937" y="10093"/>
                      <a:pt x="78750" y="10093"/>
                      <a:pt x="78750" y="11214"/>
                    </a:cubicBezTo>
                    <a:cubicBezTo>
                      <a:pt x="78750" y="11214"/>
                      <a:pt x="77812" y="11214"/>
                      <a:pt x="77812" y="12336"/>
                    </a:cubicBezTo>
                    <a:cubicBezTo>
                      <a:pt x="77812" y="13457"/>
                      <a:pt x="78750" y="13457"/>
                      <a:pt x="78750" y="14579"/>
                    </a:cubicBezTo>
                    <a:cubicBezTo>
                      <a:pt x="78750" y="14579"/>
                      <a:pt x="75937" y="13457"/>
                      <a:pt x="75937" y="12336"/>
                    </a:cubicBezTo>
                    <a:cubicBezTo>
                      <a:pt x="75000" y="12336"/>
                      <a:pt x="75000" y="13457"/>
                      <a:pt x="75000" y="14579"/>
                    </a:cubicBezTo>
                    <a:cubicBezTo>
                      <a:pt x="74062" y="14579"/>
                      <a:pt x="74062" y="13457"/>
                      <a:pt x="74062" y="12336"/>
                    </a:cubicBezTo>
                    <a:cubicBezTo>
                      <a:pt x="74062" y="12336"/>
                      <a:pt x="72187" y="14579"/>
                      <a:pt x="72187" y="14579"/>
                    </a:cubicBezTo>
                    <a:cubicBezTo>
                      <a:pt x="71250" y="15700"/>
                      <a:pt x="73125" y="15700"/>
                      <a:pt x="73125" y="16822"/>
                    </a:cubicBezTo>
                    <a:cubicBezTo>
                      <a:pt x="73125" y="16822"/>
                      <a:pt x="71250" y="16822"/>
                      <a:pt x="71250" y="16822"/>
                    </a:cubicBezTo>
                    <a:cubicBezTo>
                      <a:pt x="70312" y="15700"/>
                      <a:pt x="71250" y="14579"/>
                      <a:pt x="71250" y="13457"/>
                    </a:cubicBezTo>
                    <a:cubicBezTo>
                      <a:pt x="71250" y="13457"/>
                      <a:pt x="68437" y="15700"/>
                      <a:pt x="68437" y="15700"/>
                    </a:cubicBezTo>
                    <a:cubicBezTo>
                      <a:pt x="68437" y="15700"/>
                      <a:pt x="68437" y="15700"/>
                      <a:pt x="69375" y="15700"/>
                    </a:cubicBezTo>
                    <a:cubicBezTo>
                      <a:pt x="68437" y="15700"/>
                      <a:pt x="67500" y="17943"/>
                      <a:pt x="67500" y="17943"/>
                    </a:cubicBezTo>
                    <a:cubicBezTo>
                      <a:pt x="66562" y="16822"/>
                      <a:pt x="68437" y="15700"/>
                      <a:pt x="67500" y="15700"/>
                    </a:cubicBezTo>
                    <a:cubicBezTo>
                      <a:pt x="66562" y="14579"/>
                      <a:pt x="65625" y="14579"/>
                      <a:pt x="65625" y="13457"/>
                    </a:cubicBezTo>
                    <a:cubicBezTo>
                      <a:pt x="65625" y="13457"/>
                      <a:pt x="67500" y="13457"/>
                      <a:pt x="67500" y="13457"/>
                    </a:cubicBezTo>
                    <a:cubicBezTo>
                      <a:pt x="67500" y="12336"/>
                      <a:pt x="64687" y="11214"/>
                      <a:pt x="63750" y="11214"/>
                    </a:cubicBezTo>
                    <a:cubicBezTo>
                      <a:pt x="63750" y="12336"/>
                      <a:pt x="64687" y="14579"/>
                      <a:pt x="64687" y="14579"/>
                    </a:cubicBezTo>
                    <a:cubicBezTo>
                      <a:pt x="64687" y="14579"/>
                      <a:pt x="60937" y="15700"/>
                      <a:pt x="61875" y="15700"/>
                    </a:cubicBezTo>
                    <a:cubicBezTo>
                      <a:pt x="61875" y="15700"/>
                      <a:pt x="63750" y="15700"/>
                      <a:pt x="63750" y="15700"/>
                    </a:cubicBezTo>
                    <a:cubicBezTo>
                      <a:pt x="63750" y="15700"/>
                      <a:pt x="62812" y="15700"/>
                      <a:pt x="62812" y="15700"/>
                    </a:cubicBezTo>
                    <a:cubicBezTo>
                      <a:pt x="63750" y="17943"/>
                      <a:pt x="65625" y="15700"/>
                      <a:pt x="64687" y="15700"/>
                    </a:cubicBezTo>
                    <a:cubicBezTo>
                      <a:pt x="65625" y="16822"/>
                      <a:pt x="64687" y="17943"/>
                      <a:pt x="64687" y="17943"/>
                    </a:cubicBezTo>
                    <a:cubicBezTo>
                      <a:pt x="64687" y="19065"/>
                      <a:pt x="62812" y="16822"/>
                      <a:pt x="62812" y="16822"/>
                    </a:cubicBezTo>
                    <a:cubicBezTo>
                      <a:pt x="61875" y="16822"/>
                      <a:pt x="61875" y="15700"/>
                      <a:pt x="60937" y="15700"/>
                    </a:cubicBezTo>
                    <a:cubicBezTo>
                      <a:pt x="60937" y="15700"/>
                      <a:pt x="60000" y="17943"/>
                      <a:pt x="59062" y="16822"/>
                    </a:cubicBezTo>
                    <a:cubicBezTo>
                      <a:pt x="59062" y="15700"/>
                      <a:pt x="56250" y="17943"/>
                      <a:pt x="56250" y="17943"/>
                    </a:cubicBezTo>
                    <a:cubicBezTo>
                      <a:pt x="56250" y="17943"/>
                      <a:pt x="56250" y="21308"/>
                      <a:pt x="56250" y="21308"/>
                    </a:cubicBezTo>
                    <a:cubicBezTo>
                      <a:pt x="56250" y="22429"/>
                      <a:pt x="57187" y="19065"/>
                      <a:pt x="58125" y="20186"/>
                    </a:cubicBezTo>
                    <a:cubicBezTo>
                      <a:pt x="58125" y="20186"/>
                      <a:pt x="60000" y="21308"/>
                      <a:pt x="60000" y="20186"/>
                    </a:cubicBezTo>
                    <a:cubicBezTo>
                      <a:pt x="60000" y="21308"/>
                      <a:pt x="59062" y="21308"/>
                      <a:pt x="59062" y="22429"/>
                    </a:cubicBezTo>
                    <a:cubicBezTo>
                      <a:pt x="58125" y="22429"/>
                      <a:pt x="59062" y="24672"/>
                      <a:pt x="58125" y="24672"/>
                    </a:cubicBezTo>
                    <a:cubicBezTo>
                      <a:pt x="58125" y="25794"/>
                      <a:pt x="57187" y="23551"/>
                      <a:pt x="57187" y="23551"/>
                    </a:cubicBezTo>
                    <a:cubicBezTo>
                      <a:pt x="56250" y="23551"/>
                      <a:pt x="56250" y="25794"/>
                      <a:pt x="55312" y="25794"/>
                    </a:cubicBezTo>
                    <a:cubicBezTo>
                      <a:pt x="55312" y="25794"/>
                      <a:pt x="55312" y="23551"/>
                      <a:pt x="55312" y="23551"/>
                    </a:cubicBezTo>
                    <a:cubicBezTo>
                      <a:pt x="54375" y="23551"/>
                      <a:pt x="54375" y="24672"/>
                      <a:pt x="53437" y="24672"/>
                    </a:cubicBezTo>
                    <a:cubicBezTo>
                      <a:pt x="53437" y="24672"/>
                      <a:pt x="53437" y="22429"/>
                      <a:pt x="53437" y="22429"/>
                    </a:cubicBezTo>
                    <a:cubicBezTo>
                      <a:pt x="53437" y="21308"/>
                      <a:pt x="52500" y="24672"/>
                      <a:pt x="51562" y="24672"/>
                    </a:cubicBezTo>
                    <a:cubicBezTo>
                      <a:pt x="49687" y="25794"/>
                      <a:pt x="52500" y="19065"/>
                      <a:pt x="52500" y="19065"/>
                    </a:cubicBezTo>
                    <a:cubicBezTo>
                      <a:pt x="51562" y="19065"/>
                      <a:pt x="49687" y="20186"/>
                      <a:pt x="49687" y="20186"/>
                    </a:cubicBezTo>
                    <a:cubicBezTo>
                      <a:pt x="48750" y="21308"/>
                      <a:pt x="50625" y="22429"/>
                      <a:pt x="50625" y="22429"/>
                    </a:cubicBezTo>
                    <a:cubicBezTo>
                      <a:pt x="49687" y="22429"/>
                      <a:pt x="49687" y="22429"/>
                      <a:pt x="48750" y="22429"/>
                    </a:cubicBezTo>
                    <a:cubicBezTo>
                      <a:pt x="48750" y="22429"/>
                      <a:pt x="48750" y="23551"/>
                      <a:pt x="47812" y="24672"/>
                    </a:cubicBezTo>
                    <a:cubicBezTo>
                      <a:pt x="48750" y="23551"/>
                      <a:pt x="44062" y="23551"/>
                      <a:pt x="45937" y="24672"/>
                    </a:cubicBezTo>
                    <a:cubicBezTo>
                      <a:pt x="45937" y="25794"/>
                      <a:pt x="47812" y="24672"/>
                      <a:pt x="47812" y="24672"/>
                    </a:cubicBezTo>
                    <a:cubicBezTo>
                      <a:pt x="47812" y="24672"/>
                      <a:pt x="46875" y="25794"/>
                      <a:pt x="47812" y="25794"/>
                    </a:cubicBezTo>
                    <a:cubicBezTo>
                      <a:pt x="47812" y="25794"/>
                      <a:pt x="48750" y="25794"/>
                      <a:pt x="48750" y="24672"/>
                    </a:cubicBezTo>
                    <a:cubicBezTo>
                      <a:pt x="48750" y="24672"/>
                      <a:pt x="48750" y="26915"/>
                      <a:pt x="47812" y="26915"/>
                    </a:cubicBezTo>
                    <a:cubicBezTo>
                      <a:pt x="46875" y="26915"/>
                      <a:pt x="46875" y="25794"/>
                      <a:pt x="45937" y="25794"/>
                    </a:cubicBezTo>
                    <a:cubicBezTo>
                      <a:pt x="45000" y="26915"/>
                      <a:pt x="45000" y="29158"/>
                      <a:pt x="44062" y="29158"/>
                    </a:cubicBezTo>
                    <a:cubicBezTo>
                      <a:pt x="44062" y="29158"/>
                      <a:pt x="41250" y="29158"/>
                      <a:pt x="41250" y="29158"/>
                    </a:cubicBezTo>
                    <a:cubicBezTo>
                      <a:pt x="41250" y="32523"/>
                      <a:pt x="47812" y="28037"/>
                      <a:pt x="47812" y="28037"/>
                    </a:cubicBezTo>
                    <a:cubicBezTo>
                      <a:pt x="48750" y="28037"/>
                      <a:pt x="49687" y="26915"/>
                      <a:pt x="50625" y="28037"/>
                    </a:cubicBezTo>
                    <a:cubicBezTo>
                      <a:pt x="52500" y="28037"/>
                      <a:pt x="51562" y="25794"/>
                      <a:pt x="50625" y="25794"/>
                    </a:cubicBezTo>
                    <a:cubicBezTo>
                      <a:pt x="51562" y="25794"/>
                      <a:pt x="51562" y="25794"/>
                      <a:pt x="51562" y="25794"/>
                    </a:cubicBezTo>
                    <a:cubicBezTo>
                      <a:pt x="52500" y="28037"/>
                      <a:pt x="53437" y="25794"/>
                      <a:pt x="54375" y="25794"/>
                    </a:cubicBezTo>
                    <a:cubicBezTo>
                      <a:pt x="53437" y="25794"/>
                      <a:pt x="53437" y="28037"/>
                      <a:pt x="52500" y="28037"/>
                    </a:cubicBezTo>
                    <a:cubicBezTo>
                      <a:pt x="53437" y="28037"/>
                      <a:pt x="54375" y="28037"/>
                      <a:pt x="54375" y="28037"/>
                    </a:cubicBezTo>
                    <a:cubicBezTo>
                      <a:pt x="54375" y="28037"/>
                      <a:pt x="52500" y="29158"/>
                      <a:pt x="52500" y="30280"/>
                    </a:cubicBezTo>
                    <a:cubicBezTo>
                      <a:pt x="52500" y="30280"/>
                      <a:pt x="57187" y="28037"/>
                      <a:pt x="57187" y="29158"/>
                    </a:cubicBezTo>
                    <a:cubicBezTo>
                      <a:pt x="56250" y="30280"/>
                      <a:pt x="53437" y="29158"/>
                      <a:pt x="53437" y="31401"/>
                    </a:cubicBezTo>
                    <a:cubicBezTo>
                      <a:pt x="52500" y="34766"/>
                      <a:pt x="50625" y="30280"/>
                      <a:pt x="50625" y="30280"/>
                    </a:cubicBezTo>
                    <a:cubicBezTo>
                      <a:pt x="50625" y="29158"/>
                      <a:pt x="50625" y="32523"/>
                      <a:pt x="50625" y="32523"/>
                    </a:cubicBezTo>
                    <a:cubicBezTo>
                      <a:pt x="50625" y="32523"/>
                      <a:pt x="49687" y="30280"/>
                      <a:pt x="48750" y="30280"/>
                    </a:cubicBezTo>
                    <a:cubicBezTo>
                      <a:pt x="47812" y="31401"/>
                      <a:pt x="45937" y="33644"/>
                      <a:pt x="45937" y="34766"/>
                    </a:cubicBezTo>
                    <a:cubicBezTo>
                      <a:pt x="45937" y="34766"/>
                      <a:pt x="47812" y="33644"/>
                      <a:pt x="47812" y="33644"/>
                    </a:cubicBezTo>
                    <a:cubicBezTo>
                      <a:pt x="47812" y="34766"/>
                      <a:pt x="49687" y="33644"/>
                      <a:pt x="49687" y="34766"/>
                    </a:cubicBezTo>
                    <a:cubicBezTo>
                      <a:pt x="49687" y="33644"/>
                      <a:pt x="46875" y="34766"/>
                      <a:pt x="46875" y="35887"/>
                    </a:cubicBezTo>
                    <a:cubicBezTo>
                      <a:pt x="47812" y="37009"/>
                      <a:pt x="50625" y="34766"/>
                      <a:pt x="49687" y="37009"/>
                    </a:cubicBezTo>
                    <a:cubicBezTo>
                      <a:pt x="50625" y="34766"/>
                      <a:pt x="44062" y="38130"/>
                      <a:pt x="44062" y="38130"/>
                    </a:cubicBezTo>
                    <a:cubicBezTo>
                      <a:pt x="44062" y="37009"/>
                      <a:pt x="49687" y="39252"/>
                      <a:pt x="48750" y="39252"/>
                    </a:cubicBezTo>
                    <a:cubicBezTo>
                      <a:pt x="47812" y="40373"/>
                      <a:pt x="46875" y="38130"/>
                      <a:pt x="45937" y="39252"/>
                    </a:cubicBezTo>
                    <a:cubicBezTo>
                      <a:pt x="45937" y="39252"/>
                      <a:pt x="45937" y="39252"/>
                      <a:pt x="45937" y="39252"/>
                    </a:cubicBezTo>
                    <a:cubicBezTo>
                      <a:pt x="45937" y="40373"/>
                      <a:pt x="43125" y="38130"/>
                      <a:pt x="42187" y="40373"/>
                    </a:cubicBezTo>
                    <a:cubicBezTo>
                      <a:pt x="42187" y="40373"/>
                      <a:pt x="45000" y="40373"/>
                      <a:pt x="45000" y="40373"/>
                    </a:cubicBezTo>
                    <a:cubicBezTo>
                      <a:pt x="43125" y="42616"/>
                      <a:pt x="41250" y="40373"/>
                      <a:pt x="42187" y="43738"/>
                    </a:cubicBezTo>
                    <a:cubicBezTo>
                      <a:pt x="42187" y="43738"/>
                      <a:pt x="40312" y="44859"/>
                      <a:pt x="40312" y="44859"/>
                    </a:cubicBezTo>
                    <a:cubicBezTo>
                      <a:pt x="39375" y="45981"/>
                      <a:pt x="39375" y="45981"/>
                      <a:pt x="39375" y="45981"/>
                    </a:cubicBezTo>
                    <a:cubicBezTo>
                      <a:pt x="39375" y="47102"/>
                      <a:pt x="38437" y="47102"/>
                      <a:pt x="38437" y="47102"/>
                    </a:cubicBezTo>
                    <a:cubicBezTo>
                      <a:pt x="38437" y="48224"/>
                      <a:pt x="39375" y="47102"/>
                      <a:pt x="39375" y="47102"/>
                    </a:cubicBezTo>
                    <a:cubicBezTo>
                      <a:pt x="40312" y="47102"/>
                      <a:pt x="39375" y="48224"/>
                      <a:pt x="39375" y="48224"/>
                    </a:cubicBezTo>
                    <a:cubicBezTo>
                      <a:pt x="40312" y="48224"/>
                      <a:pt x="42187" y="49345"/>
                      <a:pt x="43125" y="48224"/>
                    </a:cubicBezTo>
                    <a:cubicBezTo>
                      <a:pt x="41250" y="49345"/>
                      <a:pt x="41250" y="49345"/>
                      <a:pt x="39375" y="49345"/>
                    </a:cubicBezTo>
                    <a:cubicBezTo>
                      <a:pt x="38437" y="49345"/>
                      <a:pt x="35625" y="49345"/>
                      <a:pt x="35625" y="50467"/>
                    </a:cubicBezTo>
                    <a:cubicBezTo>
                      <a:pt x="35625" y="50467"/>
                      <a:pt x="36562" y="50467"/>
                      <a:pt x="36562" y="50467"/>
                    </a:cubicBezTo>
                    <a:cubicBezTo>
                      <a:pt x="36562" y="50467"/>
                      <a:pt x="35625" y="51588"/>
                      <a:pt x="35625" y="51588"/>
                    </a:cubicBezTo>
                    <a:cubicBezTo>
                      <a:pt x="35625" y="51588"/>
                      <a:pt x="37500" y="50467"/>
                      <a:pt x="37500" y="51588"/>
                    </a:cubicBezTo>
                    <a:cubicBezTo>
                      <a:pt x="37500" y="51588"/>
                      <a:pt x="35625" y="53831"/>
                      <a:pt x="35625" y="53831"/>
                    </a:cubicBezTo>
                    <a:cubicBezTo>
                      <a:pt x="35625" y="53831"/>
                      <a:pt x="36562" y="53831"/>
                      <a:pt x="36562" y="54953"/>
                    </a:cubicBezTo>
                    <a:cubicBezTo>
                      <a:pt x="36562" y="54953"/>
                      <a:pt x="34687" y="54953"/>
                      <a:pt x="34687" y="54953"/>
                    </a:cubicBezTo>
                    <a:cubicBezTo>
                      <a:pt x="34687" y="54953"/>
                      <a:pt x="36562" y="56074"/>
                      <a:pt x="36562" y="56074"/>
                    </a:cubicBezTo>
                    <a:cubicBezTo>
                      <a:pt x="35625" y="56074"/>
                      <a:pt x="34687" y="56074"/>
                      <a:pt x="34687" y="56074"/>
                    </a:cubicBezTo>
                    <a:cubicBezTo>
                      <a:pt x="34687" y="57196"/>
                      <a:pt x="35625" y="58317"/>
                      <a:pt x="36562" y="58317"/>
                    </a:cubicBezTo>
                    <a:cubicBezTo>
                      <a:pt x="34687" y="58317"/>
                      <a:pt x="32812" y="58317"/>
                      <a:pt x="31875" y="60560"/>
                    </a:cubicBezTo>
                    <a:cubicBezTo>
                      <a:pt x="31875" y="61682"/>
                      <a:pt x="28125" y="60560"/>
                      <a:pt x="28125" y="60560"/>
                    </a:cubicBezTo>
                    <a:cubicBezTo>
                      <a:pt x="28125" y="63925"/>
                      <a:pt x="33750" y="60560"/>
                      <a:pt x="34687" y="60560"/>
                    </a:cubicBezTo>
                    <a:cubicBezTo>
                      <a:pt x="33750" y="60560"/>
                      <a:pt x="32812" y="62803"/>
                      <a:pt x="32812" y="62803"/>
                    </a:cubicBezTo>
                    <a:cubicBezTo>
                      <a:pt x="30000" y="62803"/>
                      <a:pt x="31875" y="63925"/>
                      <a:pt x="30937" y="65046"/>
                    </a:cubicBezTo>
                    <a:cubicBezTo>
                      <a:pt x="30000" y="66168"/>
                      <a:pt x="28125" y="63925"/>
                      <a:pt x="27187" y="65046"/>
                    </a:cubicBezTo>
                    <a:cubicBezTo>
                      <a:pt x="27187" y="66168"/>
                      <a:pt x="24375" y="68411"/>
                      <a:pt x="24375" y="68411"/>
                    </a:cubicBezTo>
                    <a:cubicBezTo>
                      <a:pt x="24375" y="69532"/>
                      <a:pt x="25312" y="69532"/>
                      <a:pt x="25312" y="69532"/>
                    </a:cubicBezTo>
                    <a:cubicBezTo>
                      <a:pt x="25312" y="70654"/>
                      <a:pt x="22500" y="70654"/>
                      <a:pt x="22500" y="70654"/>
                    </a:cubicBezTo>
                    <a:cubicBezTo>
                      <a:pt x="22500" y="70654"/>
                      <a:pt x="23437" y="71775"/>
                      <a:pt x="23437" y="72897"/>
                    </a:cubicBezTo>
                    <a:cubicBezTo>
                      <a:pt x="23437" y="74018"/>
                      <a:pt x="25312" y="72897"/>
                      <a:pt x="26250" y="72897"/>
                    </a:cubicBezTo>
                    <a:cubicBezTo>
                      <a:pt x="27187" y="71775"/>
                      <a:pt x="28125" y="72897"/>
                      <a:pt x="29062" y="71775"/>
                    </a:cubicBezTo>
                    <a:cubicBezTo>
                      <a:pt x="29062" y="71775"/>
                      <a:pt x="28125" y="70654"/>
                      <a:pt x="28125" y="69532"/>
                    </a:cubicBezTo>
                    <a:cubicBezTo>
                      <a:pt x="28125" y="69532"/>
                      <a:pt x="30000" y="70654"/>
                      <a:pt x="30937" y="71775"/>
                    </a:cubicBezTo>
                    <a:cubicBezTo>
                      <a:pt x="30937" y="71775"/>
                      <a:pt x="28125" y="74018"/>
                      <a:pt x="28125" y="74018"/>
                    </a:cubicBezTo>
                    <a:cubicBezTo>
                      <a:pt x="27187" y="74018"/>
                      <a:pt x="26250" y="75140"/>
                      <a:pt x="26250" y="74018"/>
                    </a:cubicBezTo>
                    <a:cubicBezTo>
                      <a:pt x="25312" y="72897"/>
                      <a:pt x="24375" y="75140"/>
                      <a:pt x="23437" y="75140"/>
                    </a:cubicBezTo>
                    <a:cubicBezTo>
                      <a:pt x="22500" y="74018"/>
                      <a:pt x="22500" y="70654"/>
                      <a:pt x="21562" y="74018"/>
                    </a:cubicBezTo>
                    <a:cubicBezTo>
                      <a:pt x="19687" y="78504"/>
                      <a:pt x="18750" y="72897"/>
                      <a:pt x="19687" y="72897"/>
                    </a:cubicBezTo>
                    <a:cubicBezTo>
                      <a:pt x="17812" y="72897"/>
                      <a:pt x="19687" y="77383"/>
                      <a:pt x="17812" y="76261"/>
                    </a:cubicBezTo>
                    <a:cubicBezTo>
                      <a:pt x="14062" y="76261"/>
                      <a:pt x="16875" y="78504"/>
                      <a:pt x="15937" y="79626"/>
                    </a:cubicBezTo>
                    <a:cubicBezTo>
                      <a:pt x="15000" y="79626"/>
                      <a:pt x="15000" y="77383"/>
                      <a:pt x="15000" y="77383"/>
                    </a:cubicBezTo>
                    <a:cubicBezTo>
                      <a:pt x="13125" y="77383"/>
                      <a:pt x="11250" y="78504"/>
                      <a:pt x="10312" y="79626"/>
                    </a:cubicBezTo>
                    <a:cubicBezTo>
                      <a:pt x="10312" y="80747"/>
                      <a:pt x="14062" y="80747"/>
                      <a:pt x="15000" y="80747"/>
                    </a:cubicBezTo>
                    <a:cubicBezTo>
                      <a:pt x="15000" y="80747"/>
                      <a:pt x="17812" y="79626"/>
                      <a:pt x="17812" y="79626"/>
                    </a:cubicBezTo>
                    <a:cubicBezTo>
                      <a:pt x="18750" y="80747"/>
                      <a:pt x="14062" y="80747"/>
                      <a:pt x="14062" y="80747"/>
                    </a:cubicBezTo>
                    <a:cubicBezTo>
                      <a:pt x="13125" y="80747"/>
                      <a:pt x="13125" y="81869"/>
                      <a:pt x="12187" y="81869"/>
                    </a:cubicBezTo>
                    <a:cubicBezTo>
                      <a:pt x="11250" y="81869"/>
                      <a:pt x="10312" y="81869"/>
                      <a:pt x="9375" y="81869"/>
                    </a:cubicBezTo>
                    <a:cubicBezTo>
                      <a:pt x="7500" y="80747"/>
                      <a:pt x="6562" y="81869"/>
                      <a:pt x="8437" y="82990"/>
                    </a:cubicBezTo>
                    <a:cubicBezTo>
                      <a:pt x="9375" y="82990"/>
                      <a:pt x="11250" y="82990"/>
                      <a:pt x="11250" y="85233"/>
                    </a:cubicBezTo>
                    <a:cubicBezTo>
                      <a:pt x="11250" y="85233"/>
                      <a:pt x="10312" y="87476"/>
                      <a:pt x="10312" y="86355"/>
                    </a:cubicBezTo>
                    <a:cubicBezTo>
                      <a:pt x="9375" y="86355"/>
                      <a:pt x="11250" y="84112"/>
                      <a:pt x="9375" y="82990"/>
                    </a:cubicBezTo>
                    <a:cubicBezTo>
                      <a:pt x="6562" y="82990"/>
                      <a:pt x="8437" y="84112"/>
                      <a:pt x="7500" y="85233"/>
                    </a:cubicBezTo>
                    <a:cubicBezTo>
                      <a:pt x="7500" y="85233"/>
                      <a:pt x="7500" y="81869"/>
                      <a:pt x="6562" y="81869"/>
                    </a:cubicBezTo>
                    <a:cubicBezTo>
                      <a:pt x="6562" y="80747"/>
                      <a:pt x="4687" y="87476"/>
                      <a:pt x="5625" y="86355"/>
                    </a:cubicBezTo>
                    <a:cubicBezTo>
                      <a:pt x="4687" y="86355"/>
                      <a:pt x="4687" y="84112"/>
                      <a:pt x="4687" y="84112"/>
                    </a:cubicBezTo>
                    <a:cubicBezTo>
                      <a:pt x="3750" y="84112"/>
                      <a:pt x="3750" y="86355"/>
                      <a:pt x="3750" y="86355"/>
                    </a:cubicBezTo>
                    <a:cubicBezTo>
                      <a:pt x="2812" y="87476"/>
                      <a:pt x="937" y="86355"/>
                      <a:pt x="937" y="87476"/>
                    </a:cubicBezTo>
                    <a:cubicBezTo>
                      <a:pt x="937" y="88598"/>
                      <a:pt x="0" y="89719"/>
                      <a:pt x="937" y="89719"/>
                    </a:cubicBezTo>
                    <a:cubicBezTo>
                      <a:pt x="1875" y="89719"/>
                      <a:pt x="2812" y="89719"/>
                      <a:pt x="3750" y="90841"/>
                    </a:cubicBezTo>
                    <a:cubicBezTo>
                      <a:pt x="3750" y="90841"/>
                      <a:pt x="0" y="91962"/>
                      <a:pt x="937" y="93084"/>
                    </a:cubicBezTo>
                    <a:cubicBezTo>
                      <a:pt x="937" y="94205"/>
                      <a:pt x="2812" y="94205"/>
                      <a:pt x="2812" y="94205"/>
                    </a:cubicBezTo>
                    <a:cubicBezTo>
                      <a:pt x="2812" y="94205"/>
                      <a:pt x="5625" y="93084"/>
                      <a:pt x="5625" y="94205"/>
                    </a:cubicBezTo>
                    <a:cubicBezTo>
                      <a:pt x="4687" y="95327"/>
                      <a:pt x="1875" y="94205"/>
                      <a:pt x="937" y="96448"/>
                    </a:cubicBezTo>
                    <a:cubicBezTo>
                      <a:pt x="0" y="97570"/>
                      <a:pt x="5625" y="97570"/>
                      <a:pt x="3750" y="99813"/>
                    </a:cubicBezTo>
                    <a:cubicBezTo>
                      <a:pt x="3750" y="99813"/>
                      <a:pt x="2812" y="97570"/>
                      <a:pt x="1875" y="98691"/>
                    </a:cubicBezTo>
                    <a:cubicBezTo>
                      <a:pt x="937" y="99813"/>
                      <a:pt x="937" y="100934"/>
                      <a:pt x="1875" y="102056"/>
                    </a:cubicBezTo>
                    <a:cubicBezTo>
                      <a:pt x="2812" y="102056"/>
                      <a:pt x="4687" y="103177"/>
                      <a:pt x="5625" y="103177"/>
                    </a:cubicBezTo>
                    <a:cubicBezTo>
                      <a:pt x="6562" y="102056"/>
                      <a:pt x="7500" y="99813"/>
                      <a:pt x="8437" y="100934"/>
                    </a:cubicBezTo>
                    <a:cubicBezTo>
                      <a:pt x="7500" y="100934"/>
                      <a:pt x="6562" y="102056"/>
                      <a:pt x="6562" y="102056"/>
                    </a:cubicBezTo>
                    <a:cubicBezTo>
                      <a:pt x="6562" y="103177"/>
                      <a:pt x="5625" y="103177"/>
                      <a:pt x="4687" y="103177"/>
                    </a:cubicBezTo>
                    <a:cubicBezTo>
                      <a:pt x="4687" y="103177"/>
                      <a:pt x="6562" y="104299"/>
                      <a:pt x="6562" y="105420"/>
                    </a:cubicBezTo>
                    <a:cubicBezTo>
                      <a:pt x="6562" y="105420"/>
                      <a:pt x="3750" y="103177"/>
                      <a:pt x="4687" y="105420"/>
                    </a:cubicBezTo>
                    <a:cubicBezTo>
                      <a:pt x="4687" y="106542"/>
                      <a:pt x="7500" y="107663"/>
                      <a:pt x="7500" y="107663"/>
                    </a:cubicBezTo>
                    <a:cubicBezTo>
                      <a:pt x="7500" y="108785"/>
                      <a:pt x="4687" y="106542"/>
                      <a:pt x="3750" y="107663"/>
                    </a:cubicBezTo>
                    <a:cubicBezTo>
                      <a:pt x="1875" y="107663"/>
                      <a:pt x="3750" y="104299"/>
                      <a:pt x="2812" y="104299"/>
                    </a:cubicBezTo>
                    <a:cubicBezTo>
                      <a:pt x="2812" y="104299"/>
                      <a:pt x="937" y="106542"/>
                      <a:pt x="1875" y="107663"/>
                    </a:cubicBezTo>
                    <a:cubicBezTo>
                      <a:pt x="2812" y="107663"/>
                      <a:pt x="1875" y="109906"/>
                      <a:pt x="1875" y="109906"/>
                    </a:cubicBezTo>
                    <a:cubicBezTo>
                      <a:pt x="2812" y="111028"/>
                      <a:pt x="3750" y="108785"/>
                      <a:pt x="4687" y="107663"/>
                    </a:cubicBezTo>
                    <a:cubicBezTo>
                      <a:pt x="4687" y="107663"/>
                      <a:pt x="4687" y="108785"/>
                      <a:pt x="4687" y="108785"/>
                    </a:cubicBezTo>
                    <a:cubicBezTo>
                      <a:pt x="5625" y="108785"/>
                      <a:pt x="5625" y="107663"/>
                      <a:pt x="6562" y="107663"/>
                    </a:cubicBezTo>
                    <a:cubicBezTo>
                      <a:pt x="6562" y="107663"/>
                      <a:pt x="6562" y="109906"/>
                      <a:pt x="5625" y="109906"/>
                    </a:cubicBezTo>
                    <a:cubicBezTo>
                      <a:pt x="3750" y="111028"/>
                      <a:pt x="7500" y="113271"/>
                      <a:pt x="7500" y="112149"/>
                    </a:cubicBezTo>
                    <a:cubicBezTo>
                      <a:pt x="7500" y="114392"/>
                      <a:pt x="937" y="112149"/>
                      <a:pt x="4687" y="115514"/>
                    </a:cubicBezTo>
                    <a:cubicBezTo>
                      <a:pt x="6562" y="116635"/>
                      <a:pt x="7500" y="117757"/>
                      <a:pt x="9375" y="117757"/>
                    </a:cubicBezTo>
                    <a:cubicBezTo>
                      <a:pt x="9375" y="117757"/>
                      <a:pt x="12187" y="120000"/>
                      <a:pt x="13125" y="120000"/>
                    </a:cubicBezTo>
                    <a:cubicBezTo>
                      <a:pt x="15937" y="120000"/>
                      <a:pt x="19687" y="116635"/>
                      <a:pt x="21562" y="114392"/>
                    </a:cubicBezTo>
                    <a:cubicBezTo>
                      <a:pt x="22500" y="112149"/>
                      <a:pt x="23437" y="112149"/>
                      <a:pt x="25312" y="111028"/>
                    </a:cubicBezTo>
                    <a:cubicBezTo>
                      <a:pt x="26250" y="109906"/>
                      <a:pt x="26250" y="106542"/>
                      <a:pt x="27187" y="106542"/>
                    </a:cubicBezTo>
                    <a:cubicBezTo>
                      <a:pt x="27187" y="106542"/>
                      <a:pt x="27187" y="109906"/>
                      <a:pt x="28125" y="109906"/>
                    </a:cubicBezTo>
                    <a:cubicBezTo>
                      <a:pt x="30000" y="111028"/>
                      <a:pt x="29062" y="111028"/>
                      <a:pt x="29062" y="112149"/>
                    </a:cubicBezTo>
                    <a:cubicBezTo>
                      <a:pt x="30000" y="112149"/>
                      <a:pt x="30937" y="112149"/>
                      <a:pt x="31875" y="113271"/>
                    </a:cubicBezTo>
                    <a:cubicBezTo>
                      <a:pt x="31875" y="114392"/>
                      <a:pt x="30937" y="112149"/>
                      <a:pt x="31875" y="11327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6" name="Shape 2597">
                <a:extLst>
                  <a:ext uri="{FF2B5EF4-FFF2-40B4-BE49-F238E27FC236}">
                    <a16:creationId xmlns:a16="http://schemas.microsoft.com/office/drawing/2014/main" id="{F310BBF4-12B1-4711-AE5D-51290BFC8615}"/>
                  </a:ext>
                </a:extLst>
              </p:cNvPr>
              <p:cNvSpPr/>
              <p:nvPr/>
            </p:nvSpPr>
            <p:spPr>
              <a:xfrm>
                <a:off x="12936894" y="5141774"/>
                <a:ext cx="6824984" cy="2380025"/>
              </a:xfrm>
              <a:custGeom>
                <a:avLst/>
                <a:gdLst/>
                <a:ahLst/>
                <a:cxnLst/>
                <a:rect l="0" t="0" r="0" b="0"/>
                <a:pathLst>
                  <a:path w="120000" h="120000" extrusionOk="0">
                    <a:moveTo>
                      <a:pt x="119703" y="47234"/>
                    </a:moveTo>
                    <a:cubicBezTo>
                      <a:pt x="119407" y="46382"/>
                      <a:pt x="118962" y="45957"/>
                      <a:pt x="118666" y="45106"/>
                    </a:cubicBezTo>
                    <a:cubicBezTo>
                      <a:pt x="118518" y="44680"/>
                      <a:pt x="118370" y="44255"/>
                      <a:pt x="118074" y="43829"/>
                    </a:cubicBezTo>
                    <a:cubicBezTo>
                      <a:pt x="117925" y="43829"/>
                      <a:pt x="117629" y="43829"/>
                      <a:pt x="117481" y="43404"/>
                    </a:cubicBezTo>
                    <a:cubicBezTo>
                      <a:pt x="117481" y="43829"/>
                      <a:pt x="117629" y="43829"/>
                      <a:pt x="117629" y="43829"/>
                    </a:cubicBezTo>
                    <a:cubicBezTo>
                      <a:pt x="117777" y="43829"/>
                      <a:pt x="117333" y="44255"/>
                      <a:pt x="117185" y="43829"/>
                    </a:cubicBezTo>
                    <a:cubicBezTo>
                      <a:pt x="117185" y="43829"/>
                      <a:pt x="117333" y="43829"/>
                      <a:pt x="117333" y="43404"/>
                    </a:cubicBezTo>
                    <a:cubicBezTo>
                      <a:pt x="117185" y="42978"/>
                      <a:pt x="116444" y="43829"/>
                      <a:pt x="116296" y="43404"/>
                    </a:cubicBezTo>
                    <a:cubicBezTo>
                      <a:pt x="116592" y="43829"/>
                      <a:pt x="116592" y="43829"/>
                      <a:pt x="116592" y="45106"/>
                    </a:cubicBezTo>
                    <a:cubicBezTo>
                      <a:pt x="116444" y="45531"/>
                      <a:pt x="116740" y="46382"/>
                      <a:pt x="116740" y="46382"/>
                    </a:cubicBezTo>
                    <a:cubicBezTo>
                      <a:pt x="116592" y="46382"/>
                      <a:pt x="116592" y="45957"/>
                      <a:pt x="116592" y="45957"/>
                    </a:cubicBezTo>
                    <a:cubicBezTo>
                      <a:pt x="116444" y="45531"/>
                      <a:pt x="116444" y="46382"/>
                      <a:pt x="116296" y="46382"/>
                    </a:cubicBezTo>
                    <a:cubicBezTo>
                      <a:pt x="116296" y="46382"/>
                      <a:pt x="116000" y="44680"/>
                      <a:pt x="116000" y="44680"/>
                    </a:cubicBezTo>
                    <a:cubicBezTo>
                      <a:pt x="116000" y="44255"/>
                      <a:pt x="116000" y="44255"/>
                      <a:pt x="116000" y="44255"/>
                    </a:cubicBezTo>
                    <a:cubicBezTo>
                      <a:pt x="116000" y="43829"/>
                      <a:pt x="115851" y="43404"/>
                      <a:pt x="116000" y="42978"/>
                    </a:cubicBezTo>
                    <a:cubicBezTo>
                      <a:pt x="116148" y="42127"/>
                      <a:pt x="115851" y="42553"/>
                      <a:pt x="115703" y="42127"/>
                    </a:cubicBezTo>
                    <a:cubicBezTo>
                      <a:pt x="115703" y="41702"/>
                      <a:pt x="115407" y="41276"/>
                      <a:pt x="115259" y="41276"/>
                    </a:cubicBezTo>
                    <a:cubicBezTo>
                      <a:pt x="114222" y="39574"/>
                      <a:pt x="113333" y="37872"/>
                      <a:pt x="112296" y="37021"/>
                    </a:cubicBezTo>
                    <a:cubicBezTo>
                      <a:pt x="112000" y="36595"/>
                      <a:pt x="111851" y="36170"/>
                      <a:pt x="111703" y="35744"/>
                    </a:cubicBezTo>
                    <a:cubicBezTo>
                      <a:pt x="111555" y="35319"/>
                      <a:pt x="111259" y="34893"/>
                      <a:pt x="110962" y="34893"/>
                    </a:cubicBezTo>
                    <a:cubicBezTo>
                      <a:pt x="110518" y="34468"/>
                      <a:pt x="110074" y="34042"/>
                      <a:pt x="109481" y="33191"/>
                    </a:cubicBezTo>
                    <a:cubicBezTo>
                      <a:pt x="109037" y="33191"/>
                      <a:pt x="108444" y="33191"/>
                      <a:pt x="108148" y="33191"/>
                    </a:cubicBezTo>
                    <a:cubicBezTo>
                      <a:pt x="107851" y="33191"/>
                      <a:pt x="107703" y="33191"/>
                      <a:pt x="107555" y="33191"/>
                    </a:cubicBezTo>
                    <a:cubicBezTo>
                      <a:pt x="107555" y="33191"/>
                      <a:pt x="107407" y="32765"/>
                      <a:pt x="107407" y="32765"/>
                    </a:cubicBezTo>
                    <a:cubicBezTo>
                      <a:pt x="107259" y="33191"/>
                      <a:pt x="107259" y="33617"/>
                      <a:pt x="107111" y="33191"/>
                    </a:cubicBezTo>
                    <a:cubicBezTo>
                      <a:pt x="106666" y="33191"/>
                      <a:pt x="106222" y="32765"/>
                      <a:pt x="105777" y="32340"/>
                    </a:cubicBezTo>
                    <a:cubicBezTo>
                      <a:pt x="105629" y="32340"/>
                      <a:pt x="105185" y="31914"/>
                      <a:pt x="105185" y="32765"/>
                    </a:cubicBezTo>
                    <a:cubicBezTo>
                      <a:pt x="105037" y="33617"/>
                      <a:pt x="104888" y="33617"/>
                      <a:pt x="105185" y="34042"/>
                    </a:cubicBezTo>
                    <a:cubicBezTo>
                      <a:pt x="105481" y="34893"/>
                      <a:pt x="105777" y="36595"/>
                      <a:pt x="105037" y="37021"/>
                    </a:cubicBezTo>
                    <a:cubicBezTo>
                      <a:pt x="104888" y="37446"/>
                      <a:pt x="104444" y="37446"/>
                      <a:pt x="104296" y="36595"/>
                    </a:cubicBezTo>
                    <a:cubicBezTo>
                      <a:pt x="104148" y="36170"/>
                      <a:pt x="104148" y="35744"/>
                      <a:pt x="103703" y="35744"/>
                    </a:cubicBezTo>
                    <a:cubicBezTo>
                      <a:pt x="103259" y="35319"/>
                      <a:pt x="103555" y="34893"/>
                      <a:pt x="103407" y="34468"/>
                    </a:cubicBezTo>
                    <a:cubicBezTo>
                      <a:pt x="103407" y="34042"/>
                      <a:pt x="102962" y="33617"/>
                      <a:pt x="102814" y="34042"/>
                    </a:cubicBezTo>
                    <a:cubicBezTo>
                      <a:pt x="102370" y="35319"/>
                      <a:pt x="101629" y="34042"/>
                      <a:pt x="101037" y="34042"/>
                    </a:cubicBezTo>
                    <a:cubicBezTo>
                      <a:pt x="100444" y="34042"/>
                      <a:pt x="99851" y="33617"/>
                      <a:pt x="99259" y="33617"/>
                    </a:cubicBezTo>
                    <a:cubicBezTo>
                      <a:pt x="98962" y="33617"/>
                      <a:pt x="98814" y="33617"/>
                      <a:pt x="98518" y="34042"/>
                    </a:cubicBezTo>
                    <a:cubicBezTo>
                      <a:pt x="98222" y="34468"/>
                      <a:pt x="98370" y="35744"/>
                      <a:pt x="98370" y="36595"/>
                    </a:cubicBezTo>
                    <a:cubicBezTo>
                      <a:pt x="98370" y="36595"/>
                      <a:pt x="98370" y="36595"/>
                      <a:pt x="98370" y="36595"/>
                    </a:cubicBezTo>
                    <a:cubicBezTo>
                      <a:pt x="98222" y="36595"/>
                      <a:pt x="98074" y="34468"/>
                      <a:pt x="97925" y="34042"/>
                    </a:cubicBezTo>
                    <a:cubicBezTo>
                      <a:pt x="97777" y="34042"/>
                      <a:pt x="97185" y="34042"/>
                      <a:pt x="97037" y="33191"/>
                    </a:cubicBezTo>
                    <a:cubicBezTo>
                      <a:pt x="97037" y="31914"/>
                      <a:pt x="97629" y="31489"/>
                      <a:pt x="97037" y="30212"/>
                    </a:cubicBezTo>
                    <a:cubicBezTo>
                      <a:pt x="96740" y="29787"/>
                      <a:pt x="96444" y="29361"/>
                      <a:pt x="96000" y="28936"/>
                    </a:cubicBezTo>
                    <a:cubicBezTo>
                      <a:pt x="95111" y="28085"/>
                      <a:pt x="94074" y="28936"/>
                      <a:pt x="93185" y="29361"/>
                    </a:cubicBezTo>
                    <a:cubicBezTo>
                      <a:pt x="92740" y="29361"/>
                      <a:pt x="92296" y="29361"/>
                      <a:pt x="91703" y="29361"/>
                    </a:cubicBezTo>
                    <a:cubicBezTo>
                      <a:pt x="91555" y="29361"/>
                      <a:pt x="91555" y="29361"/>
                      <a:pt x="91407" y="29361"/>
                    </a:cubicBezTo>
                    <a:cubicBezTo>
                      <a:pt x="91111" y="28936"/>
                      <a:pt x="91407" y="28936"/>
                      <a:pt x="91555" y="28510"/>
                    </a:cubicBezTo>
                    <a:cubicBezTo>
                      <a:pt x="91555" y="28085"/>
                      <a:pt x="90814" y="27659"/>
                      <a:pt x="90814" y="27659"/>
                    </a:cubicBezTo>
                    <a:cubicBezTo>
                      <a:pt x="90666" y="27234"/>
                      <a:pt x="90074" y="27659"/>
                      <a:pt x="89925" y="27659"/>
                    </a:cubicBezTo>
                    <a:cubicBezTo>
                      <a:pt x="89925" y="27659"/>
                      <a:pt x="90518" y="27234"/>
                      <a:pt x="90370" y="26808"/>
                    </a:cubicBezTo>
                    <a:cubicBezTo>
                      <a:pt x="90222" y="26808"/>
                      <a:pt x="90074" y="27234"/>
                      <a:pt x="89925" y="27234"/>
                    </a:cubicBezTo>
                    <a:cubicBezTo>
                      <a:pt x="89777" y="26808"/>
                      <a:pt x="89481" y="26382"/>
                      <a:pt x="89481" y="26382"/>
                    </a:cubicBezTo>
                    <a:cubicBezTo>
                      <a:pt x="89333" y="26382"/>
                      <a:pt x="88888" y="25531"/>
                      <a:pt x="89185" y="25531"/>
                    </a:cubicBezTo>
                    <a:cubicBezTo>
                      <a:pt x="89333" y="25531"/>
                      <a:pt x="89629" y="25531"/>
                      <a:pt x="89777" y="25531"/>
                    </a:cubicBezTo>
                    <a:cubicBezTo>
                      <a:pt x="90222" y="25531"/>
                      <a:pt x="89629" y="24255"/>
                      <a:pt x="89481" y="24255"/>
                    </a:cubicBezTo>
                    <a:cubicBezTo>
                      <a:pt x="89185" y="23404"/>
                      <a:pt x="88444" y="23829"/>
                      <a:pt x="88000" y="23404"/>
                    </a:cubicBezTo>
                    <a:cubicBezTo>
                      <a:pt x="87703" y="23404"/>
                      <a:pt x="87555" y="24255"/>
                      <a:pt x="87259" y="25106"/>
                    </a:cubicBezTo>
                    <a:cubicBezTo>
                      <a:pt x="87259" y="25106"/>
                      <a:pt x="86222" y="26808"/>
                      <a:pt x="86222" y="25531"/>
                    </a:cubicBezTo>
                    <a:cubicBezTo>
                      <a:pt x="86370" y="24680"/>
                      <a:pt x="86518" y="25531"/>
                      <a:pt x="86814" y="25106"/>
                    </a:cubicBezTo>
                    <a:cubicBezTo>
                      <a:pt x="86814" y="25106"/>
                      <a:pt x="86666" y="23829"/>
                      <a:pt x="86518" y="23829"/>
                    </a:cubicBezTo>
                    <a:cubicBezTo>
                      <a:pt x="86518" y="23829"/>
                      <a:pt x="85629" y="23829"/>
                      <a:pt x="85629" y="23829"/>
                    </a:cubicBezTo>
                    <a:cubicBezTo>
                      <a:pt x="85777" y="23404"/>
                      <a:pt x="86074" y="22978"/>
                      <a:pt x="86370" y="22978"/>
                    </a:cubicBezTo>
                    <a:cubicBezTo>
                      <a:pt x="86518" y="23404"/>
                      <a:pt x="87555" y="23404"/>
                      <a:pt x="87555" y="23404"/>
                    </a:cubicBezTo>
                    <a:cubicBezTo>
                      <a:pt x="87555" y="22978"/>
                      <a:pt x="86666" y="22978"/>
                      <a:pt x="86518" y="22553"/>
                    </a:cubicBezTo>
                    <a:cubicBezTo>
                      <a:pt x="86222" y="22553"/>
                      <a:pt x="85925" y="22553"/>
                      <a:pt x="85629" y="22553"/>
                    </a:cubicBezTo>
                    <a:cubicBezTo>
                      <a:pt x="85037" y="22127"/>
                      <a:pt x="84444" y="22127"/>
                      <a:pt x="83851" y="21702"/>
                    </a:cubicBezTo>
                    <a:cubicBezTo>
                      <a:pt x="83703" y="21702"/>
                      <a:pt x="83111" y="21276"/>
                      <a:pt x="83111" y="21276"/>
                    </a:cubicBezTo>
                    <a:cubicBezTo>
                      <a:pt x="83111" y="21702"/>
                      <a:pt x="83259" y="22127"/>
                      <a:pt x="83111" y="22127"/>
                    </a:cubicBezTo>
                    <a:cubicBezTo>
                      <a:pt x="82962" y="22553"/>
                      <a:pt x="82814" y="22553"/>
                      <a:pt x="82666" y="22553"/>
                    </a:cubicBezTo>
                    <a:cubicBezTo>
                      <a:pt x="82518" y="22553"/>
                      <a:pt x="81777" y="22978"/>
                      <a:pt x="81925" y="23829"/>
                    </a:cubicBezTo>
                    <a:cubicBezTo>
                      <a:pt x="82074" y="24680"/>
                      <a:pt x="82370" y="23404"/>
                      <a:pt x="82518" y="23829"/>
                    </a:cubicBezTo>
                    <a:cubicBezTo>
                      <a:pt x="82518" y="23829"/>
                      <a:pt x="82074" y="24255"/>
                      <a:pt x="82222" y="25106"/>
                    </a:cubicBezTo>
                    <a:cubicBezTo>
                      <a:pt x="82370" y="25106"/>
                      <a:pt x="82222" y="25531"/>
                      <a:pt x="82222" y="25957"/>
                    </a:cubicBezTo>
                    <a:cubicBezTo>
                      <a:pt x="82370" y="25957"/>
                      <a:pt x="82518" y="26382"/>
                      <a:pt x="82518" y="26808"/>
                    </a:cubicBezTo>
                    <a:cubicBezTo>
                      <a:pt x="82518" y="26808"/>
                      <a:pt x="81925" y="26808"/>
                      <a:pt x="81777" y="26808"/>
                    </a:cubicBezTo>
                    <a:cubicBezTo>
                      <a:pt x="81481" y="26808"/>
                      <a:pt x="81777" y="26382"/>
                      <a:pt x="81777" y="26382"/>
                    </a:cubicBezTo>
                    <a:cubicBezTo>
                      <a:pt x="81629" y="25957"/>
                      <a:pt x="81185" y="26382"/>
                      <a:pt x="81185" y="26382"/>
                    </a:cubicBezTo>
                    <a:cubicBezTo>
                      <a:pt x="80888" y="26808"/>
                      <a:pt x="80592" y="26382"/>
                      <a:pt x="80444" y="26382"/>
                    </a:cubicBezTo>
                    <a:cubicBezTo>
                      <a:pt x="80296" y="26382"/>
                      <a:pt x="80888" y="26808"/>
                      <a:pt x="80888" y="26808"/>
                    </a:cubicBezTo>
                    <a:cubicBezTo>
                      <a:pt x="81333" y="27234"/>
                      <a:pt x="80888" y="28085"/>
                      <a:pt x="80740" y="27659"/>
                    </a:cubicBezTo>
                    <a:cubicBezTo>
                      <a:pt x="80592" y="27659"/>
                      <a:pt x="80592" y="27234"/>
                      <a:pt x="80592" y="26808"/>
                    </a:cubicBezTo>
                    <a:cubicBezTo>
                      <a:pt x="80444" y="26808"/>
                      <a:pt x="80296" y="26808"/>
                      <a:pt x="80148" y="26808"/>
                    </a:cubicBezTo>
                    <a:cubicBezTo>
                      <a:pt x="79851" y="26382"/>
                      <a:pt x="79555" y="25957"/>
                      <a:pt x="79111" y="26382"/>
                    </a:cubicBezTo>
                    <a:cubicBezTo>
                      <a:pt x="78666" y="26382"/>
                      <a:pt x="78370" y="27659"/>
                      <a:pt x="77925" y="26808"/>
                    </a:cubicBezTo>
                    <a:cubicBezTo>
                      <a:pt x="77629" y="26382"/>
                      <a:pt x="77333" y="25957"/>
                      <a:pt x="77185" y="25106"/>
                    </a:cubicBezTo>
                    <a:cubicBezTo>
                      <a:pt x="77037" y="24680"/>
                      <a:pt x="76740" y="26382"/>
                      <a:pt x="76592" y="26382"/>
                    </a:cubicBezTo>
                    <a:cubicBezTo>
                      <a:pt x="76444" y="27234"/>
                      <a:pt x="76296" y="29787"/>
                      <a:pt x="75851" y="29361"/>
                    </a:cubicBezTo>
                    <a:cubicBezTo>
                      <a:pt x="75555" y="28936"/>
                      <a:pt x="75259" y="28936"/>
                      <a:pt x="74962" y="28085"/>
                    </a:cubicBezTo>
                    <a:cubicBezTo>
                      <a:pt x="74814" y="27659"/>
                      <a:pt x="74518" y="26808"/>
                      <a:pt x="74370" y="26382"/>
                    </a:cubicBezTo>
                    <a:cubicBezTo>
                      <a:pt x="74222" y="25531"/>
                      <a:pt x="73925" y="25106"/>
                      <a:pt x="73777" y="24680"/>
                    </a:cubicBezTo>
                    <a:cubicBezTo>
                      <a:pt x="73481" y="23829"/>
                      <a:pt x="74074" y="24255"/>
                      <a:pt x="74222" y="24255"/>
                    </a:cubicBezTo>
                    <a:cubicBezTo>
                      <a:pt x="74370" y="24255"/>
                      <a:pt x="74666" y="23829"/>
                      <a:pt x="74666" y="23404"/>
                    </a:cubicBezTo>
                    <a:cubicBezTo>
                      <a:pt x="74666" y="23404"/>
                      <a:pt x="73925" y="22127"/>
                      <a:pt x="73925" y="22127"/>
                    </a:cubicBezTo>
                    <a:cubicBezTo>
                      <a:pt x="73925" y="22127"/>
                      <a:pt x="74370" y="22127"/>
                      <a:pt x="74370" y="21702"/>
                    </a:cubicBezTo>
                    <a:cubicBezTo>
                      <a:pt x="74222" y="21276"/>
                      <a:pt x="73925" y="21276"/>
                      <a:pt x="73925" y="21276"/>
                    </a:cubicBezTo>
                    <a:cubicBezTo>
                      <a:pt x="73925" y="20425"/>
                      <a:pt x="74666" y="20000"/>
                      <a:pt x="73925" y="19574"/>
                    </a:cubicBezTo>
                    <a:cubicBezTo>
                      <a:pt x="73777" y="19574"/>
                      <a:pt x="73629" y="18723"/>
                      <a:pt x="73333" y="18723"/>
                    </a:cubicBezTo>
                    <a:cubicBezTo>
                      <a:pt x="73185" y="18723"/>
                      <a:pt x="72888" y="18297"/>
                      <a:pt x="72740" y="18723"/>
                    </a:cubicBezTo>
                    <a:cubicBezTo>
                      <a:pt x="72592" y="18723"/>
                      <a:pt x="72592" y="19148"/>
                      <a:pt x="72444" y="19148"/>
                    </a:cubicBezTo>
                    <a:cubicBezTo>
                      <a:pt x="72296" y="18723"/>
                      <a:pt x="72296" y="18723"/>
                      <a:pt x="72148" y="18723"/>
                    </a:cubicBezTo>
                    <a:cubicBezTo>
                      <a:pt x="72000" y="18723"/>
                      <a:pt x="71703" y="18723"/>
                      <a:pt x="71555" y="18297"/>
                    </a:cubicBezTo>
                    <a:cubicBezTo>
                      <a:pt x="71407" y="18297"/>
                      <a:pt x="71259" y="18297"/>
                      <a:pt x="71111" y="17446"/>
                    </a:cubicBezTo>
                    <a:cubicBezTo>
                      <a:pt x="70962" y="17446"/>
                      <a:pt x="71111" y="17021"/>
                      <a:pt x="70814" y="17446"/>
                    </a:cubicBezTo>
                    <a:cubicBezTo>
                      <a:pt x="70814" y="17446"/>
                      <a:pt x="70666" y="17872"/>
                      <a:pt x="70518" y="17872"/>
                    </a:cubicBezTo>
                    <a:cubicBezTo>
                      <a:pt x="70370" y="17872"/>
                      <a:pt x="70370" y="17446"/>
                      <a:pt x="70222" y="17872"/>
                    </a:cubicBezTo>
                    <a:cubicBezTo>
                      <a:pt x="70222" y="18297"/>
                      <a:pt x="70074" y="18723"/>
                      <a:pt x="70074" y="19148"/>
                    </a:cubicBezTo>
                    <a:cubicBezTo>
                      <a:pt x="70074" y="19574"/>
                      <a:pt x="70370" y="19574"/>
                      <a:pt x="70222" y="20000"/>
                    </a:cubicBezTo>
                    <a:cubicBezTo>
                      <a:pt x="70074" y="20425"/>
                      <a:pt x="70222" y="20425"/>
                      <a:pt x="70074" y="20425"/>
                    </a:cubicBezTo>
                    <a:cubicBezTo>
                      <a:pt x="69925" y="20425"/>
                      <a:pt x="69629" y="20425"/>
                      <a:pt x="69481" y="20851"/>
                    </a:cubicBezTo>
                    <a:cubicBezTo>
                      <a:pt x="69629" y="20425"/>
                      <a:pt x="70074" y="21276"/>
                      <a:pt x="70074" y="21276"/>
                    </a:cubicBezTo>
                    <a:cubicBezTo>
                      <a:pt x="69925" y="21702"/>
                      <a:pt x="69481" y="20851"/>
                      <a:pt x="69185" y="20851"/>
                    </a:cubicBezTo>
                    <a:cubicBezTo>
                      <a:pt x="68888" y="20851"/>
                      <a:pt x="68444" y="20851"/>
                      <a:pt x="68000" y="20851"/>
                    </a:cubicBezTo>
                    <a:cubicBezTo>
                      <a:pt x="67851" y="20851"/>
                      <a:pt x="67851" y="20425"/>
                      <a:pt x="67703" y="20425"/>
                    </a:cubicBezTo>
                    <a:cubicBezTo>
                      <a:pt x="67555" y="20000"/>
                      <a:pt x="67111" y="20425"/>
                      <a:pt x="66962" y="20425"/>
                    </a:cubicBezTo>
                    <a:cubicBezTo>
                      <a:pt x="66814" y="20000"/>
                      <a:pt x="66518" y="20000"/>
                      <a:pt x="66370" y="19574"/>
                    </a:cubicBezTo>
                    <a:cubicBezTo>
                      <a:pt x="66370" y="19148"/>
                      <a:pt x="66666" y="19148"/>
                      <a:pt x="66666" y="18723"/>
                    </a:cubicBezTo>
                    <a:cubicBezTo>
                      <a:pt x="66814" y="18297"/>
                      <a:pt x="65481" y="18297"/>
                      <a:pt x="65333" y="18297"/>
                    </a:cubicBezTo>
                    <a:cubicBezTo>
                      <a:pt x="64592" y="17872"/>
                      <a:pt x="64000" y="18297"/>
                      <a:pt x="63259" y="18297"/>
                    </a:cubicBezTo>
                    <a:cubicBezTo>
                      <a:pt x="62814" y="18297"/>
                      <a:pt x="62962" y="18297"/>
                      <a:pt x="63111" y="19148"/>
                    </a:cubicBezTo>
                    <a:cubicBezTo>
                      <a:pt x="63111" y="19574"/>
                      <a:pt x="62814" y="19148"/>
                      <a:pt x="62814" y="19148"/>
                    </a:cubicBezTo>
                    <a:cubicBezTo>
                      <a:pt x="62518" y="19148"/>
                      <a:pt x="62666" y="18723"/>
                      <a:pt x="62666" y="18297"/>
                    </a:cubicBezTo>
                    <a:cubicBezTo>
                      <a:pt x="62666" y="17446"/>
                      <a:pt x="62518" y="16170"/>
                      <a:pt x="62222" y="17021"/>
                    </a:cubicBezTo>
                    <a:cubicBezTo>
                      <a:pt x="62222" y="17872"/>
                      <a:pt x="61629" y="17872"/>
                      <a:pt x="61333" y="17446"/>
                    </a:cubicBezTo>
                    <a:cubicBezTo>
                      <a:pt x="61185" y="17021"/>
                      <a:pt x="61481" y="16170"/>
                      <a:pt x="60888" y="16595"/>
                    </a:cubicBezTo>
                    <a:cubicBezTo>
                      <a:pt x="60740" y="16595"/>
                      <a:pt x="60592" y="16595"/>
                      <a:pt x="60444" y="16595"/>
                    </a:cubicBezTo>
                    <a:cubicBezTo>
                      <a:pt x="60296" y="16170"/>
                      <a:pt x="60148" y="16595"/>
                      <a:pt x="59851" y="17021"/>
                    </a:cubicBezTo>
                    <a:cubicBezTo>
                      <a:pt x="59555" y="17872"/>
                      <a:pt x="60296" y="17446"/>
                      <a:pt x="60296" y="17872"/>
                    </a:cubicBezTo>
                    <a:cubicBezTo>
                      <a:pt x="60296" y="18723"/>
                      <a:pt x="59703" y="18297"/>
                      <a:pt x="59555" y="18723"/>
                    </a:cubicBezTo>
                    <a:cubicBezTo>
                      <a:pt x="59407" y="19148"/>
                      <a:pt x="59111" y="19148"/>
                      <a:pt x="58814" y="19574"/>
                    </a:cubicBezTo>
                    <a:cubicBezTo>
                      <a:pt x="58518" y="20000"/>
                      <a:pt x="58222" y="20000"/>
                      <a:pt x="57777" y="20000"/>
                    </a:cubicBezTo>
                    <a:cubicBezTo>
                      <a:pt x="57481" y="20000"/>
                      <a:pt x="57481" y="20000"/>
                      <a:pt x="57333" y="20851"/>
                    </a:cubicBezTo>
                    <a:cubicBezTo>
                      <a:pt x="57185" y="21276"/>
                      <a:pt x="56592" y="21702"/>
                      <a:pt x="56444" y="21702"/>
                    </a:cubicBezTo>
                    <a:cubicBezTo>
                      <a:pt x="56444" y="21276"/>
                      <a:pt x="56740" y="21276"/>
                      <a:pt x="56740" y="21276"/>
                    </a:cubicBezTo>
                    <a:cubicBezTo>
                      <a:pt x="57037" y="20851"/>
                      <a:pt x="57037" y="20000"/>
                      <a:pt x="57185" y="19574"/>
                    </a:cubicBezTo>
                    <a:cubicBezTo>
                      <a:pt x="57333" y="18723"/>
                      <a:pt x="57481" y="19574"/>
                      <a:pt x="57629" y="19148"/>
                    </a:cubicBezTo>
                    <a:cubicBezTo>
                      <a:pt x="57777" y="19148"/>
                      <a:pt x="57777" y="18723"/>
                      <a:pt x="57925" y="18723"/>
                    </a:cubicBezTo>
                    <a:cubicBezTo>
                      <a:pt x="58370" y="17872"/>
                      <a:pt x="58962" y="17446"/>
                      <a:pt x="59407" y="16595"/>
                    </a:cubicBezTo>
                    <a:cubicBezTo>
                      <a:pt x="59703" y="16170"/>
                      <a:pt x="60000" y="15744"/>
                      <a:pt x="60296" y="15319"/>
                    </a:cubicBezTo>
                    <a:cubicBezTo>
                      <a:pt x="60888" y="14042"/>
                      <a:pt x="61629" y="13191"/>
                      <a:pt x="62222" y="12340"/>
                    </a:cubicBezTo>
                    <a:cubicBezTo>
                      <a:pt x="62666" y="11914"/>
                      <a:pt x="63111" y="11063"/>
                      <a:pt x="62666" y="9787"/>
                    </a:cubicBezTo>
                    <a:cubicBezTo>
                      <a:pt x="62518" y="9361"/>
                      <a:pt x="62518" y="10212"/>
                      <a:pt x="62370" y="9787"/>
                    </a:cubicBezTo>
                    <a:cubicBezTo>
                      <a:pt x="62222" y="9361"/>
                      <a:pt x="62074" y="9361"/>
                      <a:pt x="61925" y="8936"/>
                    </a:cubicBezTo>
                    <a:cubicBezTo>
                      <a:pt x="61925" y="8510"/>
                      <a:pt x="62666" y="9361"/>
                      <a:pt x="62666" y="9361"/>
                    </a:cubicBezTo>
                    <a:cubicBezTo>
                      <a:pt x="62814" y="9361"/>
                      <a:pt x="63259" y="9361"/>
                      <a:pt x="62962" y="8510"/>
                    </a:cubicBezTo>
                    <a:cubicBezTo>
                      <a:pt x="62814" y="8085"/>
                      <a:pt x="62814" y="7659"/>
                      <a:pt x="62666" y="7234"/>
                    </a:cubicBezTo>
                    <a:cubicBezTo>
                      <a:pt x="62518" y="6382"/>
                      <a:pt x="62370" y="8085"/>
                      <a:pt x="62222" y="8085"/>
                    </a:cubicBezTo>
                    <a:cubicBezTo>
                      <a:pt x="62222" y="7659"/>
                      <a:pt x="62222" y="7234"/>
                      <a:pt x="62222" y="7234"/>
                    </a:cubicBezTo>
                    <a:cubicBezTo>
                      <a:pt x="62222" y="6808"/>
                      <a:pt x="62222" y="6808"/>
                      <a:pt x="62074" y="6382"/>
                    </a:cubicBezTo>
                    <a:cubicBezTo>
                      <a:pt x="62074" y="5957"/>
                      <a:pt x="61777" y="5531"/>
                      <a:pt x="61629" y="5531"/>
                    </a:cubicBezTo>
                    <a:cubicBezTo>
                      <a:pt x="61333" y="5106"/>
                      <a:pt x="61185" y="5106"/>
                      <a:pt x="60888" y="4680"/>
                    </a:cubicBezTo>
                    <a:cubicBezTo>
                      <a:pt x="60592" y="4680"/>
                      <a:pt x="60592" y="4680"/>
                      <a:pt x="60148" y="5106"/>
                    </a:cubicBezTo>
                    <a:cubicBezTo>
                      <a:pt x="59851" y="5106"/>
                      <a:pt x="58814" y="3829"/>
                      <a:pt x="58666" y="5106"/>
                    </a:cubicBezTo>
                    <a:cubicBezTo>
                      <a:pt x="58518" y="5531"/>
                      <a:pt x="57629" y="5957"/>
                      <a:pt x="57481" y="5531"/>
                    </a:cubicBezTo>
                    <a:cubicBezTo>
                      <a:pt x="57481" y="5531"/>
                      <a:pt x="58370" y="3829"/>
                      <a:pt x="58074" y="3404"/>
                    </a:cubicBezTo>
                    <a:cubicBezTo>
                      <a:pt x="58074" y="3404"/>
                      <a:pt x="57037" y="3829"/>
                      <a:pt x="56888" y="3404"/>
                    </a:cubicBezTo>
                    <a:cubicBezTo>
                      <a:pt x="56888" y="2978"/>
                      <a:pt x="57185" y="2978"/>
                      <a:pt x="57185" y="2978"/>
                    </a:cubicBezTo>
                    <a:cubicBezTo>
                      <a:pt x="57185" y="2553"/>
                      <a:pt x="56000" y="2978"/>
                      <a:pt x="56000" y="2978"/>
                    </a:cubicBezTo>
                    <a:cubicBezTo>
                      <a:pt x="56148" y="2127"/>
                      <a:pt x="56740" y="2553"/>
                      <a:pt x="56888" y="2127"/>
                    </a:cubicBezTo>
                    <a:cubicBezTo>
                      <a:pt x="57037" y="1702"/>
                      <a:pt x="57333" y="2127"/>
                      <a:pt x="57185" y="1702"/>
                    </a:cubicBezTo>
                    <a:cubicBezTo>
                      <a:pt x="57185" y="1276"/>
                      <a:pt x="57185" y="851"/>
                      <a:pt x="57037" y="851"/>
                    </a:cubicBezTo>
                    <a:cubicBezTo>
                      <a:pt x="56592" y="851"/>
                      <a:pt x="56444" y="425"/>
                      <a:pt x="56000" y="425"/>
                    </a:cubicBezTo>
                    <a:cubicBezTo>
                      <a:pt x="55703" y="0"/>
                      <a:pt x="55407" y="425"/>
                      <a:pt x="55111" y="851"/>
                    </a:cubicBezTo>
                    <a:cubicBezTo>
                      <a:pt x="54518" y="1276"/>
                      <a:pt x="53925" y="2553"/>
                      <a:pt x="53629" y="3404"/>
                    </a:cubicBezTo>
                    <a:cubicBezTo>
                      <a:pt x="53481" y="3829"/>
                      <a:pt x="53481" y="3829"/>
                      <a:pt x="53629" y="4255"/>
                    </a:cubicBezTo>
                    <a:cubicBezTo>
                      <a:pt x="53777" y="4255"/>
                      <a:pt x="53629" y="4680"/>
                      <a:pt x="53629" y="5106"/>
                    </a:cubicBezTo>
                    <a:cubicBezTo>
                      <a:pt x="53629" y="5957"/>
                      <a:pt x="54222" y="5531"/>
                      <a:pt x="54222" y="5957"/>
                    </a:cubicBezTo>
                    <a:cubicBezTo>
                      <a:pt x="54222" y="5531"/>
                      <a:pt x="53481" y="5957"/>
                      <a:pt x="53333" y="5957"/>
                    </a:cubicBezTo>
                    <a:cubicBezTo>
                      <a:pt x="53185" y="5957"/>
                      <a:pt x="52296" y="5531"/>
                      <a:pt x="52148" y="5957"/>
                    </a:cubicBezTo>
                    <a:cubicBezTo>
                      <a:pt x="52148" y="5531"/>
                      <a:pt x="52592" y="7234"/>
                      <a:pt x="52592" y="7234"/>
                    </a:cubicBezTo>
                    <a:cubicBezTo>
                      <a:pt x="52740" y="7659"/>
                      <a:pt x="52000" y="6808"/>
                      <a:pt x="51851" y="6808"/>
                    </a:cubicBezTo>
                    <a:cubicBezTo>
                      <a:pt x="51703" y="6808"/>
                      <a:pt x="51407" y="7234"/>
                      <a:pt x="51111" y="7659"/>
                    </a:cubicBezTo>
                    <a:cubicBezTo>
                      <a:pt x="51111" y="7659"/>
                      <a:pt x="51111" y="7659"/>
                      <a:pt x="50962" y="7659"/>
                    </a:cubicBezTo>
                    <a:cubicBezTo>
                      <a:pt x="50666" y="7659"/>
                      <a:pt x="50962" y="7659"/>
                      <a:pt x="50814" y="7234"/>
                    </a:cubicBezTo>
                    <a:cubicBezTo>
                      <a:pt x="50814" y="7659"/>
                      <a:pt x="50074" y="8510"/>
                      <a:pt x="50074" y="8510"/>
                    </a:cubicBezTo>
                    <a:cubicBezTo>
                      <a:pt x="50074" y="8085"/>
                      <a:pt x="50370" y="7659"/>
                      <a:pt x="50370" y="7659"/>
                    </a:cubicBezTo>
                    <a:cubicBezTo>
                      <a:pt x="50370" y="7234"/>
                      <a:pt x="49629" y="7659"/>
                      <a:pt x="49481" y="7234"/>
                    </a:cubicBezTo>
                    <a:cubicBezTo>
                      <a:pt x="49481" y="7234"/>
                      <a:pt x="49777" y="6808"/>
                      <a:pt x="49777" y="6808"/>
                    </a:cubicBezTo>
                    <a:cubicBezTo>
                      <a:pt x="49629" y="7234"/>
                      <a:pt x="48888" y="7659"/>
                      <a:pt x="48592" y="7659"/>
                    </a:cubicBezTo>
                    <a:cubicBezTo>
                      <a:pt x="47851" y="8085"/>
                      <a:pt x="48740" y="8085"/>
                      <a:pt x="48888" y="8510"/>
                    </a:cubicBezTo>
                    <a:cubicBezTo>
                      <a:pt x="48740" y="8085"/>
                      <a:pt x="48000" y="8936"/>
                      <a:pt x="47851" y="8936"/>
                    </a:cubicBezTo>
                    <a:cubicBezTo>
                      <a:pt x="47703" y="8936"/>
                      <a:pt x="47555" y="8936"/>
                      <a:pt x="47407" y="9361"/>
                    </a:cubicBezTo>
                    <a:cubicBezTo>
                      <a:pt x="47259" y="9787"/>
                      <a:pt x="46962" y="9361"/>
                      <a:pt x="46666" y="9361"/>
                    </a:cubicBezTo>
                    <a:cubicBezTo>
                      <a:pt x="46518" y="9361"/>
                      <a:pt x="46370" y="10212"/>
                      <a:pt x="46074" y="10212"/>
                    </a:cubicBezTo>
                    <a:cubicBezTo>
                      <a:pt x="45777" y="10638"/>
                      <a:pt x="45629" y="10212"/>
                      <a:pt x="45481" y="10638"/>
                    </a:cubicBezTo>
                    <a:cubicBezTo>
                      <a:pt x="45333" y="11063"/>
                      <a:pt x="45185" y="11489"/>
                      <a:pt x="45037" y="11489"/>
                    </a:cubicBezTo>
                    <a:cubicBezTo>
                      <a:pt x="44740" y="11489"/>
                      <a:pt x="44444" y="11489"/>
                      <a:pt x="44296" y="11489"/>
                    </a:cubicBezTo>
                    <a:cubicBezTo>
                      <a:pt x="44296" y="11489"/>
                      <a:pt x="44740" y="12340"/>
                      <a:pt x="44740" y="12340"/>
                    </a:cubicBezTo>
                    <a:cubicBezTo>
                      <a:pt x="44592" y="12765"/>
                      <a:pt x="43703" y="12765"/>
                      <a:pt x="43703" y="12765"/>
                    </a:cubicBezTo>
                    <a:cubicBezTo>
                      <a:pt x="43703" y="12765"/>
                      <a:pt x="44296" y="12765"/>
                      <a:pt x="44296" y="12765"/>
                    </a:cubicBezTo>
                    <a:cubicBezTo>
                      <a:pt x="44296" y="12765"/>
                      <a:pt x="44000" y="12765"/>
                      <a:pt x="43851" y="12765"/>
                    </a:cubicBezTo>
                    <a:cubicBezTo>
                      <a:pt x="44000" y="12765"/>
                      <a:pt x="44296" y="13191"/>
                      <a:pt x="44296" y="13191"/>
                    </a:cubicBezTo>
                    <a:cubicBezTo>
                      <a:pt x="44148" y="13191"/>
                      <a:pt x="44148" y="13191"/>
                      <a:pt x="44000" y="13191"/>
                    </a:cubicBezTo>
                    <a:cubicBezTo>
                      <a:pt x="44148" y="13191"/>
                      <a:pt x="44000" y="13617"/>
                      <a:pt x="44000" y="13617"/>
                    </a:cubicBezTo>
                    <a:cubicBezTo>
                      <a:pt x="44000" y="14042"/>
                      <a:pt x="43555" y="13617"/>
                      <a:pt x="43555" y="13617"/>
                    </a:cubicBezTo>
                    <a:cubicBezTo>
                      <a:pt x="43555" y="14042"/>
                      <a:pt x="43851" y="14042"/>
                      <a:pt x="43851" y="14468"/>
                    </a:cubicBezTo>
                    <a:cubicBezTo>
                      <a:pt x="44000" y="14468"/>
                      <a:pt x="43703" y="14468"/>
                      <a:pt x="43703" y="14468"/>
                    </a:cubicBezTo>
                    <a:cubicBezTo>
                      <a:pt x="43703" y="15319"/>
                      <a:pt x="44296" y="14468"/>
                      <a:pt x="44148" y="15319"/>
                    </a:cubicBezTo>
                    <a:cubicBezTo>
                      <a:pt x="43851" y="16170"/>
                      <a:pt x="44592" y="16595"/>
                      <a:pt x="44148" y="17021"/>
                    </a:cubicBezTo>
                    <a:cubicBezTo>
                      <a:pt x="43851" y="17021"/>
                      <a:pt x="43555" y="17021"/>
                      <a:pt x="43259" y="17021"/>
                    </a:cubicBezTo>
                    <a:cubicBezTo>
                      <a:pt x="43111" y="17446"/>
                      <a:pt x="43111" y="17872"/>
                      <a:pt x="42814" y="17446"/>
                    </a:cubicBezTo>
                    <a:cubicBezTo>
                      <a:pt x="42666" y="17446"/>
                      <a:pt x="42518" y="17446"/>
                      <a:pt x="42370" y="17446"/>
                    </a:cubicBezTo>
                    <a:cubicBezTo>
                      <a:pt x="41777" y="17872"/>
                      <a:pt x="41185" y="17872"/>
                      <a:pt x="40592" y="17872"/>
                    </a:cubicBezTo>
                    <a:cubicBezTo>
                      <a:pt x="40296" y="17872"/>
                      <a:pt x="40000" y="17872"/>
                      <a:pt x="39851" y="18297"/>
                    </a:cubicBezTo>
                    <a:cubicBezTo>
                      <a:pt x="39703" y="18723"/>
                      <a:pt x="39555" y="19148"/>
                      <a:pt x="39555" y="19574"/>
                    </a:cubicBezTo>
                    <a:cubicBezTo>
                      <a:pt x="39555" y="20000"/>
                      <a:pt x="39851" y="20425"/>
                      <a:pt x="39851" y="20851"/>
                    </a:cubicBezTo>
                    <a:cubicBezTo>
                      <a:pt x="39703" y="21702"/>
                      <a:pt x="39703" y="22127"/>
                      <a:pt x="39851" y="22553"/>
                    </a:cubicBezTo>
                    <a:cubicBezTo>
                      <a:pt x="40148" y="23404"/>
                      <a:pt x="40592" y="22978"/>
                      <a:pt x="40888" y="23829"/>
                    </a:cubicBezTo>
                    <a:cubicBezTo>
                      <a:pt x="40888" y="23829"/>
                      <a:pt x="41185" y="25531"/>
                      <a:pt x="41185" y="25531"/>
                    </a:cubicBezTo>
                    <a:cubicBezTo>
                      <a:pt x="40592" y="25531"/>
                      <a:pt x="40444" y="25531"/>
                      <a:pt x="40000" y="24680"/>
                    </a:cubicBezTo>
                    <a:cubicBezTo>
                      <a:pt x="39555" y="23829"/>
                      <a:pt x="38814" y="22978"/>
                      <a:pt x="38222" y="22978"/>
                    </a:cubicBezTo>
                    <a:cubicBezTo>
                      <a:pt x="37925" y="22978"/>
                      <a:pt x="38074" y="22553"/>
                      <a:pt x="37777" y="22127"/>
                    </a:cubicBezTo>
                    <a:cubicBezTo>
                      <a:pt x="37629" y="22127"/>
                      <a:pt x="37037" y="22127"/>
                      <a:pt x="37037" y="22978"/>
                    </a:cubicBezTo>
                    <a:cubicBezTo>
                      <a:pt x="37037" y="23404"/>
                      <a:pt x="37629" y="23404"/>
                      <a:pt x="37629" y="23404"/>
                    </a:cubicBezTo>
                    <a:cubicBezTo>
                      <a:pt x="37629" y="23404"/>
                      <a:pt x="37185" y="23829"/>
                      <a:pt x="37333" y="23829"/>
                    </a:cubicBezTo>
                    <a:cubicBezTo>
                      <a:pt x="37629" y="24255"/>
                      <a:pt x="37777" y="23829"/>
                      <a:pt x="37925" y="24680"/>
                    </a:cubicBezTo>
                    <a:cubicBezTo>
                      <a:pt x="37925" y="25531"/>
                      <a:pt x="37481" y="25106"/>
                      <a:pt x="37333" y="25106"/>
                    </a:cubicBezTo>
                    <a:cubicBezTo>
                      <a:pt x="37037" y="24680"/>
                      <a:pt x="36888" y="24255"/>
                      <a:pt x="36592" y="24680"/>
                    </a:cubicBezTo>
                    <a:cubicBezTo>
                      <a:pt x="36296" y="24680"/>
                      <a:pt x="36444" y="25957"/>
                      <a:pt x="36592" y="26382"/>
                    </a:cubicBezTo>
                    <a:cubicBezTo>
                      <a:pt x="36740" y="26808"/>
                      <a:pt x="37037" y="26808"/>
                      <a:pt x="37185" y="26808"/>
                    </a:cubicBezTo>
                    <a:cubicBezTo>
                      <a:pt x="37481" y="27234"/>
                      <a:pt x="37777" y="27234"/>
                      <a:pt x="37925" y="27659"/>
                    </a:cubicBezTo>
                    <a:cubicBezTo>
                      <a:pt x="38074" y="28085"/>
                      <a:pt x="38074" y="28510"/>
                      <a:pt x="38074" y="28510"/>
                    </a:cubicBezTo>
                    <a:cubicBezTo>
                      <a:pt x="38222" y="28510"/>
                      <a:pt x="38370" y="28510"/>
                      <a:pt x="38518" y="28510"/>
                    </a:cubicBezTo>
                    <a:cubicBezTo>
                      <a:pt x="38518" y="28510"/>
                      <a:pt x="38074" y="28936"/>
                      <a:pt x="38074" y="28936"/>
                    </a:cubicBezTo>
                    <a:cubicBezTo>
                      <a:pt x="37777" y="28936"/>
                      <a:pt x="37777" y="28510"/>
                      <a:pt x="37629" y="28085"/>
                    </a:cubicBezTo>
                    <a:cubicBezTo>
                      <a:pt x="37333" y="27659"/>
                      <a:pt x="36888" y="27659"/>
                      <a:pt x="36444" y="27659"/>
                    </a:cubicBezTo>
                    <a:cubicBezTo>
                      <a:pt x="36296" y="27659"/>
                      <a:pt x="35555" y="27234"/>
                      <a:pt x="35851" y="26382"/>
                    </a:cubicBezTo>
                    <a:cubicBezTo>
                      <a:pt x="36000" y="26382"/>
                      <a:pt x="35851" y="25957"/>
                      <a:pt x="35851" y="25531"/>
                    </a:cubicBezTo>
                    <a:cubicBezTo>
                      <a:pt x="35703" y="25106"/>
                      <a:pt x="35851" y="24680"/>
                      <a:pt x="35851" y="24255"/>
                    </a:cubicBezTo>
                    <a:cubicBezTo>
                      <a:pt x="36000" y="23404"/>
                      <a:pt x="36148" y="21702"/>
                      <a:pt x="35851" y="21276"/>
                    </a:cubicBezTo>
                    <a:cubicBezTo>
                      <a:pt x="35259" y="20851"/>
                      <a:pt x="35703" y="22978"/>
                      <a:pt x="35555" y="23829"/>
                    </a:cubicBezTo>
                    <a:cubicBezTo>
                      <a:pt x="35259" y="24680"/>
                      <a:pt x="34814" y="25106"/>
                      <a:pt x="34518" y="25957"/>
                    </a:cubicBezTo>
                    <a:cubicBezTo>
                      <a:pt x="34074" y="27234"/>
                      <a:pt x="34222" y="26808"/>
                      <a:pt x="34518" y="27659"/>
                    </a:cubicBezTo>
                    <a:cubicBezTo>
                      <a:pt x="34666" y="28085"/>
                      <a:pt x="35111" y="29361"/>
                      <a:pt x="35111" y="30212"/>
                    </a:cubicBezTo>
                    <a:cubicBezTo>
                      <a:pt x="35111" y="30212"/>
                      <a:pt x="34962" y="31063"/>
                      <a:pt x="34814" y="31063"/>
                    </a:cubicBezTo>
                    <a:cubicBezTo>
                      <a:pt x="34666" y="31914"/>
                      <a:pt x="34518" y="32765"/>
                      <a:pt x="34518" y="33617"/>
                    </a:cubicBezTo>
                    <a:cubicBezTo>
                      <a:pt x="34518" y="33617"/>
                      <a:pt x="34666" y="35744"/>
                      <a:pt x="34814" y="35744"/>
                    </a:cubicBezTo>
                    <a:cubicBezTo>
                      <a:pt x="35111" y="35744"/>
                      <a:pt x="35407" y="35744"/>
                      <a:pt x="35703" y="35319"/>
                    </a:cubicBezTo>
                    <a:cubicBezTo>
                      <a:pt x="36000" y="34893"/>
                      <a:pt x="36444" y="35319"/>
                      <a:pt x="36740" y="35744"/>
                    </a:cubicBezTo>
                    <a:cubicBezTo>
                      <a:pt x="37185" y="35744"/>
                      <a:pt x="37481" y="36595"/>
                      <a:pt x="37629" y="37872"/>
                    </a:cubicBezTo>
                    <a:cubicBezTo>
                      <a:pt x="37777" y="38723"/>
                      <a:pt x="37185" y="40000"/>
                      <a:pt x="37481" y="40425"/>
                    </a:cubicBezTo>
                    <a:cubicBezTo>
                      <a:pt x="37481" y="40425"/>
                      <a:pt x="38370" y="41276"/>
                      <a:pt x="38370" y="41276"/>
                    </a:cubicBezTo>
                    <a:cubicBezTo>
                      <a:pt x="38370" y="41702"/>
                      <a:pt x="37333" y="40851"/>
                      <a:pt x="37185" y="40851"/>
                    </a:cubicBezTo>
                    <a:cubicBezTo>
                      <a:pt x="37185" y="40851"/>
                      <a:pt x="37037" y="39574"/>
                      <a:pt x="37037" y="39574"/>
                    </a:cubicBezTo>
                    <a:cubicBezTo>
                      <a:pt x="37185" y="38723"/>
                      <a:pt x="37333" y="38297"/>
                      <a:pt x="37037" y="37872"/>
                    </a:cubicBezTo>
                    <a:cubicBezTo>
                      <a:pt x="36740" y="37446"/>
                      <a:pt x="36888" y="36595"/>
                      <a:pt x="36592" y="36170"/>
                    </a:cubicBezTo>
                    <a:cubicBezTo>
                      <a:pt x="36296" y="36170"/>
                      <a:pt x="36000" y="36595"/>
                      <a:pt x="35703" y="36595"/>
                    </a:cubicBezTo>
                    <a:cubicBezTo>
                      <a:pt x="35703" y="36595"/>
                      <a:pt x="35111" y="37021"/>
                      <a:pt x="35111" y="37446"/>
                    </a:cubicBezTo>
                    <a:cubicBezTo>
                      <a:pt x="35259" y="37446"/>
                      <a:pt x="35407" y="37446"/>
                      <a:pt x="35259" y="37446"/>
                    </a:cubicBezTo>
                    <a:cubicBezTo>
                      <a:pt x="35259" y="37872"/>
                      <a:pt x="34962" y="38297"/>
                      <a:pt x="35111" y="38723"/>
                    </a:cubicBezTo>
                    <a:cubicBezTo>
                      <a:pt x="35703" y="39574"/>
                      <a:pt x="35259" y="40851"/>
                      <a:pt x="34962" y="41702"/>
                    </a:cubicBezTo>
                    <a:cubicBezTo>
                      <a:pt x="34814" y="42127"/>
                      <a:pt x="34666" y="42978"/>
                      <a:pt x="34666" y="43404"/>
                    </a:cubicBezTo>
                    <a:cubicBezTo>
                      <a:pt x="34518" y="43829"/>
                      <a:pt x="34222" y="44255"/>
                      <a:pt x="33925" y="44255"/>
                    </a:cubicBezTo>
                    <a:cubicBezTo>
                      <a:pt x="33777" y="44680"/>
                      <a:pt x="33629" y="44680"/>
                      <a:pt x="33629" y="45531"/>
                    </a:cubicBezTo>
                    <a:cubicBezTo>
                      <a:pt x="33481" y="46382"/>
                      <a:pt x="33185" y="45957"/>
                      <a:pt x="33037" y="45957"/>
                    </a:cubicBezTo>
                    <a:cubicBezTo>
                      <a:pt x="32592" y="45531"/>
                      <a:pt x="32296" y="45957"/>
                      <a:pt x="32000" y="45531"/>
                    </a:cubicBezTo>
                    <a:cubicBezTo>
                      <a:pt x="31851" y="45531"/>
                      <a:pt x="31703" y="45106"/>
                      <a:pt x="31555" y="45106"/>
                    </a:cubicBezTo>
                    <a:cubicBezTo>
                      <a:pt x="31259" y="45106"/>
                      <a:pt x="31259" y="44680"/>
                      <a:pt x="31111" y="44255"/>
                    </a:cubicBezTo>
                    <a:cubicBezTo>
                      <a:pt x="31111" y="44255"/>
                      <a:pt x="31407" y="43829"/>
                      <a:pt x="31407" y="44255"/>
                    </a:cubicBezTo>
                    <a:cubicBezTo>
                      <a:pt x="31555" y="45106"/>
                      <a:pt x="31851" y="45106"/>
                      <a:pt x="31851" y="44680"/>
                    </a:cubicBezTo>
                    <a:cubicBezTo>
                      <a:pt x="32000" y="44255"/>
                      <a:pt x="32740" y="45531"/>
                      <a:pt x="33037" y="44680"/>
                    </a:cubicBezTo>
                    <a:cubicBezTo>
                      <a:pt x="33037" y="44255"/>
                      <a:pt x="32740" y="43829"/>
                      <a:pt x="33037" y="43829"/>
                    </a:cubicBezTo>
                    <a:cubicBezTo>
                      <a:pt x="33185" y="43404"/>
                      <a:pt x="33481" y="42978"/>
                      <a:pt x="33629" y="42553"/>
                    </a:cubicBezTo>
                    <a:cubicBezTo>
                      <a:pt x="33777" y="41702"/>
                      <a:pt x="33629" y="41702"/>
                      <a:pt x="34074" y="41276"/>
                    </a:cubicBezTo>
                    <a:cubicBezTo>
                      <a:pt x="34518" y="40425"/>
                      <a:pt x="33925" y="39574"/>
                      <a:pt x="34222" y="38723"/>
                    </a:cubicBezTo>
                    <a:cubicBezTo>
                      <a:pt x="34518" y="38297"/>
                      <a:pt x="34518" y="37872"/>
                      <a:pt x="34222" y="37446"/>
                    </a:cubicBezTo>
                    <a:cubicBezTo>
                      <a:pt x="34074" y="37446"/>
                      <a:pt x="33925" y="37021"/>
                      <a:pt x="33777" y="36595"/>
                    </a:cubicBezTo>
                    <a:cubicBezTo>
                      <a:pt x="33629" y="35744"/>
                      <a:pt x="33777" y="34468"/>
                      <a:pt x="33777" y="33617"/>
                    </a:cubicBezTo>
                    <a:cubicBezTo>
                      <a:pt x="33777" y="32765"/>
                      <a:pt x="33629" y="31914"/>
                      <a:pt x="33777" y="31063"/>
                    </a:cubicBezTo>
                    <a:cubicBezTo>
                      <a:pt x="33777" y="30212"/>
                      <a:pt x="34074" y="30212"/>
                      <a:pt x="34074" y="29361"/>
                    </a:cubicBezTo>
                    <a:cubicBezTo>
                      <a:pt x="33925" y="28510"/>
                      <a:pt x="33629" y="28085"/>
                      <a:pt x="33481" y="27659"/>
                    </a:cubicBezTo>
                    <a:cubicBezTo>
                      <a:pt x="33333" y="27234"/>
                      <a:pt x="33185" y="26808"/>
                      <a:pt x="33333" y="26382"/>
                    </a:cubicBezTo>
                    <a:cubicBezTo>
                      <a:pt x="33629" y="25957"/>
                      <a:pt x="33629" y="25106"/>
                      <a:pt x="33777" y="24255"/>
                    </a:cubicBezTo>
                    <a:cubicBezTo>
                      <a:pt x="33925" y="23829"/>
                      <a:pt x="34074" y="22553"/>
                      <a:pt x="33925" y="22127"/>
                    </a:cubicBezTo>
                    <a:cubicBezTo>
                      <a:pt x="33925" y="21702"/>
                      <a:pt x="33333" y="21276"/>
                      <a:pt x="33037" y="20851"/>
                    </a:cubicBezTo>
                    <a:cubicBezTo>
                      <a:pt x="32740" y="20851"/>
                      <a:pt x="32444" y="20851"/>
                      <a:pt x="32148" y="20851"/>
                    </a:cubicBezTo>
                    <a:cubicBezTo>
                      <a:pt x="32000" y="20851"/>
                      <a:pt x="31555" y="20425"/>
                      <a:pt x="31407" y="20851"/>
                    </a:cubicBezTo>
                    <a:cubicBezTo>
                      <a:pt x="30962" y="21702"/>
                      <a:pt x="30962" y="24680"/>
                      <a:pt x="30518" y="25531"/>
                    </a:cubicBezTo>
                    <a:cubicBezTo>
                      <a:pt x="30222" y="26808"/>
                      <a:pt x="29333" y="27234"/>
                      <a:pt x="29333" y="28936"/>
                    </a:cubicBezTo>
                    <a:cubicBezTo>
                      <a:pt x="29333" y="29361"/>
                      <a:pt x="29777" y="28936"/>
                      <a:pt x="29777" y="28936"/>
                    </a:cubicBezTo>
                    <a:cubicBezTo>
                      <a:pt x="29925" y="29361"/>
                      <a:pt x="29777" y="31063"/>
                      <a:pt x="29777" y="31063"/>
                    </a:cubicBezTo>
                    <a:cubicBezTo>
                      <a:pt x="29629" y="31914"/>
                      <a:pt x="29925" y="32340"/>
                      <a:pt x="29481" y="32340"/>
                    </a:cubicBezTo>
                    <a:cubicBezTo>
                      <a:pt x="29481" y="32765"/>
                      <a:pt x="29333" y="32765"/>
                      <a:pt x="29333" y="33191"/>
                    </a:cubicBezTo>
                    <a:cubicBezTo>
                      <a:pt x="29481" y="33617"/>
                      <a:pt x="29629" y="33617"/>
                      <a:pt x="29777" y="33617"/>
                    </a:cubicBezTo>
                    <a:cubicBezTo>
                      <a:pt x="29925" y="33617"/>
                      <a:pt x="30518" y="33617"/>
                      <a:pt x="30518" y="34042"/>
                    </a:cubicBezTo>
                    <a:cubicBezTo>
                      <a:pt x="30518" y="34893"/>
                      <a:pt x="30518" y="35744"/>
                      <a:pt x="30814" y="36170"/>
                    </a:cubicBezTo>
                    <a:cubicBezTo>
                      <a:pt x="31111" y="36595"/>
                      <a:pt x="31407" y="36170"/>
                      <a:pt x="31111" y="37021"/>
                    </a:cubicBezTo>
                    <a:cubicBezTo>
                      <a:pt x="30962" y="37446"/>
                      <a:pt x="30962" y="38297"/>
                      <a:pt x="30814" y="38723"/>
                    </a:cubicBezTo>
                    <a:cubicBezTo>
                      <a:pt x="30666" y="39574"/>
                      <a:pt x="29925" y="37446"/>
                      <a:pt x="29777" y="37021"/>
                    </a:cubicBezTo>
                    <a:cubicBezTo>
                      <a:pt x="29333" y="36170"/>
                      <a:pt x="28740" y="35744"/>
                      <a:pt x="28296" y="35319"/>
                    </a:cubicBezTo>
                    <a:cubicBezTo>
                      <a:pt x="28000" y="34893"/>
                      <a:pt x="27851" y="34468"/>
                      <a:pt x="27555" y="34042"/>
                    </a:cubicBezTo>
                    <a:cubicBezTo>
                      <a:pt x="27407" y="34042"/>
                      <a:pt x="27111" y="33617"/>
                      <a:pt x="26962" y="33617"/>
                    </a:cubicBezTo>
                    <a:cubicBezTo>
                      <a:pt x="26518" y="33617"/>
                      <a:pt x="26074" y="33191"/>
                      <a:pt x="25629" y="33191"/>
                    </a:cubicBezTo>
                    <a:cubicBezTo>
                      <a:pt x="25037" y="33191"/>
                      <a:pt x="24444" y="33191"/>
                      <a:pt x="24888" y="35319"/>
                    </a:cubicBezTo>
                    <a:cubicBezTo>
                      <a:pt x="25185" y="35744"/>
                      <a:pt x="25037" y="36595"/>
                      <a:pt x="24740" y="37021"/>
                    </a:cubicBezTo>
                    <a:cubicBezTo>
                      <a:pt x="24592" y="37446"/>
                      <a:pt x="24148" y="36595"/>
                      <a:pt x="24296" y="37872"/>
                    </a:cubicBezTo>
                    <a:cubicBezTo>
                      <a:pt x="24444" y="38297"/>
                      <a:pt x="23259" y="38297"/>
                      <a:pt x="23851" y="37021"/>
                    </a:cubicBezTo>
                    <a:cubicBezTo>
                      <a:pt x="24000" y="36595"/>
                      <a:pt x="23555" y="35744"/>
                      <a:pt x="23407" y="36170"/>
                    </a:cubicBezTo>
                    <a:cubicBezTo>
                      <a:pt x="23111" y="36170"/>
                      <a:pt x="22814" y="36595"/>
                      <a:pt x="22666" y="37021"/>
                    </a:cubicBezTo>
                    <a:cubicBezTo>
                      <a:pt x="22222" y="37872"/>
                      <a:pt x="21777" y="37021"/>
                      <a:pt x="21333" y="37446"/>
                    </a:cubicBezTo>
                    <a:cubicBezTo>
                      <a:pt x="20888" y="37872"/>
                      <a:pt x="20592" y="38723"/>
                      <a:pt x="20296" y="38723"/>
                    </a:cubicBezTo>
                    <a:cubicBezTo>
                      <a:pt x="20148" y="38723"/>
                      <a:pt x="19259" y="38723"/>
                      <a:pt x="19407" y="38297"/>
                    </a:cubicBezTo>
                    <a:cubicBezTo>
                      <a:pt x="19703" y="38297"/>
                      <a:pt x="19703" y="38297"/>
                      <a:pt x="19703" y="37872"/>
                    </a:cubicBezTo>
                    <a:cubicBezTo>
                      <a:pt x="19703" y="36595"/>
                      <a:pt x="20000" y="37021"/>
                      <a:pt x="20000" y="36170"/>
                    </a:cubicBezTo>
                    <a:cubicBezTo>
                      <a:pt x="20148" y="35744"/>
                      <a:pt x="19111" y="36595"/>
                      <a:pt x="19111" y="36595"/>
                    </a:cubicBezTo>
                    <a:cubicBezTo>
                      <a:pt x="18962" y="36595"/>
                      <a:pt x="18814" y="36595"/>
                      <a:pt x="18814" y="37021"/>
                    </a:cubicBezTo>
                    <a:cubicBezTo>
                      <a:pt x="18814" y="37446"/>
                      <a:pt x="18814" y="37872"/>
                      <a:pt x="18814" y="38297"/>
                    </a:cubicBezTo>
                    <a:cubicBezTo>
                      <a:pt x="18666" y="38297"/>
                      <a:pt x="18370" y="37872"/>
                      <a:pt x="18222" y="37872"/>
                    </a:cubicBezTo>
                    <a:cubicBezTo>
                      <a:pt x="17925" y="37872"/>
                      <a:pt x="17481" y="38297"/>
                      <a:pt x="17185" y="38723"/>
                    </a:cubicBezTo>
                    <a:cubicBezTo>
                      <a:pt x="16740" y="39148"/>
                      <a:pt x="16296" y="40000"/>
                      <a:pt x="15851" y="40425"/>
                    </a:cubicBezTo>
                    <a:cubicBezTo>
                      <a:pt x="15555" y="40425"/>
                      <a:pt x="15407" y="40851"/>
                      <a:pt x="15259" y="41702"/>
                    </a:cubicBezTo>
                    <a:cubicBezTo>
                      <a:pt x="15259" y="42127"/>
                      <a:pt x="15259" y="43404"/>
                      <a:pt x="14962" y="43404"/>
                    </a:cubicBezTo>
                    <a:cubicBezTo>
                      <a:pt x="14666" y="43404"/>
                      <a:pt x="14370" y="43829"/>
                      <a:pt x="14074" y="43829"/>
                    </a:cubicBezTo>
                    <a:cubicBezTo>
                      <a:pt x="13925" y="43829"/>
                      <a:pt x="13777" y="42978"/>
                      <a:pt x="13629" y="42553"/>
                    </a:cubicBezTo>
                    <a:cubicBezTo>
                      <a:pt x="13333" y="41702"/>
                      <a:pt x="12888" y="42127"/>
                      <a:pt x="13185" y="40851"/>
                    </a:cubicBezTo>
                    <a:cubicBezTo>
                      <a:pt x="13333" y="40000"/>
                      <a:pt x="13777" y="40425"/>
                      <a:pt x="13925" y="40000"/>
                    </a:cubicBezTo>
                    <a:cubicBezTo>
                      <a:pt x="14222" y="40000"/>
                      <a:pt x="14518" y="40425"/>
                      <a:pt x="14370" y="39574"/>
                    </a:cubicBezTo>
                    <a:cubicBezTo>
                      <a:pt x="14222" y="39148"/>
                      <a:pt x="14074" y="38297"/>
                      <a:pt x="13925" y="37872"/>
                    </a:cubicBezTo>
                    <a:cubicBezTo>
                      <a:pt x="13629" y="37021"/>
                      <a:pt x="13185" y="37446"/>
                      <a:pt x="12888" y="37446"/>
                    </a:cubicBezTo>
                    <a:cubicBezTo>
                      <a:pt x="12740" y="37446"/>
                      <a:pt x="11851" y="37021"/>
                      <a:pt x="11851" y="37021"/>
                    </a:cubicBezTo>
                    <a:cubicBezTo>
                      <a:pt x="11851" y="37021"/>
                      <a:pt x="12296" y="37446"/>
                      <a:pt x="12296" y="37446"/>
                    </a:cubicBezTo>
                    <a:cubicBezTo>
                      <a:pt x="12444" y="37872"/>
                      <a:pt x="12444" y="38297"/>
                      <a:pt x="12444" y="38723"/>
                    </a:cubicBezTo>
                    <a:cubicBezTo>
                      <a:pt x="12444" y="39148"/>
                      <a:pt x="12444" y="40000"/>
                      <a:pt x="12444" y="40425"/>
                    </a:cubicBezTo>
                    <a:cubicBezTo>
                      <a:pt x="12296" y="40851"/>
                      <a:pt x="12148" y="41276"/>
                      <a:pt x="12148" y="41702"/>
                    </a:cubicBezTo>
                    <a:cubicBezTo>
                      <a:pt x="12296" y="42553"/>
                      <a:pt x="12888" y="42553"/>
                      <a:pt x="12740" y="43829"/>
                    </a:cubicBezTo>
                    <a:cubicBezTo>
                      <a:pt x="12592" y="44255"/>
                      <a:pt x="12444" y="45106"/>
                      <a:pt x="12444" y="45531"/>
                    </a:cubicBezTo>
                    <a:cubicBezTo>
                      <a:pt x="12444" y="45531"/>
                      <a:pt x="12444" y="47234"/>
                      <a:pt x="12444" y="47234"/>
                    </a:cubicBezTo>
                    <a:cubicBezTo>
                      <a:pt x="12444" y="47234"/>
                      <a:pt x="12296" y="45957"/>
                      <a:pt x="12296" y="45957"/>
                    </a:cubicBezTo>
                    <a:cubicBezTo>
                      <a:pt x="12148" y="45957"/>
                      <a:pt x="12000" y="46808"/>
                      <a:pt x="11851" y="46382"/>
                    </a:cubicBezTo>
                    <a:cubicBezTo>
                      <a:pt x="11851" y="46382"/>
                      <a:pt x="12148" y="45957"/>
                      <a:pt x="12148" y="45531"/>
                    </a:cubicBezTo>
                    <a:cubicBezTo>
                      <a:pt x="12000" y="45106"/>
                      <a:pt x="11703" y="45106"/>
                      <a:pt x="11555" y="45106"/>
                    </a:cubicBezTo>
                    <a:cubicBezTo>
                      <a:pt x="11407" y="45106"/>
                      <a:pt x="11259" y="44680"/>
                      <a:pt x="11111" y="45106"/>
                    </a:cubicBezTo>
                    <a:cubicBezTo>
                      <a:pt x="10814" y="45106"/>
                      <a:pt x="10666" y="45957"/>
                      <a:pt x="10370" y="45957"/>
                    </a:cubicBezTo>
                    <a:cubicBezTo>
                      <a:pt x="10074" y="46808"/>
                      <a:pt x="9925" y="46808"/>
                      <a:pt x="9629" y="47659"/>
                    </a:cubicBezTo>
                    <a:cubicBezTo>
                      <a:pt x="9333" y="48510"/>
                      <a:pt x="9037" y="48510"/>
                      <a:pt x="9481" y="49361"/>
                    </a:cubicBezTo>
                    <a:cubicBezTo>
                      <a:pt x="9629" y="49787"/>
                      <a:pt x="9925" y="51063"/>
                      <a:pt x="9777" y="51489"/>
                    </a:cubicBezTo>
                    <a:cubicBezTo>
                      <a:pt x="9629" y="51914"/>
                      <a:pt x="8740" y="51063"/>
                      <a:pt x="8592" y="51063"/>
                    </a:cubicBezTo>
                    <a:cubicBezTo>
                      <a:pt x="8444" y="50638"/>
                      <a:pt x="8000" y="51063"/>
                      <a:pt x="7851" y="51063"/>
                    </a:cubicBezTo>
                    <a:cubicBezTo>
                      <a:pt x="8000" y="50638"/>
                      <a:pt x="7259" y="48936"/>
                      <a:pt x="7111" y="49787"/>
                    </a:cubicBezTo>
                    <a:cubicBezTo>
                      <a:pt x="6370" y="51489"/>
                      <a:pt x="8000" y="51914"/>
                      <a:pt x="8000" y="52765"/>
                    </a:cubicBezTo>
                    <a:cubicBezTo>
                      <a:pt x="7851" y="54468"/>
                      <a:pt x="7407" y="53617"/>
                      <a:pt x="6962" y="53617"/>
                    </a:cubicBezTo>
                    <a:cubicBezTo>
                      <a:pt x="6518" y="53191"/>
                      <a:pt x="6370" y="52340"/>
                      <a:pt x="5925" y="51914"/>
                    </a:cubicBezTo>
                    <a:cubicBezTo>
                      <a:pt x="5629" y="51489"/>
                      <a:pt x="5629" y="51063"/>
                      <a:pt x="5481" y="50212"/>
                    </a:cubicBezTo>
                    <a:cubicBezTo>
                      <a:pt x="5481" y="49361"/>
                      <a:pt x="5333" y="49361"/>
                      <a:pt x="5185" y="48936"/>
                    </a:cubicBezTo>
                    <a:cubicBezTo>
                      <a:pt x="5185" y="48510"/>
                      <a:pt x="5629" y="47659"/>
                      <a:pt x="5629" y="47659"/>
                    </a:cubicBezTo>
                    <a:cubicBezTo>
                      <a:pt x="5777" y="46382"/>
                      <a:pt x="5037" y="45531"/>
                      <a:pt x="4740" y="45531"/>
                    </a:cubicBezTo>
                    <a:cubicBezTo>
                      <a:pt x="4444" y="45106"/>
                      <a:pt x="4444" y="44255"/>
                      <a:pt x="4148" y="44255"/>
                    </a:cubicBezTo>
                    <a:cubicBezTo>
                      <a:pt x="4296" y="43829"/>
                      <a:pt x="3555" y="42127"/>
                      <a:pt x="3555" y="42127"/>
                    </a:cubicBezTo>
                    <a:cubicBezTo>
                      <a:pt x="3851" y="41702"/>
                      <a:pt x="4148" y="42978"/>
                      <a:pt x="4296" y="43404"/>
                    </a:cubicBezTo>
                    <a:cubicBezTo>
                      <a:pt x="4444" y="43829"/>
                      <a:pt x="4592" y="43829"/>
                      <a:pt x="4592" y="43404"/>
                    </a:cubicBezTo>
                    <a:cubicBezTo>
                      <a:pt x="4740" y="43404"/>
                      <a:pt x="4888" y="43829"/>
                      <a:pt x="4888" y="43829"/>
                    </a:cubicBezTo>
                    <a:cubicBezTo>
                      <a:pt x="5333" y="44255"/>
                      <a:pt x="5629" y="44680"/>
                      <a:pt x="6074" y="44680"/>
                    </a:cubicBezTo>
                    <a:cubicBezTo>
                      <a:pt x="6370" y="45106"/>
                      <a:pt x="6814" y="45106"/>
                      <a:pt x="7259" y="45531"/>
                    </a:cubicBezTo>
                    <a:cubicBezTo>
                      <a:pt x="8000" y="46382"/>
                      <a:pt x="8592" y="46382"/>
                      <a:pt x="9333" y="45106"/>
                    </a:cubicBezTo>
                    <a:cubicBezTo>
                      <a:pt x="9629" y="44680"/>
                      <a:pt x="9777" y="44255"/>
                      <a:pt x="10074" y="43829"/>
                    </a:cubicBezTo>
                    <a:cubicBezTo>
                      <a:pt x="10518" y="42978"/>
                      <a:pt x="10222" y="42553"/>
                      <a:pt x="10222" y="41276"/>
                    </a:cubicBezTo>
                    <a:cubicBezTo>
                      <a:pt x="10222" y="40000"/>
                      <a:pt x="9185" y="39574"/>
                      <a:pt x="8888" y="38723"/>
                    </a:cubicBezTo>
                    <a:cubicBezTo>
                      <a:pt x="8444" y="37872"/>
                      <a:pt x="7851" y="37021"/>
                      <a:pt x="7407" y="36595"/>
                    </a:cubicBezTo>
                    <a:cubicBezTo>
                      <a:pt x="6962" y="35744"/>
                      <a:pt x="6370" y="34893"/>
                      <a:pt x="5925" y="34893"/>
                    </a:cubicBezTo>
                    <a:cubicBezTo>
                      <a:pt x="5777" y="34468"/>
                      <a:pt x="5777" y="34893"/>
                      <a:pt x="5629" y="34893"/>
                    </a:cubicBezTo>
                    <a:cubicBezTo>
                      <a:pt x="5481" y="34893"/>
                      <a:pt x="5333" y="34468"/>
                      <a:pt x="5185" y="34468"/>
                    </a:cubicBezTo>
                    <a:cubicBezTo>
                      <a:pt x="4888" y="34042"/>
                      <a:pt x="4592" y="35744"/>
                      <a:pt x="4296" y="35744"/>
                    </a:cubicBezTo>
                    <a:cubicBezTo>
                      <a:pt x="4296" y="35319"/>
                      <a:pt x="4888" y="34042"/>
                      <a:pt x="4296" y="34042"/>
                    </a:cubicBezTo>
                    <a:cubicBezTo>
                      <a:pt x="4148" y="34042"/>
                      <a:pt x="3555" y="33191"/>
                      <a:pt x="3555" y="33191"/>
                    </a:cubicBezTo>
                    <a:cubicBezTo>
                      <a:pt x="3703" y="32765"/>
                      <a:pt x="4296" y="34042"/>
                      <a:pt x="4296" y="33191"/>
                    </a:cubicBezTo>
                    <a:cubicBezTo>
                      <a:pt x="4296" y="32765"/>
                      <a:pt x="3703" y="31914"/>
                      <a:pt x="3555" y="31914"/>
                    </a:cubicBezTo>
                    <a:cubicBezTo>
                      <a:pt x="3407" y="32340"/>
                      <a:pt x="2962" y="33191"/>
                      <a:pt x="2962" y="33191"/>
                    </a:cubicBezTo>
                    <a:cubicBezTo>
                      <a:pt x="2962" y="32765"/>
                      <a:pt x="2962" y="32765"/>
                      <a:pt x="2814" y="32340"/>
                    </a:cubicBezTo>
                    <a:cubicBezTo>
                      <a:pt x="2518" y="32340"/>
                      <a:pt x="2518" y="32765"/>
                      <a:pt x="2370" y="33191"/>
                    </a:cubicBezTo>
                    <a:cubicBezTo>
                      <a:pt x="2370" y="33191"/>
                      <a:pt x="2370" y="33191"/>
                      <a:pt x="2370" y="32765"/>
                    </a:cubicBezTo>
                    <a:cubicBezTo>
                      <a:pt x="2222" y="33191"/>
                      <a:pt x="2074" y="34042"/>
                      <a:pt x="1925" y="34042"/>
                    </a:cubicBezTo>
                    <a:cubicBezTo>
                      <a:pt x="1777" y="34468"/>
                      <a:pt x="1481" y="34468"/>
                      <a:pt x="1481" y="34468"/>
                    </a:cubicBezTo>
                    <a:cubicBezTo>
                      <a:pt x="1333" y="35319"/>
                      <a:pt x="740" y="35319"/>
                      <a:pt x="888" y="36170"/>
                    </a:cubicBezTo>
                    <a:cubicBezTo>
                      <a:pt x="1333" y="37021"/>
                      <a:pt x="740" y="36170"/>
                      <a:pt x="740" y="37446"/>
                    </a:cubicBezTo>
                    <a:cubicBezTo>
                      <a:pt x="740" y="38297"/>
                      <a:pt x="1333" y="38723"/>
                      <a:pt x="1481" y="39148"/>
                    </a:cubicBezTo>
                    <a:cubicBezTo>
                      <a:pt x="1777" y="39574"/>
                      <a:pt x="2074" y="40425"/>
                      <a:pt x="1925" y="41276"/>
                    </a:cubicBezTo>
                    <a:cubicBezTo>
                      <a:pt x="1777" y="42127"/>
                      <a:pt x="1333" y="42553"/>
                      <a:pt x="1333" y="43404"/>
                    </a:cubicBezTo>
                    <a:cubicBezTo>
                      <a:pt x="1481" y="44255"/>
                      <a:pt x="1777" y="45106"/>
                      <a:pt x="1925" y="45957"/>
                    </a:cubicBezTo>
                    <a:cubicBezTo>
                      <a:pt x="2074" y="46808"/>
                      <a:pt x="1777" y="46808"/>
                      <a:pt x="1777" y="47659"/>
                    </a:cubicBezTo>
                    <a:cubicBezTo>
                      <a:pt x="1777" y="48510"/>
                      <a:pt x="2222" y="49361"/>
                      <a:pt x="1925" y="49787"/>
                    </a:cubicBezTo>
                    <a:cubicBezTo>
                      <a:pt x="1629" y="50212"/>
                      <a:pt x="2074" y="51489"/>
                      <a:pt x="2074" y="51914"/>
                    </a:cubicBezTo>
                    <a:cubicBezTo>
                      <a:pt x="2370" y="52765"/>
                      <a:pt x="2666" y="52765"/>
                      <a:pt x="2222" y="53617"/>
                    </a:cubicBezTo>
                    <a:cubicBezTo>
                      <a:pt x="1925" y="54468"/>
                      <a:pt x="2074" y="54468"/>
                      <a:pt x="2222" y="54893"/>
                    </a:cubicBezTo>
                    <a:cubicBezTo>
                      <a:pt x="2962" y="56170"/>
                      <a:pt x="3407" y="57021"/>
                      <a:pt x="2666" y="58723"/>
                    </a:cubicBezTo>
                    <a:cubicBezTo>
                      <a:pt x="1925" y="60851"/>
                      <a:pt x="1185" y="62553"/>
                      <a:pt x="592" y="64680"/>
                    </a:cubicBezTo>
                    <a:cubicBezTo>
                      <a:pt x="888" y="64680"/>
                      <a:pt x="888" y="64255"/>
                      <a:pt x="1037" y="64680"/>
                    </a:cubicBezTo>
                    <a:cubicBezTo>
                      <a:pt x="1185" y="65531"/>
                      <a:pt x="1481" y="65531"/>
                      <a:pt x="1629" y="65957"/>
                    </a:cubicBezTo>
                    <a:cubicBezTo>
                      <a:pt x="2518" y="66808"/>
                      <a:pt x="1333" y="66808"/>
                      <a:pt x="1037" y="66808"/>
                    </a:cubicBezTo>
                    <a:cubicBezTo>
                      <a:pt x="740" y="66808"/>
                      <a:pt x="592" y="67234"/>
                      <a:pt x="592" y="68085"/>
                    </a:cubicBezTo>
                    <a:cubicBezTo>
                      <a:pt x="592" y="68936"/>
                      <a:pt x="296" y="69361"/>
                      <a:pt x="148" y="70212"/>
                    </a:cubicBezTo>
                    <a:cubicBezTo>
                      <a:pt x="0" y="70638"/>
                      <a:pt x="148" y="71489"/>
                      <a:pt x="296" y="72340"/>
                    </a:cubicBezTo>
                    <a:cubicBezTo>
                      <a:pt x="296" y="73191"/>
                      <a:pt x="0" y="74042"/>
                      <a:pt x="148" y="74468"/>
                    </a:cubicBezTo>
                    <a:cubicBezTo>
                      <a:pt x="444" y="74893"/>
                      <a:pt x="444" y="74893"/>
                      <a:pt x="444" y="75744"/>
                    </a:cubicBezTo>
                    <a:cubicBezTo>
                      <a:pt x="296" y="76595"/>
                      <a:pt x="592" y="77021"/>
                      <a:pt x="592" y="77872"/>
                    </a:cubicBezTo>
                    <a:cubicBezTo>
                      <a:pt x="592" y="78297"/>
                      <a:pt x="1037" y="79148"/>
                      <a:pt x="1185" y="79148"/>
                    </a:cubicBezTo>
                    <a:cubicBezTo>
                      <a:pt x="1185" y="79148"/>
                      <a:pt x="1333" y="78723"/>
                      <a:pt x="1481" y="78723"/>
                    </a:cubicBezTo>
                    <a:cubicBezTo>
                      <a:pt x="1629" y="78723"/>
                      <a:pt x="1629" y="79574"/>
                      <a:pt x="1777" y="79574"/>
                    </a:cubicBezTo>
                    <a:cubicBezTo>
                      <a:pt x="2074" y="79148"/>
                      <a:pt x="2074" y="78723"/>
                      <a:pt x="2370" y="79574"/>
                    </a:cubicBezTo>
                    <a:cubicBezTo>
                      <a:pt x="2666" y="80000"/>
                      <a:pt x="2666" y="80000"/>
                      <a:pt x="2666" y="80851"/>
                    </a:cubicBezTo>
                    <a:cubicBezTo>
                      <a:pt x="2518" y="82978"/>
                      <a:pt x="3111" y="84680"/>
                      <a:pt x="3555" y="85531"/>
                    </a:cubicBezTo>
                    <a:cubicBezTo>
                      <a:pt x="3851" y="85957"/>
                      <a:pt x="4000" y="86382"/>
                      <a:pt x="3703" y="86808"/>
                    </a:cubicBezTo>
                    <a:cubicBezTo>
                      <a:pt x="3555" y="87659"/>
                      <a:pt x="3407" y="87234"/>
                      <a:pt x="3111" y="87234"/>
                    </a:cubicBezTo>
                    <a:cubicBezTo>
                      <a:pt x="2814" y="87234"/>
                      <a:pt x="3259" y="91063"/>
                      <a:pt x="3555" y="90638"/>
                    </a:cubicBezTo>
                    <a:cubicBezTo>
                      <a:pt x="3703" y="90212"/>
                      <a:pt x="3851" y="88936"/>
                      <a:pt x="4000" y="89361"/>
                    </a:cubicBezTo>
                    <a:cubicBezTo>
                      <a:pt x="4148" y="89361"/>
                      <a:pt x="4296" y="89787"/>
                      <a:pt x="4592" y="89787"/>
                    </a:cubicBezTo>
                    <a:cubicBezTo>
                      <a:pt x="4888" y="89787"/>
                      <a:pt x="5185" y="90212"/>
                      <a:pt x="5185" y="91063"/>
                    </a:cubicBezTo>
                    <a:cubicBezTo>
                      <a:pt x="5185" y="91489"/>
                      <a:pt x="5037" y="91489"/>
                      <a:pt x="5037" y="91489"/>
                    </a:cubicBezTo>
                    <a:cubicBezTo>
                      <a:pt x="4888" y="91914"/>
                      <a:pt x="5037" y="92765"/>
                      <a:pt x="5185" y="92765"/>
                    </a:cubicBezTo>
                    <a:cubicBezTo>
                      <a:pt x="5333" y="93191"/>
                      <a:pt x="5629" y="92765"/>
                      <a:pt x="5777" y="93191"/>
                    </a:cubicBezTo>
                    <a:cubicBezTo>
                      <a:pt x="5925" y="93617"/>
                      <a:pt x="5925" y="94468"/>
                      <a:pt x="5925" y="94893"/>
                    </a:cubicBezTo>
                    <a:cubicBezTo>
                      <a:pt x="5925" y="95319"/>
                      <a:pt x="6370" y="94893"/>
                      <a:pt x="6518" y="94893"/>
                    </a:cubicBezTo>
                    <a:cubicBezTo>
                      <a:pt x="6666" y="95319"/>
                      <a:pt x="6962" y="96595"/>
                      <a:pt x="7111" y="95744"/>
                    </a:cubicBezTo>
                    <a:cubicBezTo>
                      <a:pt x="7259" y="94893"/>
                      <a:pt x="7407" y="95319"/>
                      <a:pt x="7555" y="95744"/>
                    </a:cubicBezTo>
                    <a:cubicBezTo>
                      <a:pt x="7851" y="96595"/>
                      <a:pt x="7851" y="96170"/>
                      <a:pt x="8148" y="96170"/>
                    </a:cubicBezTo>
                    <a:cubicBezTo>
                      <a:pt x="8296" y="96170"/>
                      <a:pt x="8444" y="97446"/>
                      <a:pt x="8592" y="97021"/>
                    </a:cubicBezTo>
                    <a:cubicBezTo>
                      <a:pt x="8888" y="96595"/>
                      <a:pt x="9185" y="97446"/>
                      <a:pt x="9333" y="97872"/>
                    </a:cubicBezTo>
                    <a:cubicBezTo>
                      <a:pt x="9629" y="98297"/>
                      <a:pt x="9185" y="98723"/>
                      <a:pt x="9185" y="98723"/>
                    </a:cubicBezTo>
                    <a:cubicBezTo>
                      <a:pt x="8888" y="99148"/>
                      <a:pt x="9333" y="99574"/>
                      <a:pt x="9333" y="99574"/>
                    </a:cubicBezTo>
                    <a:cubicBezTo>
                      <a:pt x="9333" y="99574"/>
                      <a:pt x="8888" y="99574"/>
                      <a:pt x="9037" y="100425"/>
                    </a:cubicBezTo>
                    <a:cubicBezTo>
                      <a:pt x="9333" y="100851"/>
                      <a:pt x="9185" y="101276"/>
                      <a:pt x="9037" y="101702"/>
                    </a:cubicBezTo>
                    <a:cubicBezTo>
                      <a:pt x="9037" y="102127"/>
                      <a:pt x="8592" y="102127"/>
                      <a:pt x="8444" y="102127"/>
                    </a:cubicBezTo>
                    <a:cubicBezTo>
                      <a:pt x="8148" y="102127"/>
                      <a:pt x="8000" y="102978"/>
                      <a:pt x="7851" y="103829"/>
                    </a:cubicBezTo>
                    <a:cubicBezTo>
                      <a:pt x="8000" y="103829"/>
                      <a:pt x="8592" y="103829"/>
                      <a:pt x="8592" y="104255"/>
                    </a:cubicBezTo>
                    <a:cubicBezTo>
                      <a:pt x="8592" y="104680"/>
                      <a:pt x="7851" y="105106"/>
                      <a:pt x="7851" y="105531"/>
                    </a:cubicBezTo>
                    <a:cubicBezTo>
                      <a:pt x="7851" y="105957"/>
                      <a:pt x="8148" y="105957"/>
                      <a:pt x="8148" y="106808"/>
                    </a:cubicBezTo>
                    <a:cubicBezTo>
                      <a:pt x="8148" y="106808"/>
                      <a:pt x="7703" y="107234"/>
                      <a:pt x="7703" y="107234"/>
                    </a:cubicBezTo>
                    <a:cubicBezTo>
                      <a:pt x="7555" y="107659"/>
                      <a:pt x="7555" y="108085"/>
                      <a:pt x="7407" y="108510"/>
                    </a:cubicBezTo>
                    <a:cubicBezTo>
                      <a:pt x="7407" y="108936"/>
                      <a:pt x="7111" y="108510"/>
                      <a:pt x="7111" y="109361"/>
                    </a:cubicBezTo>
                    <a:cubicBezTo>
                      <a:pt x="6962" y="109787"/>
                      <a:pt x="7259" y="110638"/>
                      <a:pt x="7555" y="110638"/>
                    </a:cubicBezTo>
                    <a:cubicBezTo>
                      <a:pt x="7851" y="111063"/>
                      <a:pt x="8148" y="111489"/>
                      <a:pt x="8592" y="112340"/>
                    </a:cubicBezTo>
                    <a:cubicBezTo>
                      <a:pt x="8740" y="112765"/>
                      <a:pt x="8888" y="113191"/>
                      <a:pt x="9037" y="113191"/>
                    </a:cubicBezTo>
                    <a:cubicBezTo>
                      <a:pt x="9185" y="114042"/>
                      <a:pt x="9185" y="113617"/>
                      <a:pt x="9481" y="113191"/>
                    </a:cubicBezTo>
                    <a:cubicBezTo>
                      <a:pt x="9925" y="113191"/>
                      <a:pt x="10370" y="114468"/>
                      <a:pt x="10814" y="114468"/>
                    </a:cubicBezTo>
                    <a:cubicBezTo>
                      <a:pt x="11259" y="114468"/>
                      <a:pt x="11703" y="115319"/>
                      <a:pt x="12148" y="115744"/>
                    </a:cubicBezTo>
                    <a:cubicBezTo>
                      <a:pt x="12592" y="116170"/>
                      <a:pt x="12888" y="115744"/>
                      <a:pt x="13333" y="115744"/>
                    </a:cubicBezTo>
                    <a:cubicBezTo>
                      <a:pt x="13481" y="116170"/>
                      <a:pt x="13629" y="116595"/>
                      <a:pt x="13629" y="117021"/>
                    </a:cubicBezTo>
                    <a:cubicBezTo>
                      <a:pt x="13629" y="117446"/>
                      <a:pt x="13777" y="117446"/>
                      <a:pt x="13925" y="117446"/>
                    </a:cubicBezTo>
                    <a:cubicBezTo>
                      <a:pt x="14370" y="117872"/>
                      <a:pt x="14666" y="120000"/>
                      <a:pt x="15259" y="119148"/>
                    </a:cubicBezTo>
                    <a:cubicBezTo>
                      <a:pt x="15407" y="118723"/>
                      <a:pt x="15703" y="118297"/>
                      <a:pt x="15555" y="117872"/>
                    </a:cubicBezTo>
                    <a:cubicBezTo>
                      <a:pt x="15407" y="117446"/>
                      <a:pt x="15259" y="117021"/>
                      <a:pt x="15111" y="116595"/>
                    </a:cubicBezTo>
                    <a:cubicBezTo>
                      <a:pt x="14814" y="115744"/>
                      <a:pt x="14666" y="114893"/>
                      <a:pt x="14814" y="113617"/>
                    </a:cubicBezTo>
                    <a:cubicBezTo>
                      <a:pt x="14814" y="112765"/>
                      <a:pt x="14666" y="111914"/>
                      <a:pt x="14370" y="111489"/>
                    </a:cubicBezTo>
                    <a:cubicBezTo>
                      <a:pt x="14074" y="111063"/>
                      <a:pt x="14518" y="110212"/>
                      <a:pt x="14666" y="109787"/>
                    </a:cubicBezTo>
                    <a:cubicBezTo>
                      <a:pt x="14814" y="108936"/>
                      <a:pt x="14814" y="108085"/>
                      <a:pt x="15259" y="108085"/>
                    </a:cubicBezTo>
                    <a:cubicBezTo>
                      <a:pt x="15407" y="108085"/>
                      <a:pt x="15555" y="107659"/>
                      <a:pt x="15703" y="107234"/>
                    </a:cubicBezTo>
                    <a:cubicBezTo>
                      <a:pt x="15851" y="106808"/>
                      <a:pt x="16000" y="106808"/>
                      <a:pt x="16148" y="106382"/>
                    </a:cubicBezTo>
                    <a:cubicBezTo>
                      <a:pt x="16000" y="106382"/>
                      <a:pt x="15703" y="105957"/>
                      <a:pt x="15703" y="105531"/>
                    </a:cubicBezTo>
                    <a:cubicBezTo>
                      <a:pt x="15703" y="105106"/>
                      <a:pt x="16000" y="105531"/>
                      <a:pt x="16000" y="105531"/>
                    </a:cubicBezTo>
                    <a:cubicBezTo>
                      <a:pt x="16000" y="105106"/>
                      <a:pt x="15703" y="103829"/>
                      <a:pt x="15555" y="103404"/>
                    </a:cubicBezTo>
                    <a:cubicBezTo>
                      <a:pt x="15407" y="102553"/>
                      <a:pt x="15259" y="102553"/>
                      <a:pt x="14962" y="102553"/>
                    </a:cubicBezTo>
                    <a:cubicBezTo>
                      <a:pt x="14518" y="102553"/>
                      <a:pt x="14814" y="101702"/>
                      <a:pt x="14518" y="101276"/>
                    </a:cubicBezTo>
                    <a:cubicBezTo>
                      <a:pt x="14370" y="100851"/>
                      <a:pt x="13925" y="100851"/>
                      <a:pt x="14222" y="100000"/>
                    </a:cubicBezTo>
                    <a:cubicBezTo>
                      <a:pt x="14370" y="99148"/>
                      <a:pt x="14666" y="98723"/>
                      <a:pt x="14370" y="98297"/>
                    </a:cubicBezTo>
                    <a:cubicBezTo>
                      <a:pt x="14222" y="97446"/>
                      <a:pt x="14518" y="97021"/>
                      <a:pt x="14666" y="96595"/>
                    </a:cubicBezTo>
                    <a:cubicBezTo>
                      <a:pt x="14666" y="96170"/>
                      <a:pt x="14962" y="94893"/>
                      <a:pt x="14962" y="95319"/>
                    </a:cubicBezTo>
                    <a:cubicBezTo>
                      <a:pt x="15111" y="95744"/>
                      <a:pt x="15259" y="96595"/>
                      <a:pt x="15407" y="97021"/>
                    </a:cubicBezTo>
                    <a:cubicBezTo>
                      <a:pt x="15703" y="97021"/>
                      <a:pt x="15851" y="96595"/>
                      <a:pt x="15851" y="96170"/>
                    </a:cubicBezTo>
                    <a:cubicBezTo>
                      <a:pt x="15703" y="95319"/>
                      <a:pt x="15703" y="94893"/>
                      <a:pt x="16000" y="94468"/>
                    </a:cubicBezTo>
                    <a:cubicBezTo>
                      <a:pt x="16296" y="94042"/>
                      <a:pt x="16296" y="93191"/>
                      <a:pt x="16592" y="93191"/>
                    </a:cubicBezTo>
                    <a:cubicBezTo>
                      <a:pt x="16888" y="92765"/>
                      <a:pt x="17185" y="91489"/>
                      <a:pt x="17481" y="91914"/>
                    </a:cubicBezTo>
                    <a:cubicBezTo>
                      <a:pt x="17777" y="91914"/>
                      <a:pt x="17777" y="92765"/>
                      <a:pt x="18074" y="91914"/>
                    </a:cubicBezTo>
                    <a:cubicBezTo>
                      <a:pt x="18370" y="91489"/>
                      <a:pt x="18370" y="91914"/>
                      <a:pt x="18666" y="92340"/>
                    </a:cubicBezTo>
                    <a:cubicBezTo>
                      <a:pt x="18962" y="92340"/>
                      <a:pt x="19259" y="92340"/>
                      <a:pt x="19555" y="92765"/>
                    </a:cubicBezTo>
                    <a:cubicBezTo>
                      <a:pt x="19851" y="93191"/>
                      <a:pt x="19851" y="94042"/>
                      <a:pt x="20148" y="94893"/>
                    </a:cubicBezTo>
                    <a:cubicBezTo>
                      <a:pt x="20148" y="94893"/>
                      <a:pt x="20148" y="93617"/>
                      <a:pt x="20444" y="94042"/>
                    </a:cubicBezTo>
                    <a:cubicBezTo>
                      <a:pt x="20592" y="94042"/>
                      <a:pt x="20740" y="94893"/>
                      <a:pt x="21037" y="94893"/>
                    </a:cubicBezTo>
                    <a:cubicBezTo>
                      <a:pt x="21185" y="95319"/>
                      <a:pt x="21333" y="94468"/>
                      <a:pt x="21481" y="94042"/>
                    </a:cubicBezTo>
                    <a:cubicBezTo>
                      <a:pt x="21777" y="93191"/>
                      <a:pt x="21925" y="94042"/>
                      <a:pt x="22222" y="94042"/>
                    </a:cubicBezTo>
                    <a:cubicBezTo>
                      <a:pt x="22518" y="94042"/>
                      <a:pt x="22666" y="93191"/>
                      <a:pt x="22962" y="93617"/>
                    </a:cubicBezTo>
                    <a:cubicBezTo>
                      <a:pt x="23259" y="94042"/>
                      <a:pt x="23407" y="94468"/>
                      <a:pt x="23703" y="94893"/>
                    </a:cubicBezTo>
                    <a:cubicBezTo>
                      <a:pt x="24000" y="95319"/>
                      <a:pt x="23851" y="94893"/>
                      <a:pt x="24148" y="94468"/>
                    </a:cubicBezTo>
                    <a:cubicBezTo>
                      <a:pt x="24296" y="94042"/>
                      <a:pt x="24888" y="94468"/>
                      <a:pt x="25037" y="94468"/>
                    </a:cubicBezTo>
                    <a:cubicBezTo>
                      <a:pt x="25185" y="94468"/>
                      <a:pt x="25481" y="93617"/>
                      <a:pt x="25481" y="93191"/>
                    </a:cubicBezTo>
                    <a:cubicBezTo>
                      <a:pt x="25481" y="92340"/>
                      <a:pt x="25037" y="92340"/>
                      <a:pt x="24888" y="91914"/>
                    </a:cubicBezTo>
                    <a:cubicBezTo>
                      <a:pt x="23851" y="90638"/>
                      <a:pt x="25333" y="91063"/>
                      <a:pt x="25037" y="89361"/>
                    </a:cubicBezTo>
                    <a:cubicBezTo>
                      <a:pt x="24888" y="88936"/>
                      <a:pt x="24592" y="88936"/>
                      <a:pt x="25037" y="88510"/>
                    </a:cubicBezTo>
                    <a:cubicBezTo>
                      <a:pt x="25185" y="88085"/>
                      <a:pt x="25481" y="88510"/>
                      <a:pt x="25629" y="88085"/>
                    </a:cubicBezTo>
                    <a:cubicBezTo>
                      <a:pt x="26222" y="88085"/>
                      <a:pt x="24592" y="85957"/>
                      <a:pt x="25333" y="85106"/>
                    </a:cubicBezTo>
                    <a:cubicBezTo>
                      <a:pt x="25481" y="85106"/>
                      <a:pt x="25777" y="85106"/>
                      <a:pt x="25925" y="85106"/>
                    </a:cubicBezTo>
                    <a:cubicBezTo>
                      <a:pt x="26370" y="85106"/>
                      <a:pt x="26666" y="85106"/>
                      <a:pt x="27111" y="84680"/>
                    </a:cubicBezTo>
                    <a:cubicBezTo>
                      <a:pt x="27407" y="84255"/>
                      <a:pt x="27703" y="84255"/>
                      <a:pt x="28000" y="84255"/>
                    </a:cubicBezTo>
                    <a:cubicBezTo>
                      <a:pt x="28296" y="83829"/>
                      <a:pt x="28592" y="83404"/>
                      <a:pt x="29037" y="83404"/>
                    </a:cubicBezTo>
                    <a:cubicBezTo>
                      <a:pt x="29629" y="82978"/>
                      <a:pt x="30222" y="82553"/>
                      <a:pt x="30814" y="81702"/>
                    </a:cubicBezTo>
                    <a:cubicBezTo>
                      <a:pt x="31259" y="80851"/>
                      <a:pt x="32148" y="80851"/>
                      <a:pt x="32444" y="82553"/>
                    </a:cubicBezTo>
                    <a:cubicBezTo>
                      <a:pt x="32592" y="83404"/>
                      <a:pt x="32444" y="83404"/>
                      <a:pt x="32592" y="84255"/>
                    </a:cubicBezTo>
                    <a:cubicBezTo>
                      <a:pt x="32592" y="85531"/>
                      <a:pt x="33185" y="84255"/>
                      <a:pt x="33481" y="84680"/>
                    </a:cubicBezTo>
                    <a:cubicBezTo>
                      <a:pt x="33629" y="84680"/>
                      <a:pt x="33481" y="85106"/>
                      <a:pt x="33629" y="85106"/>
                    </a:cubicBezTo>
                    <a:cubicBezTo>
                      <a:pt x="33777" y="85531"/>
                      <a:pt x="33777" y="85106"/>
                      <a:pt x="33777" y="85106"/>
                    </a:cubicBezTo>
                    <a:cubicBezTo>
                      <a:pt x="33925" y="84680"/>
                      <a:pt x="34074" y="85106"/>
                      <a:pt x="34222" y="85531"/>
                    </a:cubicBezTo>
                    <a:cubicBezTo>
                      <a:pt x="34370" y="85531"/>
                      <a:pt x="34370" y="85531"/>
                      <a:pt x="34222" y="85957"/>
                    </a:cubicBezTo>
                    <a:cubicBezTo>
                      <a:pt x="34074" y="87234"/>
                      <a:pt x="35111" y="86382"/>
                      <a:pt x="35407" y="85957"/>
                    </a:cubicBezTo>
                    <a:cubicBezTo>
                      <a:pt x="35407" y="85957"/>
                      <a:pt x="36740" y="83829"/>
                      <a:pt x="36740" y="84255"/>
                    </a:cubicBezTo>
                    <a:cubicBezTo>
                      <a:pt x="36740" y="84680"/>
                      <a:pt x="36444" y="85531"/>
                      <a:pt x="36740" y="85957"/>
                    </a:cubicBezTo>
                    <a:cubicBezTo>
                      <a:pt x="37037" y="85957"/>
                      <a:pt x="37185" y="86382"/>
                      <a:pt x="37333" y="86808"/>
                    </a:cubicBezTo>
                    <a:cubicBezTo>
                      <a:pt x="37777" y="88085"/>
                      <a:pt x="37925" y="89361"/>
                      <a:pt x="38222" y="90638"/>
                    </a:cubicBezTo>
                    <a:cubicBezTo>
                      <a:pt x="38518" y="91914"/>
                      <a:pt x="38666" y="93191"/>
                      <a:pt x="38962" y="94042"/>
                    </a:cubicBezTo>
                    <a:cubicBezTo>
                      <a:pt x="39407" y="95319"/>
                      <a:pt x="39407" y="92340"/>
                      <a:pt x="39851" y="93617"/>
                    </a:cubicBezTo>
                    <a:cubicBezTo>
                      <a:pt x="40444" y="95319"/>
                      <a:pt x="40740" y="94468"/>
                      <a:pt x="41481" y="94042"/>
                    </a:cubicBezTo>
                    <a:cubicBezTo>
                      <a:pt x="41777" y="93617"/>
                      <a:pt x="41925" y="94893"/>
                      <a:pt x="42074" y="95319"/>
                    </a:cubicBezTo>
                    <a:cubicBezTo>
                      <a:pt x="42222" y="96170"/>
                      <a:pt x="42518" y="96170"/>
                      <a:pt x="42666" y="97021"/>
                    </a:cubicBezTo>
                    <a:cubicBezTo>
                      <a:pt x="42814" y="97872"/>
                      <a:pt x="43111" y="97872"/>
                      <a:pt x="43407" y="97872"/>
                    </a:cubicBezTo>
                    <a:cubicBezTo>
                      <a:pt x="43851" y="97446"/>
                      <a:pt x="43703" y="97872"/>
                      <a:pt x="43851" y="98297"/>
                    </a:cubicBezTo>
                    <a:cubicBezTo>
                      <a:pt x="44148" y="100000"/>
                      <a:pt x="45037" y="97872"/>
                      <a:pt x="45481" y="97872"/>
                    </a:cubicBezTo>
                    <a:cubicBezTo>
                      <a:pt x="45925" y="97446"/>
                      <a:pt x="46370" y="96170"/>
                      <a:pt x="46814" y="95744"/>
                    </a:cubicBezTo>
                    <a:cubicBezTo>
                      <a:pt x="47407" y="94468"/>
                      <a:pt x="47703" y="94468"/>
                      <a:pt x="48444" y="94893"/>
                    </a:cubicBezTo>
                    <a:cubicBezTo>
                      <a:pt x="48740" y="94893"/>
                      <a:pt x="48740" y="95319"/>
                      <a:pt x="49037" y="96170"/>
                    </a:cubicBezTo>
                    <a:cubicBezTo>
                      <a:pt x="49185" y="96595"/>
                      <a:pt x="49481" y="96595"/>
                      <a:pt x="49777" y="96595"/>
                    </a:cubicBezTo>
                    <a:cubicBezTo>
                      <a:pt x="50074" y="96595"/>
                      <a:pt x="50222" y="97021"/>
                      <a:pt x="50518" y="97021"/>
                    </a:cubicBezTo>
                    <a:cubicBezTo>
                      <a:pt x="50814" y="97872"/>
                      <a:pt x="50962" y="97021"/>
                      <a:pt x="51259" y="96595"/>
                    </a:cubicBezTo>
                    <a:cubicBezTo>
                      <a:pt x="51703" y="95319"/>
                      <a:pt x="50962" y="94468"/>
                      <a:pt x="51259" y="93191"/>
                    </a:cubicBezTo>
                    <a:cubicBezTo>
                      <a:pt x="51407" y="92340"/>
                      <a:pt x="52000" y="90638"/>
                      <a:pt x="52296" y="91063"/>
                    </a:cubicBezTo>
                    <a:cubicBezTo>
                      <a:pt x="52888" y="91914"/>
                      <a:pt x="53629" y="91914"/>
                      <a:pt x="54222" y="92765"/>
                    </a:cubicBezTo>
                    <a:cubicBezTo>
                      <a:pt x="54518" y="93191"/>
                      <a:pt x="54370" y="94042"/>
                      <a:pt x="54518" y="94468"/>
                    </a:cubicBezTo>
                    <a:cubicBezTo>
                      <a:pt x="54666" y="95744"/>
                      <a:pt x="54962" y="95744"/>
                      <a:pt x="55407" y="96170"/>
                    </a:cubicBezTo>
                    <a:cubicBezTo>
                      <a:pt x="56000" y="96595"/>
                      <a:pt x="56592" y="95319"/>
                      <a:pt x="57185" y="95744"/>
                    </a:cubicBezTo>
                    <a:cubicBezTo>
                      <a:pt x="57333" y="95744"/>
                      <a:pt x="57629" y="95744"/>
                      <a:pt x="57777" y="96170"/>
                    </a:cubicBezTo>
                    <a:cubicBezTo>
                      <a:pt x="58074" y="96595"/>
                      <a:pt x="58370" y="96595"/>
                      <a:pt x="58666" y="97446"/>
                    </a:cubicBezTo>
                    <a:cubicBezTo>
                      <a:pt x="59407" y="99148"/>
                      <a:pt x="60592" y="99148"/>
                      <a:pt x="61481" y="98297"/>
                    </a:cubicBezTo>
                    <a:cubicBezTo>
                      <a:pt x="62074" y="97872"/>
                      <a:pt x="62518" y="97021"/>
                      <a:pt x="63111" y="96595"/>
                    </a:cubicBezTo>
                    <a:cubicBezTo>
                      <a:pt x="63407" y="95744"/>
                      <a:pt x="63851" y="96595"/>
                      <a:pt x="64148" y="96595"/>
                    </a:cubicBezTo>
                    <a:cubicBezTo>
                      <a:pt x="64444" y="97021"/>
                      <a:pt x="64592" y="96170"/>
                      <a:pt x="64888" y="96595"/>
                    </a:cubicBezTo>
                    <a:cubicBezTo>
                      <a:pt x="65037" y="97021"/>
                      <a:pt x="65629" y="98297"/>
                      <a:pt x="65925" y="97872"/>
                    </a:cubicBezTo>
                    <a:cubicBezTo>
                      <a:pt x="66074" y="97872"/>
                      <a:pt x="66370" y="97446"/>
                      <a:pt x="66518" y="97021"/>
                    </a:cubicBezTo>
                    <a:cubicBezTo>
                      <a:pt x="66962" y="96595"/>
                      <a:pt x="67111" y="96595"/>
                      <a:pt x="67111" y="95744"/>
                    </a:cubicBezTo>
                    <a:cubicBezTo>
                      <a:pt x="67111" y="94042"/>
                      <a:pt x="67555" y="92340"/>
                      <a:pt x="67851" y="91489"/>
                    </a:cubicBezTo>
                    <a:cubicBezTo>
                      <a:pt x="68000" y="91063"/>
                      <a:pt x="68148" y="90212"/>
                      <a:pt x="68000" y="89787"/>
                    </a:cubicBezTo>
                    <a:cubicBezTo>
                      <a:pt x="67851" y="89361"/>
                      <a:pt x="67407" y="89361"/>
                      <a:pt x="67703" y="88510"/>
                    </a:cubicBezTo>
                    <a:cubicBezTo>
                      <a:pt x="68148" y="87234"/>
                      <a:pt x="68888" y="87234"/>
                      <a:pt x="69629" y="86808"/>
                    </a:cubicBezTo>
                    <a:cubicBezTo>
                      <a:pt x="69925" y="86808"/>
                      <a:pt x="70222" y="86808"/>
                      <a:pt x="70518" y="87234"/>
                    </a:cubicBezTo>
                    <a:cubicBezTo>
                      <a:pt x="70814" y="87659"/>
                      <a:pt x="71259" y="87659"/>
                      <a:pt x="71555" y="88085"/>
                    </a:cubicBezTo>
                    <a:cubicBezTo>
                      <a:pt x="72000" y="88510"/>
                      <a:pt x="72148" y="90212"/>
                      <a:pt x="72444" y="91489"/>
                    </a:cubicBezTo>
                    <a:cubicBezTo>
                      <a:pt x="72592" y="92765"/>
                      <a:pt x="72888" y="94042"/>
                      <a:pt x="73037" y="95319"/>
                    </a:cubicBezTo>
                    <a:cubicBezTo>
                      <a:pt x="73037" y="95744"/>
                      <a:pt x="73037" y="96595"/>
                      <a:pt x="73185" y="97446"/>
                    </a:cubicBezTo>
                    <a:cubicBezTo>
                      <a:pt x="73185" y="97872"/>
                      <a:pt x="73629" y="97872"/>
                      <a:pt x="73777" y="97872"/>
                    </a:cubicBezTo>
                    <a:cubicBezTo>
                      <a:pt x="74370" y="98297"/>
                      <a:pt x="75111" y="99148"/>
                      <a:pt x="75259" y="100851"/>
                    </a:cubicBezTo>
                    <a:cubicBezTo>
                      <a:pt x="75407" y="102127"/>
                      <a:pt x="75555" y="102978"/>
                      <a:pt x="76148" y="102978"/>
                    </a:cubicBezTo>
                    <a:cubicBezTo>
                      <a:pt x="76296" y="102978"/>
                      <a:pt x="76592" y="102978"/>
                      <a:pt x="76740" y="102978"/>
                    </a:cubicBezTo>
                    <a:cubicBezTo>
                      <a:pt x="77037" y="102978"/>
                      <a:pt x="77037" y="102127"/>
                      <a:pt x="77333" y="102127"/>
                    </a:cubicBezTo>
                    <a:cubicBezTo>
                      <a:pt x="77777" y="102127"/>
                      <a:pt x="78222" y="100851"/>
                      <a:pt x="78518" y="102553"/>
                    </a:cubicBezTo>
                    <a:cubicBezTo>
                      <a:pt x="78518" y="103404"/>
                      <a:pt x="78518" y="103404"/>
                      <a:pt x="78370" y="103829"/>
                    </a:cubicBezTo>
                    <a:cubicBezTo>
                      <a:pt x="78074" y="104680"/>
                      <a:pt x="78074" y="105106"/>
                      <a:pt x="77925" y="105957"/>
                    </a:cubicBezTo>
                    <a:cubicBezTo>
                      <a:pt x="77777" y="107234"/>
                      <a:pt x="77481" y="108510"/>
                      <a:pt x="77185" y="109787"/>
                    </a:cubicBezTo>
                    <a:cubicBezTo>
                      <a:pt x="77037" y="110638"/>
                      <a:pt x="76888" y="110212"/>
                      <a:pt x="76740" y="109787"/>
                    </a:cubicBezTo>
                    <a:cubicBezTo>
                      <a:pt x="76444" y="109361"/>
                      <a:pt x="76444" y="109787"/>
                      <a:pt x="76148" y="110212"/>
                    </a:cubicBezTo>
                    <a:cubicBezTo>
                      <a:pt x="76000" y="110212"/>
                      <a:pt x="75703" y="110638"/>
                      <a:pt x="75703" y="110638"/>
                    </a:cubicBezTo>
                    <a:cubicBezTo>
                      <a:pt x="75555" y="111063"/>
                      <a:pt x="76000" y="112765"/>
                      <a:pt x="76000" y="113617"/>
                    </a:cubicBezTo>
                    <a:cubicBezTo>
                      <a:pt x="75851" y="114042"/>
                      <a:pt x="75851" y="114893"/>
                      <a:pt x="75851" y="115319"/>
                    </a:cubicBezTo>
                    <a:cubicBezTo>
                      <a:pt x="75703" y="116170"/>
                      <a:pt x="75407" y="115744"/>
                      <a:pt x="75407" y="116595"/>
                    </a:cubicBezTo>
                    <a:cubicBezTo>
                      <a:pt x="75703" y="116170"/>
                      <a:pt x="75851" y="116595"/>
                      <a:pt x="76148" y="115744"/>
                    </a:cubicBezTo>
                    <a:cubicBezTo>
                      <a:pt x="76296" y="114893"/>
                      <a:pt x="76592" y="115744"/>
                      <a:pt x="76888" y="115744"/>
                    </a:cubicBezTo>
                    <a:cubicBezTo>
                      <a:pt x="77481" y="116595"/>
                      <a:pt x="78074" y="115744"/>
                      <a:pt x="78666" y="114468"/>
                    </a:cubicBezTo>
                    <a:cubicBezTo>
                      <a:pt x="79111" y="113191"/>
                      <a:pt x="79555" y="111489"/>
                      <a:pt x="80000" y="110212"/>
                    </a:cubicBezTo>
                    <a:cubicBezTo>
                      <a:pt x="80444" y="108510"/>
                      <a:pt x="80888" y="106808"/>
                      <a:pt x="81333" y="105106"/>
                    </a:cubicBezTo>
                    <a:cubicBezTo>
                      <a:pt x="82074" y="102127"/>
                      <a:pt x="82814" y="100000"/>
                      <a:pt x="82666" y="96170"/>
                    </a:cubicBezTo>
                    <a:cubicBezTo>
                      <a:pt x="82666" y="94468"/>
                      <a:pt x="82814" y="93617"/>
                      <a:pt x="83111" y="92340"/>
                    </a:cubicBezTo>
                    <a:cubicBezTo>
                      <a:pt x="83259" y="91489"/>
                      <a:pt x="83259" y="91063"/>
                      <a:pt x="83407" y="90212"/>
                    </a:cubicBezTo>
                    <a:cubicBezTo>
                      <a:pt x="83407" y="90212"/>
                      <a:pt x="83407" y="89787"/>
                      <a:pt x="83407" y="89361"/>
                    </a:cubicBezTo>
                    <a:cubicBezTo>
                      <a:pt x="83407" y="88936"/>
                      <a:pt x="83111" y="88510"/>
                      <a:pt x="83111" y="88085"/>
                    </a:cubicBezTo>
                    <a:cubicBezTo>
                      <a:pt x="83111" y="88085"/>
                      <a:pt x="83407" y="88510"/>
                      <a:pt x="83407" y="88085"/>
                    </a:cubicBezTo>
                    <a:cubicBezTo>
                      <a:pt x="83259" y="87659"/>
                      <a:pt x="83259" y="87234"/>
                      <a:pt x="83111" y="87234"/>
                    </a:cubicBezTo>
                    <a:cubicBezTo>
                      <a:pt x="82962" y="86808"/>
                      <a:pt x="82666" y="85531"/>
                      <a:pt x="82518" y="85106"/>
                    </a:cubicBezTo>
                    <a:cubicBezTo>
                      <a:pt x="82370" y="85106"/>
                      <a:pt x="81629" y="84255"/>
                      <a:pt x="81481" y="84680"/>
                    </a:cubicBezTo>
                    <a:cubicBezTo>
                      <a:pt x="81481" y="85106"/>
                      <a:pt x="81629" y="85531"/>
                      <a:pt x="81481" y="85531"/>
                    </a:cubicBezTo>
                    <a:cubicBezTo>
                      <a:pt x="81185" y="85531"/>
                      <a:pt x="81185" y="86382"/>
                      <a:pt x="81037" y="86382"/>
                    </a:cubicBezTo>
                    <a:cubicBezTo>
                      <a:pt x="80740" y="87234"/>
                      <a:pt x="80592" y="85957"/>
                      <a:pt x="80592" y="85531"/>
                    </a:cubicBezTo>
                    <a:cubicBezTo>
                      <a:pt x="80592" y="84680"/>
                      <a:pt x="80888" y="84255"/>
                      <a:pt x="80444" y="84680"/>
                    </a:cubicBezTo>
                    <a:cubicBezTo>
                      <a:pt x="80000" y="85106"/>
                      <a:pt x="80592" y="85957"/>
                      <a:pt x="80000" y="85957"/>
                    </a:cubicBezTo>
                    <a:cubicBezTo>
                      <a:pt x="79851" y="85957"/>
                      <a:pt x="80148" y="83829"/>
                      <a:pt x="80000" y="83404"/>
                    </a:cubicBezTo>
                    <a:cubicBezTo>
                      <a:pt x="80000" y="83829"/>
                      <a:pt x="78370" y="83829"/>
                      <a:pt x="79111" y="82553"/>
                    </a:cubicBezTo>
                    <a:cubicBezTo>
                      <a:pt x="79703" y="81276"/>
                      <a:pt x="80296" y="80000"/>
                      <a:pt x="80888" y="78723"/>
                    </a:cubicBezTo>
                    <a:cubicBezTo>
                      <a:pt x="81037" y="78297"/>
                      <a:pt x="81185" y="77446"/>
                      <a:pt x="81333" y="77021"/>
                    </a:cubicBezTo>
                    <a:cubicBezTo>
                      <a:pt x="81777" y="76170"/>
                      <a:pt x="82222" y="75319"/>
                      <a:pt x="82518" y="74468"/>
                    </a:cubicBezTo>
                    <a:cubicBezTo>
                      <a:pt x="82666" y="74042"/>
                      <a:pt x="82814" y="73191"/>
                      <a:pt x="83111" y="72765"/>
                    </a:cubicBezTo>
                    <a:cubicBezTo>
                      <a:pt x="83407" y="71914"/>
                      <a:pt x="83703" y="71063"/>
                      <a:pt x="84000" y="70212"/>
                    </a:cubicBezTo>
                    <a:cubicBezTo>
                      <a:pt x="84592" y="68936"/>
                      <a:pt x="85481" y="68936"/>
                      <a:pt x="86222" y="68936"/>
                    </a:cubicBezTo>
                    <a:cubicBezTo>
                      <a:pt x="86370" y="68936"/>
                      <a:pt x="86518" y="68936"/>
                      <a:pt x="86666" y="68936"/>
                    </a:cubicBezTo>
                    <a:cubicBezTo>
                      <a:pt x="86814" y="69361"/>
                      <a:pt x="86814" y="69787"/>
                      <a:pt x="86962" y="69787"/>
                    </a:cubicBezTo>
                    <a:cubicBezTo>
                      <a:pt x="87111" y="69361"/>
                      <a:pt x="87407" y="69361"/>
                      <a:pt x="87555" y="68936"/>
                    </a:cubicBezTo>
                    <a:cubicBezTo>
                      <a:pt x="87703" y="68936"/>
                      <a:pt x="87851" y="69361"/>
                      <a:pt x="88000" y="69361"/>
                    </a:cubicBezTo>
                    <a:cubicBezTo>
                      <a:pt x="88148" y="69361"/>
                      <a:pt x="88296" y="69361"/>
                      <a:pt x="88444" y="69361"/>
                    </a:cubicBezTo>
                    <a:cubicBezTo>
                      <a:pt x="88444" y="68936"/>
                      <a:pt x="88592" y="69361"/>
                      <a:pt x="88740" y="69361"/>
                    </a:cubicBezTo>
                    <a:cubicBezTo>
                      <a:pt x="89037" y="69361"/>
                      <a:pt x="89037" y="68085"/>
                      <a:pt x="89481" y="68085"/>
                    </a:cubicBezTo>
                    <a:cubicBezTo>
                      <a:pt x="89629" y="68085"/>
                      <a:pt x="89925" y="68085"/>
                      <a:pt x="90074" y="68085"/>
                    </a:cubicBezTo>
                    <a:cubicBezTo>
                      <a:pt x="90222" y="68510"/>
                      <a:pt x="90370" y="68936"/>
                      <a:pt x="90518" y="68936"/>
                    </a:cubicBezTo>
                    <a:cubicBezTo>
                      <a:pt x="90666" y="69361"/>
                      <a:pt x="91259" y="68510"/>
                      <a:pt x="91259" y="69787"/>
                    </a:cubicBezTo>
                    <a:cubicBezTo>
                      <a:pt x="91259" y="69787"/>
                      <a:pt x="90814" y="69787"/>
                      <a:pt x="90814" y="70212"/>
                    </a:cubicBezTo>
                    <a:cubicBezTo>
                      <a:pt x="90666" y="71063"/>
                      <a:pt x="91259" y="70638"/>
                      <a:pt x="91259" y="70638"/>
                    </a:cubicBezTo>
                    <a:cubicBezTo>
                      <a:pt x="91555" y="70638"/>
                      <a:pt x="91851" y="70638"/>
                      <a:pt x="92000" y="70638"/>
                    </a:cubicBezTo>
                    <a:cubicBezTo>
                      <a:pt x="92148" y="70212"/>
                      <a:pt x="92148" y="70212"/>
                      <a:pt x="92296" y="69787"/>
                    </a:cubicBezTo>
                    <a:cubicBezTo>
                      <a:pt x="92444" y="69787"/>
                      <a:pt x="92592" y="70212"/>
                      <a:pt x="92888" y="70212"/>
                    </a:cubicBezTo>
                    <a:cubicBezTo>
                      <a:pt x="93037" y="70212"/>
                      <a:pt x="94074" y="69361"/>
                      <a:pt x="93481" y="68936"/>
                    </a:cubicBezTo>
                    <a:cubicBezTo>
                      <a:pt x="93185" y="68936"/>
                      <a:pt x="93037" y="69361"/>
                      <a:pt x="93037" y="68085"/>
                    </a:cubicBezTo>
                    <a:cubicBezTo>
                      <a:pt x="93037" y="67659"/>
                      <a:pt x="93333" y="66382"/>
                      <a:pt x="93481" y="65957"/>
                    </a:cubicBezTo>
                    <a:cubicBezTo>
                      <a:pt x="93777" y="65531"/>
                      <a:pt x="93925" y="65106"/>
                      <a:pt x="94222" y="64255"/>
                    </a:cubicBezTo>
                    <a:cubicBezTo>
                      <a:pt x="94370" y="63829"/>
                      <a:pt x="94666" y="63829"/>
                      <a:pt x="94814" y="62978"/>
                    </a:cubicBezTo>
                    <a:cubicBezTo>
                      <a:pt x="94962" y="62127"/>
                      <a:pt x="95111" y="61702"/>
                      <a:pt x="95407" y="61702"/>
                    </a:cubicBezTo>
                    <a:cubicBezTo>
                      <a:pt x="95703" y="61702"/>
                      <a:pt x="96148" y="61276"/>
                      <a:pt x="96444" y="61276"/>
                    </a:cubicBezTo>
                    <a:cubicBezTo>
                      <a:pt x="96740" y="61276"/>
                      <a:pt x="96888" y="62127"/>
                      <a:pt x="97037" y="62127"/>
                    </a:cubicBezTo>
                    <a:cubicBezTo>
                      <a:pt x="97185" y="61702"/>
                      <a:pt x="97333" y="60851"/>
                      <a:pt x="97481" y="61276"/>
                    </a:cubicBezTo>
                    <a:cubicBezTo>
                      <a:pt x="97629" y="61702"/>
                      <a:pt x="97185" y="62978"/>
                      <a:pt x="97185" y="63404"/>
                    </a:cubicBezTo>
                    <a:cubicBezTo>
                      <a:pt x="97185" y="64255"/>
                      <a:pt x="97333" y="63404"/>
                      <a:pt x="97629" y="63829"/>
                    </a:cubicBezTo>
                    <a:cubicBezTo>
                      <a:pt x="97629" y="63829"/>
                      <a:pt x="97333" y="64680"/>
                      <a:pt x="97333" y="65106"/>
                    </a:cubicBezTo>
                    <a:cubicBezTo>
                      <a:pt x="97333" y="65531"/>
                      <a:pt x="98370" y="63404"/>
                      <a:pt x="98370" y="63404"/>
                    </a:cubicBezTo>
                    <a:cubicBezTo>
                      <a:pt x="98518" y="62978"/>
                      <a:pt x="98666" y="62553"/>
                      <a:pt x="98962" y="62127"/>
                    </a:cubicBezTo>
                    <a:cubicBezTo>
                      <a:pt x="99111" y="61702"/>
                      <a:pt x="99555" y="62553"/>
                      <a:pt x="99555" y="61702"/>
                    </a:cubicBezTo>
                    <a:cubicBezTo>
                      <a:pt x="99407" y="60851"/>
                      <a:pt x="99555" y="59148"/>
                      <a:pt x="100000" y="59148"/>
                    </a:cubicBezTo>
                    <a:cubicBezTo>
                      <a:pt x="100148" y="58723"/>
                      <a:pt x="100444" y="58297"/>
                      <a:pt x="100592" y="58723"/>
                    </a:cubicBezTo>
                    <a:cubicBezTo>
                      <a:pt x="100740" y="58723"/>
                      <a:pt x="101037" y="59574"/>
                      <a:pt x="101185" y="59148"/>
                    </a:cubicBezTo>
                    <a:cubicBezTo>
                      <a:pt x="100888" y="59574"/>
                      <a:pt x="100444" y="59148"/>
                      <a:pt x="100296" y="60425"/>
                    </a:cubicBezTo>
                    <a:cubicBezTo>
                      <a:pt x="100296" y="60851"/>
                      <a:pt x="100296" y="61276"/>
                      <a:pt x="100296" y="61702"/>
                    </a:cubicBezTo>
                    <a:cubicBezTo>
                      <a:pt x="100296" y="62127"/>
                      <a:pt x="100000" y="62127"/>
                      <a:pt x="100148" y="62553"/>
                    </a:cubicBezTo>
                    <a:cubicBezTo>
                      <a:pt x="100148" y="62978"/>
                      <a:pt x="100296" y="62978"/>
                      <a:pt x="100148" y="63404"/>
                    </a:cubicBezTo>
                    <a:cubicBezTo>
                      <a:pt x="100000" y="63404"/>
                      <a:pt x="99851" y="63829"/>
                      <a:pt x="100000" y="64255"/>
                    </a:cubicBezTo>
                    <a:cubicBezTo>
                      <a:pt x="100000" y="64255"/>
                      <a:pt x="99111" y="65106"/>
                      <a:pt x="99111" y="65531"/>
                    </a:cubicBezTo>
                    <a:cubicBezTo>
                      <a:pt x="98814" y="65957"/>
                      <a:pt x="98666" y="66808"/>
                      <a:pt x="98370" y="67234"/>
                    </a:cubicBezTo>
                    <a:cubicBezTo>
                      <a:pt x="98074" y="68085"/>
                      <a:pt x="97777" y="68510"/>
                      <a:pt x="97481" y="69361"/>
                    </a:cubicBezTo>
                    <a:cubicBezTo>
                      <a:pt x="96888" y="70638"/>
                      <a:pt x="96444" y="73617"/>
                      <a:pt x="95703" y="73617"/>
                    </a:cubicBezTo>
                    <a:cubicBezTo>
                      <a:pt x="95555" y="73617"/>
                      <a:pt x="94962" y="74042"/>
                      <a:pt x="94962" y="74468"/>
                    </a:cubicBezTo>
                    <a:cubicBezTo>
                      <a:pt x="94962" y="75744"/>
                      <a:pt x="94962" y="76170"/>
                      <a:pt x="94518" y="77021"/>
                    </a:cubicBezTo>
                    <a:cubicBezTo>
                      <a:pt x="93925" y="78297"/>
                      <a:pt x="93925" y="80851"/>
                      <a:pt x="94074" y="82978"/>
                    </a:cubicBezTo>
                    <a:cubicBezTo>
                      <a:pt x="94222" y="85106"/>
                      <a:pt x="94074" y="87659"/>
                      <a:pt x="94518" y="89361"/>
                    </a:cubicBezTo>
                    <a:cubicBezTo>
                      <a:pt x="94666" y="90212"/>
                      <a:pt x="94666" y="91489"/>
                      <a:pt x="94666" y="92340"/>
                    </a:cubicBezTo>
                    <a:cubicBezTo>
                      <a:pt x="94666" y="92340"/>
                      <a:pt x="94666" y="93191"/>
                      <a:pt x="94814" y="93191"/>
                    </a:cubicBezTo>
                    <a:cubicBezTo>
                      <a:pt x="94962" y="93191"/>
                      <a:pt x="94666" y="94468"/>
                      <a:pt x="94814" y="94468"/>
                    </a:cubicBezTo>
                    <a:cubicBezTo>
                      <a:pt x="94814" y="94468"/>
                      <a:pt x="95555" y="92765"/>
                      <a:pt x="95555" y="92340"/>
                    </a:cubicBezTo>
                    <a:cubicBezTo>
                      <a:pt x="95851" y="91489"/>
                      <a:pt x="96000" y="90638"/>
                      <a:pt x="96148" y="89361"/>
                    </a:cubicBezTo>
                    <a:cubicBezTo>
                      <a:pt x="96296" y="88510"/>
                      <a:pt x="96888" y="87659"/>
                      <a:pt x="97037" y="87659"/>
                    </a:cubicBezTo>
                    <a:cubicBezTo>
                      <a:pt x="97481" y="88510"/>
                      <a:pt x="97037" y="85957"/>
                      <a:pt x="97185" y="85531"/>
                    </a:cubicBezTo>
                    <a:cubicBezTo>
                      <a:pt x="97481" y="84255"/>
                      <a:pt x="97629" y="83829"/>
                      <a:pt x="98074" y="83829"/>
                    </a:cubicBezTo>
                    <a:cubicBezTo>
                      <a:pt x="98518" y="83829"/>
                      <a:pt x="99111" y="83829"/>
                      <a:pt x="98814" y="82553"/>
                    </a:cubicBezTo>
                    <a:cubicBezTo>
                      <a:pt x="98370" y="81276"/>
                      <a:pt x="98666" y="80000"/>
                      <a:pt x="99111" y="79148"/>
                    </a:cubicBezTo>
                    <a:cubicBezTo>
                      <a:pt x="99259" y="78723"/>
                      <a:pt x="99259" y="79574"/>
                      <a:pt x="99407" y="79574"/>
                    </a:cubicBezTo>
                    <a:cubicBezTo>
                      <a:pt x="99703" y="79574"/>
                      <a:pt x="99703" y="78297"/>
                      <a:pt x="99703" y="77872"/>
                    </a:cubicBezTo>
                    <a:cubicBezTo>
                      <a:pt x="99407" y="77021"/>
                      <a:pt x="99111" y="76595"/>
                      <a:pt x="99407" y="75319"/>
                    </a:cubicBezTo>
                    <a:cubicBezTo>
                      <a:pt x="99407" y="75319"/>
                      <a:pt x="99851" y="74893"/>
                      <a:pt x="99703" y="74468"/>
                    </a:cubicBezTo>
                    <a:cubicBezTo>
                      <a:pt x="99555" y="74468"/>
                      <a:pt x="99407" y="73617"/>
                      <a:pt x="99259" y="73617"/>
                    </a:cubicBezTo>
                    <a:cubicBezTo>
                      <a:pt x="99111" y="73617"/>
                      <a:pt x="99259" y="74042"/>
                      <a:pt x="99111" y="74042"/>
                    </a:cubicBezTo>
                    <a:cubicBezTo>
                      <a:pt x="98814" y="74042"/>
                      <a:pt x="98666" y="73617"/>
                      <a:pt x="98814" y="72765"/>
                    </a:cubicBezTo>
                    <a:cubicBezTo>
                      <a:pt x="98962" y="71914"/>
                      <a:pt x="99259" y="71489"/>
                      <a:pt x="99555" y="70212"/>
                    </a:cubicBezTo>
                    <a:cubicBezTo>
                      <a:pt x="99703" y="69361"/>
                      <a:pt x="99703" y="68085"/>
                      <a:pt x="100148" y="67234"/>
                    </a:cubicBezTo>
                    <a:cubicBezTo>
                      <a:pt x="100296" y="66808"/>
                      <a:pt x="100296" y="67659"/>
                      <a:pt x="100296" y="67659"/>
                    </a:cubicBezTo>
                    <a:cubicBezTo>
                      <a:pt x="100592" y="67659"/>
                      <a:pt x="100592" y="66808"/>
                      <a:pt x="100740" y="67234"/>
                    </a:cubicBezTo>
                    <a:cubicBezTo>
                      <a:pt x="100888" y="67234"/>
                      <a:pt x="100888" y="67659"/>
                      <a:pt x="101037" y="67234"/>
                    </a:cubicBezTo>
                    <a:cubicBezTo>
                      <a:pt x="101333" y="66808"/>
                      <a:pt x="101481" y="66382"/>
                      <a:pt x="101777" y="65957"/>
                    </a:cubicBezTo>
                    <a:cubicBezTo>
                      <a:pt x="102222" y="65531"/>
                      <a:pt x="101629" y="67234"/>
                      <a:pt x="101925" y="67659"/>
                    </a:cubicBezTo>
                    <a:cubicBezTo>
                      <a:pt x="101925" y="68085"/>
                      <a:pt x="102518" y="66382"/>
                      <a:pt x="102666" y="66382"/>
                    </a:cubicBezTo>
                    <a:cubicBezTo>
                      <a:pt x="102962" y="65957"/>
                      <a:pt x="103259" y="65531"/>
                      <a:pt x="103703" y="65531"/>
                    </a:cubicBezTo>
                    <a:cubicBezTo>
                      <a:pt x="104000" y="65531"/>
                      <a:pt x="104296" y="65531"/>
                      <a:pt x="104444" y="66382"/>
                    </a:cubicBezTo>
                    <a:cubicBezTo>
                      <a:pt x="104592" y="66382"/>
                      <a:pt x="104740" y="66808"/>
                      <a:pt x="104888" y="67234"/>
                    </a:cubicBezTo>
                    <a:cubicBezTo>
                      <a:pt x="105037" y="67659"/>
                      <a:pt x="105037" y="66382"/>
                      <a:pt x="105185" y="66382"/>
                    </a:cubicBezTo>
                    <a:cubicBezTo>
                      <a:pt x="106370" y="63404"/>
                      <a:pt x="107703" y="62127"/>
                      <a:pt x="109037" y="60425"/>
                    </a:cubicBezTo>
                    <a:cubicBezTo>
                      <a:pt x="109333" y="60000"/>
                      <a:pt x="109777" y="59574"/>
                      <a:pt x="109925" y="58723"/>
                    </a:cubicBezTo>
                    <a:cubicBezTo>
                      <a:pt x="110074" y="57872"/>
                      <a:pt x="110074" y="59148"/>
                      <a:pt x="110370" y="59148"/>
                    </a:cubicBezTo>
                    <a:cubicBezTo>
                      <a:pt x="110518" y="59148"/>
                      <a:pt x="110814" y="59148"/>
                      <a:pt x="110962" y="59148"/>
                    </a:cubicBezTo>
                    <a:cubicBezTo>
                      <a:pt x="111111" y="59574"/>
                      <a:pt x="111259" y="60000"/>
                      <a:pt x="111407" y="60000"/>
                    </a:cubicBezTo>
                    <a:cubicBezTo>
                      <a:pt x="111851" y="60000"/>
                      <a:pt x="111851" y="58297"/>
                      <a:pt x="111703" y="57446"/>
                    </a:cubicBezTo>
                    <a:cubicBezTo>
                      <a:pt x="111703" y="57021"/>
                      <a:pt x="111111" y="56170"/>
                      <a:pt x="111259" y="55744"/>
                    </a:cubicBezTo>
                    <a:cubicBezTo>
                      <a:pt x="111259" y="55319"/>
                      <a:pt x="110962" y="53191"/>
                      <a:pt x="110814" y="53617"/>
                    </a:cubicBezTo>
                    <a:cubicBezTo>
                      <a:pt x="110814" y="54042"/>
                      <a:pt x="110518" y="53191"/>
                      <a:pt x="110370" y="53191"/>
                    </a:cubicBezTo>
                    <a:cubicBezTo>
                      <a:pt x="110222" y="52765"/>
                      <a:pt x="110370" y="52340"/>
                      <a:pt x="110222" y="51914"/>
                    </a:cubicBezTo>
                    <a:cubicBezTo>
                      <a:pt x="110222" y="51489"/>
                      <a:pt x="109777" y="51914"/>
                      <a:pt x="109777" y="51914"/>
                    </a:cubicBezTo>
                    <a:cubicBezTo>
                      <a:pt x="109629" y="52340"/>
                      <a:pt x="109185" y="51914"/>
                      <a:pt x="109333" y="51489"/>
                    </a:cubicBezTo>
                    <a:cubicBezTo>
                      <a:pt x="109333" y="51063"/>
                      <a:pt x="109777" y="51489"/>
                      <a:pt x="109925" y="51489"/>
                    </a:cubicBezTo>
                    <a:cubicBezTo>
                      <a:pt x="109925" y="51063"/>
                      <a:pt x="109481" y="51063"/>
                      <a:pt x="109481" y="51063"/>
                    </a:cubicBezTo>
                    <a:cubicBezTo>
                      <a:pt x="109481" y="49787"/>
                      <a:pt x="110666" y="51914"/>
                      <a:pt x="110814" y="51914"/>
                    </a:cubicBezTo>
                    <a:cubicBezTo>
                      <a:pt x="111111" y="52340"/>
                      <a:pt x="112000" y="51489"/>
                      <a:pt x="112296" y="50638"/>
                    </a:cubicBezTo>
                    <a:cubicBezTo>
                      <a:pt x="112444" y="50212"/>
                      <a:pt x="112148" y="50212"/>
                      <a:pt x="112148" y="49787"/>
                    </a:cubicBezTo>
                    <a:cubicBezTo>
                      <a:pt x="112148" y="49787"/>
                      <a:pt x="112740" y="49787"/>
                      <a:pt x="112740" y="48936"/>
                    </a:cubicBezTo>
                    <a:cubicBezTo>
                      <a:pt x="112592" y="48510"/>
                      <a:pt x="112296" y="48085"/>
                      <a:pt x="112444" y="47659"/>
                    </a:cubicBezTo>
                    <a:cubicBezTo>
                      <a:pt x="112444" y="47234"/>
                      <a:pt x="112740" y="46382"/>
                      <a:pt x="112740" y="46382"/>
                    </a:cubicBezTo>
                    <a:cubicBezTo>
                      <a:pt x="112888" y="46382"/>
                      <a:pt x="113481" y="46808"/>
                      <a:pt x="113481" y="46382"/>
                    </a:cubicBezTo>
                    <a:cubicBezTo>
                      <a:pt x="113333" y="46808"/>
                      <a:pt x="112888" y="47234"/>
                      <a:pt x="113037" y="47659"/>
                    </a:cubicBezTo>
                    <a:cubicBezTo>
                      <a:pt x="113185" y="48085"/>
                      <a:pt x="113333" y="48510"/>
                      <a:pt x="113333" y="48510"/>
                    </a:cubicBezTo>
                    <a:cubicBezTo>
                      <a:pt x="113333" y="48936"/>
                      <a:pt x="113185" y="49361"/>
                      <a:pt x="113333" y="49361"/>
                    </a:cubicBezTo>
                    <a:cubicBezTo>
                      <a:pt x="113629" y="49361"/>
                      <a:pt x="113925" y="48936"/>
                      <a:pt x="114222" y="48936"/>
                    </a:cubicBezTo>
                    <a:cubicBezTo>
                      <a:pt x="114518" y="48936"/>
                      <a:pt x="114814" y="48936"/>
                      <a:pt x="115111" y="49361"/>
                    </a:cubicBezTo>
                    <a:cubicBezTo>
                      <a:pt x="115259" y="49787"/>
                      <a:pt x="115259" y="49787"/>
                      <a:pt x="115259" y="50638"/>
                    </a:cubicBezTo>
                    <a:cubicBezTo>
                      <a:pt x="115259" y="51063"/>
                      <a:pt x="115851" y="51489"/>
                      <a:pt x="116000" y="51489"/>
                    </a:cubicBezTo>
                    <a:cubicBezTo>
                      <a:pt x="116148" y="51914"/>
                      <a:pt x="117037" y="53617"/>
                      <a:pt x="117185" y="52765"/>
                    </a:cubicBezTo>
                    <a:cubicBezTo>
                      <a:pt x="117037" y="54042"/>
                      <a:pt x="117925" y="52765"/>
                      <a:pt x="117925" y="52765"/>
                    </a:cubicBezTo>
                    <a:cubicBezTo>
                      <a:pt x="117925" y="52340"/>
                      <a:pt x="117333" y="52340"/>
                      <a:pt x="117481" y="51914"/>
                    </a:cubicBezTo>
                    <a:cubicBezTo>
                      <a:pt x="117481" y="51063"/>
                      <a:pt x="117925" y="51914"/>
                      <a:pt x="117925" y="51914"/>
                    </a:cubicBezTo>
                    <a:cubicBezTo>
                      <a:pt x="117925" y="51063"/>
                      <a:pt x="117777" y="51914"/>
                      <a:pt x="117925" y="50638"/>
                    </a:cubicBezTo>
                    <a:cubicBezTo>
                      <a:pt x="117925" y="50212"/>
                      <a:pt x="117925" y="49787"/>
                      <a:pt x="117925" y="49361"/>
                    </a:cubicBezTo>
                    <a:cubicBezTo>
                      <a:pt x="117777" y="48936"/>
                      <a:pt x="117629" y="48936"/>
                      <a:pt x="117629" y="48510"/>
                    </a:cubicBezTo>
                    <a:cubicBezTo>
                      <a:pt x="117629" y="48510"/>
                      <a:pt x="118666" y="49361"/>
                      <a:pt x="118814" y="48936"/>
                    </a:cubicBezTo>
                    <a:cubicBezTo>
                      <a:pt x="118814" y="48936"/>
                      <a:pt x="118666" y="48510"/>
                      <a:pt x="118518" y="48510"/>
                    </a:cubicBezTo>
                    <a:cubicBezTo>
                      <a:pt x="118666" y="48510"/>
                      <a:pt x="119111" y="48936"/>
                      <a:pt x="119259" y="48510"/>
                    </a:cubicBezTo>
                    <a:cubicBezTo>
                      <a:pt x="119259" y="48085"/>
                      <a:pt x="119259" y="47659"/>
                      <a:pt x="119407" y="47234"/>
                    </a:cubicBezTo>
                    <a:cubicBezTo>
                      <a:pt x="119407" y="47234"/>
                      <a:pt x="119851" y="47234"/>
                      <a:pt x="119851" y="47234"/>
                    </a:cubicBezTo>
                    <a:cubicBezTo>
                      <a:pt x="119851" y="47234"/>
                      <a:pt x="119703" y="47234"/>
                      <a:pt x="119703" y="47234"/>
                    </a:cubicBezTo>
                    <a:cubicBezTo>
                      <a:pt x="119555" y="46808"/>
                      <a:pt x="120000" y="47234"/>
                      <a:pt x="119703" y="47234"/>
                    </a:cubicBezTo>
                    <a:close/>
                    <a:moveTo>
                      <a:pt x="60000" y="81702"/>
                    </a:moveTo>
                    <a:cubicBezTo>
                      <a:pt x="59851" y="82978"/>
                      <a:pt x="59851" y="84255"/>
                      <a:pt x="59703" y="85531"/>
                    </a:cubicBezTo>
                    <a:cubicBezTo>
                      <a:pt x="59555" y="86382"/>
                      <a:pt x="59111" y="85957"/>
                      <a:pt x="59111" y="86808"/>
                    </a:cubicBezTo>
                    <a:cubicBezTo>
                      <a:pt x="59111" y="86808"/>
                      <a:pt x="59407" y="86808"/>
                      <a:pt x="59555" y="86808"/>
                    </a:cubicBezTo>
                    <a:cubicBezTo>
                      <a:pt x="59555" y="86808"/>
                      <a:pt x="58222" y="89361"/>
                      <a:pt x="58074" y="89361"/>
                    </a:cubicBezTo>
                    <a:cubicBezTo>
                      <a:pt x="57925" y="89787"/>
                      <a:pt x="57777" y="90212"/>
                      <a:pt x="57481" y="90212"/>
                    </a:cubicBezTo>
                    <a:cubicBezTo>
                      <a:pt x="57333" y="90638"/>
                      <a:pt x="57185" y="91489"/>
                      <a:pt x="57037" y="91914"/>
                    </a:cubicBezTo>
                    <a:cubicBezTo>
                      <a:pt x="56888" y="92340"/>
                      <a:pt x="55851" y="93191"/>
                      <a:pt x="55703" y="92340"/>
                    </a:cubicBezTo>
                    <a:cubicBezTo>
                      <a:pt x="55703" y="91914"/>
                      <a:pt x="56740" y="91063"/>
                      <a:pt x="56888" y="90638"/>
                    </a:cubicBezTo>
                    <a:cubicBezTo>
                      <a:pt x="57333" y="89787"/>
                      <a:pt x="57777" y="88510"/>
                      <a:pt x="58222" y="87659"/>
                    </a:cubicBezTo>
                    <a:cubicBezTo>
                      <a:pt x="58518" y="87234"/>
                      <a:pt x="58518" y="85957"/>
                      <a:pt x="58814" y="85531"/>
                    </a:cubicBezTo>
                    <a:cubicBezTo>
                      <a:pt x="59111" y="84255"/>
                      <a:pt x="59407" y="82978"/>
                      <a:pt x="59555" y="81702"/>
                    </a:cubicBezTo>
                    <a:cubicBezTo>
                      <a:pt x="59555" y="80851"/>
                      <a:pt x="59555" y="80851"/>
                      <a:pt x="59851" y="80425"/>
                    </a:cubicBezTo>
                    <a:cubicBezTo>
                      <a:pt x="60148" y="80000"/>
                      <a:pt x="60000" y="81276"/>
                      <a:pt x="60000" y="81702"/>
                    </a:cubicBezTo>
                    <a:cubicBezTo>
                      <a:pt x="59851" y="82127"/>
                      <a:pt x="60000" y="80851"/>
                      <a:pt x="60000" y="8170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7" name="Shape 2598">
                <a:extLst>
                  <a:ext uri="{FF2B5EF4-FFF2-40B4-BE49-F238E27FC236}">
                    <a16:creationId xmlns:a16="http://schemas.microsoft.com/office/drawing/2014/main" id="{6B2F83F6-8FF1-4508-AEA1-AA84D5AC0902}"/>
                  </a:ext>
                </a:extLst>
              </p:cNvPr>
              <p:cNvSpPr/>
              <p:nvPr/>
            </p:nvSpPr>
            <p:spPr>
              <a:xfrm>
                <a:off x="17672713" y="6820440"/>
                <a:ext cx="126441" cy="270196"/>
              </a:xfrm>
              <a:custGeom>
                <a:avLst/>
                <a:gdLst/>
                <a:ahLst/>
                <a:cxnLst/>
                <a:rect l="0" t="0" r="0" b="0"/>
                <a:pathLst>
                  <a:path w="120000" h="120000" extrusionOk="0">
                    <a:moveTo>
                      <a:pt x="104000" y="97500"/>
                    </a:moveTo>
                    <a:cubicBezTo>
                      <a:pt x="104000" y="82500"/>
                      <a:pt x="72000" y="63750"/>
                      <a:pt x="80000" y="48750"/>
                    </a:cubicBezTo>
                    <a:cubicBezTo>
                      <a:pt x="88000" y="37500"/>
                      <a:pt x="80000" y="26250"/>
                      <a:pt x="72000" y="15000"/>
                    </a:cubicBezTo>
                    <a:cubicBezTo>
                      <a:pt x="72000" y="11250"/>
                      <a:pt x="72000" y="7500"/>
                      <a:pt x="72000" y="3750"/>
                    </a:cubicBezTo>
                    <a:cubicBezTo>
                      <a:pt x="72000" y="0"/>
                      <a:pt x="48000" y="0"/>
                      <a:pt x="48000" y="0"/>
                    </a:cubicBezTo>
                    <a:cubicBezTo>
                      <a:pt x="48000" y="3750"/>
                      <a:pt x="56000" y="7500"/>
                      <a:pt x="56000" y="11250"/>
                    </a:cubicBezTo>
                    <a:cubicBezTo>
                      <a:pt x="64000" y="15000"/>
                      <a:pt x="56000" y="18750"/>
                      <a:pt x="48000" y="18750"/>
                    </a:cubicBezTo>
                    <a:cubicBezTo>
                      <a:pt x="40000" y="22500"/>
                      <a:pt x="32000" y="18750"/>
                      <a:pt x="32000" y="26250"/>
                    </a:cubicBezTo>
                    <a:cubicBezTo>
                      <a:pt x="32000" y="30000"/>
                      <a:pt x="32000" y="30000"/>
                      <a:pt x="32000" y="33750"/>
                    </a:cubicBezTo>
                    <a:cubicBezTo>
                      <a:pt x="24000" y="41250"/>
                      <a:pt x="24000" y="48750"/>
                      <a:pt x="16000" y="52500"/>
                    </a:cubicBezTo>
                    <a:cubicBezTo>
                      <a:pt x="0" y="56250"/>
                      <a:pt x="32000" y="67500"/>
                      <a:pt x="40000" y="75000"/>
                    </a:cubicBezTo>
                    <a:cubicBezTo>
                      <a:pt x="48000" y="82500"/>
                      <a:pt x="32000" y="120000"/>
                      <a:pt x="48000" y="120000"/>
                    </a:cubicBezTo>
                    <a:cubicBezTo>
                      <a:pt x="72000" y="120000"/>
                      <a:pt x="96000" y="120000"/>
                      <a:pt x="120000" y="120000"/>
                    </a:cubicBezTo>
                    <a:cubicBezTo>
                      <a:pt x="120000" y="112500"/>
                      <a:pt x="112000" y="105000"/>
                      <a:pt x="104000" y="97500"/>
                    </a:cubicBezTo>
                    <a:cubicBezTo>
                      <a:pt x="104000" y="90000"/>
                      <a:pt x="104000" y="101250"/>
                      <a:pt x="104000" y="975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8" name="Shape 2599">
                <a:extLst>
                  <a:ext uri="{FF2B5EF4-FFF2-40B4-BE49-F238E27FC236}">
                    <a16:creationId xmlns:a16="http://schemas.microsoft.com/office/drawing/2014/main" id="{42444664-6CB2-471F-A575-0E541EC2AEA9}"/>
                  </a:ext>
                </a:extLst>
              </p:cNvPr>
              <p:cNvSpPr/>
              <p:nvPr/>
            </p:nvSpPr>
            <p:spPr>
              <a:xfrm>
                <a:off x="17698576" y="7082011"/>
                <a:ext cx="126441" cy="195458"/>
              </a:xfrm>
              <a:custGeom>
                <a:avLst/>
                <a:gdLst/>
                <a:ahLst/>
                <a:cxnLst/>
                <a:rect l="0" t="0" r="0" b="0"/>
                <a:pathLst>
                  <a:path w="120000" h="120000" extrusionOk="0">
                    <a:moveTo>
                      <a:pt x="96000" y="5217"/>
                    </a:moveTo>
                    <a:cubicBezTo>
                      <a:pt x="88000" y="5217"/>
                      <a:pt x="72000" y="5217"/>
                      <a:pt x="56000" y="5217"/>
                    </a:cubicBezTo>
                    <a:cubicBezTo>
                      <a:pt x="40000" y="5217"/>
                      <a:pt x="24000" y="0"/>
                      <a:pt x="16000" y="10434"/>
                    </a:cubicBezTo>
                    <a:cubicBezTo>
                      <a:pt x="16000" y="20869"/>
                      <a:pt x="8000" y="26086"/>
                      <a:pt x="8000" y="36521"/>
                    </a:cubicBezTo>
                    <a:cubicBezTo>
                      <a:pt x="8000" y="41739"/>
                      <a:pt x="16000" y="46956"/>
                      <a:pt x="16000" y="57391"/>
                    </a:cubicBezTo>
                    <a:cubicBezTo>
                      <a:pt x="16000" y="62608"/>
                      <a:pt x="0" y="120000"/>
                      <a:pt x="8000" y="120000"/>
                    </a:cubicBezTo>
                    <a:cubicBezTo>
                      <a:pt x="24000" y="114782"/>
                      <a:pt x="8000" y="99130"/>
                      <a:pt x="32000" y="104347"/>
                    </a:cubicBezTo>
                    <a:cubicBezTo>
                      <a:pt x="40000" y="104347"/>
                      <a:pt x="56000" y="99130"/>
                      <a:pt x="56000" y="104347"/>
                    </a:cubicBezTo>
                    <a:cubicBezTo>
                      <a:pt x="64000" y="104347"/>
                      <a:pt x="64000" y="120000"/>
                      <a:pt x="72000" y="120000"/>
                    </a:cubicBezTo>
                    <a:cubicBezTo>
                      <a:pt x="72000" y="120000"/>
                      <a:pt x="72000" y="104347"/>
                      <a:pt x="72000" y="104347"/>
                    </a:cubicBezTo>
                    <a:cubicBezTo>
                      <a:pt x="72000" y="93913"/>
                      <a:pt x="56000" y="88695"/>
                      <a:pt x="48000" y="83478"/>
                    </a:cubicBezTo>
                    <a:cubicBezTo>
                      <a:pt x="40000" y="73043"/>
                      <a:pt x="16000" y="46956"/>
                      <a:pt x="32000" y="36521"/>
                    </a:cubicBezTo>
                    <a:cubicBezTo>
                      <a:pt x="56000" y="26086"/>
                      <a:pt x="48000" y="20869"/>
                      <a:pt x="72000" y="15652"/>
                    </a:cubicBezTo>
                    <a:cubicBezTo>
                      <a:pt x="88000" y="10434"/>
                      <a:pt x="112000" y="20869"/>
                      <a:pt x="120000" y="31304"/>
                    </a:cubicBezTo>
                    <a:cubicBezTo>
                      <a:pt x="112000" y="20869"/>
                      <a:pt x="104000" y="10434"/>
                      <a:pt x="96000" y="521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49" name="Shape 2600">
                <a:extLst>
                  <a:ext uri="{FF2B5EF4-FFF2-40B4-BE49-F238E27FC236}">
                    <a16:creationId xmlns:a16="http://schemas.microsoft.com/office/drawing/2014/main" id="{BB43806C-C067-4E3D-86BC-835B5DB625F4}"/>
                  </a:ext>
                </a:extLst>
              </p:cNvPr>
              <p:cNvSpPr/>
              <p:nvPr/>
            </p:nvSpPr>
            <p:spPr>
              <a:xfrm>
                <a:off x="17031885" y="7656897"/>
                <a:ext cx="178169" cy="212707"/>
              </a:xfrm>
              <a:custGeom>
                <a:avLst/>
                <a:gdLst/>
                <a:ahLst/>
                <a:cxnLst/>
                <a:rect l="0" t="0" r="0" b="0"/>
                <a:pathLst>
                  <a:path w="120000" h="120000" extrusionOk="0">
                    <a:moveTo>
                      <a:pt x="28571" y="4800"/>
                    </a:moveTo>
                    <a:cubicBezTo>
                      <a:pt x="17142" y="9600"/>
                      <a:pt x="11428" y="28800"/>
                      <a:pt x="22857" y="33600"/>
                    </a:cubicBezTo>
                    <a:cubicBezTo>
                      <a:pt x="40000" y="48000"/>
                      <a:pt x="11428" y="43200"/>
                      <a:pt x="5714" y="43200"/>
                    </a:cubicBezTo>
                    <a:cubicBezTo>
                      <a:pt x="5714" y="43200"/>
                      <a:pt x="17142" y="52800"/>
                      <a:pt x="17142" y="52800"/>
                    </a:cubicBezTo>
                    <a:cubicBezTo>
                      <a:pt x="17142" y="62400"/>
                      <a:pt x="17142" y="62400"/>
                      <a:pt x="11428" y="67200"/>
                    </a:cubicBezTo>
                    <a:cubicBezTo>
                      <a:pt x="11428" y="67200"/>
                      <a:pt x="17142" y="72000"/>
                      <a:pt x="17142" y="76800"/>
                    </a:cubicBezTo>
                    <a:cubicBezTo>
                      <a:pt x="11428" y="81600"/>
                      <a:pt x="5714" y="96000"/>
                      <a:pt x="5714" y="96000"/>
                    </a:cubicBezTo>
                    <a:cubicBezTo>
                      <a:pt x="5714" y="96000"/>
                      <a:pt x="17142" y="96000"/>
                      <a:pt x="17142" y="100800"/>
                    </a:cubicBezTo>
                    <a:cubicBezTo>
                      <a:pt x="17142" y="100800"/>
                      <a:pt x="0" y="110400"/>
                      <a:pt x="0" y="115200"/>
                    </a:cubicBezTo>
                    <a:cubicBezTo>
                      <a:pt x="0" y="115200"/>
                      <a:pt x="5714" y="110400"/>
                      <a:pt x="11428" y="110400"/>
                    </a:cubicBezTo>
                    <a:cubicBezTo>
                      <a:pt x="11428" y="110400"/>
                      <a:pt x="11428" y="120000"/>
                      <a:pt x="17142" y="115200"/>
                    </a:cubicBezTo>
                    <a:cubicBezTo>
                      <a:pt x="17142" y="110400"/>
                      <a:pt x="28571" y="105600"/>
                      <a:pt x="34285" y="105600"/>
                    </a:cubicBezTo>
                    <a:cubicBezTo>
                      <a:pt x="40000" y="100800"/>
                      <a:pt x="34285" y="120000"/>
                      <a:pt x="45714" y="105600"/>
                    </a:cubicBezTo>
                    <a:cubicBezTo>
                      <a:pt x="51428" y="96000"/>
                      <a:pt x="45714" y="100800"/>
                      <a:pt x="51428" y="105600"/>
                    </a:cubicBezTo>
                    <a:cubicBezTo>
                      <a:pt x="51428" y="105600"/>
                      <a:pt x="68571" y="100800"/>
                      <a:pt x="68571" y="100800"/>
                    </a:cubicBezTo>
                    <a:cubicBezTo>
                      <a:pt x="80000" y="100800"/>
                      <a:pt x="74285" y="96000"/>
                      <a:pt x="80000" y="96000"/>
                    </a:cubicBezTo>
                    <a:cubicBezTo>
                      <a:pt x="91428" y="96000"/>
                      <a:pt x="91428" y="91200"/>
                      <a:pt x="97142" y="86400"/>
                    </a:cubicBezTo>
                    <a:cubicBezTo>
                      <a:pt x="102857" y="76800"/>
                      <a:pt x="108571" y="91200"/>
                      <a:pt x="114285" y="96000"/>
                    </a:cubicBezTo>
                    <a:cubicBezTo>
                      <a:pt x="120000" y="96000"/>
                      <a:pt x="108571" y="76800"/>
                      <a:pt x="108571" y="76800"/>
                    </a:cubicBezTo>
                    <a:cubicBezTo>
                      <a:pt x="102857" y="72000"/>
                      <a:pt x="97142" y="67200"/>
                      <a:pt x="97142" y="57600"/>
                    </a:cubicBezTo>
                    <a:cubicBezTo>
                      <a:pt x="97142" y="33600"/>
                      <a:pt x="80000" y="19200"/>
                      <a:pt x="68571" y="0"/>
                    </a:cubicBezTo>
                    <a:cubicBezTo>
                      <a:pt x="57142" y="9600"/>
                      <a:pt x="45714" y="4800"/>
                      <a:pt x="28571" y="4800"/>
                    </a:cubicBezTo>
                    <a:cubicBezTo>
                      <a:pt x="28571" y="9600"/>
                      <a:pt x="34285" y="4800"/>
                      <a:pt x="28571" y="48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0" name="Shape 2601">
                <a:extLst>
                  <a:ext uri="{FF2B5EF4-FFF2-40B4-BE49-F238E27FC236}">
                    <a16:creationId xmlns:a16="http://schemas.microsoft.com/office/drawing/2014/main" id="{07F3BA6C-6B81-425A-A9ED-BE72FACE100C}"/>
                  </a:ext>
                </a:extLst>
              </p:cNvPr>
              <p:cNvSpPr/>
              <p:nvPr/>
            </p:nvSpPr>
            <p:spPr>
              <a:xfrm>
                <a:off x="16957170" y="7429816"/>
                <a:ext cx="270126" cy="261575"/>
              </a:xfrm>
              <a:custGeom>
                <a:avLst/>
                <a:gdLst/>
                <a:ahLst/>
                <a:cxnLst/>
                <a:rect l="0" t="0" r="0" b="0"/>
                <a:pathLst>
                  <a:path w="120000" h="120000" extrusionOk="0">
                    <a:moveTo>
                      <a:pt x="120000" y="11612"/>
                    </a:moveTo>
                    <a:cubicBezTo>
                      <a:pt x="116250" y="7741"/>
                      <a:pt x="112500" y="0"/>
                      <a:pt x="108750" y="3870"/>
                    </a:cubicBezTo>
                    <a:cubicBezTo>
                      <a:pt x="105000" y="3870"/>
                      <a:pt x="105000" y="11612"/>
                      <a:pt x="101250" y="15483"/>
                    </a:cubicBezTo>
                    <a:cubicBezTo>
                      <a:pt x="101250" y="15483"/>
                      <a:pt x="97500" y="11612"/>
                      <a:pt x="93750" y="19354"/>
                    </a:cubicBezTo>
                    <a:cubicBezTo>
                      <a:pt x="90000" y="23225"/>
                      <a:pt x="82500" y="23225"/>
                      <a:pt x="75000" y="23225"/>
                    </a:cubicBezTo>
                    <a:cubicBezTo>
                      <a:pt x="67500" y="27096"/>
                      <a:pt x="82500" y="34838"/>
                      <a:pt x="75000" y="38709"/>
                    </a:cubicBezTo>
                    <a:cubicBezTo>
                      <a:pt x="63750" y="42580"/>
                      <a:pt x="60000" y="34838"/>
                      <a:pt x="48750" y="34838"/>
                    </a:cubicBezTo>
                    <a:cubicBezTo>
                      <a:pt x="45000" y="30967"/>
                      <a:pt x="37500" y="42580"/>
                      <a:pt x="37500" y="46451"/>
                    </a:cubicBezTo>
                    <a:cubicBezTo>
                      <a:pt x="26250" y="58064"/>
                      <a:pt x="3750" y="58064"/>
                      <a:pt x="0" y="73548"/>
                    </a:cubicBezTo>
                    <a:cubicBezTo>
                      <a:pt x="0" y="73548"/>
                      <a:pt x="22500" y="81290"/>
                      <a:pt x="22500" y="81290"/>
                    </a:cubicBezTo>
                    <a:cubicBezTo>
                      <a:pt x="22500" y="85161"/>
                      <a:pt x="18750" y="92903"/>
                      <a:pt x="18750" y="92903"/>
                    </a:cubicBezTo>
                    <a:cubicBezTo>
                      <a:pt x="18750" y="100645"/>
                      <a:pt x="22500" y="96774"/>
                      <a:pt x="22500" y="100645"/>
                    </a:cubicBezTo>
                    <a:cubicBezTo>
                      <a:pt x="22500" y="96774"/>
                      <a:pt x="7500" y="108387"/>
                      <a:pt x="11250" y="112258"/>
                    </a:cubicBezTo>
                    <a:cubicBezTo>
                      <a:pt x="11250" y="112258"/>
                      <a:pt x="18750" y="116129"/>
                      <a:pt x="18750" y="116129"/>
                    </a:cubicBezTo>
                    <a:cubicBezTo>
                      <a:pt x="22500" y="116129"/>
                      <a:pt x="18750" y="116129"/>
                      <a:pt x="18750" y="120000"/>
                    </a:cubicBezTo>
                    <a:cubicBezTo>
                      <a:pt x="18750" y="116129"/>
                      <a:pt x="33750" y="116129"/>
                      <a:pt x="33750" y="120000"/>
                    </a:cubicBezTo>
                    <a:cubicBezTo>
                      <a:pt x="37500" y="120000"/>
                      <a:pt x="41250" y="120000"/>
                      <a:pt x="45000" y="120000"/>
                    </a:cubicBezTo>
                    <a:cubicBezTo>
                      <a:pt x="45000" y="120000"/>
                      <a:pt x="48750" y="112258"/>
                      <a:pt x="52500" y="108387"/>
                    </a:cubicBezTo>
                    <a:cubicBezTo>
                      <a:pt x="63750" y="108387"/>
                      <a:pt x="71250" y="112258"/>
                      <a:pt x="78750" y="104516"/>
                    </a:cubicBezTo>
                    <a:cubicBezTo>
                      <a:pt x="78750" y="96774"/>
                      <a:pt x="60000" y="89032"/>
                      <a:pt x="60000" y="85161"/>
                    </a:cubicBezTo>
                    <a:cubicBezTo>
                      <a:pt x="63750" y="81290"/>
                      <a:pt x="67500" y="77419"/>
                      <a:pt x="75000" y="73548"/>
                    </a:cubicBezTo>
                    <a:cubicBezTo>
                      <a:pt x="82500" y="65806"/>
                      <a:pt x="90000" y="58064"/>
                      <a:pt x="101250" y="54193"/>
                    </a:cubicBezTo>
                    <a:cubicBezTo>
                      <a:pt x="108750" y="46451"/>
                      <a:pt x="97500" y="34838"/>
                      <a:pt x="101250" y="30967"/>
                    </a:cubicBezTo>
                    <a:cubicBezTo>
                      <a:pt x="108750" y="23225"/>
                      <a:pt x="112500" y="15483"/>
                      <a:pt x="120000" y="1161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1" name="Shape 2602">
                <a:extLst>
                  <a:ext uri="{FF2B5EF4-FFF2-40B4-BE49-F238E27FC236}">
                    <a16:creationId xmlns:a16="http://schemas.microsoft.com/office/drawing/2014/main" id="{55A5C51A-9B38-4C9D-99B3-B4AD5BDAA043}"/>
                  </a:ext>
                </a:extLst>
              </p:cNvPr>
              <p:cNvSpPr/>
              <p:nvPr/>
            </p:nvSpPr>
            <p:spPr>
              <a:xfrm>
                <a:off x="11370744" y="6762948"/>
                <a:ext cx="201159" cy="209831"/>
              </a:xfrm>
              <a:custGeom>
                <a:avLst/>
                <a:gdLst/>
                <a:ahLst/>
                <a:cxnLst/>
                <a:rect l="0" t="0" r="0" b="0"/>
                <a:pathLst>
                  <a:path w="120000" h="120000" extrusionOk="0">
                    <a:moveTo>
                      <a:pt x="105000" y="38400"/>
                    </a:moveTo>
                    <a:cubicBezTo>
                      <a:pt x="100000" y="38400"/>
                      <a:pt x="95000" y="24000"/>
                      <a:pt x="90000" y="24000"/>
                    </a:cubicBezTo>
                    <a:cubicBezTo>
                      <a:pt x="80000" y="28800"/>
                      <a:pt x="85000" y="33600"/>
                      <a:pt x="75000" y="28800"/>
                    </a:cubicBezTo>
                    <a:cubicBezTo>
                      <a:pt x="55000" y="24000"/>
                      <a:pt x="75000" y="14400"/>
                      <a:pt x="80000" y="4800"/>
                    </a:cubicBezTo>
                    <a:cubicBezTo>
                      <a:pt x="70000" y="4800"/>
                      <a:pt x="55000" y="0"/>
                      <a:pt x="50000" y="4800"/>
                    </a:cubicBezTo>
                    <a:cubicBezTo>
                      <a:pt x="50000" y="4800"/>
                      <a:pt x="60000" y="4800"/>
                      <a:pt x="50000" y="9600"/>
                    </a:cubicBezTo>
                    <a:cubicBezTo>
                      <a:pt x="50000" y="9600"/>
                      <a:pt x="40000" y="14400"/>
                      <a:pt x="45000" y="14400"/>
                    </a:cubicBezTo>
                    <a:cubicBezTo>
                      <a:pt x="45000" y="19200"/>
                      <a:pt x="55000" y="14400"/>
                      <a:pt x="55000" y="19200"/>
                    </a:cubicBezTo>
                    <a:cubicBezTo>
                      <a:pt x="60000" y="24000"/>
                      <a:pt x="45000" y="24000"/>
                      <a:pt x="45000" y="24000"/>
                    </a:cubicBezTo>
                    <a:cubicBezTo>
                      <a:pt x="35000" y="28800"/>
                      <a:pt x="15000" y="24000"/>
                      <a:pt x="10000" y="28800"/>
                    </a:cubicBezTo>
                    <a:cubicBezTo>
                      <a:pt x="10000" y="28800"/>
                      <a:pt x="15000" y="28800"/>
                      <a:pt x="15000" y="33600"/>
                    </a:cubicBezTo>
                    <a:cubicBezTo>
                      <a:pt x="15000" y="33600"/>
                      <a:pt x="5000" y="33600"/>
                      <a:pt x="10000" y="38400"/>
                    </a:cubicBezTo>
                    <a:cubicBezTo>
                      <a:pt x="10000" y="38400"/>
                      <a:pt x="10000" y="38400"/>
                      <a:pt x="10000" y="38400"/>
                    </a:cubicBezTo>
                    <a:cubicBezTo>
                      <a:pt x="15000" y="38400"/>
                      <a:pt x="5000" y="38400"/>
                      <a:pt x="5000" y="38400"/>
                    </a:cubicBezTo>
                    <a:cubicBezTo>
                      <a:pt x="5000" y="43200"/>
                      <a:pt x="25000" y="43200"/>
                      <a:pt x="15000" y="48000"/>
                    </a:cubicBezTo>
                    <a:cubicBezTo>
                      <a:pt x="0" y="57600"/>
                      <a:pt x="20000" y="62400"/>
                      <a:pt x="30000" y="62400"/>
                    </a:cubicBezTo>
                    <a:cubicBezTo>
                      <a:pt x="35000" y="62400"/>
                      <a:pt x="25000" y="76800"/>
                      <a:pt x="25000" y="81600"/>
                    </a:cubicBezTo>
                    <a:cubicBezTo>
                      <a:pt x="20000" y="81600"/>
                      <a:pt x="10000" y="100800"/>
                      <a:pt x="5000" y="96000"/>
                    </a:cubicBezTo>
                    <a:cubicBezTo>
                      <a:pt x="5000" y="96000"/>
                      <a:pt x="15000" y="96000"/>
                      <a:pt x="15000" y="96000"/>
                    </a:cubicBezTo>
                    <a:cubicBezTo>
                      <a:pt x="10000" y="100800"/>
                      <a:pt x="5000" y="96000"/>
                      <a:pt x="0" y="105600"/>
                    </a:cubicBezTo>
                    <a:cubicBezTo>
                      <a:pt x="0" y="105600"/>
                      <a:pt x="15000" y="100800"/>
                      <a:pt x="15000" y="100800"/>
                    </a:cubicBezTo>
                    <a:cubicBezTo>
                      <a:pt x="15000" y="100800"/>
                      <a:pt x="10000" y="110400"/>
                      <a:pt x="10000" y="115200"/>
                    </a:cubicBezTo>
                    <a:cubicBezTo>
                      <a:pt x="10000" y="115200"/>
                      <a:pt x="20000" y="110400"/>
                      <a:pt x="20000" y="110400"/>
                    </a:cubicBezTo>
                    <a:cubicBezTo>
                      <a:pt x="20000" y="110400"/>
                      <a:pt x="20000" y="115200"/>
                      <a:pt x="20000" y="120000"/>
                    </a:cubicBezTo>
                    <a:cubicBezTo>
                      <a:pt x="25000" y="120000"/>
                      <a:pt x="35000" y="115200"/>
                      <a:pt x="40000" y="115200"/>
                    </a:cubicBezTo>
                    <a:cubicBezTo>
                      <a:pt x="55000" y="110400"/>
                      <a:pt x="70000" y="96000"/>
                      <a:pt x="85000" y="96000"/>
                    </a:cubicBezTo>
                    <a:cubicBezTo>
                      <a:pt x="105000" y="96000"/>
                      <a:pt x="100000" y="91200"/>
                      <a:pt x="110000" y="76800"/>
                    </a:cubicBezTo>
                    <a:cubicBezTo>
                      <a:pt x="120000" y="62400"/>
                      <a:pt x="105000" y="52800"/>
                      <a:pt x="105000" y="38400"/>
                    </a:cubicBezTo>
                    <a:cubicBezTo>
                      <a:pt x="100000" y="38400"/>
                      <a:pt x="105000" y="43200"/>
                      <a:pt x="105000" y="384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2" name="Shape 2603">
                <a:extLst>
                  <a:ext uri="{FF2B5EF4-FFF2-40B4-BE49-F238E27FC236}">
                    <a16:creationId xmlns:a16="http://schemas.microsoft.com/office/drawing/2014/main" id="{1E5606AB-9E6B-4822-ACE1-8AEECD599E14}"/>
                  </a:ext>
                </a:extLst>
              </p:cNvPr>
              <p:cNvSpPr/>
              <p:nvPr/>
            </p:nvSpPr>
            <p:spPr>
              <a:xfrm>
                <a:off x="11471319" y="6754328"/>
                <a:ext cx="135063" cy="83358"/>
              </a:xfrm>
              <a:custGeom>
                <a:avLst/>
                <a:gdLst/>
                <a:ahLst/>
                <a:cxnLst/>
                <a:rect l="0" t="0" r="0" b="0"/>
                <a:pathLst>
                  <a:path w="120000" h="120000" extrusionOk="0">
                    <a:moveTo>
                      <a:pt x="7500" y="72000"/>
                    </a:moveTo>
                    <a:cubicBezTo>
                      <a:pt x="0" y="84000"/>
                      <a:pt x="22500" y="96000"/>
                      <a:pt x="30000" y="96000"/>
                    </a:cubicBezTo>
                    <a:cubicBezTo>
                      <a:pt x="30000" y="96000"/>
                      <a:pt x="37500" y="84000"/>
                      <a:pt x="37500" y="84000"/>
                    </a:cubicBezTo>
                    <a:cubicBezTo>
                      <a:pt x="45000" y="72000"/>
                      <a:pt x="52500" y="84000"/>
                      <a:pt x="60000" y="96000"/>
                    </a:cubicBezTo>
                    <a:cubicBezTo>
                      <a:pt x="75000" y="120000"/>
                      <a:pt x="120000" y="60000"/>
                      <a:pt x="82500" y="48000"/>
                    </a:cubicBezTo>
                    <a:cubicBezTo>
                      <a:pt x="90000" y="48000"/>
                      <a:pt x="82500" y="24000"/>
                      <a:pt x="82500" y="24000"/>
                    </a:cubicBezTo>
                    <a:cubicBezTo>
                      <a:pt x="75000" y="0"/>
                      <a:pt x="67500" y="0"/>
                      <a:pt x="52500" y="12000"/>
                    </a:cubicBezTo>
                    <a:cubicBezTo>
                      <a:pt x="45000" y="12000"/>
                      <a:pt x="30000" y="12000"/>
                      <a:pt x="30000" y="24000"/>
                    </a:cubicBezTo>
                    <a:cubicBezTo>
                      <a:pt x="22500" y="36000"/>
                      <a:pt x="7500" y="48000"/>
                      <a:pt x="7500" y="72000"/>
                    </a:cubicBezTo>
                    <a:cubicBezTo>
                      <a:pt x="7500" y="72000"/>
                      <a:pt x="7500" y="60000"/>
                      <a:pt x="75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3" name="Shape 2604">
                <a:extLst>
                  <a:ext uri="{FF2B5EF4-FFF2-40B4-BE49-F238E27FC236}">
                    <a16:creationId xmlns:a16="http://schemas.microsoft.com/office/drawing/2014/main" id="{A42A64A1-4341-473E-92E0-C896B4A8A823}"/>
                  </a:ext>
                </a:extLst>
              </p:cNvPr>
              <p:cNvSpPr/>
              <p:nvPr/>
            </p:nvSpPr>
            <p:spPr>
              <a:xfrm>
                <a:off x="11422468" y="7386700"/>
                <a:ext cx="528755" cy="388049"/>
              </a:xfrm>
              <a:custGeom>
                <a:avLst/>
                <a:gdLst/>
                <a:ahLst/>
                <a:cxnLst/>
                <a:rect l="0" t="0" r="0" b="0"/>
                <a:pathLst>
                  <a:path w="120000" h="120000" extrusionOk="0">
                    <a:moveTo>
                      <a:pt x="110476" y="20869"/>
                    </a:moveTo>
                    <a:cubicBezTo>
                      <a:pt x="104761" y="20869"/>
                      <a:pt x="102857" y="18260"/>
                      <a:pt x="99047" y="15652"/>
                    </a:cubicBezTo>
                    <a:cubicBezTo>
                      <a:pt x="97142" y="13043"/>
                      <a:pt x="95238" y="15652"/>
                      <a:pt x="93333" y="15652"/>
                    </a:cubicBezTo>
                    <a:cubicBezTo>
                      <a:pt x="91428" y="15652"/>
                      <a:pt x="87619" y="15652"/>
                      <a:pt x="85714" y="15652"/>
                    </a:cubicBezTo>
                    <a:cubicBezTo>
                      <a:pt x="81904" y="13043"/>
                      <a:pt x="78095" y="10434"/>
                      <a:pt x="76190" y="10434"/>
                    </a:cubicBezTo>
                    <a:cubicBezTo>
                      <a:pt x="74285" y="7826"/>
                      <a:pt x="74285" y="7826"/>
                      <a:pt x="72380" y="5217"/>
                    </a:cubicBezTo>
                    <a:cubicBezTo>
                      <a:pt x="70476" y="7826"/>
                      <a:pt x="68571" y="5217"/>
                      <a:pt x="66666" y="5217"/>
                    </a:cubicBezTo>
                    <a:cubicBezTo>
                      <a:pt x="62857" y="2608"/>
                      <a:pt x="60952" y="5217"/>
                      <a:pt x="59047" y="5217"/>
                    </a:cubicBezTo>
                    <a:cubicBezTo>
                      <a:pt x="55238" y="5217"/>
                      <a:pt x="53333" y="5217"/>
                      <a:pt x="51428" y="5217"/>
                    </a:cubicBezTo>
                    <a:cubicBezTo>
                      <a:pt x="45714" y="5217"/>
                      <a:pt x="40000" y="2608"/>
                      <a:pt x="32380" y="2608"/>
                    </a:cubicBezTo>
                    <a:cubicBezTo>
                      <a:pt x="28571" y="2608"/>
                      <a:pt x="20952" y="0"/>
                      <a:pt x="15238" y="0"/>
                    </a:cubicBezTo>
                    <a:cubicBezTo>
                      <a:pt x="13333" y="2608"/>
                      <a:pt x="7619" y="5217"/>
                      <a:pt x="3809" y="7826"/>
                    </a:cubicBezTo>
                    <a:cubicBezTo>
                      <a:pt x="0" y="10434"/>
                      <a:pt x="1904" y="13043"/>
                      <a:pt x="3809" y="15652"/>
                    </a:cubicBezTo>
                    <a:cubicBezTo>
                      <a:pt x="3809" y="20869"/>
                      <a:pt x="3809" y="23478"/>
                      <a:pt x="3809" y="28695"/>
                    </a:cubicBezTo>
                    <a:cubicBezTo>
                      <a:pt x="5714" y="28695"/>
                      <a:pt x="9523" y="26086"/>
                      <a:pt x="9523" y="26086"/>
                    </a:cubicBezTo>
                    <a:cubicBezTo>
                      <a:pt x="11428" y="26086"/>
                      <a:pt x="9523" y="31304"/>
                      <a:pt x="13333" y="31304"/>
                    </a:cubicBezTo>
                    <a:cubicBezTo>
                      <a:pt x="17142" y="31304"/>
                      <a:pt x="19047" y="28695"/>
                      <a:pt x="22857" y="28695"/>
                    </a:cubicBezTo>
                    <a:cubicBezTo>
                      <a:pt x="26666" y="26086"/>
                      <a:pt x="30476" y="33913"/>
                      <a:pt x="26666" y="36521"/>
                    </a:cubicBezTo>
                    <a:cubicBezTo>
                      <a:pt x="22857" y="41739"/>
                      <a:pt x="24761" y="44347"/>
                      <a:pt x="24761" y="52173"/>
                    </a:cubicBezTo>
                    <a:cubicBezTo>
                      <a:pt x="22857" y="54782"/>
                      <a:pt x="24761" y="62608"/>
                      <a:pt x="22857" y="65217"/>
                    </a:cubicBezTo>
                    <a:cubicBezTo>
                      <a:pt x="17142" y="65217"/>
                      <a:pt x="19047" y="67826"/>
                      <a:pt x="22857" y="73043"/>
                    </a:cubicBezTo>
                    <a:cubicBezTo>
                      <a:pt x="24761" y="75652"/>
                      <a:pt x="19047" y="80869"/>
                      <a:pt x="19047" y="86086"/>
                    </a:cubicBezTo>
                    <a:cubicBezTo>
                      <a:pt x="22857" y="91304"/>
                      <a:pt x="19047" y="93913"/>
                      <a:pt x="19047" y="99130"/>
                    </a:cubicBezTo>
                    <a:cubicBezTo>
                      <a:pt x="24761" y="96521"/>
                      <a:pt x="28571" y="109565"/>
                      <a:pt x="32380" y="114782"/>
                    </a:cubicBezTo>
                    <a:cubicBezTo>
                      <a:pt x="32380" y="117391"/>
                      <a:pt x="36190" y="120000"/>
                      <a:pt x="38095" y="117391"/>
                    </a:cubicBezTo>
                    <a:cubicBezTo>
                      <a:pt x="38095" y="117391"/>
                      <a:pt x="40000" y="114782"/>
                      <a:pt x="40000" y="112173"/>
                    </a:cubicBezTo>
                    <a:cubicBezTo>
                      <a:pt x="41904" y="112173"/>
                      <a:pt x="45714" y="109565"/>
                      <a:pt x="45714" y="109565"/>
                    </a:cubicBezTo>
                    <a:cubicBezTo>
                      <a:pt x="53333" y="106956"/>
                      <a:pt x="60952" y="109565"/>
                      <a:pt x="68571" y="106956"/>
                    </a:cubicBezTo>
                    <a:cubicBezTo>
                      <a:pt x="70476" y="104347"/>
                      <a:pt x="70476" y="101739"/>
                      <a:pt x="74285" y="99130"/>
                    </a:cubicBezTo>
                    <a:cubicBezTo>
                      <a:pt x="78095" y="96521"/>
                      <a:pt x="80000" y="93913"/>
                      <a:pt x="81904" y="91304"/>
                    </a:cubicBezTo>
                    <a:cubicBezTo>
                      <a:pt x="83809" y="83478"/>
                      <a:pt x="85714" y="80869"/>
                      <a:pt x="89523" y="78260"/>
                    </a:cubicBezTo>
                    <a:cubicBezTo>
                      <a:pt x="91428" y="75652"/>
                      <a:pt x="87619" y="70434"/>
                      <a:pt x="85714" y="67826"/>
                    </a:cubicBezTo>
                    <a:cubicBezTo>
                      <a:pt x="85714" y="65217"/>
                      <a:pt x="89523" y="57391"/>
                      <a:pt x="91428" y="54782"/>
                    </a:cubicBezTo>
                    <a:cubicBezTo>
                      <a:pt x="91428" y="54782"/>
                      <a:pt x="93333" y="52173"/>
                      <a:pt x="95238" y="49565"/>
                    </a:cubicBezTo>
                    <a:cubicBezTo>
                      <a:pt x="95238" y="49565"/>
                      <a:pt x="95238" y="44347"/>
                      <a:pt x="97142" y="44347"/>
                    </a:cubicBezTo>
                    <a:cubicBezTo>
                      <a:pt x="102857" y="39130"/>
                      <a:pt x="108571" y="36521"/>
                      <a:pt x="114285" y="33913"/>
                    </a:cubicBezTo>
                    <a:cubicBezTo>
                      <a:pt x="116190" y="31304"/>
                      <a:pt x="120000" y="28695"/>
                      <a:pt x="120000" y="23478"/>
                    </a:cubicBezTo>
                    <a:cubicBezTo>
                      <a:pt x="118095" y="18260"/>
                      <a:pt x="114285" y="23478"/>
                      <a:pt x="110476" y="20869"/>
                    </a:cubicBezTo>
                    <a:cubicBezTo>
                      <a:pt x="104761" y="20869"/>
                      <a:pt x="114285" y="23478"/>
                      <a:pt x="110476" y="2086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4" name="Shape 2605">
                <a:extLst>
                  <a:ext uri="{FF2B5EF4-FFF2-40B4-BE49-F238E27FC236}">
                    <a16:creationId xmlns:a16="http://schemas.microsoft.com/office/drawing/2014/main" id="{1A622571-3DD3-4818-9CAF-580748FDD461}"/>
                  </a:ext>
                </a:extLst>
              </p:cNvPr>
              <p:cNvSpPr/>
              <p:nvPr/>
            </p:nvSpPr>
            <p:spPr>
              <a:xfrm>
                <a:off x="11422468" y="7470060"/>
                <a:ext cx="135063" cy="255825"/>
              </a:xfrm>
              <a:custGeom>
                <a:avLst/>
                <a:gdLst/>
                <a:ahLst/>
                <a:cxnLst/>
                <a:rect l="0" t="0" r="0" b="0"/>
                <a:pathLst>
                  <a:path w="120000" h="120000" extrusionOk="0">
                    <a:moveTo>
                      <a:pt x="82500" y="100000"/>
                    </a:moveTo>
                    <a:cubicBezTo>
                      <a:pt x="90000" y="92000"/>
                      <a:pt x="75000" y="88000"/>
                      <a:pt x="82500" y="84000"/>
                    </a:cubicBezTo>
                    <a:cubicBezTo>
                      <a:pt x="90000" y="72000"/>
                      <a:pt x="90000" y="72000"/>
                      <a:pt x="75000" y="64000"/>
                    </a:cubicBezTo>
                    <a:cubicBezTo>
                      <a:pt x="67500" y="56000"/>
                      <a:pt x="82500" y="60000"/>
                      <a:pt x="90000" y="56000"/>
                    </a:cubicBezTo>
                    <a:cubicBezTo>
                      <a:pt x="97500" y="52000"/>
                      <a:pt x="97500" y="40000"/>
                      <a:pt x="97500" y="36000"/>
                    </a:cubicBezTo>
                    <a:cubicBezTo>
                      <a:pt x="97500" y="24000"/>
                      <a:pt x="90000" y="24000"/>
                      <a:pt x="105000" y="16000"/>
                    </a:cubicBezTo>
                    <a:cubicBezTo>
                      <a:pt x="120000" y="12000"/>
                      <a:pt x="105000" y="0"/>
                      <a:pt x="90000" y="4000"/>
                    </a:cubicBezTo>
                    <a:cubicBezTo>
                      <a:pt x="75000" y="4000"/>
                      <a:pt x="67500" y="8000"/>
                      <a:pt x="52500" y="8000"/>
                    </a:cubicBezTo>
                    <a:cubicBezTo>
                      <a:pt x="37500" y="8000"/>
                      <a:pt x="45000" y="0"/>
                      <a:pt x="37500" y="0"/>
                    </a:cubicBezTo>
                    <a:cubicBezTo>
                      <a:pt x="45000" y="0"/>
                      <a:pt x="22500" y="0"/>
                      <a:pt x="30000" y="0"/>
                    </a:cubicBezTo>
                    <a:cubicBezTo>
                      <a:pt x="15000" y="4000"/>
                      <a:pt x="22500" y="8000"/>
                      <a:pt x="22500" y="16000"/>
                    </a:cubicBezTo>
                    <a:cubicBezTo>
                      <a:pt x="22500" y="20000"/>
                      <a:pt x="22500" y="28000"/>
                      <a:pt x="22500" y="32000"/>
                    </a:cubicBezTo>
                    <a:cubicBezTo>
                      <a:pt x="15000" y="40000"/>
                      <a:pt x="15000" y="48000"/>
                      <a:pt x="15000" y="52000"/>
                    </a:cubicBezTo>
                    <a:cubicBezTo>
                      <a:pt x="7500" y="64000"/>
                      <a:pt x="0" y="68000"/>
                      <a:pt x="0" y="80000"/>
                    </a:cubicBezTo>
                    <a:cubicBezTo>
                      <a:pt x="7500" y="84000"/>
                      <a:pt x="15000" y="80000"/>
                      <a:pt x="15000" y="88000"/>
                    </a:cubicBezTo>
                    <a:cubicBezTo>
                      <a:pt x="22500" y="92000"/>
                      <a:pt x="15000" y="104000"/>
                      <a:pt x="15000" y="112000"/>
                    </a:cubicBezTo>
                    <a:cubicBezTo>
                      <a:pt x="15000" y="120000"/>
                      <a:pt x="30000" y="120000"/>
                      <a:pt x="45000" y="120000"/>
                    </a:cubicBezTo>
                    <a:cubicBezTo>
                      <a:pt x="75000" y="120000"/>
                      <a:pt x="67500" y="108000"/>
                      <a:pt x="82500" y="100000"/>
                    </a:cubicBezTo>
                    <a:cubicBezTo>
                      <a:pt x="90000" y="92000"/>
                      <a:pt x="75000" y="104000"/>
                      <a:pt x="82500" y="10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5" name="Shape 2606">
                <a:extLst>
                  <a:ext uri="{FF2B5EF4-FFF2-40B4-BE49-F238E27FC236}">
                    <a16:creationId xmlns:a16="http://schemas.microsoft.com/office/drawing/2014/main" id="{60B35132-E18D-482D-AC84-8681E983EA45}"/>
                  </a:ext>
                </a:extLst>
              </p:cNvPr>
              <p:cNvSpPr/>
              <p:nvPr/>
            </p:nvSpPr>
            <p:spPr>
              <a:xfrm>
                <a:off x="13048968" y="9783970"/>
                <a:ext cx="445421" cy="744478"/>
              </a:xfrm>
              <a:custGeom>
                <a:avLst/>
                <a:gdLst/>
                <a:ahLst/>
                <a:cxnLst/>
                <a:rect l="0" t="0" r="0" b="0"/>
                <a:pathLst>
                  <a:path w="120000" h="120000" extrusionOk="0">
                    <a:moveTo>
                      <a:pt x="117735" y="31363"/>
                    </a:moveTo>
                    <a:cubicBezTo>
                      <a:pt x="110943" y="23181"/>
                      <a:pt x="113207" y="12272"/>
                      <a:pt x="113207" y="4090"/>
                    </a:cubicBezTo>
                    <a:cubicBezTo>
                      <a:pt x="113207" y="0"/>
                      <a:pt x="108679" y="2727"/>
                      <a:pt x="104150" y="4090"/>
                    </a:cubicBezTo>
                    <a:cubicBezTo>
                      <a:pt x="101886" y="5454"/>
                      <a:pt x="97358" y="8181"/>
                      <a:pt x="92830" y="8181"/>
                    </a:cubicBezTo>
                    <a:cubicBezTo>
                      <a:pt x="90566" y="8181"/>
                      <a:pt x="86037" y="6818"/>
                      <a:pt x="86037" y="9545"/>
                    </a:cubicBezTo>
                    <a:cubicBezTo>
                      <a:pt x="81509" y="13636"/>
                      <a:pt x="76981" y="9545"/>
                      <a:pt x="72452" y="9545"/>
                    </a:cubicBezTo>
                    <a:cubicBezTo>
                      <a:pt x="67924" y="9545"/>
                      <a:pt x="67924" y="12272"/>
                      <a:pt x="63396" y="9545"/>
                    </a:cubicBezTo>
                    <a:cubicBezTo>
                      <a:pt x="61132" y="9545"/>
                      <a:pt x="54339" y="9545"/>
                      <a:pt x="52075" y="9545"/>
                    </a:cubicBezTo>
                    <a:cubicBezTo>
                      <a:pt x="45283" y="9545"/>
                      <a:pt x="47547" y="21818"/>
                      <a:pt x="54339" y="24545"/>
                    </a:cubicBezTo>
                    <a:cubicBezTo>
                      <a:pt x="54339" y="24545"/>
                      <a:pt x="54339" y="27272"/>
                      <a:pt x="56603" y="27272"/>
                    </a:cubicBezTo>
                    <a:cubicBezTo>
                      <a:pt x="56603" y="28636"/>
                      <a:pt x="58867" y="28636"/>
                      <a:pt x="61132" y="30000"/>
                    </a:cubicBezTo>
                    <a:cubicBezTo>
                      <a:pt x="61132" y="32727"/>
                      <a:pt x="61132" y="36818"/>
                      <a:pt x="61132" y="38181"/>
                    </a:cubicBezTo>
                    <a:cubicBezTo>
                      <a:pt x="61132" y="40909"/>
                      <a:pt x="63396" y="42272"/>
                      <a:pt x="56603" y="42272"/>
                    </a:cubicBezTo>
                    <a:cubicBezTo>
                      <a:pt x="54339" y="42272"/>
                      <a:pt x="54339" y="46363"/>
                      <a:pt x="54339" y="47727"/>
                    </a:cubicBezTo>
                    <a:cubicBezTo>
                      <a:pt x="52075" y="46363"/>
                      <a:pt x="47547" y="43636"/>
                      <a:pt x="45283" y="42272"/>
                    </a:cubicBezTo>
                    <a:cubicBezTo>
                      <a:pt x="43018" y="39545"/>
                      <a:pt x="47547" y="36818"/>
                      <a:pt x="47547" y="34090"/>
                    </a:cubicBezTo>
                    <a:cubicBezTo>
                      <a:pt x="49811" y="27272"/>
                      <a:pt x="43018" y="32727"/>
                      <a:pt x="36226" y="30000"/>
                    </a:cubicBezTo>
                    <a:cubicBezTo>
                      <a:pt x="33962" y="28636"/>
                      <a:pt x="33962" y="25909"/>
                      <a:pt x="29433" y="27272"/>
                    </a:cubicBezTo>
                    <a:cubicBezTo>
                      <a:pt x="20377" y="30000"/>
                      <a:pt x="13584" y="31363"/>
                      <a:pt x="4528" y="32727"/>
                    </a:cubicBezTo>
                    <a:cubicBezTo>
                      <a:pt x="2264" y="34090"/>
                      <a:pt x="0" y="34090"/>
                      <a:pt x="0" y="35454"/>
                    </a:cubicBezTo>
                    <a:cubicBezTo>
                      <a:pt x="0" y="36818"/>
                      <a:pt x="2264" y="39545"/>
                      <a:pt x="2264" y="40909"/>
                    </a:cubicBezTo>
                    <a:cubicBezTo>
                      <a:pt x="9056" y="40909"/>
                      <a:pt x="27169" y="43636"/>
                      <a:pt x="27169" y="47727"/>
                    </a:cubicBezTo>
                    <a:cubicBezTo>
                      <a:pt x="29433" y="51818"/>
                      <a:pt x="29433" y="55909"/>
                      <a:pt x="29433" y="60000"/>
                    </a:cubicBezTo>
                    <a:cubicBezTo>
                      <a:pt x="27169" y="62727"/>
                      <a:pt x="31698" y="66818"/>
                      <a:pt x="27169" y="70909"/>
                    </a:cubicBezTo>
                    <a:cubicBezTo>
                      <a:pt x="22641" y="75000"/>
                      <a:pt x="18113" y="80454"/>
                      <a:pt x="13584" y="84545"/>
                    </a:cubicBezTo>
                    <a:cubicBezTo>
                      <a:pt x="9056" y="87272"/>
                      <a:pt x="13584" y="92727"/>
                      <a:pt x="13584" y="94090"/>
                    </a:cubicBezTo>
                    <a:cubicBezTo>
                      <a:pt x="18113" y="99545"/>
                      <a:pt x="18113" y="102272"/>
                      <a:pt x="18113" y="106363"/>
                    </a:cubicBezTo>
                    <a:cubicBezTo>
                      <a:pt x="18113" y="110454"/>
                      <a:pt x="18113" y="114545"/>
                      <a:pt x="20377" y="118636"/>
                    </a:cubicBezTo>
                    <a:cubicBezTo>
                      <a:pt x="20377" y="120000"/>
                      <a:pt x="27169" y="118636"/>
                      <a:pt x="27169" y="117272"/>
                    </a:cubicBezTo>
                    <a:cubicBezTo>
                      <a:pt x="29433" y="115909"/>
                      <a:pt x="29433" y="113181"/>
                      <a:pt x="29433" y="113181"/>
                    </a:cubicBezTo>
                    <a:cubicBezTo>
                      <a:pt x="27169" y="113181"/>
                      <a:pt x="24905" y="113181"/>
                      <a:pt x="24905" y="113181"/>
                    </a:cubicBezTo>
                    <a:cubicBezTo>
                      <a:pt x="24905" y="109090"/>
                      <a:pt x="31698" y="106363"/>
                      <a:pt x="36226" y="105000"/>
                    </a:cubicBezTo>
                    <a:cubicBezTo>
                      <a:pt x="43018" y="103636"/>
                      <a:pt x="52075" y="102272"/>
                      <a:pt x="56603" y="98181"/>
                    </a:cubicBezTo>
                    <a:cubicBezTo>
                      <a:pt x="56603" y="96818"/>
                      <a:pt x="56603" y="90000"/>
                      <a:pt x="56603" y="87272"/>
                    </a:cubicBezTo>
                    <a:cubicBezTo>
                      <a:pt x="56603" y="84545"/>
                      <a:pt x="47547" y="65454"/>
                      <a:pt x="47547" y="65454"/>
                    </a:cubicBezTo>
                    <a:cubicBezTo>
                      <a:pt x="49811" y="64090"/>
                      <a:pt x="49811" y="68181"/>
                      <a:pt x="54339" y="65454"/>
                    </a:cubicBezTo>
                    <a:cubicBezTo>
                      <a:pt x="58867" y="62727"/>
                      <a:pt x="61132" y="61363"/>
                      <a:pt x="65660" y="60000"/>
                    </a:cubicBezTo>
                    <a:cubicBezTo>
                      <a:pt x="70188" y="58636"/>
                      <a:pt x="72452" y="50454"/>
                      <a:pt x="79245" y="51818"/>
                    </a:cubicBezTo>
                    <a:cubicBezTo>
                      <a:pt x="81509" y="51818"/>
                      <a:pt x="86037" y="49090"/>
                      <a:pt x="90566" y="49090"/>
                    </a:cubicBezTo>
                    <a:cubicBezTo>
                      <a:pt x="95094" y="47727"/>
                      <a:pt x="99622" y="46363"/>
                      <a:pt x="104150" y="43636"/>
                    </a:cubicBezTo>
                    <a:cubicBezTo>
                      <a:pt x="106415" y="42272"/>
                      <a:pt x="120000" y="34090"/>
                      <a:pt x="117735" y="31363"/>
                    </a:cubicBezTo>
                    <a:cubicBezTo>
                      <a:pt x="115471" y="30000"/>
                      <a:pt x="117735" y="32727"/>
                      <a:pt x="117735" y="3136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6" name="Shape 2607">
                <a:extLst>
                  <a:ext uri="{FF2B5EF4-FFF2-40B4-BE49-F238E27FC236}">
                    <a16:creationId xmlns:a16="http://schemas.microsoft.com/office/drawing/2014/main" id="{F9803176-0B6A-49F4-A919-DE97752DE261}"/>
                  </a:ext>
                </a:extLst>
              </p:cNvPr>
              <p:cNvSpPr/>
              <p:nvPr/>
            </p:nvSpPr>
            <p:spPr>
              <a:xfrm>
                <a:off x="13149547" y="9760974"/>
                <a:ext cx="135063" cy="319063"/>
              </a:xfrm>
              <a:custGeom>
                <a:avLst/>
                <a:gdLst/>
                <a:ahLst/>
                <a:cxnLst/>
                <a:rect l="0" t="0" r="0" b="0"/>
                <a:pathLst>
                  <a:path w="120000" h="120000" extrusionOk="0">
                    <a:moveTo>
                      <a:pt x="30000" y="78947"/>
                    </a:moveTo>
                    <a:cubicBezTo>
                      <a:pt x="45000" y="82105"/>
                      <a:pt x="67500" y="75789"/>
                      <a:pt x="67500" y="82105"/>
                    </a:cubicBezTo>
                    <a:cubicBezTo>
                      <a:pt x="75000" y="88421"/>
                      <a:pt x="67500" y="91578"/>
                      <a:pt x="60000" y="97894"/>
                    </a:cubicBezTo>
                    <a:cubicBezTo>
                      <a:pt x="45000" y="104210"/>
                      <a:pt x="75000" y="113684"/>
                      <a:pt x="90000" y="120000"/>
                    </a:cubicBezTo>
                    <a:cubicBezTo>
                      <a:pt x="97500" y="116842"/>
                      <a:pt x="90000" y="110526"/>
                      <a:pt x="90000" y="107368"/>
                    </a:cubicBezTo>
                    <a:cubicBezTo>
                      <a:pt x="97500" y="104210"/>
                      <a:pt x="120000" y="110526"/>
                      <a:pt x="112500" y="104210"/>
                    </a:cubicBezTo>
                    <a:cubicBezTo>
                      <a:pt x="112500" y="97894"/>
                      <a:pt x="112500" y="91578"/>
                      <a:pt x="112500" y="85263"/>
                    </a:cubicBezTo>
                    <a:cubicBezTo>
                      <a:pt x="105000" y="78947"/>
                      <a:pt x="97500" y="75789"/>
                      <a:pt x="90000" y="69473"/>
                    </a:cubicBezTo>
                    <a:cubicBezTo>
                      <a:pt x="82500" y="78947"/>
                      <a:pt x="60000" y="66315"/>
                      <a:pt x="60000" y="63157"/>
                    </a:cubicBezTo>
                    <a:cubicBezTo>
                      <a:pt x="60000" y="56842"/>
                      <a:pt x="60000" y="53684"/>
                      <a:pt x="60000" y="50526"/>
                    </a:cubicBezTo>
                    <a:cubicBezTo>
                      <a:pt x="60000" y="44210"/>
                      <a:pt x="60000" y="47368"/>
                      <a:pt x="52500" y="44210"/>
                    </a:cubicBezTo>
                    <a:cubicBezTo>
                      <a:pt x="45000" y="44210"/>
                      <a:pt x="60000" y="25263"/>
                      <a:pt x="60000" y="25263"/>
                    </a:cubicBezTo>
                    <a:cubicBezTo>
                      <a:pt x="60000" y="18947"/>
                      <a:pt x="52500" y="15789"/>
                      <a:pt x="52500" y="9473"/>
                    </a:cubicBezTo>
                    <a:cubicBezTo>
                      <a:pt x="45000" y="6315"/>
                      <a:pt x="37500" y="0"/>
                      <a:pt x="52500" y="3157"/>
                    </a:cubicBezTo>
                    <a:cubicBezTo>
                      <a:pt x="45000" y="0"/>
                      <a:pt x="22500" y="0"/>
                      <a:pt x="15000" y="0"/>
                    </a:cubicBezTo>
                    <a:cubicBezTo>
                      <a:pt x="15000" y="3157"/>
                      <a:pt x="45000" y="15789"/>
                      <a:pt x="30000" y="18947"/>
                    </a:cubicBezTo>
                    <a:cubicBezTo>
                      <a:pt x="7500" y="22105"/>
                      <a:pt x="15000" y="37894"/>
                      <a:pt x="30000" y="44210"/>
                    </a:cubicBezTo>
                    <a:cubicBezTo>
                      <a:pt x="30000" y="47368"/>
                      <a:pt x="15000" y="47368"/>
                      <a:pt x="15000" y="50526"/>
                    </a:cubicBezTo>
                    <a:cubicBezTo>
                      <a:pt x="7500" y="50526"/>
                      <a:pt x="7500" y="60000"/>
                      <a:pt x="7500" y="63157"/>
                    </a:cubicBezTo>
                    <a:cubicBezTo>
                      <a:pt x="0" y="69473"/>
                      <a:pt x="22500" y="75789"/>
                      <a:pt x="30000" y="78947"/>
                    </a:cubicBezTo>
                    <a:cubicBezTo>
                      <a:pt x="37500" y="82105"/>
                      <a:pt x="30000" y="75789"/>
                      <a:pt x="30000" y="7894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7" name="Shape 2608">
                <a:extLst>
                  <a:ext uri="{FF2B5EF4-FFF2-40B4-BE49-F238E27FC236}">
                    <a16:creationId xmlns:a16="http://schemas.microsoft.com/office/drawing/2014/main" id="{83FA4CD2-5325-4655-85CB-6A0C4BD9A054}"/>
                  </a:ext>
                </a:extLst>
              </p:cNvPr>
              <p:cNvSpPr/>
              <p:nvPr/>
            </p:nvSpPr>
            <p:spPr>
              <a:xfrm>
                <a:off x="12692631" y="9700612"/>
                <a:ext cx="505765" cy="422541"/>
              </a:xfrm>
              <a:custGeom>
                <a:avLst/>
                <a:gdLst/>
                <a:ahLst/>
                <a:cxnLst/>
                <a:rect l="0" t="0" r="0" b="0"/>
                <a:pathLst>
                  <a:path w="120000" h="120000" extrusionOk="0">
                    <a:moveTo>
                      <a:pt x="112000" y="72000"/>
                    </a:moveTo>
                    <a:cubicBezTo>
                      <a:pt x="108000" y="64800"/>
                      <a:pt x="112000" y="64800"/>
                      <a:pt x="110000" y="57600"/>
                    </a:cubicBezTo>
                    <a:cubicBezTo>
                      <a:pt x="110000" y="55200"/>
                      <a:pt x="112000" y="55200"/>
                      <a:pt x="114000" y="52800"/>
                    </a:cubicBezTo>
                    <a:cubicBezTo>
                      <a:pt x="116000" y="50400"/>
                      <a:pt x="114000" y="48000"/>
                      <a:pt x="114000" y="45600"/>
                    </a:cubicBezTo>
                    <a:cubicBezTo>
                      <a:pt x="112000" y="40800"/>
                      <a:pt x="112000" y="33600"/>
                      <a:pt x="116000" y="31200"/>
                    </a:cubicBezTo>
                    <a:cubicBezTo>
                      <a:pt x="120000" y="28800"/>
                      <a:pt x="114000" y="21600"/>
                      <a:pt x="112000" y="19200"/>
                    </a:cubicBezTo>
                    <a:cubicBezTo>
                      <a:pt x="110000" y="14400"/>
                      <a:pt x="106000" y="12000"/>
                      <a:pt x="102000" y="12000"/>
                    </a:cubicBezTo>
                    <a:cubicBezTo>
                      <a:pt x="100000" y="9600"/>
                      <a:pt x="98000" y="7200"/>
                      <a:pt x="96000" y="7200"/>
                    </a:cubicBezTo>
                    <a:cubicBezTo>
                      <a:pt x="94000" y="4800"/>
                      <a:pt x="92000" y="2400"/>
                      <a:pt x="90000" y="0"/>
                    </a:cubicBezTo>
                    <a:cubicBezTo>
                      <a:pt x="90000" y="0"/>
                      <a:pt x="78000" y="2400"/>
                      <a:pt x="76000" y="2400"/>
                    </a:cubicBezTo>
                    <a:cubicBezTo>
                      <a:pt x="72000" y="2400"/>
                      <a:pt x="72000" y="7200"/>
                      <a:pt x="68000" y="9600"/>
                    </a:cubicBezTo>
                    <a:cubicBezTo>
                      <a:pt x="66000" y="14400"/>
                      <a:pt x="68000" y="21600"/>
                      <a:pt x="70000" y="24000"/>
                    </a:cubicBezTo>
                    <a:cubicBezTo>
                      <a:pt x="70000" y="31200"/>
                      <a:pt x="66000" y="33600"/>
                      <a:pt x="66000" y="40800"/>
                    </a:cubicBezTo>
                    <a:cubicBezTo>
                      <a:pt x="66000" y="43200"/>
                      <a:pt x="70000" y="50400"/>
                      <a:pt x="74000" y="50400"/>
                    </a:cubicBezTo>
                    <a:cubicBezTo>
                      <a:pt x="78000" y="50400"/>
                      <a:pt x="80000" y="48000"/>
                      <a:pt x="80000" y="55200"/>
                    </a:cubicBezTo>
                    <a:cubicBezTo>
                      <a:pt x="80000" y="60000"/>
                      <a:pt x="80000" y="62400"/>
                      <a:pt x="78000" y="62400"/>
                    </a:cubicBezTo>
                    <a:cubicBezTo>
                      <a:pt x="74000" y="64800"/>
                      <a:pt x="72000" y="67200"/>
                      <a:pt x="70000" y="62400"/>
                    </a:cubicBezTo>
                    <a:cubicBezTo>
                      <a:pt x="68000" y="57600"/>
                      <a:pt x="66000" y="52800"/>
                      <a:pt x="62000" y="52800"/>
                    </a:cubicBezTo>
                    <a:cubicBezTo>
                      <a:pt x="58000" y="50400"/>
                      <a:pt x="56000" y="45600"/>
                      <a:pt x="54000" y="40800"/>
                    </a:cubicBezTo>
                    <a:cubicBezTo>
                      <a:pt x="50000" y="50400"/>
                      <a:pt x="46000" y="45600"/>
                      <a:pt x="40000" y="43200"/>
                    </a:cubicBezTo>
                    <a:cubicBezTo>
                      <a:pt x="36000" y="43200"/>
                      <a:pt x="36000" y="38400"/>
                      <a:pt x="32000" y="38400"/>
                    </a:cubicBezTo>
                    <a:cubicBezTo>
                      <a:pt x="32000" y="38400"/>
                      <a:pt x="30000" y="40800"/>
                      <a:pt x="28000" y="38400"/>
                    </a:cubicBezTo>
                    <a:cubicBezTo>
                      <a:pt x="26000" y="38400"/>
                      <a:pt x="26000" y="33600"/>
                      <a:pt x="22000" y="33600"/>
                    </a:cubicBezTo>
                    <a:cubicBezTo>
                      <a:pt x="22000" y="38400"/>
                      <a:pt x="22000" y="43200"/>
                      <a:pt x="22000" y="48000"/>
                    </a:cubicBezTo>
                    <a:cubicBezTo>
                      <a:pt x="22000" y="52800"/>
                      <a:pt x="24000" y="57600"/>
                      <a:pt x="20000" y="57600"/>
                    </a:cubicBezTo>
                    <a:cubicBezTo>
                      <a:pt x="14000" y="57600"/>
                      <a:pt x="8000" y="57600"/>
                      <a:pt x="4000" y="57600"/>
                    </a:cubicBezTo>
                    <a:cubicBezTo>
                      <a:pt x="2000" y="57600"/>
                      <a:pt x="2000" y="67200"/>
                      <a:pt x="2000" y="69600"/>
                    </a:cubicBezTo>
                    <a:cubicBezTo>
                      <a:pt x="2000" y="79200"/>
                      <a:pt x="0" y="96000"/>
                      <a:pt x="6000" y="103200"/>
                    </a:cubicBezTo>
                    <a:cubicBezTo>
                      <a:pt x="8000" y="105600"/>
                      <a:pt x="14000" y="115200"/>
                      <a:pt x="16000" y="115200"/>
                    </a:cubicBezTo>
                    <a:cubicBezTo>
                      <a:pt x="20000" y="112800"/>
                      <a:pt x="38000" y="112800"/>
                      <a:pt x="32000" y="120000"/>
                    </a:cubicBezTo>
                    <a:cubicBezTo>
                      <a:pt x="36000" y="120000"/>
                      <a:pt x="34000" y="120000"/>
                      <a:pt x="36000" y="120000"/>
                    </a:cubicBezTo>
                    <a:cubicBezTo>
                      <a:pt x="40000" y="117600"/>
                      <a:pt x="42000" y="120000"/>
                      <a:pt x="44000" y="120000"/>
                    </a:cubicBezTo>
                    <a:cubicBezTo>
                      <a:pt x="50000" y="120000"/>
                      <a:pt x="54000" y="120000"/>
                      <a:pt x="56000" y="112800"/>
                    </a:cubicBezTo>
                    <a:cubicBezTo>
                      <a:pt x="58000" y="110400"/>
                      <a:pt x="60000" y="108000"/>
                      <a:pt x="62000" y="105600"/>
                    </a:cubicBezTo>
                    <a:cubicBezTo>
                      <a:pt x="64000" y="103200"/>
                      <a:pt x="68000" y="103200"/>
                      <a:pt x="70000" y="98400"/>
                    </a:cubicBezTo>
                    <a:cubicBezTo>
                      <a:pt x="72000" y="96000"/>
                      <a:pt x="72000" y="93600"/>
                      <a:pt x="74000" y="91200"/>
                    </a:cubicBezTo>
                    <a:cubicBezTo>
                      <a:pt x="78000" y="91200"/>
                      <a:pt x="82000" y="91200"/>
                      <a:pt x="86000" y="91200"/>
                    </a:cubicBezTo>
                    <a:cubicBezTo>
                      <a:pt x="84000" y="88800"/>
                      <a:pt x="84000" y="84000"/>
                      <a:pt x="84000" y="84000"/>
                    </a:cubicBezTo>
                    <a:cubicBezTo>
                      <a:pt x="88000" y="81600"/>
                      <a:pt x="90000" y="81600"/>
                      <a:pt x="92000" y="79200"/>
                    </a:cubicBezTo>
                    <a:cubicBezTo>
                      <a:pt x="98000" y="76800"/>
                      <a:pt x="106000" y="74400"/>
                      <a:pt x="112000" y="72000"/>
                    </a:cubicBezTo>
                    <a:cubicBezTo>
                      <a:pt x="110000" y="69600"/>
                      <a:pt x="110000" y="72000"/>
                      <a:pt x="112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8" name="Shape 2609">
                <a:extLst>
                  <a:ext uri="{FF2B5EF4-FFF2-40B4-BE49-F238E27FC236}">
                    <a16:creationId xmlns:a16="http://schemas.microsoft.com/office/drawing/2014/main" id="{BAFB7BD8-F8ED-4B6A-B6A2-6C893FC79FCC}"/>
                  </a:ext>
                </a:extLst>
              </p:cNvPr>
              <p:cNvSpPr/>
              <p:nvPr/>
            </p:nvSpPr>
            <p:spPr>
              <a:xfrm>
                <a:off x="12307561" y="10080037"/>
                <a:ext cx="537377" cy="531771"/>
              </a:xfrm>
              <a:custGeom>
                <a:avLst/>
                <a:gdLst/>
                <a:ahLst/>
                <a:cxnLst/>
                <a:rect l="0" t="0" r="0" b="0"/>
                <a:pathLst>
                  <a:path w="120000" h="120000" extrusionOk="0">
                    <a:moveTo>
                      <a:pt x="61875" y="9523"/>
                    </a:moveTo>
                    <a:cubicBezTo>
                      <a:pt x="60000" y="9523"/>
                      <a:pt x="58125" y="3809"/>
                      <a:pt x="58125" y="3809"/>
                    </a:cubicBezTo>
                    <a:cubicBezTo>
                      <a:pt x="56250" y="3809"/>
                      <a:pt x="54375" y="3809"/>
                      <a:pt x="52500" y="3809"/>
                    </a:cubicBezTo>
                    <a:cubicBezTo>
                      <a:pt x="46875" y="3809"/>
                      <a:pt x="39375" y="3809"/>
                      <a:pt x="33750" y="3809"/>
                    </a:cubicBezTo>
                    <a:cubicBezTo>
                      <a:pt x="28125" y="3809"/>
                      <a:pt x="24375" y="3809"/>
                      <a:pt x="18750" y="3809"/>
                    </a:cubicBezTo>
                    <a:cubicBezTo>
                      <a:pt x="16875" y="3809"/>
                      <a:pt x="16875" y="0"/>
                      <a:pt x="13125" y="0"/>
                    </a:cubicBezTo>
                    <a:cubicBezTo>
                      <a:pt x="11250" y="0"/>
                      <a:pt x="9375" y="3809"/>
                      <a:pt x="7500" y="3809"/>
                    </a:cubicBezTo>
                    <a:cubicBezTo>
                      <a:pt x="5625" y="3809"/>
                      <a:pt x="3750" y="3809"/>
                      <a:pt x="1875" y="3809"/>
                    </a:cubicBezTo>
                    <a:cubicBezTo>
                      <a:pt x="0" y="13333"/>
                      <a:pt x="7500" y="17142"/>
                      <a:pt x="11250" y="26666"/>
                    </a:cubicBezTo>
                    <a:cubicBezTo>
                      <a:pt x="13125" y="30476"/>
                      <a:pt x="15000" y="36190"/>
                      <a:pt x="16875" y="40000"/>
                    </a:cubicBezTo>
                    <a:cubicBezTo>
                      <a:pt x="18750" y="45714"/>
                      <a:pt x="22500" y="49523"/>
                      <a:pt x="24375" y="55238"/>
                    </a:cubicBezTo>
                    <a:cubicBezTo>
                      <a:pt x="24375" y="57142"/>
                      <a:pt x="24375" y="62857"/>
                      <a:pt x="24375" y="64761"/>
                    </a:cubicBezTo>
                    <a:cubicBezTo>
                      <a:pt x="24375" y="70476"/>
                      <a:pt x="26250" y="74285"/>
                      <a:pt x="26250" y="80000"/>
                    </a:cubicBezTo>
                    <a:cubicBezTo>
                      <a:pt x="28125" y="85714"/>
                      <a:pt x="28125" y="91428"/>
                      <a:pt x="30000" y="97142"/>
                    </a:cubicBezTo>
                    <a:cubicBezTo>
                      <a:pt x="31875" y="104761"/>
                      <a:pt x="37500" y="110476"/>
                      <a:pt x="41250" y="116190"/>
                    </a:cubicBezTo>
                    <a:cubicBezTo>
                      <a:pt x="46875" y="110476"/>
                      <a:pt x="46875" y="114285"/>
                      <a:pt x="52500" y="118095"/>
                    </a:cubicBezTo>
                    <a:cubicBezTo>
                      <a:pt x="54375" y="120000"/>
                      <a:pt x="60000" y="120000"/>
                      <a:pt x="61875" y="118095"/>
                    </a:cubicBezTo>
                    <a:cubicBezTo>
                      <a:pt x="67500" y="118095"/>
                      <a:pt x="71250" y="116190"/>
                      <a:pt x="71250" y="110476"/>
                    </a:cubicBezTo>
                    <a:cubicBezTo>
                      <a:pt x="71250" y="99047"/>
                      <a:pt x="71250" y="87619"/>
                      <a:pt x="71250" y="76190"/>
                    </a:cubicBezTo>
                    <a:cubicBezTo>
                      <a:pt x="71250" y="68571"/>
                      <a:pt x="71250" y="60952"/>
                      <a:pt x="71250" y="53333"/>
                    </a:cubicBezTo>
                    <a:cubicBezTo>
                      <a:pt x="71250" y="51428"/>
                      <a:pt x="71250" y="49523"/>
                      <a:pt x="73125" y="49523"/>
                    </a:cubicBezTo>
                    <a:cubicBezTo>
                      <a:pt x="73125" y="49523"/>
                      <a:pt x="80625" y="49523"/>
                      <a:pt x="80625" y="49523"/>
                    </a:cubicBezTo>
                    <a:cubicBezTo>
                      <a:pt x="80625" y="38095"/>
                      <a:pt x="80625" y="24761"/>
                      <a:pt x="80625" y="13333"/>
                    </a:cubicBezTo>
                    <a:cubicBezTo>
                      <a:pt x="86250" y="15238"/>
                      <a:pt x="90000" y="11428"/>
                      <a:pt x="95625" y="11428"/>
                    </a:cubicBezTo>
                    <a:cubicBezTo>
                      <a:pt x="95625" y="9523"/>
                      <a:pt x="97500" y="9523"/>
                      <a:pt x="99375" y="9523"/>
                    </a:cubicBezTo>
                    <a:cubicBezTo>
                      <a:pt x="99375" y="9523"/>
                      <a:pt x="103125" y="15238"/>
                      <a:pt x="105000" y="15238"/>
                    </a:cubicBezTo>
                    <a:cubicBezTo>
                      <a:pt x="106875" y="13333"/>
                      <a:pt x="105000" y="11428"/>
                      <a:pt x="108750" y="11428"/>
                    </a:cubicBezTo>
                    <a:cubicBezTo>
                      <a:pt x="110625" y="11428"/>
                      <a:pt x="112500" y="9523"/>
                      <a:pt x="116250" y="9523"/>
                    </a:cubicBezTo>
                    <a:cubicBezTo>
                      <a:pt x="120000" y="7619"/>
                      <a:pt x="112500" y="3809"/>
                      <a:pt x="110625" y="3809"/>
                    </a:cubicBezTo>
                    <a:cubicBezTo>
                      <a:pt x="101250" y="3809"/>
                      <a:pt x="93750" y="9523"/>
                      <a:pt x="84375" y="9523"/>
                    </a:cubicBezTo>
                    <a:cubicBezTo>
                      <a:pt x="76875" y="9523"/>
                      <a:pt x="69375" y="9523"/>
                      <a:pt x="61875" y="952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59" name="Shape 2610">
                <a:extLst>
                  <a:ext uri="{FF2B5EF4-FFF2-40B4-BE49-F238E27FC236}">
                    <a16:creationId xmlns:a16="http://schemas.microsoft.com/office/drawing/2014/main" id="{AFC3D0E0-7BE5-410A-A504-B48D833E0977}"/>
                  </a:ext>
                </a:extLst>
              </p:cNvPr>
              <p:cNvSpPr/>
              <p:nvPr/>
            </p:nvSpPr>
            <p:spPr>
              <a:xfrm>
                <a:off x="12321929" y="9125728"/>
                <a:ext cx="767272" cy="801966"/>
              </a:xfrm>
              <a:custGeom>
                <a:avLst/>
                <a:gdLst/>
                <a:ahLst/>
                <a:cxnLst/>
                <a:rect l="0" t="0" r="0" b="0"/>
                <a:pathLst>
                  <a:path w="120000" h="120000" extrusionOk="0">
                    <a:moveTo>
                      <a:pt x="118681" y="18947"/>
                    </a:moveTo>
                    <a:cubicBezTo>
                      <a:pt x="117362" y="17684"/>
                      <a:pt x="117362" y="15157"/>
                      <a:pt x="117362" y="12631"/>
                    </a:cubicBezTo>
                    <a:cubicBezTo>
                      <a:pt x="117362" y="11368"/>
                      <a:pt x="114725" y="10105"/>
                      <a:pt x="113406" y="8842"/>
                    </a:cubicBezTo>
                    <a:cubicBezTo>
                      <a:pt x="113406" y="7578"/>
                      <a:pt x="110769" y="5052"/>
                      <a:pt x="109450" y="5052"/>
                    </a:cubicBezTo>
                    <a:cubicBezTo>
                      <a:pt x="108131" y="5052"/>
                      <a:pt x="108131" y="7578"/>
                      <a:pt x="105494" y="6315"/>
                    </a:cubicBezTo>
                    <a:cubicBezTo>
                      <a:pt x="102857" y="5052"/>
                      <a:pt x="104175" y="6315"/>
                      <a:pt x="101538" y="7578"/>
                    </a:cubicBezTo>
                    <a:cubicBezTo>
                      <a:pt x="101538" y="7578"/>
                      <a:pt x="98901" y="6315"/>
                      <a:pt x="98901" y="5052"/>
                    </a:cubicBezTo>
                    <a:cubicBezTo>
                      <a:pt x="97582" y="3789"/>
                      <a:pt x="96263" y="2526"/>
                      <a:pt x="94945" y="1263"/>
                    </a:cubicBezTo>
                    <a:cubicBezTo>
                      <a:pt x="93626" y="0"/>
                      <a:pt x="92307" y="2526"/>
                      <a:pt x="90989" y="2526"/>
                    </a:cubicBezTo>
                    <a:cubicBezTo>
                      <a:pt x="89670" y="3789"/>
                      <a:pt x="87032" y="2526"/>
                      <a:pt x="85714" y="1263"/>
                    </a:cubicBezTo>
                    <a:cubicBezTo>
                      <a:pt x="83076" y="0"/>
                      <a:pt x="83076" y="1263"/>
                      <a:pt x="80439" y="2526"/>
                    </a:cubicBezTo>
                    <a:cubicBezTo>
                      <a:pt x="79120" y="3789"/>
                      <a:pt x="76483" y="2526"/>
                      <a:pt x="75164" y="2526"/>
                    </a:cubicBezTo>
                    <a:cubicBezTo>
                      <a:pt x="73846" y="3789"/>
                      <a:pt x="69890" y="3789"/>
                      <a:pt x="68571" y="3789"/>
                    </a:cubicBezTo>
                    <a:cubicBezTo>
                      <a:pt x="64615" y="1263"/>
                      <a:pt x="67252" y="7578"/>
                      <a:pt x="63296" y="7578"/>
                    </a:cubicBezTo>
                    <a:cubicBezTo>
                      <a:pt x="60659" y="8842"/>
                      <a:pt x="55384" y="7578"/>
                      <a:pt x="52747" y="6315"/>
                    </a:cubicBezTo>
                    <a:cubicBezTo>
                      <a:pt x="50109" y="5052"/>
                      <a:pt x="48791" y="2526"/>
                      <a:pt x="46153" y="2526"/>
                    </a:cubicBezTo>
                    <a:cubicBezTo>
                      <a:pt x="44835" y="1263"/>
                      <a:pt x="42197" y="3789"/>
                      <a:pt x="40879" y="5052"/>
                    </a:cubicBezTo>
                    <a:cubicBezTo>
                      <a:pt x="38241" y="7578"/>
                      <a:pt x="40879" y="11368"/>
                      <a:pt x="39560" y="15157"/>
                    </a:cubicBezTo>
                    <a:cubicBezTo>
                      <a:pt x="35604" y="21473"/>
                      <a:pt x="35604" y="29052"/>
                      <a:pt x="31648" y="34105"/>
                    </a:cubicBezTo>
                    <a:cubicBezTo>
                      <a:pt x="29010" y="37894"/>
                      <a:pt x="27692" y="40421"/>
                      <a:pt x="25054" y="44210"/>
                    </a:cubicBezTo>
                    <a:cubicBezTo>
                      <a:pt x="23736" y="46736"/>
                      <a:pt x="23736" y="49263"/>
                      <a:pt x="23736" y="51789"/>
                    </a:cubicBezTo>
                    <a:cubicBezTo>
                      <a:pt x="23736" y="55578"/>
                      <a:pt x="25054" y="58105"/>
                      <a:pt x="22417" y="60631"/>
                    </a:cubicBezTo>
                    <a:cubicBezTo>
                      <a:pt x="21098" y="60631"/>
                      <a:pt x="14505" y="64421"/>
                      <a:pt x="14505" y="64421"/>
                    </a:cubicBezTo>
                    <a:cubicBezTo>
                      <a:pt x="13186" y="64421"/>
                      <a:pt x="15824" y="60631"/>
                      <a:pt x="13186" y="61894"/>
                    </a:cubicBezTo>
                    <a:cubicBezTo>
                      <a:pt x="9230" y="64421"/>
                      <a:pt x="9230" y="66947"/>
                      <a:pt x="6593" y="63157"/>
                    </a:cubicBezTo>
                    <a:cubicBezTo>
                      <a:pt x="5274" y="64421"/>
                      <a:pt x="2637" y="66947"/>
                      <a:pt x="2637" y="69473"/>
                    </a:cubicBezTo>
                    <a:cubicBezTo>
                      <a:pt x="2637" y="69473"/>
                      <a:pt x="2637" y="70736"/>
                      <a:pt x="1318" y="70736"/>
                    </a:cubicBezTo>
                    <a:cubicBezTo>
                      <a:pt x="0" y="72000"/>
                      <a:pt x="1318" y="73263"/>
                      <a:pt x="1318" y="74526"/>
                    </a:cubicBezTo>
                    <a:cubicBezTo>
                      <a:pt x="6593" y="70736"/>
                      <a:pt x="10549" y="72000"/>
                      <a:pt x="17142" y="72000"/>
                    </a:cubicBezTo>
                    <a:cubicBezTo>
                      <a:pt x="19780" y="72000"/>
                      <a:pt x="21098" y="72000"/>
                      <a:pt x="23736" y="72000"/>
                    </a:cubicBezTo>
                    <a:cubicBezTo>
                      <a:pt x="26373" y="72000"/>
                      <a:pt x="27692" y="75789"/>
                      <a:pt x="29010" y="78315"/>
                    </a:cubicBezTo>
                    <a:cubicBezTo>
                      <a:pt x="30329" y="80842"/>
                      <a:pt x="31648" y="84631"/>
                      <a:pt x="34285" y="85894"/>
                    </a:cubicBezTo>
                    <a:cubicBezTo>
                      <a:pt x="35604" y="87157"/>
                      <a:pt x="40879" y="85894"/>
                      <a:pt x="43516" y="84631"/>
                    </a:cubicBezTo>
                    <a:cubicBezTo>
                      <a:pt x="44835" y="84631"/>
                      <a:pt x="44835" y="80842"/>
                      <a:pt x="46153" y="79578"/>
                    </a:cubicBezTo>
                    <a:cubicBezTo>
                      <a:pt x="46153" y="77052"/>
                      <a:pt x="50109" y="78315"/>
                      <a:pt x="51428" y="78315"/>
                    </a:cubicBezTo>
                    <a:cubicBezTo>
                      <a:pt x="51428" y="80842"/>
                      <a:pt x="51428" y="80842"/>
                      <a:pt x="54065" y="80842"/>
                    </a:cubicBezTo>
                    <a:cubicBezTo>
                      <a:pt x="55384" y="80842"/>
                      <a:pt x="59340" y="79578"/>
                      <a:pt x="59340" y="82105"/>
                    </a:cubicBezTo>
                    <a:cubicBezTo>
                      <a:pt x="59340" y="84631"/>
                      <a:pt x="60659" y="85894"/>
                      <a:pt x="60659" y="88421"/>
                    </a:cubicBezTo>
                    <a:cubicBezTo>
                      <a:pt x="60659" y="89684"/>
                      <a:pt x="60659" y="90947"/>
                      <a:pt x="59340" y="93473"/>
                    </a:cubicBezTo>
                    <a:cubicBezTo>
                      <a:pt x="59340" y="94736"/>
                      <a:pt x="60659" y="97263"/>
                      <a:pt x="61978" y="98526"/>
                    </a:cubicBezTo>
                    <a:cubicBezTo>
                      <a:pt x="63296" y="99789"/>
                      <a:pt x="61978" y="102315"/>
                      <a:pt x="61978" y="103578"/>
                    </a:cubicBezTo>
                    <a:cubicBezTo>
                      <a:pt x="61978" y="107368"/>
                      <a:pt x="68571" y="103578"/>
                      <a:pt x="69890" y="103578"/>
                    </a:cubicBezTo>
                    <a:cubicBezTo>
                      <a:pt x="72527" y="103578"/>
                      <a:pt x="73846" y="103578"/>
                      <a:pt x="75164" y="104842"/>
                    </a:cubicBezTo>
                    <a:cubicBezTo>
                      <a:pt x="77802" y="107368"/>
                      <a:pt x="76483" y="106105"/>
                      <a:pt x="79120" y="106105"/>
                    </a:cubicBezTo>
                    <a:cubicBezTo>
                      <a:pt x="81758" y="106105"/>
                      <a:pt x="81758" y="107368"/>
                      <a:pt x="83076" y="108631"/>
                    </a:cubicBezTo>
                    <a:cubicBezTo>
                      <a:pt x="84395" y="108631"/>
                      <a:pt x="85714" y="109894"/>
                      <a:pt x="87032" y="109894"/>
                    </a:cubicBezTo>
                    <a:cubicBezTo>
                      <a:pt x="90989" y="111157"/>
                      <a:pt x="92307" y="111157"/>
                      <a:pt x="93626" y="107368"/>
                    </a:cubicBezTo>
                    <a:cubicBezTo>
                      <a:pt x="94945" y="111157"/>
                      <a:pt x="96263" y="112421"/>
                      <a:pt x="100219" y="113684"/>
                    </a:cubicBezTo>
                    <a:cubicBezTo>
                      <a:pt x="102857" y="114947"/>
                      <a:pt x="102857" y="118736"/>
                      <a:pt x="105494" y="120000"/>
                    </a:cubicBezTo>
                    <a:cubicBezTo>
                      <a:pt x="105494" y="120000"/>
                      <a:pt x="110769" y="118736"/>
                      <a:pt x="110769" y="118736"/>
                    </a:cubicBezTo>
                    <a:cubicBezTo>
                      <a:pt x="110769" y="116210"/>
                      <a:pt x="112087" y="111157"/>
                      <a:pt x="109450" y="112421"/>
                    </a:cubicBezTo>
                    <a:cubicBezTo>
                      <a:pt x="105494" y="113684"/>
                      <a:pt x="102857" y="111157"/>
                      <a:pt x="101538" y="107368"/>
                    </a:cubicBezTo>
                    <a:cubicBezTo>
                      <a:pt x="101538" y="104842"/>
                      <a:pt x="104175" y="101052"/>
                      <a:pt x="102857" y="97263"/>
                    </a:cubicBezTo>
                    <a:cubicBezTo>
                      <a:pt x="102857" y="96000"/>
                      <a:pt x="101538" y="93473"/>
                      <a:pt x="102857" y="92210"/>
                    </a:cubicBezTo>
                    <a:cubicBezTo>
                      <a:pt x="102857" y="92210"/>
                      <a:pt x="102857" y="90947"/>
                      <a:pt x="104175" y="90947"/>
                    </a:cubicBezTo>
                    <a:cubicBezTo>
                      <a:pt x="105494" y="90947"/>
                      <a:pt x="104175" y="88421"/>
                      <a:pt x="105494" y="88421"/>
                    </a:cubicBezTo>
                    <a:cubicBezTo>
                      <a:pt x="106813" y="85894"/>
                      <a:pt x="113406" y="85894"/>
                      <a:pt x="114725" y="85894"/>
                    </a:cubicBezTo>
                    <a:cubicBezTo>
                      <a:pt x="112087" y="84631"/>
                      <a:pt x="113406" y="80842"/>
                      <a:pt x="110769" y="79578"/>
                    </a:cubicBezTo>
                    <a:cubicBezTo>
                      <a:pt x="109450" y="78315"/>
                      <a:pt x="108131" y="77052"/>
                      <a:pt x="108131" y="75789"/>
                    </a:cubicBezTo>
                    <a:cubicBezTo>
                      <a:pt x="108131" y="73263"/>
                      <a:pt x="108131" y="70736"/>
                      <a:pt x="106813" y="69473"/>
                    </a:cubicBezTo>
                    <a:cubicBezTo>
                      <a:pt x="106813" y="66947"/>
                      <a:pt x="105494" y="65684"/>
                      <a:pt x="105494" y="63157"/>
                    </a:cubicBezTo>
                    <a:cubicBezTo>
                      <a:pt x="105494" y="61894"/>
                      <a:pt x="105494" y="55578"/>
                      <a:pt x="106813" y="56842"/>
                    </a:cubicBezTo>
                    <a:cubicBezTo>
                      <a:pt x="105494" y="51789"/>
                      <a:pt x="105494" y="49263"/>
                      <a:pt x="108131" y="44210"/>
                    </a:cubicBezTo>
                    <a:cubicBezTo>
                      <a:pt x="109450" y="40421"/>
                      <a:pt x="109450" y="39157"/>
                      <a:pt x="109450" y="35368"/>
                    </a:cubicBezTo>
                    <a:cubicBezTo>
                      <a:pt x="109450" y="31578"/>
                      <a:pt x="112087" y="29052"/>
                      <a:pt x="114725" y="26526"/>
                    </a:cubicBezTo>
                    <a:cubicBezTo>
                      <a:pt x="116043" y="25263"/>
                      <a:pt x="117362" y="24000"/>
                      <a:pt x="118681" y="22736"/>
                    </a:cubicBezTo>
                    <a:cubicBezTo>
                      <a:pt x="120000" y="21473"/>
                      <a:pt x="120000" y="21473"/>
                      <a:pt x="118681" y="18947"/>
                    </a:cubicBezTo>
                    <a:cubicBezTo>
                      <a:pt x="117362" y="18947"/>
                      <a:pt x="120000" y="20210"/>
                      <a:pt x="118681" y="18947"/>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0" name="Shape 2611">
                <a:extLst>
                  <a:ext uri="{FF2B5EF4-FFF2-40B4-BE49-F238E27FC236}">
                    <a16:creationId xmlns:a16="http://schemas.microsoft.com/office/drawing/2014/main" id="{80875B43-836B-41B4-937B-F382944DA320}"/>
                  </a:ext>
                </a:extLst>
              </p:cNvPr>
              <p:cNvSpPr/>
              <p:nvPr/>
            </p:nvSpPr>
            <p:spPr>
              <a:xfrm>
                <a:off x="12313307" y="9600009"/>
                <a:ext cx="474157" cy="531771"/>
              </a:xfrm>
              <a:custGeom>
                <a:avLst/>
                <a:gdLst/>
                <a:ahLst/>
                <a:cxnLst/>
                <a:rect l="0" t="0" r="0" b="0"/>
                <a:pathLst>
                  <a:path w="120000" h="120000" extrusionOk="0">
                    <a:moveTo>
                      <a:pt x="109285" y="51428"/>
                    </a:moveTo>
                    <a:cubicBezTo>
                      <a:pt x="104999" y="51428"/>
                      <a:pt x="102857" y="53333"/>
                      <a:pt x="102857" y="49523"/>
                    </a:cubicBezTo>
                    <a:cubicBezTo>
                      <a:pt x="102857" y="45714"/>
                      <a:pt x="102857" y="43809"/>
                      <a:pt x="100714" y="40000"/>
                    </a:cubicBezTo>
                    <a:cubicBezTo>
                      <a:pt x="96428" y="34285"/>
                      <a:pt x="102857" y="28571"/>
                      <a:pt x="98571" y="22857"/>
                    </a:cubicBezTo>
                    <a:cubicBezTo>
                      <a:pt x="98571" y="20952"/>
                      <a:pt x="98571" y="15238"/>
                      <a:pt x="98571" y="15238"/>
                    </a:cubicBezTo>
                    <a:cubicBezTo>
                      <a:pt x="98571" y="15238"/>
                      <a:pt x="92142" y="15238"/>
                      <a:pt x="92142" y="15238"/>
                    </a:cubicBezTo>
                    <a:cubicBezTo>
                      <a:pt x="85714" y="15238"/>
                      <a:pt x="85714" y="17142"/>
                      <a:pt x="85714" y="11428"/>
                    </a:cubicBezTo>
                    <a:cubicBezTo>
                      <a:pt x="79285" y="11428"/>
                      <a:pt x="77142" y="9523"/>
                      <a:pt x="75000" y="15238"/>
                    </a:cubicBezTo>
                    <a:cubicBezTo>
                      <a:pt x="75000" y="15238"/>
                      <a:pt x="75000" y="20952"/>
                      <a:pt x="72857" y="20952"/>
                    </a:cubicBezTo>
                    <a:cubicBezTo>
                      <a:pt x="70714" y="22857"/>
                      <a:pt x="66428" y="22857"/>
                      <a:pt x="62142" y="22857"/>
                    </a:cubicBezTo>
                    <a:cubicBezTo>
                      <a:pt x="47142" y="24761"/>
                      <a:pt x="51428" y="1904"/>
                      <a:pt x="38571" y="1904"/>
                    </a:cubicBezTo>
                    <a:cubicBezTo>
                      <a:pt x="27857" y="1904"/>
                      <a:pt x="14999" y="0"/>
                      <a:pt x="6428" y="3809"/>
                    </a:cubicBezTo>
                    <a:cubicBezTo>
                      <a:pt x="2142" y="7619"/>
                      <a:pt x="12857" y="19047"/>
                      <a:pt x="12857" y="22857"/>
                    </a:cubicBezTo>
                    <a:cubicBezTo>
                      <a:pt x="14999" y="24761"/>
                      <a:pt x="14999" y="28571"/>
                      <a:pt x="12857" y="30476"/>
                    </a:cubicBezTo>
                    <a:cubicBezTo>
                      <a:pt x="8571" y="32380"/>
                      <a:pt x="12857" y="36190"/>
                      <a:pt x="12857" y="38095"/>
                    </a:cubicBezTo>
                    <a:cubicBezTo>
                      <a:pt x="19285" y="45714"/>
                      <a:pt x="23571" y="55238"/>
                      <a:pt x="17142" y="62857"/>
                    </a:cubicBezTo>
                    <a:cubicBezTo>
                      <a:pt x="12857" y="68571"/>
                      <a:pt x="8571" y="72380"/>
                      <a:pt x="6428" y="78095"/>
                    </a:cubicBezTo>
                    <a:cubicBezTo>
                      <a:pt x="4285" y="83809"/>
                      <a:pt x="2142" y="89523"/>
                      <a:pt x="0" y="95238"/>
                    </a:cubicBezTo>
                    <a:cubicBezTo>
                      <a:pt x="0" y="99047"/>
                      <a:pt x="0" y="102857"/>
                      <a:pt x="0" y="104761"/>
                    </a:cubicBezTo>
                    <a:cubicBezTo>
                      <a:pt x="0" y="106666"/>
                      <a:pt x="0" y="110476"/>
                      <a:pt x="0" y="112380"/>
                    </a:cubicBezTo>
                    <a:cubicBezTo>
                      <a:pt x="2142" y="112380"/>
                      <a:pt x="4285" y="112380"/>
                      <a:pt x="6428" y="112380"/>
                    </a:cubicBezTo>
                    <a:cubicBezTo>
                      <a:pt x="10714" y="112380"/>
                      <a:pt x="10714" y="106666"/>
                      <a:pt x="17142" y="110476"/>
                    </a:cubicBezTo>
                    <a:cubicBezTo>
                      <a:pt x="17142" y="110476"/>
                      <a:pt x="19285" y="112380"/>
                      <a:pt x="19285" y="112380"/>
                    </a:cubicBezTo>
                    <a:cubicBezTo>
                      <a:pt x="25714" y="112380"/>
                      <a:pt x="29999" y="112380"/>
                      <a:pt x="34285" y="112380"/>
                    </a:cubicBezTo>
                    <a:cubicBezTo>
                      <a:pt x="40714" y="112380"/>
                      <a:pt x="47142" y="112380"/>
                      <a:pt x="53571" y="112380"/>
                    </a:cubicBezTo>
                    <a:cubicBezTo>
                      <a:pt x="55714" y="112380"/>
                      <a:pt x="62142" y="112380"/>
                      <a:pt x="64285" y="112380"/>
                    </a:cubicBezTo>
                    <a:cubicBezTo>
                      <a:pt x="68571" y="120000"/>
                      <a:pt x="77142" y="118095"/>
                      <a:pt x="83571" y="118095"/>
                    </a:cubicBezTo>
                    <a:cubicBezTo>
                      <a:pt x="94285" y="118095"/>
                      <a:pt x="102857" y="116190"/>
                      <a:pt x="113571" y="114285"/>
                    </a:cubicBezTo>
                    <a:cubicBezTo>
                      <a:pt x="107142" y="108571"/>
                      <a:pt x="98571" y="104761"/>
                      <a:pt x="98571" y="97142"/>
                    </a:cubicBezTo>
                    <a:cubicBezTo>
                      <a:pt x="98571" y="87619"/>
                      <a:pt x="98571" y="78095"/>
                      <a:pt x="98571" y="70476"/>
                    </a:cubicBezTo>
                    <a:cubicBezTo>
                      <a:pt x="98571" y="68571"/>
                      <a:pt x="119999" y="72380"/>
                      <a:pt x="119999" y="66666"/>
                    </a:cubicBezTo>
                    <a:cubicBezTo>
                      <a:pt x="119999" y="62857"/>
                      <a:pt x="119999" y="57142"/>
                      <a:pt x="119999" y="51428"/>
                    </a:cubicBezTo>
                    <a:cubicBezTo>
                      <a:pt x="119999" y="45714"/>
                      <a:pt x="113571" y="51428"/>
                      <a:pt x="109285" y="5142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1" name="Shape 2612">
                <a:extLst>
                  <a:ext uri="{FF2B5EF4-FFF2-40B4-BE49-F238E27FC236}">
                    <a16:creationId xmlns:a16="http://schemas.microsoft.com/office/drawing/2014/main" id="{4F062B39-7381-47A7-8F20-C2521599E8CC}"/>
                  </a:ext>
                </a:extLst>
              </p:cNvPr>
              <p:cNvSpPr/>
              <p:nvPr/>
            </p:nvSpPr>
            <p:spPr>
              <a:xfrm>
                <a:off x="12617917" y="10105908"/>
                <a:ext cx="387947" cy="405294"/>
              </a:xfrm>
              <a:custGeom>
                <a:avLst/>
                <a:gdLst/>
                <a:ahLst/>
                <a:cxnLst/>
                <a:rect l="0" t="0" r="0" b="0"/>
                <a:pathLst>
                  <a:path w="120000" h="120000" extrusionOk="0">
                    <a:moveTo>
                      <a:pt x="65217" y="5000"/>
                    </a:moveTo>
                    <a:cubicBezTo>
                      <a:pt x="62608" y="7500"/>
                      <a:pt x="57391" y="7500"/>
                      <a:pt x="54782" y="7500"/>
                    </a:cubicBezTo>
                    <a:cubicBezTo>
                      <a:pt x="49565" y="7500"/>
                      <a:pt x="52173" y="15000"/>
                      <a:pt x="46956" y="10000"/>
                    </a:cubicBezTo>
                    <a:cubicBezTo>
                      <a:pt x="39130" y="0"/>
                      <a:pt x="26086" y="12500"/>
                      <a:pt x="15652" y="10000"/>
                    </a:cubicBezTo>
                    <a:cubicBezTo>
                      <a:pt x="15652" y="22500"/>
                      <a:pt x="15652" y="35000"/>
                      <a:pt x="15652" y="45000"/>
                    </a:cubicBezTo>
                    <a:cubicBezTo>
                      <a:pt x="15652" y="47500"/>
                      <a:pt x="18260" y="57500"/>
                      <a:pt x="15652" y="57500"/>
                    </a:cubicBezTo>
                    <a:cubicBezTo>
                      <a:pt x="13043" y="60000"/>
                      <a:pt x="2608" y="55000"/>
                      <a:pt x="2608" y="60000"/>
                    </a:cubicBezTo>
                    <a:cubicBezTo>
                      <a:pt x="2608" y="65000"/>
                      <a:pt x="2608" y="72500"/>
                      <a:pt x="2608" y="77500"/>
                    </a:cubicBezTo>
                    <a:cubicBezTo>
                      <a:pt x="2608" y="82500"/>
                      <a:pt x="0" y="90000"/>
                      <a:pt x="2608" y="95000"/>
                    </a:cubicBezTo>
                    <a:cubicBezTo>
                      <a:pt x="13043" y="97500"/>
                      <a:pt x="15652" y="110000"/>
                      <a:pt x="10434" y="117500"/>
                    </a:cubicBezTo>
                    <a:cubicBezTo>
                      <a:pt x="10434" y="120000"/>
                      <a:pt x="20869" y="120000"/>
                      <a:pt x="20869" y="120000"/>
                    </a:cubicBezTo>
                    <a:cubicBezTo>
                      <a:pt x="26086" y="120000"/>
                      <a:pt x="28695" y="115000"/>
                      <a:pt x="33913" y="110000"/>
                    </a:cubicBezTo>
                    <a:cubicBezTo>
                      <a:pt x="39130" y="105000"/>
                      <a:pt x="39130" y="97500"/>
                      <a:pt x="49565" y="102500"/>
                    </a:cubicBezTo>
                    <a:cubicBezTo>
                      <a:pt x="60000" y="107500"/>
                      <a:pt x="70434" y="110000"/>
                      <a:pt x="75652" y="97500"/>
                    </a:cubicBezTo>
                    <a:cubicBezTo>
                      <a:pt x="75652" y="95000"/>
                      <a:pt x="75652" y="92500"/>
                      <a:pt x="80869" y="92500"/>
                    </a:cubicBezTo>
                    <a:cubicBezTo>
                      <a:pt x="86086" y="92500"/>
                      <a:pt x="88695" y="87500"/>
                      <a:pt x="88695" y="85000"/>
                    </a:cubicBezTo>
                    <a:cubicBezTo>
                      <a:pt x="93913" y="77500"/>
                      <a:pt x="104347" y="70000"/>
                      <a:pt x="112173" y="65000"/>
                    </a:cubicBezTo>
                    <a:cubicBezTo>
                      <a:pt x="117391" y="62500"/>
                      <a:pt x="120000" y="60000"/>
                      <a:pt x="114782" y="55000"/>
                    </a:cubicBezTo>
                    <a:cubicBezTo>
                      <a:pt x="112173" y="52500"/>
                      <a:pt x="104347" y="55000"/>
                      <a:pt x="104347" y="52500"/>
                    </a:cubicBezTo>
                    <a:cubicBezTo>
                      <a:pt x="101739" y="50000"/>
                      <a:pt x="99130" y="47500"/>
                      <a:pt x="99130" y="42500"/>
                    </a:cubicBezTo>
                    <a:cubicBezTo>
                      <a:pt x="99130" y="42500"/>
                      <a:pt x="101739" y="40000"/>
                      <a:pt x="101739" y="37500"/>
                    </a:cubicBezTo>
                    <a:cubicBezTo>
                      <a:pt x="99130" y="37500"/>
                      <a:pt x="96521" y="37500"/>
                      <a:pt x="93913" y="35000"/>
                    </a:cubicBezTo>
                    <a:cubicBezTo>
                      <a:pt x="93913" y="35000"/>
                      <a:pt x="96521" y="32500"/>
                      <a:pt x="93913" y="32500"/>
                    </a:cubicBezTo>
                    <a:cubicBezTo>
                      <a:pt x="91304" y="32500"/>
                      <a:pt x="91304" y="30000"/>
                      <a:pt x="88695" y="30000"/>
                    </a:cubicBezTo>
                    <a:cubicBezTo>
                      <a:pt x="83478" y="27500"/>
                      <a:pt x="80869" y="25000"/>
                      <a:pt x="78260" y="17500"/>
                    </a:cubicBezTo>
                    <a:cubicBezTo>
                      <a:pt x="78260" y="15000"/>
                      <a:pt x="70434" y="5000"/>
                      <a:pt x="65217" y="5000"/>
                    </a:cubicBezTo>
                    <a:cubicBezTo>
                      <a:pt x="65217" y="5000"/>
                      <a:pt x="67826" y="5000"/>
                      <a:pt x="65217" y="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2" name="Shape 2613">
                <a:extLst>
                  <a:ext uri="{FF2B5EF4-FFF2-40B4-BE49-F238E27FC236}">
                    <a16:creationId xmlns:a16="http://schemas.microsoft.com/office/drawing/2014/main" id="{30E4B6A7-F61A-48F5-BBA6-6ABF8D93D6F9}"/>
                  </a:ext>
                </a:extLst>
              </p:cNvPr>
              <p:cNvSpPr/>
              <p:nvPr/>
            </p:nvSpPr>
            <p:spPr>
              <a:xfrm>
                <a:off x="12827695" y="10022548"/>
                <a:ext cx="330473" cy="293191"/>
              </a:xfrm>
              <a:custGeom>
                <a:avLst/>
                <a:gdLst/>
                <a:ahLst/>
                <a:cxnLst/>
                <a:rect l="0" t="0" r="0" b="0"/>
                <a:pathLst>
                  <a:path w="120000" h="120000" extrusionOk="0">
                    <a:moveTo>
                      <a:pt x="120000" y="75428"/>
                    </a:moveTo>
                    <a:cubicBezTo>
                      <a:pt x="120000" y="72000"/>
                      <a:pt x="116923" y="65142"/>
                      <a:pt x="116923" y="61714"/>
                    </a:cubicBezTo>
                    <a:cubicBezTo>
                      <a:pt x="116923" y="54857"/>
                      <a:pt x="120000" y="51428"/>
                      <a:pt x="120000" y="48000"/>
                    </a:cubicBezTo>
                    <a:cubicBezTo>
                      <a:pt x="120000" y="37714"/>
                      <a:pt x="120000" y="30857"/>
                      <a:pt x="116923" y="24000"/>
                    </a:cubicBezTo>
                    <a:cubicBezTo>
                      <a:pt x="116923" y="13714"/>
                      <a:pt x="89230" y="6857"/>
                      <a:pt x="83076" y="6857"/>
                    </a:cubicBezTo>
                    <a:cubicBezTo>
                      <a:pt x="83076" y="0"/>
                      <a:pt x="83076" y="0"/>
                      <a:pt x="73846" y="0"/>
                    </a:cubicBezTo>
                    <a:cubicBezTo>
                      <a:pt x="64615" y="0"/>
                      <a:pt x="64615" y="3428"/>
                      <a:pt x="58461" y="10285"/>
                    </a:cubicBezTo>
                    <a:cubicBezTo>
                      <a:pt x="55384" y="17142"/>
                      <a:pt x="46153" y="20571"/>
                      <a:pt x="40000" y="24000"/>
                    </a:cubicBezTo>
                    <a:cubicBezTo>
                      <a:pt x="36923" y="30857"/>
                      <a:pt x="33846" y="41142"/>
                      <a:pt x="27692" y="41142"/>
                    </a:cubicBezTo>
                    <a:cubicBezTo>
                      <a:pt x="21538" y="41142"/>
                      <a:pt x="15384" y="37714"/>
                      <a:pt x="6153" y="41142"/>
                    </a:cubicBezTo>
                    <a:cubicBezTo>
                      <a:pt x="0" y="44571"/>
                      <a:pt x="12307" y="51428"/>
                      <a:pt x="15384" y="54857"/>
                    </a:cubicBezTo>
                    <a:cubicBezTo>
                      <a:pt x="18461" y="61714"/>
                      <a:pt x="18461" y="68571"/>
                      <a:pt x="24615" y="72000"/>
                    </a:cubicBezTo>
                    <a:cubicBezTo>
                      <a:pt x="27692" y="75428"/>
                      <a:pt x="30769" y="78857"/>
                      <a:pt x="33846" y="78857"/>
                    </a:cubicBezTo>
                    <a:cubicBezTo>
                      <a:pt x="36923" y="78857"/>
                      <a:pt x="33846" y="82285"/>
                      <a:pt x="33846" y="82285"/>
                    </a:cubicBezTo>
                    <a:cubicBezTo>
                      <a:pt x="36923" y="82285"/>
                      <a:pt x="40000" y="85714"/>
                      <a:pt x="43076" y="85714"/>
                    </a:cubicBezTo>
                    <a:cubicBezTo>
                      <a:pt x="43076" y="89142"/>
                      <a:pt x="40000" y="92571"/>
                      <a:pt x="40000" y="96000"/>
                    </a:cubicBezTo>
                    <a:cubicBezTo>
                      <a:pt x="40000" y="99428"/>
                      <a:pt x="43076" y="106285"/>
                      <a:pt x="46153" y="106285"/>
                    </a:cubicBezTo>
                    <a:cubicBezTo>
                      <a:pt x="55384" y="106285"/>
                      <a:pt x="58461" y="106285"/>
                      <a:pt x="61538" y="116571"/>
                    </a:cubicBezTo>
                    <a:cubicBezTo>
                      <a:pt x="64615" y="120000"/>
                      <a:pt x="70769" y="116571"/>
                      <a:pt x="76923" y="120000"/>
                    </a:cubicBezTo>
                    <a:cubicBezTo>
                      <a:pt x="80000" y="120000"/>
                      <a:pt x="80000" y="120000"/>
                      <a:pt x="83076" y="120000"/>
                    </a:cubicBezTo>
                    <a:cubicBezTo>
                      <a:pt x="95384" y="120000"/>
                      <a:pt x="98461" y="116571"/>
                      <a:pt x="104615" y="106285"/>
                    </a:cubicBezTo>
                    <a:cubicBezTo>
                      <a:pt x="107692" y="102857"/>
                      <a:pt x="110769" y="96000"/>
                      <a:pt x="110769" y="92571"/>
                    </a:cubicBezTo>
                    <a:cubicBezTo>
                      <a:pt x="113846" y="85714"/>
                      <a:pt x="120000" y="82285"/>
                      <a:pt x="120000" y="7542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3" name="Shape 2614">
                <a:extLst>
                  <a:ext uri="{FF2B5EF4-FFF2-40B4-BE49-F238E27FC236}">
                    <a16:creationId xmlns:a16="http://schemas.microsoft.com/office/drawing/2014/main" id="{61E94DD8-3B7B-4993-96CB-A4B72B2F60D6}"/>
                  </a:ext>
                </a:extLst>
              </p:cNvPr>
              <p:cNvSpPr/>
              <p:nvPr/>
            </p:nvSpPr>
            <p:spPr>
              <a:xfrm>
                <a:off x="13048968" y="10459460"/>
                <a:ext cx="83336" cy="94856"/>
              </a:xfrm>
              <a:custGeom>
                <a:avLst/>
                <a:gdLst/>
                <a:ahLst/>
                <a:cxnLst/>
                <a:rect l="0" t="0" r="0" b="0"/>
                <a:pathLst>
                  <a:path w="120000" h="120000" extrusionOk="0">
                    <a:moveTo>
                      <a:pt x="60000" y="10909"/>
                    </a:moveTo>
                    <a:cubicBezTo>
                      <a:pt x="0" y="21818"/>
                      <a:pt x="36000" y="120000"/>
                      <a:pt x="84000" y="98181"/>
                    </a:cubicBezTo>
                    <a:cubicBezTo>
                      <a:pt x="120000" y="87272"/>
                      <a:pt x="108000" y="0"/>
                      <a:pt x="60000" y="10909"/>
                    </a:cubicBezTo>
                    <a:cubicBezTo>
                      <a:pt x="36000" y="10909"/>
                      <a:pt x="72000" y="10909"/>
                      <a:pt x="60000" y="1090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4" name="Shape 2615">
                <a:extLst>
                  <a:ext uri="{FF2B5EF4-FFF2-40B4-BE49-F238E27FC236}">
                    <a16:creationId xmlns:a16="http://schemas.microsoft.com/office/drawing/2014/main" id="{BE62698C-A728-4610-83F9-CB72ED3E77A5}"/>
                  </a:ext>
                </a:extLst>
              </p:cNvPr>
              <p:cNvSpPr/>
              <p:nvPr/>
            </p:nvSpPr>
            <p:spPr>
              <a:xfrm>
                <a:off x="12482855" y="10307117"/>
                <a:ext cx="666692" cy="583507"/>
              </a:xfrm>
              <a:custGeom>
                <a:avLst/>
                <a:gdLst/>
                <a:ahLst/>
                <a:cxnLst/>
                <a:rect l="0" t="0" r="0" b="0"/>
                <a:pathLst>
                  <a:path w="120000" h="120000" extrusionOk="0">
                    <a:moveTo>
                      <a:pt x="112405" y="46956"/>
                    </a:moveTo>
                    <a:cubicBezTo>
                      <a:pt x="107848" y="46956"/>
                      <a:pt x="103291" y="41739"/>
                      <a:pt x="104810" y="38260"/>
                    </a:cubicBezTo>
                    <a:cubicBezTo>
                      <a:pt x="104810" y="34782"/>
                      <a:pt x="107848" y="33043"/>
                      <a:pt x="109367" y="33043"/>
                    </a:cubicBezTo>
                    <a:cubicBezTo>
                      <a:pt x="110886" y="33043"/>
                      <a:pt x="112405" y="34782"/>
                      <a:pt x="113924" y="34782"/>
                    </a:cubicBezTo>
                    <a:cubicBezTo>
                      <a:pt x="113924" y="29565"/>
                      <a:pt x="115443" y="24347"/>
                      <a:pt x="113924" y="19130"/>
                    </a:cubicBezTo>
                    <a:cubicBezTo>
                      <a:pt x="112405" y="17391"/>
                      <a:pt x="110886" y="13913"/>
                      <a:pt x="110886" y="12173"/>
                    </a:cubicBezTo>
                    <a:cubicBezTo>
                      <a:pt x="109367" y="8695"/>
                      <a:pt x="109367" y="5217"/>
                      <a:pt x="109367" y="1739"/>
                    </a:cubicBezTo>
                    <a:cubicBezTo>
                      <a:pt x="106329" y="3478"/>
                      <a:pt x="101772" y="1739"/>
                      <a:pt x="100253" y="1739"/>
                    </a:cubicBezTo>
                    <a:cubicBezTo>
                      <a:pt x="95696" y="0"/>
                      <a:pt x="92658" y="0"/>
                      <a:pt x="91139" y="3478"/>
                    </a:cubicBezTo>
                    <a:cubicBezTo>
                      <a:pt x="88101" y="5217"/>
                      <a:pt x="85063" y="5217"/>
                      <a:pt x="83544" y="8695"/>
                    </a:cubicBezTo>
                    <a:cubicBezTo>
                      <a:pt x="82025" y="10434"/>
                      <a:pt x="78987" y="12173"/>
                      <a:pt x="77468" y="13913"/>
                    </a:cubicBezTo>
                    <a:cubicBezTo>
                      <a:pt x="75949" y="15652"/>
                      <a:pt x="75949" y="19130"/>
                      <a:pt x="74430" y="20869"/>
                    </a:cubicBezTo>
                    <a:cubicBezTo>
                      <a:pt x="72911" y="24347"/>
                      <a:pt x="69873" y="20869"/>
                      <a:pt x="68354" y="24347"/>
                    </a:cubicBezTo>
                    <a:cubicBezTo>
                      <a:pt x="66835" y="26086"/>
                      <a:pt x="68354" y="27826"/>
                      <a:pt x="66835" y="29565"/>
                    </a:cubicBezTo>
                    <a:cubicBezTo>
                      <a:pt x="63797" y="36521"/>
                      <a:pt x="56202" y="31304"/>
                      <a:pt x="51645" y="29565"/>
                    </a:cubicBezTo>
                    <a:cubicBezTo>
                      <a:pt x="47088" y="26086"/>
                      <a:pt x="45569" y="33043"/>
                      <a:pt x="42531" y="36521"/>
                    </a:cubicBezTo>
                    <a:cubicBezTo>
                      <a:pt x="41012" y="38260"/>
                      <a:pt x="39493" y="41739"/>
                      <a:pt x="36455" y="41739"/>
                    </a:cubicBezTo>
                    <a:cubicBezTo>
                      <a:pt x="36455" y="41739"/>
                      <a:pt x="30379" y="41739"/>
                      <a:pt x="30379" y="40000"/>
                    </a:cubicBezTo>
                    <a:cubicBezTo>
                      <a:pt x="33417" y="34782"/>
                      <a:pt x="31898" y="26086"/>
                      <a:pt x="25822" y="24347"/>
                    </a:cubicBezTo>
                    <a:cubicBezTo>
                      <a:pt x="25822" y="33043"/>
                      <a:pt x="25822" y="41739"/>
                      <a:pt x="25822" y="50434"/>
                    </a:cubicBezTo>
                    <a:cubicBezTo>
                      <a:pt x="25822" y="50434"/>
                      <a:pt x="27341" y="55652"/>
                      <a:pt x="25822" y="57391"/>
                    </a:cubicBezTo>
                    <a:cubicBezTo>
                      <a:pt x="21265" y="60869"/>
                      <a:pt x="19746" y="62608"/>
                      <a:pt x="13670" y="60869"/>
                    </a:cubicBezTo>
                    <a:cubicBezTo>
                      <a:pt x="12151" y="60869"/>
                      <a:pt x="10632" y="60869"/>
                      <a:pt x="9113" y="59130"/>
                    </a:cubicBezTo>
                    <a:cubicBezTo>
                      <a:pt x="7594" y="55652"/>
                      <a:pt x="6075" y="53913"/>
                      <a:pt x="3037" y="57391"/>
                    </a:cubicBezTo>
                    <a:cubicBezTo>
                      <a:pt x="0" y="60869"/>
                      <a:pt x="3037" y="66086"/>
                      <a:pt x="4556" y="69565"/>
                    </a:cubicBezTo>
                    <a:cubicBezTo>
                      <a:pt x="6075" y="71304"/>
                      <a:pt x="7594" y="74782"/>
                      <a:pt x="7594" y="78260"/>
                    </a:cubicBezTo>
                    <a:cubicBezTo>
                      <a:pt x="10632" y="85217"/>
                      <a:pt x="16708" y="88695"/>
                      <a:pt x="13670" y="97391"/>
                    </a:cubicBezTo>
                    <a:cubicBezTo>
                      <a:pt x="12151" y="100869"/>
                      <a:pt x="10632" y="100869"/>
                      <a:pt x="12151" y="104347"/>
                    </a:cubicBezTo>
                    <a:cubicBezTo>
                      <a:pt x="13670" y="106086"/>
                      <a:pt x="13670" y="107826"/>
                      <a:pt x="13670" y="107826"/>
                    </a:cubicBezTo>
                    <a:cubicBezTo>
                      <a:pt x="15189" y="109565"/>
                      <a:pt x="13670" y="113043"/>
                      <a:pt x="15189" y="114782"/>
                    </a:cubicBezTo>
                    <a:cubicBezTo>
                      <a:pt x="15189" y="114782"/>
                      <a:pt x="15189" y="111304"/>
                      <a:pt x="16708" y="111304"/>
                    </a:cubicBezTo>
                    <a:cubicBezTo>
                      <a:pt x="16708" y="111304"/>
                      <a:pt x="21265" y="116521"/>
                      <a:pt x="22784" y="118260"/>
                    </a:cubicBezTo>
                    <a:cubicBezTo>
                      <a:pt x="25822" y="120000"/>
                      <a:pt x="28860" y="114782"/>
                      <a:pt x="31898" y="114782"/>
                    </a:cubicBezTo>
                    <a:cubicBezTo>
                      <a:pt x="34936" y="113043"/>
                      <a:pt x="37974" y="116521"/>
                      <a:pt x="39493" y="113043"/>
                    </a:cubicBezTo>
                    <a:cubicBezTo>
                      <a:pt x="42531" y="111304"/>
                      <a:pt x="44050" y="111304"/>
                      <a:pt x="47088" y="111304"/>
                    </a:cubicBezTo>
                    <a:cubicBezTo>
                      <a:pt x="50126" y="111304"/>
                      <a:pt x="53164" y="111304"/>
                      <a:pt x="57721" y="111304"/>
                    </a:cubicBezTo>
                    <a:cubicBezTo>
                      <a:pt x="57721" y="111304"/>
                      <a:pt x="59240" y="111304"/>
                      <a:pt x="59240" y="111304"/>
                    </a:cubicBezTo>
                    <a:cubicBezTo>
                      <a:pt x="60759" y="111304"/>
                      <a:pt x="60759" y="109565"/>
                      <a:pt x="62278" y="109565"/>
                    </a:cubicBezTo>
                    <a:cubicBezTo>
                      <a:pt x="62278" y="109565"/>
                      <a:pt x="62278" y="107826"/>
                      <a:pt x="63797" y="107826"/>
                    </a:cubicBezTo>
                    <a:cubicBezTo>
                      <a:pt x="63797" y="109565"/>
                      <a:pt x="63797" y="113043"/>
                      <a:pt x="66835" y="113043"/>
                    </a:cubicBezTo>
                    <a:cubicBezTo>
                      <a:pt x="66835" y="113043"/>
                      <a:pt x="65316" y="106086"/>
                      <a:pt x="69873" y="107826"/>
                    </a:cubicBezTo>
                    <a:cubicBezTo>
                      <a:pt x="75949" y="109565"/>
                      <a:pt x="82025" y="102608"/>
                      <a:pt x="86582" y="97391"/>
                    </a:cubicBezTo>
                    <a:cubicBezTo>
                      <a:pt x="91139" y="93913"/>
                      <a:pt x="94177" y="88695"/>
                      <a:pt x="98734" y="83478"/>
                    </a:cubicBezTo>
                    <a:cubicBezTo>
                      <a:pt x="103291" y="78260"/>
                      <a:pt x="104810" y="71304"/>
                      <a:pt x="109367" y="64347"/>
                    </a:cubicBezTo>
                    <a:cubicBezTo>
                      <a:pt x="110886" y="62608"/>
                      <a:pt x="115443" y="60869"/>
                      <a:pt x="116962" y="57391"/>
                    </a:cubicBezTo>
                    <a:cubicBezTo>
                      <a:pt x="118481" y="53913"/>
                      <a:pt x="120000" y="46956"/>
                      <a:pt x="120000" y="43478"/>
                    </a:cubicBezTo>
                    <a:cubicBezTo>
                      <a:pt x="118481" y="43478"/>
                      <a:pt x="116962" y="43478"/>
                      <a:pt x="115443" y="43478"/>
                    </a:cubicBezTo>
                    <a:cubicBezTo>
                      <a:pt x="113924" y="43478"/>
                      <a:pt x="113924" y="46956"/>
                      <a:pt x="112405" y="46956"/>
                    </a:cubicBezTo>
                    <a:close/>
                    <a:moveTo>
                      <a:pt x="94177" y="67826"/>
                    </a:moveTo>
                    <a:cubicBezTo>
                      <a:pt x="92658" y="67826"/>
                      <a:pt x="92658" y="71304"/>
                      <a:pt x="92658" y="71304"/>
                    </a:cubicBezTo>
                    <a:cubicBezTo>
                      <a:pt x="91139" y="74782"/>
                      <a:pt x="88101" y="73043"/>
                      <a:pt x="86582" y="74782"/>
                    </a:cubicBezTo>
                    <a:cubicBezTo>
                      <a:pt x="85063" y="74782"/>
                      <a:pt x="85063" y="76521"/>
                      <a:pt x="83544" y="76521"/>
                    </a:cubicBezTo>
                    <a:cubicBezTo>
                      <a:pt x="80506" y="76521"/>
                      <a:pt x="78987" y="73043"/>
                      <a:pt x="78987" y="71304"/>
                    </a:cubicBezTo>
                    <a:cubicBezTo>
                      <a:pt x="77468" y="67826"/>
                      <a:pt x="82025" y="62608"/>
                      <a:pt x="85063" y="60869"/>
                    </a:cubicBezTo>
                    <a:cubicBezTo>
                      <a:pt x="86582" y="59130"/>
                      <a:pt x="89620" y="59130"/>
                      <a:pt x="91139" y="60869"/>
                    </a:cubicBezTo>
                    <a:cubicBezTo>
                      <a:pt x="92658" y="62608"/>
                      <a:pt x="97215" y="66086"/>
                      <a:pt x="94177" y="67826"/>
                    </a:cubicBezTo>
                    <a:cubicBezTo>
                      <a:pt x="92658" y="67826"/>
                      <a:pt x="95696" y="66086"/>
                      <a:pt x="94177" y="6782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5" name="Shape 2616">
                <a:extLst>
                  <a:ext uri="{FF2B5EF4-FFF2-40B4-BE49-F238E27FC236}">
                    <a16:creationId xmlns:a16="http://schemas.microsoft.com/office/drawing/2014/main" id="{EF3C7390-EF73-43CC-A996-DEA9D7D491E4}"/>
                  </a:ext>
                </a:extLst>
              </p:cNvPr>
              <p:cNvSpPr/>
              <p:nvPr/>
            </p:nvSpPr>
            <p:spPr>
              <a:xfrm>
                <a:off x="12913905" y="10585937"/>
                <a:ext cx="109198" cy="112103"/>
              </a:xfrm>
              <a:custGeom>
                <a:avLst/>
                <a:gdLst/>
                <a:ahLst/>
                <a:cxnLst/>
                <a:rect l="0" t="0" r="0" b="0"/>
                <a:pathLst>
                  <a:path w="120000" h="120000" extrusionOk="0">
                    <a:moveTo>
                      <a:pt x="101538" y="36923"/>
                    </a:moveTo>
                    <a:cubicBezTo>
                      <a:pt x="83076" y="18461"/>
                      <a:pt x="46153" y="0"/>
                      <a:pt x="27692" y="27692"/>
                    </a:cubicBezTo>
                    <a:cubicBezTo>
                      <a:pt x="9230" y="46153"/>
                      <a:pt x="0" y="64615"/>
                      <a:pt x="18461" y="83076"/>
                    </a:cubicBezTo>
                    <a:cubicBezTo>
                      <a:pt x="36923" y="120000"/>
                      <a:pt x="46153" y="83076"/>
                      <a:pt x="64615" y="83076"/>
                    </a:cubicBezTo>
                    <a:cubicBezTo>
                      <a:pt x="92307" y="83076"/>
                      <a:pt x="120000" y="46153"/>
                      <a:pt x="101538" y="36923"/>
                    </a:cubicBezTo>
                    <a:cubicBezTo>
                      <a:pt x="92307" y="27692"/>
                      <a:pt x="110769" y="36923"/>
                      <a:pt x="101538" y="3692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6" name="Shape 2617">
                <a:extLst>
                  <a:ext uri="{FF2B5EF4-FFF2-40B4-BE49-F238E27FC236}">
                    <a16:creationId xmlns:a16="http://schemas.microsoft.com/office/drawing/2014/main" id="{DCAFA32B-6A92-4BA3-9E42-93321D7CEE8C}"/>
                  </a:ext>
                </a:extLst>
              </p:cNvPr>
              <p:cNvSpPr/>
              <p:nvPr/>
            </p:nvSpPr>
            <p:spPr>
              <a:xfrm>
                <a:off x="12321929" y="9539642"/>
                <a:ext cx="43104" cy="68984"/>
              </a:xfrm>
              <a:custGeom>
                <a:avLst/>
                <a:gdLst/>
                <a:ahLst/>
                <a:cxnLst/>
                <a:rect l="0" t="0" r="0" b="0"/>
                <a:pathLst>
                  <a:path w="120000" h="120000" extrusionOk="0">
                    <a:moveTo>
                      <a:pt x="48000" y="75000"/>
                    </a:moveTo>
                    <a:cubicBezTo>
                      <a:pt x="48000" y="60000"/>
                      <a:pt x="96000" y="30000"/>
                      <a:pt x="120000" y="15000"/>
                    </a:cubicBezTo>
                    <a:cubicBezTo>
                      <a:pt x="96000" y="0"/>
                      <a:pt x="48000" y="30000"/>
                      <a:pt x="24000" y="45000"/>
                    </a:cubicBezTo>
                    <a:cubicBezTo>
                      <a:pt x="0" y="60000"/>
                      <a:pt x="0" y="90000"/>
                      <a:pt x="0" y="120000"/>
                    </a:cubicBezTo>
                    <a:cubicBezTo>
                      <a:pt x="48000" y="105000"/>
                      <a:pt x="48000" y="90000"/>
                      <a:pt x="48000" y="75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7" name="Shape 2618">
                <a:extLst>
                  <a:ext uri="{FF2B5EF4-FFF2-40B4-BE49-F238E27FC236}">
                    <a16:creationId xmlns:a16="http://schemas.microsoft.com/office/drawing/2014/main" id="{8CB0BDA8-6AED-4669-B6DE-2E8855F1ABC8}"/>
                  </a:ext>
                </a:extLst>
              </p:cNvPr>
              <p:cNvSpPr/>
              <p:nvPr/>
            </p:nvSpPr>
            <p:spPr>
              <a:xfrm>
                <a:off x="12281696" y="9194715"/>
                <a:ext cx="293115" cy="379424"/>
              </a:xfrm>
              <a:custGeom>
                <a:avLst/>
                <a:gdLst/>
                <a:ahLst/>
                <a:cxnLst/>
                <a:rect l="0" t="0" r="0" b="0"/>
                <a:pathLst>
                  <a:path w="120000" h="120000" extrusionOk="0">
                    <a:moveTo>
                      <a:pt x="37714" y="117333"/>
                    </a:moveTo>
                    <a:cubicBezTo>
                      <a:pt x="41142" y="117333"/>
                      <a:pt x="48000" y="112000"/>
                      <a:pt x="51428" y="109333"/>
                    </a:cubicBezTo>
                    <a:cubicBezTo>
                      <a:pt x="58285" y="106666"/>
                      <a:pt x="51428" y="114666"/>
                      <a:pt x="54857" y="114666"/>
                    </a:cubicBezTo>
                    <a:cubicBezTo>
                      <a:pt x="54857" y="114666"/>
                      <a:pt x="78857" y="104000"/>
                      <a:pt x="78857" y="98666"/>
                    </a:cubicBezTo>
                    <a:cubicBezTo>
                      <a:pt x="78857" y="88000"/>
                      <a:pt x="78857" y="77333"/>
                      <a:pt x="85714" y="69333"/>
                    </a:cubicBezTo>
                    <a:cubicBezTo>
                      <a:pt x="92571" y="58666"/>
                      <a:pt x="102857" y="50666"/>
                      <a:pt x="106285" y="42666"/>
                    </a:cubicBezTo>
                    <a:cubicBezTo>
                      <a:pt x="109714" y="34666"/>
                      <a:pt x="109714" y="29333"/>
                      <a:pt x="113142" y="21333"/>
                    </a:cubicBezTo>
                    <a:cubicBezTo>
                      <a:pt x="113142" y="16000"/>
                      <a:pt x="120000" y="10666"/>
                      <a:pt x="120000" y="5333"/>
                    </a:cubicBezTo>
                    <a:cubicBezTo>
                      <a:pt x="113142" y="5333"/>
                      <a:pt x="106285" y="0"/>
                      <a:pt x="99428" y="2666"/>
                    </a:cubicBezTo>
                    <a:cubicBezTo>
                      <a:pt x="96000" y="2666"/>
                      <a:pt x="89142" y="2666"/>
                      <a:pt x="89142" y="5333"/>
                    </a:cubicBezTo>
                    <a:cubicBezTo>
                      <a:pt x="85714" y="10666"/>
                      <a:pt x="85714" y="13333"/>
                      <a:pt x="85714" y="16000"/>
                    </a:cubicBezTo>
                    <a:cubicBezTo>
                      <a:pt x="82285" y="24000"/>
                      <a:pt x="78857" y="26666"/>
                      <a:pt x="68571" y="26666"/>
                    </a:cubicBezTo>
                    <a:cubicBezTo>
                      <a:pt x="58285" y="24000"/>
                      <a:pt x="44571" y="21333"/>
                      <a:pt x="34285" y="21333"/>
                    </a:cubicBezTo>
                    <a:cubicBezTo>
                      <a:pt x="34285" y="26666"/>
                      <a:pt x="30857" y="37333"/>
                      <a:pt x="44571" y="34666"/>
                    </a:cubicBezTo>
                    <a:cubicBezTo>
                      <a:pt x="58285" y="29333"/>
                      <a:pt x="48000" y="45333"/>
                      <a:pt x="48000" y="50666"/>
                    </a:cubicBezTo>
                    <a:cubicBezTo>
                      <a:pt x="48000" y="53333"/>
                      <a:pt x="48000" y="56000"/>
                      <a:pt x="51428" y="58666"/>
                    </a:cubicBezTo>
                    <a:cubicBezTo>
                      <a:pt x="54857" y="61333"/>
                      <a:pt x="54857" y="64000"/>
                      <a:pt x="54857" y="66666"/>
                    </a:cubicBezTo>
                    <a:cubicBezTo>
                      <a:pt x="54857" y="72000"/>
                      <a:pt x="54857" y="80000"/>
                      <a:pt x="51428" y="85333"/>
                    </a:cubicBezTo>
                    <a:cubicBezTo>
                      <a:pt x="51428" y="88000"/>
                      <a:pt x="44571" y="82666"/>
                      <a:pt x="44571" y="82666"/>
                    </a:cubicBezTo>
                    <a:cubicBezTo>
                      <a:pt x="37714" y="82666"/>
                      <a:pt x="37714" y="88000"/>
                      <a:pt x="34285" y="85333"/>
                    </a:cubicBezTo>
                    <a:cubicBezTo>
                      <a:pt x="34285" y="82666"/>
                      <a:pt x="30857" y="80000"/>
                      <a:pt x="27428" y="77333"/>
                    </a:cubicBezTo>
                    <a:cubicBezTo>
                      <a:pt x="24000" y="77333"/>
                      <a:pt x="24000" y="82666"/>
                      <a:pt x="20571" y="85333"/>
                    </a:cubicBezTo>
                    <a:cubicBezTo>
                      <a:pt x="20571" y="85333"/>
                      <a:pt x="13714" y="85333"/>
                      <a:pt x="13714" y="85333"/>
                    </a:cubicBezTo>
                    <a:cubicBezTo>
                      <a:pt x="6857" y="85333"/>
                      <a:pt x="10285" y="90666"/>
                      <a:pt x="10285" y="93333"/>
                    </a:cubicBezTo>
                    <a:cubicBezTo>
                      <a:pt x="13714" y="101333"/>
                      <a:pt x="10285" y="98666"/>
                      <a:pt x="0" y="104000"/>
                    </a:cubicBezTo>
                    <a:cubicBezTo>
                      <a:pt x="6857" y="109333"/>
                      <a:pt x="13714" y="112000"/>
                      <a:pt x="17142" y="120000"/>
                    </a:cubicBezTo>
                    <a:cubicBezTo>
                      <a:pt x="20571" y="117333"/>
                      <a:pt x="24000" y="114666"/>
                      <a:pt x="27428" y="112000"/>
                    </a:cubicBezTo>
                    <a:cubicBezTo>
                      <a:pt x="34285" y="109333"/>
                      <a:pt x="34285" y="114666"/>
                      <a:pt x="37714" y="117333"/>
                    </a:cubicBezTo>
                    <a:cubicBezTo>
                      <a:pt x="41142" y="117333"/>
                      <a:pt x="34285" y="114666"/>
                      <a:pt x="37714" y="117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8" name="Shape 2619">
                <a:extLst>
                  <a:ext uri="{FF2B5EF4-FFF2-40B4-BE49-F238E27FC236}">
                    <a16:creationId xmlns:a16="http://schemas.microsoft.com/office/drawing/2014/main" id="{1EED22A4-C5C0-4142-AF34-321D8EF6D1DF}"/>
                  </a:ext>
                </a:extLst>
              </p:cNvPr>
              <p:cNvSpPr/>
              <p:nvPr/>
            </p:nvSpPr>
            <p:spPr>
              <a:xfrm>
                <a:off x="12408138" y="8890023"/>
                <a:ext cx="537377" cy="379424"/>
              </a:xfrm>
              <a:custGeom>
                <a:avLst/>
                <a:gdLst/>
                <a:ahLst/>
                <a:cxnLst/>
                <a:rect l="0" t="0" r="0" b="0"/>
                <a:pathLst>
                  <a:path w="120000" h="120000" extrusionOk="0">
                    <a:moveTo>
                      <a:pt x="22500" y="98666"/>
                    </a:moveTo>
                    <a:cubicBezTo>
                      <a:pt x="24375" y="98666"/>
                      <a:pt x="30000" y="96000"/>
                      <a:pt x="31875" y="98666"/>
                    </a:cubicBezTo>
                    <a:cubicBezTo>
                      <a:pt x="31875" y="101333"/>
                      <a:pt x="37500" y="101333"/>
                      <a:pt x="37500" y="101333"/>
                    </a:cubicBezTo>
                    <a:cubicBezTo>
                      <a:pt x="39375" y="96000"/>
                      <a:pt x="37500" y="90666"/>
                      <a:pt x="39375" y="88000"/>
                    </a:cubicBezTo>
                    <a:cubicBezTo>
                      <a:pt x="39375" y="85333"/>
                      <a:pt x="43125" y="77333"/>
                      <a:pt x="46875" y="80000"/>
                    </a:cubicBezTo>
                    <a:cubicBezTo>
                      <a:pt x="50625" y="80000"/>
                      <a:pt x="52500" y="85333"/>
                      <a:pt x="56250" y="88000"/>
                    </a:cubicBezTo>
                    <a:cubicBezTo>
                      <a:pt x="60000" y="90666"/>
                      <a:pt x="63750" y="90666"/>
                      <a:pt x="67500" y="90666"/>
                    </a:cubicBezTo>
                    <a:cubicBezTo>
                      <a:pt x="69375" y="90666"/>
                      <a:pt x="73125" y="93333"/>
                      <a:pt x="73125" y="90666"/>
                    </a:cubicBezTo>
                    <a:cubicBezTo>
                      <a:pt x="75000" y="88000"/>
                      <a:pt x="75000" y="77333"/>
                      <a:pt x="76875" y="80000"/>
                    </a:cubicBezTo>
                    <a:cubicBezTo>
                      <a:pt x="80625" y="82666"/>
                      <a:pt x="80625" y="82666"/>
                      <a:pt x="84375" y="82666"/>
                    </a:cubicBezTo>
                    <a:cubicBezTo>
                      <a:pt x="88125" y="80000"/>
                      <a:pt x="90000" y="82666"/>
                      <a:pt x="93750" y="82666"/>
                    </a:cubicBezTo>
                    <a:cubicBezTo>
                      <a:pt x="97500" y="82666"/>
                      <a:pt x="99375" y="74666"/>
                      <a:pt x="103125" y="77333"/>
                    </a:cubicBezTo>
                    <a:cubicBezTo>
                      <a:pt x="105000" y="77333"/>
                      <a:pt x="108750" y="82666"/>
                      <a:pt x="112500" y="80000"/>
                    </a:cubicBezTo>
                    <a:cubicBezTo>
                      <a:pt x="120000" y="74666"/>
                      <a:pt x="110625" y="69333"/>
                      <a:pt x="108750" y="64000"/>
                    </a:cubicBezTo>
                    <a:cubicBezTo>
                      <a:pt x="106875" y="58666"/>
                      <a:pt x="106875" y="56000"/>
                      <a:pt x="103125" y="53333"/>
                    </a:cubicBezTo>
                    <a:cubicBezTo>
                      <a:pt x="99375" y="50666"/>
                      <a:pt x="97500" y="48000"/>
                      <a:pt x="95625" y="42666"/>
                    </a:cubicBezTo>
                    <a:cubicBezTo>
                      <a:pt x="95625" y="37333"/>
                      <a:pt x="91875" y="37333"/>
                      <a:pt x="88125" y="34666"/>
                    </a:cubicBezTo>
                    <a:cubicBezTo>
                      <a:pt x="88125" y="34666"/>
                      <a:pt x="88125" y="32000"/>
                      <a:pt x="86250" y="32000"/>
                    </a:cubicBezTo>
                    <a:cubicBezTo>
                      <a:pt x="86250" y="32000"/>
                      <a:pt x="82500" y="32000"/>
                      <a:pt x="82500" y="32000"/>
                    </a:cubicBezTo>
                    <a:cubicBezTo>
                      <a:pt x="80625" y="29333"/>
                      <a:pt x="82500" y="18666"/>
                      <a:pt x="82500" y="16000"/>
                    </a:cubicBezTo>
                    <a:cubicBezTo>
                      <a:pt x="82500" y="10666"/>
                      <a:pt x="78750" y="8000"/>
                      <a:pt x="76875" y="2666"/>
                    </a:cubicBezTo>
                    <a:cubicBezTo>
                      <a:pt x="76875" y="2666"/>
                      <a:pt x="76875" y="0"/>
                      <a:pt x="76875" y="0"/>
                    </a:cubicBezTo>
                    <a:cubicBezTo>
                      <a:pt x="75000" y="0"/>
                      <a:pt x="73125" y="0"/>
                      <a:pt x="71250" y="0"/>
                    </a:cubicBezTo>
                    <a:cubicBezTo>
                      <a:pt x="67500" y="2666"/>
                      <a:pt x="67500" y="2666"/>
                      <a:pt x="65625" y="8000"/>
                    </a:cubicBezTo>
                    <a:cubicBezTo>
                      <a:pt x="65625" y="16000"/>
                      <a:pt x="52500" y="26666"/>
                      <a:pt x="48750" y="26666"/>
                    </a:cubicBezTo>
                    <a:cubicBezTo>
                      <a:pt x="46875" y="26666"/>
                      <a:pt x="39375" y="26666"/>
                      <a:pt x="41250" y="29333"/>
                    </a:cubicBezTo>
                    <a:cubicBezTo>
                      <a:pt x="43125" y="34666"/>
                      <a:pt x="37500" y="40000"/>
                      <a:pt x="35625" y="40000"/>
                    </a:cubicBezTo>
                    <a:cubicBezTo>
                      <a:pt x="31875" y="42666"/>
                      <a:pt x="28125" y="45333"/>
                      <a:pt x="24375" y="45333"/>
                    </a:cubicBezTo>
                    <a:cubicBezTo>
                      <a:pt x="20625" y="48000"/>
                      <a:pt x="20625" y="42666"/>
                      <a:pt x="16875" y="45333"/>
                    </a:cubicBezTo>
                    <a:cubicBezTo>
                      <a:pt x="13125" y="48000"/>
                      <a:pt x="11250" y="45333"/>
                      <a:pt x="11250" y="48000"/>
                    </a:cubicBezTo>
                    <a:cubicBezTo>
                      <a:pt x="9375" y="53333"/>
                      <a:pt x="7500" y="58666"/>
                      <a:pt x="5625" y="61333"/>
                    </a:cubicBezTo>
                    <a:cubicBezTo>
                      <a:pt x="0" y="72000"/>
                      <a:pt x="3750" y="80000"/>
                      <a:pt x="7500" y="90666"/>
                    </a:cubicBezTo>
                    <a:cubicBezTo>
                      <a:pt x="9375" y="96000"/>
                      <a:pt x="9375" y="98666"/>
                      <a:pt x="11250" y="104000"/>
                    </a:cubicBezTo>
                    <a:cubicBezTo>
                      <a:pt x="15000" y="109333"/>
                      <a:pt x="16875" y="112000"/>
                      <a:pt x="16875" y="120000"/>
                    </a:cubicBezTo>
                    <a:cubicBezTo>
                      <a:pt x="16875" y="117333"/>
                      <a:pt x="18750" y="98666"/>
                      <a:pt x="22500" y="98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69" name="Shape 2620">
                <a:extLst>
                  <a:ext uri="{FF2B5EF4-FFF2-40B4-BE49-F238E27FC236}">
                    <a16:creationId xmlns:a16="http://schemas.microsoft.com/office/drawing/2014/main" id="{CDA1F202-B97E-475E-9797-BB9E950ACC41}"/>
                  </a:ext>
                </a:extLst>
              </p:cNvPr>
              <p:cNvSpPr/>
              <p:nvPr/>
            </p:nvSpPr>
            <p:spPr>
              <a:xfrm>
                <a:off x="11810412" y="8349632"/>
                <a:ext cx="985672" cy="692736"/>
              </a:xfrm>
              <a:custGeom>
                <a:avLst/>
                <a:gdLst/>
                <a:ahLst/>
                <a:cxnLst/>
                <a:rect l="0" t="0" r="0" b="0"/>
                <a:pathLst>
                  <a:path w="120000" h="120000" extrusionOk="0">
                    <a:moveTo>
                      <a:pt x="82051" y="118536"/>
                    </a:moveTo>
                    <a:cubicBezTo>
                      <a:pt x="83076" y="117073"/>
                      <a:pt x="84102" y="120000"/>
                      <a:pt x="85128" y="120000"/>
                    </a:cubicBezTo>
                    <a:cubicBezTo>
                      <a:pt x="87179" y="118536"/>
                      <a:pt x="89230" y="117073"/>
                      <a:pt x="91282" y="115609"/>
                    </a:cubicBezTo>
                    <a:cubicBezTo>
                      <a:pt x="92307" y="115609"/>
                      <a:pt x="95384" y="114146"/>
                      <a:pt x="95384" y="111219"/>
                    </a:cubicBezTo>
                    <a:cubicBezTo>
                      <a:pt x="95384" y="108292"/>
                      <a:pt x="96410" y="109756"/>
                      <a:pt x="98461" y="108292"/>
                    </a:cubicBezTo>
                    <a:cubicBezTo>
                      <a:pt x="101538" y="108292"/>
                      <a:pt x="105641" y="103902"/>
                      <a:pt x="107692" y="99512"/>
                    </a:cubicBezTo>
                    <a:cubicBezTo>
                      <a:pt x="108717" y="98048"/>
                      <a:pt x="108717" y="96585"/>
                      <a:pt x="109743" y="95121"/>
                    </a:cubicBezTo>
                    <a:cubicBezTo>
                      <a:pt x="110769" y="93658"/>
                      <a:pt x="112820" y="93658"/>
                      <a:pt x="114871" y="93658"/>
                    </a:cubicBezTo>
                    <a:cubicBezTo>
                      <a:pt x="114871" y="90731"/>
                      <a:pt x="112820" y="89268"/>
                      <a:pt x="111794" y="86341"/>
                    </a:cubicBezTo>
                    <a:cubicBezTo>
                      <a:pt x="111794" y="84878"/>
                      <a:pt x="112820" y="80487"/>
                      <a:pt x="109743" y="80487"/>
                    </a:cubicBezTo>
                    <a:cubicBezTo>
                      <a:pt x="108717" y="80487"/>
                      <a:pt x="111794" y="77560"/>
                      <a:pt x="110769" y="76097"/>
                    </a:cubicBezTo>
                    <a:cubicBezTo>
                      <a:pt x="110769" y="71707"/>
                      <a:pt x="111794" y="70243"/>
                      <a:pt x="112820" y="67317"/>
                    </a:cubicBezTo>
                    <a:cubicBezTo>
                      <a:pt x="112820" y="64390"/>
                      <a:pt x="114871" y="64390"/>
                      <a:pt x="114871" y="61463"/>
                    </a:cubicBezTo>
                    <a:cubicBezTo>
                      <a:pt x="114871" y="60000"/>
                      <a:pt x="115897" y="58536"/>
                      <a:pt x="116923" y="58536"/>
                    </a:cubicBezTo>
                    <a:cubicBezTo>
                      <a:pt x="120000" y="58536"/>
                      <a:pt x="120000" y="58536"/>
                      <a:pt x="120000" y="55609"/>
                    </a:cubicBezTo>
                    <a:cubicBezTo>
                      <a:pt x="120000" y="46829"/>
                      <a:pt x="120000" y="39512"/>
                      <a:pt x="120000" y="30731"/>
                    </a:cubicBezTo>
                    <a:cubicBezTo>
                      <a:pt x="120000" y="27804"/>
                      <a:pt x="115897" y="26341"/>
                      <a:pt x="113846" y="24878"/>
                    </a:cubicBezTo>
                    <a:cubicBezTo>
                      <a:pt x="103589" y="17560"/>
                      <a:pt x="93333" y="8780"/>
                      <a:pt x="83076" y="1463"/>
                    </a:cubicBezTo>
                    <a:cubicBezTo>
                      <a:pt x="82051" y="1463"/>
                      <a:pt x="82051" y="0"/>
                      <a:pt x="81025" y="0"/>
                    </a:cubicBezTo>
                    <a:cubicBezTo>
                      <a:pt x="80000" y="1463"/>
                      <a:pt x="77948" y="2926"/>
                      <a:pt x="76923" y="2926"/>
                    </a:cubicBezTo>
                    <a:cubicBezTo>
                      <a:pt x="75897" y="4390"/>
                      <a:pt x="73846" y="7317"/>
                      <a:pt x="72820" y="7317"/>
                    </a:cubicBezTo>
                    <a:cubicBezTo>
                      <a:pt x="71794" y="7317"/>
                      <a:pt x="70769" y="4390"/>
                      <a:pt x="68717" y="2926"/>
                    </a:cubicBezTo>
                    <a:cubicBezTo>
                      <a:pt x="67692" y="1463"/>
                      <a:pt x="66666" y="1463"/>
                      <a:pt x="65641" y="1463"/>
                    </a:cubicBezTo>
                    <a:cubicBezTo>
                      <a:pt x="63589" y="0"/>
                      <a:pt x="62564" y="0"/>
                      <a:pt x="60512" y="1463"/>
                    </a:cubicBezTo>
                    <a:cubicBezTo>
                      <a:pt x="53333" y="7317"/>
                      <a:pt x="46153" y="14634"/>
                      <a:pt x="38974" y="20487"/>
                    </a:cubicBezTo>
                    <a:cubicBezTo>
                      <a:pt x="35897" y="23414"/>
                      <a:pt x="32820" y="26341"/>
                      <a:pt x="29743" y="30731"/>
                    </a:cubicBezTo>
                    <a:cubicBezTo>
                      <a:pt x="28717" y="32195"/>
                      <a:pt x="27692" y="32195"/>
                      <a:pt x="26666" y="32195"/>
                    </a:cubicBezTo>
                    <a:cubicBezTo>
                      <a:pt x="23589" y="32195"/>
                      <a:pt x="22564" y="32195"/>
                      <a:pt x="22564" y="36585"/>
                    </a:cubicBezTo>
                    <a:cubicBezTo>
                      <a:pt x="22564" y="40975"/>
                      <a:pt x="22564" y="45365"/>
                      <a:pt x="22564" y="49756"/>
                    </a:cubicBezTo>
                    <a:cubicBezTo>
                      <a:pt x="22564" y="54146"/>
                      <a:pt x="21538" y="58536"/>
                      <a:pt x="19487" y="61463"/>
                    </a:cubicBezTo>
                    <a:cubicBezTo>
                      <a:pt x="18461" y="62926"/>
                      <a:pt x="15384" y="62926"/>
                      <a:pt x="14358" y="62926"/>
                    </a:cubicBezTo>
                    <a:cubicBezTo>
                      <a:pt x="12307" y="62926"/>
                      <a:pt x="10256" y="62926"/>
                      <a:pt x="8205" y="62926"/>
                    </a:cubicBezTo>
                    <a:cubicBezTo>
                      <a:pt x="6153" y="62926"/>
                      <a:pt x="4102" y="64390"/>
                      <a:pt x="2051" y="64390"/>
                    </a:cubicBezTo>
                    <a:cubicBezTo>
                      <a:pt x="0" y="64390"/>
                      <a:pt x="5128" y="74634"/>
                      <a:pt x="5128" y="74634"/>
                    </a:cubicBezTo>
                    <a:cubicBezTo>
                      <a:pt x="6153" y="79024"/>
                      <a:pt x="7179" y="81951"/>
                      <a:pt x="10256" y="83414"/>
                    </a:cubicBezTo>
                    <a:cubicBezTo>
                      <a:pt x="10256" y="83414"/>
                      <a:pt x="11282" y="81951"/>
                      <a:pt x="11282" y="81951"/>
                    </a:cubicBezTo>
                    <a:cubicBezTo>
                      <a:pt x="12307" y="83414"/>
                      <a:pt x="12307" y="87804"/>
                      <a:pt x="14358" y="84878"/>
                    </a:cubicBezTo>
                    <a:cubicBezTo>
                      <a:pt x="16410" y="81951"/>
                      <a:pt x="18461" y="89268"/>
                      <a:pt x="19487" y="90731"/>
                    </a:cubicBezTo>
                    <a:cubicBezTo>
                      <a:pt x="19487" y="89268"/>
                      <a:pt x="20512" y="86341"/>
                      <a:pt x="20512" y="84878"/>
                    </a:cubicBezTo>
                    <a:cubicBezTo>
                      <a:pt x="20512" y="83414"/>
                      <a:pt x="21538" y="81951"/>
                      <a:pt x="21538" y="80487"/>
                    </a:cubicBezTo>
                    <a:cubicBezTo>
                      <a:pt x="22564" y="76097"/>
                      <a:pt x="22564" y="76097"/>
                      <a:pt x="25641" y="74634"/>
                    </a:cubicBezTo>
                    <a:cubicBezTo>
                      <a:pt x="26666" y="73170"/>
                      <a:pt x="27692" y="73170"/>
                      <a:pt x="28717" y="73170"/>
                    </a:cubicBezTo>
                    <a:cubicBezTo>
                      <a:pt x="29743" y="71707"/>
                      <a:pt x="30769" y="74634"/>
                      <a:pt x="31794" y="74634"/>
                    </a:cubicBezTo>
                    <a:cubicBezTo>
                      <a:pt x="33846" y="74634"/>
                      <a:pt x="34871" y="76097"/>
                      <a:pt x="35897" y="77560"/>
                    </a:cubicBezTo>
                    <a:cubicBezTo>
                      <a:pt x="36923" y="79024"/>
                      <a:pt x="37948" y="79024"/>
                      <a:pt x="40000" y="79024"/>
                    </a:cubicBezTo>
                    <a:cubicBezTo>
                      <a:pt x="43076" y="76097"/>
                      <a:pt x="44102" y="80487"/>
                      <a:pt x="47179" y="80487"/>
                    </a:cubicBezTo>
                    <a:cubicBezTo>
                      <a:pt x="50256" y="80487"/>
                      <a:pt x="53333" y="77560"/>
                      <a:pt x="56410" y="77560"/>
                    </a:cubicBezTo>
                    <a:cubicBezTo>
                      <a:pt x="58461" y="77560"/>
                      <a:pt x="62564" y="79024"/>
                      <a:pt x="65641" y="77560"/>
                    </a:cubicBezTo>
                    <a:cubicBezTo>
                      <a:pt x="66666" y="77560"/>
                      <a:pt x="67692" y="76097"/>
                      <a:pt x="68717" y="74634"/>
                    </a:cubicBezTo>
                    <a:cubicBezTo>
                      <a:pt x="70769" y="73170"/>
                      <a:pt x="69743" y="71707"/>
                      <a:pt x="69743" y="68780"/>
                    </a:cubicBezTo>
                    <a:cubicBezTo>
                      <a:pt x="69743" y="61463"/>
                      <a:pt x="74871" y="57073"/>
                      <a:pt x="78974" y="51219"/>
                    </a:cubicBezTo>
                    <a:cubicBezTo>
                      <a:pt x="80000" y="49756"/>
                      <a:pt x="78974" y="46829"/>
                      <a:pt x="78974" y="45365"/>
                    </a:cubicBezTo>
                    <a:cubicBezTo>
                      <a:pt x="78974" y="40975"/>
                      <a:pt x="78974" y="38048"/>
                      <a:pt x="78974" y="33658"/>
                    </a:cubicBezTo>
                    <a:cubicBezTo>
                      <a:pt x="80000" y="30731"/>
                      <a:pt x="81025" y="26341"/>
                      <a:pt x="81025" y="23414"/>
                    </a:cubicBezTo>
                    <a:cubicBezTo>
                      <a:pt x="80000" y="20487"/>
                      <a:pt x="78974" y="17560"/>
                      <a:pt x="77948" y="16097"/>
                    </a:cubicBezTo>
                    <a:cubicBezTo>
                      <a:pt x="75897" y="11707"/>
                      <a:pt x="76923" y="7317"/>
                      <a:pt x="76923" y="2926"/>
                    </a:cubicBezTo>
                    <a:cubicBezTo>
                      <a:pt x="76923" y="7317"/>
                      <a:pt x="76923" y="10243"/>
                      <a:pt x="76923" y="13170"/>
                    </a:cubicBezTo>
                    <a:cubicBezTo>
                      <a:pt x="76923" y="16097"/>
                      <a:pt x="80000" y="20487"/>
                      <a:pt x="80000" y="23414"/>
                    </a:cubicBezTo>
                    <a:cubicBezTo>
                      <a:pt x="81025" y="27804"/>
                      <a:pt x="78974" y="33658"/>
                      <a:pt x="78974" y="38048"/>
                    </a:cubicBezTo>
                    <a:cubicBezTo>
                      <a:pt x="78974" y="40975"/>
                      <a:pt x="80000" y="46829"/>
                      <a:pt x="78974" y="51219"/>
                    </a:cubicBezTo>
                    <a:cubicBezTo>
                      <a:pt x="77948" y="54146"/>
                      <a:pt x="73846" y="57073"/>
                      <a:pt x="72820" y="60000"/>
                    </a:cubicBezTo>
                    <a:cubicBezTo>
                      <a:pt x="70769" y="61463"/>
                      <a:pt x="69743" y="64390"/>
                      <a:pt x="69743" y="67317"/>
                    </a:cubicBezTo>
                    <a:cubicBezTo>
                      <a:pt x="68717" y="71707"/>
                      <a:pt x="70769" y="73170"/>
                      <a:pt x="71794" y="77560"/>
                    </a:cubicBezTo>
                    <a:cubicBezTo>
                      <a:pt x="71794" y="79024"/>
                      <a:pt x="72820" y="79024"/>
                      <a:pt x="73846" y="80487"/>
                    </a:cubicBezTo>
                    <a:cubicBezTo>
                      <a:pt x="75897" y="81951"/>
                      <a:pt x="76923" y="83414"/>
                      <a:pt x="76923" y="86341"/>
                    </a:cubicBezTo>
                    <a:cubicBezTo>
                      <a:pt x="76923" y="89268"/>
                      <a:pt x="76923" y="92195"/>
                      <a:pt x="76923" y="95121"/>
                    </a:cubicBezTo>
                    <a:cubicBezTo>
                      <a:pt x="76923" y="96585"/>
                      <a:pt x="77948" y="99512"/>
                      <a:pt x="78974" y="102439"/>
                    </a:cubicBezTo>
                    <a:cubicBezTo>
                      <a:pt x="75897" y="102439"/>
                      <a:pt x="68717" y="102439"/>
                      <a:pt x="73846" y="108292"/>
                    </a:cubicBezTo>
                    <a:cubicBezTo>
                      <a:pt x="75897" y="109756"/>
                      <a:pt x="76923" y="111219"/>
                      <a:pt x="77948" y="114146"/>
                    </a:cubicBezTo>
                    <a:cubicBezTo>
                      <a:pt x="77948" y="115609"/>
                      <a:pt x="78974" y="117073"/>
                      <a:pt x="78974" y="118536"/>
                    </a:cubicBezTo>
                    <a:cubicBezTo>
                      <a:pt x="78974" y="120000"/>
                      <a:pt x="82051" y="118536"/>
                      <a:pt x="82051" y="118536"/>
                    </a:cubicBezTo>
                    <a:cubicBezTo>
                      <a:pt x="84102" y="117073"/>
                      <a:pt x="82051" y="118536"/>
                      <a:pt x="82051" y="11853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0" name="Shape 2621">
                <a:extLst>
                  <a:ext uri="{FF2B5EF4-FFF2-40B4-BE49-F238E27FC236}">
                    <a16:creationId xmlns:a16="http://schemas.microsoft.com/office/drawing/2014/main" id="{5D648C23-0340-4311-9123-B6D0585E1BFC}"/>
                  </a:ext>
                </a:extLst>
              </p:cNvPr>
              <p:cNvSpPr/>
              <p:nvPr/>
            </p:nvSpPr>
            <p:spPr>
              <a:xfrm>
                <a:off x="12701251" y="8366879"/>
                <a:ext cx="692556" cy="853704"/>
              </a:xfrm>
              <a:custGeom>
                <a:avLst/>
                <a:gdLst/>
                <a:ahLst/>
                <a:cxnLst/>
                <a:rect l="0" t="0" r="0" b="0"/>
                <a:pathLst>
                  <a:path w="120000" h="120000" extrusionOk="0">
                    <a:moveTo>
                      <a:pt x="8780" y="46336"/>
                    </a:moveTo>
                    <a:cubicBezTo>
                      <a:pt x="8780" y="46336"/>
                      <a:pt x="8780" y="47524"/>
                      <a:pt x="8780" y="48712"/>
                    </a:cubicBezTo>
                    <a:cubicBezTo>
                      <a:pt x="7317" y="49900"/>
                      <a:pt x="5853" y="49900"/>
                      <a:pt x="5853" y="51089"/>
                    </a:cubicBezTo>
                    <a:cubicBezTo>
                      <a:pt x="5853" y="53465"/>
                      <a:pt x="2926" y="55841"/>
                      <a:pt x="2926" y="58217"/>
                    </a:cubicBezTo>
                    <a:cubicBezTo>
                      <a:pt x="2926" y="59405"/>
                      <a:pt x="4390" y="60594"/>
                      <a:pt x="2926" y="60594"/>
                    </a:cubicBezTo>
                    <a:cubicBezTo>
                      <a:pt x="2926" y="61782"/>
                      <a:pt x="0" y="62970"/>
                      <a:pt x="1463" y="62970"/>
                    </a:cubicBezTo>
                    <a:cubicBezTo>
                      <a:pt x="5853" y="62970"/>
                      <a:pt x="4390" y="67722"/>
                      <a:pt x="5853" y="68910"/>
                    </a:cubicBezTo>
                    <a:cubicBezTo>
                      <a:pt x="5853" y="70099"/>
                      <a:pt x="7317" y="70099"/>
                      <a:pt x="8780" y="71287"/>
                    </a:cubicBezTo>
                    <a:cubicBezTo>
                      <a:pt x="8780" y="72475"/>
                      <a:pt x="8780" y="73663"/>
                      <a:pt x="8780" y="74851"/>
                    </a:cubicBezTo>
                    <a:cubicBezTo>
                      <a:pt x="10243" y="77227"/>
                      <a:pt x="13170" y="78415"/>
                      <a:pt x="13170" y="80792"/>
                    </a:cubicBezTo>
                    <a:cubicBezTo>
                      <a:pt x="13170" y="81980"/>
                      <a:pt x="11707" y="87920"/>
                      <a:pt x="13170" y="87920"/>
                    </a:cubicBezTo>
                    <a:cubicBezTo>
                      <a:pt x="17560" y="87920"/>
                      <a:pt x="19024" y="89108"/>
                      <a:pt x="21951" y="90297"/>
                    </a:cubicBezTo>
                    <a:cubicBezTo>
                      <a:pt x="24878" y="91485"/>
                      <a:pt x="23414" y="95049"/>
                      <a:pt x="26341" y="96237"/>
                    </a:cubicBezTo>
                    <a:cubicBezTo>
                      <a:pt x="27804" y="97425"/>
                      <a:pt x="32195" y="97425"/>
                      <a:pt x="32195" y="99801"/>
                    </a:cubicBezTo>
                    <a:cubicBezTo>
                      <a:pt x="32195" y="102178"/>
                      <a:pt x="36585" y="103366"/>
                      <a:pt x="38048" y="104554"/>
                    </a:cubicBezTo>
                    <a:cubicBezTo>
                      <a:pt x="38048" y="105742"/>
                      <a:pt x="38048" y="106930"/>
                      <a:pt x="38048" y="108118"/>
                    </a:cubicBezTo>
                    <a:cubicBezTo>
                      <a:pt x="39512" y="108118"/>
                      <a:pt x="40975" y="109306"/>
                      <a:pt x="40975" y="109306"/>
                    </a:cubicBezTo>
                    <a:cubicBezTo>
                      <a:pt x="42439" y="110495"/>
                      <a:pt x="43902" y="112871"/>
                      <a:pt x="46829" y="114059"/>
                    </a:cubicBezTo>
                    <a:cubicBezTo>
                      <a:pt x="48292" y="115247"/>
                      <a:pt x="48292" y="110495"/>
                      <a:pt x="51219" y="112871"/>
                    </a:cubicBezTo>
                    <a:cubicBezTo>
                      <a:pt x="54146" y="114059"/>
                      <a:pt x="54146" y="111683"/>
                      <a:pt x="57073" y="111683"/>
                    </a:cubicBezTo>
                    <a:cubicBezTo>
                      <a:pt x="60000" y="112871"/>
                      <a:pt x="61463" y="116435"/>
                      <a:pt x="64390" y="118811"/>
                    </a:cubicBezTo>
                    <a:cubicBezTo>
                      <a:pt x="67317" y="112871"/>
                      <a:pt x="71707" y="120000"/>
                      <a:pt x="74634" y="118811"/>
                    </a:cubicBezTo>
                    <a:cubicBezTo>
                      <a:pt x="76097" y="117623"/>
                      <a:pt x="77560" y="116435"/>
                      <a:pt x="80487" y="116435"/>
                    </a:cubicBezTo>
                    <a:cubicBezTo>
                      <a:pt x="81951" y="116435"/>
                      <a:pt x="84878" y="116435"/>
                      <a:pt x="86341" y="115247"/>
                    </a:cubicBezTo>
                    <a:cubicBezTo>
                      <a:pt x="89268" y="110495"/>
                      <a:pt x="95121" y="108118"/>
                      <a:pt x="100975" y="111683"/>
                    </a:cubicBezTo>
                    <a:cubicBezTo>
                      <a:pt x="100975" y="110495"/>
                      <a:pt x="100975" y="109306"/>
                      <a:pt x="100975" y="108118"/>
                    </a:cubicBezTo>
                    <a:cubicBezTo>
                      <a:pt x="100975" y="106930"/>
                      <a:pt x="96585" y="106930"/>
                      <a:pt x="96585" y="106930"/>
                    </a:cubicBezTo>
                    <a:cubicBezTo>
                      <a:pt x="93658" y="104554"/>
                      <a:pt x="92195" y="100990"/>
                      <a:pt x="89268" y="98613"/>
                    </a:cubicBezTo>
                    <a:cubicBezTo>
                      <a:pt x="87804" y="97425"/>
                      <a:pt x="87804" y="96237"/>
                      <a:pt x="86341" y="95049"/>
                    </a:cubicBezTo>
                    <a:cubicBezTo>
                      <a:pt x="84878" y="93861"/>
                      <a:pt x="83414" y="93861"/>
                      <a:pt x="81951" y="92673"/>
                    </a:cubicBezTo>
                    <a:cubicBezTo>
                      <a:pt x="77560" y="89108"/>
                      <a:pt x="86341" y="89108"/>
                      <a:pt x="86341" y="89108"/>
                    </a:cubicBezTo>
                    <a:cubicBezTo>
                      <a:pt x="89268" y="87920"/>
                      <a:pt x="87804" y="81980"/>
                      <a:pt x="89268" y="79603"/>
                    </a:cubicBezTo>
                    <a:cubicBezTo>
                      <a:pt x="89268" y="78415"/>
                      <a:pt x="89268" y="76039"/>
                      <a:pt x="90731" y="76039"/>
                    </a:cubicBezTo>
                    <a:cubicBezTo>
                      <a:pt x="92195" y="74851"/>
                      <a:pt x="95121" y="74851"/>
                      <a:pt x="95121" y="73663"/>
                    </a:cubicBezTo>
                    <a:cubicBezTo>
                      <a:pt x="95121" y="72475"/>
                      <a:pt x="95121" y="71287"/>
                      <a:pt x="95121" y="68910"/>
                    </a:cubicBezTo>
                    <a:cubicBezTo>
                      <a:pt x="95121" y="67722"/>
                      <a:pt x="96585" y="66534"/>
                      <a:pt x="98048" y="65346"/>
                    </a:cubicBezTo>
                    <a:cubicBezTo>
                      <a:pt x="99512" y="62970"/>
                      <a:pt x="102439" y="64158"/>
                      <a:pt x="103902" y="61782"/>
                    </a:cubicBezTo>
                    <a:cubicBezTo>
                      <a:pt x="103902" y="59405"/>
                      <a:pt x="105365" y="57029"/>
                      <a:pt x="105365" y="53465"/>
                    </a:cubicBezTo>
                    <a:cubicBezTo>
                      <a:pt x="105365" y="52277"/>
                      <a:pt x="105365" y="51089"/>
                      <a:pt x="105365" y="49900"/>
                    </a:cubicBezTo>
                    <a:cubicBezTo>
                      <a:pt x="105365" y="47524"/>
                      <a:pt x="108292" y="45148"/>
                      <a:pt x="108292" y="43960"/>
                    </a:cubicBezTo>
                    <a:cubicBezTo>
                      <a:pt x="108292" y="39207"/>
                      <a:pt x="109756" y="35643"/>
                      <a:pt x="115609" y="34455"/>
                    </a:cubicBezTo>
                    <a:cubicBezTo>
                      <a:pt x="117073" y="34455"/>
                      <a:pt x="118536" y="34455"/>
                      <a:pt x="120000" y="32079"/>
                    </a:cubicBezTo>
                    <a:cubicBezTo>
                      <a:pt x="120000" y="30891"/>
                      <a:pt x="117073" y="28514"/>
                      <a:pt x="115609" y="27326"/>
                    </a:cubicBezTo>
                    <a:cubicBezTo>
                      <a:pt x="112682" y="24950"/>
                      <a:pt x="111219" y="22574"/>
                      <a:pt x="111219" y="20198"/>
                    </a:cubicBezTo>
                    <a:cubicBezTo>
                      <a:pt x="111219" y="19009"/>
                      <a:pt x="109756" y="13069"/>
                      <a:pt x="111219" y="13069"/>
                    </a:cubicBezTo>
                    <a:cubicBezTo>
                      <a:pt x="112682" y="11881"/>
                      <a:pt x="111219" y="11881"/>
                      <a:pt x="109756" y="10693"/>
                    </a:cubicBezTo>
                    <a:cubicBezTo>
                      <a:pt x="108292" y="9504"/>
                      <a:pt x="108292" y="8316"/>
                      <a:pt x="108292" y="5940"/>
                    </a:cubicBezTo>
                    <a:cubicBezTo>
                      <a:pt x="105365" y="3564"/>
                      <a:pt x="100975" y="2376"/>
                      <a:pt x="99512" y="0"/>
                    </a:cubicBezTo>
                    <a:cubicBezTo>
                      <a:pt x="98048" y="0"/>
                      <a:pt x="95121" y="1188"/>
                      <a:pt x="93658" y="2376"/>
                    </a:cubicBezTo>
                    <a:cubicBezTo>
                      <a:pt x="92195" y="5940"/>
                      <a:pt x="89268" y="3564"/>
                      <a:pt x="87804" y="5940"/>
                    </a:cubicBezTo>
                    <a:cubicBezTo>
                      <a:pt x="86341" y="10693"/>
                      <a:pt x="84878" y="5940"/>
                      <a:pt x="81951" y="5940"/>
                    </a:cubicBezTo>
                    <a:cubicBezTo>
                      <a:pt x="76097" y="5940"/>
                      <a:pt x="71707" y="5940"/>
                      <a:pt x="67317" y="5940"/>
                    </a:cubicBezTo>
                    <a:cubicBezTo>
                      <a:pt x="54146" y="5940"/>
                      <a:pt x="39512" y="5940"/>
                      <a:pt x="24878" y="5940"/>
                    </a:cubicBezTo>
                    <a:cubicBezTo>
                      <a:pt x="21951" y="5940"/>
                      <a:pt x="23414" y="14257"/>
                      <a:pt x="23414" y="16633"/>
                    </a:cubicBezTo>
                    <a:cubicBezTo>
                      <a:pt x="23414" y="19009"/>
                      <a:pt x="21951" y="19009"/>
                      <a:pt x="19024" y="19009"/>
                    </a:cubicBezTo>
                    <a:cubicBezTo>
                      <a:pt x="14634" y="19009"/>
                      <a:pt x="16097" y="19009"/>
                      <a:pt x="16097" y="21386"/>
                    </a:cubicBezTo>
                    <a:cubicBezTo>
                      <a:pt x="16097" y="27326"/>
                      <a:pt x="16097" y="32079"/>
                      <a:pt x="16097" y="38019"/>
                    </a:cubicBezTo>
                    <a:cubicBezTo>
                      <a:pt x="16097" y="40396"/>
                      <a:pt x="16097" y="42772"/>
                      <a:pt x="16097" y="43960"/>
                    </a:cubicBezTo>
                    <a:cubicBezTo>
                      <a:pt x="16097" y="46336"/>
                      <a:pt x="10243" y="45148"/>
                      <a:pt x="8780" y="4633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1" name="Shape 2622">
                <a:extLst>
                  <a:ext uri="{FF2B5EF4-FFF2-40B4-BE49-F238E27FC236}">
                    <a16:creationId xmlns:a16="http://schemas.microsoft.com/office/drawing/2014/main" id="{3D7242F1-70FB-44CC-A598-C37DDBEF66AD}"/>
                  </a:ext>
                </a:extLst>
              </p:cNvPr>
              <p:cNvSpPr/>
              <p:nvPr/>
            </p:nvSpPr>
            <p:spPr>
              <a:xfrm>
                <a:off x="13307603" y="8585335"/>
                <a:ext cx="270126" cy="244328"/>
              </a:xfrm>
              <a:custGeom>
                <a:avLst/>
                <a:gdLst/>
                <a:ahLst/>
                <a:cxnLst/>
                <a:rect l="0" t="0" r="0" b="0"/>
                <a:pathLst>
                  <a:path w="120000" h="120000" extrusionOk="0">
                    <a:moveTo>
                      <a:pt x="11250" y="78620"/>
                    </a:moveTo>
                    <a:cubicBezTo>
                      <a:pt x="15000" y="78620"/>
                      <a:pt x="22500" y="86896"/>
                      <a:pt x="26250" y="82758"/>
                    </a:cubicBezTo>
                    <a:cubicBezTo>
                      <a:pt x="26250" y="78620"/>
                      <a:pt x="22500" y="70344"/>
                      <a:pt x="26250" y="70344"/>
                    </a:cubicBezTo>
                    <a:cubicBezTo>
                      <a:pt x="33750" y="70344"/>
                      <a:pt x="33750" y="78620"/>
                      <a:pt x="37500" y="78620"/>
                    </a:cubicBezTo>
                    <a:cubicBezTo>
                      <a:pt x="41250" y="78620"/>
                      <a:pt x="45000" y="74482"/>
                      <a:pt x="45000" y="74482"/>
                    </a:cubicBezTo>
                    <a:cubicBezTo>
                      <a:pt x="48750" y="70344"/>
                      <a:pt x="52500" y="74482"/>
                      <a:pt x="52500" y="74482"/>
                    </a:cubicBezTo>
                    <a:cubicBezTo>
                      <a:pt x="82500" y="74482"/>
                      <a:pt x="93750" y="99310"/>
                      <a:pt x="108750" y="120000"/>
                    </a:cubicBezTo>
                    <a:cubicBezTo>
                      <a:pt x="112500" y="120000"/>
                      <a:pt x="116250" y="115862"/>
                      <a:pt x="120000" y="111724"/>
                    </a:cubicBezTo>
                    <a:cubicBezTo>
                      <a:pt x="108750" y="103448"/>
                      <a:pt x="97500" y="91034"/>
                      <a:pt x="90000" y="78620"/>
                    </a:cubicBezTo>
                    <a:cubicBezTo>
                      <a:pt x="86250" y="70344"/>
                      <a:pt x="78750" y="70344"/>
                      <a:pt x="71250" y="66206"/>
                    </a:cubicBezTo>
                    <a:cubicBezTo>
                      <a:pt x="67500" y="66206"/>
                      <a:pt x="67500" y="57931"/>
                      <a:pt x="63750" y="57931"/>
                    </a:cubicBezTo>
                    <a:cubicBezTo>
                      <a:pt x="60000" y="57931"/>
                      <a:pt x="63750" y="62068"/>
                      <a:pt x="63750" y="66206"/>
                    </a:cubicBezTo>
                    <a:cubicBezTo>
                      <a:pt x="63750" y="66206"/>
                      <a:pt x="60000" y="57931"/>
                      <a:pt x="60000" y="57931"/>
                    </a:cubicBezTo>
                    <a:cubicBezTo>
                      <a:pt x="56250" y="49655"/>
                      <a:pt x="52500" y="45517"/>
                      <a:pt x="52500" y="37241"/>
                    </a:cubicBezTo>
                    <a:cubicBezTo>
                      <a:pt x="48750" y="24827"/>
                      <a:pt x="48750" y="12413"/>
                      <a:pt x="37500" y="0"/>
                    </a:cubicBezTo>
                    <a:cubicBezTo>
                      <a:pt x="33750" y="16551"/>
                      <a:pt x="15000" y="16551"/>
                      <a:pt x="7500" y="28965"/>
                    </a:cubicBezTo>
                    <a:cubicBezTo>
                      <a:pt x="3750" y="37241"/>
                      <a:pt x="7500" y="45517"/>
                      <a:pt x="3750" y="53793"/>
                    </a:cubicBezTo>
                    <a:cubicBezTo>
                      <a:pt x="0" y="62068"/>
                      <a:pt x="0" y="70344"/>
                      <a:pt x="0" y="82758"/>
                    </a:cubicBezTo>
                    <a:cubicBezTo>
                      <a:pt x="3750" y="78620"/>
                      <a:pt x="7500" y="78620"/>
                      <a:pt x="11250" y="7862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2" name="Shape 2623">
                <a:extLst>
                  <a:ext uri="{FF2B5EF4-FFF2-40B4-BE49-F238E27FC236}">
                    <a16:creationId xmlns:a16="http://schemas.microsoft.com/office/drawing/2014/main" id="{7E6BBA01-B29E-481B-930F-8A66E2A03B83}"/>
                  </a:ext>
                </a:extLst>
              </p:cNvPr>
              <p:cNvSpPr/>
              <p:nvPr/>
            </p:nvSpPr>
            <p:spPr>
              <a:xfrm>
                <a:off x="13166789" y="8703189"/>
                <a:ext cx="623587" cy="517395"/>
              </a:xfrm>
              <a:custGeom>
                <a:avLst/>
                <a:gdLst/>
                <a:ahLst/>
                <a:cxnLst/>
                <a:rect l="0" t="0" r="0" b="0"/>
                <a:pathLst>
                  <a:path w="120000" h="120000" extrusionOk="0">
                    <a:moveTo>
                      <a:pt x="113513" y="74754"/>
                    </a:moveTo>
                    <a:cubicBezTo>
                      <a:pt x="105405" y="70819"/>
                      <a:pt x="98918" y="68852"/>
                      <a:pt x="92432" y="64918"/>
                    </a:cubicBezTo>
                    <a:cubicBezTo>
                      <a:pt x="87567" y="62950"/>
                      <a:pt x="85945" y="60983"/>
                      <a:pt x="82702" y="57049"/>
                    </a:cubicBezTo>
                    <a:cubicBezTo>
                      <a:pt x="81081" y="55081"/>
                      <a:pt x="79459" y="51147"/>
                      <a:pt x="77837" y="47213"/>
                    </a:cubicBezTo>
                    <a:cubicBezTo>
                      <a:pt x="77837" y="45245"/>
                      <a:pt x="82702" y="41311"/>
                      <a:pt x="82702" y="39344"/>
                    </a:cubicBezTo>
                    <a:cubicBezTo>
                      <a:pt x="79459" y="41311"/>
                      <a:pt x="76216" y="43278"/>
                      <a:pt x="72972" y="45245"/>
                    </a:cubicBezTo>
                    <a:cubicBezTo>
                      <a:pt x="69729" y="45245"/>
                      <a:pt x="69729" y="37377"/>
                      <a:pt x="71351" y="35409"/>
                    </a:cubicBezTo>
                    <a:cubicBezTo>
                      <a:pt x="76216" y="29508"/>
                      <a:pt x="74594" y="29508"/>
                      <a:pt x="71351" y="23606"/>
                    </a:cubicBezTo>
                    <a:cubicBezTo>
                      <a:pt x="68108" y="19672"/>
                      <a:pt x="64864" y="11803"/>
                      <a:pt x="60000" y="9836"/>
                    </a:cubicBezTo>
                    <a:cubicBezTo>
                      <a:pt x="56756" y="9836"/>
                      <a:pt x="48648" y="5901"/>
                      <a:pt x="45405" y="7868"/>
                    </a:cubicBezTo>
                    <a:cubicBezTo>
                      <a:pt x="42162" y="13770"/>
                      <a:pt x="38918" y="0"/>
                      <a:pt x="38918" y="9836"/>
                    </a:cubicBezTo>
                    <a:cubicBezTo>
                      <a:pt x="38918" y="13770"/>
                      <a:pt x="35675" y="11803"/>
                      <a:pt x="34054" y="9836"/>
                    </a:cubicBezTo>
                    <a:cubicBezTo>
                      <a:pt x="32432" y="9836"/>
                      <a:pt x="30810" y="9836"/>
                      <a:pt x="29189" y="9836"/>
                    </a:cubicBezTo>
                    <a:cubicBezTo>
                      <a:pt x="25945" y="11803"/>
                      <a:pt x="27567" y="11803"/>
                      <a:pt x="27567" y="15737"/>
                    </a:cubicBezTo>
                    <a:cubicBezTo>
                      <a:pt x="27567" y="17704"/>
                      <a:pt x="25945" y="23606"/>
                      <a:pt x="24324" y="25573"/>
                    </a:cubicBezTo>
                    <a:cubicBezTo>
                      <a:pt x="24324" y="27540"/>
                      <a:pt x="19459" y="25573"/>
                      <a:pt x="19459" y="27540"/>
                    </a:cubicBezTo>
                    <a:cubicBezTo>
                      <a:pt x="19459" y="31475"/>
                      <a:pt x="16216" y="33442"/>
                      <a:pt x="16216" y="35409"/>
                    </a:cubicBezTo>
                    <a:cubicBezTo>
                      <a:pt x="16216" y="37377"/>
                      <a:pt x="17837" y="43278"/>
                      <a:pt x="16216" y="45245"/>
                    </a:cubicBezTo>
                    <a:cubicBezTo>
                      <a:pt x="6486" y="47213"/>
                      <a:pt x="9729" y="59016"/>
                      <a:pt x="8108" y="66885"/>
                    </a:cubicBezTo>
                    <a:cubicBezTo>
                      <a:pt x="6486" y="68852"/>
                      <a:pt x="4864" y="68852"/>
                      <a:pt x="1621" y="68852"/>
                    </a:cubicBezTo>
                    <a:cubicBezTo>
                      <a:pt x="0" y="70819"/>
                      <a:pt x="0" y="74754"/>
                      <a:pt x="3243" y="74754"/>
                    </a:cubicBezTo>
                    <a:cubicBezTo>
                      <a:pt x="8108" y="76721"/>
                      <a:pt x="12972" y="88524"/>
                      <a:pt x="14594" y="92459"/>
                    </a:cubicBezTo>
                    <a:cubicBezTo>
                      <a:pt x="16216" y="96393"/>
                      <a:pt x="17837" y="96393"/>
                      <a:pt x="21081" y="98360"/>
                    </a:cubicBezTo>
                    <a:cubicBezTo>
                      <a:pt x="22702" y="100327"/>
                      <a:pt x="21081" y="104262"/>
                      <a:pt x="22702" y="106229"/>
                    </a:cubicBezTo>
                    <a:cubicBezTo>
                      <a:pt x="25945" y="110163"/>
                      <a:pt x="29189" y="106229"/>
                      <a:pt x="32432" y="108196"/>
                    </a:cubicBezTo>
                    <a:cubicBezTo>
                      <a:pt x="34054" y="110163"/>
                      <a:pt x="37297" y="114098"/>
                      <a:pt x="40540" y="116065"/>
                    </a:cubicBezTo>
                    <a:cubicBezTo>
                      <a:pt x="43783" y="116065"/>
                      <a:pt x="50270" y="120000"/>
                      <a:pt x="53513" y="118032"/>
                    </a:cubicBezTo>
                    <a:cubicBezTo>
                      <a:pt x="56756" y="114098"/>
                      <a:pt x="58378" y="110163"/>
                      <a:pt x="63243" y="112131"/>
                    </a:cubicBezTo>
                    <a:cubicBezTo>
                      <a:pt x="68108" y="114098"/>
                      <a:pt x="72972" y="112131"/>
                      <a:pt x="76216" y="110163"/>
                    </a:cubicBezTo>
                    <a:cubicBezTo>
                      <a:pt x="79459" y="106229"/>
                      <a:pt x="82702" y="104262"/>
                      <a:pt x="87567" y="104262"/>
                    </a:cubicBezTo>
                    <a:cubicBezTo>
                      <a:pt x="89189" y="104262"/>
                      <a:pt x="95675" y="104262"/>
                      <a:pt x="95675" y="104262"/>
                    </a:cubicBezTo>
                    <a:cubicBezTo>
                      <a:pt x="103783" y="94426"/>
                      <a:pt x="111891" y="84590"/>
                      <a:pt x="120000" y="74754"/>
                    </a:cubicBezTo>
                    <a:cubicBezTo>
                      <a:pt x="118378" y="74754"/>
                      <a:pt x="115135" y="74754"/>
                      <a:pt x="113513" y="7475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3" name="Shape 2624">
                <a:extLst>
                  <a:ext uri="{FF2B5EF4-FFF2-40B4-BE49-F238E27FC236}">
                    <a16:creationId xmlns:a16="http://schemas.microsoft.com/office/drawing/2014/main" id="{7B03167C-4BC6-47F5-88BF-A4A9500826A9}"/>
                  </a:ext>
                </a:extLst>
              </p:cNvPr>
              <p:cNvSpPr/>
              <p:nvPr/>
            </p:nvSpPr>
            <p:spPr>
              <a:xfrm>
                <a:off x="13198399" y="8855532"/>
                <a:ext cx="732787" cy="701358"/>
              </a:xfrm>
              <a:custGeom>
                <a:avLst/>
                <a:gdLst/>
                <a:ahLst/>
                <a:cxnLst/>
                <a:rect l="0" t="0" r="0" b="0"/>
                <a:pathLst>
                  <a:path w="120000" h="120000" extrusionOk="0">
                    <a:moveTo>
                      <a:pt x="118620" y="1445"/>
                    </a:moveTo>
                    <a:cubicBezTo>
                      <a:pt x="120000" y="0"/>
                      <a:pt x="115862" y="0"/>
                      <a:pt x="114482" y="0"/>
                    </a:cubicBezTo>
                    <a:cubicBezTo>
                      <a:pt x="113103" y="1445"/>
                      <a:pt x="111724" y="2891"/>
                      <a:pt x="108965" y="4337"/>
                    </a:cubicBezTo>
                    <a:cubicBezTo>
                      <a:pt x="106206" y="4337"/>
                      <a:pt x="102068" y="4337"/>
                      <a:pt x="97931" y="4337"/>
                    </a:cubicBezTo>
                    <a:cubicBezTo>
                      <a:pt x="97931" y="5783"/>
                      <a:pt x="96551" y="5783"/>
                      <a:pt x="95172" y="5783"/>
                    </a:cubicBezTo>
                    <a:cubicBezTo>
                      <a:pt x="93793" y="5783"/>
                      <a:pt x="93793" y="4337"/>
                      <a:pt x="93793" y="4337"/>
                    </a:cubicBezTo>
                    <a:cubicBezTo>
                      <a:pt x="91034" y="5783"/>
                      <a:pt x="89655" y="8674"/>
                      <a:pt x="86896" y="8674"/>
                    </a:cubicBezTo>
                    <a:cubicBezTo>
                      <a:pt x="84137" y="8674"/>
                      <a:pt x="84137" y="7228"/>
                      <a:pt x="80000" y="7228"/>
                    </a:cubicBezTo>
                    <a:cubicBezTo>
                      <a:pt x="78620" y="8674"/>
                      <a:pt x="75862" y="11566"/>
                      <a:pt x="73103" y="10120"/>
                    </a:cubicBezTo>
                    <a:cubicBezTo>
                      <a:pt x="68965" y="8674"/>
                      <a:pt x="67586" y="7228"/>
                      <a:pt x="64827" y="2891"/>
                    </a:cubicBezTo>
                    <a:cubicBezTo>
                      <a:pt x="64827" y="4337"/>
                      <a:pt x="60689" y="7228"/>
                      <a:pt x="60689" y="8674"/>
                    </a:cubicBezTo>
                    <a:cubicBezTo>
                      <a:pt x="62068" y="11566"/>
                      <a:pt x="63448" y="14457"/>
                      <a:pt x="66206" y="17349"/>
                    </a:cubicBezTo>
                    <a:cubicBezTo>
                      <a:pt x="68965" y="20240"/>
                      <a:pt x="73103" y="21686"/>
                      <a:pt x="77241" y="23132"/>
                    </a:cubicBezTo>
                    <a:cubicBezTo>
                      <a:pt x="84137" y="26024"/>
                      <a:pt x="89655" y="28915"/>
                      <a:pt x="96551" y="28915"/>
                    </a:cubicBezTo>
                    <a:cubicBezTo>
                      <a:pt x="93793" y="31807"/>
                      <a:pt x="89655" y="36144"/>
                      <a:pt x="86896" y="39036"/>
                    </a:cubicBezTo>
                    <a:cubicBezTo>
                      <a:pt x="84137" y="41927"/>
                      <a:pt x="81379" y="44819"/>
                      <a:pt x="80000" y="47710"/>
                    </a:cubicBezTo>
                    <a:cubicBezTo>
                      <a:pt x="78620" y="47710"/>
                      <a:pt x="77241" y="50602"/>
                      <a:pt x="75862" y="50602"/>
                    </a:cubicBezTo>
                    <a:cubicBezTo>
                      <a:pt x="73103" y="52048"/>
                      <a:pt x="68965" y="49156"/>
                      <a:pt x="66206" y="50602"/>
                    </a:cubicBezTo>
                    <a:cubicBezTo>
                      <a:pt x="63448" y="50602"/>
                      <a:pt x="60689" y="53493"/>
                      <a:pt x="57931" y="54939"/>
                    </a:cubicBezTo>
                    <a:cubicBezTo>
                      <a:pt x="55172" y="56385"/>
                      <a:pt x="52413" y="57831"/>
                      <a:pt x="49655" y="56385"/>
                    </a:cubicBezTo>
                    <a:cubicBezTo>
                      <a:pt x="48275" y="56385"/>
                      <a:pt x="45517" y="54939"/>
                      <a:pt x="44137" y="56385"/>
                    </a:cubicBezTo>
                    <a:cubicBezTo>
                      <a:pt x="40000" y="59277"/>
                      <a:pt x="40000" y="62168"/>
                      <a:pt x="35862" y="60722"/>
                    </a:cubicBezTo>
                    <a:cubicBezTo>
                      <a:pt x="33103" y="59277"/>
                      <a:pt x="30344" y="59277"/>
                      <a:pt x="28965" y="59277"/>
                    </a:cubicBezTo>
                    <a:cubicBezTo>
                      <a:pt x="26206" y="57831"/>
                      <a:pt x="23448" y="54939"/>
                      <a:pt x="22068" y="53493"/>
                    </a:cubicBezTo>
                    <a:cubicBezTo>
                      <a:pt x="20689" y="53493"/>
                      <a:pt x="16551" y="54939"/>
                      <a:pt x="15172" y="53493"/>
                    </a:cubicBezTo>
                    <a:cubicBezTo>
                      <a:pt x="13793" y="52048"/>
                      <a:pt x="11034" y="49156"/>
                      <a:pt x="9655" y="49156"/>
                    </a:cubicBezTo>
                    <a:cubicBezTo>
                      <a:pt x="4137" y="50602"/>
                      <a:pt x="2758" y="52048"/>
                      <a:pt x="0" y="56385"/>
                    </a:cubicBezTo>
                    <a:cubicBezTo>
                      <a:pt x="0" y="57831"/>
                      <a:pt x="4137" y="57831"/>
                      <a:pt x="4137" y="59277"/>
                    </a:cubicBezTo>
                    <a:cubicBezTo>
                      <a:pt x="4137" y="62168"/>
                      <a:pt x="4137" y="63614"/>
                      <a:pt x="5517" y="65060"/>
                    </a:cubicBezTo>
                    <a:cubicBezTo>
                      <a:pt x="8275" y="67951"/>
                      <a:pt x="6896" y="75180"/>
                      <a:pt x="4137" y="78072"/>
                    </a:cubicBezTo>
                    <a:cubicBezTo>
                      <a:pt x="2758" y="79518"/>
                      <a:pt x="1379" y="80963"/>
                      <a:pt x="0" y="83855"/>
                    </a:cubicBezTo>
                    <a:cubicBezTo>
                      <a:pt x="0" y="88192"/>
                      <a:pt x="2758" y="85301"/>
                      <a:pt x="4137" y="86746"/>
                    </a:cubicBezTo>
                    <a:cubicBezTo>
                      <a:pt x="4137" y="86746"/>
                      <a:pt x="0" y="92530"/>
                      <a:pt x="1379" y="93975"/>
                    </a:cubicBezTo>
                    <a:cubicBezTo>
                      <a:pt x="2758" y="93975"/>
                      <a:pt x="4137" y="95421"/>
                      <a:pt x="5517" y="95421"/>
                    </a:cubicBezTo>
                    <a:cubicBezTo>
                      <a:pt x="11034" y="99759"/>
                      <a:pt x="16551" y="102650"/>
                      <a:pt x="20689" y="105542"/>
                    </a:cubicBezTo>
                    <a:cubicBezTo>
                      <a:pt x="24827" y="106987"/>
                      <a:pt x="26206" y="106987"/>
                      <a:pt x="26206" y="111325"/>
                    </a:cubicBezTo>
                    <a:cubicBezTo>
                      <a:pt x="26206" y="114216"/>
                      <a:pt x="34482" y="118554"/>
                      <a:pt x="35862" y="119999"/>
                    </a:cubicBezTo>
                    <a:cubicBezTo>
                      <a:pt x="38620" y="115662"/>
                      <a:pt x="40000" y="112771"/>
                      <a:pt x="41379" y="109879"/>
                    </a:cubicBezTo>
                    <a:cubicBezTo>
                      <a:pt x="41379" y="106987"/>
                      <a:pt x="42758" y="104096"/>
                      <a:pt x="45517" y="104096"/>
                    </a:cubicBezTo>
                    <a:cubicBezTo>
                      <a:pt x="46896" y="102650"/>
                      <a:pt x="46896" y="101204"/>
                      <a:pt x="48275" y="99759"/>
                    </a:cubicBezTo>
                    <a:cubicBezTo>
                      <a:pt x="51034" y="98313"/>
                      <a:pt x="52413" y="96867"/>
                      <a:pt x="55172" y="93975"/>
                    </a:cubicBezTo>
                    <a:cubicBezTo>
                      <a:pt x="62068" y="82409"/>
                      <a:pt x="71724" y="76626"/>
                      <a:pt x="81379" y="69397"/>
                    </a:cubicBezTo>
                    <a:cubicBezTo>
                      <a:pt x="93793" y="60722"/>
                      <a:pt x="100689" y="47710"/>
                      <a:pt x="106206" y="34698"/>
                    </a:cubicBezTo>
                    <a:cubicBezTo>
                      <a:pt x="108965" y="28915"/>
                      <a:pt x="113103" y="26024"/>
                      <a:pt x="115862" y="20240"/>
                    </a:cubicBezTo>
                    <a:cubicBezTo>
                      <a:pt x="117241" y="17349"/>
                      <a:pt x="117241" y="13012"/>
                      <a:pt x="118620" y="10120"/>
                    </a:cubicBezTo>
                    <a:cubicBezTo>
                      <a:pt x="118620" y="8674"/>
                      <a:pt x="117241" y="2891"/>
                      <a:pt x="118620" y="1445"/>
                    </a:cubicBezTo>
                    <a:cubicBezTo>
                      <a:pt x="118620" y="1445"/>
                      <a:pt x="118620" y="1445"/>
                      <a:pt x="118620" y="144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4" name="Shape 2625">
                <a:extLst>
                  <a:ext uri="{FF2B5EF4-FFF2-40B4-BE49-F238E27FC236}">
                    <a16:creationId xmlns:a16="http://schemas.microsoft.com/office/drawing/2014/main" id="{664C55F1-08AF-47BA-9144-31330924B4EE}"/>
                  </a:ext>
                </a:extLst>
              </p:cNvPr>
              <p:cNvSpPr/>
              <p:nvPr/>
            </p:nvSpPr>
            <p:spPr>
              <a:xfrm>
                <a:off x="13528874" y="8815291"/>
                <a:ext cx="74715" cy="91980"/>
              </a:xfrm>
              <a:custGeom>
                <a:avLst/>
                <a:gdLst/>
                <a:ahLst/>
                <a:cxnLst/>
                <a:rect l="0" t="0" r="0" b="0"/>
                <a:pathLst>
                  <a:path w="120000" h="120000" extrusionOk="0">
                    <a:moveTo>
                      <a:pt x="40000" y="21818"/>
                    </a:moveTo>
                    <a:cubicBezTo>
                      <a:pt x="26666" y="32727"/>
                      <a:pt x="13333" y="43636"/>
                      <a:pt x="13333" y="54545"/>
                    </a:cubicBezTo>
                    <a:cubicBezTo>
                      <a:pt x="0" y="54545"/>
                      <a:pt x="0" y="98181"/>
                      <a:pt x="0" y="109090"/>
                    </a:cubicBezTo>
                    <a:cubicBezTo>
                      <a:pt x="26666" y="120000"/>
                      <a:pt x="93333" y="76363"/>
                      <a:pt x="106666" y="76363"/>
                    </a:cubicBezTo>
                    <a:cubicBezTo>
                      <a:pt x="106666" y="65454"/>
                      <a:pt x="66666" y="54545"/>
                      <a:pt x="53333" y="65454"/>
                    </a:cubicBezTo>
                    <a:cubicBezTo>
                      <a:pt x="66666" y="54545"/>
                      <a:pt x="120000" y="43636"/>
                      <a:pt x="106666" y="32727"/>
                    </a:cubicBezTo>
                    <a:cubicBezTo>
                      <a:pt x="93333" y="0"/>
                      <a:pt x="66666" y="0"/>
                      <a:pt x="40000" y="2181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5" name="Shape 2626">
                <a:extLst>
                  <a:ext uri="{FF2B5EF4-FFF2-40B4-BE49-F238E27FC236}">
                    <a16:creationId xmlns:a16="http://schemas.microsoft.com/office/drawing/2014/main" id="{77DFA50A-66BD-48D2-BF37-6AA8AD638105}"/>
                  </a:ext>
                </a:extLst>
              </p:cNvPr>
              <p:cNvSpPr/>
              <p:nvPr/>
            </p:nvSpPr>
            <p:spPr>
              <a:xfrm>
                <a:off x="13023107" y="9186092"/>
                <a:ext cx="218396" cy="235702"/>
              </a:xfrm>
              <a:custGeom>
                <a:avLst/>
                <a:gdLst/>
                <a:ahLst/>
                <a:cxnLst/>
                <a:rect l="0" t="0" r="0" b="0"/>
                <a:pathLst>
                  <a:path w="120000" h="120000" extrusionOk="0">
                    <a:moveTo>
                      <a:pt x="101538" y="77142"/>
                    </a:moveTo>
                    <a:cubicBezTo>
                      <a:pt x="101538" y="68571"/>
                      <a:pt x="110769" y="64285"/>
                      <a:pt x="115384" y="59999"/>
                    </a:cubicBezTo>
                    <a:cubicBezTo>
                      <a:pt x="120000" y="55714"/>
                      <a:pt x="120000" y="42857"/>
                      <a:pt x="120000" y="34285"/>
                    </a:cubicBezTo>
                    <a:cubicBezTo>
                      <a:pt x="120000" y="25714"/>
                      <a:pt x="110769" y="21428"/>
                      <a:pt x="110769" y="12857"/>
                    </a:cubicBezTo>
                    <a:cubicBezTo>
                      <a:pt x="110769" y="4285"/>
                      <a:pt x="101538" y="4285"/>
                      <a:pt x="96923" y="0"/>
                    </a:cubicBezTo>
                    <a:cubicBezTo>
                      <a:pt x="92307" y="4285"/>
                      <a:pt x="83076" y="0"/>
                      <a:pt x="73846" y="4285"/>
                    </a:cubicBezTo>
                    <a:cubicBezTo>
                      <a:pt x="69230" y="8571"/>
                      <a:pt x="60000" y="17142"/>
                      <a:pt x="55384" y="12857"/>
                    </a:cubicBezTo>
                    <a:cubicBezTo>
                      <a:pt x="46153" y="4285"/>
                      <a:pt x="32307" y="0"/>
                      <a:pt x="27692" y="8571"/>
                    </a:cubicBezTo>
                    <a:cubicBezTo>
                      <a:pt x="23076" y="17142"/>
                      <a:pt x="27692" y="29999"/>
                      <a:pt x="32307" y="34285"/>
                    </a:cubicBezTo>
                    <a:cubicBezTo>
                      <a:pt x="36923" y="42857"/>
                      <a:pt x="32307" y="42857"/>
                      <a:pt x="27692" y="51428"/>
                    </a:cubicBezTo>
                    <a:cubicBezTo>
                      <a:pt x="23076" y="59999"/>
                      <a:pt x="13846" y="64285"/>
                      <a:pt x="9230" y="68571"/>
                    </a:cubicBezTo>
                    <a:cubicBezTo>
                      <a:pt x="4615" y="77142"/>
                      <a:pt x="0" y="81428"/>
                      <a:pt x="0" y="94285"/>
                    </a:cubicBezTo>
                    <a:cubicBezTo>
                      <a:pt x="0" y="98571"/>
                      <a:pt x="4615" y="107142"/>
                      <a:pt x="0" y="115714"/>
                    </a:cubicBezTo>
                    <a:cubicBezTo>
                      <a:pt x="9230" y="119999"/>
                      <a:pt x="9230" y="115714"/>
                      <a:pt x="18461" y="111428"/>
                    </a:cubicBezTo>
                    <a:cubicBezTo>
                      <a:pt x="27692" y="107142"/>
                      <a:pt x="41538" y="107142"/>
                      <a:pt x="50769" y="107142"/>
                    </a:cubicBezTo>
                    <a:cubicBezTo>
                      <a:pt x="46153" y="94285"/>
                      <a:pt x="55384" y="89999"/>
                      <a:pt x="64615" y="85714"/>
                    </a:cubicBezTo>
                    <a:cubicBezTo>
                      <a:pt x="73846" y="81428"/>
                      <a:pt x="92307" y="72857"/>
                      <a:pt x="96923" y="85714"/>
                    </a:cubicBezTo>
                    <a:cubicBezTo>
                      <a:pt x="96923" y="81428"/>
                      <a:pt x="96923" y="77142"/>
                      <a:pt x="101538" y="77142"/>
                    </a:cubicBezTo>
                    <a:cubicBezTo>
                      <a:pt x="101538" y="68571"/>
                      <a:pt x="96923" y="77142"/>
                      <a:pt x="101538" y="7714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6" name="Shape 2627">
                <a:extLst>
                  <a:ext uri="{FF2B5EF4-FFF2-40B4-BE49-F238E27FC236}">
                    <a16:creationId xmlns:a16="http://schemas.microsoft.com/office/drawing/2014/main" id="{ED9D0E5A-F7AA-4A27-9B5A-9649AA624AF5}"/>
                  </a:ext>
                </a:extLst>
              </p:cNvPr>
              <p:cNvSpPr/>
              <p:nvPr/>
            </p:nvSpPr>
            <p:spPr>
              <a:xfrm>
                <a:off x="12997242" y="9456286"/>
                <a:ext cx="83336" cy="83358"/>
              </a:xfrm>
              <a:custGeom>
                <a:avLst/>
                <a:gdLst/>
                <a:ahLst/>
                <a:cxnLst/>
                <a:rect l="0" t="0" r="0" b="0"/>
                <a:pathLst>
                  <a:path w="120000" h="120000" extrusionOk="0">
                    <a:moveTo>
                      <a:pt x="12000" y="72000"/>
                    </a:moveTo>
                    <a:cubicBezTo>
                      <a:pt x="24000" y="84000"/>
                      <a:pt x="24000" y="108000"/>
                      <a:pt x="36000" y="120000"/>
                    </a:cubicBezTo>
                    <a:cubicBezTo>
                      <a:pt x="60000" y="108000"/>
                      <a:pt x="84000" y="84000"/>
                      <a:pt x="108000" y="60000"/>
                    </a:cubicBezTo>
                    <a:cubicBezTo>
                      <a:pt x="120000" y="36000"/>
                      <a:pt x="60000" y="48000"/>
                      <a:pt x="96000" y="0"/>
                    </a:cubicBezTo>
                    <a:cubicBezTo>
                      <a:pt x="84000" y="0"/>
                      <a:pt x="36000" y="0"/>
                      <a:pt x="48000" y="12000"/>
                    </a:cubicBezTo>
                    <a:cubicBezTo>
                      <a:pt x="60000" y="36000"/>
                      <a:pt x="12000" y="24000"/>
                      <a:pt x="0" y="12000"/>
                    </a:cubicBezTo>
                    <a:cubicBezTo>
                      <a:pt x="0" y="36000"/>
                      <a:pt x="12000" y="48000"/>
                      <a:pt x="12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7" name="Shape 2628">
                <a:extLst>
                  <a:ext uri="{FF2B5EF4-FFF2-40B4-BE49-F238E27FC236}">
                    <a16:creationId xmlns:a16="http://schemas.microsoft.com/office/drawing/2014/main" id="{43DC8221-100E-4EC0-8795-DF828B4D8F07}"/>
                  </a:ext>
                </a:extLst>
              </p:cNvPr>
              <p:cNvSpPr/>
              <p:nvPr/>
            </p:nvSpPr>
            <p:spPr>
              <a:xfrm>
                <a:off x="12997242" y="9404549"/>
                <a:ext cx="91956" cy="77609"/>
              </a:xfrm>
              <a:custGeom>
                <a:avLst/>
                <a:gdLst/>
                <a:ahLst/>
                <a:cxnLst/>
                <a:rect l="0" t="0" r="0" b="0"/>
                <a:pathLst>
                  <a:path w="120000" h="120000" extrusionOk="0">
                    <a:moveTo>
                      <a:pt x="32727" y="13333"/>
                    </a:moveTo>
                    <a:cubicBezTo>
                      <a:pt x="10909" y="26666"/>
                      <a:pt x="0" y="66666"/>
                      <a:pt x="0" y="93333"/>
                    </a:cubicBezTo>
                    <a:cubicBezTo>
                      <a:pt x="10909" y="106666"/>
                      <a:pt x="54545" y="120000"/>
                      <a:pt x="43636" y="93333"/>
                    </a:cubicBezTo>
                    <a:cubicBezTo>
                      <a:pt x="32727" y="80000"/>
                      <a:pt x="76363" y="80000"/>
                      <a:pt x="87272" y="80000"/>
                    </a:cubicBezTo>
                    <a:cubicBezTo>
                      <a:pt x="120000" y="66666"/>
                      <a:pt x="87272" y="13333"/>
                      <a:pt x="76363" y="0"/>
                    </a:cubicBezTo>
                    <a:cubicBezTo>
                      <a:pt x="54545" y="13333"/>
                      <a:pt x="54545" y="26666"/>
                      <a:pt x="32727" y="13333"/>
                    </a:cubicBezTo>
                    <a:cubicBezTo>
                      <a:pt x="21818" y="13333"/>
                      <a:pt x="43636" y="13333"/>
                      <a:pt x="32727" y="1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8" name="Shape 2629">
                <a:extLst>
                  <a:ext uri="{FF2B5EF4-FFF2-40B4-BE49-F238E27FC236}">
                    <a16:creationId xmlns:a16="http://schemas.microsoft.com/office/drawing/2014/main" id="{2BEFCB3F-303F-4146-B3F8-791AB3846DE9}"/>
                  </a:ext>
                </a:extLst>
              </p:cNvPr>
              <p:cNvSpPr/>
              <p:nvPr/>
            </p:nvSpPr>
            <p:spPr>
              <a:xfrm>
                <a:off x="13014486" y="9378677"/>
                <a:ext cx="454041" cy="491526"/>
              </a:xfrm>
              <a:custGeom>
                <a:avLst/>
                <a:gdLst/>
                <a:ahLst/>
                <a:cxnLst/>
                <a:rect l="0" t="0" r="0" b="0"/>
                <a:pathLst>
                  <a:path w="120000" h="120000" extrusionOk="0">
                    <a:moveTo>
                      <a:pt x="91111" y="26896"/>
                    </a:moveTo>
                    <a:cubicBezTo>
                      <a:pt x="77777" y="18620"/>
                      <a:pt x="64444" y="12413"/>
                      <a:pt x="51111" y="6206"/>
                    </a:cubicBezTo>
                    <a:cubicBezTo>
                      <a:pt x="48888" y="10344"/>
                      <a:pt x="42222" y="14482"/>
                      <a:pt x="37777" y="14482"/>
                    </a:cubicBezTo>
                    <a:cubicBezTo>
                      <a:pt x="37777" y="14482"/>
                      <a:pt x="46666" y="16551"/>
                      <a:pt x="46666" y="18620"/>
                    </a:cubicBezTo>
                    <a:cubicBezTo>
                      <a:pt x="44444" y="20689"/>
                      <a:pt x="40000" y="18620"/>
                      <a:pt x="37777" y="18620"/>
                    </a:cubicBezTo>
                    <a:cubicBezTo>
                      <a:pt x="33333" y="16551"/>
                      <a:pt x="33333" y="18620"/>
                      <a:pt x="28888" y="20689"/>
                    </a:cubicBezTo>
                    <a:cubicBezTo>
                      <a:pt x="28888" y="20689"/>
                      <a:pt x="24444" y="18620"/>
                      <a:pt x="24444" y="16551"/>
                    </a:cubicBezTo>
                    <a:cubicBezTo>
                      <a:pt x="22222" y="14482"/>
                      <a:pt x="24444" y="10344"/>
                      <a:pt x="26666" y="8275"/>
                    </a:cubicBezTo>
                    <a:cubicBezTo>
                      <a:pt x="28888" y="0"/>
                      <a:pt x="15555" y="4137"/>
                      <a:pt x="11111" y="6206"/>
                    </a:cubicBezTo>
                    <a:cubicBezTo>
                      <a:pt x="13333" y="8275"/>
                      <a:pt x="17777" y="14482"/>
                      <a:pt x="15555" y="16551"/>
                    </a:cubicBezTo>
                    <a:cubicBezTo>
                      <a:pt x="15555" y="18620"/>
                      <a:pt x="6666" y="24827"/>
                      <a:pt x="11111" y="24827"/>
                    </a:cubicBezTo>
                    <a:cubicBezTo>
                      <a:pt x="17777" y="26896"/>
                      <a:pt x="15555" y="28965"/>
                      <a:pt x="13333" y="33103"/>
                    </a:cubicBezTo>
                    <a:cubicBezTo>
                      <a:pt x="11111" y="33103"/>
                      <a:pt x="6666" y="35172"/>
                      <a:pt x="4444" y="37241"/>
                    </a:cubicBezTo>
                    <a:cubicBezTo>
                      <a:pt x="0" y="39310"/>
                      <a:pt x="2222" y="39310"/>
                      <a:pt x="2222" y="43448"/>
                    </a:cubicBezTo>
                    <a:cubicBezTo>
                      <a:pt x="4444" y="53793"/>
                      <a:pt x="8888" y="60000"/>
                      <a:pt x="11111" y="68275"/>
                    </a:cubicBezTo>
                    <a:cubicBezTo>
                      <a:pt x="11111" y="78620"/>
                      <a:pt x="20000" y="82758"/>
                      <a:pt x="26666" y="86896"/>
                    </a:cubicBezTo>
                    <a:cubicBezTo>
                      <a:pt x="28888" y="88965"/>
                      <a:pt x="31111" y="88965"/>
                      <a:pt x="33333" y="88965"/>
                    </a:cubicBezTo>
                    <a:cubicBezTo>
                      <a:pt x="35555" y="88965"/>
                      <a:pt x="35555" y="91034"/>
                      <a:pt x="37777" y="93103"/>
                    </a:cubicBezTo>
                    <a:cubicBezTo>
                      <a:pt x="42222" y="93103"/>
                      <a:pt x="48888" y="93103"/>
                      <a:pt x="53333" y="97241"/>
                    </a:cubicBezTo>
                    <a:cubicBezTo>
                      <a:pt x="55555" y="99310"/>
                      <a:pt x="55555" y="105517"/>
                      <a:pt x="55555" y="109655"/>
                    </a:cubicBezTo>
                    <a:cubicBezTo>
                      <a:pt x="57777" y="111724"/>
                      <a:pt x="55555" y="113793"/>
                      <a:pt x="60000" y="113793"/>
                    </a:cubicBezTo>
                    <a:cubicBezTo>
                      <a:pt x="62222" y="113793"/>
                      <a:pt x="64444" y="113793"/>
                      <a:pt x="66666" y="113793"/>
                    </a:cubicBezTo>
                    <a:cubicBezTo>
                      <a:pt x="68888" y="113793"/>
                      <a:pt x="71111" y="113793"/>
                      <a:pt x="73333" y="115862"/>
                    </a:cubicBezTo>
                    <a:cubicBezTo>
                      <a:pt x="75555" y="117931"/>
                      <a:pt x="77777" y="115862"/>
                      <a:pt x="80000" y="113793"/>
                    </a:cubicBezTo>
                    <a:cubicBezTo>
                      <a:pt x="84444" y="111724"/>
                      <a:pt x="88888" y="120000"/>
                      <a:pt x="93333" y="113793"/>
                    </a:cubicBezTo>
                    <a:cubicBezTo>
                      <a:pt x="93333" y="109655"/>
                      <a:pt x="100000" y="111724"/>
                      <a:pt x="102222" y="111724"/>
                    </a:cubicBezTo>
                    <a:cubicBezTo>
                      <a:pt x="108888" y="109655"/>
                      <a:pt x="113333" y="105517"/>
                      <a:pt x="120000" y="101379"/>
                    </a:cubicBezTo>
                    <a:cubicBezTo>
                      <a:pt x="108888" y="95172"/>
                      <a:pt x="108888" y="86896"/>
                      <a:pt x="108888" y="74482"/>
                    </a:cubicBezTo>
                    <a:cubicBezTo>
                      <a:pt x="106666" y="72413"/>
                      <a:pt x="111111" y="68275"/>
                      <a:pt x="108888" y="66206"/>
                    </a:cubicBezTo>
                    <a:cubicBezTo>
                      <a:pt x="106666" y="64137"/>
                      <a:pt x="102222" y="62068"/>
                      <a:pt x="102222" y="57931"/>
                    </a:cubicBezTo>
                    <a:cubicBezTo>
                      <a:pt x="102222" y="55862"/>
                      <a:pt x="106666" y="41379"/>
                      <a:pt x="106666" y="41379"/>
                    </a:cubicBezTo>
                    <a:cubicBezTo>
                      <a:pt x="104444" y="41379"/>
                      <a:pt x="102222" y="39310"/>
                      <a:pt x="100000" y="37241"/>
                    </a:cubicBezTo>
                    <a:cubicBezTo>
                      <a:pt x="97777" y="35172"/>
                      <a:pt x="95555" y="35172"/>
                      <a:pt x="91111" y="33103"/>
                    </a:cubicBezTo>
                    <a:cubicBezTo>
                      <a:pt x="91111" y="31034"/>
                      <a:pt x="91111" y="28965"/>
                      <a:pt x="91111" y="2689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79" name="Shape 2630">
                <a:extLst>
                  <a:ext uri="{FF2B5EF4-FFF2-40B4-BE49-F238E27FC236}">
                    <a16:creationId xmlns:a16="http://schemas.microsoft.com/office/drawing/2014/main" id="{4E26088F-D52E-451A-B14A-52049C160BAA}"/>
                  </a:ext>
                </a:extLst>
              </p:cNvPr>
              <p:cNvSpPr/>
              <p:nvPr/>
            </p:nvSpPr>
            <p:spPr>
              <a:xfrm>
                <a:off x="12189740" y="9260826"/>
                <a:ext cx="227020" cy="261575"/>
              </a:xfrm>
              <a:custGeom>
                <a:avLst/>
                <a:gdLst/>
                <a:ahLst/>
                <a:cxnLst/>
                <a:rect l="0" t="0" r="0" b="0"/>
                <a:pathLst>
                  <a:path w="120000" h="120000" extrusionOk="0">
                    <a:moveTo>
                      <a:pt x="66666" y="112258"/>
                    </a:moveTo>
                    <a:cubicBezTo>
                      <a:pt x="66666" y="108387"/>
                      <a:pt x="57777" y="92903"/>
                      <a:pt x="66666" y="92903"/>
                    </a:cubicBezTo>
                    <a:cubicBezTo>
                      <a:pt x="66666" y="92903"/>
                      <a:pt x="75555" y="92903"/>
                      <a:pt x="75555" y="92903"/>
                    </a:cubicBezTo>
                    <a:cubicBezTo>
                      <a:pt x="80000" y="89032"/>
                      <a:pt x="80000" y="81290"/>
                      <a:pt x="84444" y="81290"/>
                    </a:cubicBezTo>
                    <a:cubicBezTo>
                      <a:pt x="88888" y="85161"/>
                      <a:pt x="93333" y="89032"/>
                      <a:pt x="93333" y="92903"/>
                    </a:cubicBezTo>
                    <a:cubicBezTo>
                      <a:pt x="97777" y="96774"/>
                      <a:pt x="97777" y="89032"/>
                      <a:pt x="106666" y="89032"/>
                    </a:cubicBezTo>
                    <a:cubicBezTo>
                      <a:pt x="106666" y="89032"/>
                      <a:pt x="115555" y="96774"/>
                      <a:pt x="115555" y="92903"/>
                    </a:cubicBezTo>
                    <a:cubicBezTo>
                      <a:pt x="115555" y="89032"/>
                      <a:pt x="115555" y="85161"/>
                      <a:pt x="115555" y="81290"/>
                    </a:cubicBezTo>
                    <a:cubicBezTo>
                      <a:pt x="120000" y="73548"/>
                      <a:pt x="120000" y="61935"/>
                      <a:pt x="115555" y="54193"/>
                    </a:cubicBezTo>
                    <a:cubicBezTo>
                      <a:pt x="111111" y="50322"/>
                      <a:pt x="111111" y="46451"/>
                      <a:pt x="111111" y="42580"/>
                    </a:cubicBezTo>
                    <a:cubicBezTo>
                      <a:pt x="111111" y="34838"/>
                      <a:pt x="120000" y="30967"/>
                      <a:pt x="115555" y="23225"/>
                    </a:cubicBezTo>
                    <a:cubicBezTo>
                      <a:pt x="111111" y="11612"/>
                      <a:pt x="93333" y="27096"/>
                      <a:pt x="93333" y="15483"/>
                    </a:cubicBezTo>
                    <a:cubicBezTo>
                      <a:pt x="93333" y="7741"/>
                      <a:pt x="97777" y="0"/>
                      <a:pt x="84444" y="0"/>
                    </a:cubicBezTo>
                    <a:cubicBezTo>
                      <a:pt x="80000" y="0"/>
                      <a:pt x="71111" y="0"/>
                      <a:pt x="62222" y="0"/>
                    </a:cubicBezTo>
                    <a:cubicBezTo>
                      <a:pt x="44444" y="0"/>
                      <a:pt x="66666" y="27096"/>
                      <a:pt x="48888" y="27096"/>
                    </a:cubicBezTo>
                    <a:cubicBezTo>
                      <a:pt x="40000" y="27096"/>
                      <a:pt x="31111" y="27096"/>
                      <a:pt x="22222" y="27096"/>
                    </a:cubicBezTo>
                    <a:cubicBezTo>
                      <a:pt x="17777" y="27096"/>
                      <a:pt x="17777" y="27096"/>
                      <a:pt x="17777" y="27096"/>
                    </a:cubicBezTo>
                    <a:cubicBezTo>
                      <a:pt x="8888" y="34838"/>
                      <a:pt x="17777" y="34838"/>
                      <a:pt x="17777" y="38709"/>
                    </a:cubicBezTo>
                    <a:cubicBezTo>
                      <a:pt x="17777" y="46451"/>
                      <a:pt x="0" y="54193"/>
                      <a:pt x="0" y="61935"/>
                    </a:cubicBezTo>
                    <a:cubicBezTo>
                      <a:pt x="4444" y="69677"/>
                      <a:pt x="13333" y="81290"/>
                      <a:pt x="17777" y="89032"/>
                    </a:cubicBezTo>
                    <a:cubicBezTo>
                      <a:pt x="26666" y="92903"/>
                      <a:pt x="31111" y="100645"/>
                      <a:pt x="40000" y="108387"/>
                    </a:cubicBezTo>
                    <a:cubicBezTo>
                      <a:pt x="44444" y="112258"/>
                      <a:pt x="48888" y="116129"/>
                      <a:pt x="48888" y="120000"/>
                    </a:cubicBezTo>
                    <a:cubicBezTo>
                      <a:pt x="53333" y="116129"/>
                      <a:pt x="62222" y="116129"/>
                      <a:pt x="66666" y="112258"/>
                    </a:cubicBezTo>
                    <a:cubicBezTo>
                      <a:pt x="66666" y="112258"/>
                      <a:pt x="62222" y="116129"/>
                      <a:pt x="66666" y="11225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0" name="Shape 2631">
                <a:extLst>
                  <a:ext uri="{FF2B5EF4-FFF2-40B4-BE49-F238E27FC236}">
                    <a16:creationId xmlns:a16="http://schemas.microsoft.com/office/drawing/2014/main" id="{1C1B8120-314F-40D9-B4A6-D6D639819B2A}"/>
                  </a:ext>
                </a:extLst>
              </p:cNvPr>
              <p:cNvSpPr/>
              <p:nvPr/>
            </p:nvSpPr>
            <p:spPr>
              <a:xfrm>
                <a:off x="12204107" y="9260826"/>
                <a:ext cx="94832" cy="60363"/>
              </a:xfrm>
              <a:custGeom>
                <a:avLst/>
                <a:gdLst/>
                <a:ahLst/>
                <a:cxnLst/>
                <a:rect l="0" t="0" r="0" b="0"/>
                <a:pathLst>
                  <a:path w="120000" h="120000" extrusionOk="0">
                    <a:moveTo>
                      <a:pt x="120000" y="119999"/>
                    </a:moveTo>
                    <a:cubicBezTo>
                      <a:pt x="120000" y="85714"/>
                      <a:pt x="120000" y="34285"/>
                      <a:pt x="120000" y="0"/>
                    </a:cubicBezTo>
                    <a:cubicBezTo>
                      <a:pt x="87272" y="0"/>
                      <a:pt x="65454" y="17142"/>
                      <a:pt x="32727" y="17142"/>
                    </a:cubicBezTo>
                    <a:cubicBezTo>
                      <a:pt x="43636" y="34285"/>
                      <a:pt x="10909" y="51428"/>
                      <a:pt x="0" y="68571"/>
                    </a:cubicBezTo>
                    <a:cubicBezTo>
                      <a:pt x="0" y="85714"/>
                      <a:pt x="21818" y="102857"/>
                      <a:pt x="21818" y="119999"/>
                    </a:cubicBezTo>
                    <a:lnTo>
                      <a:pt x="120000" y="119999"/>
                    </a:ln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1" name="Shape 2632">
                <a:extLst>
                  <a:ext uri="{FF2B5EF4-FFF2-40B4-BE49-F238E27FC236}">
                    <a16:creationId xmlns:a16="http://schemas.microsoft.com/office/drawing/2014/main" id="{04395B03-E78D-4D85-837F-BE56D6A06DEC}"/>
                  </a:ext>
                </a:extLst>
              </p:cNvPr>
              <p:cNvSpPr/>
              <p:nvPr/>
            </p:nvSpPr>
            <p:spPr>
              <a:xfrm>
                <a:off x="12172496" y="8806667"/>
                <a:ext cx="310358" cy="480028"/>
              </a:xfrm>
              <a:custGeom>
                <a:avLst/>
                <a:gdLst/>
                <a:ahLst/>
                <a:cxnLst/>
                <a:rect l="0" t="0" r="0" b="0"/>
                <a:pathLst>
                  <a:path w="120000" h="120000" extrusionOk="0">
                    <a:moveTo>
                      <a:pt x="94054" y="115789"/>
                    </a:moveTo>
                    <a:cubicBezTo>
                      <a:pt x="103783" y="115789"/>
                      <a:pt x="113513" y="119999"/>
                      <a:pt x="120000" y="115789"/>
                    </a:cubicBezTo>
                    <a:cubicBezTo>
                      <a:pt x="120000" y="107368"/>
                      <a:pt x="113513" y="105263"/>
                      <a:pt x="107027" y="101052"/>
                    </a:cubicBezTo>
                    <a:cubicBezTo>
                      <a:pt x="103783" y="98947"/>
                      <a:pt x="103783" y="96842"/>
                      <a:pt x="103783" y="92631"/>
                    </a:cubicBezTo>
                    <a:cubicBezTo>
                      <a:pt x="100540" y="90526"/>
                      <a:pt x="97297" y="88421"/>
                      <a:pt x="97297" y="84210"/>
                    </a:cubicBezTo>
                    <a:cubicBezTo>
                      <a:pt x="94054" y="75789"/>
                      <a:pt x="100540" y="73684"/>
                      <a:pt x="103783" y="67368"/>
                    </a:cubicBezTo>
                    <a:cubicBezTo>
                      <a:pt x="107027" y="63157"/>
                      <a:pt x="110270" y="61052"/>
                      <a:pt x="110270" y="56842"/>
                    </a:cubicBezTo>
                    <a:cubicBezTo>
                      <a:pt x="107027" y="52631"/>
                      <a:pt x="107027" y="48421"/>
                      <a:pt x="100540" y="44210"/>
                    </a:cubicBezTo>
                    <a:cubicBezTo>
                      <a:pt x="100540" y="44210"/>
                      <a:pt x="84324" y="37894"/>
                      <a:pt x="90810" y="33684"/>
                    </a:cubicBezTo>
                    <a:cubicBezTo>
                      <a:pt x="94054" y="31578"/>
                      <a:pt x="103783" y="33684"/>
                      <a:pt x="110270" y="33684"/>
                    </a:cubicBezTo>
                    <a:cubicBezTo>
                      <a:pt x="103783" y="25263"/>
                      <a:pt x="103783" y="21052"/>
                      <a:pt x="103783" y="12631"/>
                    </a:cubicBezTo>
                    <a:cubicBezTo>
                      <a:pt x="103783" y="10526"/>
                      <a:pt x="103783" y="6315"/>
                      <a:pt x="97297" y="4210"/>
                    </a:cubicBezTo>
                    <a:cubicBezTo>
                      <a:pt x="97297" y="2105"/>
                      <a:pt x="87567" y="0"/>
                      <a:pt x="87567" y="0"/>
                    </a:cubicBezTo>
                    <a:cubicBezTo>
                      <a:pt x="87567" y="4210"/>
                      <a:pt x="107027" y="14736"/>
                      <a:pt x="90810" y="18947"/>
                    </a:cubicBezTo>
                    <a:cubicBezTo>
                      <a:pt x="81081" y="23157"/>
                      <a:pt x="77837" y="29473"/>
                      <a:pt x="74594" y="37894"/>
                    </a:cubicBezTo>
                    <a:cubicBezTo>
                      <a:pt x="71351" y="40000"/>
                      <a:pt x="71351" y="46315"/>
                      <a:pt x="68108" y="46315"/>
                    </a:cubicBezTo>
                    <a:cubicBezTo>
                      <a:pt x="61621" y="48421"/>
                      <a:pt x="61621" y="52631"/>
                      <a:pt x="58378" y="56842"/>
                    </a:cubicBezTo>
                    <a:cubicBezTo>
                      <a:pt x="55135" y="61052"/>
                      <a:pt x="51891" y="65263"/>
                      <a:pt x="48648" y="69473"/>
                    </a:cubicBezTo>
                    <a:cubicBezTo>
                      <a:pt x="42162" y="73684"/>
                      <a:pt x="38918" y="65263"/>
                      <a:pt x="35675" y="65263"/>
                    </a:cubicBezTo>
                    <a:cubicBezTo>
                      <a:pt x="19459" y="65263"/>
                      <a:pt x="9729" y="73684"/>
                      <a:pt x="6486" y="82105"/>
                    </a:cubicBezTo>
                    <a:cubicBezTo>
                      <a:pt x="6486" y="84210"/>
                      <a:pt x="0" y="86315"/>
                      <a:pt x="3243" y="88421"/>
                    </a:cubicBezTo>
                    <a:cubicBezTo>
                      <a:pt x="6486" y="90526"/>
                      <a:pt x="9729" y="92631"/>
                      <a:pt x="12972" y="94736"/>
                    </a:cubicBezTo>
                    <a:cubicBezTo>
                      <a:pt x="12972" y="96842"/>
                      <a:pt x="16216" y="92631"/>
                      <a:pt x="16216" y="94736"/>
                    </a:cubicBezTo>
                    <a:cubicBezTo>
                      <a:pt x="19459" y="96842"/>
                      <a:pt x="22702" y="98947"/>
                      <a:pt x="22702" y="101052"/>
                    </a:cubicBezTo>
                    <a:cubicBezTo>
                      <a:pt x="25945" y="105263"/>
                      <a:pt x="22702" y="111578"/>
                      <a:pt x="22702" y="115789"/>
                    </a:cubicBezTo>
                    <a:cubicBezTo>
                      <a:pt x="32432" y="113684"/>
                      <a:pt x="42162" y="113684"/>
                      <a:pt x="51891" y="113684"/>
                    </a:cubicBezTo>
                    <a:cubicBezTo>
                      <a:pt x="64864" y="113684"/>
                      <a:pt x="81081" y="115789"/>
                      <a:pt x="94054" y="11578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2" name="Shape 2633">
                <a:extLst>
                  <a:ext uri="{FF2B5EF4-FFF2-40B4-BE49-F238E27FC236}">
                    <a16:creationId xmlns:a16="http://schemas.microsoft.com/office/drawing/2014/main" id="{77AE6F07-33BB-4850-A4AF-1E22428E2EC8}"/>
                  </a:ext>
                </a:extLst>
              </p:cNvPr>
              <p:cNvSpPr/>
              <p:nvPr/>
            </p:nvSpPr>
            <p:spPr>
              <a:xfrm>
                <a:off x="11842026" y="8829663"/>
                <a:ext cx="126441" cy="261575"/>
              </a:xfrm>
              <a:custGeom>
                <a:avLst/>
                <a:gdLst/>
                <a:ahLst/>
                <a:cxnLst/>
                <a:rect l="0" t="0" r="0" b="0"/>
                <a:pathLst>
                  <a:path w="120000" h="120000" extrusionOk="0">
                    <a:moveTo>
                      <a:pt x="88000" y="0"/>
                    </a:moveTo>
                    <a:cubicBezTo>
                      <a:pt x="72000" y="7741"/>
                      <a:pt x="80000" y="7741"/>
                      <a:pt x="72000" y="15483"/>
                    </a:cubicBezTo>
                    <a:cubicBezTo>
                      <a:pt x="64000" y="23225"/>
                      <a:pt x="48000" y="19354"/>
                      <a:pt x="32000" y="19354"/>
                    </a:cubicBezTo>
                    <a:cubicBezTo>
                      <a:pt x="32000" y="19354"/>
                      <a:pt x="16000" y="27096"/>
                      <a:pt x="8000" y="30967"/>
                    </a:cubicBezTo>
                    <a:cubicBezTo>
                      <a:pt x="0" y="34838"/>
                      <a:pt x="16000" y="42580"/>
                      <a:pt x="24000" y="50322"/>
                    </a:cubicBezTo>
                    <a:cubicBezTo>
                      <a:pt x="56000" y="69677"/>
                      <a:pt x="32000" y="96774"/>
                      <a:pt x="48000" y="120000"/>
                    </a:cubicBezTo>
                    <a:cubicBezTo>
                      <a:pt x="56000" y="120000"/>
                      <a:pt x="72000" y="120000"/>
                      <a:pt x="88000" y="116129"/>
                    </a:cubicBezTo>
                    <a:cubicBezTo>
                      <a:pt x="96000" y="116129"/>
                      <a:pt x="96000" y="112258"/>
                      <a:pt x="88000" y="104516"/>
                    </a:cubicBezTo>
                    <a:cubicBezTo>
                      <a:pt x="88000" y="92903"/>
                      <a:pt x="88000" y="81290"/>
                      <a:pt x="88000" y="69677"/>
                    </a:cubicBezTo>
                    <a:cubicBezTo>
                      <a:pt x="88000" y="54193"/>
                      <a:pt x="112000" y="46451"/>
                      <a:pt x="120000" y="34838"/>
                    </a:cubicBezTo>
                    <a:cubicBezTo>
                      <a:pt x="120000" y="23225"/>
                      <a:pt x="120000" y="19354"/>
                      <a:pt x="112000" y="11612"/>
                    </a:cubicBezTo>
                    <a:cubicBezTo>
                      <a:pt x="112000" y="11612"/>
                      <a:pt x="88000" y="0"/>
                      <a:pt x="88000" y="0"/>
                    </a:cubicBezTo>
                    <a:cubicBezTo>
                      <a:pt x="80000" y="3870"/>
                      <a:pt x="88000" y="0"/>
                      <a:pt x="88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3" name="Shape 2634">
                <a:extLst>
                  <a:ext uri="{FF2B5EF4-FFF2-40B4-BE49-F238E27FC236}">
                    <a16:creationId xmlns:a16="http://schemas.microsoft.com/office/drawing/2014/main" id="{0DB09B5F-70B8-4020-ADF8-28B09F9DD446}"/>
                  </a:ext>
                </a:extLst>
              </p:cNvPr>
              <p:cNvSpPr/>
              <p:nvPr/>
            </p:nvSpPr>
            <p:spPr>
              <a:xfrm>
                <a:off x="11928236" y="8763549"/>
                <a:ext cx="497145" cy="431164"/>
              </a:xfrm>
              <a:custGeom>
                <a:avLst/>
                <a:gdLst/>
                <a:ahLst/>
                <a:cxnLst/>
                <a:rect l="0" t="0" r="0" b="0"/>
                <a:pathLst>
                  <a:path w="120000" h="120000" extrusionOk="0">
                    <a:moveTo>
                      <a:pt x="63050" y="98823"/>
                    </a:moveTo>
                    <a:cubicBezTo>
                      <a:pt x="65084" y="94117"/>
                      <a:pt x="71186" y="87058"/>
                      <a:pt x="75254" y="87058"/>
                    </a:cubicBezTo>
                    <a:cubicBezTo>
                      <a:pt x="77288" y="84705"/>
                      <a:pt x="81355" y="84705"/>
                      <a:pt x="81355" y="84705"/>
                    </a:cubicBezTo>
                    <a:cubicBezTo>
                      <a:pt x="83389" y="87058"/>
                      <a:pt x="85423" y="91764"/>
                      <a:pt x="87457" y="89411"/>
                    </a:cubicBezTo>
                    <a:cubicBezTo>
                      <a:pt x="91525" y="87058"/>
                      <a:pt x="93559" y="80000"/>
                      <a:pt x="95593" y="75294"/>
                    </a:cubicBezTo>
                    <a:cubicBezTo>
                      <a:pt x="95593" y="72941"/>
                      <a:pt x="97627" y="68235"/>
                      <a:pt x="97627" y="65882"/>
                    </a:cubicBezTo>
                    <a:cubicBezTo>
                      <a:pt x="99661" y="63529"/>
                      <a:pt x="101694" y="65882"/>
                      <a:pt x="103728" y="63529"/>
                    </a:cubicBezTo>
                    <a:cubicBezTo>
                      <a:pt x="103728" y="58823"/>
                      <a:pt x="107796" y="32941"/>
                      <a:pt x="113898" y="32941"/>
                    </a:cubicBezTo>
                    <a:cubicBezTo>
                      <a:pt x="117966" y="32941"/>
                      <a:pt x="120000" y="28235"/>
                      <a:pt x="120000" y="25882"/>
                    </a:cubicBezTo>
                    <a:cubicBezTo>
                      <a:pt x="120000" y="21176"/>
                      <a:pt x="115932" y="21176"/>
                      <a:pt x="115932" y="18823"/>
                    </a:cubicBezTo>
                    <a:cubicBezTo>
                      <a:pt x="115932" y="16470"/>
                      <a:pt x="113898" y="16470"/>
                      <a:pt x="113898" y="14117"/>
                    </a:cubicBezTo>
                    <a:cubicBezTo>
                      <a:pt x="111864" y="9411"/>
                      <a:pt x="111864" y="7058"/>
                      <a:pt x="109830" y="2352"/>
                    </a:cubicBezTo>
                    <a:cubicBezTo>
                      <a:pt x="107796" y="4705"/>
                      <a:pt x="101694" y="11764"/>
                      <a:pt x="97627" y="11764"/>
                    </a:cubicBezTo>
                    <a:cubicBezTo>
                      <a:pt x="91525" y="9411"/>
                      <a:pt x="87457" y="9411"/>
                      <a:pt x="81355" y="9411"/>
                    </a:cubicBezTo>
                    <a:cubicBezTo>
                      <a:pt x="75254" y="9411"/>
                      <a:pt x="71186" y="14117"/>
                      <a:pt x="65084" y="14117"/>
                    </a:cubicBezTo>
                    <a:cubicBezTo>
                      <a:pt x="61016" y="14117"/>
                      <a:pt x="56949" y="7058"/>
                      <a:pt x="52881" y="9411"/>
                    </a:cubicBezTo>
                    <a:cubicBezTo>
                      <a:pt x="44745" y="14117"/>
                      <a:pt x="42711" y="11764"/>
                      <a:pt x="38644" y="7058"/>
                    </a:cubicBezTo>
                    <a:cubicBezTo>
                      <a:pt x="36610" y="4705"/>
                      <a:pt x="30508" y="0"/>
                      <a:pt x="26440" y="2352"/>
                    </a:cubicBezTo>
                    <a:cubicBezTo>
                      <a:pt x="24406" y="2352"/>
                      <a:pt x="18305" y="4705"/>
                      <a:pt x="16271" y="7058"/>
                    </a:cubicBezTo>
                    <a:cubicBezTo>
                      <a:pt x="14237" y="9411"/>
                      <a:pt x="16271" y="11764"/>
                      <a:pt x="14237" y="14117"/>
                    </a:cubicBezTo>
                    <a:cubicBezTo>
                      <a:pt x="14237" y="16470"/>
                      <a:pt x="12203" y="21176"/>
                      <a:pt x="12203" y="23529"/>
                    </a:cubicBezTo>
                    <a:cubicBezTo>
                      <a:pt x="10169" y="28235"/>
                      <a:pt x="10169" y="32941"/>
                      <a:pt x="10169" y="37647"/>
                    </a:cubicBezTo>
                    <a:cubicBezTo>
                      <a:pt x="10169" y="44705"/>
                      <a:pt x="4067" y="49411"/>
                      <a:pt x="2033" y="56470"/>
                    </a:cubicBezTo>
                    <a:cubicBezTo>
                      <a:pt x="0" y="63529"/>
                      <a:pt x="2033" y="80000"/>
                      <a:pt x="4067" y="89411"/>
                    </a:cubicBezTo>
                    <a:cubicBezTo>
                      <a:pt x="4067" y="91764"/>
                      <a:pt x="8135" y="89411"/>
                      <a:pt x="10169" y="89411"/>
                    </a:cubicBezTo>
                    <a:cubicBezTo>
                      <a:pt x="12203" y="89411"/>
                      <a:pt x="16271" y="91764"/>
                      <a:pt x="18305" y="91764"/>
                    </a:cubicBezTo>
                    <a:cubicBezTo>
                      <a:pt x="20338" y="94117"/>
                      <a:pt x="28474" y="98823"/>
                      <a:pt x="28474" y="101176"/>
                    </a:cubicBezTo>
                    <a:cubicBezTo>
                      <a:pt x="28474" y="103529"/>
                      <a:pt x="28474" y="103529"/>
                      <a:pt x="28474" y="105882"/>
                    </a:cubicBezTo>
                    <a:cubicBezTo>
                      <a:pt x="28474" y="108235"/>
                      <a:pt x="30508" y="110588"/>
                      <a:pt x="32542" y="112941"/>
                    </a:cubicBezTo>
                    <a:cubicBezTo>
                      <a:pt x="36610" y="120000"/>
                      <a:pt x="42711" y="108235"/>
                      <a:pt x="46779" y="110588"/>
                    </a:cubicBezTo>
                    <a:cubicBezTo>
                      <a:pt x="46779" y="110588"/>
                      <a:pt x="44745" y="112941"/>
                      <a:pt x="44745" y="112941"/>
                    </a:cubicBezTo>
                    <a:cubicBezTo>
                      <a:pt x="44745" y="110588"/>
                      <a:pt x="54915" y="110588"/>
                      <a:pt x="54915" y="110588"/>
                    </a:cubicBezTo>
                    <a:cubicBezTo>
                      <a:pt x="58983" y="110588"/>
                      <a:pt x="58983" y="105882"/>
                      <a:pt x="61016" y="110588"/>
                    </a:cubicBezTo>
                    <a:cubicBezTo>
                      <a:pt x="63050" y="105882"/>
                      <a:pt x="63050" y="103529"/>
                      <a:pt x="63050" y="98823"/>
                    </a:cubicBezTo>
                    <a:cubicBezTo>
                      <a:pt x="65084" y="96470"/>
                      <a:pt x="63050" y="101176"/>
                      <a:pt x="63050" y="9882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4" name="Shape 2635">
                <a:extLst>
                  <a:ext uri="{FF2B5EF4-FFF2-40B4-BE49-F238E27FC236}">
                    <a16:creationId xmlns:a16="http://schemas.microsoft.com/office/drawing/2014/main" id="{E0062BD4-B0D8-48DC-BE48-631B38C3AB48}"/>
                  </a:ext>
                </a:extLst>
              </p:cNvPr>
              <p:cNvSpPr/>
              <p:nvPr/>
            </p:nvSpPr>
            <p:spPr>
              <a:xfrm>
                <a:off x="11571899" y="8711807"/>
                <a:ext cx="356335" cy="252949"/>
              </a:xfrm>
              <a:custGeom>
                <a:avLst/>
                <a:gdLst/>
                <a:ahLst/>
                <a:cxnLst/>
                <a:rect l="0" t="0" r="0" b="0"/>
                <a:pathLst>
                  <a:path w="120000" h="120000" extrusionOk="0">
                    <a:moveTo>
                      <a:pt x="100000" y="80000"/>
                    </a:moveTo>
                    <a:cubicBezTo>
                      <a:pt x="105714" y="68000"/>
                      <a:pt x="114285" y="80000"/>
                      <a:pt x="117142" y="68000"/>
                    </a:cubicBezTo>
                    <a:cubicBezTo>
                      <a:pt x="120000" y="64000"/>
                      <a:pt x="111428" y="52000"/>
                      <a:pt x="108571" y="52000"/>
                    </a:cubicBezTo>
                    <a:cubicBezTo>
                      <a:pt x="105714" y="60000"/>
                      <a:pt x="97142" y="44000"/>
                      <a:pt x="94285" y="40000"/>
                    </a:cubicBezTo>
                    <a:cubicBezTo>
                      <a:pt x="94285" y="36000"/>
                      <a:pt x="94285" y="32000"/>
                      <a:pt x="91428" y="28000"/>
                    </a:cubicBezTo>
                    <a:cubicBezTo>
                      <a:pt x="85714" y="20000"/>
                      <a:pt x="85714" y="16000"/>
                      <a:pt x="85714" y="4000"/>
                    </a:cubicBezTo>
                    <a:cubicBezTo>
                      <a:pt x="82857" y="4000"/>
                      <a:pt x="77142" y="0"/>
                      <a:pt x="74285" y="0"/>
                    </a:cubicBezTo>
                    <a:cubicBezTo>
                      <a:pt x="68571" y="4000"/>
                      <a:pt x="65714" y="8000"/>
                      <a:pt x="62857" y="8000"/>
                    </a:cubicBezTo>
                    <a:cubicBezTo>
                      <a:pt x="60000" y="12000"/>
                      <a:pt x="57142" y="16000"/>
                      <a:pt x="54285" y="16000"/>
                    </a:cubicBezTo>
                    <a:cubicBezTo>
                      <a:pt x="51428" y="24000"/>
                      <a:pt x="51428" y="16000"/>
                      <a:pt x="48571" y="20000"/>
                    </a:cubicBezTo>
                    <a:cubicBezTo>
                      <a:pt x="42857" y="24000"/>
                      <a:pt x="37142" y="44000"/>
                      <a:pt x="31428" y="40000"/>
                    </a:cubicBezTo>
                    <a:cubicBezTo>
                      <a:pt x="28571" y="40000"/>
                      <a:pt x="25714" y="32000"/>
                      <a:pt x="25714" y="40000"/>
                    </a:cubicBezTo>
                    <a:cubicBezTo>
                      <a:pt x="22857" y="44000"/>
                      <a:pt x="22857" y="52000"/>
                      <a:pt x="20000" y="56000"/>
                    </a:cubicBezTo>
                    <a:cubicBezTo>
                      <a:pt x="20000" y="60000"/>
                      <a:pt x="20000" y="64000"/>
                      <a:pt x="14285" y="64000"/>
                    </a:cubicBezTo>
                    <a:cubicBezTo>
                      <a:pt x="14285" y="64000"/>
                      <a:pt x="2857" y="68000"/>
                      <a:pt x="5714" y="72000"/>
                    </a:cubicBezTo>
                    <a:cubicBezTo>
                      <a:pt x="14285" y="80000"/>
                      <a:pt x="0" y="92000"/>
                      <a:pt x="2857" y="96000"/>
                    </a:cubicBezTo>
                    <a:cubicBezTo>
                      <a:pt x="8571" y="100000"/>
                      <a:pt x="14285" y="120000"/>
                      <a:pt x="22857" y="112000"/>
                    </a:cubicBezTo>
                    <a:cubicBezTo>
                      <a:pt x="31428" y="104000"/>
                      <a:pt x="37142" y="108000"/>
                      <a:pt x="45714" y="120000"/>
                    </a:cubicBezTo>
                    <a:cubicBezTo>
                      <a:pt x="42857" y="108000"/>
                      <a:pt x="42857" y="96000"/>
                      <a:pt x="42857" y="88000"/>
                    </a:cubicBezTo>
                    <a:cubicBezTo>
                      <a:pt x="54285" y="88000"/>
                      <a:pt x="62857" y="88000"/>
                      <a:pt x="74285" y="88000"/>
                    </a:cubicBezTo>
                    <a:cubicBezTo>
                      <a:pt x="82857" y="88000"/>
                      <a:pt x="97142" y="92000"/>
                      <a:pt x="100000" y="80000"/>
                    </a:cubicBezTo>
                    <a:cubicBezTo>
                      <a:pt x="102857" y="72000"/>
                      <a:pt x="100000" y="80000"/>
                      <a:pt x="100000"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5" name="Shape 2636">
                <a:extLst>
                  <a:ext uri="{FF2B5EF4-FFF2-40B4-BE49-F238E27FC236}">
                    <a16:creationId xmlns:a16="http://schemas.microsoft.com/office/drawing/2014/main" id="{0DD6734E-2E11-40DF-8E55-BE960EEAC7D3}"/>
                  </a:ext>
                </a:extLst>
              </p:cNvPr>
              <p:cNvSpPr/>
              <p:nvPr/>
            </p:nvSpPr>
            <p:spPr>
              <a:xfrm>
                <a:off x="11810415" y="8898647"/>
                <a:ext cx="83336" cy="201211"/>
              </a:xfrm>
              <a:custGeom>
                <a:avLst/>
                <a:gdLst/>
                <a:ahLst/>
                <a:cxnLst/>
                <a:rect l="0" t="0" r="0" b="0"/>
                <a:pathLst>
                  <a:path w="120000" h="120000" extrusionOk="0">
                    <a:moveTo>
                      <a:pt x="108000" y="50000"/>
                    </a:moveTo>
                    <a:cubicBezTo>
                      <a:pt x="108000" y="45000"/>
                      <a:pt x="108000" y="35000"/>
                      <a:pt x="96000" y="30000"/>
                    </a:cubicBezTo>
                    <a:cubicBezTo>
                      <a:pt x="84000" y="25000"/>
                      <a:pt x="48000" y="5000"/>
                      <a:pt x="60000" y="0"/>
                    </a:cubicBezTo>
                    <a:cubicBezTo>
                      <a:pt x="48000" y="0"/>
                      <a:pt x="36000" y="0"/>
                      <a:pt x="24000" y="0"/>
                    </a:cubicBezTo>
                    <a:cubicBezTo>
                      <a:pt x="0" y="0"/>
                      <a:pt x="24000" y="10000"/>
                      <a:pt x="24000" y="15000"/>
                    </a:cubicBezTo>
                    <a:cubicBezTo>
                      <a:pt x="36000" y="25000"/>
                      <a:pt x="24000" y="35000"/>
                      <a:pt x="24000" y="45000"/>
                    </a:cubicBezTo>
                    <a:cubicBezTo>
                      <a:pt x="12000" y="60000"/>
                      <a:pt x="36000" y="60000"/>
                      <a:pt x="48000" y="75000"/>
                    </a:cubicBezTo>
                    <a:cubicBezTo>
                      <a:pt x="48000" y="85000"/>
                      <a:pt x="36000" y="95000"/>
                      <a:pt x="48000" y="105000"/>
                    </a:cubicBezTo>
                    <a:cubicBezTo>
                      <a:pt x="48000" y="110000"/>
                      <a:pt x="60000" y="115000"/>
                      <a:pt x="72000" y="115000"/>
                    </a:cubicBezTo>
                    <a:cubicBezTo>
                      <a:pt x="84000" y="120000"/>
                      <a:pt x="120000" y="120000"/>
                      <a:pt x="108000" y="115000"/>
                    </a:cubicBezTo>
                    <a:cubicBezTo>
                      <a:pt x="108000" y="95000"/>
                      <a:pt x="108000" y="75000"/>
                      <a:pt x="108000" y="50000"/>
                    </a:cubicBezTo>
                    <a:cubicBezTo>
                      <a:pt x="108000" y="35000"/>
                      <a:pt x="108000" y="65000"/>
                      <a:pt x="108000" y="5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6" name="Shape 2637">
                <a:extLst>
                  <a:ext uri="{FF2B5EF4-FFF2-40B4-BE49-F238E27FC236}">
                    <a16:creationId xmlns:a16="http://schemas.microsoft.com/office/drawing/2014/main" id="{C56692D9-83F8-4B68-8570-451048BB1BB4}"/>
                  </a:ext>
                </a:extLst>
              </p:cNvPr>
              <p:cNvSpPr/>
              <p:nvPr/>
            </p:nvSpPr>
            <p:spPr>
              <a:xfrm>
                <a:off x="11448330" y="8907270"/>
                <a:ext cx="267251" cy="261575"/>
              </a:xfrm>
              <a:custGeom>
                <a:avLst/>
                <a:gdLst/>
                <a:ahLst/>
                <a:cxnLst/>
                <a:rect l="0" t="0" r="0" b="0"/>
                <a:pathLst>
                  <a:path w="120000" h="120000" extrusionOk="0">
                    <a:moveTo>
                      <a:pt x="97500" y="15483"/>
                    </a:moveTo>
                    <a:cubicBezTo>
                      <a:pt x="90000" y="15483"/>
                      <a:pt x="86250" y="23225"/>
                      <a:pt x="78750" y="19354"/>
                    </a:cubicBezTo>
                    <a:cubicBezTo>
                      <a:pt x="71250" y="19354"/>
                      <a:pt x="63750" y="0"/>
                      <a:pt x="56250" y="3870"/>
                    </a:cubicBezTo>
                    <a:cubicBezTo>
                      <a:pt x="52500" y="7741"/>
                      <a:pt x="48750" y="7741"/>
                      <a:pt x="48750" y="3870"/>
                    </a:cubicBezTo>
                    <a:cubicBezTo>
                      <a:pt x="45000" y="0"/>
                      <a:pt x="41250" y="7741"/>
                      <a:pt x="37500" y="7741"/>
                    </a:cubicBezTo>
                    <a:cubicBezTo>
                      <a:pt x="30000" y="11612"/>
                      <a:pt x="26250" y="7741"/>
                      <a:pt x="22500" y="7741"/>
                    </a:cubicBezTo>
                    <a:cubicBezTo>
                      <a:pt x="18750" y="3870"/>
                      <a:pt x="18750" y="11612"/>
                      <a:pt x="15000" y="11612"/>
                    </a:cubicBezTo>
                    <a:cubicBezTo>
                      <a:pt x="11250" y="11612"/>
                      <a:pt x="7500" y="19354"/>
                      <a:pt x="11250" y="23225"/>
                    </a:cubicBezTo>
                    <a:cubicBezTo>
                      <a:pt x="11250" y="27096"/>
                      <a:pt x="18750" y="27096"/>
                      <a:pt x="18750" y="27096"/>
                    </a:cubicBezTo>
                    <a:cubicBezTo>
                      <a:pt x="18750" y="30967"/>
                      <a:pt x="11250" y="34838"/>
                      <a:pt x="11250" y="34838"/>
                    </a:cubicBezTo>
                    <a:cubicBezTo>
                      <a:pt x="11250" y="38709"/>
                      <a:pt x="18750" y="42580"/>
                      <a:pt x="18750" y="46451"/>
                    </a:cubicBezTo>
                    <a:cubicBezTo>
                      <a:pt x="18750" y="46451"/>
                      <a:pt x="11250" y="42580"/>
                      <a:pt x="11250" y="50322"/>
                    </a:cubicBezTo>
                    <a:cubicBezTo>
                      <a:pt x="11250" y="54193"/>
                      <a:pt x="15000" y="61935"/>
                      <a:pt x="7500" y="61935"/>
                    </a:cubicBezTo>
                    <a:cubicBezTo>
                      <a:pt x="11250" y="65806"/>
                      <a:pt x="11250" y="69677"/>
                      <a:pt x="7500" y="73548"/>
                    </a:cubicBezTo>
                    <a:cubicBezTo>
                      <a:pt x="7500" y="81290"/>
                      <a:pt x="0" y="81290"/>
                      <a:pt x="11250" y="89032"/>
                    </a:cubicBezTo>
                    <a:cubicBezTo>
                      <a:pt x="15000" y="89032"/>
                      <a:pt x="22500" y="92903"/>
                      <a:pt x="26250" y="100645"/>
                    </a:cubicBezTo>
                    <a:cubicBezTo>
                      <a:pt x="30000" y="104516"/>
                      <a:pt x="26250" y="112258"/>
                      <a:pt x="26250" y="120000"/>
                    </a:cubicBezTo>
                    <a:cubicBezTo>
                      <a:pt x="41250" y="116129"/>
                      <a:pt x="52500" y="108387"/>
                      <a:pt x="71250" y="108387"/>
                    </a:cubicBezTo>
                    <a:cubicBezTo>
                      <a:pt x="78750" y="104516"/>
                      <a:pt x="90000" y="108387"/>
                      <a:pt x="97500" y="108387"/>
                    </a:cubicBezTo>
                    <a:cubicBezTo>
                      <a:pt x="105000" y="108387"/>
                      <a:pt x="116250" y="112258"/>
                      <a:pt x="112500" y="100645"/>
                    </a:cubicBezTo>
                    <a:cubicBezTo>
                      <a:pt x="112500" y="92903"/>
                      <a:pt x="108750" y="89032"/>
                      <a:pt x="105000" y="81290"/>
                    </a:cubicBezTo>
                    <a:cubicBezTo>
                      <a:pt x="105000" y="73548"/>
                      <a:pt x="108750" y="65806"/>
                      <a:pt x="112500" y="58064"/>
                    </a:cubicBezTo>
                    <a:cubicBezTo>
                      <a:pt x="116250" y="42580"/>
                      <a:pt x="120000" y="15483"/>
                      <a:pt x="97500" y="1548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7" name="Shape 2638">
                <a:extLst>
                  <a:ext uri="{FF2B5EF4-FFF2-40B4-BE49-F238E27FC236}">
                    <a16:creationId xmlns:a16="http://schemas.microsoft.com/office/drawing/2014/main" id="{75DC5BEE-1655-4843-B1E1-D3992A6FC32A}"/>
                  </a:ext>
                </a:extLst>
              </p:cNvPr>
              <p:cNvSpPr/>
              <p:nvPr/>
            </p:nvSpPr>
            <p:spPr>
              <a:xfrm>
                <a:off x="11675352" y="8898647"/>
                <a:ext cx="192539" cy="252949"/>
              </a:xfrm>
              <a:custGeom>
                <a:avLst/>
                <a:gdLst/>
                <a:ahLst/>
                <a:cxnLst/>
                <a:rect l="0" t="0" r="0" b="0"/>
                <a:pathLst>
                  <a:path w="120000" h="120000" extrusionOk="0">
                    <a:moveTo>
                      <a:pt x="99130" y="52000"/>
                    </a:moveTo>
                    <a:cubicBezTo>
                      <a:pt x="88695" y="44000"/>
                      <a:pt x="93913" y="32000"/>
                      <a:pt x="93913" y="24000"/>
                    </a:cubicBezTo>
                    <a:cubicBezTo>
                      <a:pt x="99130" y="16000"/>
                      <a:pt x="83478" y="8000"/>
                      <a:pt x="88695" y="0"/>
                    </a:cubicBezTo>
                    <a:cubicBezTo>
                      <a:pt x="62608" y="0"/>
                      <a:pt x="41739" y="0"/>
                      <a:pt x="15652" y="0"/>
                    </a:cubicBezTo>
                    <a:cubicBezTo>
                      <a:pt x="15652" y="12000"/>
                      <a:pt x="20869" y="28000"/>
                      <a:pt x="20869" y="44000"/>
                    </a:cubicBezTo>
                    <a:cubicBezTo>
                      <a:pt x="20869" y="60000"/>
                      <a:pt x="0" y="72000"/>
                      <a:pt x="5217" y="88000"/>
                    </a:cubicBezTo>
                    <a:cubicBezTo>
                      <a:pt x="10434" y="100000"/>
                      <a:pt x="20869" y="104000"/>
                      <a:pt x="15652" y="120000"/>
                    </a:cubicBezTo>
                    <a:cubicBezTo>
                      <a:pt x="31304" y="120000"/>
                      <a:pt x="36521" y="120000"/>
                      <a:pt x="52173" y="116000"/>
                    </a:cubicBezTo>
                    <a:cubicBezTo>
                      <a:pt x="78260" y="112000"/>
                      <a:pt x="99130" y="104000"/>
                      <a:pt x="120000" y="96000"/>
                    </a:cubicBezTo>
                    <a:cubicBezTo>
                      <a:pt x="109565" y="92000"/>
                      <a:pt x="104347" y="84000"/>
                      <a:pt x="104347" y="76000"/>
                    </a:cubicBezTo>
                    <a:cubicBezTo>
                      <a:pt x="104347" y="68000"/>
                      <a:pt x="104347" y="60000"/>
                      <a:pt x="99130" y="52000"/>
                    </a:cubicBezTo>
                    <a:cubicBezTo>
                      <a:pt x="88695" y="44000"/>
                      <a:pt x="104347" y="60000"/>
                      <a:pt x="99130" y="5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8" name="Shape 2639">
                <a:extLst>
                  <a:ext uri="{FF2B5EF4-FFF2-40B4-BE49-F238E27FC236}">
                    <a16:creationId xmlns:a16="http://schemas.microsoft.com/office/drawing/2014/main" id="{47A51C05-221E-45E6-A7B1-DE818115BA6E}"/>
                  </a:ext>
                </a:extLst>
              </p:cNvPr>
              <p:cNvSpPr/>
              <p:nvPr/>
            </p:nvSpPr>
            <p:spPr>
              <a:xfrm>
                <a:off x="11252922" y="8924515"/>
                <a:ext cx="126441" cy="152345"/>
              </a:xfrm>
              <a:custGeom>
                <a:avLst/>
                <a:gdLst/>
                <a:ahLst/>
                <a:cxnLst/>
                <a:rect l="0" t="0" r="0" b="0"/>
                <a:pathLst>
                  <a:path w="120000" h="120000" extrusionOk="0">
                    <a:moveTo>
                      <a:pt x="96000" y="93333"/>
                    </a:moveTo>
                    <a:cubicBezTo>
                      <a:pt x="120000" y="86666"/>
                      <a:pt x="120000" y="53333"/>
                      <a:pt x="112000" y="40000"/>
                    </a:cubicBezTo>
                    <a:cubicBezTo>
                      <a:pt x="96000" y="13333"/>
                      <a:pt x="64000" y="0"/>
                      <a:pt x="40000" y="20000"/>
                    </a:cubicBezTo>
                    <a:cubicBezTo>
                      <a:pt x="24000" y="26666"/>
                      <a:pt x="0" y="40000"/>
                      <a:pt x="8000" y="53333"/>
                    </a:cubicBezTo>
                    <a:cubicBezTo>
                      <a:pt x="16000" y="66666"/>
                      <a:pt x="16000" y="73333"/>
                      <a:pt x="32000" y="80000"/>
                    </a:cubicBezTo>
                    <a:cubicBezTo>
                      <a:pt x="40000" y="93333"/>
                      <a:pt x="40000" y="100000"/>
                      <a:pt x="56000" y="106666"/>
                    </a:cubicBezTo>
                    <a:cubicBezTo>
                      <a:pt x="64000" y="113333"/>
                      <a:pt x="72000" y="120000"/>
                      <a:pt x="80000" y="106666"/>
                    </a:cubicBezTo>
                    <a:cubicBezTo>
                      <a:pt x="80000" y="100000"/>
                      <a:pt x="88000" y="100000"/>
                      <a:pt x="96000" y="93333"/>
                    </a:cubicBezTo>
                    <a:cubicBezTo>
                      <a:pt x="112000" y="86666"/>
                      <a:pt x="88000" y="100000"/>
                      <a:pt x="96000" y="93333"/>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89" name="Shape 2640">
                <a:extLst>
                  <a:ext uri="{FF2B5EF4-FFF2-40B4-BE49-F238E27FC236}">
                    <a16:creationId xmlns:a16="http://schemas.microsoft.com/office/drawing/2014/main" id="{3A01E87A-683C-4BCE-8592-C6C4D1E5E52C}"/>
                  </a:ext>
                </a:extLst>
              </p:cNvPr>
              <p:cNvSpPr/>
              <p:nvPr/>
            </p:nvSpPr>
            <p:spPr>
              <a:xfrm>
                <a:off x="11327635" y="8990628"/>
                <a:ext cx="186789" cy="178216"/>
              </a:xfrm>
              <a:custGeom>
                <a:avLst/>
                <a:gdLst/>
                <a:ahLst/>
                <a:cxnLst/>
                <a:rect l="0" t="0" r="0" b="0"/>
                <a:pathLst>
                  <a:path w="120000" h="120000" extrusionOk="0">
                    <a:moveTo>
                      <a:pt x="114545" y="97142"/>
                    </a:moveTo>
                    <a:cubicBezTo>
                      <a:pt x="120000" y="85714"/>
                      <a:pt x="109090" y="80000"/>
                      <a:pt x="103636" y="74285"/>
                    </a:cubicBezTo>
                    <a:cubicBezTo>
                      <a:pt x="98181" y="74285"/>
                      <a:pt x="76363" y="68571"/>
                      <a:pt x="87272" y="62857"/>
                    </a:cubicBezTo>
                    <a:cubicBezTo>
                      <a:pt x="92727" y="57142"/>
                      <a:pt x="92727" y="40000"/>
                      <a:pt x="87272" y="34285"/>
                    </a:cubicBezTo>
                    <a:cubicBezTo>
                      <a:pt x="81818" y="22857"/>
                      <a:pt x="76363" y="45714"/>
                      <a:pt x="70909" y="45714"/>
                    </a:cubicBezTo>
                    <a:cubicBezTo>
                      <a:pt x="54545" y="45714"/>
                      <a:pt x="60000" y="0"/>
                      <a:pt x="49090" y="5714"/>
                    </a:cubicBezTo>
                    <a:cubicBezTo>
                      <a:pt x="43636" y="11428"/>
                      <a:pt x="32727" y="17142"/>
                      <a:pt x="27272" y="22857"/>
                    </a:cubicBezTo>
                    <a:cubicBezTo>
                      <a:pt x="21818" y="34285"/>
                      <a:pt x="10909" y="40000"/>
                      <a:pt x="0" y="51428"/>
                    </a:cubicBezTo>
                    <a:cubicBezTo>
                      <a:pt x="27272" y="68571"/>
                      <a:pt x="43636" y="85714"/>
                      <a:pt x="65454" y="102857"/>
                    </a:cubicBezTo>
                    <a:cubicBezTo>
                      <a:pt x="76363" y="114285"/>
                      <a:pt x="87272" y="120000"/>
                      <a:pt x="103636" y="120000"/>
                    </a:cubicBezTo>
                    <a:cubicBezTo>
                      <a:pt x="120000" y="120000"/>
                      <a:pt x="109090" y="108571"/>
                      <a:pt x="114545" y="97142"/>
                    </a:cubicBezTo>
                    <a:cubicBezTo>
                      <a:pt x="120000" y="85714"/>
                      <a:pt x="114545" y="108571"/>
                      <a:pt x="114545" y="9714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0" name="Shape 2641">
                <a:extLst>
                  <a:ext uri="{FF2B5EF4-FFF2-40B4-BE49-F238E27FC236}">
                    <a16:creationId xmlns:a16="http://schemas.microsoft.com/office/drawing/2014/main" id="{5F5E6D46-0306-4129-B932-73CF607EFFFF}"/>
                  </a:ext>
                </a:extLst>
              </p:cNvPr>
              <p:cNvSpPr/>
              <p:nvPr/>
            </p:nvSpPr>
            <p:spPr>
              <a:xfrm>
                <a:off x="11195446" y="8821038"/>
                <a:ext cx="293115" cy="247201"/>
              </a:xfrm>
              <a:custGeom>
                <a:avLst/>
                <a:gdLst/>
                <a:ahLst/>
                <a:cxnLst/>
                <a:rect l="0" t="0" r="0" b="0"/>
                <a:pathLst>
                  <a:path w="120000" h="120000" extrusionOk="0">
                    <a:moveTo>
                      <a:pt x="34285" y="66206"/>
                    </a:moveTo>
                    <a:cubicBezTo>
                      <a:pt x="48000" y="57931"/>
                      <a:pt x="61714" y="49655"/>
                      <a:pt x="68571" y="70344"/>
                    </a:cubicBezTo>
                    <a:cubicBezTo>
                      <a:pt x="75428" y="78620"/>
                      <a:pt x="72000" y="82758"/>
                      <a:pt x="72000" y="95172"/>
                    </a:cubicBezTo>
                    <a:cubicBezTo>
                      <a:pt x="75428" y="99310"/>
                      <a:pt x="82285" y="86896"/>
                      <a:pt x="85714" y="86896"/>
                    </a:cubicBezTo>
                    <a:cubicBezTo>
                      <a:pt x="92571" y="82758"/>
                      <a:pt x="92571" y="120000"/>
                      <a:pt x="99428" y="111724"/>
                    </a:cubicBezTo>
                    <a:cubicBezTo>
                      <a:pt x="102857" y="111724"/>
                      <a:pt x="102857" y="107586"/>
                      <a:pt x="106285" y="107586"/>
                    </a:cubicBezTo>
                    <a:cubicBezTo>
                      <a:pt x="106285" y="103448"/>
                      <a:pt x="113142" y="107586"/>
                      <a:pt x="113142" y="103448"/>
                    </a:cubicBezTo>
                    <a:cubicBezTo>
                      <a:pt x="116571" y="99310"/>
                      <a:pt x="113142" y="95172"/>
                      <a:pt x="113142" y="95172"/>
                    </a:cubicBezTo>
                    <a:cubicBezTo>
                      <a:pt x="113142" y="86896"/>
                      <a:pt x="120000" y="91034"/>
                      <a:pt x="120000" y="91034"/>
                    </a:cubicBezTo>
                    <a:cubicBezTo>
                      <a:pt x="120000" y="86896"/>
                      <a:pt x="109714" y="82758"/>
                      <a:pt x="116571" y="78620"/>
                    </a:cubicBezTo>
                    <a:cubicBezTo>
                      <a:pt x="120000" y="74482"/>
                      <a:pt x="120000" y="70344"/>
                      <a:pt x="113142" y="66206"/>
                    </a:cubicBezTo>
                    <a:cubicBezTo>
                      <a:pt x="109714" y="62068"/>
                      <a:pt x="116571" y="53793"/>
                      <a:pt x="113142" y="49655"/>
                    </a:cubicBezTo>
                    <a:cubicBezTo>
                      <a:pt x="109714" y="45517"/>
                      <a:pt x="113142" y="41379"/>
                      <a:pt x="109714" y="33103"/>
                    </a:cubicBezTo>
                    <a:cubicBezTo>
                      <a:pt x="106285" y="28965"/>
                      <a:pt x="99428" y="0"/>
                      <a:pt x="89142" y="8275"/>
                    </a:cubicBezTo>
                    <a:cubicBezTo>
                      <a:pt x="89142" y="8275"/>
                      <a:pt x="85714" y="12413"/>
                      <a:pt x="82285" y="12413"/>
                    </a:cubicBezTo>
                    <a:cubicBezTo>
                      <a:pt x="78857" y="12413"/>
                      <a:pt x="78857" y="12413"/>
                      <a:pt x="75428" y="12413"/>
                    </a:cubicBezTo>
                    <a:cubicBezTo>
                      <a:pt x="72000" y="16551"/>
                      <a:pt x="68571" y="12413"/>
                      <a:pt x="65142" y="12413"/>
                    </a:cubicBezTo>
                    <a:cubicBezTo>
                      <a:pt x="61714" y="12413"/>
                      <a:pt x="61714" y="16551"/>
                      <a:pt x="61714" y="12413"/>
                    </a:cubicBezTo>
                    <a:cubicBezTo>
                      <a:pt x="54857" y="8275"/>
                      <a:pt x="58285" y="8275"/>
                      <a:pt x="51428" y="8275"/>
                    </a:cubicBezTo>
                    <a:cubicBezTo>
                      <a:pt x="41142" y="12413"/>
                      <a:pt x="41142" y="4137"/>
                      <a:pt x="34285" y="4137"/>
                    </a:cubicBezTo>
                    <a:cubicBezTo>
                      <a:pt x="27428" y="0"/>
                      <a:pt x="20571" y="0"/>
                      <a:pt x="17142" y="4137"/>
                    </a:cubicBezTo>
                    <a:cubicBezTo>
                      <a:pt x="17142" y="8275"/>
                      <a:pt x="10285" y="12413"/>
                      <a:pt x="17142" y="16551"/>
                    </a:cubicBezTo>
                    <a:cubicBezTo>
                      <a:pt x="20571" y="20689"/>
                      <a:pt x="17142" y="24827"/>
                      <a:pt x="10285" y="24827"/>
                    </a:cubicBezTo>
                    <a:cubicBezTo>
                      <a:pt x="3428" y="24827"/>
                      <a:pt x="0" y="24827"/>
                      <a:pt x="0" y="33103"/>
                    </a:cubicBezTo>
                    <a:cubicBezTo>
                      <a:pt x="3428" y="41379"/>
                      <a:pt x="6857" y="45517"/>
                      <a:pt x="10285" y="53793"/>
                    </a:cubicBezTo>
                    <a:cubicBezTo>
                      <a:pt x="17142" y="62068"/>
                      <a:pt x="20571" y="66206"/>
                      <a:pt x="27428" y="78620"/>
                    </a:cubicBezTo>
                    <a:cubicBezTo>
                      <a:pt x="30857" y="74482"/>
                      <a:pt x="30857" y="70344"/>
                      <a:pt x="34285" y="66206"/>
                    </a:cubicBezTo>
                    <a:cubicBezTo>
                      <a:pt x="37714" y="66206"/>
                      <a:pt x="34285" y="70344"/>
                      <a:pt x="34285" y="6620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1" name="Shape 2642">
                <a:extLst>
                  <a:ext uri="{FF2B5EF4-FFF2-40B4-BE49-F238E27FC236}">
                    <a16:creationId xmlns:a16="http://schemas.microsoft.com/office/drawing/2014/main" id="{9E70CD0E-2C77-4F3B-B9B7-ACB86F03E4EE}"/>
                  </a:ext>
                </a:extLst>
              </p:cNvPr>
              <p:cNvSpPr/>
              <p:nvPr/>
            </p:nvSpPr>
            <p:spPr>
              <a:xfrm>
                <a:off x="11117859" y="8829663"/>
                <a:ext cx="135063" cy="60363"/>
              </a:xfrm>
              <a:custGeom>
                <a:avLst/>
                <a:gdLst/>
                <a:ahLst/>
                <a:cxnLst/>
                <a:rect l="0" t="0" r="0" b="0"/>
                <a:pathLst>
                  <a:path w="120000" h="120000" extrusionOk="0">
                    <a:moveTo>
                      <a:pt x="75000" y="85714"/>
                    </a:moveTo>
                    <a:cubicBezTo>
                      <a:pt x="82500" y="85714"/>
                      <a:pt x="120000" y="85714"/>
                      <a:pt x="105000" y="51428"/>
                    </a:cubicBezTo>
                    <a:cubicBezTo>
                      <a:pt x="90000" y="34285"/>
                      <a:pt x="105000" y="17142"/>
                      <a:pt x="105000" y="0"/>
                    </a:cubicBezTo>
                    <a:cubicBezTo>
                      <a:pt x="90000" y="0"/>
                      <a:pt x="67500" y="0"/>
                      <a:pt x="52500" y="0"/>
                    </a:cubicBezTo>
                    <a:cubicBezTo>
                      <a:pt x="37500" y="0"/>
                      <a:pt x="37500" y="17142"/>
                      <a:pt x="30000" y="0"/>
                    </a:cubicBezTo>
                    <a:cubicBezTo>
                      <a:pt x="15000" y="0"/>
                      <a:pt x="15000" y="0"/>
                      <a:pt x="0" y="17142"/>
                    </a:cubicBezTo>
                    <a:cubicBezTo>
                      <a:pt x="7500" y="34285"/>
                      <a:pt x="7500" y="51428"/>
                      <a:pt x="22500" y="51428"/>
                    </a:cubicBezTo>
                    <a:cubicBezTo>
                      <a:pt x="30000" y="51428"/>
                      <a:pt x="52500" y="51428"/>
                      <a:pt x="52500" y="51428"/>
                    </a:cubicBezTo>
                    <a:cubicBezTo>
                      <a:pt x="37500" y="85714"/>
                      <a:pt x="52500" y="102857"/>
                      <a:pt x="67500" y="119999"/>
                    </a:cubicBezTo>
                    <a:cubicBezTo>
                      <a:pt x="67500" y="119999"/>
                      <a:pt x="67500" y="85714"/>
                      <a:pt x="75000" y="8571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2" name="Shape 2643">
                <a:extLst>
                  <a:ext uri="{FF2B5EF4-FFF2-40B4-BE49-F238E27FC236}">
                    <a16:creationId xmlns:a16="http://schemas.microsoft.com/office/drawing/2014/main" id="{16739E08-D820-4917-AB5A-C8CC571BC328}"/>
                  </a:ext>
                </a:extLst>
              </p:cNvPr>
              <p:cNvSpPr/>
              <p:nvPr/>
            </p:nvSpPr>
            <p:spPr>
              <a:xfrm>
                <a:off x="11109235" y="8772171"/>
                <a:ext cx="126441" cy="34493"/>
              </a:xfrm>
              <a:custGeom>
                <a:avLst/>
                <a:gdLst/>
                <a:ahLst/>
                <a:cxnLst/>
                <a:rect l="0" t="0" r="0" b="0"/>
                <a:pathLst>
                  <a:path w="120000" h="120000" extrusionOk="0">
                    <a:moveTo>
                      <a:pt x="32000" y="120000"/>
                    </a:moveTo>
                    <a:cubicBezTo>
                      <a:pt x="48000" y="90000"/>
                      <a:pt x="56000" y="60000"/>
                      <a:pt x="72000" y="90000"/>
                    </a:cubicBezTo>
                    <a:cubicBezTo>
                      <a:pt x="80000" y="90000"/>
                      <a:pt x="112000" y="120000"/>
                      <a:pt x="120000" y="60000"/>
                    </a:cubicBezTo>
                    <a:cubicBezTo>
                      <a:pt x="120000" y="90000"/>
                      <a:pt x="72000" y="0"/>
                      <a:pt x="64000" y="30000"/>
                    </a:cubicBezTo>
                    <a:cubicBezTo>
                      <a:pt x="40000" y="60000"/>
                      <a:pt x="8000" y="0"/>
                      <a:pt x="0" y="120000"/>
                    </a:cubicBezTo>
                    <a:cubicBezTo>
                      <a:pt x="16000" y="120000"/>
                      <a:pt x="24000" y="120000"/>
                      <a:pt x="32000" y="120000"/>
                    </a:cubicBezTo>
                    <a:cubicBezTo>
                      <a:pt x="40000" y="120000"/>
                      <a:pt x="32000" y="120000"/>
                      <a:pt x="32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3" name="Shape 2644">
                <a:extLst>
                  <a:ext uri="{FF2B5EF4-FFF2-40B4-BE49-F238E27FC236}">
                    <a16:creationId xmlns:a16="http://schemas.microsoft.com/office/drawing/2014/main" id="{3FAC5721-8C4E-4197-8EA3-A4C1128EBAB8}"/>
                  </a:ext>
                </a:extLst>
              </p:cNvPr>
              <p:cNvSpPr/>
              <p:nvPr/>
            </p:nvSpPr>
            <p:spPr>
              <a:xfrm>
                <a:off x="11091993" y="8180042"/>
                <a:ext cx="505765" cy="574882"/>
              </a:xfrm>
              <a:custGeom>
                <a:avLst/>
                <a:gdLst/>
                <a:ahLst/>
                <a:cxnLst/>
                <a:rect l="0" t="0" r="0" b="0"/>
                <a:pathLst>
                  <a:path w="120000" h="120000" extrusionOk="0">
                    <a:moveTo>
                      <a:pt x="10000" y="100588"/>
                    </a:moveTo>
                    <a:cubicBezTo>
                      <a:pt x="14000" y="100588"/>
                      <a:pt x="26000" y="97058"/>
                      <a:pt x="30000" y="100588"/>
                    </a:cubicBezTo>
                    <a:cubicBezTo>
                      <a:pt x="32000" y="102352"/>
                      <a:pt x="34000" y="102352"/>
                      <a:pt x="36000" y="104117"/>
                    </a:cubicBezTo>
                    <a:cubicBezTo>
                      <a:pt x="38000" y="107647"/>
                      <a:pt x="40000" y="109411"/>
                      <a:pt x="42000" y="111176"/>
                    </a:cubicBezTo>
                    <a:cubicBezTo>
                      <a:pt x="44000" y="112941"/>
                      <a:pt x="52000" y="120000"/>
                      <a:pt x="54000" y="112941"/>
                    </a:cubicBezTo>
                    <a:cubicBezTo>
                      <a:pt x="56000" y="102352"/>
                      <a:pt x="60000" y="114705"/>
                      <a:pt x="64000" y="112941"/>
                    </a:cubicBezTo>
                    <a:cubicBezTo>
                      <a:pt x="66000" y="109411"/>
                      <a:pt x="66000" y="109411"/>
                      <a:pt x="70000" y="109411"/>
                    </a:cubicBezTo>
                    <a:cubicBezTo>
                      <a:pt x="74000" y="109411"/>
                      <a:pt x="76000" y="109411"/>
                      <a:pt x="78000" y="109411"/>
                    </a:cubicBezTo>
                    <a:cubicBezTo>
                      <a:pt x="82000" y="107647"/>
                      <a:pt x="86000" y="107647"/>
                      <a:pt x="88000" y="107647"/>
                    </a:cubicBezTo>
                    <a:cubicBezTo>
                      <a:pt x="94000" y="107647"/>
                      <a:pt x="100000" y="107647"/>
                      <a:pt x="106000" y="107647"/>
                    </a:cubicBezTo>
                    <a:cubicBezTo>
                      <a:pt x="108000" y="107647"/>
                      <a:pt x="114000" y="109411"/>
                      <a:pt x="116000" y="107647"/>
                    </a:cubicBezTo>
                    <a:cubicBezTo>
                      <a:pt x="118000" y="107647"/>
                      <a:pt x="116000" y="97058"/>
                      <a:pt x="116000" y="95294"/>
                    </a:cubicBezTo>
                    <a:cubicBezTo>
                      <a:pt x="114000" y="84705"/>
                      <a:pt x="112000" y="75882"/>
                      <a:pt x="112000" y="67058"/>
                    </a:cubicBezTo>
                    <a:cubicBezTo>
                      <a:pt x="110000" y="51176"/>
                      <a:pt x="106000" y="37058"/>
                      <a:pt x="104000" y="21176"/>
                    </a:cubicBezTo>
                    <a:cubicBezTo>
                      <a:pt x="110000" y="21176"/>
                      <a:pt x="116000" y="21176"/>
                      <a:pt x="120000" y="21176"/>
                    </a:cubicBezTo>
                    <a:cubicBezTo>
                      <a:pt x="108000" y="14117"/>
                      <a:pt x="96000" y="7058"/>
                      <a:pt x="86000" y="0"/>
                    </a:cubicBezTo>
                    <a:cubicBezTo>
                      <a:pt x="86000" y="1764"/>
                      <a:pt x="86000" y="12352"/>
                      <a:pt x="84000" y="12352"/>
                    </a:cubicBezTo>
                    <a:cubicBezTo>
                      <a:pt x="82000" y="12352"/>
                      <a:pt x="78000" y="12352"/>
                      <a:pt x="74000" y="12352"/>
                    </a:cubicBezTo>
                    <a:cubicBezTo>
                      <a:pt x="70000" y="12352"/>
                      <a:pt x="64000" y="12352"/>
                      <a:pt x="58000" y="12352"/>
                    </a:cubicBezTo>
                    <a:cubicBezTo>
                      <a:pt x="58000" y="12352"/>
                      <a:pt x="52000" y="12352"/>
                      <a:pt x="52000" y="12352"/>
                    </a:cubicBezTo>
                    <a:cubicBezTo>
                      <a:pt x="50000" y="14117"/>
                      <a:pt x="52000" y="19411"/>
                      <a:pt x="52000" y="21176"/>
                    </a:cubicBezTo>
                    <a:cubicBezTo>
                      <a:pt x="52000" y="24705"/>
                      <a:pt x="52000" y="30000"/>
                      <a:pt x="52000" y="33529"/>
                    </a:cubicBezTo>
                    <a:cubicBezTo>
                      <a:pt x="52000" y="38823"/>
                      <a:pt x="40000" y="37058"/>
                      <a:pt x="40000" y="44117"/>
                    </a:cubicBezTo>
                    <a:cubicBezTo>
                      <a:pt x="40000" y="45882"/>
                      <a:pt x="42000" y="54705"/>
                      <a:pt x="40000" y="56470"/>
                    </a:cubicBezTo>
                    <a:cubicBezTo>
                      <a:pt x="40000" y="56470"/>
                      <a:pt x="34000" y="56470"/>
                      <a:pt x="32000" y="56470"/>
                    </a:cubicBezTo>
                    <a:cubicBezTo>
                      <a:pt x="24000" y="56470"/>
                      <a:pt x="14000" y="56470"/>
                      <a:pt x="6000" y="56470"/>
                    </a:cubicBezTo>
                    <a:cubicBezTo>
                      <a:pt x="4000" y="56470"/>
                      <a:pt x="0" y="54705"/>
                      <a:pt x="2000" y="58235"/>
                    </a:cubicBezTo>
                    <a:cubicBezTo>
                      <a:pt x="4000" y="60000"/>
                      <a:pt x="6000" y="61764"/>
                      <a:pt x="8000" y="63529"/>
                    </a:cubicBezTo>
                    <a:cubicBezTo>
                      <a:pt x="10000" y="67058"/>
                      <a:pt x="8000" y="70588"/>
                      <a:pt x="6000" y="72352"/>
                    </a:cubicBezTo>
                    <a:cubicBezTo>
                      <a:pt x="6000" y="77647"/>
                      <a:pt x="12000" y="79411"/>
                      <a:pt x="12000" y="84705"/>
                    </a:cubicBezTo>
                    <a:cubicBezTo>
                      <a:pt x="14000" y="90000"/>
                      <a:pt x="8000" y="97058"/>
                      <a:pt x="6000" y="102352"/>
                    </a:cubicBezTo>
                    <a:cubicBezTo>
                      <a:pt x="8000" y="102352"/>
                      <a:pt x="8000" y="100588"/>
                      <a:pt x="10000" y="10058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4" name="Shape 2645">
                <a:extLst>
                  <a:ext uri="{FF2B5EF4-FFF2-40B4-BE49-F238E27FC236}">
                    <a16:creationId xmlns:a16="http://schemas.microsoft.com/office/drawing/2014/main" id="{3730544A-97CD-44EA-927D-CC84F6EB2E26}"/>
                  </a:ext>
                </a:extLst>
              </p:cNvPr>
              <p:cNvSpPr/>
              <p:nvPr/>
            </p:nvSpPr>
            <p:spPr>
              <a:xfrm>
                <a:off x="11091993" y="8654320"/>
                <a:ext cx="244262" cy="192589"/>
              </a:xfrm>
              <a:custGeom>
                <a:avLst/>
                <a:gdLst/>
                <a:ahLst/>
                <a:cxnLst/>
                <a:rect l="0" t="0" r="0" b="0"/>
                <a:pathLst>
                  <a:path w="120000" h="120000" extrusionOk="0">
                    <a:moveTo>
                      <a:pt x="33103" y="114782"/>
                    </a:moveTo>
                    <a:cubicBezTo>
                      <a:pt x="37241" y="114782"/>
                      <a:pt x="37241" y="109565"/>
                      <a:pt x="41379" y="109565"/>
                    </a:cubicBezTo>
                    <a:cubicBezTo>
                      <a:pt x="49655" y="109565"/>
                      <a:pt x="53793" y="109565"/>
                      <a:pt x="62068" y="109565"/>
                    </a:cubicBezTo>
                    <a:cubicBezTo>
                      <a:pt x="70344" y="109565"/>
                      <a:pt x="82758" y="104347"/>
                      <a:pt x="95172" y="109565"/>
                    </a:cubicBezTo>
                    <a:cubicBezTo>
                      <a:pt x="99310" y="114782"/>
                      <a:pt x="103448" y="120000"/>
                      <a:pt x="111724" y="114782"/>
                    </a:cubicBezTo>
                    <a:cubicBezTo>
                      <a:pt x="120000" y="114782"/>
                      <a:pt x="120000" y="109565"/>
                      <a:pt x="120000" y="99130"/>
                    </a:cubicBezTo>
                    <a:cubicBezTo>
                      <a:pt x="120000" y="88695"/>
                      <a:pt x="103448" y="83478"/>
                      <a:pt x="103448" y="73043"/>
                    </a:cubicBezTo>
                    <a:cubicBezTo>
                      <a:pt x="103448" y="73043"/>
                      <a:pt x="103448" y="52173"/>
                      <a:pt x="103448" y="52173"/>
                    </a:cubicBezTo>
                    <a:cubicBezTo>
                      <a:pt x="99310" y="52173"/>
                      <a:pt x="82758" y="26086"/>
                      <a:pt x="78620" y="20869"/>
                    </a:cubicBezTo>
                    <a:cubicBezTo>
                      <a:pt x="66206" y="5217"/>
                      <a:pt x="53793" y="0"/>
                      <a:pt x="37241" y="5217"/>
                    </a:cubicBezTo>
                    <a:cubicBezTo>
                      <a:pt x="33103" y="5217"/>
                      <a:pt x="20689" y="0"/>
                      <a:pt x="20689" y="5217"/>
                    </a:cubicBezTo>
                    <a:cubicBezTo>
                      <a:pt x="16551" y="10434"/>
                      <a:pt x="8275" y="20869"/>
                      <a:pt x="8275" y="31304"/>
                    </a:cubicBezTo>
                    <a:cubicBezTo>
                      <a:pt x="12413" y="41739"/>
                      <a:pt x="12413" y="46956"/>
                      <a:pt x="4137" y="52173"/>
                    </a:cubicBezTo>
                    <a:cubicBezTo>
                      <a:pt x="0" y="52173"/>
                      <a:pt x="12413" y="62608"/>
                      <a:pt x="8275" y="62608"/>
                    </a:cubicBezTo>
                    <a:cubicBezTo>
                      <a:pt x="16551" y="67826"/>
                      <a:pt x="8275" y="67826"/>
                      <a:pt x="8275" y="73043"/>
                    </a:cubicBezTo>
                    <a:cubicBezTo>
                      <a:pt x="8275" y="73043"/>
                      <a:pt x="12413" y="78260"/>
                      <a:pt x="16551" y="78260"/>
                    </a:cubicBezTo>
                    <a:cubicBezTo>
                      <a:pt x="16551" y="83478"/>
                      <a:pt x="33103" y="78260"/>
                      <a:pt x="37241" y="78260"/>
                    </a:cubicBezTo>
                    <a:cubicBezTo>
                      <a:pt x="41379" y="78260"/>
                      <a:pt x="41379" y="73043"/>
                      <a:pt x="41379" y="73043"/>
                    </a:cubicBezTo>
                    <a:cubicBezTo>
                      <a:pt x="45517" y="73043"/>
                      <a:pt x="70344" y="88695"/>
                      <a:pt x="70344" y="83478"/>
                    </a:cubicBezTo>
                    <a:cubicBezTo>
                      <a:pt x="66206" y="93913"/>
                      <a:pt x="49655" y="88695"/>
                      <a:pt x="45517" y="88695"/>
                    </a:cubicBezTo>
                    <a:cubicBezTo>
                      <a:pt x="37241" y="83478"/>
                      <a:pt x="33103" y="93913"/>
                      <a:pt x="24827" y="93913"/>
                    </a:cubicBezTo>
                    <a:cubicBezTo>
                      <a:pt x="12413" y="93913"/>
                      <a:pt x="4137" y="93913"/>
                      <a:pt x="12413" y="109565"/>
                    </a:cubicBezTo>
                    <a:cubicBezTo>
                      <a:pt x="12413" y="114782"/>
                      <a:pt x="16551" y="109565"/>
                      <a:pt x="20689" y="109565"/>
                    </a:cubicBezTo>
                    <a:cubicBezTo>
                      <a:pt x="24827" y="109565"/>
                      <a:pt x="28965" y="114782"/>
                      <a:pt x="33103" y="114782"/>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5" name="Shape 2646">
                <a:extLst>
                  <a:ext uri="{FF2B5EF4-FFF2-40B4-BE49-F238E27FC236}">
                    <a16:creationId xmlns:a16="http://schemas.microsoft.com/office/drawing/2014/main" id="{84AF1D93-D2B0-4FD7-B438-FC5D57AD73A8}"/>
                  </a:ext>
                </a:extLst>
              </p:cNvPr>
              <p:cNvSpPr/>
              <p:nvPr/>
            </p:nvSpPr>
            <p:spPr>
              <a:xfrm>
                <a:off x="11304647" y="8274896"/>
                <a:ext cx="706923" cy="658245"/>
              </a:xfrm>
              <a:custGeom>
                <a:avLst/>
                <a:gdLst/>
                <a:ahLst/>
                <a:cxnLst/>
                <a:rect l="0" t="0" r="0" b="0"/>
                <a:pathLst>
                  <a:path w="120000" h="120000" extrusionOk="0">
                    <a:moveTo>
                      <a:pt x="38571" y="1538"/>
                    </a:moveTo>
                    <a:cubicBezTo>
                      <a:pt x="41428" y="24615"/>
                      <a:pt x="44285" y="47692"/>
                      <a:pt x="47142" y="69230"/>
                    </a:cubicBezTo>
                    <a:cubicBezTo>
                      <a:pt x="47142" y="72307"/>
                      <a:pt x="50000" y="76923"/>
                      <a:pt x="45714" y="76923"/>
                    </a:cubicBezTo>
                    <a:cubicBezTo>
                      <a:pt x="40000" y="76923"/>
                      <a:pt x="32857" y="76923"/>
                      <a:pt x="27142" y="76923"/>
                    </a:cubicBezTo>
                    <a:cubicBezTo>
                      <a:pt x="24285" y="76923"/>
                      <a:pt x="22857" y="76923"/>
                      <a:pt x="21428" y="76923"/>
                    </a:cubicBezTo>
                    <a:cubicBezTo>
                      <a:pt x="20000" y="76923"/>
                      <a:pt x="18571" y="78461"/>
                      <a:pt x="17142" y="78461"/>
                    </a:cubicBezTo>
                    <a:cubicBezTo>
                      <a:pt x="15714" y="80000"/>
                      <a:pt x="14285" y="78461"/>
                      <a:pt x="11428" y="78461"/>
                    </a:cubicBezTo>
                    <a:cubicBezTo>
                      <a:pt x="10000" y="78461"/>
                      <a:pt x="10000" y="81538"/>
                      <a:pt x="8571" y="80000"/>
                    </a:cubicBezTo>
                    <a:cubicBezTo>
                      <a:pt x="7142" y="80000"/>
                      <a:pt x="5714" y="76923"/>
                      <a:pt x="4285" y="76923"/>
                    </a:cubicBezTo>
                    <a:cubicBezTo>
                      <a:pt x="2857" y="76923"/>
                      <a:pt x="2857" y="86153"/>
                      <a:pt x="0" y="84615"/>
                    </a:cubicBezTo>
                    <a:cubicBezTo>
                      <a:pt x="0" y="86153"/>
                      <a:pt x="0" y="89230"/>
                      <a:pt x="0" y="90769"/>
                    </a:cubicBezTo>
                    <a:cubicBezTo>
                      <a:pt x="0" y="93846"/>
                      <a:pt x="2857" y="93846"/>
                      <a:pt x="4285" y="96923"/>
                    </a:cubicBezTo>
                    <a:cubicBezTo>
                      <a:pt x="5714" y="98461"/>
                      <a:pt x="4285" y="101538"/>
                      <a:pt x="5714" y="103076"/>
                    </a:cubicBezTo>
                    <a:cubicBezTo>
                      <a:pt x="7142" y="106153"/>
                      <a:pt x="8571" y="103076"/>
                      <a:pt x="10000" y="104615"/>
                    </a:cubicBezTo>
                    <a:cubicBezTo>
                      <a:pt x="10000" y="106153"/>
                      <a:pt x="14285" y="104615"/>
                      <a:pt x="15714" y="104615"/>
                    </a:cubicBezTo>
                    <a:cubicBezTo>
                      <a:pt x="17142" y="104615"/>
                      <a:pt x="20000" y="101538"/>
                      <a:pt x="21428" y="101538"/>
                    </a:cubicBezTo>
                    <a:cubicBezTo>
                      <a:pt x="24285" y="104615"/>
                      <a:pt x="25714" y="112307"/>
                      <a:pt x="28571" y="115384"/>
                    </a:cubicBezTo>
                    <a:cubicBezTo>
                      <a:pt x="28571" y="115384"/>
                      <a:pt x="27142" y="118461"/>
                      <a:pt x="28571" y="118461"/>
                    </a:cubicBezTo>
                    <a:cubicBezTo>
                      <a:pt x="30000" y="120000"/>
                      <a:pt x="31428" y="116923"/>
                      <a:pt x="32857" y="118461"/>
                    </a:cubicBezTo>
                    <a:cubicBezTo>
                      <a:pt x="34285" y="120000"/>
                      <a:pt x="37142" y="120000"/>
                      <a:pt x="38571" y="118461"/>
                    </a:cubicBezTo>
                    <a:cubicBezTo>
                      <a:pt x="41428" y="115384"/>
                      <a:pt x="41428" y="118461"/>
                      <a:pt x="42857" y="118461"/>
                    </a:cubicBezTo>
                    <a:cubicBezTo>
                      <a:pt x="47142" y="118461"/>
                      <a:pt x="50000" y="112307"/>
                      <a:pt x="50000" y="109230"/>
                    </a:cubicBezTo>
                    <a:cubicBezTo>
                      <a:pt x="50000" y="107692"/>
                      <a:pt x="47142" y="107692"/>
                      <a:pt x="50000" y="106153"/>
                    </a:cubicBezTo>
                    <a:cubicBezTo>
                      <a:pt x="51428" y="104615"/>
                      <a:pt x="54285" y="106153"/>
                      <a:pt x="55714" y="103076"/>
                    </a:cubicBezTo>
                    <a:cubicBezTo>
                      <a:pt x="55714" y="101538"/>
                      <a:pt x="57142" y="98461"/>
                      <a:pt x="57142" y="96923"/>
                    </a:cubicBezTo>
                    <a:cubicBezTo>
                      <a:pt x="58571" y="93846"/>
                      <a:pt x="58571" y="92307"/>
                      <a:pt x="60000" y="95384"/>
                    </a:cubicBezTo>
                    <a:cubicBezTo>
                      <a:pt x="64285" y="98461"/>
                      <a:pt x="67142" y="86153"/>
                      <a:pt x="70000" y="87692"/>
                    </a:cubicBezTo>
                    <a:cubicBezTo>
                      <a:pt x="71428" y="87692"/>
                      <a:pt x="71428" y="87692"/>
                      <a:pt x="72857" y="87692"/>
                    </a:cubicBezTo>
                    <a:cubicBezTo>
                      <a:pt x="72857" y="87692"/>
                      <a:pt x="74285" y="86153"/>
                      <a:pt x="74285" y="86153"/>
                    </a:cubicBezTo>
                    <a:cubicBezTo>
                      <a:pt x="75714" y="84615"/>
                      <a:pt x="77142" y="84615"/>
                      <a:pt x="78571" y="83076"/>
                    </a:cubicBezTo>
                    <a:cubicBezTo>
                      <a:pt x="82857" y="78461"/>
                      <a:pt x="87142" y="83076"/>
                      <a:pt x="92857" y="81538"/>
                    </a:cubicBezTo>
                    <a:cubicBezTo>
                      <a:pt x="95714" y="81538"/>
                      <a:pt x="97142" y="80000"/>
                      <a:pt x="100000" y="80000"/>
                    </a:cubicBezTo>
                    <a:cubicBezTo>
                      <a:pt x="104285" y="80000"/>
                      <a:pt x="108571" y="80000"/>
                      <a:pt x="111428" y="78461"/>
                    </a:cubicBezTo>
                    <a:cubicBezTo>
                      <a:pt x="120000" y="75384"/>
                      <a:pt x="117142" y="55384"/>
                      <a:pt x="117142" y="47692"/>
                    </a:cubicBezTo>
                    <a:cubicBezTo>
                      <a:pt x="115714" y="49230"/>
                      <a:pt x="111428" y="52307"/>
                      <a:pt x="110000" y="49230"/>
                    </a:cubicBezTo>
                    <a:cubicBezTo>
                      <a:pt x="108571" y="47692"/>
                      <a:pt x="111428" y="44615"/>
                      <a:pt x="110000" y="43076"/>
                    </a:cubicBezTo>
                    <a:cubicBezTo>
                      <a:pt x="108571" y="40000"/>
                      <a:pt x="102857" y="41538"/>
                      <a:pt x="100000" y="40000"/>
                    </a:cubicBezTo>
                    <a:cubicBezTo>
                      <a:pt x="97142" y="40000"/>
                      <a:pt x="95714" y="35384"/>
                      <a:pt x="94285" y="33846"/>
                    </a:cubicBezTo>
                    <a:cubicBezTo>
                      <a:pt x="94285" y="32307"/>
                      <a:pt x="92857" y="30769"/>
                      <a:pt x="90000" y="30769"/>
                    </a:cubicBezTo>
                    <a:cubicBezTo>
                      <a:pt x="87142" y="27692"/>
                      <a:pt x="82857" y="24615"/>
                      <a:pt x="80000" y="21538"/>
                    </a:cubicBezTo>
                    <a:cubicBezTo>
                      <a:pt x="71428" y="16923"/>
                      <a:pt x="62857" y="10769"/>
                      <a:pt x="55714" y="4615"/>
                    </a:cubicBezTo>
                    <a:cubicBezTo>
                      <a:pt x="54285" y="4615"/>
                      <a:pt x="51428" y="1538"/>
                      <a:pt x="50000" y="1538"/>
                    </a:cubicBezTo>
                    <a:cubicBezTo>
                      <a:pt x="47142" y="0"/>
                      <a:pt x="42857" y="1538"/>
                      <a:pt x="38571" y="1538"/>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6" name="Shape 2647">
                <a:extLst>
                  <a:ext uri="{FF2B5EF4-FFF2-40B4-BE49-F238E27FC236}">
                    <a16:creationId xmlns:a16="http://schemas.microsoft.com/office/drawing/2014/main" id="{661EFED8-7442-41D5-989E-609193A1AEA9}"/>
                  </a:ext>
                </a:extLst>
              </p:cNvPr>
              <p:cNvSpPr/>
              <p:nvPr/>
            </p:nvSpPr>
            <p:spPr>
              <a:xfrm>
                <a:off x="12819074" y="7970206"/>
                <a:ext cx="465534" cy="454160"/>
              </a:xfrm>
              <a:custGeom>
                <a:avLst/>
                <a:gdLst/>
                <a:ahLst/>
                <a:cxnLst/>
                <a:rect l="0" t="0" r="0" b="0"/>
                <a:pathLst>
                  <a:path w="120000" h="120000" extrusionOk="0">
                    <a:moveTo>
                      <a:pt x="98181" y="120000"/>
                    </a:moveTo>
                    <a:cubicBezTo>
                      <a:pt x="100363" y="120000"/>
                      <a:pt x="100363" y="113333"/>
                      <a:pt x="104727" y="113333"/>
                    </a:cubicBezTo>
                    <a:cubicBezTo>
                      <a:pt x="111272" y="113333"/>
                      <a:pt x="106909" y="108888"/>
                      <a:pt x="111272" y="106666"/>
                    </a:cubicBezTo>
                    <a:cubicBezTo>
                      <a:pt x="117818" y="104444"/>
                      <a:pt x="117818" y="104444"/>
                      <a:pt x="117818" y="97777"/>
                    </a:cubicBezTo>
                    <a:cubicBezTo>
                      <a:pt x="115636" y="93333"/>
                      <a:pt x="115636" y="93333"/>
                      <a:pt x="120000" y="93333"/>
                    </a:cubicBezTo>
                    <a:cubicBezTo>
                      <a:pt x="117818" y="93333"/>
                      <a:pt x="111272" y="82222"/>
                      <a:pt x="109090" y="80000"/>
                    </a:cubicBezTo>
                    <a:cubicBezTo>
                      <a:pt x="106909" y="71111"/>
                      <a:pt x="102545" y="62222"/>
                      <a:pt x="98181" y="55555"/>
                    </a:cubicBezTo>
                    <a:cubicBezTo>
                      <a:pt x="93818" y="48888"/>
                      <a:pt x="91636" y="40000"/>
                      <a:pt x="87272" y="35555"/>
                    </a:cubicBezTo>
                    <a:cubicBezTo>
                      <a:pt x="85090" y="33333"/>
                      <a:pt x="80727" y="20000"/>
                      <a:pt x="82909" y="17777"/>
                    </a:cubicBezTo>
                    <a:cubicBezTo>
                      <a:pt x="82909" y="17777"/>
                      <a:pt x="100363" y="48888"/>
                      <a:pt x="102545" y="48888"/>
                    </a:cubicBezTo>
                    <a:cubicBezTo>
                      <a:pt x="104727" y="48888"/>
                      <a:pt x="106909" y="42222"/>
                      <a:pt x="106909" y="42222"/>
                    </a:cubicBezTo>
                    <a:cubicBezTo>
                      <a:pt x="106909" y="37777"/>
                      <a:pt x="106909" y="33333"/>
                      <a:pt x="104727" y="31111"/>
                    </a:cubicBezTo>
                    <a:cubicBezTo>
                      <a:pt x="104727" y="22222"/>
                      <a:pt x="102545" y="13333"/>
                      <a:pt x="102545" y="4444"/>
                    </a:cubicBezTo>
                    <a:cubicBezTo>
                      <a:pt x="98181" y="8888"/>
                      <a:pt x="87272" y="8888"/>
                      <a:pt x="82909" y="4444"/>
                    </a:cubicBezTo>
                    <a:cubicBezTo>
                      <a:pt x="74181" y="0"/>
                      <a:pt x="63272" y="2222"/>
                      <a:pt x="54545" y="6666"/>
                    </a:cubicBezTo>
                    <a:cubicBezTo>
                      <a:pt x="48000" y="11111"/>
                      <a:pt x="41454" y="8888"/>
                      <a:pt x="34909" y="6666"/>
                    </a:cubicBezTo>
                    <a:cubicBezTo>
                      <a:pt x="26181" y="4444"/>
                      <a:pt x="17454" y="4444"/>
                      <a:pt x="8727" y="2222"/>
                    </a:cubicBezTo>
                    <a:cubicBezTo>
                      <a:pt x="8727" y="2222"/>
                      <a:pt x="6545" y="0"/>
                      <a:pt x="6545" y="0"/>
                    </a:cubicBezTo>
                    <a:cubicBezTo>
                      <a:pt x="4363" y="2222"/>
                      <a:pt x="4363" y="4444"/>
                      <a:pt x="2181" y="6666"/>
                    </a:cubicBezTo>
                    <a:cubicBezTo>
                      <a:pt x="0" y="8888"/>
                      <a:pt x="6545" y="11111"/>
                      <a:pt x="4363" y="15555"/>
                    </a:cubicBezTo>
                    <a:cubicBezTo>
                      <a:pt x="2181" y="17777"/>
                      <a:pt x="2181" y="20000"/>
                      <a:pt x="2181" y="24444"/>
                    </a:cubicBezTo>
                    <a:cubicBezTo>
                      <a:pt x="4363" y="24444"/>
                      <a:pt x="4363" y="26666"/>
                      <a:pt x="4363" y="28888"/>
                    </a:cubicBezTo>
                    <a:cubicBezTo>
                      <a:pt x="4363" y="37777"/>
                      <a:pt x="4363" y="46666"/>
                      <a:pt x="4363" y="55555"/>
                    </a:cubicBezTo>
                    <a:cubicBezTo>
                      <a:pt x="4363" y="62222"/>
                      <a:pt x="4363" y="115555"/>
                      <a:pt x="4363" y="115555"/>
                    </a:cubicBezTo>
                    <a:cubicBezTo>
                      <a:pt x="28363" y="115555"/>
                      <a:pt x="50181" y="115555"/>
                      <a:pt x="74181" y="115555"/>
                    </a:cubicBezTo>
                    <a:cubicBezTo>
                      <a:pt x="78545" y="115555"/>
                      <a:pt x="82909" y="115555"/>
                      <a:pt x="87272" y="115555"/>
                    </a:cubicBezTo>
                    <a:cubicBezTo>
                      <a:pt x="91636" y="115555"/>
                      <a:pt x="93818" y="120000"/>
                      <a:pt x="98181"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7" name="Shape 2648">
                <a:extLst>
                  <a:ext uri="{FF2B5EF4-FFF2-40B4-BE49-F238E27FC236}">
                    <a16:creationId xmlns:a16="http://schemas.microsoft.com/office/drawing/2014/main" id="{89106BF1-A367-414D-A62E-0A9866EC4ECA}"/>
                  </a:ext>
                </a:extLst>
              </p:cNvPr>
              <p:cNvSpPr/>
              <p:nvPr/>
            </p:nvSpPr>
            <p:spPr>
              <a:xfrm>
                <a:off x="12129390" y="7708635"/>
                <a:ext cx="169549" cy="327684"/>
              </a:xfrm>
              <a:custGeom>
                <a:avLst/>
                <a:gdLst/>
                <a:ahLst/>
                <a:cxnLst/>
                <a:rect l="0" t="0" r="0" b="0"/>
                <a:pathLst>
                  <a:path w="120000" h="120000" extrusionOk="0">
                    <a:moveTo>
                      <a:pt x="84000" y="104615"/>
                    </a:moveTo>
                    <a:cubicBezTo>
                      <a:pt x="72000" y="98461"/>
                      <a:pt x="96000" y="92307"/>
                      <a:pt x="102000" y="92307"/>
                    </a:cubicBezTo>
                    <a:cubicBezTo>
                      <a:pt x="114000" y="89230"/>
                      <a:pt x="120000" y="86153"/>
                      <a:pt x="120000" y="83076"/>
                    </a:cubicBezTo>
                    <a:cubicBezTo>
                      <a:pt x="120000" y="80000"/>
                      <a:pt x="120000" y="76923"/>
                      <a:pt x="120000" y="73846"/>
                    </a:cubicBezTo>
                    <a:cubicBezTo>
                      <a:pt x="120000" y="70769"/>
                      <a:pt x="114000" y="70769"/>
                      <a:pt x="114000" y="70769"/>
                    </a:cubicBezTo>
                    <a:cubicBezTo>
                      <a:pt x="108000" y="67692"/>
                      <a:pt x="108000" y="64615"/>
                      <a:pt x="102000" y="61538"/>
                    </a:cubicBezTo>
                    <a:cubicBezTo>
                      <a:pt x="96000" y="61538"/>
                      <a:pt x="90000" y="64615"/>
                      <a:pt x="84000" y="61538"/>
                    </a:cubicBezTo>
                    <a:cubicBezTo>
                      <a:pt x="66000" y="55384"/>
                      <a:pt x="84000" y="52307"/>
                      <a:pt x="96000" y="49230"/>
                    </a:cubicBezTo>
                    <a:cubicBezTo>
                      <a:pt x="108000" y="46153"/>
                      <a:pt x="114000" y="36923"/>
                      <a:pt x="102000" y="30769"/>
                    </a:cubicBezTo>
                    <a:cubicBezTo>
                      <a:pt x="102000" y="27692"/>
                      <a:pt x="84000" y="21538"/>
                      <a:pt x="90000" y="18461"/>
                    </a:cubicBezTo>
                    <a:cubicBezTo>
                      <a:pt x="96000" y="15384"/>
                      <a:pt x="102000" y="15384"/>
                      <a:pt x="108000" y="12307"/>
                    </a:cubicBezTo>
                    <a:cubicBezTo>
                      <a:pt x="108000" y="12307"/>
                      <a:pt x="108000" y="3076"/>
                      <a:pt x="108000" y="3076"/>
                    </a:cubicBezTo>
                    <a:cubicBezTo>
                      <a:pt x="102000" y="3076"/>
                      <a:pt x="96000" y="12307"/>
                      <a:pt x="90000" y="9230"/>
                    </a:cubicBezTo>
                    <a:cubicBezTo>
                      <a:pt x="90000" y="9230"/>
                      <a:pt x="84000" y="6153"/>
                      <a:pt x="84000" y="6153"/>
                    </a:cubicBezTo>
                    <a:cubicBezTo>
                      <a:pt x="78000" y="3076"/>
                      <a:pt x="72000" y="0"/>
                      <a:pt x="66000" y="0"/>
                    </a:cubicBezTo>
                    <a:cubicBezTo>
                      <a:pt x="54000" y="3076"/>
                      <a:pt x="36000" y="6153"/>
                      <a:pt x="30000" y="12307"/>
                    </a:cubicBezTo>
                    <a:cubicBezTo>
                      <a:pt x="18000" y="24615"/>
                      <a:pt x="30000" y="43076"/>
                      <a:pt x="12000" y="52307"/>
                    </a:cubicBezTo>
                    <a:cubicBezTo>
                      <a:pt x="0" y="58461"/>
                      <a:pt x="0" y="58461"/>
                      <a:pt x="6000" y="64615"/>
                    </a:cubicBezTo>
                    <a:cubicBezTo>
                      <a:pt x="6000" y="70769"/>
                      <a:pt x="24000" y="73846"/>
                      <a:pt x="24000" y="80000"/>
                    </a:cubicBezTo>
                    <a:cubicBezTo>
                      <a:pt x="30000" y="86153"/>
                      <a:pt x="48000" y="89230"/>
                      <a:pt x="48000" y="92307"/>
                    </a:cubicBezTo>
                    <a:cubicBezTo>
                      <a:pt x="54000" y="101538"/>
                      <a:pt x="60000" y="113846"/>
                      <a:pt x="60000" y="120000"/>
                    </a:cubicBezTo>
                    <a:cubicBezTo>
                      <a:pt x="72000" y="120000"/>
                      <a:pt x="96000" y="113846"/>
                      <a:pt x="84000" y="104615"/>
                    </a:cubicBezTo>
                    <a:cubicBezTo>
                      <a:pt x="78000" y="101538"/>
                      <a:pt x="90000" y="107692"/>
                      <a:pt x="84000" y="104615"/>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8" name="Shape 2649">
                <a:extLst>
                  <a:ext uri="{FF2B5EF4-FFF2-40B4-BE49-F238E27FC236}">
                    <a16:creationId xmlns:a16="http://schemas.microsoft.com/office/drawing/2014/main" id="{8750C332-7535-4C5F-8B06-BFE3705D9879}"/>
                  </a:ext>
                </a:extLst>
              </p:cNvPr>
              <p:cNvSpPr/>
              <p:nvPr/>
            </p:nvSpPr>
            <p:spPr>
              <a:xfrm>
                <a:off x="12204109" y="7901220"/>
                <a:ext cx="640832" cy="618004"/>
              </a:xfrm>
              <a:custGeom>
                <a:avLst/>
                <a:gdLst/>
                <a:ahLst/>
                <a:cxnLst/>
                <a:rect l="0" t="0" r="0" b="0"/>
                <a:pathLst>
                  <a:path w="120000" h="120000" extrusionOk="0">
                    <a:moveTo>
                      <a:pt x="33157" y="90410"/>
                    </a:moveTo>
                    <a:cubicBezTo>
                      <a:pt x="33157" y="92054"/>
                      <a:pt x="37894" y="95342"/>
                      <a:pt x="39473" y="93698"/>
                    </a:cubicBezTo>
                    <a:cubicBezTo>
                      <a:pt x="41052" y="92054"/>
                      <a:pt x="42631" y="92054"/>
                      <a:pt x="44210" y="90410"/>
                    </a:cubicBezTo>
                    <a:cubicBezTo>
                      <a:pt x="45789" y="90410"/>
                      <a:pt x="50526" y="87123"/>
                      <a:pt x="52105" y="87123"/>
                    </a:cubicBezTo>
                    <a:cubicBezTo>
                      <a:pt x="58421" y="90410"/>
                      <a:pt x="63157" y="93698"/>
                      <a:pt x="69473" y="96986"/>
                    </a:cubicBezTo>
                    <a:cubicBezTo>
                      <a:pt x="83684" y="105205"/>
                      <a:pt x="96315" y="113424"/>
                      <a:pt x="110526" y="119999"/>
                    </a:cubicBezTo>
                    <a:cubicBezTo>
                      <a:pt x="110526" y="116712"/>
                      <a:pt x="108947" y="116712"/>
                      <a:pt x="112105" y="116712"/>
                    </a:cubicBezTo>
                    <a:cubicBezTo>
                      <a:pt x="112105" y="116712"/>
                      <a:pt x="118421" y="116712"/>
                      <a:pt x="118421" y="116712"/>
                    </a:cubicBezTo>
                    <a:cubicBezTo>
                      <a:pt x="118421" y="113424"/>
                      <a:pt x="118421" y="111780"/>
                      <a:pt x="118421" y="108493"/>
                    </a:cubicBezTo>
                    <a:cubicBezTo>
                      <a:pt x="118421" y="96986"/>
                      <a:pt x="118421" y="85479"/>
                      <a:pt x="118421" y="72328"/>
                    </a:cubicBezTo>
                    <a:cubicBezTo>
                      <a:pt x="118421" y="60821"/>
                      <a:pt x="118421" y="49315"/>
                      <a:pt x="118421" y="39452"/>
                    </a:cubicBezTo>
                    <a:cubicBezTo>
                      <a:pt x="118421" y="36164"/>
                      <a:pt x="118421" y="34520"/>
                      <a:pt x="118421" y="32876"/>
                    </a:cubicBezTo>
                    <a:cubicBezTo>
                      <a:pt x="116842" y="31232"/>
                      <a:pt x="116842" y="29589"/>
                      <a:pt x="116842" y="27945"/>
                    </a:cubicBezTo>
                    <a:cubicBezTo>
                      <a:pt x="116842" y="26301"/>
                      <a:pt x="120000" y="24657"/>
                      <a:pt x="120000" y="23013"/>
                    </a:cubicBezTo>
                    <a:cubicBezTo>
                      <a:pt x="120000" y="21369"/>
                      <a:pt x="116842" y="19726"/>
                      <a:pt x="116842" y="18082"/>
                    </a:cubicBezTo>
                    <a:cubicBezTo>
                      <a:pt x="116842" y="16438"/>
                      <a:pt x="118421" y="14794"/>
                      <a:pt x="120000" y="13150"/>
                    </a:cubicBezTo>
                    <a:cubicBezTo>
                      <a:pt x="115263" y="9863"/>
                      <a:pt x="110526" y="11506"/>
                      <a:pt x="105789" y="8219"/>
                    </a:cubicBezTo>
                    <a:cubicBezTo>
                      <a:pt x="102631" y="6575"/>
                      <a:pt x="101052" y="3287"/>
                      <a:pt x="96315" y="3287"/>
                    </a:cubicBezTo>
                    <a:cubicBezTo>
                      <a:pt x="90000" y="3287"/>
                      <a:pt x="83684" y="4931"/>
                      <a:pt x="80526" y="9863"/>
                    </a:cubicBezTo>
                    <a:cubicBezTo>
                      <a:pt x="78947" y="11506"/>
                      <a:pt x="78947" y="13150"/>
                      <a:pt x="80526" y="14794"/>
                    </a:cubicBezTo>
                    <a:cubicBezTo>
                      <a:pt x="82105" y="18082"/>
                      <a:pt x="80526" y="19726"/>
                      <a:pt x="78947" y="23013"/>
                    </a:cubicBezTo>
                    <a:cubicBezTo>
                      <a:pt x="75789" y="27945"/>
                      <a:pt x="69473" y="24657"/>
                      <a:pt x="64736" y="21369"/>
                    </a:cubicBezTo>
                    <a:cubicBezTo>
                      <a:pt x="61578" y="21369"/>
                      <a:pt x="60000" y="19726"/>
                      <a:pt x="56842" y="19726"/>
                    </a:cubicBezTo>
                    <a:cubicBezTo>
                      <a:pt x="53684" y="18082"/>
                      <a:pt x="50526" y="19726"/>
                      <a:pt x="48947" y="16438"/>
                    </a:cubicBezTo>
                    <a:cubicBezTo>
                      <a:pt x="47368" y="14794"/>
                      <a:pt x="47368" y="11506"/>
                      <a:pt x="45789" y="9863"/>
                    </a:cubicBezTo>
                    <a:cubicBezTo>
                      <a:pt x="44210" y="6575"/>
                      <a:pt x="39473" y="6575"/>
                      <a:pt x="36315" y="4931"/>
                    </a:cubicBezTo>
                    <a:cubicBezTo>
                      <a:pt x="33157" y="3287"/>
                      <a:pt x="30000" y="3287"/>
                      <a:pt x="26842" y="3287"/>
                    </a:cubicBezTo>
                    <a:cubicBezTo>
                      <a:pt x="23684" y="3287"/>
                      <a:pt x="22105" y="1643"/>
                      <a:pt x="17368" y="0"/>
                    </a:cubicBezTo>
                    <a:cubicBezTo>
                      <a:pt x="17368" y="1643"/>
                      <a:pt x="17368" y="3287"/>
                      <a:pt x="17368" y="6575"/>
                    </a:cubicBezTo>
                    <a:cubicBezTo>
                      <a:pt x="17368" y="8219"/>
                      <a:pt x="17368" y="6575"/>
                      <a:pt x="14210" y="9863"/>
                    </a:cubicBezTo>
                    <a:cubicBezTo>
                      <a:pt x="12631" y="11506"/>
                      <a:pt x="11052" y="11506"/>
                      <a:pt x="7894" y="13150"/>
                    </a:cubicBezTo>
                    <a:cubicBezTo>
                      <a:pt x="4736" y="16438"/>
                      <a:pt x="9473" y="19726"/>
                      <a:pt x="7894" y="23013"/>
                    </a:cubicBezTo>
                    <a:cubicBezTo>
                      <a:pt x="6315" y="26301"/>
                      <a:pt x="1578" y="26301"/>
                      <a:pt x="1578" y="27945"/>
                    </a:cubicBezTo>
                    <a:cubicBezTo>
                      <a:pt x="1578" y="31232"/>
                      <a:pt x="3157" y="32876"/>
                      <a:pt x="4736" y="34520"/>
                    </a:cubicBezTo>
                    <a:cubicBezTo>
                      <a:pt x="4736" y="37808"/>
                      <a:pt x="4736" y="41095"/>
                      <a:pt x="4736" y="42739"/>
                    </a:cubicBezTo>
                    <a:cubicBezTo>
                      <a:pt x="4736" y="46027"/>
                      <a:pt x="6315" y="47671"/>
                      <a:pt x="4736" y="50958"/>
                    </a:cubicBezTo>
                    <a:cubicBezTo>
                      <a:pt x="4736" y="52602"/>
                      <a:pt x="4736" y="54246"/>
                      <a:pt x="4736" y="55890"/>
                    </a:cubicBezTo>
                    <a:cubicBezTo>
                      <a:pt x="4736" y="57534"/>
                      <a:pt x="6315" y="59178"/>
                      <a:pt x="4736" y="60821"/>
                    </a:cubicBezTo>
                    <a:cubicBezTo>
                      <a:pt x="4736" y="62465"/>
                      <a:pt x="0" y="62465"/>
                      <a:pt x="1578" y="65753"/>
                    </a:cubicBezTo>
                    <a:cubicBezTo>
                      <a:pt x="4736" y="69041"/>
                      <a:pt x="6315" y="70684"/>
                      <a:pt x="6315" y="75616"/>
                    </a:cubicBezTo>
                    <a:cubicBezTo>
                      <a:pt x="6315" y="78904"/>
                      <a:pt x="9473" y="77260"/>
                      <a:pt x="11052" y="78904"/>
                    </a:cubicBezTo>
                    <a:cubicBezTo>
                      <a:pt x="14210" y="78904"/>
                      <a:pt x="15789" y="78904"/>
                      <a:pt x="17368" y="80547"/>
                    </a:cubicBezTo>
                    <a:cubicBezTo>
                      <a:pt x="18947" y="82191"/>
                      <a:pt x="20526" y="85479"/>
                      <a:pt x="22105" y="87123"/>
                    </a:cubicBezTo>
                    <a:cubicBezTo>
                      <a:pt x="25263" y="88767"/>
                      <a:pt x="30000" y="87123"/>
                      <a:pt x="33157" y="90410"/>
                    </a:cubicBezTo>
                    <a:cubicBezTo>
                      <a:pt x="34736" y="92054"/>
                      <a:pt x="31578" y="88767"/>
                      <a:pt x="33157" y="9041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399" name="Shape 2650">
                <a:extLst>
                  <a:ext uri="{FF2B5EF4-FFF2-40B4-BE49-F238E27FC236}">
                    <a16:creationId xmlns:a16="http://schemas.microsoft.com/office/drawing/2014/main" id="{AA9B43A1-EBA8-4FF3-BADF-F5636E7E45BD}"/>
                  </a:ext>
                </a:extLst>
              </p:cNvPr>
              <p:cNvSpPr/>
              <p:nvPr/>
            </p:nvSpPr>
            <p:spPr>
              <a:xfrm>
                <a:off x="11100616" y="8162795"/>
                <a:ext cx="353462" cy="287443"/>
              </a:xfrm>
              <a:custGeom>
                <a:avLst/>
                <a:gdLst/>
                <a:ahLst/>
                <a:cxnLst/>
                <a:rect l="0" t="0" r="0" b="0"/>
                <a:pathLst>
                  <a:path w="120000" h="120000" extrusionOk="0">
                    <a:moveTo>
                      <a:pt x="54285" y="120000"/>
                    </a:moveTo>
                    <a:cubicBezTo>
                      <a:pt x="54285" y="109411"/>
                      <a:pt x="51428" y="91764"/>
                      <a:pt x="57142" y="88235"/>
                    </a:cubicBezTo>
                    <a:cubicBezTo>
                      <a:pt x="60000" y="84705"/>
                      <a:pt x="65714" y="81176"/>
                      <a:pt x="68571" y="77647"/>
                    </a:cubicBezTo>
                    <a:cubicBezTo>
                      <a:pt x="71428" y="77647"/>
                      <a:pt x="71428" y="70588"/>
                      <a:pt x="71428" y="70588"/>
                    </a:cubicBezTo>
                    <a:cubicBezTo>
                      <a:pt x="71428" y="56470"/>
                      <a:pt x="71428" y="45882"/>
                      <a:pt x="71428" y="31764"/>
                    </a:cubicBezTo>
                    <a:cubicBezTo>
                      <a:pt x="71428" y="31764"/>
                      <a:pt x="88571" y="31764"/>
                      <a:pt x="91428" y="31764"/>
                    </a:cubicBezTo>
                    <a:cubicBezTo>
                      <a:pt x="100000" y="31764"/>
                      <a:pt x="108571" y="31764"/>
                      <a:pt x="117142" y="31764"/>
                    </a:cubicBezTo>
                    <a:cubicBezTo>
                      <a:pt x="120000" y="31764"/>
                      <a:pt x="120000" y="10588"/>
                      <a:pt x="120000" y="7058"/>
                    </a:cubicBezTo>
                    <a:cubicBezTo>
                      <a:pt x="120000" y="0"/>
                      <a:pt x="120000" y="0"/>
                      <a:pt x="114285" y="0"/>
                    </a:cubicBezTo>
                    <a:cubicBezTo>
                      <a:pt x="94285" y="0"/>
                      <a:pt x="77142" y="0"/>
                      <a:pt x="57142" y="0"/>
                    </a:cubicBezTo>
                    <a:cubicBezTo>
                      <a:pt x="51428" y="7058"/>
                      <a:pt x="48571" y="14117"/>
                      <a:pt x="42857" y="21176"/>
                    </a:cubicBezTo>
                    <a:cubicBezTo>
                      <a:pt x="31428" y="31764"/>
                      <a:pt x="31428" y="42352"/>
                      <a:pt x="28571" y="60000"/>
                    </a:cubicBezTo>
                    <a:cubicBezTo>
                      <a:pt x="28571" y="60000"/>
                      <a:pt x="25714" y="63529"/>
                      <a:pt x="22857" y="63529"/>
                    </a:cubicBezTo>
                    <a:cubicBezTo>
                      <a:pt x="17142" y="70588"/>
                      <a:pt x="14285" y="77647"/>
                      <a:pt x="11428" y="88235"/>
                    </a:cubicBezTo>
                    <a:cubicBezTo>
                      <a:pt x="5714" y="98823"/>
                      <a:pt x="0" y="105882"/>
                      <a:pt x="0" y="120000"/>
                    </a:cubicBezTo>
                    <a:cubicBezTo>
                      <a:pt x="17142" y="120000"/>
                      <a:pt x="37142" y="120000"/>
                      <a:pt x="54285"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0" name="Shape 2651">
                <a:extLst>
                  <a:ext uri="{FF2B5EF4-FFF2-40B4-BE49-F238E27FC236}">
                    <a16:creationId xmlns:a16="http://schemas.microsoft.com/office/drawing/2014/main" id="{64D31CC7-9EED-4FA5-A205-3D507C671509}"/>
                  </a:ext>
                </a:extLst>
              </p:cNvPr>
              <p:cNvSpPr/>
              <p:nvPr/>
            </p:nvSpPr>
            <p:spPr>
              <a:xfrm>
                <a:off x="11270162" y="7757499"/>
                <a:ext cx="505765" cy="405294"/>
              </a:xfrm>
              <a:custGeom>
                <a:avLst/>
                <a:gdLst/>
                <a:ahLst/>
                <a:cxnLst/>
                <a:rect l="0" t="0" r="0" b="0"/>
                <a:pathLst>
                  <a:path w="120000" h="120000" extrusionOk="0">
                    <a:moveTo>
                      <a:pt x="44000" y="120000"/>
                    </a:moveTo>
                    <a:cubicBezTo>
                      <a:pt x="44000" y="112500"/>
                      <a:pt x="42000" y="107500"/>
                      <a:pt x="46000" y="102500"/>
                    </a:cubicBezTo>
                    <a:cubicBezTo>
                      <a:pt x="50000" y="100000"/>
                      <a:pt x="56000" y="97500"/>
                      <a:pt x="58000" y="92500"/>
                    </a:cubicBezTo>
                    <a:cubicBezTo>
                      <a:pt x="60000" y="92500"/>
                      <a:pt x="64000" y="92500"/>
                      <a:pt x="66000" y="92500"/>
                    </a:cubicBezTo>
                    <a:cubicBezTo>
                      <a:pt x="68000" y="90000"/>
                      <a:pt x="72000" y="90000"/>
                      <a:pt x="76000" y="87500"/>
                    </a:cubicBezTo>
                    <a:cubicBezTo>
                      <a:pt x="78000" y="85000"/>
                      <a:pt x="78000" y="82500"/>
                      <a:pt x="80000" y="80000"/>
                    </a:cubicBezTo>
                    <a:cubicBezTo>
                      <a:pt x="82000" y="77500"/>
                      <a:pt x="88000" y="80000"/>
                      <a:pt x="90000" y="77500"/>
                    </a:cubicBezTo>
                    <a:cubicBezTo>
                      <a:pt x="92000" y="75000"/>
                      <a:pt x="92000" y="72500"/>
                      <a:pt x="92000" y="70000"/>
                    </a:cubicBezTo>
                    <a:cubicBezTo>
                      <a:pt x="92000" y="65000"/>
                      <a:pt x="98000" y="65000"/>
                      <a:pt x="100000" y="62500"/>
                    </a:cubicBezTo>
                    <a:cubicBezTo>
                      <a:pt x="102000" y="60000"/>
                      <a:pt x="102000" y="57500"/>
                      <a:pt x="106000" y="57500"/>
                    </a:cubicBezTo>
                    <a:cubicBezTo>
                      <a:pt x="108000" y="57500"/>
                      <a:pt x="114000" y="60000"/>
                      <a:pt x="116000" y="60000"/>
                    </a:cubicBezTo>
                    <a:cubicBezTo>
                      <a:pt x="120000" y="57500"/>
                      <a:pt x="112000" y="42500"/>
                      <a:pt x="112000" y="40000"/>
                    </a:cubicBezTo>
                    <a:cubicBezTo>
                      <a:pt x="112000" y="35000"/>
                      <a:pt x="112000" y="30000"/>
                      <a:pt x="112000" y="25000"/>
                    </a:cubicBezTo>
                    <a:cubicBezTo>
                      <a:pt x="110000" y="22500"/>
                      <a:pt x="110000" y="20000"/>
                      <a:pt x="110000" y="17500"/>
                    </a:cubicBezTo>
                    <a:cubicBezTo>
                      <a:pt x="106000" y="17500"/>
                      <a:pt x="104000" y="15000"/>
                      <a:pt x="102000" y="15000"/>
                    </a:cubicBezTo>
                    <a:cubicBezTo>
                      <a:pt x="100000" y="12500"/>
                      <a:pt x="96000" y="15000"/>
                      <a:pt x="94000" y="15000"/>
                    </a:cubicBezTo>
                    <a:cubicBezTo>
                      <a:pt x="92000" y="12500"/>
                      <a:pt x="88000" y="15000"/>
                      <a:pt x="84000" y="15000"/>
                    </a:cubicBezTo>
                    <a:cubicBezTo>
                      <a:pt x="80000" y="15000"/>
                      <a:pt x="72000" y="0"/>
                      <a:pt x="70000" y="10000"/>
                    </a:cubicBezTo>
                    <a:cubicBezTo>
                      <a:pt x="68000" y="17500"/>
                      <a:pt x="66000" y="25000"/>
                      <a:pt x="60000" y="32500"/>
                    </a:cubicBezTo>
                    <a:cubicBezTo>
                      <a:pt x="54000" y="40000"/>
                      <a:pt x="46000" y="40000"/>
                      <a:pt x="40000" y="47500"/>
                    </a:cubicBezTo>
                    <a:cubicBezTo>
                      <a:pt x="36000" y="52500"/>
                      <a:pt x="34000" y="60000"/>
                      <a:pt x="32000" y="67500"/>
                    </a:cubicBezTo>
                    <a:cubicBezTo>
                      <a:pt x="32000" y="72500"/>
                      <a:pt x="34000" y="80000"/>
                      <a:pt x="32000" y="87500"/>
                    </a:cubicBezTo>
                    <a:cubicBezTo>
                      <a:pt x="30000" y="90000"/>
                      <a:pt x="28000" y="95000"/>
                      <a:pt x="28000" y="97500"/>
                    </a:cubicBezTo>
                    <a:cubicBezTo>
                      <a:pt x="26000" y="102500"/>
                      <a:pt x="22000" y="102500"/>
                      <a:pt x="18000" y="105000"/>
                    </a:cubicBezTo>
                    <a:cubicBezTo>
                      <a:pt x="16000" y="107500"/>
                      <a:pt x="14000" y="110000"/>
                      <a:pt x="10000" y="112500"/>
                    </a:cubicBezTo>
                    <a:cubicBezTo>
                      <a:pt x="8000" y="115000"/>
                      <a:pt x="4000" y="115000"/>
                      <a:pt x="0" y="120000"/>
                    </a:cubicBezTo>
                    <a:lnTo>
                      <a:pt x="44000" y="120000"/>
                    </a:ln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1" name="Shape 2652">
                <a:extLst>
                  <a:ext uri="{FF2B5EF4-FFF2-40B4-BE49-F238E27FC236}">
                    <a16:creationId xmlns:a16="http://schemas.microsoft.com/office/drawing/2014/main" id="{538EE3AE-E0E9-49B0-B4BF-A0D8A6069918}"/>
                  </a:ext>
                </a:extLst>
              </p:cNvPr>
              <p:cNvSpPr/>
              <p:nvPr/>
            </p:nvSpPr>
            <p:spPr>
              <a:xfrm>
                <a:off x="11448330" y="7717259"/>
                <a:ext cx="873597" cy="833583"/>
              </a:xfrm>
              <a:custGeom>
                <a:avLst/>
                <a:gdLst/>
                <a:ahLst/>
                <a:cxnLst/>
                <a:rect l="0" t="0" r="0" b="0"/>
                <a:pathLst>
                  <a:path w="120000" h="120000" extrusionOk="0">
                    <a:moveTo>
                      <a:pt x="40384" y="26666"/>
                    </a:moveTo>
                    <a:cubicBezTo>
                      <a:pt x="41538" y="27878"/>
                      <a:pt x="46153" y="35151"/>
                      <a:pt x="41538" y="35151"/>
                    </a:cubicBezTo>
                    <a:cubicBezTo>
                      <a:pt x="40384" y="33939"/>
                      <a:pt x="36923" y="32727"/>
                      <a:pt x="35769" y="33939"/>
                    </a:cubicBezTo>
                    <a:cubicBezTo>
                      <a:pt x="34615" y="35151"/>
                      <a:pt x="34615" y="35151"/>
                      <a:pt x="33461" y="36363"/>
                    </a:cubicBezTo>
                    <a:cubicBezTo>
                      <a:pt x="32307" y="37575"/>
                      <a:pt x="31153" y="37575"/>
                      <a:pt x="30000" y="37575"/>
                    </a:cubicBezTo>
                    <a:cubicBezTo>
                      <a:pt x="27692" y="38787"/>
                      <a:pt x="28846" y="41212"/>
                      <a:pt x="27692" y="42424"/>
                    </a:cubicBezTo>
                    <a:cubicBezTo>
                      <a:pt x="27692" y="44848"/>
                      <a:pt x="24230" y="43636"/>
                      <a:pt x="23076" y="44848"/>
                    </a:cubicBezTo>
                    <a:cubicBezTo>
                      <a:pt x="20769" y="44848"/>
                      <a:pt x="20769" y="47272"/>
                      <a:pt x="19615" y="48484"/>
                    </a:cubicBezTo>
                    <a:cubicBezTo>
                      <a:pt x="17307" y="50909"/>
                      <a:pt x="15000" y="49696"/>
                      <a:pt x="12692" y="50909"/>
                    </a:cubicBezTo>
                    <a:cubicBezTo>
                      <a:pt x="11538" y="50909"/>
                      <a:pt x="10384" y="50909"/>
                      <a:pt x="9230" y="52121"/>
                    </a:cubicBezTo>
                    <a:cubicBezTo>
                      <a:pt x="8076" y="52121"/>
                      <a:pt x="5769" y="53333"/>
                      <a:pt x="4615" y="54545"/>
                    </a:cubicBezTo>
                    <a:cubicBezTo>
                      <a:pt x="0" y="56969"/>
                      <a:pt x="1153" y="58181"/>
                      <a:pt x="1153" y="63030"/>
                    </a:cubicBezTo>
                    <a:cubicBezTo>
                      <a:pt x="1153" y="66666"/>
                      <a:pt x="0" y="66666"/>
                      <a:pt x="2307" y="67878"/>
                    </a:cubicBezTo>
                    <a:cubicBezTo>
                      <a:pt x="3461" y="69090"/>
                      <a:pt x="5769" y="70303"/>
                      <a:pt x="6923" y="71515"/>
                    </a:cubicBezTo>
                    <a:cubicBezTo>
                      <a:pt x="18461" y="80000"/>
                      <a:pt x="30000" y="87272"/>
                      <a:pt x="42692" y="95757"/>
                    </a:cubicBezTo>
                    <a:cubicBezTo>
                      <a:pt x="46153" y="98181"/>
                      <a:pt x="50769" y="101818"/>
                      <a:pt x="55384" y="104242"/>
                    </a:cubicBezTo>
                    <a:cubicBezTo>
                      <a:pt x="55384" y="105454"/>
                      <a:pt x="56538" y="105454"/>
                      <a:pt x="56538" y="105454"/>
                    </a:cubicBezTo>
                    <a:cubicBezTo>
                      <a:pt x="60000" y="111515"/>
                      <a:pt x="62307" y="111515"/>
                      <a:pt x="66923" y="112727"/>
                    </a:cubicBezTo>
                    <a:cubicBezTo>
                      <a:pt x="70384" y="113939"/>
                      <a:pt x="66923" y="118787"/>
                      <a:pt x="70384" y="119999"/>
                    </a:cubicBezTo>
                    <a:cubicBezTo>
                      <a:pt x="71538" y="119999"/>
                      <a:pt x="75000" y="118787"/>
                      <a:pt x="77307" y="117575"/>
                    </a:cubicBezTo>
                    <a:cubicBezTo>
                      <a:pt x="78461" y="117575"/>
                      <a:pt x="81923" y="117575"/>
                      <a:pt x="83076" y="116363"/>
                    </a:cubicBezTo>
                    <a:cubicBezTo>
                      <a:pt x="87692" y="112727"/>
                      <a:pt x="92307" y="109090"/>
                      <a:pt x="98076" y="105454"/>
                    </a:cubicBezTo>
                    <a:cubicBezTo>
                      <a:pt x="103846" y="101818"/>
                      <a:pt x="109615" y="96969"/>
                      <a:pt x="115384" y="93333"/>
                    </a:cubicBezTo>
                    <a:cubicBezTo>
                      <a:pt x="116538" y="93333"/>
                      <a:pt x="117692" y="92121"/>
                      <a:pt x="120000" y="90909"/>
                    </a:cubicBezTo>
                    <a:cubicBezTo>
                      <a:pt x="117692" y="86060"/>
                      <a:pt x="116538" y="84848"/>
                      <a:pt x="111923" y="83636"/>
                    </a:cubicBezTo>
                    <a:cubicBezTo>
                      <a:pt x="110769" y="83636"/>
                      <a:pt x="108461" y="83636"/>
                      <a:pt x="108461" y="83636"/>
                    </a:cubicBezTo>
                    <a:cubicBezTo>
                      <a:pt x="108461" y="80000"/>
                      <a:pt x="108461" y="78787"/>
                      <a:pt x="106153" y="76363"/>
                    </a:cubicBezTo>
                    <a:cubicBezTo>
                      <a:pt x="105000" y="73939"/>
                      <a:pt x="105000" y="73939"/>
                      <a:pt x="106153" y="72727"/>
                    </a:cubicBezTo>
                    <a:cubicBezTo>
                      <a:pt x="108461" y="70303"/>
                      <a:pt x="107307" y="69090"/>
                      <a:pt x="107307" y="66666"/>
                    </a:cubicBezTo>
                    <a:cubicBezTo>
                      <a:pt x="107307" y="64242"/>
                      <a:pt x="108461" y="63030"/>
                      <a:pt x="107307" y="60606"/>
                    </a:cubicBezTo>
                    <a:cubicBezTo>
                      <a:pt x="107307" y="59393"/>
                      <a:pt x="107307" y="58181"/>
                      <a:pt x="107307" y="55757"/>
                    </a:cubicBezTo>
                    <a:cubicBezTo>
                      <a:pt x="107307" y="54545"/>
                      <a:pt x="107307" y="52121"/>
                      <a:pt x="106153" y="50909"/>
                    </a:cubicBezTo>
                    <a:cubicBezTo>
                      <a:pt x="105000" y="49696"/>
                      <a:pt x="105000" y="47272"/>
                      <a:pt x="105000" y="44848"/>
                    </a:cubicBezTo>
                    <a:cubicBezTo>
                      <a:pt x="105000" y="41212"/>
                      <a:pt x="103846" y="36363"/>
                      <a:pt x="100384" y="32727"/>
                    </a:cubicBezTo>
                    <a:cubicBezTo>
                      <a:pt x="98076" y="30303"/>
                      <a:pt x="95769" y="27878"/>
                      <a:pt x="94615" y="24242"/>
                    </a:cubicBezTo>
                    <a:cubicBezTo>
                      <a:pt x="92307" y="19393"/>
                      <a:pt x="96923" y="20606"/>
                      <a:pt x="98076" y="15757"/>
                    </a:cubicBezTo>
                    <a:cubicBezTo>
                      <a:pt x="98076" y="10909"/>
                      <a:pt x="98076" y="7272"/>
                      <a:pt x="99230" y="2424"/>
                    </a:cubicBezTo>
                    <a:cubicBezTo>
                      <a:pt x="98076" y="2424"/>
                      <a:pt x="98076" y="1212"/>
                      <a:pt x="96923" y="1212"/>
                    </a:cubicBezTo>
                    <a:cubicBezTo>
                      <a:pt x="94615" y="2424"/>
                      <a:pt x="94615" y="0"/>
                      <a:pt x="93461" y="0"/>
                    </a:cubicBezTo>
                    <a:cubicBezTo>
                      <a:pt x="92307" y="0"/>
                      <a:pt x="92307" y="1212"/>
                      <a:pt x="91153" y="1212"/>
                    </a:cubicBezTo>
                    <a:cubicBezTo>
                      <a:pt x="88846" y="1212"/>
                      <a:pt x="88846" y="0"/>
                      <a:pt x="86538" y="0"/>
                    </a:cubicBezTo>
                    <a:cubicBezTo>
                      <a:pt x="85384" y="1212"/>
                      <a:pt x="84230" y="1212"/>
                      <a:pt x="83076" y="2424"/>
                    </a:cubicBezTo>
                    <a:cubicBezTo>
                      <a:pt x="80769" y="3636"/>
                      <a:pt x="80769" y="2424"/>
                      <a:pt x="78461" y="1212"/>
                    </a:cubicBezTo>
                    <a:cubicBezTo>
                      <a:pt x="76153" y="1212"/>
                      <a:pt x="72692" y="1212"/>
                      <a:pt x="70384" y="2424"/>
                    </a:cubicBezTo>
                    <a:cubicBezTo>
                      <a:pt x="64615" y="3636"/>
                      <a:pt x="58846" y="3636"/>
                      <a:pt x="53076" y="6060"/>
                    </a:cubicBezTo>
                    <a:cubicBezTo>
                      <a:pt x="51923" y="7272"/>
                      <a:pt x="50769" y="8484"/>
                      <a:pt x="49615" y="8484"/>
                    </a:cubicBezTo>
                    <a:cubicBezTo>
                      <a:pt x="48461" y="9696"/>
                      <a:pt x="46153" y="9696"/>
                      <a:pt x="45000" y="9696"/>
                    </a:cubicBezTo>
                    <a:cubicBezTo>
                      <a:pt x="42692" y="10909"/>
                      <a:pt x="42692" y="14545"/>
                      <a:pt x="39230" y="14545"/>
                    </a:cubicBezTo>
                    <a:cubicBezTo>
                      <a:pt x="40384" y="18181"/>
                      <a:pt x="40384" y="21818"/>
                      <a:pt x="40384" y="26666"/>
                    </a:cubicBezTo>
                    <a:cubicBezTo>
                      <a:pt x="41538" y="27878"/>
                      <a:pt x="40384" y="24242"/>
                      <a:pt x="40384" y="26666"/>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2" name="Shape 2653">
                <a:extLst>
                  <a:ext uri="{FF2B5EF4-FFF2-40B4-BE49-F238E27FC236}">
                    <a16:creationId xmlns:a16="http://schemas.microsoft.com/office/drawing/2014/main" id="{23CE7522-56DC-4D89-BE0C-01342935726B}"/>
                  </a:ext>
                </a:extLst>
              </p:cNvPr>
              <p:cNvSpPr/>
              <p:nvPr/>
            </p:nvSpPr>
            <p:spPr>
              <a:xfrm>
                <a:off x="8741327" y="4558266"/>
                <a:ext cx="2571941" cy="1917241"/>
              </a:xfrm>
              <a:custGeom>
                <a:avLst/>
                <a:gdLst/>
                <a:ahLst/>
                <a:cxnLst/>
                <a:rect l="0" t="0" r="0" b="0"/>
                <a:pathLst>
                  <a:path w="120000" h="120000" extrusionOk="0">
                    <a:moveTo>
                      <a:pt x="12590" y="19559"/>
                    </a:moveTo>
                    <a:cubicBezTo>
                      <a:pt x="12196" y="20088"/>
                      <a:pt x="10229" y="21145"/>
                      <a:pt x="10622" y="21674"/>
                    </a:cubicBezTo>
                    <a:cubicBezTo>
                      <a:pt x="11016" y="22202"/>
                      <a:pt x="11803" y="22202"/>
                      <a:pt x="12590" y="22731"/>
                    </a:cubicBezTo>
                    <a:cubicBezTo>
                      <a:pt x="13377" y="22731"/>
                      <a:pt x="14163" y="22731"/>
                      <a:pt x="15344" y="22731"/>
                    </a:cubicBezTo>
                    <a:cubicBezTo>
                      <a:pt x="15344" y="22731"/>
                      <a:pt x="17311" y="22202"/>
                      <a:pt x="17704" y="22202"/>
                    </a:cubicBezTo>
                    <a:cubicBezTo>
                      <a:pt x="17311" y="22202"/>
                      <a:pt x="16524" y="22731"/>
                      <a:pt x="16131" y="23259"/>
                    </a:cubicBezTo>
                    <a:cubicBezTo>
                      <a:pt x="15737" y="23788"/>
                      <a:pt x="15344" y="24317"/>
                      <a:pt x="15737" y="25374"/>
                    </a:cubicBezTo>
                    <a:cubicBezTo>
                      <a:pt x="16524" y="26431"/>
                      <a:pt x="14163" y="29074"/>
                      <a:pt x="12983" y="28546"/>
                    </a:cubicBezTo>
                    <a:cubicBezTo>
                      <a:pt x="12590" y="28017"/>
                      <a:pt x="11803" y="28546"/>
                      <a:pt x="11016" y="28546"/>
                    </a:cubicBezTo>
                    <a:cubicBezTo>
                      <a:pt x="10622" y="28017"/>
                      <a:pt x="9836" y="28546"/>
                      <a:pt x="9442" y="28546"/>
                    </a:cubicBezTo>
                    <a:cubicBezTo>
                      <a:pt x="9049" y="28546"/>
                      <a:pt x="8262" y="28546"/>
                      <a:pt x="7868" y="29603"/>
                    </a:cubicBezTo>
                    <a:cubicBezTo>
                      <a:pt x="7475" y="30132"/>
                      <a:pt x="7081" y="30132"/>
                      <a:pt x="6295" y="30132"/>
                    </a:cubicBezTo>
                    <a:cubicBezTo>
                      <a:pt x="5114" y="30660"/>
                      <a:pt x="3934" y="31189"/>
                      <a:pt x="2754" y="31189"/>
                    </a:cubicBezTo>
                    <a:cubicBezTo>
                      <a:pt x="2360" y="31189"/>
                      <a:pt x="1573" y="30660"/>
                      <a:pt x="1573" y="31189"/>
                    </a:cubicBezTo>
                    <a:cubicBezTo>
                      <a:pt x="1180" y="31718"/>
                      <a:pt x="0" y="31718"/>
                      <a:pt x="0" y="32775"/>
                    </a:cubicBezTo>
                    <a:cubicBezTo>
                      <a:pt x="0" y="33303"/>
                      <a:pt x="393" y="32775"/>
                      <a:pt x="393" y="33303"/>
                    </a:cubicBezTo>
                    <a:cubicBezTo>
                      <a:pt x="393" y="33303"/>
                      <a:pt x="0" y="33832"/>
                      <a:pt x="0" y="33832"/>
                    </a:cubicBezTo>
                    <a:cubicBezTo>
                      <a:pt x="0" y="34361"/>
                      <a:pt x="786" y="35418"/>
                      <a:pt x="1180" y="35947"/>
                    </a:cubicBezTo>
                    <a:cubicBezTo>
                      <a:pt x="1180" y="35947"/>
                      <a:pt x="1573" y="35418"/>
                      <a:pt x="1573" y="35418"/>
                    </a:cubicBezTo>
                    <a:cubicBezTo>
                      <a:pt x="1967" y="34889"/>
                      <a:pt x="2360" y="35418"/>
                      <a:pt x="2754" y="35947"/>
                    </a:cubicBezTo>
                    <a:cubicBezTo>
                      <a:pt x="3147" y="35947"/>
                      <a:pt x="5114" y="36475"/>
                      <a:pt x="5114" y="35418"/>
                    </a:cubicBezTo>
                    <a:cubicBezTo>
                      <a:pt x="5114" y="35947"/>
                      <a:pt x="4721" y="35947"/>
                      <a:pt x="5114" y="36475"/>
                    </a:cubicBezTo>
                    <a:cubicBezTo>
                      <a:pt x="5114" y="37004"/>
                      <a:pt x="5901" y="37533"/>
                      <a:pt x="6295" y="37533"/>
                    </a:cubicBezTo>
                    <a:cubicBezTo>
                      <a:pt x="6688" y="38061"/>
                      <a:pt x="7081" y="38061"/>
                      <a:pt x="7475" y="38061"/>
                    </a:cubicBezTo>
                    <a:cubicBezTo>
                      <a:pt x="8262" y="38061"/>
                      <a:pt x="8262" y="37004"/>
                      <a:pt x="8655" y="37533"/>
                    </a:cubicBezTo>
                    <a:cubicBezTo>
                      <a:pt x="9442" y="37533"/>
                      <a:pt x="10622" y="37533"/>
                      <a:pt x="11016" y="37533"/>
                    </a:cubicBezTo>
                    <a:cubicBezTo>
                      <a:pt x="11409" y="37533"/>
                      <a:pt x="11409" y="37004"/>
                      <a:pt x="11803" y="36475"/>
                    </a:cubicBezTo>
                    <a:cubicBezTo>
                      <a:pt x="12196" y="36475"/>
                      <a:pt x="13377" y="37533"/>
                      <a:pt x="13377" y="38061"/>
                    </a:cubicBezTo>
                    <a:cubicBezTo>
                      <a:pt x="13377" y="38590"/>
                      <a:pt x="9442" y="38061"/>
                      <a:pt x="8655" y="38590"/>
                    </a:cubicBezTo>
                    <a:cubicBezTo>
                      <a:pt x="7868" y="38590"/>
                      <a:pt x="9049" y="39118"/>
                      <a:pt x="9442" y="39118"/>
                    </a:cubicBezTo>
                    <a:cubicBezTo>
                      <a:pt x="10229" y="39647"/>
                      <a:pt x="10622" y="39118"/>
                      <a:pt x="11409" y="39647"/>
                    </a:cubicBezTo>
                    <a:cubicBezTo>
                      <a:pt x="11016" y="39118"/>
                      <a:pt x="10229" y="39647"/>
                      <a:pt x="9442" y="39647"/>
                    </a:cubicBezTo>
                    <a:cubicBezTo>
                      <a:pt x="8262" y="39647"/>
                      <a:pt x="7081" y="39118"/>
                      <a:pt x="5901" y="39118"/>
                    </a:cubicBezTo>
                    <a:cubicBezTo>
                      <a:pt x="5114" y="39118"/>
                      <a:pt x="3540" y="39118"/>
                      <a:pt x="3540" y="40176"/>
                    </a:cubicBezTo>
                    <a:cubicBezTo>
                      <a:pt x="3147" y="40704"/>
                      <a:pt x="4327" y="41233"/>
                      <a:pt x="4721" y="41233"/>
                    </a:cubicBezTo>
                    <a:cubicBezTo>
                      <a:pt x="5114" y="41233"/>
                      <a:pt x="5901" y="40704"/>
                      <a:pt x="5901" y="40704"/>
                    </a:cubicBezTo>
                    <a:cubicBezTo>
                      <a:pt x="6295" y="41233"/>
                      <a:pt x="5901" y="41233"/>
                      <a:pt x="5901" y="41762"/>
                    </a:cubicBezTo>
                    <a:cubicBezTo>
                      <a:pt x="6295" y="42290"/>
                      <a:pt x="7081" y="42290"/>
                      <a:pt x="7475" y="42290"/>
                    </a:cubicBezTo>
                    <a:cubicBezTo>
                      <a:pt x="8262" y="42290"/>
                      <a:pt x="9049" y="42290"/>
                      <a:pt x="9836" y="42290"/>
                    </a:cubicBezTo>
                    <a:cubicBezTo>
                      <a:pt x="9836" y="42290"/>
                      <a:pt x="8262" y="42819"/>
                      <a:pt x="7868" y="42819"/>
                    </a:cubicBezTo>
                    <a:cubicBezTo>
                      <a:pt x="6295" y="43348"/>
                      <a:pt x="7475" y="44405"/>
                      <a:pt x="8262" y="44933"/>
                    </a:cubicBezTo>
                    <a:cubicBezTo>
                      <a:pt x="9049" y="45462"/>
                      <a:pt x="9836" y="45462"/>
                      <a:pt x="10622" y="45991"/>
                    </a:cubicBezTo>
                    <a:cubicBezTo>
                      <a:pt x="10622" y="45991"/>
                      <a:pt x="12196" y="45991"/>
                      <a:pt x="12196" y="45991"/>
                    </a:cubicBezTo>
                    <a:cubicBezTo>
                      <a:pt x="12196" y="45991"/>
                      <a:pt x="11409" y="45462"/>
                      <a:pt x="11409" y="44933"/>
                    </a:cubicBezTo>
                    <a:cubicBezTo>
                      <a:pt x="11409" y="44405"/>
                      <a:pt x="12196" y="44933"/>
                      <a:pt x="12196" y="44933"/>
                    </a:cubicBezTo>
                    <a:cubicBezTo>
                      <a:pt x="12590" y="45462"/>
                      <a:pt x="12983" y="44933"/>
                      <a:pt x="13377" y="44405"/>
                    </a:cubicBezTo>
                    <a:cubicBezTo>
                      <a:pt x="13377" y="44405"/>
                      <a:pt x="13770" y="43876"/>
                      <a:pt x="14163" y="43876"/>
                    </a:cubicBezTo>
                    <a:cubicBezTo>
                      <a:pt x="14557" y="44405"/>
                      <a:pt x="14163" y="45462"/>
                      <a:pt x="14163" y="45462"/>
                    </a:cubicBezTo>
                    <a:cubicBezTo>
                      <a:pt x="14557" y="45991"/>
                      <a:pt x="15737" y="44933"/>
                      <a:pt x="16131" y="44933"/>
                    </a:cubicBezTo>
                    <a:cubicBezTo>
                      <a:pt x="16918" y="44405"/>
                      <a:pt x="16918" y="44405"/>
                      <a:pt x="17311" y="44933"/>
                    </a:cubicBezTo>
                    <a:cubicBezTo>
                      <a:pt x="17704" y="45462"/>
                      <a:pt x="18098" y="44405"/>
                      <a:pt x="18491" y="44405"/>
                    </a:cubicBezTo>
                    <a:cubicBezTo>
                      <a:pt x="18885" y="43876"/>
                      <a:pt x="19672" y="44405"/>
                      <a:pt x="20065" y="44405"/>
                    </a:cubicBezTo>
                    <a:cubicBezTo>
                      <a:pt x="21245" y="44405"/>
                      <a:pt x="22819" y="44933"/>
                      <a:pt x="24000" y="45462"/>
                    </a:cubicBezTo>
                    <a:cubicBezTo>
                      <a:pt x="24786" y="45462"/>
                      <a:pt x="25573" y="46519"/>
                      <a:pt x="26360" y="46519"/>
                    </a:cubicBezTo>
                    <a:cubicBezTo>
                      <a:pt x="27147" y="46519"/>
                      <a:pt x="27934" y="47048"/>
                      <a:pt x="28327" y="47577"/>
                    </a:cubicBezTo>
                    <a:cubicBezTo>
                      <a:pt x="29114" y="48105"/>
                      <a:pt x="28721" y="48634"/>
                      <a:pt x="28721" y="49162"/>
                    </a:cubicBezTo>
                    <a:cubicBezTo>
                      <a:pt x="28721" y="49691"/>
                      <a:pt x="29508" y="50748"/>
                      <a:pt x="29901" y="50748"/>
                    </a:cubicBezTo>
                    <a:cubicBezTo>
                      <a:pt x="30295" y="51277"/>
                      <a:pt x="31081" y="50748"/>
                      <a:pt x="31475" y="51277"/>
                    </a:cubicBezTo>
                    <a:cubicBezTo>
                      <a:pt x="31475" y="52334"/>
                      <a:pt x="32262" y="52863"/>
                      <a:pt x="32655" y="53392"/>
                    </a:cubicBezTo>
                    <a:cubicBezTo>
                      <a:pt x="33049" y="53920"/>
                      <a:pt x="32655" y="54977"/>
                      <a:pt x="33049" y="55506"/>
                    </a:cubicBezTo>
                    <a:cubicBezTo>
                      <a:pt x="33049" y="56035"/>
                      <a:pt x="33836" y="56563"/>
                      <a:pt x="33836" y="57621"/>
                    </a:cubicBezTo>
                    <a:cubicBezTo>
                      <a:pt x="33836" y="58149"/>
                      <a:pt x="33442" y="58149"/>
                      <a:pt x="33836" y="58678"/>
                    </a:cubicBezTo>
                    <a:cubicBezTo>
                      <a:pt x="33836" y="58678"/>
                      <a:pt x="34229" y="59207"/>
                      <a:pt x="34229" y="59207"/>
                    </a:cubicBezTo>
                    <a:cubicBezTo>
                      <a:pt x="34229" y="59207"/>
                      <a:pt x="34229" y="59207"/>
                      <a:pt x="34229" y="59207"/>
                    </a:cubicBezTo>
                    <a:cubicBezTo>
                      <a:pt x="34622" y="58678"/>
                      <a:pt x="35409" y="59735"/>
                      <a:pt x="35016" y="60264"/>
                    </a:cubicBezTo>
                    <a:cubicBezTo>
                      <a:pt x="34622" y="60792"/>
                      <a:pt x="34622" y="60792"/>
                      <a:pt x="34622" y="61850"/>
                    </a:cubicBezTo>
                    <a:cubicBezTo>
                      <a:pt x="34622" y="61321"/>
                      <a:pt x="35409" y="60792"/>
                      <a:pt x="35803" y="61850"/>
                    </a:cubicBezTo>
                    <a:cubicBezTo>
                      <a:pt x="35803" y="62378"/>
                      <a:pt x="35803" y="62378"/>
                      <a:pt x="35803" y="62907"/>
                    </a:cubicBezTo>
                    <a:cubicBezTo>
                      <a:pt x="35803" y="62907"/>
                      <a:pt x="35803" y="63964"/>
                      <a:pt x="35803" y="63436"/>
                    </a:cubicBezTo>
                    <a:cubicBezTo>
                      <a:pt x="35803" y="63964"/>
                      <a:pt x="36590" y="63964"/>
                      <a:pt x="36590" y="63964"/>
                    </a:cubicBezTo>
                    <a:cubicBezTo>
                      <a:pt x="36196" y="63436"/>
                      <a:pt x="35016" y="66607"/>
                      <a:pt x="35409" y="64493"/>
                    </a:cubicBezTo>
                    <a:cubicBezTo>
                      <a:pt x="35409" y="64493"/>
                      <a:pt x="34622" y="63964"/>
                      <a:pt x="34622" y="64493"/>
                    </a:cubicBezTo>
                    <a:cubicBezTo>
                      <a:pt x="34622" y="64493"/>
                      <a:pt x="35016" y="64493"/>
                      <a:pt x="35016" y="64493"/>
                    </a:cubicBezTo>
                    <a:cubicBezTo>
                      <a:pt x="35016" y="65022"/>
                      <a:pt x="33836" y="65022"/>
                      <a:pt x="34229" y="65550"/>
                    </a:cubicBezTo>
                    <a:cubicBezTo>
                      <a:pt x="34229" y="65550"/>
                      <a:pt x="35409" y="66079"/>
                      <a:pt x="35016" y="66079"/>
                    </a:cubicBezTo>
                    <a:cubicBezTo>
                      <a:pt x="34229" y="67136"/>
                      <a:pt x="35803" y="67136"/>
                      <a:pt x="36196" y="66607"/>
                    </a:cubicBezTo>
                    <a:cubicBezTo>
                      <a:pt x="35803" y="67136"/>
                      <a:pt x="35409" y="67136"/>
                      <a:pt x="34622" y="67136"/>
                    </a:cubicBezTo>
                    <a:cubicBezTo>
                      <a:pt x="34622" y="67136"/>
                      <a:pt x="33836" y="68193"/>
                      <a:pt x="33836" y="68193"/>
                    </a:cubicBezTo>
                    <a:cubicBezTo>
                      <a:pt x="33836" y="68193"/>
                      <a:pt x="34229" y="68722"/>
                      <a:pt x="34229" y="68722"/>
                    </a:cubicBezTo>
                    <a:cubicBezTo>
                      <a:pt x="35016" y="69251"/>
                      <a:pt x="34622" y="69251"/>
                      <a:pt x="35016" y="69251"/>
                    </a:cubicBezTo>
                    <a:cubicBezTo>
                      <a:pt x="35409" y="69251"/>
                      <a:pt x="36983" y="70308"/>
                      <a:pt x="37377" y="69251"/>
                    </a:cubicBezTo>
                    <a:cubicBezTo>
                      <a:pt x="37377" y="67665"/>
                      <a:pt x="38163" y="68193"/>
                      <a:pt x="38557" y="67665"/>
                    </a:cubicBezTo>
                    <a:cubicBezTo>
                      <a:pt x="38557" y="67665"/>
                      <a:pt x="37770" y="64493"/>
                      <a:pt x="37770" y="64493"/>
                    </a:cubicBezTo>
                    <a:cubicBezTo>
                      <a:pt x="37770" y="65022"/>
                      <a:pt x="38557" y="66607"/>
                      <a:pt x="38557" y="66607"/>
                    </a:cubicBezTo>
                    <a:cubicBezTo>
                      <a:pt x="38950" y="67665"/>
                      <a:pt x="39344" y="66607"/>
                      <a:pt x="39737" y="66607"/>
                    </a:cubicBezTo>
                    <a:cubicBezTo>
                      <a:pt x="39737" y="66607"/>
                      <a:pt x="38557" y="68722"/>
                      <a:pt x="38557" y="68722"/>
                    </a:cubicBezTo>
                    <a:cubicBezTo>
                      <a:pt x="38557" y="68722"/>
                      <a:pt x="40131" y="68193"/>
                      <a:pt x="40131" y="68193"/>
                    </a:cubicBezTo>
                    <a:cubicBezTo>
                      <a:pt x="40524" y="68193"/>
                      <a:pt x="40918" y="68193"/>
                      <a:pt x="40918" y="68193"/>
                    </a:cubicBezTo>
                    <a:cubicBezTo>
                      <a:pt x="41311" y="68193"/>
                      <a:pt x="41704" y="67665"/>
                      <a:pt x="42098" y="67665"/>
                    </a:cubicBezTo>
                    <a:cubicBezTo>
                      <a:pt x="42098" y="68193"/>
                      <a:pt x="41704" y="68722"/>
                      <a:pt x="41311" y="68722"/>
                    </a:cubicBezTo>
                    <a:cubicBezTo>
                      <a:pt x="40918" y="68722"/>
                      <a:pt x="40131" y="68722"/>
                      <a:pt x="39737" y="69251"/>
                    </a:cubicBezTo>
                    <a:cubicBezTo>
                      <a:pt x="39344" y="69779"/>
                      <a:pt x="40524" y="69251"/>
                      <a:pt x="40524" y="69251"/>
                    </a:cubicBezTo>
                    <a:cubicBezTo>
                      <a:pt x="41311" y="69251"/>
                      <a:pt x="42098" y="69251"/>
                      <a:pt x="42885" y="69251"/>
                    </a:cubicBezTo>
                    <a:cubicBezTo>
                      <a:pt x="42491" y="69251"/>
                      <a:pt x="40918" y="69251"/>
                      <a:pt x="40918" y="69779"/>
                    </a:cubicBezTo>
                    <a:cubicBezTo>
                      <a:pt x="40918" y="69779"/>
                      <a:pt x="41704" y="70308"/>
                      <a:pt x="41704" y="70837"/>
                    </a:cubicBezTo>
                    <a:cubicBezTo>
                      <a:pt x="41704" y="70837"/>
                      <a:pt x="41704" y="71365"/>
                      <a:pt x="41704" y="71365"/>
                    </a:cubicBezTo>
                    <a:cubicBezTo>
                      <a:pt x="41704" y="71894"/>
                      <a:pt x="41311" y="71894"/>
                      <a:pt x="41704" y="72422"/>
                    </a:cubicBezTo>
                    <a:cubicBezTo>
                      <a:pt x="41704" y="72422"/>
                      <a:pt x="42491" y="71894"/>
                      <a:pt x="42885" y="71894"/>
                    </a:cubicBezTo>
                    <a:cubicBezTo>
                      <a:pt x="43278" y="71894"/>
                      <a:pt x="42885" y="71894"/>
                      <a:pt x="43278" y="72422"/>
                    </a:cubicBezTo>
                    <a:cubicBezTo>
                      <a:pt x="43672" y="72951"/>
                      <a:pt x="43672" y="73480"/>
                      <a:pt x="44065" y="74008"/>
                    </a:cubicBezTo>
                    <a:cubicBezTo>
                      <a:pt x="44065" y="74537"/>
                      <a:pt x="42885" y="74537"/>
                      <a:pt x="42885" y="74537"/>
                    </a:cubicBezTo>
                    <a:cubicBezTo>
                      <a:pt x="41311" y="72951"/>
                      <a:pt x="38950" y="71894"/>
                      <a:pt x="37377" y="72422"/>
                    </a:cubicBezTo>
                    <a:cubicBezTo>
                      <a:pt x="35803" y="72422"/>
                      <a:pt x="37770" y="74008"/>
                      <a:pt x="38557" y="74008"/>
                    </a:cubicBezTo>
                    <a:cubicBezTo>
                      <a:pt x="39737" y="74537"/>
                      <a:pt x="40524" y="76123"/>
                      <a:pt x="41704" y="76123"/>
                    </a:cubicBezTo>
                    <a:cubicBezTo>
                      <a:pt x="42098" y="76123"/>
                      <a:pt x="42491" y="75594"/>
                      <a:pt x="43278" y="75594"/>
                    </a:cubicBezTo>
                    <a:cubicBezTo>
                      <a:pt x="43278" y="76123"/>
                      <a:pt x="44459" y="76123"/>
                      <a:pt x="44459" y="76123"/>
                    </a:cubicBezTo>
                    <a:cubicBezTo>
                      <a:pt x="44852" y="76651"/>
                      <a:pt x="44459" y="77180"/>
                      <a:pt x="44459" y="77180"/>
                    </a:cubicBezTo>
                    <a:cubicBezTo>
                      <a:pt x="43278" y="77709"/>
                      <a:pt x="44852" y="78237"/>
                      <a:pt x="44459" y="78766"/>
                    </a:cubicBezTo>
                    <a:cubicBezTo>
                      <a:pt x="44459" y="79295"/>
                      <a:pt x="43672" y="78766"/>
                      <a:pt x="43672" y="79823"/>
                    </a:cubicBezTo>
                    <a:cubicBezTo>
                      <a:pt x="43672" y="80352"/>
                      <a:pt x="44459" y="80352"/>
                      <a:pt x="44459" y="80352"/>
                    </a:cubicBezTo>
                    <a:cubicBezTo>
                      <a:pt x="44065" y="80881"/>
                      <a:pt x="43278" y="79823"/>
                      <a:pt x="43278" y="80352"/>
                    </a:cubicBezTo>
                    <a:cubicBezTo>
                      <a:pt x="42885" y="80881"/>
                      <a:pt x="42885" y="81409"/>
                      <a:pt x="42885" y="81938"/>
                    </a:cubicBezTo>
                    <a:cubicBezTo>
                      <a:pt x="42885" y="81938"/>
                      <a:pt x="43672" y="81938"/>
                      <a:pt x="43672" y="81938"/>
                    </a:cubicBezTo>
                    <a:cubicBezTo>
                      <a:pt x="43672" y="82466"/>
                      <a:pt x="42885" y="82995"/>
                      <a:pt x="42491" y="82995"/>
                    </a:cubicBezTo>
                    <a:cubicBezTo>
                      <a:pt x="42098" y="82995"/>
                      <a:pt x="41704" y="82995"/>
                      <a:pt x="41311" y="82995"/>
                    </a:cubicBezTo>
                    <a:cubicBezTo>
                      <a:pt x="40918" y="82466"/>
                      <a:pt x="40524" y="82466"/>
                      <a:pt x="40131" y="82995"/>
                    </a:cubicBezTo>
                    <a:cubicBezTo>
                      <a:pt x="39737" y="83524"/>
                      <a:pt x="39737" y="82995"/>
                      <a:pt x="39344" y="83524"/>
                    </a:cubicBezTo>
                    <a:cubicBezTo>
                      <a:pt x="39344" y="83524"/>
                      <a:pt x="40524" y="85110"/>
                      <a:pt x="40918" y="85110"/>
                    </a:cubicBezTo>
                    <a:cubicBezTo>
                      <a:pt x="40918" y="84581"/>
                      <a:pt x="40918" y="84581"/>
                      <a:pt x="40524" y="84581"/>
                    </a:cubicBezTo>
                    <a:cubicBezTo>
                      <a:pt x="40524" y="84581"/>
                      <a:pt x="41704" y="84581"/>
                      <a:pt x="41704" y="84581"/>
                    </a:cubicBezTo>
                    <a:cubicBezTo>
                      <a:pt x="41704" y="84581"/>
                      <a:pt x="43672" y="83524"/>
                      <a:pt x="43672" y="84052"/>
                    </a:cubicBezTo>
                    <a:cubicBezTo>
                      <a:pt x="43278" y="84052"/>
                      <a:pt x="42885" y="84052"/>
                      <a:pt x="42491" y="84581"/>
                    </a:cubicBezTo>
                    <a:cubicBezTo>
                      <a:pt x="42885" y="84052"/>
                      <a:pt x="43672" y="85110"/>
                      <a:pt x="43278" y="85110"/>
                    </a:cubicBezTo>
                    <a:cubicBezTo>
                      <a:pt x="43672" y="85110"/>
                      <a:pt x="44852" y="85638"/>
                      <a:pt x="45245" y="85638"/>
                    </a:cubicBezTo>
                    <a:cubicBezTo>
                      <a:pt x="44852" y="85638"/>
                      <a:pt x="44065" y="85638"/>
                      <a:pt x="44065" y="85638"/>
                    </a:cubicBezTo>
                    <a:cubicBezTo>
                      <a:pt x="44065" y="85638"/>
                      <a:pt x="45639" y="87224"/>
                      <a:pt x="45639" y="87224"/>
                    </a:cubicBezTo>
                    <a:cubicBezTo>
                      <a:pt x="44459" y="87224"/>
                      <a:pt x="43672" y="85110"/>
                      <a:pt x="42491" y="85110"/>
                    </a:cubicBezTo>
                    <a:cubicBezTo>
                      <a:pt x="41704" y="85110"/>
                      <a:pt x="39737" y="84581"/>
                      <a:pt x="39344" y="85638"/>
                    </a:cubicBezTo>
                    <a:cubicBezTo>
                      <a:pt x="39344" y="86167"/>
                      <a:pt x="38950" y="86167"/>
                      <a:pt x="38557" y="86696"/>
                    </a:cubicBezTo>
                    <a:cubicBezTo>
                      <a:pt x="38163" y="86696"/>
                      <a:pt x="38163" y="87753"/>
                      <a:pt x="38557" y="87224"/>
                    </a:cubicBezTo>
                    <a:cubicBezTo>
                      <a:pt x="39344" y="87224"/>
                      <a:pt x="40131" y="86696"/>
                      <a:pt x="40524" y="85638"/>
                    </a:cubicBezTo>
                    <a:cubicBezTo>
                      <a:pt x="40524" y="86167"/>
                      <a:pt x="41311" y="86167"/>
                      <a:pt x="41311" y="86167"/>
                    </a:cubicBezTo>
                    <a:cubicBezTo>
                      <a:pt x="41704" y="86167"/>
                      <a:pt x="42491" y="87753"/>
                      <a:pt x="42491" y="86167"/>
                    </a:cubicBezTo>
                    <a:cubicBezTo>
                      <a:pt x="42491" y="85638"/>
                      <a:pt x="43278" y="86696"/>
                      <a:pt x="43278" y="86696"/>
                    </a:cubicBezTo>
                    <a:cubicBezTo>
                      <a:pt x="43278" y="86696"/>
                      <a:pt x="44852" y="86696"/>
                      <a:pt x="44459" y="87224"/>
                    </a:cubicBezTo>
                    <a:cubicBezTo>
                      <a:pt x="44459" y="87224"/>
                      <a:pt x="44065" y="87224"/>
                      <a:pt x="44065" y="87224"/>
                    </a:cubicBezTo>
                    <a:cubicBezTo>
                      <a:pt x="44065" y="87224"/>
                      <a:pt x="44852" y="87753"/>
                      <a:pt x="44852" y="87753"/>
                    </a:cubicBezTo>
                    <a:cubicBezTo>
                      <a:pt x="44459" y="87753"/>
                      <a:pt x="43672" y="87753"/>
                      <a:pt x="43278" y="87224"/>
                    </a:cubicBezTo>
                    <a:cubicBezTo>
                      <a:pt x="42885" y="86696"/>
                      <a:pt x="42885" y="87224"/>
                      <a:pt x="42885" y="87753"/>
                    </a:cubicBezTo>
                    <a:cubicBezTo>
                      <a:pt x="42885" y="87224"/>
                      <a:pt x="40524" y="86696"/>
                      <a:pt x="40131" y="86696"/>
                    </a:cubicBezTo>
                    <a:cubicBezTo>
                      <a:pt x="39737" y="86696"/>
                      <a:pt x="37377" y="87753"/>
                      <a:pt x="37770" y="88810"/>
                    </a:cubicBezTo>
                    <a:cubicBezTo>
                      <a:pt x="38163" y="89339"/>
                      <a:pt x="40524" y="88281"/>
                      <a:pt x="40918" y="88281"/>
                    </a:cubicBezTo>
                    <a:cubicBezTo>
                      <a:pt x="41311" y="88281"/>
                      <a:pt x="42098" y="88281"/>
                      <a:pt x="42491" y="88810"/>
                    </a:cubicBezTo>
                    <a:cubicBezTo>
                      <a:pt x="42491" y="88810"/>
                      <a:pt x="44065" y="89339"/>
                      <a:pt x="44065" y="89339"/>
                    </a:cubicBezTo>
                    <a:cubicBezTo>
                      <a:pt x="44065" y="89867"/>
                      <a:pt x="42098" y="88810"/>
                      <a:pt x="42098" y="88810"/>
                    </a:cubicBezTo>
                    <a:cubicBezTo>
                      <a:pt x="41311" y="88281"/>
                      <a:pt x="40131" y="88810"/>
                      <a:pt x="39344" y="88810"/>
                    </a:cubicBezTo>
                    <a:cubicBezTo>
                      <a:pt x="36590" y="89867"/>
                      <a:pt x="39737" y="90925"/>
                      <a:pt x="40524" y="90396"/>
                    </a:cubicBezTo>
                    <a:cubicBezTo>
                      <a:pt x="40131" y="90925"/>
                      <a:pt x="39737" y="91453"/>
                      <a:pt x="38950" y="91453"/>
                    </a:cubicBezTo>
                    <a:cubicBezTo>
                      <a:pt x="37770" y="91982"/>
                      <a:pt x="39737" y="92511"/>
                      <a:pt x="39737" y="92511"/>
                    </a:cubicBezTo>
                    <a:cubicBezTo>
                      <a:pt x="39737" y="92511"/>
                      <a:pt x="38163" y="91982"/>
                      <a:pt x="38163" y="93039"/>
                    </a:cubicBezTo>
                    <a:cubicBezTo>
                      <a:pt x="38163" y="94625"/>
                      <a:pt x="38950" y="93568"/>
                      <a:pt x="39737" y="93039"/>
                    </a:cubicBezTo>
                    <a:cubicBezTo>
                      <a:pt x="40524" y="92511"/>
                      <a:pt x="41311" y="91453"/>
                      <a:pt x="42098" y="90925"/>
                    </a:cubicBezTo>
                    <a:cubicBezTo>
                      <a:pt x="42491" y="90925"/>
                      <a:pt x="44852" y="89339"/>
                      <a:pt x="44852" y="90396"/>
                    </a:cubicBezTo>
                    <a:cubicBezTo>
                      <a:pt x="44852" y="90396"/>
                      <a:pt x="43672" y="90396"/>
                      <a:pt x="43672" y="90396"/>
                    </a:cubicBezTo>
                    <a:cubicBezTo>
                      <a:pt x="43672" y="90396"/>
                      <a:pt x="44459" y="90396"/>
                      <a:pt x="44852" y="90925"/>
                    </a:cubicBezTo>
                    <a:cubicBezTo>
                      <a:pt x="43672" y="89867"/>
                      <a:pt x="38557" y="94096"/>
                      <a:pt x="38950" y="94625"/>
                    </a:cubicBezTo>
                    <a:cubicBezTo>
                      <a:pt x="38950" y="95154"/>
                      <a:pt x="41311" y="94096"/>
                      <a:pt x="41704" y="94096"/>
                    </a:cubicBezTo>
                    <a:cubicBezTo>
                      <a:pt x="41704" y="94096"/>
                      <a:pt x="40131" y="94625"/>
                      <a:pt x="39737" y="95154"/>
                    </a:cubicBezTo>
                    <a:cubicBezTo>
                      <a:pt x="39737" y="95154"/>
                      <a:pt x="40524" y="97268"/>
                      <a:pt x="40918" y="96740"/>
                    </a:cubicBezTo>
                    <a:cubicBezTo>
                      <a:pt x="41311" y="96211"/>
                      <a:pt x="41704" y="95154"/>
                      <a:pt x="42098" y="95154"/>
                    </a:cubicBezTo>
                    <a:cubicBezTo>
                      <a:pt x="42491" y="95154"/>
                      <a:pt x="44065" y="95682"/>
                      <a:pt x="44065" y="95682"/>
                    </a:cubicBezTo>
                    <a:cubicBezTo>
                      <a:pt x="44065" y="95682"/>
                      <a:pt x="42491" y="95682"/>
                      <a:pt x="42491" y="95682"/>
                    </a:cubicBezTo>
                    <a:cubicBezTo>
                      <a:pt x="41704" y="95682"/>
                      <a:pt x="41311" y="96211"/>
                      <a:pt x="40918" y="96740"/>
                    </a:cubicBezTo>
                    <a:cubicBezTo>
                      <a:pt x="40918" y="97268"/>
                      <a:pt x="40918" y="97797"/>
                      <a:pt x="40918" y="98325"/>
                    </a:cubicBezTo>
                    <a:cubicBezTo>
                      <a:pt x="41311" y="99911"/>
                      <a:pt x="41311" y="99383"/>
                      <a:pt x="42098" y="98854"/>
                    </a:cubicBezTo>
                    <a:cubicBezTo>
                      <a:pt x="41704" y="99383"/>
                      <a:pt x="41311" y="101497"/>
                      <a:pt x="41704" y="102026"/>
                    </a:cubicBezTo>
                    <a:cubicBezTo>
                      <a:pt x="41704" y="102026"/>
                      <a:pt x="42885" y="99911"/>
                      <a:pt x="43278" y="99911"/>
                    </a:cubicBezTo>
                    <a:cubicBezTo>
                      <a:pt x="43278" y="100440"/>
                      <a:pt x="42885" y="100969"/>
                      <a:pt x="43278" y="101497"/>
                    </a:cubicBezTo>
                    <a:cubicBezTo>
                      <a:pt x="43278" y="102026"/>
                      <a:pt x="43672" y="100969"/>
                      <a:pt x="44065" y="100969"/>
                    </a:cubicBezTo>
                    <a:cubicBezTo>
                      <a:pt x="44852" y="99911"/>
                      <a:pt x="43278" y="98854"/>
                      <a:pt x="43278" y="98325"/>
                    </a:cubicBezTo>
                    <a:cubicBezTo>
                      <a:pt x="43278" y="98325"/>
                      <a:pt x="44065" y="99911"/>
                      <a:pt x="44459" y="99911"/>
                    </a:cubicBezTo>
                    <a:cubicBezTo>
                      <a:pt x="44852" y="100440"/>
                      <a:pt x="44852" y="99911"/>
                      <a:pt x="45245" y="99383"/>
                    </a:cubicBezTo>
                    <a:cubicBezTo>
                      <a:pt x="44852" y="99383"/>
                      <a:pt x="46032" y="100969"/>
                      <a:pt x="45639" y="101497"/>
                    </a:cubicBezTo>
                    <a:cubicBezTo>
                      <a:pt x="46032" y="100969"/>
                      <a:pt x="44852" y="99911"/>
                      <a:pt x="44852" y="100969"/>
                    </a:cubicBezTo>
                    <a:cubicBezTo>
                      <a:pt x="44852" y="102026"/>
                      <a:pt x="45639" y="103083"/>
                      <a:pt x="44852" y="103612"/>
                    </a:cubicBezTo>
                    <a:cubicBezTo>
                      <a:pt x="44852" y="103612"/>
                      <a:pt x="44852" y="102026"/>
                      <a:pt x="44852" y="102026"/>
                    </a:cubicBezTo>
                    <a:cubicBezTo>
                      <a:pt x="44852" y="101497"/>
                      <a:pt x="44065" y="102555"/>
                      <a:pt x="43672" y="102555"/>
                    </a:cubicBezTo>
                    <a:cubicBezTo>
                      <a:pt x="43278" y="102555"/>
                      <a:pt x="42885" y="103612"/>
                      <a:pt x="42885" y="104140"/>
                    </a:cubicBezTo>
                    <a:cubicBezTo>
                      <a:pt x="42491" y="105198"/>
                      <a:pt x="43672" y="104140"/>
                      <a:pt x="43672" y="104669"/>
                    </a:cubicBezTo>
                    <a:cubicBezTo>
                      <a:pt x="44065" y="105198"/>
                      <a:pt x="43278" y="105726"/>
                      <a:pt x="43278" y="105726"/>
                    </a:cubicBezTo>
                    <a:cubicBezTo>
                      <a:pt x="43278" y="105726"/>
                      <a:pt x="44065" y="105198"/>
                      <a:pt x="44459" y="106255"/>
                    </a:cubicBezTo>
                    <a:cubicBezTo>
                      <a:pt x="44459" y="107312"/>
                      <a:pt x="45245" y="107841"/>
                      <a:pt x="45245" y="108370"/>
                    </a:cubicBezTo>
                    <a:cubicBezTo>
                      <a:pt x="44852" y="109427"/>
                      <a:pt x="45245" y="109427"/>
                      <a:pt x="46032" y="110484"/>
                    </a:cubicBezTo>
                    <a:cubicBezTo>
                      <a:pt x="46426" y="111013"/>
                      <a:pt x="46819" y="112070"/>
                      <a:pt x="47213" y="111013"/>
                    </a:cubicBezTo>
                    <a:cubicBezTo>
                      <a:pt x="47213" y="111013"/>
                      <a:pt x="47606" y="113656"/>
                      <a:pt x="48000" y="113656"/>
                    </a:cubicBezTo>
                    <a:cubicBezTo>
                      <a:pt x="48393" y="114185"/>
                      <a:pt x="48000" y="113656"/>
                      <a:pt x="48393" y="113656"/>
                    </a:cubicBezTo>
                    <a:cubicBezTo>
                      <a:pt x="48786" y="114185"/>
                      <a:pt x="49180" y="114713"/>
                      <a:pt x="49573" y="115242"/>
                    </a:cubicBezTo>
                    <a:cubicBezTo>
                      <a:pt x="50360" y="115770"/>
                      <a:pt x="51147" y="116299"/>
                      <a:pt x="51934" y="115770"/>
                    </a:cubicBezTo>
                    <a:cubicBezTo>
                      <a:pt x="52327" y="115770"/>
                      <a:pt x="53508" y="115770"/>
                      <a:pt x="53508" y="115242"/>
                    </a:cubicBezTo>
                    <a:cubicBezTo>
                      <a:pt x="53508" y="115242"/>
                      <a:pt x="53508" y="116828"/>
                      <a:pt x="53508" y="116828"/>
                    </a:cubicBezTo>
                    <a:cubicBezTo>
                      <a:pt x="53508" y="116828"/>
                      <a:pt x="54295" y="114713"/>
                      <a:pt x="54295" y="115242"/>
                    </a:cubicBezTo>
                    <a:cubicBezTo>
                      <a:pt x="54688" y="115242"/>
                      <a:pt x="54295" y="115770"/>
                      <a:pt x="54295" y="115770"/>
                    </a:cubicBezTo>
                    <a:cubicBezTo>
                      <a:pt x="54295" y="116299"/>
                      <a:pt x="54688" y="116299"/>
                      <a:pt x="54688" y="116299"/>
                    </a:cubicBezTo>
                    <a:cubicBezTo>
                      <a:pt x="54688" y="116299"/>
                      <a:pt x="53508" y="116828"/>
                      <a:pt x="53901" y="117356"/>
                    </a:cubicBezTo>
                    <a:cubicBezTo>
                      <a:pt x="54295" y="117356"/>
                      <a:pt x="54295" y="117356"/>
                      <a:pt x="54688" y="116828"/>
                    </a:cubicBezTo>
                    <a:cubicBezTo>
                      <a:pt x="55081" y="117356"/>
                      <a:pt x="54688" y="117885"/>
                      <a:pt x="54688" y="117885"/>
                    </a:cubicBezTo>
                    <a:cubicBezTo>
                      <a:pt x="54688" y="118414"/>
                      <a:pt x="55868" y="116828"/>
                      <a:pt x="55868" y="117356"/>
                    </a:cubicBezTo>
                    <a:cubicBezTo>
                      <a:pt x="55868" y="117885"/>
                      <a:pt x="55081" y="118414"/>
                      <a:pt x="55081" y="118942"/>
                    </a:cubicBezTo>
                    <a:cubicBezTo>
                      <a:pt x="55081" y="118414"/>
                      <a:pt x="56262" y="117885"/>
                      <a:pt x="55868" y="118942"/>
                    </a:cubicBezTo>
                    <a:cubicBezTo>
                      <a:pt x="55868" y="118942"/>
                      <a:pt x="55868" y="118942"/>
                      <a:pt x="55868" y="118414"/>
                    </a:cubicBezTo>
                    <a:cubicBezTo>
                      <a:pt x="55868" y="119471"/>
                      <a:pt x="57049" y="117885"/>
                      <a:pt x="57049" y="117885"/>
                    </a:cubicBezTo>
                    <a:cubicBezTo>
                      <a:pt x="57442" y="118414"/>
                      <a:pt x="57049" y="119471"/>
                      <a:pt x="57049" y="120000"/>
                    </a:cubicBezTo>
                    <a:cubicBezTo>
                      <a:pt x="56655" y="118942"/>
                      <a:pt x="60196" y="118942"/>
                      <a:pt x="57836" y="117356"/>
                    </a:cubicBezTo>
                    <a:cubicBezTo>
                      <a:pt x="58229" y="117356"/>
                      <a:pt x="60196" y="117356"/>
                      <a:pt x="59016" y="116828"/>
                    </a:cubicBezTo>
                    <a:cubicBezTo>
                      <a:pt x="57836" y="115770"/>
                      <a:pt x="59409" y="116299"/>
                      <a:pt x="59803" y="115242"/>
                    </a:cubicBezTo>
                    <a:cubicBezTo>
                      <a:pt x="59803" y="115242"/>
                      <a:pt x="58622" y="115242"/>
                      <a:pt x="58622" y="115242"/>
                    </a:cubicBezTo>
                    <a:cubicBezTo>
                      <a:pt x="59016" y="114713"/>
                      <a:pt x="59409" y="114185"/>
                      <a:pt x="59803" y="114185"/>
                    </a:cubicBezTo>
                    <a:cubicBezTo>
                      <a:pt x="60590" y="113127"/>
                      <a:pt x="59409" y="113656"/>
                      <a:pt x="59409" y="113127"/>
                    </a:cubicBezTo>
                    <a:cubicBezTo>
                      <a:pt x="59409" y="113127"/>
                      <a:pt x="60590" y="112599"/>
                      <a:pt x="60590" y="112070"/>
                    </a:cubicBezTo>
                    <a:cubicBezTo>
                      <a:pt x="60590" y="111541"/>
                      <a:pt x="60590" y="110484"/>
                      <a:pt x="60196" y="109955"/>
                    </a:cubicBezTo>
                    <a:cubicBezTo>
                      <a:pt x="59803" y="109955"/>
                      <a:pt x="60590" y="109427"/>
                      <a:pt x="60196" y="108898"/>
                    </a:cubicBezTo>
                    <a:cubicBezTo>
                      <a:pt x="60196" y="108898"/>
                      <a:pt x="59409" y="108370"/>
                      <a:pt x="59409" y="108370"/>
                    </a:cubicBezTo>
                    <a:cubicBezTo>
                      <a:pt x="59409" y="108370"/>
                      <a:pt x="60983" y="107841"/>
                      <a:pt x="61377" y="107841"/>
                    </a:cubicBezTo>
                    <a:cubicBezTo>
                      <a:pt x="62557" y="107841"/>
                      <a:pt x="61377" y="107312"/>
                      <a:pt x="60983" y="106784"/>
                    </a:cubicBezTo>
                    <a:cubicBezTo>
                      <a:pt x="60983" y="106784"/>
                      <a:pt x="62950" y="106784"/>
                      <a:pt x="62950" y="106784"/>
                    </a:cubicBezTo>
                    <a:cubicBezTo>
                      <a:pt x="62557" y="106255"/>
                      <a:pt x="61770" y="106255"/>
                      <a:pt x="61377" y="105726"/>
                    </a:cubicBezTo>
                    <a:cubicBezTo>
                      <a:pt x="61377" y="105726"/>
                      <a:pt x="62950" y="106255"/>
                      <a:pt x="62950" y="105726"/>
                    </a:cubicBezTo>
                    <a:cubicBezTo>
                      <a:pt x="63344" y="105726"/>
                      <a:pt x="62950" y="105726"/>
                      <a:pt x="62950" y="105198"/>
                    </a:cubicBezTo>
                    <a:cubicBezTo>
                      <a:pt x="63344" y="105198"/>
                      <a:pt x="63344" y="105198"/>
                      <a:pt x="63344" y="105198"/>
                    </a:cubicBezTo>
                    <a:cubicBezTo>
                      <a:pt x="63737" y="104669"/>
                      <a:pt x="62163" y="104140"/>
                      <a:pt x="62163" y="104140"/>
                    </a:cubicBezTo>
                    <a:cubicBezTo>
                      <a:pt x="62163" y="104140"/>
                      <a:pt x="64131" y="104140"/>
                      <a:pt x="63737" y="103612"/>
                    </a:cubicBezTo>
                    <a:cubicBezTo>
                      <a:pt x="63737" y="103083"/>
                      <a:pt x="64131" y="103083"/>
                      <a:pt x="63344" y="102555"/>
                    </a:cubicBezTo>
                    <a:cubicBezTo>
                      <a:pt x="63344" y="102555"/>
                      <a:pt x="62163" y="102555"/>
                      <a:pt x="62163" y="102026"/>
                    </a:cubicBezTo>
                    <a:cubicBezTo>
                      <a:pt x="62163" y="102026"/>
                      <a:pt x="64131" y="101497"/>
                      <a:pt x="64131" y="101497"/>
                    </a:cubicBezTo>
                    <a:cubicBezTo>
                      <a:pt x="64918" y="101497"/>
                      <a:pt x="64524" y="99911"/>
                      <a:pt x="63737" y="99911"/>
                    </a:cubicBezTo>
                    <a:cubicBezTo>
                      <a:pt x="63344" y="99383"/>
                      <a:pt x="62163" y="98854"/>
                      <a:pt x="63344" y="98325"/>
                    </a:cubicBezTo>
                    <a:cubicBezTo>
                      <a:pt x="64131" y="98325"/>
                      <a:pt x="65311" y="98854"/>
                      <a:pt x="65704" y="97797"/>
                    </a:cubicBezTo>
                    <a:cubicBezTo>
                      <a:pt x="65704" y="97797"/>
                      <a:pt x="64918" y="96740"/>
                      <a:pt x="64918" y="96740"/>
                    </a:cubicBezTo>
                    <a:cubicBezTo>
                      <a:pt x="64918" y="96211"/>
                      <a:pt x="65704" y="96211"/>
                      <a:pt x="65704" y="96211"/>
                    </a:cubicBezTo>
                    <a:cubicBezTo>
                      <a:pt x="66098" y="95682"/>
                      <a:pt x="66885" y="95682"/>
                      <a:pt x="67672" y="96211"/>
                    </a:cubicBezTo>
                    <a:cubicBezTo>
                      <a:pt x="67672" y="96211"/>
                      <a:pt x="68459" y="96211"/>
                      <a:pt x="68459" y="96211"/>
                    </a:cubicBezTo>
                    <a:cubicBezTo>
                      <a:pt x="68852" y="95682"/>
                      <a:pt x="68065" y="95154"/>
                      <a:pt x="68065" y="94625"/>
                    </a:cubicBezTo>
                    <a:cubicBezTo>
                      <a:pt x="68459" y="94096"/>
                      <a:pt x="69639" y="91982"/>
                      <a:pt x="70426" y="93039"/>
                    </a:cubicBezTo>
                    <a:cubicBezTo>
                      <a:pt x="70032" y="92511"/>
                      <a:pt x="68852" y="95682"/>
                      <a:pt x="69245" y="95682"/>
                    </a:cubicBezTo>
                    <a:cubicBezTo>
                      <a:pt x="69639" y="96211"/>
                      <a:pt x="70426" y="94625"/>
                      <a:pt x="71213" y="94625"/>
                    </a:cubicBezTo>
                    <a:cubicBezTo>
                      <a:pt x="71213" y="94625"/>
                      <a:pt x="72000" y="95154"/>
                      <a:pt x="72000" y="95154"/>
                    </a:cubicBezTo>
                    <a:cubicBezTo>
                      <a:pt x="72000" y="95154"/>
                      <a:pt x="72000" y="94096"/>
                      <a:pt x="72000" y="94096"/>
                    </a:cubicBezTo>
                    <a:cubicBezTo>
                      <a:pt x="73180" y="94625"/>
                      <a:pt x="73180" y="94096"/>
                      <a:pt x="73573" y="93568"/>
                    </a:cubicBezTo>
                    <a:cubicBezTo>
                      <a:pt x="73967" y="93039"/>
                      <a:pt x="74360" y="93039"/>
                      <a:pt x="74754" y="93039"/>
                    </a:cubicBezTo>
                    <a:cubicBezTo>
                      <a:pt x="75540" y="92511"/>
                      <a:pt x="75540" y="91982"/>
                      <a:pt x="75934" y="91453"/>
                    </a:cubicBezTo>
                    <a:cubicBezTo>
                      <a:pt x="76327" y="90925"/>
                      <a:pt x="77114" y="89867"/>
                      <a:pt x="77508" y="88810"/>
                    </a:cubicBezTo>
                    <a:cubicBezTo>
                      <a:pt x="78295" y="87753"/>
                      <a:pt x="78295" y="87224"/>
                      <a:pt x="79081" y="87224"/>
                    </a:cubicBezTo>
                    <a:cubicBezTo>
                      <a:pt x="79475" y="86696"/>
                      <a:pt x="80655" y="86696"/>
                      <a:pt x="80655" y="85638"/>
                    </a:cubicBezTo>
                    <a:cubicBezTo>
                      <a:pt x="80262" y="85638"/>
                      <a:pt x="79868" y="82995"/>
                      <a:pt x="79868" y="82995"/>
                    </a:cubicBezTo>
                    <a:cubicBezTo>
                      <a:pt x="80262" y="82995"/>
                      <a:pt x="81442" y="84581"/>
                      <a:pt x="81836" y="84581"/>
                    </a:cubicBezTo>
                    <a:cubicBezTo>
                      <a:pt x="82229" y="85110"/>
                      <a:pt x="82622" y="85110"/>
                      <a:pt x="83016" y="85110"/>
                    </a:cubicBezTo>
                    <a:cubicBezTo>
                      <a:pt x="83016" y="85110"/>
                      <a:pt x="83803" y="84581"/>
                      <a:pt x="83803" y="84581"/>
                    </a:cubicBezTo>
                    <a:cubicBezTo>
                      <a:pt x="84196" y="84581"/>
                      <a:pt x="84590" y="85110"/>
                      <a:pt x="84983" y="84581"/>
                    </a:cubicBezTo>
                    <a:cubicBezTo>
                      <a:pt x="84983" y="84581"/>
                      <a:pt x="84196" y="83524"/>
                      <a:pt x="85377" y="84052"/>
                    </a:cubicBezTo>
                    <a:cubicBezTo>
                      <a:pt x="86163" y="84052"/>
                      <a:pt x="86950" y="84052"/>
                      <a:pt x="87737" y="83524"/>
                    </a:cubicBezTo>
                    <a:cubicBezTo>
                      <a:pt x="89704" y="82995"/>
                      <a:pt x="91278" y="82466"/>
                      <a:pt x="93245" y="81409"/>
                    </a:cubicBezTo>
                    <a:cubicBezTo>
                      <a:pt x="93639" y="80881"/>
                      <a:pt x="99934" y="75594"/>
                      <a:pt x="100327" y="75594"/>
                    </a:cubicBezTo>
                    <a:cubicBezTo>
                      <a:pt x="99934" y="75594"/>
                      <a:pt x="97180" y="75594"/>
                      <a:pt x="96786" y="75594"/>
                    </a:cubicBezTo>
                    <a:cubicBezTo>
                      <a:pt x="96000" y="75066"/>
                      <a:pt x="95213" y="74537"/>
                      <a:pt x="94426" y="74537"/>
                    </a:cubicBezTo>
                    <a:cubicBezTo>
                      <a:pt x="93639" y="74537"/>
                      <a:pt x="92852" y="75066"/>
                      <a:pt x="92459" y="75066"/>
                    </a:cubicBezTo>
                    <a:cubicBezTo>
                      <a:pt x="91672" y="75594"/>
                      <a:pt x="91672" y="74537"/>
                      <a:pt x="91278" y="75066"/>
                    </a:cubicBezTo>
                    <a:cubicBezTo>
                      <a:pt x="90885" y="75066"/>
                      <a:pt x="90491" y="76123"/>
                      <a:pt x="90098" y="76123"/>
                    </a:cubicBezTo>
                    <a:cubicBezTo>
                      <a:pt x="88524" y="76123"/>
                      <a:pt x="91278" y="74008"/>
                      <a:pt x="91672" y="74537"/>
                    </a:cubicBezTo>
                    <a:cubicBezTo>
                      <a:pt x="91278" y="74008"/>
                      <a:pt x="90098" y="74537"/>
                      <a:pt x="89704" y="74537"/>
                    </a:cubicBezTo>
                    <a:cubicBezTo>
                      <a:pt x="88524" y="74537"/>
                      <a:pt x="87737" y="74008"/>
                      <a:pt x="86950" y="74008"/>
                    </a:cubicBezTo>
                    <a:cubicBezTo>
                      <a:pt x="87344" y="74008"/>
                      <a:pt x="88524" y="72951"/>
                      <a:pt x="88918" y="72422"/>
                    </a:cubicBezTo>
                    <a:cubicBezTo>
                      <a:pt x="88918" y="70837"/>
                      <a:pt x="89704" y="71365"/>
                      <a:pt x="90098" y="71894"/>
                    </a:cubicBezTo>
                    <a:cubicBezTo>
                      <a:pt x="90885" y="71894"/>
                      <a:pt x="94032" y="70837"/>
                      <a:pt x="94426" y="70308"/>
                    </a:cubicBezTo>
                    <a:cubicBezTo>
                      <a:pt x="94426" y="69779"/>
                      <a:pt x="92459" y="69251"/>
                      <a:pt x="92065" y="68722"/>
                    </a:cubicBezTo>
                    <a:cubicBezTo>
                      <a:pt x="92459" y="69251"/>
                      <a:pt x="94032" y="69779"/>
                      <a:pt x="94426" y="69779"/>
                    </a:cubicBezTo>
                    <a:cubicBezTo>
                      <a:pt x="94819" y="70308"/>
                      <a:pt x="96393" y="70308"/>
                      <a:pt x="96393" y="71365"/>
                    </a:cubicBezTo>
                    <a:cubicBezTo>
                      <a:pt x="96000" y="72951"/>
                      <a:pt x="96786" y="73480"/>
                      <a:pt x="97573" y="73480"/>
                    </a:cubicBezTo>
                    <a:cubicBezTo>
                      <a:pt x="97573" y="73480"/>
                      <a:pt x="99934" y="73480"/>
                      <a:pt x="99540" y="72951"/>
                    </a:cubicBezTo>
                    <a:cubicBezTo>
                      <a:pt x="99540" y="72951"/>
                      <a:pt x="99540" y="74008"/>
                      <a:pt x="99934" y="74008"/>
                    </a:cubicBezTo>
                    <a:cubicBezTo>
                      <a:pt x="100721" y="73480"/>
                      <a:pt x="101114" y="71894"/>
                      <a:pt x="101114" y="70837"/>
                    </a:cubicBezTo>
                    <a:cubicBezTo>
                      <a:pt x="101114" y="70308"/>
                      <a:pt x="101114" y="68193"/>
                      <a:pt x="100327" y="68722"/>
                    </a:cubicBezTo>
                    <a:cubicBezTo>
                      <a:pt x="99540" y="69779"/>
                      <a:pt x="99934" y="68722"/>
                      <a:pt x="99540" y="68193"/>
                    </a:cubicBezTo>
                    <a:cubicBezTo>
                      <a:pt x="98754" y="67136"/>
                      <a:pt x="97573" y="66607"/>
                      <a:pt x="96393" y="65550"/>
                    </a:cubicBezTo>
                    <a:cubicBezTo>
                      <a:pt x="96000" y="65022"/>
                      <a:pt x="95606" y="65022"/>
                      <a:pt x="95213" y="64493"/>
                    </a:cubicBezTo>
                    <a:cubicBezTo>
                      <a:pt x="95213" y="64493"/>
                      <a:pt x="93639" y="65022"/>
                      <a:pt x="93639" y="65550"/>
                    </a:cubicBezTo>
                    <a:cubicBezTo>
                      <a:pt x="93639" y="65550"/>
                      <a:pt x="94032" y="65022"/>
                      <a:pt x="93639" y="65022"/>
                    </a:cubicBezTo>
                    <a:cubicBezTo>
                      <a:pt x="93639" y="65022"/>
                      <a:pt x="93245" y="64493"/>
                      <a:pt x="93245" y="64493"/>
                    </a:cubicBezTo>
                    <a:cubicBezTo>
                      <a:pt x="93245" y="63964"/>
                      <a:pt x="94819" y="64493"/>
                      <a:pt x="94819" y="63964"/>
                    </a:cubicBezTo>
                    <a:cubicBezTo>
                      <a:pt x="94819" y="62907"/>
                      <a:pt x="94819" y="62378"/>
                      <a:pt x="93639" y="62378"/>
                    </a:cubicBezTo>
                    <a:cubicBezTo>
                      <a:pt x="92852" y="62907"/>
                      <a:pt x="92459" y="63964"/>
                      <a:pt x="91672" y="62907"/>
                    </a:cubicBezTo>
                    <a:cubicBezTo>
                      <a:pt x="91672" y="62907"/>
                      <a:pt x="90098" y="62907"/>
                      <a:pt x="90098" y="62378"/>
                    </a:cubicBezTo>
                    <a:cubicBezTo>
                      <a:pt x="90098" y="61321"/>
                      <a:pt x="92065" y="62907"/>
                      <a:pt x="92065" y="62907"/>
                    </a:cubicBezTo>
                    <a:cubicBezTo>
                      <a:pt x="92459" y="62907"/>
                      <a:pt x="94426" y="62378"/>
                      <a:pt x="94426" y="61850"/>
                    </a:cubicBezTo>
                    <a:cubicBezTo>
                      <a:pt x="94819" y="61850"/>
                      <a:pt x="92852" y="60792"/>
                      <a:pt x="92459" y="60792"/>
                    </a:cubicBezTo>
                    <a:cubicBezTo>
                      <a:pt x="91672" y="60792"/>
                      <a:pt x="90491" y="60792"/>
                      <a:pt x="89704" y="61321"/>
                    </a:cubicBezTo>
                    <a:cubicBezTo>
                      <a:pt x="90098" y="61321"/>
                      <a:pt x="91672" y="59735"/>
                      <a:pt x="91672" y="60264"/>
                    </a:cubicBezTo>
                    <a:cubicBezTo>
                      <a:pt x="91672" y="59735"/>
                      <a:pt x="90098" y="59735"/>
                      <a:pt x="90098" y="59207"/>
                    </a:cubicBezTo>
                    <a:cubicBezTo>
                      <a:pt x="91278" y="59735"/>
                      <a:pt x="92459" y="60792"/>
                      <a:pt x="93639" y="59735"/>
                    </a:cubicBezTo>
                    <a:cubicBezTo>
                      <a:pt x="93639" y="59735"/>
                      <a:pt x="94819" y="59207"/>
                      <a:pt x="94819" y="58678"/>
                    </a:cubicBezTo>
                    <a:cubicBezTo>
                      <a:pt x="94426" y="58149"/>
                      <a:pt x="93639" y="57621"/>
                      <a:pt x="93639" y="57092"/>
                    </a:cubicBezTo>
                    <a:cubicBezTo>
                      <a:pt x="93639" y="57621"/>
                      <a:pt x="94819" y="58149"/>
                      <a:pt x="95213" y="58149"/>
                    </a:cubicBezTo>
                    <a:cubicBezTo>
                      <a:pt x="96000" y="58678"/>
                      <a:pt x="95606" y="57621"/>
                      <a:pt x="96393" y="57621"/>
                    </a:cubicBezTo>
                    <a:cubicBezTo>
                      <a:pt x="96786" y="57621"/>
                      <a:pt x="99934" y="58678"/>
                      <a:pt x="99934" y="58678"/>
                    </a:cubicBezTo>
                    <a:cubicBezTo>
                      <a:pt x="99540" y="58678"/>
                      <a:pt x="96786" y="58149"/>
                      <a:pt x="96786" y="58149"/>
                    </a:cubicBezTo>
                    <a:cubicBezTo>
                      <a:pt x="97573" y="60264"/>
                      <a:pt x="99934" y="59735"/>
                      <a:pt x="101114" y="59735"/>
                    </a:cubicBezTo>
                    <a:cubicBezTo>
                      <a:pt x="101508" y="59207"/>
                      <a:pt x="102688" y="59735"/>
                      <a:pt x="103081" y="59207"/>
                    </a:cubicBezTo>
                    <a:cubicBezTo>
                      <a:pt x="104262" y="58678"/>
                      <a:pt x="103868" y="57621"/>
                      <a:pt x="103081" y="57092"/>
                    </a:cubicBezTo>
                    <a:cubicBezTo>
                      <a:pt x="102688" y="56563"/>
                      <a:pt x="101508" y="56035"/>
                      <a:pt x="101114" y="56035"/>
                    </a:cubicBezTo>
                    <a:cubicBezTo>
                      <a:pt x="100721" y="56035"/>
                      <a:pt x="101114" y="57621"/>
                      <a:pt x="101114" y="58149"/>
                    </a:cubicBezTo>
                    <a:cubicBezTo>
                      <a:pt x="100721" y="57621"/>
                      <a:pt x="100721" y="57092"/>
                      <a:pt x="100327" y="56563"/>
                    </a:cubicBezTo>
                    <a:cubicBezTo>
                      <a:pt x="100327" y="56035"/>
                      <a:pt x="99934" y="56563"/>
                      <a:pt x="99540" y="56035"/>
                    </a:cubicBezTo>
                    <a:cubicBezTo>
                      <a:pt x="99934" y="56563"/>
                      <a:pt x="100721" y="53392"/>
                      <a:pt x="100721" y="52863"/>
                    </a:cubicBezTo>
                    <a:cubicBezTo>
                      <a:pt x="100721" y="52863"/>
                      <a:pt x="101114" y="54449"/>
                      <a:pt x="101114" y="54449"/>
                    </a:cubicBezTo>
                    <a:cubicBezTo>
                      <a:pt x="101114" y="55506"/>
                      <a:pt x="101114" y="56035"/>
                      <a:pt x="101508" y="56035"/>
                    </a:cubicBezTo>
                    <a:cubicBezTo>
                      <a:pt x="102688" y="56035"/>
                      <a:pt x="103475" y="55506"/>
                      <a:pt x="104262" y="55506"/>
                    </a:cubicBezTo>
                    <a:cubicBezTo>
                      <a:pt x="104655" y="55506"/>
                      <a:pt x="107016" y="54449"/>
                      <a:pt x="106229" y="53392"/>
                    </a:cubicBezTo>
                    <a:cubicBezTo>
                      <a:pt x="105442" y="52863"/>
                      <a:pt x="105049" y="53920"/>
                      <a:pt x="104655" y="53392"/>
                    </a:cubicBezTo>
                    <a:cubicBezTo>
                      <a:pt x="104655" y="52863"/>
                      <a:pt x="104655" y="52863"/>
                      <a:pt x="104655" y="52334"/>
                    </a:cubicBezTo>
                    <a:cubicBezTo>
                      <a:pt x="105049" y="51806"/>
                      <a:pt x="104655" y="51277"/>
                      <a:pt x="104262" y="51277"/>
                    </a:cubicBezTo>
                    <a:cubicBezTo>
                      <a:pt x="104262" y="50748"/>
                      <a:pt x="103081" y="50748"/>
                      <a:pt x="102688" y="50748"/>
                    </a:cubicBezTo>
                    <a:cubicBezTo>
                      <a:pt x="101901" y="50748"/>
                      <a:pt x="101508" y="51806"/>
                      <a:pt x="100721" y="50748"/>
                    </a:cubicBezTo>
                    <a:cubicBezTo>
                      <a:pt x="102295" y="52334"/>
                      <a:pt x="103081" y="48105"/>
                      <a:pt x="104655" y="50220"/>
                    </a:cubicBezTo>
                    <a:cubicBezTo>
                      <a:pt x="105049" y="51277"/>
                      <a:pt x="105836" y="49691"/>
                      <a:pt x="105836" y="48634"/>
                    </a:cubicBezTo>
                    <a:cubicBezTo>
                      <a:pt x="105836" y="48105"/>
                      <a:pt x="104655" y="46519"/>
                      <a:pt x="104655" y="46519"/>
                    </a:cubicBezTo>
                    <a:cubicBezTo>
                      <a:pt x="104655" y="45991"/>
                      <a:pt x="105836" y="47577"/>
                      <a:pt x="105836" y="48105"/>
                    </a:cubicBezTo>
                    <a:cubicBezTo>
                      <a:pt x="105836" y="48634"/>
                      <a:pt x="106622" y="47577"/>
                      <a:pt x="106229" y="46519"/>
                    </a:cubicBezTo>
                    <a:cubicBezTo>
                      <a:pt x="105836" y="45991"/>
                      <a:pt x="105049" y="44933"/>
                      <a:pt x="104655" y="44405"/>
                    </a:cubicBezTo>
                    <a:cubicBezTo>
                      <a:pt x="103868" y="44405"/>
                      <a:pt x="102688" y="44933"/>
                      <a:pt x="101901" y="44405"/>
                    </a:cubicBezTo>
                    <a:cubicBezTo>
                      <a:pt x="101508" y="43876"/>
                      <a:pt x="101508" y="42819"/>
                      <a:pt x="100721" y="42819"/>
                    </a:cubicBezTo>
                    <a:cubicBezTo>
                      <a:pt x="100721" y="42290"/>
                      <a:pt x="99147" y="42819"/>
                      <a:pt x="99540" y="42290"/>
                    </a:cubicBezTo>
                    <a:cubicBezTo>
                      <a:pt x="99934" y="41233"/>
                      <a:pt x="99934" y="40704"/>
                      <a:pt x="100721" y="41762"/>
                    </a:cubicBezTo>
                    <a:cubicBezTo>
                      <a:pt x="101508" y="42819"/>
                      <a:pt x="102295" y="41233"/>
                      <a:pt x="103081" y="40704"/>
                    </a:cubicBezTo>
                    <a:cubicBezTo>
                      <a:pt x="104262" y="39647"/>
                      <a:pt x="106622" y="42819"/>
                      <a:pt x="107803" y="41233"/>
                    </a:cubicBezTo>
                    <a:cubicBezTo>
                      <a:pt x="108196" y="40704"/>
                      <a:pt x="108196" y="38061"/>
                      <a:pt x="107016" y="38590"/>
                    </a:cubicBezTo>
                    <a:cubicBezTo>
                      <a:pt x="106622" y="38590"/>
                      <a:pt x="106229" y="39118"/>
                      <a:pt x="105836" y="38590"/>
                    </a:cubicBezTo>
                    <a:cubicBezTo>
                      <a:pt x="105049" y="38590"/>
                      <a:pt x="104262" y="38061"/>
                      <a:pt x="103475" y="37004"/>
                    </a:cubicBezTo>
                    <a:cubicBezTo>
                      <a:pt x="102295" y="35947"/>
                      <a:pt x="106622" y="37533"/>
                      <a:pt x="106622" y="37004"/>
                    </a:cubicBezTo>
                    <a:cubicBezTo>
                      <a:pt x="106229" y="35947"/>
                      <a:pt x="104262" y="35418"/>
                      <a:pt x="103475" y="34889"/>
                    </a:cubicBezTo>
                    <a:cubicBezTo>
                      <a:pt x="102295" y="34361"/>
                      <a:pt x="102295" y="34889"/>
                      <a:pt x="101901" y="35947"/>
                    </a:cubicBezTo>
                    <a:cubicBezTo>
                      <a:pt x="101901" y="36475"/>
                      <a:pt x="101114" y="37004"/>
                      <a:pt x="100721" y="36475"/>
                    </a:cubicBezTo>
                    <a:cubicBezTo>
                      <a:pt x="100327" y="36475"/>
                      <a:pt x="101508" y="34361"/>
                      <a:pt x="101508" y="33832"/>
                    </a:cubicBezTo>
                    <a:cubicBezTo>
                      <a:pt x="101508" y="33303"/>
                      <a:pt x="101901" y="32246"/>
                      <a:pt x="102295" y="31718"/>
                    </a:cubicBezTo>
                    <a:cubicBezTo>
                      <a:pt x="102295" y="31189"/>
                      <a:pt x="102295" y="30132"/>
                      <a:pt x="102688" y="30132"/>
                    </a:cubicBezTo>
                    <a:cubicBezTo>
                      <a:pt x="103081" y="30132"/>
                      <a:pt x="103868" y="30132"/>
                      <a:pt x="104262" y="29603"/>
                    </a:cubicBezTo>
                    <a:cubicBezTo>
                      <a:pt x="104262" y="29603"/>
                      <a:pt x="106229" y="26960"/>
                      <a:pt x="106229" y="27488"/>
                    </a:cubicBezTo>
                    <a:cubicBezTo>
                      <a:pt x="106229" y="27488"/>
                      <a:pt x="105442" y="26960"/>
                      <a:pt x="105442" y="26960"/>
                    </a:cubicBezTo>
                    <a:cubicBezTo>
                      <a:pt x="105442" y="26431"/>
                      <a:pt x="105442" y="25903"/>
                      <a:pt x="105442" y="25374"/>
                    </a:cubicBezTo>
                    <a:cubicBezTo>
                      <a:pt x="105442" y="24317"/>
                      <a:pt x="105836" y="24317"/>
                      <a:pt x="106622" y="24317"/>
                    </a:cubicBezTo>
                    <a:cubicBezTo>
                      <a:pt x="107409" y="24317"/>
                      <a:pt x="110557" y="22731"/>
                      <a:pt x="108590" y="22731"/>
                    </a:cubicBezTo>
                    <a:cubicBezTo>
                      <a:pt x="107409" y="22731"/>
                      <a:pt x="105442" y="22202"/>
                      <a:pt x="104655" y="23259"/>
                    </a:cubicBezTo>
                    <a:cubicBezTo>
                      <a:pt x="104262" y="23788"/>
                      <a:pt x="104262" y="24845"/>
                      <a:pt x="103475" y="24317"/>
                    </a:cubicBezTo>
                    <a:cubicBezTo>
                      <a:pt x="102688" y="23788"/>
                      <a:pt x="103475" y="22731"/>
                      <a:pt x="103868" y="22202"/>
                    </a:cubicBezTo>
                    <a:cubicBezTo>
                      <a:pt x="104655" y="20616"/>
                      <a:pt x="106229" y="21674"/>
                      <a:pt x="107409" y="21674"/>
                    </a:cubicBezTo>
                    <a:cubicBezTo>
                      <a:pt x="108983" y="21674"/>
                      <a:pt x="110557" y="22202"/>
                      <a:pt x="111344" y="20088"/>
                    </a:cubicBezTo>
                    <a:cubicBezTo>
                      <a:pt x="111737" y="20088"/>
                      <a:pt x="110163" y="19559"/>
                      <a:pt x="110163" y="19559"/>
                    </a:cubicBezTo>
                    <a:cubicBezTo>
                      <a:pt x="109377" y="19030"/>
                      <a:pt x="108590" y="19559"/>
                      <a:pt x="107803" y="19559"/>
                    </a:cubicBezTo>
                    <a:cubicBezTo>
                      <a:pt x="107016" y="19559"/>
                      <a:pt x="106622" y="19030"/>
                      <a:pt x="105836" y="19030"/>
                    </a:cubicBezTo>
                    <a:cubicBezTo>
                      <a:pt x="105442" y="19030"/>
                      <a:pt x="104655" y="19030"/>
                      <a:pt x="104262" y="19030"/>
                    </a:cubicBezTo>
                    <a:cubicBezTo>
                      <a:pt x="104655" y="19559"/>
                      <a:pt x="105836" y="19030"/>
                      <a:pt x="106622" y="19030"/>
                    </a:cubicBezTo>
                    <a:cubicBezTo>
                      <a:pt x="107803" y="19030"/>
                      <a:pt x="108590" y="18502"/>
                      <a:pt x="109770" y="18502"/>
                    </a:cubicBezTo>
                    <a:cubicBezTo>
                      <a:pt x="111344" y="19030"/>
                      <a:pt x="112131" y="17973"/>
                      <a:pt x="113311" y="17973"/>
                    </a:cubicBezTo>
                    <a:cubicBezTo>
                      <a:pt x="113704" y="17973"/>
                      <a:pt x="114491" y="17973"/>
                      <a:pt x="114491" y="17444"/>
                    </a:cubicBezTo>
                    <a:cubicBezTo>
                      <a:pt x="114491" y="17444"/>
                      <a:pt x="113704" y="16387"/>
                      <a:pt x="114098" y="16387"/>
                    </a:cubicBezTo>
                    <a:cubicBezTo>
                      <a:pt x="116065" y="15859"/>
                      <a:pt x="118032" y="15330"/>
                      <a:pt x="119606" y="13744"/>
                    </a:cubicBezTo>
                    <a:cubicBezTo>
                      <a:pt x="120000" y="13215"/>
                      <a:pt x="118426" y="12687"/>
                      <a:pt x="118426" y="12687"/>
                    </a:cubicBezTo>
                    <a:cubicBezTo>
                      <a:pt x="117245" y="12158"/>
                      <a:pt x="116065" y="11629"/>
                      <a:pt x="115278" y="11629"/>
                    </a:cubicBezTo>
                    <a:cubicBezTo>
                      <a:pt x="112918" y="11101"/>
                      <a:pt x="110950" y="10572"/>
                      <a:pt x="108983" y="13215"/>
                    </a:cubicBezTo>
                    <a:cubicBezTo>
                      <a:pt x="108196" y="14801"/>
                      <a:pt x="107409" y="13744"/>
                      <a:pt x="105836" y="13744"/>
                    </a:cubicBezTo>
                    <a:cubicBezTo>
                      <a:pt x="105442" y="13744"/>
                      <a:pt x="103868" y="15330"/>
                      <a:pt x="104262" y="13744"/>
                    </a:cubicBezTo>
                    <a:cubicBezTo>
                      <a:pt x="104262" y="12687"/>
                      <a:pt x="102295" y="14273"/>
                      <a:pt x="101901" y="14801"/>
                    </a:cubicBezTo>
                    <a:cubicBezTo>
                      <a:pt x="101114" y="15330"/>
                      <a:pt x="100327" y="15859"/>
                      <a:pt x="99540" y="16387"/>
                    </a:cubicBezTo>
                    <a:cubicBezTo>
                      <a:pt x="99147" y="16387"/>
                      <a:pt x="96000" y="19559"/>
                      <a:pt x="96000" y="19559"/>
                    </a:cubicBezTo>
                    <a:cubicBezTo>
                      <a:pt x="95213" y="18502"/>
                      <a:pt x="103868" y="11629"/>
                      <a:pt x="98754" y="10044"/>
                    </a:cubicBezTo>
                    <a:cubicBezTo>
                      <a:pt x="96786" y="10044"/>
                      <a:pt x="97180" y="11629"/>
                      <a:pt x="95606" y="12687"/>
                    </a:cubicBezTo>
                    <a:cubicBezTo>
                      <a:pt x="94426" y="13215"/>
                      <a:pt x="93639" y="13215"/>
                      <a:pt x="92459" y="13744"/>
                    </a:cubicBezTo>
                    <a:cubicBezTo>
                      <a:pt x="92065" y="13744"/>
                      <a:pt x="90098" y="14801"/>
                      <a:pt x="89704" y="14801"/>
                    </a:cubicBezTo>
                    <a:cubicBezTo>
                      <a:pt x="88918" y="13215"/>
                      <a:pt x="91672" y="12687"/>
                      <a:pt x="92459" y="12687"/>
                    </a:cubicBezTo>
                    <a:cubicBezTo>
                      <a:pt x="92459" y="12158"/>
                      <a:pt x="94819" y="11629"/>
                      <a:pt x="93639" y="11101"/>
                    </a:cubicBezTo>
                    <a:cubicBezTo>
                      <a:pt x="92459" y="10572"/>
                      <a:pt x="91278" y="10572"/>
                      <a:pt x="90098" y="10572"/>
                    </a:cubicBezTo>
                    <a:cubicBezTo>
                      <a:pt x="86950" y="10572"/>
                      <a:pt x="83803" y="11101"/>
                      <a:pt x="80655" y="12158"/>
                    </a:cubicBezTo>
                    <a:cubicBezTo>
                      <a:pt x="80655" y="12158"/>
                      <a:pt x="79475" y="13215"/>
                      <a:pt x="79081" y="12687"/>
                    </a:cubicBezTo>
                    <a:cubicBezTo>
                      <a:pt x="79081" y="11629"/>
                      <a:pt x="78688" y="11629"/>
                      <a:pt x="79475" y="11629"/>
                    </a:cubicBezTo>
                    <a:cubicBezTo>
                      <a:pt x="81049" y="10572"/>
                      <a:pt x="82622" y="10044"/>
                      <a:pt x="84196" y="9515"/>
                    </a:cubicBezTo>
                    <a:cubicBezTo>
                      <a:pt x="86950" y="8986"/>
                      <a:pt x="90098" y="9515"/>
                      <a:pt x="93245" y="9515"/>
                    </a:cubicBezTo>
                    <a:cubicBezTo>
                      <a:pt x="94032" y="9515"/>
                      <a:pt x="94819" y="9515"/>
                      <a:pt x="95606" y="9515"/>
                    </a:cubicBezTo>
                    <a:cubicBezTo>
                      <a:pt x="97180" y="8458"/>
                      <a:pt x="99147" y="8458"/>
                      <a:pt x="100721" y="7400"/>
                    </a:cubicBezTo>
                    <a:cubicBezTo>
                      <a:pt x="101508" y="7400"/>
                      <a:pt x="101901" y="6872"/>
                      <a:pt x="100721" y="6343"/>
                    </a:cubicBezTo>
                    <a:cubicBezTo>
                      <a:pt x="99934" y="5814"/>
                      <a:pt x="98360" y="5286"/>
                      <a:pt x="97573" y="5814"/>
                    </a:cubicBezTo>
                    <a:cubicBezTo>
                      <a:pt x="96786" y="5814"/>
                      <a:pt x="96786" y="5286"/>
                      <a:pt x="96000" y="4757"/>
                    </a:cubicBezTo>
                    <a:cubicBezTo>
                      <a:pt x="95213" y="4757"/>
                      <a:pt x="94426" y="5814"/>
                      <a:pt x="93639" y="5814"/>
                    </a:cubicBezTo>
                    <a:cubicBezTo>
                      <a:pt x="93639" y="5814"/>
                      <a:pt x="94426" y="4229"/>
                      <a:pt x="94819" y="4229"/>
                    </a:cubicBezTo>
                    <a:cubicBezTo>
                      <a:pt x="95213" y="3171"/>
                      <a:pt x="93639" y="3171"/>
                      <a:pt x="93245" y="3171"/>
                    </a:cubicBezTo>
                    <a:cubicBezTo>
                      <a:pt x="90885" y="3700"/>
                      <a:pt x="88918" y="3700"/>
                      <a:pt x="86557" y="3171"/>
                    </a:cubicBezTo>
                    <a:cubicBezTo>
                      <a:pt x="84590" y="3171"/>
                      <a:pt x="83016" y="4229"/>
                      <a:pt x="81049" y="4229"/>
                    </a:cubicBezTo>
                    <a:cubicBezTo>
                      <a:pt x="80262" y="4229"/>
                      <a:pt x="79081" y="4229"/>
                      <a:pt x="78295" y="4229"/>
                    </a:cubicBezTo>
                    <a:cubicBezTo>
                      <a:pt x="77508" y="4757"/>
                      <a:pt x="76327" y="4229"/>
                      <a:pt x="75934" y="4757"/>
                    </a:cubicBezTo>
                    <a:cubicBezTo>
                      <a:pt x="77114" y="4229"/>
                      <a:pt x="78295" y="4229"/>
                      <a:pt x="79475" y="3700"/>
                    </a:cubicBezTo>
                    <a:cubicBezTo>
                      <a:pt x="81442" y="3700"/>
                      <a:pt x="83016" y="3171"/>
                      <a:pt x="84590" y="3171"/>
                    </a:cubicBezTo>
                    <a:cubicBezTo>
                      <a:pt x="85377" y="3171"/>
                      <a:pt x="93245" y="3171"/>
                      <a:pt x="93245" y="2114"/>
                    </a:cubicBezTo>
                    <a:cubicBezTo>
                      <a:pt x="92852" y="2114"/>
                      <a:pt x="91672" y="1585"/>
                      <a:pt x="91278" y="1057"/>
                    </a:cubicBezTo>
                    <a:cubicBezTo>
                      <a:pt x="90098" y="1057"/>
                      <a:pt x="89311" y="1057"/>
                      <a:pt x="88131" y="1057"/>
                    </a:cubicBezTo>
                    <a:cubicBezTo>
                      <a:pt x="86557" y="1057"/>
                      <a:pt x="84983" y="528"/>
                      <a:pt x="83803" y="0"/>
                    </a:cubicBezTo>
                    <a:cubicBezTo>
                      <a:pt x="81049" y="0"/>
                      <a:pt x="78688" y="0"/>
                      <a:pt x="76327" y="0"/>
                    </a:cubicBezTo>
                    <a:cubicBezTo>
                      <a:pt x="75147" y="528"/>
                      <a:pt x="73967" y="528"/>
                      <a:pt x="72786" y="528"/>
                    </a:cubicBezTo>
                    <a:cubicBezTo>
                      <a:pt x="72393" y="528"/>
                      <a:pt x="72000" y="1585"/>
                      <a:pt x="72000" y="1585"/>
                    </a:cubicBezTo>
                    <a:cubicBezTo>
                      <a:pt x="71213" y="1585"/>
                      <a:pt x="70426" y="1057"/>
                      <a:pt x="69639" y="1057"/>
                    </a:cubicBezTo>
                    <a:cubicBezTo>
                      <a:pt x="69245" y="1057"/>
                      <a:pt x="68852" y="1585"/>
                      <a:pt x="68065" y="1585"/>
                    </a:cubicBezTo>
                    <a:cubicBezTo>
                      <a:pt x="67278" y="1585"/>
                      <a:pt x="67278" y="2114"/>
                      <a:pt x="68065" y="2114"/>
                    </a:cubicBezTo>
                    <a:cubicBezTo>
                      <a:pt x="69245" y="2643"/>
                      <a:pt x="70426" y="2643"/>
                      <a:pt x="71213" y="3171"/>
                    </a:cubicBezTo>
                    <a:cubicBezTo>
                      <a:pt x="70819" y="2643"/>
                      <a:pt x="68459" y="3700"/>
                      <a:pt x="68065" y="4229"/>
                    </a:cubicBezTo>
                    <a:cubicBezTo>
                      <a:pt x="68065" y="4229"/>
                      <a:pt x="66885" y="4229"/>
                      <a:pt x="66885" y="4229"/>
                    </a:cubicBezTo>
                    <a:cubicBezTo>
                      <a:pt x="66885" y="4229"/>
                      <a:pt x="67672" y="5286"/>
                      <a:pt x="67672" y="5286"/>
                    </a:cubicBezTo>
                    <a:cubicBezTo>
                      <a:pt x="67278" y="5286"/>
                      <a:pt x="66491" y="4757"/>
                      <a:pt x="66098" y="4229"/>
                    </a:cubicBezTo>
                    <a:cubicBezTo>
                      <a:pt x="65704" y="3700"/>
                      <a:pt x="64524" y="4229"/>
                      <a:pt x="64131" y="4229"/>
                    </a:cubicBezTo>
                    <a:cubicBezTo>
                      <a:pt x="62950" y="3700"/>
                      <a:pt x="61770" y="3171"/>
                      <a:pt x="60590" y="2643"/>
                    </a:cubicBezTo>
                    <a:cubicBezTo>
                      <a:pt x="59803" y="2114"/>
                      <a:pt x="59016" y="3171"/>
                      <a:pt x="57836" y="3171"/>
                    </a:cubicBezTo>
                    <a:cubicBezTo>
                      <a:pt x="57442" y="3171"/>
                      <a:pt x="55081" y="2643"/>
                      <a:pt x="55081" y="3700"/>
                    </a:cubicBezTo>
                    <a:cubicBezTo>
                      <a:pt x="54688" y="3700"/>
                      <a:pt x="60196" y="4757"/>
                      <a:pt x="60983" y="5286"/>
                    </a:cubicBezTo>
                    <a:cubicBezTo>
                      <a:pt x="62163" y="5286"/>
                      <a:pt x="63344" y="5286"/>
                      <a:pt x="64131" y="5814"/>
                    </a:cubicBezTo>
                    <a:cubicBezTo>
                      <a:pt x="64524" y="5814"/>
                      <a:pt x="64918" y="5814"/>
                      <a:pt x="65311" y="6343"/>
                    </a:cubicBezTo>
                    <a:cubicBezTo>
                      <a:pt x="65311" y="6343"/>
                      <a:pt x="65311" y="7929"/>
                      <a:pt x="65311" y="7929"/>
                    </a:cubicBezTo>
                    <a:cubicBezTo>
                      <a:pt x="65311" y="8458"/>
                      <a:pt x="64918" y="7400"/>
                      <a:pt x="64918" y="6872"/>
                    </a:cubicBezTo>
                    <a:cubicBezTo>
                      <a:pt x="64524" y="6343"/>
                      <a:pt x="63344" y="6343"/>
                      <a:pt x="62950" y="5814"/>
                    </a:cubicBezTo>
                    <a:cubicBezTo>
                      <a:pt x="62950" y="5814"/>
                      <a:pt x="61770" y="5814"/>
                      <a:pt x="61770" y="5814"/>
                    </a:cubicBezTo>
                    <a:cubicBezTo>
                      <a:pt x="61770" y="6343"/>
                      <a:pt x="62163" y="7400"/>
                      <a:pt x="62163" y="7400"/>
                    </a:cubicBezTo>
                    <a:cubicBezTo>
                      <a:pt x="61377" y="7400"/>
                      <a:pt x="60983" y="5814"/>
                      <a:pt x="60590" y="5814"/>
                    </a:cubicBezTo>
                    <a:cubicBezTo>
                      <a:pt x="59803" y="5814"/>
                      <a:pt x="59016" y="5814"/>
                      <a:pt x="58229" y="5286"/>
                    </a:cubicBezTo>
                    <a:cubicBezTo>
                      <a:pt x="57836" y="5286"/>
                      <a:pt x="54688" y="5286"/>
                      <a:pt x="54688" y="5286"/>
                    </a:cubicBezTo>
                    <a:cubicBezTo>
                      <a:pt x="54295" y="6343"/>
                      <a:pt x="59409" y="8986"/>
                      <a:pt x="59409" y="8986"/>
                    </a:cubicBezTo>
                    <a:cubicBezTo>
                      <a:pt x="59409" y="9515"/>
                      <a:pt x="57442" y="8986"/>
                      <a:pt x="57442" y="8986"/>
                    </a:cubicBezTo>
                    <a:cubicBezTo>
                      <a:pt x="56262" y="8986"/>
                      <a:pt x="55868" y="8458"/>
                      <a:pt x="56262" y="10044"/>
                    </a:cubicBezTo>
                    <a:cubicBezTo>
                      <a:pt x="55868" y="10044"/>
                      <a:pt x="55475" y="9515"/>
                      <a:pt x="55081" y="8986"/>
                    </a:cubicBezTo>
                    <a:cubicBezTo>
                      <a:pt x="55081" y="8458"/>
                      <a:pt x="55868" y="8986"/>
                      <a:pt x="56262" y="8458"/>
                    </a:cubicBezTo>
                    <a:cubicBezTo>
                      <a:pt x="56262" y="8458"/>
                      <a:pt x="55475" y="7400"/>
                      <a:pt x="55081" y="7400"/>
                    </a:cubicBezTo>
                    <a:cubicBezTo>
                      <a:pt x="54295" y="6872"/>
                      <a:pt x="53508" y="6343"/>
                      <a:pt x="52327" y="6343"/>
                    </a:cubicBezTo>
                    <a:cubicBezTo>
                      <a:pt x="51934" y="6343"/>
                      <a:pt x="51147" y="5814"/>
                      <a:pt x="50754" y="6343"/>
                    </a:cubicBezTo>
                    <a:cubicBezTo>
                      <a:pt x="50360" y="6343"/>
                      <a:pt x="51540" y="7929"/>
                      <a:pt x="51540" y="7929"/>
                    </a:cubicBezTo>
                    <a:cubicBezTo>
                      <a:pt x="52721" y="8986"/>
                      <a:pt x="54295" y="8986"/>
                      <a:pt x="55868" y="10572"/>
                    </a:cubicBezTo>
                    <a:cubicBezTo>
                      <a:pt x="56262" y="10572"/>
                      <a:pt x="56655" y="11101"/>
                      <a:pt x="56262" y="11629"/>
                    </a:cubicBezTo>
                    <a:cubicBezTo>
                      <a:pt x="55475" y="12687"/>
                      <a:pt x="54688" y="11629"/>
                      <a:pt x="53901" y="11101"/>
                    </a:cubicBezTo>
                    <a:cubicBezTo>
                      <a:pt x="51934" y="9515"/>
                      <a:pt x="49573" y="8458"/>
                      <a:pt x="47213" y="7929"/>
                    </a:cubicBezTo>
                    <a:cubicBezTo>
                      <a:pt x="46032" y="7400"/>
                      <a:pt x="44852" y="6872"/>
                      <a:pt x="43672" y="7400"/>
                    </a:cubicBezTo>
                    <a:cubicBezTo>
                      <a:pt x="43278" y="7400"/>
                      <a:pt x="44459" y="8986"/>
                      <a:pt x="44459" y="9515"/>
                    </a:cubicBezTo>
                    <a:cubicBezTo>
                      <a:pt x="44459" y="9515"/>
                      <a:pt x="46032" y="11101"/>
                      <a:pt x="46032" y="11101"/>
                    </a:cubicBezTo>
                    <a:cubicBezTo>
                      <a:pt x="46032" y="11629"/>
                      <a:pt x="43672" y="11101"/>
                      <a:pt x="43672" y="11101"/>
                    </a:cubicBezTo>
                    <a:cubicBezTo>
                      <a:pt x="43672" y="12158"/>
                      <a:pt x="45245" y="11629"/>
                      <a:pt x="45245" y="12687"/>
                    </a:cubicBezTo>
                    <a:cubicBezTo>
                      <a:pt x="45245" y="12687"/>
                      <a:pt x="43672" y="12158"/>
                      <a:pt x="43278" y="11629"/>
                    </a:cubicBezTo>
                    <a:cubicBezTo>
                      <a:pt x="42491" y="11101"/>
                      <a:pt x="41704" y="11101"/>
                      <a:pt x="40524" y="10572"/>
                    </a:cubicBezTo>
                    <a:cubicBezTo>
                      <a:pt x="39737" y="10044"/>
                      <a:pt x="39737" y="10572"/>
                      <a:pt x="39737" y="11629"/>
                    </a:cubicBezTo>
                    <a:cubicBezTo>
                      <a:pt x="39344" y="12158"/>
                      <a:pt x="38950" y="12158"/>
                      <a:pt x="38557" y="12158"/>
                    </a:cubicBezTo>
                    <a:cubicBezTo>
                      <a:pt x="38557" y="12687"/>
                      <a:pt x="38557" y="13744"/>
                      <a:pt x="38163" y="13744"/>
                    </a:cubicBezTo>
                    <a:cubicBezTo>
                      <a:pt x="38163" y="14273"/>
                      <a:pt x="38163" y="12687"/>
                      <a:pt x="38163" y="12158"/>
                    </a:cubicBezTo>
                    <a:cubicBezTo>
                      <a:pt x="38163" y="11629"/>
                      <a:pt x="38557" y="11101"/>
                      <a:pt x="38557" y="10572"/>
                    </a:cubicBezTo>
                    <a:cubicBezTo>
                      <a:pt x="38163" y="8458"/>
                      <a:pt x="36590" y="8458"/>
                      <a:pt x="35409" y="8458"/>
                    </a:cubicBezTo>
                    <a:cubicBezTo>
                      <a:pt x="33836" y="8986"/>
                      <a:pt x="32262" y="9515"/>
                      <a:pt x="30688" y="9515"/>
                    </a:cubicBezTo>
                    <a:cubicBezTo>
                      <a:pt x="30295" y="10044"/>
                      <a:pt x="29508" y="10044"/>
                      <a:pt x="29114" y="10044"/>
                    </a:cubicBezTo>
                    <a:cubicBezTo>
                      <a:pt x="29114" y="10044"/>
                      <a:pt x="27147" y="10572"/>
                      <a:pt x="27147" y="10572"/>
                    </a:cubicBezTo>
                    <a:cubicBezTo>
                      <a:pt x="27540" y="11101"/>
                      <a:pt x="28327" y="11101"/>
                      <a:pt x="28721" y="11101"/>
                    </a:cubicBezTo>
                    <a:cubicBezTo>
                      <a:pt x="29114" y="11629"/>
                      <a:pt x="29508" y="12158"/>
                      <a:pt x="30295" y="12687"/>
                    </a:cubicBezTo>
                    <a:cubicBezTo>
                      <a:pt x="30295" y="12687"/>
                      <a:pt x="31868" y="14273"/>
                      <a:pt x="31868" y="14273"/>
                    </a:cubicBezTo>
                    <a:cubicBezTo>
                      <a:pt x="31475" y="14273"/>
                      <a:pt x="29901" y="13215"/>
                      <a:pt x="29508" y="13215"/>
                    </a:cubicBezTo>
                    <a:cubicBezTo>
                      <a:pt x="28721" y="12687"/>
                      <a:pt x="28327" y="11629"/>
                      <a:pt x="27540" y="11629"/>
                    </a:cubicBezTo>
                    <a:cubicBezTo>
                      <a:pt x="26360" y="11101"/>
                      <a:pt x="25180" y="11629"/>
                      <a:pt x="24000" y="11629"/>
                    </a:cubicBezTo>
                    <a:cubicBezTo>
                      <a:pt x="22819" y="12158"/>
                      <a:pt x="22819" y="11629"/>
                      <a:pt x="23606" y="13215"/>
                    </a:cubicBezTo>
                    <a:cubicBezTo>
                      <a:pt x="23606" y="13744"/>
                      <a:pt x="23606" y="15330"/>
                      <a:pt x="23606" y="15859"/>
                    </a:cubicBezTo>
                    <a:cubicBezTo>
                      <a:pt x="23606" y="16916"/>
                      <a:pt x="22032" y="15859"/>
                      <a:pt x="21639" y="15859"/>
                    </a:cubicBezTo>
                    <a:cubicBezTo>
                      <a:pt x="21245" y="15859"/>
                      <a:pt x="20065" y="14801"/>
                      <a:pt x="19672" y="15859"/>
                    </a:cubicBezTo>
                    <a:cubicBezTo>
                      <a:pt x="19278" y="16387"/>
                      <a:pt x="19672" y="17973"/>
                      <a:pt x="19672" y="17973"/>
                    </a:cubicBezTo>
                    <a:cubicBezTo>
                      <a:pt x="19278" y="18502"/>
                      <a:pt x="18885" y="17444"/>
                      <a:pt x="18491" y="16916"/>
                    </a:cubicBezTo>
                    <a:cubicBezTo>
                      <a:pt x="17704" y="16387"/>
                      <a:pt x="16918" y="16387"/>
                      <a:pt x="16524" y="16916"/>
                    </a:cubicBezTo>
                    <a:cubicBezTo>
                      <a:pt x="15344" y="17973"/>
                      <a:pt x="14163" y="19030"/>
                      <a:pt x="12590" y="19559"/>
                    </a:cubicBezTo>
                    <a:cubicBezTo>
                      <a:pt x="12196" y="20088"/>
                      <a:pt x="13377" y="19559"/>
                      <a:pt x="12590" y="19559"/>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3" name="Shape 2654">
                <a:extLst>
                  <a:ext uri="{FF2B5EF4-FFF2-40B4-BE49-F238E27FC236}">
                    <a16:creationId xmlns:a16="http://schemas.microsoft.com/office/drawing/2014/main" id="{D384564D-0B2A-47C2-81C9-51FDA3BD06CF}"/>
                  </a:ext>
                </a:extLst>
              </p:cNvPr>
              <p:cNvSpPr/>
              <p:nvPr/>
            </p:nvSpPr>
            <p:spPr>
              <a:xfrm>
                <a:off x="9499976" y="5748278"/>
                <a:ext cx="135063" cy="94856"/>
              </a:xfrm>
              <a:custGeom>
                <a:avLst/>
                <a:gdLst/>
                <a:ahLst/>
                <a:cxnLst/>
                <a:rect l="0" t="0" r="0" b="0"/>
                <a:pathLst>
                  <a:path w="120000" h="120000" extrusionOk="0">
                    <a:moveTo>
                      <a:pt x="120000" y="65454"/>
                    </a:moveTo>
                    <a:cubicBezTo>
                      <a:pt x="112500" y="54545"/>
                      <a:pt x="82500" y="32727"/>
                      <a:pt x="82500" y="32727"/>
                    </a:cubicBezTo>
                    <a:cubicBezTo>
                      <a:pt x="67500" y="21818"/>
                      <a:pt x="52500" y="10909"/>
                      <a:pt x="37500" y="10909"/>
                    </a:cubicBezTo>
                    <a:cubicBezTo>
                      <a:pt x="30000" y="10909"/>
                      <a:pt x="15000" y="0"/>
                      <a:pt x="7500" y="10909"/>
                    </a:cubicBezTo>
                    <a:cubicBezTo>
                      <a:pt x="0" y="21818"/>
                      <a:pt x="22500" y="32727"/>
                      <a:pt x="22500" y="32727"/>
                    </a:cubicBezTo>
                    <a:cubicBezTo>
                      <a:pt x="15000" y="32727"/>
                      <a:pt x="0" y="65454"/>
                      <a:pt x="7500" y="76363"/>
                    </a:cubicBezTo>
                    <a:cubicBezTo>
                      <a:pt x="15000" y="76363"/>
                      <a:pt x="30000" y="65454"/>
                      <a:pt x="37500" y="76363"/>
                    </a:cubicBezTo>
                    <a:cubicBezTo>
                      <a:pt x="52500" y="87272"/>
                      <a:pt x="37500" y="87272"/>
                      <a:pt x="37500" y="98181"/>
                    </a:cubicBezTo>
                    <a:cubicBezTo>
                      <a:pt x="37500" y="120000"/>
                      <a:pt x="120000" y="87272"/>
                      <a:pt x="120000" y="65454"/>
                    </a:cubicBezTo>
                    <a:cubicBezTo>
                      <a:pt x="112500" y="54545"/>
                      <a:pt x="120000" y="76363"/>
                      <a:pt x="120000" y="65454"/>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4" name="Shape 2655">
                <a:extLst>
                  <a:ext uri="{FF2B5EF4-FFF2-40B4-BE49-F238E27FC236}">
                    <a16:creationId xmlns:a16="http://schemas.microsoft.com/office/drawing/2014/main" id="{8FBF1FAB-924B-4DE3-B3EF-502FD5B0DCC5}"/>
                  </a:ext>
                </a:extLst>
              </p:cNvPr>
              <p:cNvSpPr/>
              <p:nvPr/>
            </p:nvSpPr>
            <p:spPr>
              <a:xfrm>
                <a:off x="9543085" y="5682164"/>
                <a:ext cx="34484" cy="17246"/>
              </a:xfrm>
              <a:custGeom>
                <a:avLst/>
                <a:gdLst/>
                <a:ahLst/>
                <a:cxnLst/>
                <a:rect l="0" t="0" r="0" b="0"/>
                <a:pathLst>
                  <a:path w="120000" h="120000" extrusionOk="0">
                    <a:moveTo>
                      <a:pt x="60000" y="120000"/>
                    </a:moveTo>
                    <a:cubicBezTo>
                      <a:pt x="0" y="120000"/>
                      <a:pt x="30000" y="0"/>
                      <a:pt x="60000" y="0"/>
                    </a:cubicBezTo>
                    <a:cubicBezTo>
                      <a:pt x="90000" y="0"/>
                      <a:pt x="120000" y="120000"/>
                      <a:pt x="6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5" name="Shape 2656">
                <a:extLst>
                  <a:ext uri="{FF2B5EF4-FFF2-40B4-BE49-F238E27FC236}">
                    <a16:creationId xmlns:a16="http://schemas.microsoft.com/office/drawing/2014/main" id="{5D00803A-CCA4-44F6-AB9E-3ACA4125148F}"/>
                  </a:ext>
                </a:extLst>
              </p:cNvPr>
              <p:cNvSpPr/>
              <p:nvPr/>
            </p:nvSpPr>
            <p:spPr>
              <a:xfrm>
                <a:off x="9568947" y="4684739"/>
                <a:ext cx="91956" cy="51738"/>
              </a:xfrm>
              <a:custGeom>
                <a:avLst/>
                <a:gdLst/>
                <a:ahLst/>
                <a:cxnLst/>
                <a:rect l="0" t="0" r="0" b="0"/>
                <a:pathLst>
                  <a:path w="120000" h="120000" extrusionOk="0">
                    <a:moveTo>
                      <a:pt x="98181" y="80000"/>
                    </a:moveTo>
                    <a:cubicBezTo>
                      <a:pt x="120000" y="100000"/>
                      <a:pt x="120000" y="120000"/>
                      <a:pt x="98181" y="100000"/>
                    </a:cubicBezTo>
                    <a:cubicBezTo>
                      <a:pt x="76363" y="100000"/>
                      <a:pt x="43636" y="80000"/>
                      <a:pt x="32727" y="80000"/>
                    </a:cubicBezTo>
                    <a:cubicBezTo>
                      <a:pt x="21818" y="60000"/>
                      <a:pt x="0" y="0"/>
                      <a:pt x="21818" y="20000"/>
                    </a:cubicBezTo>
                    <a:cubicBezTo>
                      <a:pt x="43636" y="40000"/>
                      <a:pt x="76363" y="60000"/>
                      <a:pt x="98181" y="80000"/>
                    </a:cubicBezTo>
                    <a:cubicBezTo>
                      <a:pt x="120000" y="100000"/>
                      <a:pt x="76363" y="60000"/>
                      <a:pt x="98181" y="8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6" name="Shape 2657">
                <a:extLst>
                  <a:ext uri="{FF2B5EF4-FFF2-40B4-BE49-F238E27FC236}">
                    <a16:creationId xmlns:a16="http://schemas.microsoft.com/office/drawing/2014/main" id="{2A088BD8-1DAC-470B-BD2A-DA884A256FD5}"/>
                  </a:ext>
                </a:extLst>
              </p:cNvPr>
              <p:cNvSpPr/>
              <p:nvPr/>
            </p:nvSpPr>
            <p:spPr>
              <a:xfrm>
                <a:off x="9853440" y="4610000"/>
                <a:ext cx="68966" cy="40242"/>
              </a:xfrm>
              <a:custGeom>
                <a:avLst/>
                <a:gdLst/>
                <a:ahLst/>
                <a:cxnLst/>
                <a:rect l="0" t="0" r="0" b="0"/>
                <a:pathLst>
                  <a:path w="120000" h="120000" extrusionOk="0">
                    <a:moveTo>
                      <a:pt x="120000" y="72000"/>
                    </a:moveTo>
                    <a:cubicBezTo>
                      <a:pt x="120000" y="120000"/>
                      <a:pt x="0" y="96000"/>
                      <a:pt x="0" y="48000"/>
                    </a:cubicBezTo>
                    <a:cubicBezTo>
                      <a:pt x="0" y="0"/>
                      <a:pt x="120000" y="24000"/>
                      <a:pt x="120000" y="72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7" name="Shape 2658">
                <a:extLst>
                  <a:ext uri="{FF2B5EF4-FFF2-40B4-BE49-F238E27FC236}">
                    <a16:creationId xmlns:a16="http://schemas.microsoft.com/office/drawing/2014/main" id="{76E587A4-0816-4A77-9329-76D7EAE9CBA9}"/>
                  </a:ext>
                </a:extLst>
              </p:cNvPr>
              <p:cNvSpPr/>
              <p:nvPr/>
            </p:nvSpPr>
            <p:spPr>
              <a:xfrm>
                <a:off x="10942563" y="4719232"/>
                <a:ext cx="48853" cy="34493"/>
              </a:xfrm>
              <a:custGeom>
                <a:avLst/>
                <a:gdLst/>
                <a:ahLst/>
                <a:cxnLst/>
                <a:rect l="0" t="0" r="0" b="0"/>
                <a:pathLst>
                  <a:path w="120000" h="120000" extrusionOk="0">
                    <a:moveTo>
                      <a:pt x="100000" y="90000"/>
                    </a:moveTo>
                    <a:cubicBezTo>
                      <a:pt x="80000" y="120000"/>
                      <a:pt x="0" y="0"/>
                      <a:pt x="20000" y="0"/>
                    </a:cubicBezTo>
                    <a:cubicBezTo>
                      <a:pt x="40000" y="0"/>
                      <a:pt x="120000" y="60000"/>
                      <a:pt x="100000" y="9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8" name="Shape 2659">
                <a:extLst>
                  <a:ext uri="{FF2B5EF4-FFF2-40B4-BE49-F238E27FC236}">
                    <a16:creationId xmlns:a16="http://schemas.microsoft.com/office/drawing/2014/main" id="{6E36687C-2E44-4A82-81A6-DA0E2C7103DC}"/>
                  </a:ext>
                </a:extLst>
              </p:cNvPr>
              <p:cNvSpPr/>
              <p:nvPr/>
            </p:nvSpPr>
            <p:spPr>
              <a:xfrm>
                <a:off x="11008659" y="4753723"/>
                <a:ext cx="43104" cy="8625"/>
              </a:xfrm>
              <a:custGeom>
                <a:avLst/>
                <a:gdLst/>
                <a:ahLst/>
                <a:cxnLst/>
                <a:rect l="0" t="0" r="0" b="0"/>
                <a:pathLst>
                  <a:path w="120000" h="120000" extrusionOk="0">
                    <a:moveTo>
                      <a:pt x="96000" y="120000"/>
                    </a:moveTo>
                    <a:cubicBezTo>
                      <a:pt x="48000" y="120000"/>
                      <a:pt x="0" y="0"/>
                      <a:pt x="48000" y="0"/>
                    </a:cubicBezTo>
                    <a:cubicBezTo>
                      <a:pt x="72000" y="0"/>
                      <a:pt x="120000" y="120000"/>
                      <a:pt x="96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09" name="Shape 2660">
                <a:extLst>
                  <a:ext uri="{FF2B5EF4-FFF2-40B4-BE49-F238E27FC236}">
                    <a16:creationId xmlns:a16="http://schemas.microsoft.com/office/drawing/2014/main" id="{901021A2-3EF4-4CE4-BCFC-6EE2EC90FF23}"/>
                  </a:ext>
                </a:extLst>
              </p:cNvPr>
              <p:cNvSpPr/>
              <p:nvPr/>
            </p:nvSpPr>
            <p:spPr>
              <a:xfrm>
                <a:off x="11008659" y="5233752"/>
                <a:ext cx="34484" cy="60363"/>
              </a:xfrm>
              <a:custGeom>
                <a:avLst/>
                <a:gdLst/>
                <a:ahLst/>
                <a:cxnLst/>
                <a:rect l="0" t="0" r="0" b="0"/>
                <a:pathLst>
                  <a:path w="120000" h="120000" extrusionOk="0">
                    <a:moveTo>
                      <a:pt x="60000" y="0"/>
                    </a:moveTo>
                    <a:cubicBezTo>
                      <a:pt x="0" y="0"/>
                      <a:pt x="90000" y="119999"/>
                      <a:pt x="120000" y="119999"/>
                    </a:cubicBezTo>
                    <a:cubicBezTo>
                      <a:pt x="120000" y="119999"/>
                      <a:pt x="90000" y="0"/>
                      <a:pt x="6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0" name="Shape 2661">
                <a:extLst>
                  <a:ext uri="{FF2B5EF4-FFF2-40B4-BE49-F238E27FC236}">
                    <a16:creationId xmlns:a16="http://schemas.microsoft.com/office/drawing/2014/main" id="{918E4E20-1AF7-4527-AD69-C79FEED79A0C}"/>
                  </a:ext>
                </a:extLst>
              </p:cNvPr>
              <p:cNvSpPr/>
              <p:nvPr/>
            </p:nvSpPr>
            <p:spPr>
              <a:xfrm>
                <a:off x="11025901" y="5342980"/>
                <a:ext cx="57473" cy="34493"/>
              </a:xfrm>
              <a:custGeom>
                <a:avLst/>
                <a:gdLst/>
                <a:ahLst/>
                <a:cxnLst/>
                <a:rect l="0" t="0" r="0" b="0"/>
                <a:pathLst>
                  <a:path w="120000" h="120000" extrusionOk="0">
                    <a:moveTo>
                      <a:pt x="17142" y="0"/>
                    </a:moveTo>
                    <a:cubicBezTo>
                      <a:pt x="0" y="30000"/>
                      <a:pt x="0" y="90000"/>
                      <a:pt x="17142" y="120000"/>
                    </a:cubicBezTo>
                    <a:cubicBezTo>
                      <a:pt x="34285" y="120000"/>
                      <a:pt x="51428" y="120000"/>
                      <a:pt x="85714" y="120000"/>
                    </a:cubicBezTo>
                    <a:cubicBezTo>
                      <a:pt x="119999" y="120000"/>
                      <a:pt x="17142" y="0"/>
                      <a:pt x="17142" y="0"/>
                    </a:cubicBezTo>
                    <a:cubicBezTo>
                      <a:pt x="0" y="30000"/>
                      <a:pt x="17142" y="0"/>
                      <a:pt x="17142"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1" name="Shape 2662">
                <a:extLst>
                  <a:ext uri="{FF2B5EF4-FFF2-40B4-BE49-F238E27FC236}">
                    <a16:creationId xmlns:a16="http://schemas.microsoft.com/office/drawing/2014/main" id="{D428FBB1-6B56-479A-A1BF-F4B63D84B391}"/>
                  </a:ext>
                </a:extLst>
              </p:cNvPr>
              <p:cNvSpPr/>
              <p:nvPr/>
            </p:nvSpPr>
            <p:spPr>
              <a:xfrm>
                <a:off x="10790258" y="5529819"/>
                <a:ext cx="143683" cy="83358"/>
              </a:xfrm>
              <a:custGeom>
                <a:avLst/>
                <a:gdLst/>
                <a:ahLst/>
                <a:cxnLst/>
                <a:rect l="0" t="0" r="0" b="0"/>
                <a:pathLst>
                  <a:path w="120000" h="120000" extrusionOk="0">
                    <a:moveTo>
                      <a:pt x="0" y="48000"/>
                    </a:moveTo>
                    <a:cubicBezTo>
                      <a:pt x="7058" y="0"/>
                      <a:pt x="49411" y="24000"/>
                      <a:pt x="70588" y="24000"/>
                    </a:cubicBezTo>
                    <a:cubicBezTo>
                      <a:pt x="120000" y="36000"/>
                      <a:pt x="56470" y="48000"/>
                      <a:pt x="56470" y="48000"/>
                    </a:cubicBezTo>
                    <a:cubicBezTo>
                      <a:pt x="56470" y="72000"/>
                      <a:pt x="84705" y="60000"/>
                      <a:pt x="84705" y="84000"/>
                    </a:cubicBezTo>
                    <a:cubicBezTo>
                      <a:pt x="84705" y="84000"/>
                      <a:pt x="70588" y="72000"/>
                      <a:pt x="63529" y="84000"/>
                    </a:cubicBezTo>
                    <a:cubicBezTo>
                      <a:pt x="63529" y="84000"/>
                      <a:pt x="84705" y="120000"/>
                      <a:pt x="77647" y="120000"/>
                    </a:cubicBezTo>
                    <a:cubicBezTo>
                      <a:pt x="70588" y="120000"/>
                      <a:pt x="63529" y="108000"/>
                      <a:pt x="56470" y="108000"/>
                    </a:cubicBezTo>
                    <a:cubicBezTo>
                      <a:pt x="42352" y="96000"/>
                      <a:pt x="0" y="84000"/>
                      <a:pt x="0" y="48000"/>
                    </a:cubicBezTo>
                    <a:cubicBezTo>
                      <a:pt x="0" y="36000"/>
                      <a:pt x="0" y="84000"/>
                      <a:pt x="0" y="48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2" name="Shape 2663">
                <a:extLst>
                  <a:ext uri="{FF2B5EF4-FFF2-40B4-BE49-F238E27FC236}">
                    <a16:creationId xmlns:a16="http://schemas.microsoft.com/office/drawing/2014/main" id="{AFD82AEB-6963-424A-91B7-E05B77FA725C}"/>
                  </a:ext>
                </a:extLst>
              </p:cNvPr>
              <p:cNvSpPr/>
              <p:nvPr/>
            </p:nvSpPr>
            <p:spPr>
              <a:xfrm>
                <a:off x="10764397" y="5512573"/>
                <a:ext cx="74715" cy="25872"/>
              </a:xfrm>
              <a:custGeom>
                <a:avLst/>
                <a:gdLst/>
                <a:ahLst/>
                <a:cxnLst/>
                <a:rect l="0" t="0" r="0" b="0"/>
                <a:pathLst>
                  <a:path w="120000" h="120000" extrusionOk="0">
                    <a:moveTo>
                      <a:pt x="106666" y="40000"/>
                    </a:moveTo>
                    <a:cubicBezTo>
                      <a:pt x="120000" y="40000"/>
                      <a:pt x="66666" y="0"/>
                      <a:pt x="66666" y="0"/>
                    </a:cubicBezTo>
                    <a:cubicBezTo>
                      <a:pt x="40000" y="0"/>
                      <a:pt x="13333" y="0"/>
                      <a:pt x="0" y="0"/>
                    </a:cubicBezTo>
                    <a:cubicBezTo>
                      <a:pt x="26666" y="0"/>
                      <a:pt x="80000" y="120000"/>
                      <a:pt x="106666" y="40000"/>
                    </a:cubicBezTo>
                    <a:cubicBezTo>
                      <a:pt x="120000" y="40000"/>
                      <a:pt x="93333" y="80000"/>
                      <a:pt x="106666"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3" name="Shape 2664">
                <a:extLst>
                  <a:ext uri="{FF2B5EF4-FFF2-40B4-BE49-F238E27FC236}">
                    <a16:creationId xmlns:a16="http://schemas.microsoft.com/office/drawing/2014/main" id="{3B1D3555-8AFE-4F03-9914-F36632CF4FD4}"/>
                  </a:ext>
                </a:extLst>
              </p:cNvPr>
              <p:cNvSpPr/>
              <p:nvPr/>
            </p:nvSpPr>
            <p:spPr>
              <a:xfrm>
                <a:off x="10646575" y="5690787"/>
                <a:ext cx="109198" cy="57489"/>
              </a:xfrm>
              <a:custGeom>
                <a:avLst/>
                <a:gdLst/>
                <a:ahLst/>
                <a:cxnLst/>
                <a:rect l="0" t="0" r="0" b="0"/>
                <a:pathLst>
                  <a:path w="120000" h="120000" extrusionOk="0">
                    <a:moveTo>
                      <a:pt x="110769" y="68571"/>
                    </a:moveTo>
                    <a:cubicBezTo>
                      <a:pt x="120000" y="51428"/>
                      <a:pt x="120000" y="34285"/>
                      <a:pt x="110769" y="17142"/>
                    </a:cubicBezTo>
                    <a:cubicBezTo>
                      <a:pt x="101538" y="0"/>
                      <a:pt x="73846" y="17142"/>
                      <a:pt x="64615" y="34285"/>
                    </a:cubicBezTo>
                    <a:cubicBezTo>
                      <a:pt x="55384" y="34285"/>
                      <a:pt x="36923" y="34285"/>
                      <a:pt x="27692" y="51428"/>
                    </a:cubicBezTo>
                    <a:cubicBezTo>
                      <a:pt x="27692" y="51428"/>
                      <a:pt x="0" y="85714"/>
                      <a:pt x="0" y="85714"/>
                    </a:cubicBezTo>
                    <a:cubicBezTo>
                      <a:pt x="27692" y="119999"/>
                      <a:pt x="92307" y="102857"/>
                      <a:pt x="110769" y="68571"/>
                    </a:cubicBezTo>
                    <a:cubicBezTo>
                      <a:pt x="120000" y="51428"/>
                      <a:pt x="83076" y="102857"/>
                      <a:pt x="110769" y="68571"/>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4" name="Shape 2665">
                <a:extLst>
                  <a:ext uri="{FF2B5EF4-FFF2-40B4-BE49-F238E27FC236}">
                    <a16:creationId xmlns:a16="http://schemas.microsoft.com/office/drawing/2014/main" id="{9AB56833-120A-4E72-9A01-8B80F160C549}"/>
                  </a:ext>
                </a:extLst>
              </p:cNvPr>
              <p:cNvSpPr/>
              <p:nvPr/>
            </p:nvSpPr>
            <p:spPr>
              <a:xfrm>
                <a:off x="9652284" y="5774146"/>
                <a:ext cx="34484" cy="51738"/>
              </a:xfrm>
              <a:custGeom>
                <a:avLst/>
                <a:gdLst/>
                <a:ahLst/>
                <a:cxnLst/>
                <a:rect l="0" t="0" r="0" b="0"/>
                <a:pathLst>
                  <a:path w="120000" h="120000" extrusionOk="0">
                    <a:moveTo>
                      <a:pt x="90000" y="40000"/>
                    </a:moveTo>
                    <a:cubicBezTo>
                      <a:pt x="60000" y="0"/>
                      <a:pt x="30000" y="20000"/>
                      <a:pt x="30000" y="60000"/>
                    </a:cubicBezTo>
                    <a:cubicBezTo>
                      <a:pt x="0" y="120000"/>
                      <a:pt x="120000" y="80000"/>
                      <a:pt x="90000" y="40000"/>
                    </a:cubicBezTo>
                    <a:cubicBezTo>
                      <a:pt x="90000" y="40000"/>
                      <a:pt x="120000" y="60000"/>
                      <a:pt x="9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5" name="Shape 2666">
                <a:extLst>
                  <a:ext uri="{FF2B5EF4-FFF2-40B4-BE49-F238E27FC236}">
                    <a16:creationId xmlns:a16="http://schemas.microsoft.com/office/drawing/2014/main" id="{4F77AA5E-ED9B-45E2-926E-27A55F1AF3C5}"/>
                  </a:ext>
                </a:extLst>
              </p:cNvPr>
              <p:cNvSpPr/>
              <p:nvPr/>
            </p:nvSpPr>
            <p:spPr>
              <a:xfrm>
                <a:off x="9577568" y="5664918"/>
                <a:ext cx="31611" cy="34493"/>
              </a:xfrm>
              <a:custGeom>
                <a:avLst/>
                <a:gdLst/>
                <a:ahLst/>
                <a:cxnLst/>
                <a:rect l="0" t="0" r="0" b="0"/>
                <a:pathLst>
                  <a:path w="120000" h="120000" extrusionOk="0">
                    <a:moveTo>
                      <a:pt x="120000" y="60000"/>
                    </a:moveTo>
                    <a:cubicBezTo>
                      <a:pt x="90000" y="60000"/>
                      <a:pt x="30000" y="0"/>
                      <a:pt x="30000" y="30000"/>
                    </a:cubicBezTo>
                    <a:cubicBezTo>
                      <a:pt x="0" y="120000"/>
                      <a:pt x="120000" y="60000"/>
                      <a:pt x="120000" y="60000"/>
                    </a:cubicBezTo>
                    <a:cubicBezTo>
                      <a:pt x="90000" y="60000"/>
                      <a:pt x="120000" y="60000"/>
                      <a:pt x="12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6" name="Shape 2667">
                <a:extLst>
                  <a:ext uri="{FF2B5EF4-FFF2-40B4-BE49-F238E27FC236}">
                    <a16:creationId xmlns:a16="http://schemas.microsoft.com/office/drawing/2014/main" id="{3D905608-B526-44AE-BE0D-801EC80C3D6F}"/>
                  </a:ext>
                </a:extLst>
              </p:cNvPr>
              <p:cNvSpPr/>
              <p:nvPr/>
            </p:nvSpPr>
            <p:spPr>
              <a:xfrm>
                <a:off x="11060383" y="5124526"/>
                <a:ext cx="17242" cy="17246"/>
              </a:xfrm>
              <a:custGeom>
                <a:avLst/>
                <a:gdLst/>
                <a:ahLst/>
                <a:cxnLst/>
                <a:rect l="0" t="0" r="0" b="0"/>
                <a:pathLst>
                  <a:path w="120000" h="120000" extrusionOk="0">
                    <a:moveTo>
                      <a:pt x="120000" y="60000"/>
                    </a:moveTo>
                    <a:cubicBezTo>
                      <a:pt x="120000" y="0"/>
                      <a:pt x="0" y="60000"/>
                      <a:pt x="0" y="120000"/>
                    </a:cubicBezTo>
                    <a:cubicBezTo>
                      <a:pt x="60000" y="120000"/>
                      <a:pt x="120000" y="120000"/>
                      <a:pt x="120000" y="6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7" name="Shape 2668">
                <a:extLst>
                  <a:ext uri="{FF2B5EF4-FFF2-40B4-BE49-F238E27FC236}">
                    <a16:creationId xmlns:a16="http://schemas.microsoft.com/office/drawing/2014/main" id="{5A59CACC-CF88-4F3E-92D0-24E0A4090112}"/>
                  </a:ext>
                </a:extLst>
              </p:cNvPr>
              <p:cNvSpPr/>
              <p:nvPr/>
            </p:nvSpPr>
            <p:spPr>
              <a:xfrm>
                <a:off x="10991415" y="5032543"/>
                <a:ext cx="25864" cy="14372"/>
              </a:xfrm>
              <a:custGeom>
                <a:avLst/>
                <a:gdLst/>
                <a:ahLst/>
                <a:cxnLst/>
                <a:rect l="0" t="0" r="0" b="0"/>
                <a:pathLst>
                  <a:path w="120000" h="120000" extrusionOk="0">
                    <a:moveTo>
                      <a:pt x="80000" y="0"/>
                    </a:moveTo>
                    <a:cubicBezTo>
                      <a:pt x="40000" y="0"/>
                      <a:pt x="0" y="60000"/>
                      <a:pt x="40000" y="60000"/>
                    </a:cubicBezTo>
                    <a:cubicBezTo>
                      <a:pt x="80000" y="120000"/>
                      <a:pt x="120000" y="60000"/>
                      <a:pt x="8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8" name="Shape 2669">
                <a:extLst>
                  <a:ext uri="{FF2B5EF4-FFF2-40B4-BE49-F238E27FC236}">
                    <a16:creationId xmlns:a16="http://schemas.microsoft.com/office/drawing/2014/main" id="{86A71D73-6520-4BAE-B086-ED36ECB16E26}"/>
                  </a:ext>
                </a:extLst>
              </p:cNvPr>
              <p:cNvSpPr/>
              <p:nvPr/>
            </p:nvSpPr>
            <p:spPr>
              <a:xfrm>
                <a:off x="11060383" y="4998049"/>
                <a:ext cx="22988" cy="25872"/>
              </a:xfrm>
              <a:custGeom>
                <a:avLst/>
                <a:gdLst/>
                <a:ahLst/>
                <a:cxnLst/>
                <a:rect l="0" t="0" r="0" b="0"/>
                <a:pathLst>
                  <a:path w="120000" h="120000" extrusionOk="0">
                    <a:moveTo>
                      <a:pt x="80000" y="40000"/>
                    </a:moveTo>
                    <a:cubicBezTo>
                      <a:pt x="80000" y="0"/>
                      <a:pt x="0" y="40000"/>
                      <a:pt x="40000" y="80000"/>
                    </a:cubicBezTo>
                    <a:cubicBezTo>
                      <a:pt x="40000" y="120000"/>
                      <a:pt x="120000" y="40000"/>
                      <a:pt x="80000" y="4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19" name="Shape 2670">
                <a:extLst>
                  <a:ext uri="{FF2B5EF4-FFF2-40B4-BE49-F238E27FC236}">
                    <a16:creationId xmlns:a16="http://schemas.microsoft.com/office/drawing/2014/main" id="{2E5B7271-EE15-494D-A24D-7B06A338EE54}"/>
                  </a:ext>
                </a:extLst>
              </p:cNvPr>
              <p:cNvSpPr/>
              <p:nvPr/>
            </p:nvSpPr>
            <p:spPr>
              <a:xfrm>
                <a:off x="8758569" y="5167642"/>
                <a:ext cx="43104" cy="5747"/>
              </a:xfrm>
              <a:custGeom>
                <a:avLst/>
                <a:gdLst/>
                <a:ahLst/>
                <a:cxnLst/>
                <a:rect l="0" t="0" r="0" b="0"/>
                <a:pathLst>
                  <a:path w="120000" h="120000" extrusionOk="0">
                    <a:moveTo>
                      <a:pt x="120000" y="120000"/>
                    </a:moveTo>
                    <a:cubicBezTo>
                      <a:pt x="96000" y="0"/>
                      <a:pt x="0" y="0"/>
                      <a:pt x="24000" y="0"/>
                    </a:cubicBezTo>
                    <a:cubicBezTo>
                      <a:pt x="48000" y="120000"/>
                      <a:pt x="120000" y="120000"/>
                      <a:pt x="12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20" name="Shape 2671">
                <a:extLst>
                  <a:ext uri="{FF2B5EF4-FFF2-40B4-BE49-F238E27FC236}">
                    <a16:creationId xmlns:a16="http://schemas.microsoft.com/office/drawing/2014/main" id="{8137B2DD-4DC5-4C8E-AE71-6B470F9D2F73}"/>
                  </a:ext>
                </a:extLst>
              </p:cNvPr>
              <p:cNvSpPr/>
              <p:nvPr/>
            </p:nvSpPr>
            <p:spPr>
              <a:xfrm>
                <a:off x="8810295" y="5167642"/>
                <a:ext cx="51724" cy="0"/>
              </a:xfrm>
              <a:custGeom>
                <a:avLst/>
                <a:gdLst/>
                <a:ahLst/>
                <a:cxnLst/>
                <a:rect l="0" t="0" r="0" b="0"/>
                <a:pathLst>
                  <a:path w="120000" h="120000" extrusionOk="0">
                    <a:moveTo>
                      <a:pt x="100000" y="0"/>
                    </a:moveTo>
                    <a:cubicBezTo>
                      <a:pt x="80000" y="0"/>
                      <a:pt x="0" y="0"/>
                      <a:pt x="20000" y="0"/>
                    </a:cubicBezTo>
                    <a:cubicBezTo>
                      <a:pt x="40000" y="0"/>
                      <a:pt x="120000" y="0"/>
                      <a:pt x="100000" y="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21" name="Shape 2672">
                <a:extLst>
                  <a:ext uri="{FF2B5EF4-FFF2-40B4-BE49-F238E27FC236}">
                    <a16:creationId xmlns:a16="http://schemas.microsoft.com/office/drawing/2014/main" id="{2CE80476-8491-4E91-A56F-C3B6C4964DE2}"/>
                  </a:ext>
                </a:extLst>
              </p:cNvPr>
              <p:cNvSpPr/>
              <p:nvPr/>
            </p:nvSpPr>
            <p:spPr>
              <a:xfrm>
                <a:off x="9778728" y="4633002"/>
                <a:ext cx="34484" cy="17246"/>
              </a:xfrm>
              <a:custGeom>
                <a:avLst/>
                <a:gdLst/>
                <a:ahLst/>
                <a:cxnLst/>
                <a:rect l="0" t="0" r="0" b="0"/>
                <a:pathLst>
                  <a:path w="120000" h="120000" extrusionOk="0">
                    <a:moveTo>
                      <a:pt x="90000" y="120000"/>
                    </a:moveTo>
                    <a:cubicBezTo>
                      <a:pt x="30000" y="120000"/>
                      <a:pt x="0" y="0"/>
                      <a:pt x="60000" y="0"/>
                    </a:cubicBezTo>
                    <a:cubicBezTo>
                      <a:pt x="90000" y="0"/>
                      <a:pt x="120000" y="120000"/>
                      <a:pt x="90000" y="12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sp>
            <p:nvSpPr>
              <p:cNvPr id="422" name="Shape 2673">
                <a:extLst>
                  <a:ext uri="{FF2B5EF4-FFF2-40B4-BE49-F238E27FC236}">
                    <a16:creationId xmlns:a16="http://schemas.microsoft.com/office/drawing/2014/main" id="{7267C852-BD7D-4CA7-B5AA-F395985D2850}"/>
                  </a:ext>
                </a:extLst>
              </p:cNvPr>
              <p:cNvSpPr/>
              <p:nvPr/>
            </p:nvSpPr>
            <p:spPr>
              <a:xfrm>
                <a:off x="6189503" y="6693939"/>
                <a:ext cx="77590" cy="100604"/>
              </a:xfrm>
              <a:custGeom>
                <a:avLst/>
                <a:gdLst/>
                <a:ahLst/>
                <a:cxnLst/>
                <a:rect l="0" t="0" r="0" b="0"/>
                <a:pathLst>
                  <a:path w="120000" h="120000" extrusionOk="0">
                    <a:moveTo>
                      <a:pt x="120000" y="110000"/>
                    </a:moveTo>
                    <a:cubicBezTo>
                      <a:pt x="106666" y="80000"/>
                      <a:pt x="93333" y="40000"/>
                      <a:pt x="66666" y="20000"/>
                    </a:cubicBezTo>
                    <a:cubicBezTo>
                      <a:pt x="53333" y="10000"/>
                      <a:pt x="40000" y="0"/>
                      <a:pt x="26666" y="20000"/>
                    </a:cubicBezTo>
                    <a:cubicBezTo>
                      <a:pt x="26666" y="20000"/>
                      <a:pt x="0" y="20000"/>
                      <a:pt x="0" y="30000"/>
                    </a:cubicBezTo>
                    <a:cubicBezTo>
                      <a:pt x="13333" y="40000"/>
                      <a:pt x="40000" y="30000"/>
                      <a:pt x="40000" y="50000"/>
                    </a:cubicBezTo>
                    <a:cubicBezTo>
                      <a:pt x="40000" y="60000"/>
                      <a:pt x="40000" y="60000"/>
                      <a:pt x="40000" y="70000"/>
                    </a:cubicBezTo>
                    <a:cubicBezTo>
                      <a:pt x="40000" y="80000"/>
                      <a:pt x="53333" y="70000"/>
                      <a:pt x="53333" y="70000"/>
                    </a:cubicBezTo>
                    <a:cubicBezTo>
                      <a:pt x="66666" y="80000"/>
                      <a:pt x="40000" y="80000"/>
                      <a:pt x="40000" y="80000"/>
                    </a:cubicBezTo>
                    <a:cubicBezTo>
                      <a:pt x="40000" y="90000"/>
                      <a:pt x="66666" y="110000"/>
                      <a:pt x="80000" y="110000"/>
                    </a:cubicBezTo>
                    <a:cubicBezTo>
                      <a:pt x="80000" y="110000"/>
                      <a:pt x="26666" y="70000"/>
                      <a:pt x="80000" y="90000"/>
                    </a:cubicBezTo>
                    <a:cubicBezTo>
                      <a:pt x="93333" y="90000"/>
                      <a:pt x="120000" y="120000"/>
                      <a:pt x="120000" y="110000"/>
                    </a:cubicBezTo>
                    <a:cubicBezTo>
                      <a:pt x="106666" y="100000"/>
                      <a:pt x="120000" y="120000"/>
                      <a:pt x="120000" y="110000"/>
                    </a:cubicBezTo>
                    <a:close/>
                  </a:path>
                </a:pathLst>
              </a:custGeom>
              <a:grpFill/>
              <a:ln w="3175" cap="flat" cmpd="sng">
                <a:solidFill>
                  <a:schemeClr val="tx1"/>
                </a:solidFill>
                <a:prstDash val="solid"/>
                <a:round/>
                <a:headEnd type="none" w="med" len="med"/>
                <a:tailEnd type="none" w="med" len="med"/>
              </a:ln>
            </p:spPr>
            <p:txBody>
              <a:bodyPr lIns="91374" tIns="45675" rIns="91374" bIns="45675" anchor="t" anchorCtr="0">
                <a:noAutofit/>
              </a:bodyPr>
              <a:lstStyle/>
              <a:p>
                <a:pPr defTabSz="913698"/>
                <a:endParaRPr sz="3600">
                  <a:solidFill>
                    <a:srgbClr val="E6E6E6">
                      <a:lumMod val="50000"/>
                    </a:srgbClr>
                  </a:solidFill>
                  <a:latin typeface="Lato"/>
                  <a:ea typeface="Lato"/>
                  <a:cs typeface="Lato"/>
                  <a:sym typeface="Lato"/>
                </a:endParaRPr>
              </a:p>
            </p:txBody>
          </p:sp>
        </p:grpSp>
        <p:grpSp>
          <p:nvGrpSpPr>
            <p:cNvPr id="425" name="Group 424">
              <a:extLst>
                <a:ext uri="{FF2B5EF4-FFF2-40B4-BE49-F238E27FC236}">
                  <a16:creationId xmlns:a16="http://schemas.microsoft.com/office/drawing/2014/main" id="{BEA065F4-5D60-4137-AD9A-471B186CB96D}"/>
                </a:ext>
              </a:extLst>
            </p:cNvPr>
            <p:cNvGrpSpPr/>
            <p:nvPr/>
          </p:nvGrpSpPr>
          <p:grpSpPr>
            <a:xfrm>
              <a:off x="5703474" y="3238190"/>
              <a:ext cx="5775142" cy="2118885"/>
              <a:chOff x="4670796" y="1546430"/>
              <a:chExt cx="6556689" cy="2405628"/>
            </a:xfrm>
          </p:grpSpPr>
          <p:sp>
            <p:nvSpPr>
              <p:cNvPr id="426" name="Oval 425">
                <a:extLst>
                  <a:ext uri="{FF2B5EF4-FFF2-40B4-BE49-F238E27FC236}">
                    <a16:creationId xmlns:a16="http://schemas.microsoft.com/office/drawing/2014/main" id="{07A614BE-9D04-48F2-B595-EFF9D01443A2}"/>
                  </a:ext>
                </a:extLst>
              </p:cNvPr>
              <p:cNvSpPr/>
              <p:nvPr/>
            </p:nvSpPr>
            <p:spPr bwMode="auto">
              <a:xfrm>
                <a:off x="4670796" y="1939823"/>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7" name="Oval 426">
                <a:extLst>
                  <a:ext uri="{FF2B5EF4-FFF2-40B4-BE49-F238E27FC236}">
                    <a16:creationId xmlns:a16="http://schemas.microsoft.com/office/drawing/2014/main" id="{49EF9608-B8B6-4B52-B50B-1A4F069CF530}"/>
                  </a:ext>
                </a:extLst>
              </p:cNvPr>
              <p:cNvSpPr/>
              <p:nvPr/>
            </p:nvSpPr>
            <p:spPr bwMode="auto">
              <a:xfrm>
                <a:off x="4725907" y="2033842"/>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Oval 427">
                <a:extLst>
                  <a:ext uri="{FF2B5EF4-FFF2-40B4-BE49-F238E27FC236}">
                    <a16:creationId xmlns:a16="http://schemas.microsoft.com/office/drawing/2014/main" id="{C085385F-5B07-4C8A-90DB-5489D7E77B2E}"/>
                  </a:ext>
                </a:extLst>
              </p:cNvPr>
              <p:cNvSpPr/>
              <p:nvPr/>
            </p:nvSpPr>
            <p:spPr bwMode="auto">
              <a:xfrm>
                <a:off x="4927027" y="2099916"/>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05D8999D-B634-4190-AF97-4728AB3DA21D}"/>
                  </a:ext>
                </a:extLst>
              </p:cNvPr>
              <p:cNvSpPr/>
              <p:nvPr/>
            </p:nvSpPr>
            <p:spPr bwMode="auto">
              <a:xfrm>
                <a:off x="5081374" y="1874437"/>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485F207-9B22-48D6-9A64-2FA4DF1824DD}"/>
                  </a:ext>
                </a:extLst>
              </p:cNvPr>
              <p:cNvSpPr/>
              <p:nvPr/>
            </p:nvSpPr>
            <p:spPr bwMode="auto">
              <a:xfrm>
                <a:off x="5388108" y="1823194"/>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Oval 430">
                <a:extLst>
                  <a:ext uri="{FF2B5EF4-FFF2-40B4-BE49-F238E27FC236}">
                    <a16:creationId xmlns:a16="http://schemas.microsoft.com/office/drawing/2014/main" id="{27A96EB6-D0D4-401A-BD5B-3B183FF34ABA}"/>
                  </a:ext>
                </a:extLst>
              </p:cNvPr>
              <p:cNvSpPr/>
              <p:nvPr/>
            </p:nvSpPr>
            <p:spPr bwMode="auto">
              <a:xfrm>
                <a:off x="5478014" y="1919869"/>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Oval 431">
                <a:extLst>
                  <a:ext uri="{FF2B5EF4-FFF2-40B4-BE49-F238E27FC236}">
                    <a16:creationId xmlns:a16="http://schemas.microsoft.com/office/drawing/2014/main" id="{3C5D34F8-26F0-4183-9D01-F9BAE4DFB0CF}"/>
                  </a:ext>
                </a:extLst>
              </p:cNvPr>
              <p:cNvSpPr/>
              <p:nvPr/>
            </p:nvSpPr>
            <p:spPr bwMode="auto">
              <a:xfrm>
                <a:off x="5691202" y="1822657"/>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a:extLst>
                  <a:ext uri="{FF2B5EF4-FFF2-40B4-BE49-F238E27FC236}">
                    <a16:creationId xmlns:a16="http://schemas.microsoft.com/office/drawing/2014/main" id="{DE3E5D90-4E8F-464A-AC7F-568B31683A5B}"/>
                  </a:ext>
                </a:extLst>
              </p:cNvPr>
              <p:cNvSpPr/>
              <p:nvPr/>
            </p:nvSpPr>
            <p:spPr bwMode="auto">
              <a:xfrm>
                <a:off x="5901765" y="1761353"/>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a:extLst>
                  <a:ext uri="{FF2B5EF4-FFF2-40B4-BE49-F238E27FC236}">
                    <a16:creationId xmlns:a16="http://schemas.microsoft.com/office/drawing/2014/main" id="{DE0C329D-7B93-48D0-9873-D48D3A6DF38A}"/>
                  </a:ext>
                </a:extLst>
              </p:cNvPr>
              <p:cNvSpPr/>
              <p:nvPr/>
            </p:nvSpPr>
            <p:spPr bwMode="auto">
              <a:xfrm>
                <a:off x="5674989" y="2127493"/>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Oval 434">
                <a:extLst>
                  <a:ext uri="{FF2B5EF4-FFF2-40B4-BE49-F238E27FC236}">
                    <a16:creationId xmlns:a16="http://schemas.microsoft.com/office/drawing/2014/main" id="{9977A04B-60CE-416E-8F19-1102468E55CC}"/>
                  </a:ext>
                </a:extLst>
              </p:cNvPr>
              <p:cNvSpPr/>
              <p:nvPr/>
            </p:nvSpPr>
            <p:spPr bwMode="auto">
              <a:xfrm>
                <a:off x="5420664" y="2214800"/>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Oval 435">
                <a:extLst>
                  <a:ext uri="{FF2B5EF4-FFF2-40B4-BE49-F238E27FC236}">
                    <a16:creationId xmlns:a16="http://schemas.microsoft.com/office/drawing/2014/main" id="{42D2E9AC-DB3F-4277-9F87-50F71EB4B9AE}"/>
                  </a:ext>
                </a:extLst>
              </p:cNvPr>
              <p:cNvSpPr/>
              <p:nvPr/>
            </p:nvSpPr>
            <p:spPr bwMode="auto">
              <a:xfrm>
                <a:off x="5256815" y="2252420"/>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a:extLst>
                  <a:ext uri="{FF2B5EF4-FFF2-40B4-BE49-F238E27FC236}">
                    <a16:creationId xmlns:a16="http://schemas.microsoft.com/office/drawing/2014/main" id="{4F454C97-59DC-4834-BEB3-C62F86BEFE91}"/>
                  </a:ext>
                </a:extLst>
              </p:cNvPr>
              <p:cNvSpPr/>
              <p:nvPr/>
            </p:nvSpPr>
            <p:spPr bwMode="auto">
              <a:xfrm>
                <a:off x="7319392" y="1546430"/>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a:extLst>
                  <a:ext uri="{FF2B5EF4-FFF2-40B4-BE49-F238E27FC236}">
                    <a16:creationId xmlns:a16="http://schemas.microsoft.com/office/drawing/2014/main" id="{D56388B9-F47D-4F3D-AC4F-11D7EE36BB32}"/>
                  </a:ext>
                </a:extLst>
              </p:cNvPr>
              <p:cNvSpPr/>
              <p:nvPr/>
            </p:nvSpPr>
            <p:spPr bwMode="auto">
              <a:xfrm>
                <a:off x="7434489" y="1670608"/>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Oval 438">
                <a:extLst>
                  <a:ext uri="{FF2B5EF4-FFF2-40B4-BE49-F238E27FC236}">
                    <a16:creationId xmlns:a16="http://schemas.microsoft.com/office/drawing/2014/main" id="{93B0AD68-1DFC-43CE-98F6-4795E9EB4E31}"/>
                  </a:ext>
                </a:extLst>
              </p:cNvPr>
              <p:cNvSpPr/>
              <p:nvPr/>
            </p:nvSpPr>
            <p:spPr bwMode="auto">
              <a:xfrm>
                <a:off x="7580145" y="1573129"/>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Oval 439">
                <a:extLst>
                  <a:ext uri="{FF2B5EF4-FFF2-40B4-BE49-F238E27FC236}">
                    <a16:creationId xmlns:a16="http://schemas.microsoft.com/office/drawing/2014/main" id="{ABAF3E6D-F251-4A9C-9985-BEEC406AB518}"/>
                  </a:ext>
                </a:extLst>
              </p:cNvPr>
              <p:cNvSpPr/>
              <p:nvPr/>
            </p:nvSpPr>
            <p:spPr bwMode="auto">
              <a:xfrm>
                <a:off x="7725801" y="1601278"/>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5202A1E-E330-4D5E-965D-D3A137D437D8}"/>
                  </a:ext>
                </a:extLst>
              </p:cNvPr>
              <p:cNvSpPr/>
              <p:nvPr/>
            </p:nvSpPr>
            <p:spPr bwMode="auto">
              <a:xfrm>
                <a:off x="7836759" y="1699995"/>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C21B2A29-9B9D-4995-B10E-6436AD0A7559}"/>
                  </a:ext>
                </a:extLst>
              </p:cNvPr>
              <p:cNvSpPr/>
              <p:nvPr/>
            </p:nvSpPr>
            <p:spPr bwMode="auto">
              <a:xfrm>
                <a:off x="7774121" y="1788214"/>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3" name="Oval 442">
                <a:extLst>
                  <a:ext uri="{FF2B5EF4-FFF2-40B4-BE49-F238E27FC236}">
                    <a16:creationId xmlns:a16="http://schemas.microsoft.com/office/drawing/2014/main" id="{CBDAA2E6-62A3-4FBF-916D-3B576034C615}"/>
                  </a:ext>
                </a:extLst>
              </p:cNvPr>
              <p:cNvSpPr/>
              <p:nvPr/>
            </p:nvSpPr>
            <p:spPr bwMode="auto">
              <a:xfrm>
                <a:off x="9235013" y="2439511"/>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4" name="Oval 443">
                <a:extLst>
                  <a:ext uri="{FF2B5EF4-FFF2-40B4-BE49-F238E27FC236}">
                    <a16:creationId xmlns:a16="http://schemas.microsoft.com/office/drawing/2014/main" id="{C582B2BB-BC5C-4878-A826-598538FFE9C2}"/>
                  </a:ext>
                </a:extLst>
              </p:cNvPr>
              <p:cNvSpPr/>
              <p:nvPr/>
            </p:nvSpPr>
            <p:spPr bwMode="auto">
              <a:xfrm>
                <a:off x="9449909" y="2614410"/>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5" name="Oval 444">
                <a:extLst>
                  <a:ext uri="{FF2B5EF4-FFF2-40B4-BE49-F238E27FC236}">
                    <a16:creationId xmlns:a16="http://schemas.microsoft.com/office/drawing/2014/main" id="{74BFFDA6-0B4C-41AE-9CE9-E3F31E746239}"/>
                  </a:ext>
                </a:extLst>
              </p:cNvPr>
              <p:cNvSpPr/>
              <p:nvPr/>
            </p:nvSpPr>
            <p:spPr bwMode="auto">
              <a:xfrm>
                <a:off x="9961779" y="2924798"/>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6" name="Oval 445">
                <a:extLst>
                  <a:ext uri="{FF2B5EF4-FFF2-40B4-BE49-F238E27FC236}">
                    <a16:creationId xmlns:a16="http://schemas.microsoft.com/office/drawing/2014/main" id="{18567D53-7D18-49B4-BC05-5DD31A0C4ECF}"/>
                  </a:ext>
                </a:extLst>
              </p:cNvPr>
              <p:cNvSpPr/>
              <p:nvPr/>
            </p:nvSpPr>
            <p:spPr bwMode="auto">
              <a:xfrm>
                <a:off x="10167253" y="2399567"/>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7" name="Oval 446">
                <a:extLst>
                  <a:ext uri="{FF2B5EF4-FFF2-40B4-BE49-F238E27FC236}">
                    <a16:creationId xmlns:a16="http://schemas.microsoft.com/office/drawing/2014/main" id="{D9B9904B-099E-4795-9119-FAB1631DFB25}"/>
                  </a:ext>
                </a:extLst>
              </p:cNvPr>
              <p:cNvSpPr/>
              <p:nvPr/>
            </p:nvSpPr>
            <p:spPr bwMode="auto">
              <a:xfrm>
                <a:off x="10257351" y="2223998"/>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8" name="Oval 447">
                <a:extLst>
                  <a:ext uri="{FF2B5EF4-FFF2-40B4-BE49-F238E27FC236}">
                    <a16:creationId xmlns:a16="http://schemas.microsoft.com/office/drawing/2014/main" id="{168735DA-393C-4B07-9465-D4F2D41C273C}"/>
                  </a:ext>
                </a:extLst>
              </p:cNvPr>
              <p:cNvSpPr/>
              <p:nvPr/>
            </p:nvSpPr>
            <p:spPr bwMode="auto">
              <a:xfrm>
                <a:off x="10112980" y="2021067"/>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9" name="Oval 448">
                <a:extLst>
                  <a:ext uri="{FF2B5EF4-FFF2-40B4-BE49-F238E27FC236}">
                    <a16:creationId xmlns:a16="http://schemas.microsoft.com/office/drawing/2014/main" id="{EF131DDA-FB60-45BF-BA3C-0C8153CEFE35}"/>
                  </a:ext>
                </a:extLst>
              </p:cNvPr>
              <p:cNvSpPr/>
              <p:nvPr/>
            </p:nvSpPr>
            <p:spPr bwMode="auto">
              <a:xfrm>
                <a:off x="10648169" y="2156982"/>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0" name="Oval 449">
                <a:extLst>
                  <a:ext uri="{FF2B5EF4-FFF2-40B4-BE49-F238E27FC236}">
                    <a16:creationId xmlns:a16="http://schemas.microsoft.com/office/drawing/2014/main" id="{5C040A3F-4D9F-4BFD-9387-41241C60C166}"/>
                  </a:ext>
                </a:extLst>
              </p:cNvPr>
              <p:cNvSpPr/>
              <p:nvPr/>
            </p:nvSpPr>
            <p:spPr bwMode="auto">
              <a:xfrm>
                <a:off x="10741504" y="2039938"/>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1" name="Oval 450">
                <a:extLst>
                  <a:ext uri="{FF2B5EF4-FFF2-40B4-BE49-F238E27FC236}">
                    <a16:creationId xmlns:a16="http://schemas.microsoft.com/office/drawing/2014/main" id="{D06EDF26-B89F-4B3E-A8B0-2BE0A6D4968C}"/>
                  </a:ext>
                </a:extLst>
              </p:cNvPr>
              <p:cNvSpPr/>
              <p:nvPr/>
            </p:nvSpPr>
            <p:spPr bwMode="auto">
              <a:xfrm>
                <a:off x="11024200" y="3818581"/>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2" name="Oval 451">
                <a:extLst>
                  <a:ext uri="{FF2B5EF4-FFF2-40B4-BE49-F238E27FC236}">
                    <a16:creationId xmlns:a16="http://schemas.microsoft.com/office/drawing/2014/main" id="{947A4514-8A38-417C-88A8-29EB7921A6A9}"/>
                  </a:ext>
                </a:extLst>
              </p:cNvPr>
              <p:cNvSpPr/>
              <p:nvPr/>
            </p:nvSpPr>
            <p:spPr bwMode="auto">
              <a:xfrm>
                <a:off x="10895063" y="3804501"/>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3" name="Oval 452">
                <a:extLst>
                  <a:ext uri="{FF2B5EF4-FFF2-40B4-BE49-F238E27FC236}">
                    <a16:creationId xmlns:a16="http://schemas.microsoft.com/office/drawing/2014/main" id="{63FDEA9F-DB95-436C-B332-FCE95D81E00B}"/>
                  </a:ext>
                </a:extLst>
              </p:cNvPr>
              <p:cNvSpPr/>
              <p:nvPr/>
            </p:nvSpPr>
            <p:spPr bwMode="auto">
              <a:xfrm>
                <a:off x="6366647" y="3610053"/>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4" name="Oval 453">
                <a:extLst>
                  <a:ext uri="{FF2B5EF4-FFF2-40B4-BE49-F238E27FC236}">
                    <a16:creationId xmlns:a16="http://schemas.microsoft.com/office/drawing/2014/main" id="{76F679F9-D0F3-4EE6-9F10-939F40380477}"/>
                  </a:ext>
                </a:extLst>
              </p:cNvPr>
              <p:cNvSpPr/>
              <p:nvPr/>
            </p:nvSpPr>
            <p:spPr bwMode="auto">
              <a:xfrm>
                <a:off x="8040292" y="3715108"/>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5" name="Oval 454">
                <a:extLst>
                  <a:ext uri="{FF2B5EF4-FFF2-40B4-BE49-F238E27FC236}">
                    <a16:creationId xmlns:a16="http://schemas.microsoft.com/office/drawing/2014/main" id="{DA326A48-7ECA-4F80-A3A9-1A03EED247F2}"/>
                  </a:ext>
                </a:extLst>
              </p:cNvPr>
              <p:cNvSpPr/>
              <p:nvPr/>
            </p:nvSpPr>
            <p:spPr bwMode="auto">
              <a:xfrm>
                <a:off x="8250512" y="3614052"/>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6" name="Oval 455">
                <a:extLst>
                  <a:ext uri="{FF2B5EF4-FFF2-40B4-BE49-F238E27FC236}">
                    <a16:creationId xmlns:a16="http://schemas.microsoft.com/office/drawing/2014/main" id="{7C06CD46-1F0B-4C4E-BB2A-378B149EA3CE}"/>
                  </a:ext>
                </a:extLst>
              </p:cNvPr>
              <p:cNvSpPr/>
              <p:nvPr/>
            </p:nvSpPr>
            <p:spPr bwMode="auto">
              <a:xfrm>
                <a:off x="8721972" y="2313141"/>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7" name="Oval 456">
                <a:extLst>
                  <a:ext uri="{FF2B5EF4-FFF2-40B4-BE49-F238E27FC236}">
                    <a16:creationId xmlns:a16="http://schemas.microsoft.com/office/drawing/2014/main" id="{DFA249B8-53EC-4ED7-843C-66E2E7634E9B}"/>
                  </a:ext>
                </a:extLst>
              </p:cNvPr>
              <p:cNvSpPr/>
              <p:nvPr/>
            </p:nvSpPr>
            <p:spPr bwMode="auto">
              <a:xfrm>
                <a:off x="8858505" y="2294489"/>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8" name="Oval 457">
                <a:extLst>
                  <a:ext uri="{FF2B5EF4-FFF2-40B4-BE49-F238E27FC236}">
                    <a16:creationId xmlns:a16="http://schemas.microsoft.com/office/drawing/2014/main" id="{B73B4692-8AD0-40E6-82D9-722E38E8BA4C}"/>
                  </a:ext>
                </a:extLst>
              </p:cNvPr>
              <p:cNvSpPr/>
              <p:nvPr/>
            </p:nvSpPr>
            <p:spPr bwMode="auto">
              <a:xfrm>
                <a:off x="9312911" y="2531407"/>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9" name="Oval 458">
                <a:extLst>
                  <a:ext uri="{FF2B5EF4-FFF2-40B4-BE49-F238E27FC236}">
                    <a16:creationId xmlns:a16="http://schemas.microsoft.com/office/drawing/2014/main" id="{00D98CF1-1A11-4389-A077-C29AA18837F2}"/>
                  </a:ext>
                </a:extLst>
              </p:cNvPr>
              <p:cNvSpPr/>
              <p:nvPr/>
            </p:nvSpPr>
            <p:spPr bwMode="auto">
              <a:xfrm>
                <a:off x="11094008" y="3732672"/>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0" name="Oval 459">
                <a:extLst>
                  <a:ext uri="{FF2B5EF4-FFF2-40B4-BE49-F238E27FC236}">
                    <a16:creationId xmlns:a16="http://schemas.microsoft.com/office/drawing/2014/main" id="{D8BDFF06-34C1-4D66-ADD5-AC600E0EE1BB}"/>
                  </a:ext>
                </a:extLst>
              </p:cNvPr>
              <p:cNvSpPr/>
              <p:nvPr/>
            </p:nvSpPr>
            <p:spPr bwMode="auto">
              <a:xfrm>
                <a:off x="10510452" y="1747602"/>
                <a:ext cx="133477" cy="133477"/>
              </a:xfrm>
              <a:prstGeom prst="ellipse">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2" rIns="182776" bIns="146222" numCol="1" spcCol="0" rtlCol="0" fromWordArt="0" anchor="t" anchorCtr="0" forceAA="0" compatLnSpc="1">
                <a:prstTxWarp prst="textNoShape">
                  <a:avLst/>
                </a:prstTxWarp>
                <a:noAutofit/>
              </a:bodyPr>
              <a:lstStyle/>
              <a:p>
                <a:pPr algn="ctr" defTabSz="931757"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Title 6">
            <a:extLst>
              <a:ext uri="{FF2B5EF4-FFF2-40B4-BE49-F238E27FC236}">
                <a16:creationId xmlns:a16="http://schemas.microsoft.com/office/drawing/2014/main" id="{082BCDE5-4884-4952-A878-0E6346597037}"/>
              </a:ext>
            </a:extLst>
          </p:cNvPr>
          <p:cNvSpPr>
            <a:spLocks noGrp="1"/>
          </p:cNvSpPr>
          <p:nvPr>
            <p:ph type="title"/>
          </p:nvPr>
        </p:nvSpPr>
        <p:spPr>
          <a:xfrm>
            <a:off x="270894" y="290848"/>
            <a:ext cx="8112772" cy="1303257"/>
          </a:xfrm>
        </p:spPr>
        <p:txBody>
          <a:bodyPr>
            <a:normAutofit/>
          </a:bodyPr>
          <a:lstStyle/>
          <a:p>
            <a:r>
              <a:rPr lang="en-US" sz="3200" b="0">
                <a:solidFill>
                  <a:srgbClr val="225B61"/>
                </a:solidFill>
                <a:latin typeface="Segoe Sans Display"/>
                <a:cs typeface="Segoe Sans Display" pitchFamily="2" charset="0"/>
              </a:rPr>
              <a:t>Data Residency</a:t>
            </a:r>
            <a:br>
              <a:rPr lang="en-US" sz="4703" spc="-100">
                <a:latin typeface="Segoe UI Semibold"/>
              </a:rPr>
            </a:br>
            <a:endParaRPr lang="en-US"/>
          </a:p>
        </p:txBody>
      </p:sp>
      <p:sp>
        <p:nvSpPr>
          <p:cNvPr id="5" name="TextBox 4">
            <a:extLst>
              <a:ext uri="{FF2B5EF4-FFF2-40B4-BE49-F238E27FC236}">
                <a16:creationId xmlns:a16="http://schemas.microsoft.com/office/drawing/2014/main" id="{F346A5FA-C200-00B6-04F2-11BCBE86C820}"/>
              </a:ext>
            </a:extLst>
          </p:cNvPr>
          <p:cNvSpPr txBox="1"/>
          <p:nvPr/>
        </p:nvSpPr>
        <p:spPr>
          <a:xfrm>
            <a:off x="0" y="6396874"/>
            <a:ext cx="2403389" cy="363946"/>
          </a:xfrm>
          <a:prstGeom prst="rect">
            <a:avLst/>
          </a:prstGeom>
          <a:solidFill>
            <a:schemeClr val="bg1"/>
          </a:solidFill>
        </p:spPr>
        <p:txBody>
          <a:bodyPr wrap="square" rtlCol="0">
            <a:spAutoFit/>
          </a:bodyPr>
          <a:lstStyle/>
          <a:p>
            <a:endParaRPr lang="en-NL"/>
          </a:p>
        </p:txBody>
      </p:sp>
    </p:spTree>
    <p:extLst>
      <p:ext uri="{BB962C8B-B14F-4D97-AF65-F5344CB8AC3E}">
        <p14:creationId xmlns:p14="http://schemas.microsoft.com/office/powerpoint/2010/main" val="720908934"/>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61" name="Title 13">
            <a:extLst>
              <a:ext uri="{FF2B5EF4-FFF2-40B4-BE49-F238E27FC236}">
                <a16:creationId xmlns:a16="http://schemas.microsoft.com/office/drawing/2014/main" id="{081C6358-CD55-4BC3-A2F3-E3E1A874D631}"/>
              </a:ext>
            </a:extLst>
          </p:cNvPr>
          <p:cNvSpPr>
            <a:spLocks noGrp="1"/>
          </p:cNvSpPr>
          <p:nvPr>
            <p:ph type="title"/>
          </p:nvPr>
        </p:nvSpPr>
        <p:spPr>
          <a:xfrm>
            <a:off x="589825" y="458045"/>
            <a:ext cx="11015394" cy="553841"/>
          </a:xfrm>
        </p:spPr>
        <p:txBody>
          <a:bodyPr>
            <a:normAutofit/>
          </a:bodyPr>
          <a:lstStyle/>
          <a:p>
            <a:pPr algn="l"/>
            <a:r>
              <a:rPr lang="en-US" sz="3200" b="0" err="1">
                <a:solidFill>
                  <a:srgbClr val="225B61"/>
                </a:solidFill>
                <a:latin typeface="Segoe Sans Display"/>
                <a:cs typeface="Segoe Sans Display" pitchFamily="2" charset="0"/>
              </a:rPr>
              <a:t>OneLake</a:t>
            </a:r>
            <a:r>
              <a:rPr lang="en-US" sz="3200" b="0">
                <a:solidFill>
                  <a:srgbClr val="225B61"/>
                </a:solidFill>
                <a:latin typeface="Segoe Sans Display"/>
                <a:cs typeface="Segoe Sans Display" pitchFamily="2" charset="0"/>
              </a:rPr>
              <a:t> which logically spans the world</a:t>
            </a:r>
          </a:p>
        </p:txBody>
      </p:sp>
      <p:sp>
        <p:nvSpPr>
          <p:cNvPr id="1430" name="Rounded Rectangle 45">
            <a:extLst>
              <a:ext uri="{FF2B5EF4-FFF2-40B4-BE49-F238E27FC236}">
                <a16:creationId xmlns:a16="http://schemas.microsoft.com/office/drawing/2014/main" id="{D01B8701-049A-E3A9-8A7B-70F2002D7DCE}"/>
              </a:ext>
              <a:ext uri="{C183D7F6-B498-43B3-948B-1728B52AA6E4}">
                <adec:decorative xmlns:adec="http://schemas.microsoft.com/office/drawing/2017/decorative" val="1"/>
              </a:ext>
            </a:extLst>
          </p:cNvPr>
          <p:cNvSpPr/>
          <p:nvPr/>
        </p:nvSpPr>
        <p:spPr>
          <a:xfrm>
            <a:off x="5198222" y="2275744"/>
            <a:ext cx="6322801" cy="1554039"/>
          </a:xfrm>
          <a:prstGeom prst="roundRect">
            <a:avLst>
              <a:gd name="adj" fmla="val 2747"/>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21" rIns="0" bIns="0" numCol="1" spcCol="0" rtlCol="0" fromWordArt="0" anchor="t" anchorCtr="0" forceAA="0" compatLnSpc="1">
            <a:prstTxWarp prst="textNoShape">
              <a:avLst/>
            </a:prstTxWarp>
            <a:noAutofit/>
          </a:bodyPr>
          <a:lstStyle/>
          <a:p>
            <a:pPr algn="ctr" fontAlgn="base">
              <a:lnSpc>
                <a:spcPct val="90000"/>
              </a:lnSpc>
              <a:spcBef>
                <a:spcPct val="0"/>
              </a:spcBef>
              <a:spcAft>
                <a:spcPct val="0"/>
              </a:spcAft>
            </a:pPr>
            <a:r>
              <a:rPr lang="en-US" sz="2000" b="1">
                <a:ln w="3175">
                  <a:noFill/>
                </a:ln>
                <a:gradFill>
                  <a:gsLst>
                    <a:gs pos="8621">
                      <a:schemeClr val="tx1"/>
                    </a:gs>
                    <a:gs pos="20225">
                      <a:schemeClr val="tx1"/>
                    </a:gs>
                  </a:gsLst>
                  <a:lin ang="5400000" scaled="1"/>
                </a:gradFill>
                <a:latin typeface="+mj-lt"/>
                <a:cs typeface="Segoe UI" pitchFamily="34" charset="0"/>
              </a:rPr>
              <a:t>OneLake</a:t>
            </a:r>
          </a:p>
        </p:txBody>
      </p:sp>
      <p:sp>
        <p:nvSpPr>
          <p:cNvPr id="1455" name="TextBox 1454">
            <a:extLst>
              <a:ext uri="{FF2B5EF4-FFF2-40B4-BE49-F238E27FC236}">
                <a16:creationId xmlns:a16="http://schemas.microsoft.com/office/drawing/2014/main" id="{BC04CB5A-8B06-3131-361B-49D72431214F}"/>
              </a:ext>
            </a:extLst>
          </p:cNvPr>
          <p:cNvSpPr txBox="1"/>
          <p:nvPr/>
        </p:nvSpPr>
        <p:spPr>
          <a:xfrm>
            <a:off x="589826" y="2070664"/>
            <a:ext cx="3803969" cy="1323251"/>
          </a:xfrm>
          <a:prstGeom prst="rect">
            <a:avLst/>
          </a:prstGeom>
          <a:noFill/>
        </p:spPr>
        <p:txBody>
          <a:bodyPr wrap="square" rtlCol="0">
            <a:spAutoFit/>
          </a:bodyPr>
          <a:lstStyle>
            <a:defPPr>
              <a:defRPr lang="en-US"/>
            </a:defPPr>
            <a:lvl1pPr marL="342900" indent="-342900">
              <a:buFont typeface="Arial" panose="020B0604020202020204" pitchFamily="34" charset="0"/>
              <a:buChar char="•"/>
              <a:defRPr sz="1600">
                <a:latin typeface="Segoe UI" panose="020B0502040204020203" pitchFamily="34" charset="0"/>
                <a:cs typeface="Segoe UI" panose="020B0502040204020203" pitchFamily="34" charset="0"/>
              </a:defRPr>
            </a:lvl1pPr>
          </a:lstStyle>
          <a:p>
            <a:pPr marL="0" indent="0" defTabSz="914049">
              <a:spcBef>
                <a:spcPts val="1600"/>
              </a:spcBef>
              <a:buNone/>
              <a:defRPr/>
            </a:pPr>
            <a:r>
              <a:rPr lang="en-US" sz="1961">
                <a:solidFill>
                  <a:srgbClr val="000000"/>
                </a:solidFill>
              </a:rPr>
              <a:t>Workspaces can reside in different regions around the world while still being part of </a:t>
            </a:r>
            <a:br>
              <a:rPr lang="en-US" sz="1961">
                <a:solidFill>
                  <a:srgbClr val="000000"/>
                </a:solidFill>
              </a:rPr>
            </a:br>
            <a:r>
              <a:rPr lang="en-US" sz="1961">
                <a:solidFill>
                  <a:srgbClr val="000000"/>
                </a:solidFill>
              </a:rPr>
              <a:t>the same data lake.</a:t>
            </a:r>
          </a:p>
        </p:txBody>
      </p:sp>
      <p:sp>
        <p:nvSpPr>
          <p:cNvPr id="1431" name="TextBox 1430">
            <a:extLst>
              <a:ext uri="{FF2B5EF4-FFF2-40B4-BE49-F238E27FC236}">
                <a16:creationId xmlns:a16="http://schemas.microsoft.com/office/drawing/2014/main" id="{A93E41E8-7D0D-767B-C4B7-E9DD7F11B84D}"/>
              </a:ext>
            </a:extLst>
          </p:cNvPr>
          <p:cNvSpPr txBox="1"/>
          <p:nvPr/>
        </p:nvSpPr>
        <p:spPr>
          <a:xfrm>
            <a:off x="5597700" y="3252552"/>
            <a:ext cx="874770" cy="369332"/>
          </a:xfrm>
          <a:prstGeom prst="rect">
            <a:avLst/>
          </a:prstGeom>
          <a:noFill/>
        </p:spPr>
        <p:txBody>
          <a:bodyPr wrap="square" lIns="0" tIns="0" rIns="0" bIns="0" rtlCol="0">
            <a:spAutoFit/>
          </a:bodyPr>
          <a:lstStyle/>
          <a:p>
            <a:pPr algn="ctr" defTabSz="914049">
              <a:defRPr/>
            </a:pPr>
            <a:r>
              <a:rPr lang="en-US" sz="1200" dirty="0">
                <a:solidFill>
                  <a:srgbClr val="000000"/>
                </a:solidFill>
                <a:latin typeface="Segoe UI"/>
              </a:rPr>
              <a:t>Workspace</a:t>
            </a:r>
          </a:p>
          <a:p>
            <a:pPr algn="ctr" defTabSz="914049">
              <a:defRPr/>
            </a:pPr>
            <a:r>
              <a:rPr lang="en-US" sz="1200" dirty="0">
                <a:solidFill>
                  <a:srgbClr val="000000"/>
                </a:solidFill>
                <a:latin typeface="Segoe UI"/>
              </a:rPr>
              <a:t>POS sales</a:t>
            </a:r>
          </a:p>
        </p:txBody>
      </p:sp>
      <p:sp>
        <p:nvSpPr>
          <p:cNvPr id="1432" name="TextBox 1431">
            <a:extLst>
              <a:ext uri="{FF2B5EF4-FFF2-40B4-BE49-F238E27FC236}">
                <a16:creationId xmlns:a16="http://schemas.microsoft.com/office/drawing/2014/main" id="{DBA98759-509F-960D-1955-0D1DD699045C}"/>
              </a:ext>
            </a:extLst>
          </p:cNvPr>
          <p:cNvSpPr txBox="1"/>
          <p:nvPr/>
        </p:nvSpPr>
        <p:spPr>
          <a:xfrm>
            <a:off x="6780898" y="3252552"/>
            <a:ext cx="874770" cy="369332"/>
          </a:xfrm>
          <a:prstGeom prst="rect">
            <a:avLst/>
          </a:prstGeom>
          <a:noFill/>
        </p:spPr>
        <p:txBody>
          <a:bodyPr wrap="square" lIns="0" tIns="0" rIns="0" bIns="0" rtlCol="0">
            <a:spAutoFit/>
          </a:bodyPr>
          <a:lstStyle/>
          <a:p>
            <a:pPr algn="ctr" defTabSz="914049">
              <a:defRPr/>
            </a:pPr>
            <a:r>
              <a:rPr lang="en-US" sz="1200">
                <a:solidFill>
                  <a:srgbClr val="000000"/>
                </a:solidFill>
                <a:latin typeface="Segoe UI"/>
              </a:rPr>
              <a:t>Workspace online sales</a:t>
            </a:r>
          </a:p>
        </p:txBody>
      </p:sp>
      <p:sp>
        <p:nvSpPr>
          <p:cNvPr id="1433" name="TextBox 1432">
            <a:extLst>
              <a:ext uri="{FF2B5EF4-FFF2-40B4-BE49-F238E27FC236}">
                <a16:creationId xmlns:a16="http://schemas.microsoft.com/office/drawing/2014/main" id="{ECDB1F8D-5CD1-082D-AC7A-B136CB6C383E}"/>
              </a:ext>
            </a:extLst>
          </p:cNvPr>
          <p:cNvSpPr txBox="1"/>
          <p:nvPr/>
        </p:nvSpPr>
        <p:spPr>
          <a:xfrm>
            <a:off x="7964095" y="3252552"/>
            <a:ext cx="874770" cy="369332"/>
          </a:xfrm>
          <a:prstGeom prst="rect">
            <a:avLst/>
          </a:prstGeom>
          <a:noFill/>
        </p:spPr>
        <p:txBody>
          <a:bodyPr wrap="square" lIns="0" tIns="0" rIns="0" bIns="0" rtlCol="0">
            <a:spAutoFit/>
          </a:bodyPr>
          <a:lstStyle/>
          <a:p>
            <a:pPr algn="ctr" defTabSz="914049">
              <a:defRPr/>
            </a:pPr>
            <a:r>
              <a:rPr lang="en-US" sz="1200">
                <a:solidFill>
                  <a:srgbClr val="000000"/>
                </a:solidFill>
                <a:latin typeface="Segoe UI"/>
              </a:rPr>
              <a:t>Workspace</a:t>
            </a:r>
          </a:p>
          <a:p>
            <a:pPr algn="ctr" defTabSz="914049">
              <a:defRPr/>
            </a:pPr>
            <a:r>
              <a:rPr lang="en-US" sz="1200">
                <a:solidFill>
                  <a:srgbClr val="000000"/>
                </a:solidFill>
                <a:latin typeface="Segoe UI"/>
              </a:rPr>
              <a:t>customer</a:t>
            </a:r>
          </a:p>
        </p:txBody>
      </p:sp>
      <p:sp>
        <p:nvSpPr>
          <p:cNvPr id="1434" name="TextBox 1433">
            <a:extLst>
              <a:ext uri="{FF2B5EF4-FFF2-40B4-BE49-F238E27FC236}">
                <a16:creationId xmlns:a16="http://schemas.microsoft.com/office/drawing/2014/main" id="{87FF0D18-E57C-20C2-EF73-B6A0F7525ACE}"/>
              </a:ext>
            </a:extLst>
          </p:cNvPr>
          <p:cNvSpPr txBox="1"/>
          <p:nvPr/>
        </p:nvSpPr>
        <p:spPr>
          <a:xfrm>
            <a:off x="9147293" y="3252552"/>
            <a:ext cx="874770" cy="369332"/>
          </a:xfrm>
          <a:prstGeom prst="rect">
            <a:avLst/>
          </a:prstGeom>
          <a:noFill/>
        </p:spPr>
        <p:txBody>
          <a:bodyPr wrap="square" lIns="0" tIns="0" rIns="0" bIns="0" rtlCol="0">
            <a:spAutoFit/>
          </a:bodyPr>
          <a:lstStyle/>
          <a:p>
            <a:pPr algn="ctr" defTabSz="914049">
              <a:defRPr/>
            </a:pPr>
            <a:r>
              <a:rPr lang="en-US" sz="1200">
                <a:solidFill>
                  <a:srgbClr val="000000"/>
                </a:solidFill>
                <a:latin typeface="Segoe UI"/>
              </a:rPr>
              <a:t>Workspace</a:t>
            </a:r>
          </a:p>
          <a:p>
            <a:pPr algn="ctr" defTabSz="914049">
              <a:defRPr/>
            </a:pPr>
            <a:r>
              <a:rPr lang="en-US" sz="1200">
                <a:solidFill>
                  <a:srgbClr val="000000"/>
                </a:solidFill>
                <a:latin typeface="Segoe UI"/>
              </a:rPr>
              <a:t>ads</a:t>
            </a:r>
          </a:p>
        </p:txBody>
      </p:sp>
      <p:sp>
        <p:nvSpPr>
          <p:cNvPr id="1435" name="TextBox 1434">
            <a:extLst>
              <a:ext uri="{FF2B5EF4-FFF2-40B4-BE49-F238E27FC236}">
                <a16:creationId xmlns:a16="http://schemas.microsoft.com/office/drawing/2014/main" id="{B4836E9E-DEEB-A498-BD42-DA942BB69CEF}"/>
              </a:ext>
            </a:extLst>
          </p:cNvPr>
          <p:cNvSpPr txBox="1"/>
          <p:nvPr/>
        </p:nvSpPr>
        <p:spPr>
          <a:xfrm>
            <a:off x="10330491" y="3252552"/>
            <a:ext cx="874770" cy="369332"/>
          </a:xfrm>
          <a:prstGeom prst="rect">
            <a:avLst/>
          </a:prstGeom>
          <a:noFill/>
        </p:spPr>
        <p:txBody>
          <a:bodyPr wrap="square" lIns="0" tIns="0" rIns="0" bIns="0" rtlCol="0">
            <a:spAutoFit/>
          </a:bodyPr>
          <a:lstStyle/>
          <a:p>
            <a:pPr algn="ctr" defTabSz="914049">
              <a:defRPr/>
            </a:pPr>
            <a:r>
              <a:rPr lang="en-US" sz="1200">
                <a:solidFill>
                  <a:srgbClr val="000000"/>
                </a:solidFill>
                <a:latin typeface="Segoe UI"/>
              </a:rPr>
              <a:t>Workspace</a:t>
            </a:r>
          </a:p>
          <a:p>
            <a:pPr algn="ctr" defTabSz="914049">
              <a:defRPr/>
            </a:pPr>
            <a:r>
              <a:rPr lang="en-US" sz="1200">
                <a:solidFill>
                  <a:srgbClr val="000000"/>
                </a:solidFill>
                <a:latin typeface="Segoe UI"/>
              </a:rPr>
              <a:t>expenses</a:t>
            </a:r>
          </a:p>
        </p:txBody>
      </p:sp>
      <p:grpSp>
        <p:nvGrpSpPr>
          <p:cNvPr id="1436" name="Group 89">
            <a:extLst>
              <a:ext uri="{FF2B5EF4-FFF2-40B4-BE49-F238E27FC236}">
                <a16:creationId xmlns:a16="http://schemas.microsoft.com/office/drawing/2014/main" id="{11679A16-C869-9F29-5691-4D7378B5C742}"/>
              </a:ext>
              <a:ext uri="{C183D7F6-B498-43B3-948B-1728B52AA6E4}">
                <adec:decorative xmlns:adec="http://schemas.microsoft.com/office/drawing/2017/decorative" val="1"/>
              </a:ext>
            </a:extLst>
          </p:cNvPr>
          <p:cNvGrpSpPr>
            <a:grpSpLocks noChangeAspect="1"/>
          </p:cNvGrpSpPr>
          <p:nvPr/>
        </p:nvGrpSpPr>
        <p:grpSpPr bwMode="auto">
          <a:xfrm rot="16200000">
            <a:off x="5877174" y="2828000"/>
            <a:ext cx="315823" cy="387240"/>
            <a:chOff x="5039" y="1460"/>
            <a:chExt cx="199" cy="244"/>
          </a:xfrm>
          <a:solidFill>
            <a:schemeClr val="accent2"/>
          </a:solidFill>
        </p:grpSpPr>
        <p:sp>
          <p:nvSpPr>
            <p:cNvPr id="1437" name="Freeform 90">
              <a:extLst>
                <a:ext uri="{FF2B5EF4-FFF2-40B4-BE49-F238E27FC236}">
                  <a16:creationId xmlns:a16="http://schemas.microsoft.com/office/drawing/2014/main" id="{7CBDD30F-0F2C-2C70-80C2-94165AE8FC84}"/>
                </a:ext>
              </a:extLst>
            </p:cNvPr>
            <p:cNvSpPr>
              <a:spLocks/>
            </p:cNvSpPr>
            <p:nvPr/>
          </p:nvSpPr>
          <p:spPr bwMode="auto">
            <a:xfrm>
              <a:off x="5039" y="1460"/>
              <a:ext cx="182" cy="244"/>
            </a:xfrm>
            <a:custGeom>
              <a:avLst/>
              <a:gdLst>
                <a:gd name="T0" fmla="*/ 0 w 293"/>
                <a:gd name="T1" fmla="*/ 393 h 393"/>
                <a:gd name="T2" fmla="*/ 0 w 293"/>
                <a:gd name="T3" fmla="*/ 393 h 393"/>
                <a:gd name="T4" fmla="*/ 293 w 293"/>
                <a:gd name="T5" fmla="*/ 393 h 393"/>
                <a:gd name="T6" fmla="*/ 293 w 293"/>
                <a:gd name="T7" fmla="*/ 202 h 393"/>
                <a:gd name="T8" fmla="*/ 266 w 293"/>
                <a:gd name="T9" fmla="*/ 175 h 393"/>
                <a:gd name="T10" fmla="*/ 266 w 293"/>
                <a:gd name="T11" fmla="*/ 0 h 393"/>
                <a:gd name="T12" fmla="*/ 0 w 293"/>
                <a:gd name="T13" fmla="*/ 0 h 393"/>
                <a:gd name="T14" fmla="*/ 0 w 293"/>
                <a:gd name="T15" fmla="*/ 393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393">
                  <a:moveTo>
                    <a:pt x="0" y="393"/>
                  </a:moveTo>
                  <a:lnTo>
                    <a:pt x="0" y="393"/>
                  </a:lnTo>
                  <a:lnTo>
                    <a:pt x="293" y="393"/>
                  </a:lnTo>
                  <a:lnTo>
                    <a:pt x="293" y="202"/>
                  </a:lnTo>
                  <a:lnTo>
                    <a:pt x="266" y="175"/>
                  </a:lnTo>
                  <a:lnTo>
                    <a:pt x="266" y="0"/>
                  </a:lnTo>
                  <a:lnTo>
                    <a:pt x="0" y="0"/>
                  </a:lnTo>
                  <a:lnTo>
                    <a:pt x="0" y="393"/>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sp>
          <p:nvSpPr>
            <p:cNvPr id="1438" name="Freeform 91">
              <a:extLst>
                <a:ext uri="{FF2B5EF4-FFF2-40B4-BE49-F238E27FC236}">
                  <a16:creationId xmlns:a16="http://schemas.microsoft.com/office/drawing/2014/main" id="{1E4746CB-A253-94D3-6997-848832F0FDD8}"/>
                </a:ext>
              </a:extLst>
            </p:cNvPr>
            <p:cNvSpPr>
              <a:spLocks/>
            </p:cNvSpPr>
            <p:nvPr/>
          </p:nvSpPr>
          <p:spPr bwMode="auto">
            <a:xfrm>
              <a:off x="5221" y="1460"/>
              <a:ext cx="17" cy="110"/>
            </a:xfrm>
            <a:custGeom>
              <a:avLst/>
              <a:gdLst>
                <a:gd name="T0" fmla="*/ 27 w 27"/>
                <a:gd name="T1" fmla="*/ 0 h 177"/>
                <a:gd name="T2" fmla="*/ 27 w 27"/>
                <a:gd name="T3" fmla="*/ 0 h 177"/>
                <a:gd name="T4" fmla="*/ 0 w 27"/>
                <a:gd name="T5" fmla="*/ 0 h 177"/>
                <a:gd name="T6" fmla="*/ 0 w 27"/>
                <a:gd name="T7" fmla="*/ 164 h 177"/>
                <a:gd name="T8" fmla="*/ 13 w 27"/>
                <a:gd name="T9" fmla="*/ 177 h 177"/>
                <a:gd name="T10" fmla="*/ 27 w 27"/>
                <a:gd name="T11" fmla="*/ 164 h 177"/>
                <a:gd name="T12" fmla="*/ 27 w 27"/>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27" h="177">
                  <a:moveTo>
                    <a:pt x="27" y="0"/>
                  </a:moveTo>
                  <a:lnTo>
                    <a:pt x="27" y="0"/>
                  </a:lnTo>
                  <a:lnTo>
                    <a:pt x="0" y="0"/>
                  </a:lnTo>
                  <a:lnTo>
                    <a:pt x="0" y="164"/>
                  </a:lnTo>
                  <a:lnTo>
                    <a:pt x="13" y="177"/>
                  </a:lnTo>
                  <a:lnTo>
                    <a:pt x="27" y="164"/>
                  </a:lnTo>
                  <a:lnTo>
                    <a:pt x="27" y="0"/>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grpSp>
      <p:grpSp>
        <p:nvGrpSpPr>
          <p:cNvPr id="1439" name="Group 89">
            <a:extLst>
              <a:ext uri="{FF2B5EF4-FFF2-40B4-BE49-F238E27FC236}">
                <a16:creationId xmlns:a16="http://schemas.microsoft.com/office/drawing/2014/main" id="{2905688E-BD0A-7856-BF3B-62017D312486}"/>
              </a:ext>
              <a:ext uri="{C183D7F6-B498-43B3-948B-1728B52AA6E4}">
                <adec:decorative xmlns:adec="http://schemas.microsoft.com/office/drawing/2017/decorative" val="1"/>
              </a:ext>
            </a:extLst>
          </p:cNvPr>
          <p:cNvGrpSpPr>
            <a:grpSpLocks noChangeAspect="1"/>
          </p:cNvGrpSpPr>
          <p:nvPr/>
        </p:nvGrpSpPr>
        <p:grpSpPr bwMode="auto">
          <a:xfrm rot="16200000">
            <a:off x="7060371" y="2828000"/>
            <a:ext cx="315823" cy="387240"/>
            <a:chOff x="5039" y="1460"/>
            <a:chExt cx="199" cy="244"/>
          </a:xfrm>
          <a:solidFill>
            <a:schemeClr val="accent2"/>
          </a:solidFill>
        </p:grpSpPr>
        <p:sp>
          <p:nvSpPr>
            <p:cNvPr id="1440" name="Freeform 90">
              <a:extLst>
                <a:ext uri="{FF2B5EF4-FFF2-40B4-BE49-F238E27FC236}">
                  <a16:creationId xmlns:a16="http://schemas.microsoft.com/office/drawing/2014/main" id="{D5FE0502-6A15-631A-3B16-CAE758F37F65}"/>
                </a:ext>
              </a:extLst>
            </p:cNvPr>
            <p:cNvSpPr>
              <a:spLocks/>
            </p:cNvSpPr>
            <p:nvPr/>
          </p:nvSpPr>
          <p:spPr bwMode="auto">
            <a:xfrm>
              <a:off x="5039" y="1460"/>
              <a:ext cx="182" cy="244"/>
            </a:xfrm>
            <a:custGeom>
              <a:avLst/>
              <a:gdLst>
                <a:gd name="T0" fmla="*/ 0 w 293"/>
                <a:gd name="T1" fmla="*/ 393 h 393"/>
                <a:gd name="T2" fmla="*/ 0 w 293"/>
                <a:gd name="T3" fmla="*/ 393 h 393"/>
                <a:gd name="T4" fmla="*/ 293 w 293"/>
                <a:gd name="T5" fmla="*/ 393 h 393"/>
                <a:gd name="T6" fmla="*/ 293 w 293"/>
                <a:gd name="T7" fmla="*/ 202 h 393"/>
                <a:gd name="T8" fmla="*/ 266 w 293"/>
                <a:gd name="T9" fmla="*/ 175 h 393"/>
                <a:gd name="T10" fmla="*/ 266 w 293"/>
                <a:gd name="T11" fmla="*/ 0 h 393"/>
                <a:gd name="T12" fmla="*/ 0 w 293"/>
                <a:gd name="T13" fmla="*/ 0 h 393"/>
                <a:gd name="T14" fmla="*/ 0 w 293"/>
                <a:gd name="T15" fmla="*/ 393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393">
                  <a:moveTo>
                    <a:pt x="0" y="393"/>
                  </a:moveTo>
                  <a:lnTo>
                    <a:pt x="0" y="393"/>
                  </a:lnTo>
                  <a:lnTo>
                    <a:pt x="293" y="393"/>
                  </a:lnTo>
                  <a:lnTo>
                    <a:pt x="293" y="202"/>
                  </a:lnTo>
                  <a:lnTo>
                    <a:pt x="266" y="175"/>
                  </a:lnTo>
                  <a:lnTo>
                    <a:pt x="266" y="0"/>
                  </a:lnTo>
                  <a:lnTo>
                    <a:pt x="0" y="0"/>
                  </a:lnTo>
                  <a:lnTo>
                    <a:pt x="0" y="393"/>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sp>
          <p:nvSpPr>
            <p:cNvPr id="1441" name="Freeform 91">
              <a:extLst>
                <a:ext uri="{FF2B5EF4-FFF2-40B4-BE49-F238E27FC236}">
                  <a16:creationId xmlns:a16="http://schemas.microsoft.com/office/drawing/2014/main" id="{4D2620CF-72AA-C084-FA45-9F1CF12677DC}"/>
                </a:ext>
              </a:extLst>
            </p:cNvPr>
            <p:cNvSpPr>
              <a:spLocks/>
            </p:cNvSpPr>
            <p:nvPr/>
          </p:nvSpPr>
          <p:spPr bwMode="auto">
            <a:xfrm>
              <a:off x="5221" y="1460"/>
              <a:ext cx="17" cy="110"/>
            </a:xfrm>
            <a:custGeom>
              <a:avLst/>
              <a:gdLst>
                <a:gd name="T0" fmla="*/ 27 w 27"/>
                <a:gd name="T1" fmla="*/ 0 h 177"/>
                <a:gd name="T2" fmla="*/ 27 w 27"/>
                <a:gd name="T3" fmla="*/ 0 h 177"/>
                <a:gd name="T4" fmla="*/ 0 w 27"/>
                <a:gd name="T5" fmla="*/ 0 h 177"/>
                <a:gd name="T6" fmla="*/ 0 w 27"/>
                <a:gd name="T7" fmla="*/ 164 h 177"/>
                <a:gd name="T8" fmla="*/ 13 w 27"/>
                <a:gd name="T9" fmla="*/ 177 h 177"/>
                <a:gd name="T10" fmla="*/ 27 w 27"/>
                <a:gd name="T11" fmla="*/ 164 h 177"/>
                <a:gd name="T12" fmla="*/ 27 w 27"/>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27" h="177">
                  <a:moveTo>
                    <a:pt x="27" y="0"/>
                  </a:moveTo>
                  <a:lnTo>
                    <a:pt x="27" y="0"/>
                  </a:lnTo>
                  <a:lnTo>
                    <a:pt x="0" y="0"/>
                  </a:lnTo>
                  <a:lnTo>
                    <a:pt x="0" y="164"/>
                  </a:lnTo>
                  <a:lnTo>
                    <a:pt x="13" y="177"/>
                  </a:lnTo>
                  <a:lnTo>
                    <a:pt x="27" y="164"/>
                  </a:lnTo>
                  <a:lnTo>
                    <a:pt x="27" y="0"/>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grpSp>
      <p:grpSp>
        <p:nvGrpSpPr>
          <p:cNvPr id="1442" name="Group 89">
            <a:extLst>
              <a:ext uri="{FF2B5EF4-FFF2-40B4-BE49-F238E27FC236}">
                <a16:creationId xmlns:a16="http://schemas.microsoft.com/office/drawing/2014/main" id="{26FFEA34-3504-2787-BA9C-08E5A4E45D2B}"/>
              </a:ext>
              <a:ext uri="{C183D7F6-B498-43B3-948B-1728B52AA6E4}">
                <adec:decorative xmlns:adec="http://schemas.microsoft.com/office/drawing/2017/decorative" val="1"/>
              </a:ext>
            </a:extLst>
          </p:cNvPr>
          <p:cNvGrpSpPr>
            <a:grpSpLocks noChangeAspect="1"/>
          </p:cNvGrpSpPr>
          <p:nvPr/>
        </p:nvGrpSpPr>
        <p:grpSpPr bwMode="auto">
          <a:xfrm rot="16200000">
            <a:off x="8243569" y="2828000"/>
            <a:ext cx="315823" cy="387240"/>
            <a:chOff x="5039" y="1460"/>
            <a:chExt cx="199" cy="244"/>
          </a:xfrm>
          <a:solidFill>
            <a:schemeClr val="accent2"/>
          </a:solidFill>
        </p:grpSpPr>
        <p:sp>
          <p:nvSpPr>
            <p:cNvPr id="1443" name="Freeform 90">
              <a:extLst>
                <a:ext uri="{FF2B5EF4-FFF2-40B4-BE49-F238E27FC236}">
                  <a16:creationId xmlns:a16="http://schemas.microsoft.com/office/drawing/2014/main" id="{71607BE1-93AC-C5BC-C2E8-896265807BAC}"/>
                </a:ext>
              </a:extLst>
            </p:cNvPr>
            <p:cNvSpPr>
              <a:spLocks/>
            </p:cNvSpPr>
            <p:nvPr/>
          </p:nvSpPr>
          <p:spPr bwMode="auto">
            <a:xfrm>
              <a:off x="5039" y="1460"/>
              <a:ext cx="182" cy="244"/>
            </a:xfrm>
            <a:custGeom>
              <a:avLst/>
              <a:gdLst>
                <a:gd name="T0" fmla="*/ 0 w 293"/>
                <a:gd name="T1" fmla="*/ 393 h 393"/>
                <a:gd name="T2" fmla="*/ 0 w 293"/>
                <a:gd name="T3" fmla="*/ 393 h 393"/>
                <a:gd name="T4" fmla="*/ 293 w 293"/>
                <a:gd name="T5" fmla="*/ 393 h 393"/>
                <a:gd name="T6" fmla="*/ 293 w 293"/>
                <a:gd name="T7" fmla="*/ 202 h 393"/>
                <a:gd name="T8" fmla="*/ 266 w 293"/>
                <a:gd name="T9" fmla="*/ 175 h 393"/>
                <a:gd name="T10" fmla="*/ 266 w 293"/>
                <a:gd name="T11" fmla="*/ 0 h 393"/>
                <a:gd name="T12" fmla="*/ 0 w 293"/>
                <a:gd name="T13" fmla="*/ 0 h 393"/>
                <a:gd name="T14" fmla="*/ 0 w 293"/>
                <a:gd name="T15" fmla="*/ 393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393">
                  <a:moveTo>
                    <a:pt x="0" y="393"/>
                  </a:moveTo>
                  <a:lnTo>
                    <a:pt x="0" y="393"/>
                  </a:lnTo>
                  <a:lnTo>
                    <a:pt x="293" y="393"/>
                  </a:lnTo>
                  <a:lnTo>
                    <a:pt x="293" y="202"/>
                  </a:lnTo>
                  <a:lnTo>
                    <a:pt x="266" y="175"/>
                  </a:lnTo>
                  <a:lnTo>
                    <a:pt x="266" y="0"/>
                  </a:lnTo>
                  <a:lnTo>
                    <a:pt x="0" y="0"/>
                  </a:lnTo>
                  <a:lnTo>
                    <a:pt x="0" y="393"/>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sp>
          <p:nvSpPr>
            <p:cNvPr id="1444" name="Freeform 91">
              <a:extLst>
                <a:ext uri="{FF2B5EF4-FFF2-40B4-BE49-F238E27FC236}">
                  <a16:creationId xmlns:a16="http://schemas.microsoft.com/office/drawing/2014/main" id="{7DFE9DD6-0F9C-D6E7-A011-6A524E631CF8}"/>
                </a:ext>
              </a:extLst>
            </p:cNvPr>
            <p:cNvSpPr>
              <a:spLocks/>
            </p:cNvSpPr>
            <p:nvPr/>
          </p:nvSpPr>
          <p:spPr bwMode="auto">
            <a:xfrm>
              <a:off x="5221" y="1460"/>
              <a:ext cx="17" cy="110"/>
            </a:xfrm>
            <a:custGeom>
              <a:avLst/>
              <a:gdLst>
                <a:gd name="T0" fmla="*/ 27 w 27"/>
                <a:gd name="T1" fmla="*/ 0 h 177"/>
                <a:gd name="T2" fmla="*/ 27 w 27"/>
                <a:gd name="T3" fmla="*/ 0 h 177"/>
                <a:gd name="T4" fmla="*/ 0 w 27"/>
                <a:gd name="T5" fmla="*/ 0 h 177"/>
                <a:gd name="T6" fmla="*/ 0 w 27"/>
                <a:gd name="T7" fmla="*/ 164 h 177"/>
                <a:gd name="T8" fmla="*/ 13 w 27"/>
                <a:gd name="T9" fmla="*/ 177 h 177"/>
                <a:gd name="T10" fmla="*/ 27 w 27"/>
                <a:gd name="T11" fmla="*/ 164 h 177"/>
                <a:gd name="T12" fmla="*/ 27 w 27"/>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27" h="177">
                  <a:moveTo>
                    <a:pt x="27" y="0"/>
                  </a:moveTo>
                  <a:lnTo>
                    <a:pt x="27" y="0"/>
                  </a:lnTo>
                  <a:lnTo>
                    <a:pt x="0" y="0"/>
                  </a:lnTo>
                  <a:lnTo>
                    <a:pt x="0" y="164"/>
                  </a:lnTo>
                  <a:lnTo>
                    <a:pt x="13" y="177"/>
                  </a:lnTo>
                  <a:lnTo>
                    <a:pt x="27" y="164"/>
                  </a:lnTo>
                  <a:lnTo>
                    <a:pt x="27" y="0"/>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grpSp>
      <p:grpSp>
        <p:nvGrpSpPr>
          <p:cNvPr id="1445" name="Group 89">
            <a:extLst>
              <a:ext uri="{FF2B5EF4-FFF2-40B4-BE49-F238E27FC236}">
                <a16:creationId xmlns:a16="http://schemas.microsoft.com/office/drawing/2014/main" id="{11E0D678-77D6-3686-D10F-3B64DC2F7A16}"/>
              </a:ext>
              <a:ext uri="{C183D7F6-B498-43B3-948B-1728B52AA6E4}">
                <adec:decorative xmlns:adec="http://schemas.microsoft.com/office/drawing/2017/decorative" val="1"/>
              </a:ext>
            </a:extLst>
          </p:cNvPr>
          <p:cNvGrpSpPr>
            <a:grpSpLocks noChangeAspect="1"/>
          </p:cNvGrpSpPr>
          <p:nvPr/>
        </p:nvGrpSpPr>
        <p:grpSpPr bwMode="auto">
          <a:xfrm rot="16200000">
            <a:off x="9426765" y="2828000"/>
            <a:ext cx="315823" cy="387240"/>
            <a:chOff x="5039" y="1460"/>
            <a:chExt cx="199" cy="244"/>
          </a:xfrm>
          <a:solidFill>
            <a:schemeClr val="accent2"/>
          </a:solidFill>
        </p:grpSpPr>
        <p:sp>
          <p:nvSpPr>
            <p:cNvPr id="1446" name="Freeform 90">
              <a:extLst>
                <a:ext uri="{FF2B5EF4-FFF2-40B4-BE49-F238E27FC236}">
                  <a16:creationId xmlns:a16="http://schemas.microsoft.com/office/drawing/2014/main" id="{53D04715-12E1-9D17-31A9-1BAEDB21652C}"/>
                </a:ext>
              </a:extLst>
            </p:cNvPr>
            <p:cNvSpPr>
              <a:spLocks/>
            </p:cNvSpPr>
            <p:nvPr/>
          </p:nvSpPr>
          <p:spPr bwMode="auto">
            <a:xfrm>
              <a:off x="5039" y="1460"/>
              <a:ext cx="182" cy="244"/>
            </a:xfrm>
            <a:custGeom>
              <a:avLst/>
              <a:gdLst>
                <a:gd name="T0" fmla="*/ 0 w 293"/>
                <a:gd name="T1" fmla="*/ 393 h 393"/>
                <a:gd name="T2" fmla="*/ 0 w 293"/>
                <a:gd name="T3" fmla="*/ 393 h 393"/>
                <a:gd name="T4" fmla="*/ 293 w 293"/>
                <a:gd name="T5" fmla="*/ 393 h 393"/>
                <a:gd name="T6" fmla="*/ 293 w 293"/>
                <a:gd name="T7" fmla="*/ 202 h 393"/>
                <a:gd name="T8" fmla="*/ 266 w 293"/>
                <a:gd name="T9" fmla="*/ 175 h 393"/>
                <a:gd name="T10" fmla="*/ 266 w 293"/>
                <a:gd name="T11" fmla="*/ 0 h 393"/>
                <a:gd name="T12" fmla="*/ 0 w 293"/>
                <a:gd name="T13" fmla="*/ 0 h 393"/>
                <a:gd name="T14" fmla="*/ 0 w 293"/>
                <a:gd name="T15" fmla="*/ 393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393">
                  <a:moveTo>
                    <a:pt x="0" y="393"/>
                  </a:moveTo>
                  <a:lnTo>
                    <a:pt x="0" y="393"/>
                  </a:lnTo>
                  <a:lnTo>
                    <a:pt x="293" y="393"/>
                  </a:lnTo>
                  <a:lnTo>
                    <a:pt x="293" y="202"/>
                  </a:lnTo>
                  <a:lnTo>
                    <a:pt x="266" y="175"/>
                  </a:lnTo>
                  <a:lnTo>
                    <a:pt x="266" y="0"/>
                  </a:lnTo>
                  <a:lnTo>
                    <a:pt x="0" y="0"/>
                  </a:lnTo>
                  <a:lnTo>
                    <a:pt x="0" y="393"/>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sp>
          <p:nvSpPr>
            <p:cNvPr id="1447" name="Freeform 91">
              <a:extLst>
                <a:ext uri="{FF2B5EF4-FFF2-40B4-BE49-F238E27FC236}">
                  <a16:creationId xmlns:a16="http://schemas.microsoft.com/office/drawing/2014/main" id="{F07F24B3-ABCE-6B6C-D24E-7DF96F99E2D8}"/>
                </a:ext>
              </a:extLst>
            </p:cNvPr>
            <p:cNvSpPr>
              <a:spLocks/>
            </p:cNvSpPr>
            <p:nvPr/>
          </p:nvSpPr>
          <p:spPr bwMode="auto">
            <a:xfrm>
              <a:off x="5221" y="1460"/>
              <a:ext cx="17" cy="110"/>
            </a:xfrm>
            <a:custGeom>
              <a:avLst/>
              <a:gdLst>
                <a:gd name="T0" fmla="*/ 27 w 27"/>
                <a:gd name="T1" fmla="*/ 0 h 177"/>
                <a:gd name="T2" fmla="*/ 27 w 27"/>
                <a:gd name="T3" fmla="*/ 0 h 177"/>
                <a:gd name="T4" fmla="*/ 0 w 27"/>
                <a:gd name="T5" fmla="*/ 0 h 177"/>
                <a:gd name="T6" fmla="*/ 0 w 27"/>
                <a:gd name="T7" fmla="*/ 164 h 177"/>
                <a:gd name="T8" fmla="*/ 13 w 27"/>
                <a:gd name="T9" fmla="*/ 177 h 177"/>
                <a:gd name="T10" fmla="*/ 27 w 27"/>
                <a:gd name="T11" fmla="*/ 164 h 177"/>
                <a:gd name="T12" fmla="*/ 27 w 27"/>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27" h="177">
                  <a:moveTo>
                    <a:pt x="27" y="0"/>
                  </a:moveTo>
                  <a:lnTo>
                    <a:pt x="27" y="0"/>
                  </a:lnTo>
                  <a:lnTo>
                    <a:pt x="0" y="0"/>
                  </a:lnTo>
                  <a:lnTo>
                    <a:pt x="0" y="164"/>
                  </a:lnTo>
                  <a:lnTo>
                    <a:pt x="13" y="177"/>
                  </a:lnTo>
                  <a:lnTo>
                    <a:pt x="27" y="164"/>
                  </a:lnTo>
                  <a:lnTo>
                    <a:pt x="27" y="0"/>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grpSp>
      <p:grpSp>
        <p:nvGrpSpPr>
          <p:cNvPr id="1448" name="Group 89">
            <a:extLst>
              <a:ext uri="{FF2B5EF4-FFF2-40B4-BE49-F238E27FC236}">
                <a16:creationId xmlns:a16="http://schemas.microsoft.com/office/drawing/2014/main" id="{E3EE8B7B-0684-73BB-32AB-5E84E9D70828}"/>
              </a:ext>
              <a:ext uri="{C183D7F6-B498-43B3-948B-1728B52AA6E4}">
                <adec:decorative xmlns:adec="http://schemas.microsoft.com/office/drawing/2017/decorative" val="1"/>
              </a:ext>
            </a:extLst>
          </p:cNvPr>
          <p:cNvGrpSpPr>
            <a:grpSpLocks noChangeAspect="1"/>
          </p:cNvGrpSpPr>
          <p:nvPr/>
        </p:nvGrpSpPr>
        <p:grpSpPr bwMode="auto">
          <a:xfrm rot="16200000">
            <a:off x="10609964" y="2828000"/>
            <a:ext cx="315823" cy="387240"/>
            <a:chOff x="5039" y="1460"/>
            <a:chExt cx="199" cy="244"/>
          </a:xfrm>
          <a:solidFill>
            <a:schemeClr val="accent2"/>
          </a:solidFill>
        </p:grpSpPr>
        <p:sp>
          <p:nvSpPr>
            <p:cNvPr id="1449" name="Freeform 90">
              <a:extLst>
                <a:ext uri="{FF2B5EF4-FFF2-40B4-BE49-F238E27FC236}">
                  <a16:creationId xmlns:a16="http://schemas.microsoft.com/office/drawing/2014/main" id="{18011951-9BA9-09A9-FA19-F91DB519A1AE}"/>
                </a:ext>
              </a:extLst>
            </p:cNvPr>
            <p:cNvSpPr>
              <a:spLocks/>
            </p:cNvSpPr>
            <p:nvPr/>
          </p:nvSpPr>
          <p:spPr bwMode="auto">
            <a:xfrm>
              <a:off x="5039" y="1460"/>
              <a:ext cx="182" cy="244"/>
            </a:xfrm>
            <a:custGeom>
              <a:avLst/>
              <a:gdLst>
                <a:gd name="T0" fmla="*/ 0 w 293"/>
                <a:gd name="T1" fmla="*/ 393 h 393"/>
                <a:gd name="T2" fmla="*/ 0 w 293"/>
                <a:gd name="T3" fmla="*/ 393 h 393"/>
                <a:gd name="T4" fmla="*/ 293 w 293"/>
                <a:gd name="T5" fmla="*/ 393 h 393"/>
                <a:gd name="T6" fmla="*/ 293 w 293"/>
                <a:gd name="T7" fmla="*/ 202 h 393"/>
                <a:gd name="T8" fmla="*/ 266 w 293"/>
                <a:gd name="T9" fmla="*/ 175 h 393"/>
                <a:gd name="T10" fmla="*/ 266 w 293"/>
                <a:gd name="T11" fmla="*/ 0 h 393"/>
                <a:gd name="T12" fmla="*/ 0 w 293"/>
                <a:gd name="T13" fmla="*/ 0 h 393"/>
                <a:gd name="T14" fmla="*/ 0 w 293"/>
                <a:gd name="T15" fmla="*/ 393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393">
                  <a:moveTo>
                    <a:pt x="0" y="393"/>
                  </a:moveTo>
                  <a:lnTo>
                    <a:pt x="0" y="393"/>
                  </a:lnTo>
                  <a:lnTo>
                    <a:pt x="293" y="393"/>
                  </a:lnTo>
                  <a:lnTo>
                    <a:pt x="293" y="202"/>
                  </a:lnTo>
                  <a:lnTo>
                    <a:pt x="266" y="175"/>
                  </a:lnTo>
                  <a:lnTo>
                    <a:pt x="266" y="0"/>
                  </a:lnTo>
                  <a:lnTo>
                    <a:pt x="0" y="0"/>
                  </a:lnTo>
                  <a:lnTo>
                    <a:pt x="0" y="393"/>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sp>
          <p:nvSpPr>
            <p:cNvPr id="1450" name="Freeform 91">
              <a:extLst>
                <a:ext uri="{FF2B5EF4-FFF2-40B4-BE49-F238E27FC236}">
                  <a16:creationId xmlns:a16="http://schemas.microsoft.com/office/drawing/2014/main" id="{1CC184F9-949B-D647-E82A-9B494D44FC67}"/>
                </a:ext>
              </a:extLst>
            </p:cNvPr>
            <p:cNvSpPr>
              <a:spLocks/>
            </p:cNvSpPr>
            <p:nvPr/>
          </p:nvSpPr>
          <p:spPr bwMode="auto">
            <a:xfrm>
              <a:off x="5221" y="1460"/>
              <a:ext cx="17" cy="110"/>
            </a:xfrm>
            <a:custGeom>
              <a:avLst/>
              <a:gdLst>
                <a:gd name="T0" fmla="*/ 27 w 27"/>
                <a:gd name="T1" fmla="*/ 0 h 177"/>
                <a:gd name="T2" fmla="*/ 27 w 27"/>
                <a:gd name="T3" fmla="*/ 0 h 177"/>
                <a:gd name="T4" fmla="*/ 0 w 27"/>
                <a:gd name="T5" fmla="*/ 0 h 177"/>
                <a:gd name="T6" fmla="*/ 0 w 27"/>
                <a:gd name="T7" fmla="*/ 164 h 177"/>
                <a:gd name="T8" fmla="*/ 13 w 27"/>
                <a:gd name="T9" fmla="*/ 177 h 177"/>
                <a:gd name="T10" fmla="*/ 27 w 27"/>
                <a:gd name="T11" fmla="*/ 164 h 177"/>
                <a:gd name="T12" fmla="*/ 27 w 27"/>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27" h="177">
                  <a:moveTo>
                    <a:pt x="27" y="0"/>
                  </a:moveTo>
                  <a:lnTo>
                    <a:pt x="27" y="0"/>
                  </a:lnTo>
                  <a:lnTo>
                    <a:pt x="0" y="0"/>
                  </a:lnTo>
                  <a:lnTo>
                    <a:pt x="0" y="164"/>
                  </a:lnTo>
                  <a:lnTo>
                    <a:pt x="13" y="177"/>
                  </a:lnTo>
                  <a:lnTo>
                    <a:pt x="27" y="164"/>
                  </a:lnTo>
                  <a:lnTo>
                    <a:pt x="27" y="0"/>
                  </a:lnTo>
                  <a:close/>
                </a:path>
              </a:pathLst>
            </a:custGeom>
            <a:gradFill>
              <a:gsLst>
                <a:gs pos="35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endParaRPr lang="en-US" sz="1800"/>
            </a:p>
          </p:txBody>
        </p:sp>
      </p:grpSp>
      <p:sp>
        <p:nvSpPr>
          <p:cNvPr id="1451" name="Rounded Rectangle 45">
            <a:extLst>
              <a:ext uri="{FF2B5EF4-FFF2-40B4-BE49-F238E27FC236}">
                <a16:creationId xmlns:a16="http://schemas.microsoft.com/office/drawing/2014/main" id="{B8E55063-EA47-8A77-A023-D1B47BC13718}"/>
              </a:ext>
              <a:ext uri="{C183D7F6-B498-43B3-948B-1728B52AA6E4}">
                <adec:decorative xmlns:adec="http://schemas.microsoft.com/office/drawing/2017/decorative" val="1"/>
              </a:ext>
            </a:extLst>
          </p:cNvPr>
          <p:cNvSpPr/>
          <p:nvPr/>
        </p:nvSpPr>
        <p:spPr>
          <a:xfrm>
            <a:off x="5198222" y="2272663"/>
            <a:ext cx="6322801" cy="1554039"/>
          </a:xfrm>
          <a:prstGeom prst="roundRect">
            <a:avLst>
              <a:gd name="adj" fmla="val 2747"/>
            </a:avLst>
          </a:prstGeom>
          <a:noFill/>
          <a:ln w="41275">
            <a:solidFill>
              <a:schemeClr val="tx1"/>
            </a:solidFill>
            <a:prstDash val="sysDot"/>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21" rIns="0" bIns="0" numCol="1" spcCol="0" rtlCol="0" fromWordArt="0" anchor="t" anchorCtr="0" forceAA="0" compatLnSpc="1">
            <a:prstTxWarp prst="textNoShape">
              <a:avLst/>
            </a:prstTxWarp>
            <a:noAutofit/>
          </a:bodyPr>
          <a:lstStyle/>
          <a:p>
            <a:pPr algn="ctr" fontAlgn="base">
              <a:lnSpc>
                <a:spcPct val="90000"/>
              </a:lnSpc>
              <a:spcBef>
                <a:spcPct val="0"/>
              </a:spcBef>
              <a:spcAft>
                <a:spcPct val="0"/>
              </a:spcAft>
            </a:pPr>
            <a:endParaRPr lang="en-US" sz="2000" b="1">
              <a:ln w="3175">
                <a:noFill/>
              </a:ln>
              <a:gradFill>
                <a:gsLst>
                  <a:gs pos="8621">
                    <a:schemeClr val="tx1"/>
                  </a:gs>
                  <a:gs pos="20225">
                    <a:schemeClr val="tx1"/>
                  </a:gs>
                </a:gsLst>
                <a:lin ang="5400000" scaled="1"/>
              </a:gradFill>
              <a:latin typeface="+mj-lt"/>
              <a:cs typeface="Segoe UI" pitchFamily="34" charset="0"/>
            </a:endParaRPr>
          </a:p>
        </p:txBody>
      </p:sp>
      <p:sp>
        <p:nvSpPr>
          <p:cNvPr id="1452" name="TextBox 1451">
            <a:extLst>
              <a:ext uri="{FF2B5EF4-FFF2-40B4-BE49-F238E27FC236}">
                <a16:creationId xmlns:a16="http://schemas.microsoft.com/office/drawing/2014/main" id="{5172B75F-FFDC-5CDE-314A-0BE20C8A0213}"/>
              </a:ext>
              <a:ext uri="{C183D7F6-B498-43B3-948B-1728B52AA6E4}">
                <adec:decorative xmlns:adec="http://schemas.microsoft.com/office/drawing/2017/decorative" val="1"/>
              </a:ext>
            </a:extLst>
          </p:cNvPr>
          <p:cNvSpPr txBox="1"/>
          <p:nvPr/>
        </p:nvSpPr>
        <p:spPr>
          <a:xfrm>
            <a:off x="6580345" y="1872666"/>
            <a:ext cx="3565806" cy="404292"/>
          </a:xfrm>
          <a:prstGeom prst="rect">
            <a:avLst/>
          </a:prstGeom>
          <a:solidFill>
            <a:schemeClr val="tx1"/>
          </a:solidFill>
        </p:spPr>
        <p:txBody>
          <a:bodyPr wrap="square" lIns="0" tIns="91414" rIns="0" bIns="91414" rtlCol="0">
            <a:spAutoFit/>
          </a:bodyPr>
          <a:lstStyle/>
          <a:p>
            <a:pPr algn="ctr" defTabSz="932114" fontAlgn="base">
              <a:spcBef>
                <a:spcPct val="0"/>
              </a:spcBef>
              <a:spcAft>
                <a:spcPct val="0"/>
              </a:spcAft>
              <a:defRPr/>
            </a:pPr>
            <a:r>
              <a:rPr lang="en-US" sz="1400">
                <a:solidFill>
                  <a:srgbClr val="FFFFFF"/>
                </a:solidFill>
                <a:latin typeface="Segoe UI"/>
                <a:ea typeface="Segoe UI" pitchFamily="34" charset="0"/>
                <a:cs typeface="Segoe UI" pitchFamily="34" charset="0"/>
              </a:rPr>
              <a:t>Unified management and governance</a:t>
            </a:r>
          </a:p>
        </p:txBody>
      </p:sp>
      <p:grpSp>
        <p:nvGrpSpPr>
          <p:cNvPr id="1705" name="Group 1704">
            <a:extLst>
              <a:ext uri="{FF2B5EF4-FFF2-40B4-BE49-F238E27FC236}">
                <a16:creationId xmlns:a16="http://schemas.microsoft.com/office/drawing/2014/main" id="{71934FAB-B2EC-FBDD-B060-BA131A35BA67}"/>
              </a:ext>
              <a:ext uri="{C183D7F6-B498-43B3-948B-1728B52AA6E4}">
                <adec:decorative xmlns:adec="http://schemas.microsoft.com/office/drawing/2017/decorative" val="1"/>
              </a:ext>
            </a:extLst>
          </p:cNvPr>
          <p:cNvGrpSpPr/>
          <p:nvPr/>
        </p:nvGrpSpPr>
        <p:grpSpPr>
          <a:xfrm>
            <a:off x="4474662" y="4241754"/>
            <a:ext cx="7130558" cy="2515238"/>
            <a:chOff x="4674869" y="4706796"/>
            <a:chExt cx="6752683" cy="2954826"/>
          </a:xfrm>
        </p:grpSpPr>
        <p:grpSp>
          <p:nvGrpSpPr>
            <p:cNvPr id="1461" name="Group 1460">
              <a:extLst>
                <a:ext uri="{FF2B5EF4-FFF2-40B4-BE49-F238E27FC236}">
                  <a16:creationId xmlns:a16="http://schemas.microsoft.com/office/drawing/2014/main" id="{C3763547-FAF6-BB23-DBAA-0D5300021F08}"/>
                </a:ext>
              </a:extLst>
            </p:cNvPr>
            <p:cNvGrpSpPr/>
            <p:nvPr/>
          </p:nvGrpSpPr>
          <p:grpSpPr>
            <a:xfrm>
              <a:off x="4674869" y="4706796"/>
              <a:ext cx="6752683" cy="2954826"/>
              <a:chOff x="304800" y="1005840"/>
              <a:chExt cx="11885309" cy="5200752"/>
            </a:xfrm>
          </p:grpSpPr>
          <p:sp>
            <p:nvSpPr>
              <p:cNvPr id="1462" name="Zimbabwe">
                <a:extLst>
                  <a:ext uri="{FF2B5EF4-FFF2-40B4-BE49-F238E27FC236}">
                    <a16:creationId xmlns:a16="http://schemas.microsoft.com/office/drawing/2014/main" id="{F95EACF6-01A3-8F1B-56BD-E10BC4B10390}"/>
                  </a:ext>
                </a:extLst>
              </p:cNvPr>
              <p:cNvSpPr>
                <a:spLocks/>
              </p:cNvSpPr>
              <p:nvPr/>
            </p:nvSpPr>
            <p:spPr bwMode="auto">
              <a:xfrm>
                <a:off x="6554328" y="4654012"/>
                <a:ext cx="265625" cy="265625"/>
              </a:xfrm>
              <a:custGeom>
                <a:avLst/>
                <a:gdLst/>
                <a:ahLst/>
                <a:cxnLst>
                  <a:cxn ang="0">
                    <a:pos x="75" y="21"/>
                  </a:cxn>
                  <a:cxn ang="0">
                    <a:pos x="75" y="19"/>
                  </a:cxn>
                  <a:cxn ang="0">
                    <a:pos x="75" y="17"/>
                  </a:cxn>
                  <a:cxn ang="0">
                    <a:pos x="74" y="13"/>
                  </a:cxn>
                  <a:cxn ang="0">
                    <a:pos x="72" y="12"/>
                  </a:cxn>
                  <a:cxn ang="0">
                    <a:pos x="69" y="9"/>
                  </a:cxn>
                  <a:cxn ang="0">
                    <a:pos x="65" y="9"/>
                  </a:cxn>
                  <a:cxn ang="0">
                    <a:pos x="64" y="7"/>
                  </a:cxn>
                  <a:cxn ang="0">
                    <a:pos x="60" y="6"/>
                  </a:cxn>
                  <a:cxn ang="0">
                    <a:pos x="57" y="4"/>
                  </a:cxn>
                  <a:cxn ang="0">
                    <a:pos x="53" y="4"/>
                  </a:cxn>
                  <a:cxn ang="0">
                    <a:pos x="50" y="0"/>
                  </a:cxn>
                  <a:cxn ang="0">
                    <a:pos x="45" y="0"/>
                  </a:cxn>
                  <a:cxn ang="0">
                    <a:pos x="41" y="1"/>
                  </a:cxn>
                  <a:cxn ang="0">
                    <a:pos x="38" y="3"/>
                  </a:cxn>
                  <a:cxn ang="0">
                    <a:pos x="35" y="10"/>
                  </a:cxn>
                  <a:cxn ang="0">
                    <a:pos x="31" y="11"/>
                  </a:cxn>
                  <a:cxn ang="0">
                    <a:pos x="25" y="15"/>
                  </a:cxn>
                  <a:cxn ang="0">
                    <a:pos x="19" y="23"/>
                  </a:cxn>
                  <a:cxn ang="0">
                    <a:pos x="17" y="26"/>
                  </a:cxn>
                  <a:cxn ang="0">
                    <a:pos x="12" y="26"/>
                  </a:cxn>
                  <a:cxn ang="0">
                    <a:pos x="7" y="26"/>
                  </a:cxn>
                  <a:cxn ang="0">
                    <a:pos x="5" y="24"/>
                  </a:cxn>
                  <a:cxn ang="0">
                    <a:pos x="1" y="24"/>
                  </a:cxn>
                  <a:cxn ang="0">
                    <a:pos x="2" y="28"/>
                  </a:cxn>
                  <a:cxn ang="0">
                    <a:pos x="5" y="33"/>
                  </a:cxn>
                  <a:cxn ang="0">
                    <a:pos x="7" y="37"/>
                  </a:cxn>
                  <a:cxn ang="0">
                    <a:pos x="7" y="39"/>
                  </a:cxn>
                  <a:cxn ang="0">
                    <a:pos x="10" y="43"/>
                  </a:cxn>
                  <a:cxn ang="0">
                    <a:pos x="12" y="45"/>
                  </a:cxn>
                  <a:cxn ang="0">
                    <a:pos x="14" y="47"/>
                  </a:cxn>
                  <a:cxn ang="0">
                    <a:pos x="18" y="49"/>
                  </a:cxn>
                  <a:cxn ang="0">
                    <a:pos x="19" y="50"/>
                  </a:cxn>
                  <a:cxn ang="0">
                    <a:pos x="23" y="53"/>
                  </a:cxn>
                  <a:cxn ang="0">
                    <a:pos x="23" y="56"/>
                  </a:cxn>
                  <a:cxn ang="0">
                    <a:pos x="23" y="60"/>
                  </a:cxn>
                  <a:cxn ang="0">
                    <a:pos x="27" y="65"/>
                  </a:cxn>
                  <a:cxn ang="0">
                    <a:pos x="30" y="66"/>
                  </a:cxn>
                  <a:cxn ang="0">
                    <a:pos x="34" y="67"/>
                  </a:cxn>
                  <a:cxn ang="0">
                    <a:pos x="37" y="71"/>
                  </a:cxn>
                  <a:cxn ang="0">
                    <a:pos x="38" y="72"/>
                  </a:cxn>
                  <a:cxn ang="0">
                    <a:pos x="44" y="72"/>
                  </a:cxn>
                  <a:cxn ang="0">
                    <a:pos x="47" y="74"/>
                  </a:cxn>
                  <a:cxn ang="0">
                    <a:pos x="52" y="73"/>
                  </a:cxn>
                  <a:cxn ang="0">
                    <a:pos x="57" y="75"/>
                  </a:cxn>
                  <a:cxn ang="0">
                    <a:pos x="66" y="65"/>
                  </a:cxn>
                  <a:cxn ang="0">
                    <a:pos x="67" y="61"/>
                  </a:cxn>
                  <a:cxn ang="0">
                    <a:pos x="69" y="55"/>
                  </a:cxn>
                  <a:cxn ang="0">
                    <a:pos x="72" y="52"/>
                  </a:cxn>
                  <a:cxn ang="0">
                    <a:pos x="73" y="50"/>
                  </a:cxn>
                  <a:cxn ang="0">
                    <a:pos x="73" y="49"/>
                  </a:cxn>
                  <a:cxn ang="0">
                    <a:pos x="74" y="48"/>
                  </a:cxn>
                  <a:cxn ang="0">
                    <a:pos x="74" y="45"/>
                  </a:cxn>
                  <a:cxn ang="0">
                    <a:pos x="73" y="45"/>
                  </a:cxn>
                  <a:cxn ang="0">
                    <a:pos x="73" y="42"/>
                  </a:cxn>
                  <a:cxn ang="0">
                    <a:pos x="72" y="41"/>
                  </a:cxn>
                  <a:cxn ang="0">
                    <a:pos x="72" y="37"/>
                  </a:cxn>
                  <a:cxn ang="0">
                    <a:pos x="72" y="36"/>
                  </a:cxn>
                  <a:cxn ang="0">
                    <a:pos x="73" y="35"/>
                  </a:cxn>
                  <a:cxn ang="0">
                    <a:pos x="74" y="31"/>
                  </a:cxn>
                  <a:cxn ang="0">
                    <a:pos x="74" y="28"/>
                  </a:cxn>
                  <a:cxn ang="0">
                    <a:pos x="74" y="24"/>
                  </a:cxn>
                </a:cxnLst>
                <a:rect l="0" t="0" r="r" b="b"/>
                <a:pathLst>
                  <a:path w="75" h="75">
                    <a:moveTo>
                      <a:pt x="75" y="22"/>
                    </a:moveTo>
                    <a:cubicBezTo>
                      <a:pt x="75" y="22"/>
                      <a:pt x="75" y="22"/>
                      <a:pt x="75" y="21"/>
                    </a:cubicBezTo>
                    <a:cubicBezTo>
                      <a:pt x="75" y="21"/>
                      <a:pt x="74" y="21"/>
                      <a:pt x="74" y="21"/>
                    </a:cubicBezTo>
                    <a:cubicBezTo>
                      <a:pt x="74" y="20"/>
                      <a:pt x="75" y="20"/>
                      <a:pt x="75" y="19"/>
                    </a:cubicBezTo>
                    <a:cubicBezTo>
                      <a:pt x="75" y="19"/>
                      <a:pt x="75" y="19"/>
                      <a:pt x="75" y="18"/>
                    </a:cubicBezTo>
                    <a:cubicBezTo>
                      <a:pt x="75" y="18"/>
                      <a:pt x="75" y="18"/>
                      <a:pt x="75" y="17"/>
                    </a:cubicBezTo>
                    <a:cubicBezTo>
                      <a:pt x="75" y="17"/>
                      <a:pt x="74" y="16"/>
                      <a:pt x="74" y="15"/>
                    </a:cubicBezTo>
                    <a:cubicBezTo>
                      <a:pt x="73" y="14"/>
                      <a:pt x="74" y="14"/>
                      <a:pt x="74" y="13"/>
                    </a:cubicBezTo>
                    <a:cubicBezTo>
                      <a:pt x="74" y="13"/>
                      <a:pt x="75" y="12"/>
                      <a:pt x="75" y="12"/>
                    </a:cubicBezTo>
                    <a:cubicBezTo>
                      <a:pt x="74" y="12"/>
                      <a:pt x="73" y="13"/>
                      <a:pt x="72" y="12"/>
                    </a:cubicBezTo>
                    <a:cubicBezTo>
                      <a:pt x="72" y="11"/>
                      <a:pt x="72" y="11"/>
                      <a:pt x="72" y="10"/>
                    </a:cubicBezTo>
                    <a:cubicBezTo>
                      <a:pt x="71" y="10"/>
                      <a:pt x="70" y="10"/>
                      <a:pt x="69" y="9"/>
                    </a:cubicBezTo>
                    <a:cubicBezTo>
                      <a:pt x="68" y="9"/>
                      <a:pt x="68" y="9"/>
                      <a:pt x="67" y="9"/>
                    </a:cubicBezTo>
                    <a:cubicBezTo>
                      <a:pt x="66" y="9"/>
                      <a:pt x="65" y="9"/>
                      <a:pt x="65" y="9"/>
                    </a:cubicBezTo>
                    <a:cubicBezTo>
                      <a:pt x="65" y="9"/>
                      <a:pt x="65" y="8"/>
                      <a:pt x="64" y="8"/>
                    </a:cubicBezTo>
                    <a:cubicBezTo>
                      <a:pt x="64" y="8"/>
                      <a:pt x="64" y="7"/>
                      <a:pt x="64" y="7"/>
                    </a:cubicBezTo>
                    <a:cubicBezTo>
                      <a:pt x="63" y="7"/>
                      <a:pt x="63" y="6"/>
                      <a:pt x="62" y="6"/>
                    </a:cubicBezTo>
                    <a:cubicBezTo>
                      <a:pt x="61" y="6"/>
                      <a:pt x="61" y="6"/>
                      <a:pt x="60" y="6"/>
                    </a:cubicBezTo>
                    <a:cubicBezTo>
                      <a:pt x="59" y="5"/>
                      <a:pt x="59" y="5"/>
                      <a:pt x="59" y="5"/>
                    </a:cubicBezTo>
                    <a:cubicBezTo>
                      <a:pt x="59" y="4"/>
                      <a:pt x="57" y="4"/>
                      <a:pt x="57" y="4"/>
                    </a:cubicBezTo>
                    <a:cubicBezTo>
                      <a:pt x="56" y="5"/>
                      <a:pt x="56" y="5"/>
                      <a:pt x="56" y="4"/>
                    </a:cubicBezTo>
                    <a:cubicBezTo>
                      <a:pt x="55" y="4"/>
                      <a:pt x="54" y="4"/>
                      <a:pt x="53" y="4"/>
                    </a:cubicBezTo>
                    <a:cubicBezTo>
                      <a:pt x="52" y="4"/>
                      <a:pt x="51" y="4"/>
                      <a:pt x="50" y="4"/>
                    </a:cubicBezTo>
                    <a:cubicBezTo>
                      <a:pt x="50" y="3"/>
                      <a:pt x="50" y="1"/>
                      <a:pt x="50" y="0"/>
                    </a:cubicBezTo>
                    <a:cubicBezTo>
                      <a:pt x="50" y="1"/>
                      <a:pt x="48" y="0"/>
                      <a:pt x="47" y="0"/>
                    </a:cubicBezTo>
                    <a:cubicBezTo>
                      <a:pt x="46" y="0"/>
                      <a:pt x="46" y="0"/>
                      <a:pt x="45" y="0"/>
                    </a:cubicBezTo>
                    <a:cubicBezTo>
                      <a:pt x="44" y="0"/>
                      <a:pt x="44" y="0"/>
                      <a:pt x="43" y="0"/>
                    </a:cubicBezTo>
                    <a:cubicBezTo>
                      <a:pt x="42" y="0"/>
                      <a:pt x="42" y="1"/>
                      <a:pt x="41" y="1"/>
                    </a:cubicBezTo>
                    <a:cubicBezTo>
                      <a:pt x="41" y="1"/>
                      <a:pt x="40" y="1"/>
                      <a:pt x="39" y="2"/>
                    </a:cubicBezTo>
                    <a:cubicBezTo>
                      <a:pt x="39" y="2"/>
                      <a:pt x="38" y="2"/>
                      <a:pt x="38" y="3"/>
                    </a:cubicBezTo>
                    <a:cubicBezTo>
                      <a:pt x="37" y="4"/>
                      <a:pt x="37" y="3"/>
                      <a:pt x="36" y="4"/>
                    </a:cubicBezTo>
                    <a:cubicBezTo>
                      <a:pt x="34" y="5"/>
                      <a:pt x="36" y="8"/>
                      <a:pt x="35" y="10"/>
                    </a:cubicBezTo>
                    <a:cubicBezTo>
                      <a:pt x="34" y="10"/>
                      <a:pt x="34" y="10"/>
                      <a:pt x="33" y="10"/>
                    </a:cubicBezTo>
                    <a:cubicBezTo>
                      <a:pt x="32" y="11"/>
                      <a:pt x="32" y="11"/>
                      <a:pt x="31" y="11"/>
                    </a:cubicBezTo>
                    <a:cubicBezTo>
                      <a:pt x="30" y="12"/>
                      <a:pt x="29" y="12"/>
                      <a:pt x="28" y="13"/>
                    </a:cubicBezTo>
                    <a:cubicBezTo>
                      <a:pt x="27" y="14"/>
                      <a:pt x="26" y="14"/>
                      <a:pt x="25" y="15"/>
                    </a:cubicBezTo>
                    <a:cubicBezTo>
                      <a:pt x="24" y="16"/>
                      <a:pt x="24" y="17"/>
                      <a:pt x="23" y="18"/>
                    </a:cubicBezTo>
                    <a:cubicBezTo>
                      <a:pt x="23" y="20"/>
                      <a:pt x="20" y="22"/>
                      <a:pt x="19" y="23"/>
                    </a:cubicBezTo>
                    <a:cubicBezTo>
                      <a:pt x="18" y="24"/>
                      <a:pt x="19" y="24"/>
                      <a:pt x="18" y="25"/>
                    </a:cubicBezTo>
                    <a:cubicBezTo>
                      <a:pt x="18" y="25"/>
                      <a:pt x="18" y="26"/>
                      <a:pt x="17" y="26"/>
                    </a:cubicBezTo>
                    <a:cubicBezTo>
                      <a:pt x="16" y="26"/>
                      <a:pt x="15" y="26"/>
                      <a:pt x="15" y="27"/>
                    </a:cubicBezTo>
                    <a:cubicBezTo>
                      <a:pt x="14" y="27"/>
                      <a:pt x="13" y="26"/>
                      <a:pt x="12" y="26"/>
                    </a:cubicBezTo>
                    <a:cubicBezTo>
                      <a:pt x="11" y="26"/>
                      <a:pt x="10" y="25"/>
                      <a:pt x="9" y="25"/>
                    </a:cubicBezTo>
                    <a:cubicBezTo>
                      <a:pt x="9" y="25"/>
                      <a:pt x="8" y="26"/>
                      <a:pt x="7" y="26"/>
                    </a:cubicBezTo>
                    <a:cubicBezTo>
                      <a:pt x="6" y="26"/>
                      <a:pt x="6" y="25"/>
                      <a:pt x="6" y="25"/>
                    </a:cubicBezTo>
                    <a:cubicBezTo>
                      <a:pt x="6" y="25"/>
                      <a:pt x="5" y="24"/>
                      <a:pt x="5" y="24"/>
                    </a:cubicBezTo>
                    <a:cubicBezTo>
                      <a:pt x="4" y="24"/>
                      <a:pt x="4" y="24"/>
                      <a:pt x="4" y="24"/>
                    </a:cubicBezTo>
                    <a:cubicBezTo>
                      <a:pt x="2" y="25"/>
                      <a:pt x="1" y="24"/>
                      <a:pt x="1" y="24"/>
                    </a:cubicBezTo>
                    <a:cubicBezTo>
                      <a:pt x="0" y="25"/>
                      <a:pt x="0" y="25"/>
                      <a:pt x="1" y="26"/>
                    </a:cubicBezTo>
                    <a:cubicBezTo>
                      <a:pt x="1" y="27"/>
                      <a:pt x="1" y="27"/>
                      <a:pt x="2" y="28"/>
                    </a:cubicBezTo>
                    <a:cubicBezTo>
                      <a:pt x="2" y="29"/>
                      <a:pt x="3" y="30"/>
                      <a:pt x="3" y="31"/>
                    </a:cubicBezTo>
                    <a:cubicBezTo>
                      <a:pt x="4" y="31"/>
                      <a:pt x="4" y="32"/>
                      <a:pt x="5" y="33"/>
                    </a:cubicBezTo>
                    <a:cubicBezTo>
                      <a:pt x="6" y="33"/>
                      <a:pt x="5" y="34"/>
                      <a:pt x="6" y="35"/>
                    </a:cubicBezTo>
                    <a:cubicBezTo>
                      <a:pt x="6" y="36"/>
                      <a:pt x="7" y="36"/>
                      <a:pt x="7" y="37"/>
                    </a:cubicBezTo>
                    <a:cubicBezTo>
                      <a:pt x="7" y="37"/>
                      <a:pt x="7" y="38"/>
                      <a:pt x="7" y="38"/>
                    </a:cubicBezTo>
                    <a:cubicBezTo>
                      <a:pt x="7" y="38"/>
                      <a:pt x="7" y="39"/>
                      <a:pt x="7" y="39"/>
                    </a:cubicBezTo>
                    <a:cubicBezTo>
                      <a:pt x="8" y="40"/>
                      <a:pt x="8" y="41"/>
                      <a:pt x="8" y="42"/>
                    </a:cubicBezTo>
                    <a:cubicBezTo>
                      <a:pt x="9" y="43"/>
                      <a:pt x="9" y="43"/>
                      <a:pt x="10" y="43"/>
                    </a:cubicBezTo>
                    <a:cubicBezTo>
                      <a:pt x="11" y="44"/>
                      <a:pt x="10" y="44"/>
                      <a:pt x="10" y="44"/>
                    </a:cubicBezTo>
                    <a:cubicBezTo>
                      <a:pt x="11" y="45"/>
                      <a:pt x="11" y="45"/>
                      <a:pt x="12" y="45"/>
                    </a:cubicBezTo>
                    <a:cubicBezTo>
                      <a:pt x="13" y="46"/>
                      <a:pt x="13" y="46"/>
                      <a:pt x="14" y="47"/>
                    </a:cubicBezTo>
                    <a:cubicBezTo>
                      <a:pt x="14" y="47"/>
                      <a:pt x="14" y="47"/>
                      <a:pt x="14" y="47"/>
                    </a:cubicBezTo>
                    <a:cubicBezTo>
                      <a:pt x="15" y="48"/>
                      <a:pt x="15" y="48"/>
                      <a:pt x="16" y="48"/>
                    </a:cubicBezTo>
                    <a:cubicBezTo>
                      <a:pt x="16" y="48"/>
                      <a:pt x="17" y="48"/>
                      <a:pt x="18" y="49"/>
                    </a:cubicBezTo>
                    <a:cubicBezTo>
                      <a:pt x="18" y="49"/>
                      <a:pt x="18" y="49"/>
                      <a:pt x="19" y="49"/>
                    </a:cubicBezTo>
                    <a:cubicBezTo>
                      <a:pt x="19" y="50"/>
                      <a:pt x="19" y="50"/>
                      <a:pt x="19" y="50"/>
                    </a:cubicBezTo>
                    <a:cubicBezTo>
                      <a:pt x="19" y="51"/>
                      <a:pt x="19" y="52"/>
                      <a:pt x="19" y="53"/>
                    </a:cubicBezTo>
                    <a:cubicBezTo>
                      <a:pt x="20" y="53"/>
                      <a:pt x="22" y="53"/>
                      <a:pt x="23" y="53"/>
                    </a:cubicBezTo>
                    <a:cubicBezTo>
                      <a:pt x="23" y="53"/>
                      <a:pt x="23" y="54"/>
                      <a:pt x="23" y="54"/>
                    </a:cubicBezTo>
                    <a:cubicBezTo>
                      <a:pt x="23" y="55"/>
                      <a:pt x="23" y="56"/>
                      <a:pt x="23" y="56"/>
                    </a:cubicBezTo>
                    <a:cubicBezTo>
                      <a:pt x="23" y="57"/>
                      <a:pt x="23" y="57"/>
                      <a:pt x="23" y="58"/>
                    </a:cubicBezTo>
                    <a:cubicBezTo>
                      <a:pt x="23" y="59"/>
                      <a:pt x="23" y="59"/>
                      <a:pt x="23" y="60"/>
                    </a:cubicBezTo>
                    <a:cubicBezTo>
                      <a:pt x="23" y="61"/>
                      <a:pt x="24" y="62"/>
                      <a:pt x="25" y="63"/>
                    </a:cubicBezTo>
                    <a:cubicBezTo>
                      <a:pt x="25" y="64"/>
                      <a:pt x="25" y="65"/>
                      <a:pt x="27" y="65"/>
                    </a:cubicBezTo>
                    <a:cubicBezTo>
                      <a:pt x="27" y="66"/>
                      <a:pt x="28" y="66"/>
                      <a:pt x="29" y="66"/>
                    </a:cubicBezTo>
                    <a:cubicBezTo>
                      <a:pt x="29" y="66"/>
                      <a:pt x="30" y="66"/>
                      <a:pt x="30" y="66"/>
                    </a:cubicBezTo>
                    <a:cubicBezTo>
                      <a:pt x="31" y="66"/>
                      <a:pt x="31" y="66"/>
                      <a:pt x="32" y="66"/>
                    </a:cubicBezTo>
                    <a:cubicBezTo>
                      <a:pt x="33" y="67"/>
                      <a:pt x="33" y="67"/>
                      <a:pt x="34" y="67"/>
                    </a:cubicBezTo>
                    <a:cubicBezTo>
                      <a:pt x="35" y="68"/>
                      <a:pt x="36" y="67"/>
                      <a:pt x="35" y="69"/>
                    </a:cubicBezTo>
                    <a:cubicBezTo>
                      <a:pt x="35" y="70"/>
                      <a:pt x="36" y="71"/>
                      <a:pt x="37" y="71"/>
                    </a:cubicBezTo>
                    <a:cubicBezTo>
                      <a:pt x="37" y="71"/>
                      <a:pt x="37" y="71"/>
                      <a:pt x="38" y="71"/>
                    </a:cubicBezTo>
                    <a:cubicBezTo>
                      <a:pt x="38" y="71"/>
                      <a:pt x="38" y="72"/>
                      <a:pt x="38" y="72"/>
                    </a:cubicBezTo>
                    <a:cubicBezTo>
                      <a:pt x="39" y="72"/>
                      <a:pt x="40" y="72"/>
                      <a:pt x="40" y="72"/>
                    </a:cubicBezTo>
                    <a:cubicBezTo>
                      <a:pt x="42" y="71"/>
                      <a:pt x="43" y="72"/>
                      <a:pt x="44" y="72"/>
                    </a:cubicBezTo>
                    <a:cubicBezTo>
                      <a:pt x="44" y="72"/>
                      <a:pt x="45" y="73"/>
                      <a:pt x="45" y="73"/>
                    </a:cubicBezTo>
                    <a:cubicBezTo>
                      <a:pt x="46" y="73"/>
                      <a:pt x="46" y="73"/>
                      <a:pt x="47" y="74"/>
                    </a:cubicBezTo>
                    <a:cubicBezTo>
                      <a:pt x="48" y="74"/>
                      <a:pt x="49" y="74"/>
                      <a:pt x="50" y="74"/>
                    </a:cubicBezTo>
                    <a:cubicBezTo>
                      <a:pt x="51" y="73"/>
                      <a:pt x="52" y="73"/>
                      <a:pt x="52" y="73"/>
                    </a:cubicBezTo>
                    <a:cubicBezTo>
                      <a:pt x="53" y="73"/>
                      <a:pt x="53" y="73"/>
                      <a:pt x="54" y="74"/>
                    </a:cubicBezTo>
                    <a:cubicBezTo>
                      <a:pt x="55" y="74"/>
                      <a:pt x="56" y="74"/>
                      <a:pt x="57" y="75"/>
                    </a:cubicBezTo>
                    <a:cubicBezTo>
                      <a:pt x="59" y="73"/>
                      <a:pt x="61" y="70"/>
                      <a:pt x="63" y="68"/>
                    </a:cubicBezTo>
                    <a:cubicBezTo>
                      <a:pt x="64" y="67"/>
                      <a:pt x="65" y="66"/>
                      <a:pt x="66" y="65"/>
                    </a:cubicBezTo>
                    <a:cubicBezTo>
                      <a:pt x="66" y="64"/>
                      <a:pt x="68" y="62"/>
                      <a:pt x="68" y="63"/>
                    </a:cubicBezTo>
                    <a:cubicBezTo>
                      <a:pt x="68" y="62"/>
                      <a:pt x="68" y="61"/>
                      <a:pt x="67" y="61"/>
                    </a:cubicBezTo>
                    <a:cubicBezTo>
                      <a:pt x="67" y="60"/>
                      <a:pt x="68" y="59"/>
                      <a:pt x="68" y="59"/>
                    </a:cubicBezTo>
                    <a:cubicBezTo>
                      <a:pt x="69" y="58"/>
                      <a:pt x="68" y="56"/>
                      <a:pt x="69" y="55"/>
                    </a:cubicBezTo>
                    <a:cubicBezTo>
                      <a:pt x="69" y="54"/>
                      <a:pt x="70" y="55"/>
                      <a:pt x="71" y="54"/>
                    </a:cubicBezTo>
                    <a:cubicBezTo>
                      <a:pt x="71" y="53"/>
                      <a:pt x="71" y="53"/>
                      <a:pt x="72" y="52"/>
                    </a:cubicBezTo>
                    <a:cubicBezTo>
                      <a:pt x="72" y="52"/>
                      <a:pt x="72" y="51"/>
                      <a:pt x="72" y="51"/>
                    </a:cubicBezTo>
                    <a:cubicBezTo>
                      <a:pt x="72" y="51"/>
                      <a:pt x="72" y="50"/>
                      <a:pt x="73" y="50"/>
                    </a:cubicBezTo>
                    <a:cubicBezTo>
                      <a:pt x="73" y="50"/>
                      <a:pt x="73" y="49"/>
                      <a:pt x="73" y="49"/>
                    </a:cubicBezTo>
                    <a:cubicBezTo>
                      <a:pt x="73" y="49"/>
                      <a:pt x="73" y="49"/>
                      <a:pt x="73" y="49"/>
                    </a:cubicBezTo>
                    <a:cubicBezTo>
                      <a:pt x="73" y="48"/>
                      <a:pt x="74" y="49"/>
                      <a:pt x="74" y="48"/>
                    </a:cubicBezTo>
                    <a:cubicBezTo>
                      <a:pt x="74" y="48"/>
                      <a:pt x="74" y="48"/>
                      <a:pt x="74" y="48"/>
                    </a:cubicBezTo>
                    <a:cubicBezTo>
                      <a:pt x="74" y="47"/>
                      <a:pt x="74" y="46"/>
                      <a:pt x="74" y="46"/>
                    </a:cubicBezTo>
                    <a:cubicBezTo>
                      <a:pt x="74" y="45"/>
                      <a:pt x="74" y="45"/>
                      <a:pt x="74" y="45"/>
                    </a:cubicBezTo>
                    <a:cubicBezTo>
                      <a:pt x="74" y="45"/>
                      <a:pt x="74" y="44"/>
                      <a:pt x="74" y="44"/>
                    </a:cubicBezTo>
                    <a:cubicBezTo>
                      <a:pt x="73" y="44"/>
                      <a:pt x="73" y="45"/>
                      <a:pt x="73" y="45"/>
                    </a:cubicBezTo>
                    <a:cubicBezTo>
                      <a:pt x="72" y="45"/>
                      <a:pt x="72" y="44"/>
                      <a:pt x="73" y="43"/>
                    </a:cubicBezTo>
                    <a:cubicBezTo>
                      <a:pt x="73" y="43"/>
                      <a:pt x="73" y="43"/>
                      <a:pt x="73" y="42"/>
                    </a:cubicBezTo>
                    <a:cubicBezTo>
                      <a:pt x="72" y="42"/>
                      <a:pt x="72" y="42"/>
                      <a:pt x="72" y="42"/>
                    </a:cubicBezTo>
                    <a:cubicBezTo>
                      <a:pt x="72" y="42"/>
                      <a:pt x="72" y="41"/>
                      <a:pt x="72" y="41"/>
                    </a:cubicBezTo>
                    <a:cubicBezTo>
                      <a:pt x="73" y="40"/>
                      <a:pt x="73" y="39"/>
                      <a:pt x="73" y="38"/>
                    </a:cubicBezTo>
                    <a:cubicBezTo>
                      <a:pt x="73" y="38"/>
                      <a:pt x="73" y="37"/>
                      <a:pt x="72" y="37"/>
                    </a:cubicBezTo>
                    <a:cubicBezTo>
                      <a:pt x="72" y="37"/>
                      <a:pt x="71" y="37"/>
                      <a:pt x="71" y="37"/>
                    </a:cubicBezTo>
                    <a:cubicBezTo>
                      <a:pt x="71" y="36"/>
                      <a:pt x="72" y="36"/>
                      <a:pt x="72" y="36"/>
                    </a:cubicBezTo>
                    <a:cubicBezTo>
                      <a:pt x="72" y="36"/>
                      <a:pt x="71" y="36"/>
                      <a:pt x="71" y="35"/>
                    </a:cubicBezTo>
                    <a:cubicBezTo>
                      <a:pt x="71" y="35"/>
                      <a:pt x="72" y="35"/>
                      <a:pt x="73" y="35"/>
                    </a:cubicBezTo>
                    <a:cubicBezTo>
                      <a:pt x="75" y="35"/>
                      <a:pt x="73" y="33"/>
                      <a:pt x="73" y="32"/>
                    </a:cubicBezTo>
                    <a:cubicBezTo>
                      <a:pt x="74" y="32"/>
                      <a:pt x="75" y="32"/>
                      <a:pt x="74" y="31"/>
                    </a:cubicBezTo>
                    <a:cubicBezTo>
                      <a:pt x="74" y="30"/>
                      <a:pt x="75" y="31"/>
                      <a:pt x="75" y="30"/>
                    </a:cubicBezTo>
                    <a:cubicBezTo>
                      <a:pt x="75" y="29"/>
                      <a:pt x="74" y="29"/>
                      <a:pt x="74" y="28"/>
                    </a:cubicBezTo>
                    <a:cubicBezTo>
                      <a:pt x="74" y="27"/>
                      <a:pt x="74" y="27"/>
                      <a:pt x="74" y="26"/>
                    </a:cubicBezTo>
                    <a:cubicBezTo>
                      <a:pt x="74" y="25"/>
                      <a:pt x="74" y="25"/>
                      <a:pt x="74" y="24"/>
                    </a:cubicBezTo>
                    <a:cubicBezTo>
                      <a:pt x="75" y="24"/>
                      <a:pt x="75" y="23"/>
                      <a:pt x="75" y="2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63" name="Zambia">
                <a:extLst>
                  <a:ext uri="{FF2B5EF4-FFF2-40B4-BE49-F238E27FC236}">
                    <a16:creationId xmlns:a16="http://schemas.microsoft.com/office/drawing/2014/main" id="{5C6BCBD4-C793-2A2A-9B3F-8603D31B6FCB}"/>
                  </a:ext>
                </a:extLst>
              </p:cNvPr>
              <p:cNvSpPr>
                <a:spLocks/>
              </p:cNvSpPr>
              <p:nvPr/>
            </p:nvSpPr>
            <p:spPr bwMode="auto">
              <a:xfrm>
                <a:off x="6444549" y="4366823"/>
                <a:ext cx="403827" cy="382264"/>
              </a:xfrm>
              <a:custGeom>
                <a:avLst/>
                <a:gdLst/>
                <a:ahLst/>
                <a:cxnLst>
                  <a:cxn ang="0">
                    <a:pos x="111" y="17"/>
                  </a:cxn>
                  <a:cxn ang="0">
                    <a:pos x="108" y="15"/>
                  </a:cxn>
                  <a:cxn ang="0">
                    <a:pos x="105" y="11"/>
                  </a:cxn>
                  <a:cxn ang="0">
                    <a:pos x="98" y="9"/>
                  </a:cxn>
                  <a:cxn ang="0">
                    <a:pos x="93" y="4"/>
                  </a:cxn>
                  <a:cxn ang="0">
                    <a:pos x="90" y="5"/>
                  </a:cxn>
                  <a:cxn ang="0">
                    <a:pos x="86" y="3"/>
                  </a:cxn>
                  <a:cxn ang="0">
                    <a:pos x="84" y="3"/>
                  </a:cxn>
                  <a:cxn ang="0">
                    <a:pos x="68" y="2"/>
                  </a:cxn>
                  <a:cxn ang="0">
                    <a:pos x="65" y="14"/>
                  </a:cxn>
                  <a:cxn ang="0">
                    <a:pos x="65" y="22"/>
                  </a:cxn>
                  <a:cxn ang="0">
                    <a:pos x="65" y="29"/>
                  </a:cxn>
                  <a:cxn ang="0">
                    <a:pos x="63" y="35"/>
                  </a:cxn>
                  <a:cxn ang="0">
                    <a:pos x="67" y="42"/>
                  </a:cxn>
                  <a:cxn ang="0">
                    <a:pos x="74" y="46"/>
                  </a:cxn>
                  <a:cxn ang="0">
                    <a:pos x="75" y="43"/>
                  </a:cxn>
                  <a:cxn ang="0">
                    <a:pos x="76" y="55"/>
                  </a:cxn>
                  <a:cxn ang="0">
                    <a:pos x="74" y="55"/>
                  </a:cxn>
                  <a:cxn ang="0">
                    <a:pos x="68" y="55"/>
                  </a:cxn>
                  <a:cxn ang="0">
                    <a:pos x="65" y="50"/>
                  </a:cxn>
                  <a:cxn ang="0">
                    <a:pos x="64" y="48"/>
                  </a:cxn>
                  <a:cxn ang="0">
                    <a:pos x="59" y="45"/>
                  </a:cxn>
                  <a:cxn ang="0">
                    <a:pos x="52" y="39"/>
                  </a:cxn>
                  <a:cxn ang="0">
                    <a:pos x="49" y="39"/>
                  </a:cxn>
                  <a:cxn ang="0">
                    <a:pos x="47" y="41"/>
                  </a:cxn>
                  <a:cxn ang="0">
                    <a:pos x="41" y="40"/>
                  </a:cxn>
                  <a:cxn ang="0">
                    <a:pos x="36" y="38"/>
                  </a:cxn>
                  <a:cxn ang="0">
                    <a:pos x="33" y="34"/>
                  </a:cxn>
                  <a:cxn ang="0">
                    <a:pos x="27" y="34"/>
                  </a:cxn>
                  <a:cxn ang="0">
                    <a:pos x="24" y="32"/>
                  </a:cxn>
                  <a:cxn ang="0">
                    <a:pos x="21" y="29"/>
                  </a:cxn>
                  <a:cxn ang="0">
                    <a:pos x="20" y="37"/>
                  </a:cxn>
                  <a:cxn ang="0">
                    <a:pos x="19" y="50"/>
                  </a:cxn>
                  <a:cxn ang="0">
                    <a:pos x="6" y="52"/>
                  </a:cxn>
                  <a:cxn ang="0">
                    <a:pos x="1" y="57"/>
                  </a:cxn>
                  <a:cxn ang="0">
                    <a:pos x="2" y="89"/>
                  </a:cxn>
                  <a:cxn ang="0">
                    <a:pos x="15" y="103"/>
                  </a:cxn>
                  <a:cxn ang="0">
                    <a:pos x="26" y="102"/>
                  </a:cxn>
                  <a:cxn ang="0">
                    <a:pos x="34" y="105"/>
                  </a:cxn>
                  <a:cxn ang="0">
                    <a:pos x="41" y="106"/>
                  </a:cxn>
                  <a:cxn ang="0">
                    <a:pos x="46" y="108"/>
                  </a:cxn>
                  <a:cxn ang="0">
                    <a:pos x="55" y="98"/>
                  </a:cxn>
                  <a:cxn ang="0">
                    <a:pos x="66" y="90"/>
                  </a:cxn>
                  <a:cxn ang="0">
                    <a:pos x="68" y="84"/>
                  </a:cxn>
                  <a:cxn ang="0">
                    <a:pos x="79" y="81"/>
                  </a:cxn>
                  <a:cxn ang="0">
                    <a:pos x="80" y="76"/>
                  </a:cxn>
                  <a:cxn ang="0">
                    <a:pos x="87" y="71"/>
                  </a:cxn>
                  <a:cxn ang="0">
                    <a:pos x="109" y="63"/>
                  </a:cxn>
                  <a:cxn ang="0">
                    <a:pos x="106" y="62"/>
                  </a:cxn>
                  <a:cxn ang="0">
                    <a:pos x="104" y="58"/>
                  </a:cxn>
                  <a:cxn ang="0">
                    <a:pos x="107" y="53"/>
                  </a:cxn>
                  <a:cxn ang="0">
                    <a:pos x="109" y="48"/>
                  </a:cxn>
                  <a:cxn ang="0">
                    <a:pos x="111" y="45"/>
                  </a:cxn>
                  <a:cxn ang="0">
                    <a:pos x="110" y="37"/>
                  </a:cxn>
                  <a:cxn ang="0">
                    <a:pos x="111" y="33"/>
                  </a:cxn>
                  <a:cxn ang="0">
                    <a:pos x="112" y="28"/>
                  </a:cxn>
                </a:cxnLst>
                <a:rect l="0" t="0" r="r" b="b"/>
                <a:pathLst>
                  <a:path w="114" h="108">
                    <a:moveTo>
                      <a:pt x="113" y="24"/>
                    </a:moveTo>
                    <a:cubicBezTo>
                      <a:pt x="113" y="23"/>
                      <a:pt x="113" y="23"/>
                      <a:pt x="113" y="22"/>
                    </a:cubicBezTo>
                    <a:cubicBezTo>
                      <a:pt x="113" y="21"/>
                      <a:pt x="112" y="21"/>
                      <a:pt x="112" y="20"/>
                    </a:cubicBezTo>
                    <a:cubicBezTo>
                      <a:pt x="110" y="19"/>
                      <a:pt x="112" y="18"/>
                      <a:pt x="111" y="17"/>
                    </a:cubicBezTo>
                    <a:cubicBezTo>
                      <a:pt x="111" y="17"/>
                      <a:pt x="110" y="16"/>
                      <a:pt x="110" y="15"/>
                    </a:cubicBezTo>
                    <a:cubicBezTo>
                      <a:pt x="110" y="15"/>
                      <a:pt x="110" y="14"/>
                      <a:pt x="109" y="15"/>
                    </a:cubicBezTo>
                    <a:cubicBezTo>
                      <a:pt x="109" y="15"/>
                      <a:pt x="109" y="15"/>
                      <a:pt x="109" y="15"/>
                    </a:cubicBezTo>
                    <a:cubicBezTo>
                      <a:pt x="109" y="15"/>
                      <a:pt x="108" y="15"/>
                      <a:pt x="108" y="15"/>
                    </a:cubicBezTo>
                    <a:cubicBezTo>
                      <a:pt x="108" y="15"/>
                      <a:pt x="108" y="15"/>
                      <a:pt x="108" y="14"/>
                    </a:cubicBezTo>
                    <a:cubicBezTo>
                      <a:pt x="108" y="13"/>
                      <a:pt x="108" y="14"/>
                      <a:pt x="107" y="13"/>
                    </a:cubicBezTo>
                    <a:cubicBezTo>
                      <a:pt x="107" y="12"/>
                      <a:pt x="107" y="12"/>
                      <a:pt x="106" y="12"/>
                    </a:cubicBezTo>
                    <a:cubicBezTo>
                      <a:pt x="106" y="12"/>
                      <a:pt x="105" y="11"/>
                      <a:pt x="105" y="11"/>
                    </a:cubicBezTo>
                    <a:cubicBezTo>
                      <a:pt x="104" y="11"/>
                      <a:pt x="104" y="11"/>
                      <a:pt x="103" y="11"/>
                    </a:cubicBezTo>
                    <a:cubicBezTo>
                      <a:pt x="103" y="10"/>
                      <a:pt x="103" y="10"/>
                      <a:pt x="102" y="10"/>
                    </a:cubicBezTo>
                    <a:cubicBezTo>
                      <a:pt x="102" y="9"/>
                      <a:pt x="101" y="10"/>
                      <a:pt x="100" y="9"/>
                    </a:cubicBezTo>
                    <a:cubicBezTo>
                      <a:pt x="100" y="9"/>
                      <a:pt x="99" y="8"/>
                      <a:pt x="98" y="9"/>
                    </a:cubicBezTo>
                    <a:cubicBezTo>
                      <a:pt x="98" y="9"/>
                      <a:pt x="98" y="8"/>
                      <a:pt x="98" y="8"/>
                    </a:cubicBezTo>
                    <a:cubicBezTo>
                      <a:pt x="98" y="7"/>
                      <a:pt x="96" y="7"/>
                      <a:pt x="96" y="7"/>
                    </a:cubicBezTo>
                    <a:cubicBezTo>
                      <a:pt x="95" y="7"/>
                      <a:pt x="95" y="7"/>
                      <a:pt x="94" y="6"/>
                    </a:cubicBezTo>
                    <a:cubicBezTo>
                      <a:pt x="94" y="6"/>
                      <a:pt x="94" y="4"/>
                      <a:pt x="93" y="4"/>
                    </a:cubicBezTo>
                    <a:cubicBezTo>
                      <a:pt x="93" y="4"/>
                      <a:pt x="93" y="4"/>
                      <a:pt x="92" y="4"/>
                    </a:cubicBezTo>
                    <a:cubicBezTo>
                      <a:pt x="92" y="4"/>
                      <a:pt x="92" y="4"/>
                      <a:pt x="92" y="4"/>
                    </a:cubicBezTo>
                    <a:cubicBezTo>
                      <a:pt x="91" y="4"/>
                      <a:pt x="91" y="3"/>
                      <a:pt x="90" y="4"/>
                    </a:cubicBezTo>
                    <a:cubicBezTo>
                      <a:pt x="91" y="4"/>
                      <a:pt x="91" y="5"/>
                      <a:pt x="90" y="5"/>
                    </a:cubicBezTo>
                    <a:cubicBezTo>
                      <a:pt x="90" y="5"/>
                      <a:pt x="90" y="5"/>
                      <a:pt x="90" y="5"/>
                    </a:cubicBezTo>
                    <a:cubicBezTo>
                      <a:pt x="90" y="5"/>
                      <a:pt x="89" y="6"/>
                      <a:pt x="89" y="6"/>
                    </a:cubicBezTo>
                    <a:cubicBezTo>
                      <a:pt x="88" y="6"/>
                      <a:pt x="88" y="4"/>
                      <a:pt x="87" y="4"/>
                    </a:cubicBezTo>
                    <a:cubicBezTo>
                      <a:pt x="87" y="3"/>
                      <a:pt x="86" y="3"/>
                      <a:pt x="86" y="3"/>
                    </a:cubicBezTo>
                    <a:cubicBezTo>
                      <a:pt x="86" y="3"/>
                      <a:pt x="85" y="2"/>
                      <a:pt x="85" y="3"/>
                    </a:cubicBezTo>
                    <a:cubicBezTo>
                      <a:pt x="85" y="3"/>
                      <a:pt x="85" y="3"/>
                      <a:pt x="85" y="3"/>
                    </a:cubicBezTo>
                    <a:cubicBezTo>
                      <a:pt x="85" y="3"/>
                      <a:pt x="84" y="4"/>
                      <a:pt x="84" y="4"/>
                    </a:cubicBezTo>
                    <a:cubicBezTo>
                      <a:pt x="84" y="3"/>
                      <a:pt x="84" y="3"/>
                      <a:pt x="84" y="3"/>
                    </a:cubicBezTo>
                    <a:cubicBezTo>
                      <a:pt x="84" y="3"/>
                      <a:pt x="84" y="3"/>
                      <a:pt x="83" y="3"/>
                    </a:cubicBezTo>
                    <a:cubicBezTo>
                      <a:pt x="83" y="2"/>
                      <a:pt x="83" y="2"/>
                      <a:pt x="83" y="2"/>
                    </a:cubicBezTo>
                    <a:cubicBezTo>
                      <a:pt x="84" y="1"/>
                      <a:pt x="85" y="1"/>
                      <a:pt x="85" y="0"/>
                    </a:cubicBezTo>
                    <a:cubicBezTo>
                      <a:pt x="79" y="1"/>
                      <a:pt x="74" y="1"/>
                      <a:pt x="68" y="2"/>
                    </a:cubicBezTo>
                    <a:cubicBezTo>
                      <a:pt x="70" y="5"/>
                      <a:pt x="66" y="9"/>
                      <a:pt x="65" y="10"/>
                    </a:cubicBezTo>
                    <a:cubicBezTo>
                      <a:pt x="64" y="10"/>
                      <a:pt x="63" y="11"/>
                      <a:pt x="63" y="11"/>
                    </a:cubicBezTo>
                    <a:cubicBezTo>
                      <a:pt x="63" y="12"/>
                      <a:pt x="64" y="12"/>
                      <a:pt x="64" y="12"/>
                    </a:cubicBezTo>
                    <a:cubicBezTo>
                      <a:pt x="65" y="12"/>
                      <a:pt x="64" y="14"/>
                      <a:pt x="65" y="14"/>
                    </a:cubicBezTo>
                    <a:cubicBezTo>
                      <a:pt x="65" y="14"/>
                      <a:pt x="65" y="16"/>
                      <a:pt x="66" y="16"/>
                    </a:cubicBezTo>
                    <a:cubicBezTo>
                      <a:pt x="66" y="17"/>
                      <a:pt x="66" y="17"/>
                      <a:pt x="66" y="18"/>
                    </a:cubicBezTo>
                    <a:cubicBezTo>
                      <a:pt x="65" y="19"/>
                      <a:pt x="66" y="19"/>
                      <a:pt x="65" y="20"/>
                    </a:cubicBezTo>
                    <a:cubicBezTo>
                      <a:pt x="65" y="21"/>
                      <a:pt x="65" y="21"/>
                      <a:pt x="65" y="22"/>
                    </a:cubicBezTo>
                    <a:cubicBezTo>
                      <a:pt x="66" y="22"/>
                      <a:pt x="65" y="23"/>
                      <a:pt x="65" y="24"/>
                    </a:cubicBezTo>
                    <a:cubicBezTo>
                      <a:pt x="66" y="24"/>
                      <a:pt x="66" y="25"/>
                      <a:pt x="66" y="26"/>
                    </a:cubicBezTo>
                    <a:cubicBezTo>
                      <a:pt x="66" y="27"/>
                      <a:pt x="66" y="26"/>
                      <a:pt x="66" y="27"/>
                    </a:cubicBezTo>
                    <a:cubicBezTo>
                      <a:pt x="65" y="28"/>
                      <a:pt x="65" y="28"/>
                      <a:pt x="65" y="29"/>
                    </a:cubicBezTo>
                    <a:cubicBezTo>
                      <a:pt x="64" y="30"/>
                      <a:pt x="64" y="31"/>
                      <a:pt x="64" y="31"/>
                    </a:cubicBezTo>
                    <a:cubicBezTo>
                      <a:pt x="64" y="32"/>
                      <a:pt x="64" y="33"/>
                      <a:pt x="63" y="33"/>
                    </a:cubicBezTo>
                    <a:cubicBezTo>
                      <a:pt x="63" y="34"/>
                      <a:pt x="63" y="34"/>
                      <a:pt x="63" y="34"/>
                    </a:cubicBezTo>
                    <a:cubicBezTo>
                      <a:pt x="63" y="35"/>
                      <a:pt x="63" y="35"/>
                      <a:pt x="63" y="35"/>
                    </a:cubicBezTo>
                    <a:cubicBezTo>
                      <a:pt x="62" y="36"/>
                      <a:pt x="63" y="36"/>
                      <a:pt x="63" y="37"/>
                    </a:cubicBezTo>
                    <a:cubicBezTo>
                      <a:pt x="63" y="38"/>
                      <a:pt x="63" y="39"/>
                      <a:pt x="64" y="39"/>
                    </a:cubicBezTo>
                    <a:cubicBezTo>
                      <a:pt x="64" y="40"/>
                      <a:pt x="65" y="40"/>
                      <a:pt x="65" y="40"/>
                    </a:cubicBezTo>
                    <a:cubicBezTo>
                      <a:pt x="66" y="41"/>
                      <a:pt x="66" y="41"/>
                      <a:pt x="67" y="42"/>
                    </a:cubicBezTo>
                    <a:cubicBezTo>
                      <a:pt x="67" y="42"/>
                      <a:pt x="67" y="43"/>
                      <a:pt x="68" y="43"/>
                    </a:cubicBezTo>
                    <a:cubicBezTo>
                      <a:pt x="68" y="44"/>
                      <a:pt x="69" y="46"/>
                      <a:pt x="70" y="45"/>
                    </a:cubicBezTo>
                    <a:cubicBezTo>
                      <a:pt x="71" y="45"/>
                      <a:pt x="71" y="46"/>
                      <a:pt x="72" y="46"/>
                    </a:cubicBezTo>
                    <a:cubicBezTo>
                      <a:pt x="73" y="46"/>
                      <a:pt x="73" y="46"/>
                      <a:pt x="74" y="46"/>
                    </a:cubicBezTo>
                    <a:cubicBezTo>
                      <a:pt x="74" y="46"/>
                      <a:pt x="74" y="46"/>
                      <a:pt x="74" y="46"/>
                    </a:cubicBezTo>
                    <a:cubicBezTo>
                      <a:pt x="73" y="45"/>
                      <a:pt x="73" y="45"/>
                      <a:pt x="73" y="45"/>
                    </a:cubicBezTo>
                    <a:cubicBezTo>
                      <a:pt x="73" y="44"/>
                      <a:pt x="73" y="44"/>
                      <a:pt x="74" y="43"/>
                    </a:cubicBezTo>
                    <a:cubicBezTo>
                      <a:pt x="74" y="43"/>
                      <a:pt x="75" y="44"/>
                      <a:pt x="75" y="43"/>
                    </a:cubicBezTo>
                    <a:cubicBezTo>
                      <a:pt x="76" y="43"/>
                      <a:pt x="77" y="43"/>
                      <a:pt x="77" y="43"/>
                    </a:cubicBezTo>
                    <a:cubicBezTo>
                      <a:pt x="77" y="44"/>
                      <a:pt x="77" y="45"/>
                      <a:pt x="77" y="46"/>
                    </a:cubicBezTo>
                    <a:cubicBezTo>
                      <a:pt x="76" y="48"/>
                      <a:pt x="76" y="50"/>
                      <a:pt x="76" y="52"/>
                    </a:cubicBezTo>
                    <a:cubicBezTo>
                      <a:pt x="76" y="53"/>
                      <a:pt x="76" y="54"/>
                      <a:pt x="76" y="55"/>
                    </a:cubicBezTo>
                    <a:cubicBezTo>
                      <a:pt x="76" y="55"/>
                      <a:pt x="76" y="57"/>
                      <a:pt x="76" y="57"/>
                    </a:cubicBezTo>
                    <a:cubicBezTo>
                      <a:pt x="76" y="57"/>
                      <a:pt x="75" y="57"/>
                      <a:pt x="75" y="57"/>
                    </a:cubicBezTo>
                    <a:cubicBezTo>
                      <a:pt x="74" y="56"/>
                      <a:pt x="75" y="56"/>
                      <a:pt x="75" y="56"/>
                    </a:cubicBezTo>
                    <a:cubicBezTo>
                      <a:pt x="75" y="55"/>
                      <a:pt x="75" y="55"/>
                      <a:pt x="74" y="55"/>
                    </a:cubicBezTo>
                    <a:cubicBezTo>
                      <a:pt x="74" y="54"/>
                      <a:pt x="73" y="55"/>
                      <a:pt x="73" y="56"/>
                    </a:cubicBezTo>
                    <a:cubicBezTo>
                      <a:pt x="72" y="56"/>
                      <a:pt x="71" y="57"/>
                      <a:pt x="70" y="56"/>
                    </a:cubicBezTo>
                    <a:cubicBezTo>
                      <a:pt x="70" y="56"/>
                      <a:pt x="69" y="57"/>
                      <a:pt x="68" y="56"/>
                    </a:cubicBezTo>
                    <a:cubicBezTo>
                      <a:pt x="68" y="56"/>
                      <a:pt x="68" y="56"/>
                      <a:pt x="68" y="55"/>
                    </a:cubicBezTo>
                    <a:cubicBezTo>
                      <a:pt x="68" y="55"/>
                      <a:pt x="68" y="54"/>
                      <a:pt x="68" y="54"/>
                    </a:cubicBezTo>
                    <a:cubicBezTo>
                      <a:pt x="68" y="54"/>
                      <a:pt x="68" y="54"/>
                      <a:pt x="67" y="54"/>
                    </a:cubicBezTo>
                    <a:cubicBezTo>
                      <a:pt x="67" y="54"/>
                      <a:pt x="67" y="53"/>
                      <a:pt x="67" y="53"/>
                    </a:cubicBezTo>
                    <a:cubicBezTo>
                      <a:pt x="67" y="53"/>
                      <a:pt x="66" y="50"/>
                      <a:pt x="65" y="50"/>
                    </a:cubicBezTo>
                    <a:cubicBezTo>
                      <a:pt x="65" y="50"/>
                      <a:pt x="65" y="51"/>
                      <a:pt x="64" y="51"/>
                    </a:cubicBezTo>
                    <a:cubicBezTo>
                      <a:pt x="64" y="51"/>
                      <a:pt x="64" y="50"/>
                      <a:pt x="64" y="50"/>
                    </a:cubicBezTo>
                    <a:cubicBezTo>
                      <a:pt x="64" y="50"/>
                      <a:pt x="64" y="50"/>
                      <a:pt x="64" y="49"/>
                    </a:cubicBezTo>
                    <a:cubicBezTo>
                      <a:pt x="64" y="49"/>
                      <a:pt x="64" y="49"/>
                      <a:pt x="64" y="48"/>
                    </a:cubicBezTo>
                    <a:cubicBezTo>
                      <a:pt x="64" y="47"/>
                      <a:pt x="63" y="47"/>
                      <a:pt x="63" y="46"/>
                    </a:cubicBezTo>
                    <a:cubicBezTo>
                      <a:pt x="62" y="46"/>
                      <a:pt x="62" y="46"/>
                      <a:pt x="61" y="46"/>
                    </a:cubicBezTo>
                    <a:cubicBezTo>
                      <a:pt x="61" y="45"/>
                      <a:pt x="61" y="46"/>
                      <a:pt x="60" y="45"/>
                    </a:cubicBezTo>
                    <a:cubicBezTo>
                      <a:pt x="60" y="45"/>
                      <a:pt x="59" y="46"/>
                      <a:pt x="59" y="45"/>
                    </a:cubicBezTo>
                    <a:cubicBezTo>
                      <a:pt x="58" y="44"/>
                      <a:pt x="58" y="44"/>
                      <a:pt x="57" y="44"/>
                    </a:cubicBezTo>
                    <a:cubicBezTo>
                      <a:pt x="56" y="45"/>
                      <a:pt x="55" y="43"/>
                      <a:pt x="54" y="42"/>
                    </a:cubicBezTo>
                    <a:cubicBezTo>
                      <a:pt x="54" y="42"/>
                      <a:pt x="54" y="41"/>
                      <a:pt x="53" y="40"/>
                    </a:cubicBezTo>
                    <a:cubicBezTo>
                      <a:pt x="53" y="40"/>
                      <a:pt x="52" y="39"/>
                      <a:pt x="52" y="39"/>
                    </a:cubicBezTo>
                    <a:cubicBezTo>
                      <a:pt x="51" y="38"/>
                      <a:pt x="52" y="37"/>
                      <a:pt x="51" y="37"/>
                    </a:cubicBezTo>
                    <a:cubicBezTo>
                      <a:pt x="50" y="37"/>
                      <a:pt x="50" y="37"/>
                      <a:pt x="50" y="37"/>
                    </a:cubicBezTo>
                    <a:cubicBezTo>
                      <a:pt x="50" y="37"/>
                      <a:pt x="50" y="37"/>
                      <a:pt x="50" y="38"/>
                    </a:cubicBezTo>
                    <a:cubicBezTo>
                      <a:pt x="50" y="38"/>
                      <a:pt x="50" y="38"/>
                      <a:pt x="49" y="39"/>
                    </a:cubicBezTo>
                    <a:cubicBezTo>
                      <a:pt x="49" y="39"/>
                      <a:pt x="49" y="39"/>
                      <a:pt x="49" y="39"/>
                    </a:cubicBezTo>
                    <a:cubicBezTo>
                      <a:pt x="49" y="40"/>
                      <a:pt x="49" y="41"/>
                      <a:pt x="48" y="41"/>
                    </a:cubicBezTo>
                    <a:cubicBezTo>
                      <a:pt x="48" y="41"/>
                      <a:pt x="47" y="41"/>
                      <a:pt x="47" y="41"/>
                    </a:cubicBezTo>
                    <a:cubicBezTo>
                      <a:pt x="47" y="41"/>
                      <a:pt x="47" y="41"/>
                      <a:pt x="47" y="41"/>
                    </a:cubicBezTo>
                    <a:cubicBezTo>
                      <a:pt x="47" y="41"/>
                      <a:pt x="46" y="41"/>
                      <a:pt x="46" y="41"/>
                    </a:cubicBezTo>
                    <a:cubicBezTo>
                      <a:pt x="46" y="41"/>
                      <a:pt x="45" y="41"/>
                      <a:pt x="45" y="41"/>
                    </a:cubicBezTo>
                    <a:cubicBezTo>
                      <a:pt x="44" y="41"/>
                      <a:pt x="44" y="40"/>
                      <a:pt x="43" y="40"/>
                    </a:cubicBezTo>
                    <a:cubicBezTo>
                      <a:pt x="43" y="40"/>
                      <a:pt x="42" y="40"/>
                      <a:pt x="41" y="40"/>
                    </a:cubicBezTo>
                    <a:cubicBezTo>
                      <a:pt x="41" y="40"/>
                      <a:pt x="40" y="40"/>
                      <a:pt x="39" y="40"/>
                    </a:cubicBezTo>
                    <a:cubicBezTo>
                      <a:pt x="39" y="39"/>
                      <a:pt x="39" y="39"/>
                      <a:pt x="38" y="39"/>
                    </a:cubicBezTo>
                    <a:cubicBezTo>
                      <a:pt x="38" y="39"/>
                      <a:pt x="38" y="39"/>
                      <a:pt x="38" y="39"/>
                    </a:cubicBezTo>
                    <a:cubicBezTo>
                      <a:pt x="37" y="39"/>
                      <a:pt x="37" y="38"/>
                      <a:pt x="36" y="38"/>
                    </a:cubicBezTo>
                    <a:cubicBezTo>
                      <a:pt x="36" y="38"/>
                      <a:pt x="36" y="39"/>
                      <a:pt x="35" y="39"/>
                    </a:cubicBezTo>
                    <a:cubicBezTo>
                      <a:pt x="35" y="39"/>
                      <a:pt x="35" y="38"/>
                      <a:pt x="35" y="38"/>
                    </a:cubicBezTo>
                    <a:cubicBezTo>
                      <a:pt x="34" y="37"/>
                      <a:pt x="34" y="37"/>
                      <a:pt x="33" y="36"/>
                    </a:cubicBezTo>
                    <a:cubicBezTo>
                      <a:pt x="33" y="36"/>
                      <a:pt x="33" y="35"/>
                      <a:pt x="33" y="34"/>
                    </a:cubicBezTo>
                    <a:cubicBezTo>
                      <a:pt x="33" y="34"/>
                      <a:pt x="34" y="32"/>
                      <a:pt x="33" y="32"/>
                    </a:cubicBezTo>
                    <a:cubicBezTo>
                      <a:pt x="33" y="32"/>
                      <a:pt x="32" y="33"/>
                      <a:pt x="31" y="33"/>
                    </a:cubicBezTo>
                    <a:cubicBezTo>
                      <a:pt x="30" y="33"/>
                      <a:pt x="30" y="33"/>
                      <a:pt x="29" y="34"/>
                    </a:cubicBezTo>
                    <a:cubicBezTo>
                      <a:pt x="28" y="34"/>
                      <a:pt x="28" y="33"/>
                      <a:pt x="27" y="34"/>
                    </a:cubicBezTo>
                    <a:cubicBezTo>
                      <a:pt x="27" y="34"/>
                      <a:pt x="26" y="35"/>
                      <a:pt x="26" y="35"/>
                    </a:cubicBezTo>
                    <a:cubicBezTo>
                      <a:pt x="25" y="35"/>
                      <a:pt x="24" y="35"/>
                      <a:pt x="24" y="35"/>
                    </a:cubicBezTo>
                    <a:cubicBezTo>
                      <a:pt x="23" y="34"/>
                      <a:pt x="24" y="34"/>
                      <a:pt x="24" y="34"/>
                    </a:cubicBezTo>
                    <a:cubicBezTo>
                      <a:pt x="25" y="33"/>
                      <a:pt x="24" y="32"/>
                      <a:pt x="24" y="32"/>
                    </a:cubicBezTo>
                    <a:cubicBezTo>
                      <a:pt x="24" y="31"/>
                      <a:pt x="24" y="31"/>
                      <a:pt x="24" y="31"/>
                    </a:cubicBezTo>
                    <a:cubicBezTo>
                      <a:pt x="23" y="31"/>
                      <a:pt x="22" y="31"/>
                      <a:pt x="22" y="30"/>
                    </a:cubicBezTo>
                    <a:cubicBezTo>
                      <a:pt x="22" y="30"/>
                      <a:pt x="22" y="29"/>
                      <a:pt x="22" y="29"/>
                    </a:cubicBezTo>
                    <a:cubicBezTo>
                      <a:pt x="21" y="29"/>
                      <a:pt x="20" y="28"/>
                      <a:pt x="21" y="29"/>
                    </a:cubicBezTo>
                    <a:cubicBezTo>
                      <a:pt x="21" y="30"/>
                      <a:pt x="21" y="30"/>
                      <a:pt x="21" y="31"/>
                    </a:cubicBezTo>
                    <a:cubicBezTo>
                      <a:pt x="21" y="32"/>
                      <a:pt x="21" y="33"/>
                      <a:pt x="21" y="34"/>
                    </a:cubicBezTo>
                    <a:cubicBezTo>
                      <a:pt x="21" y="34"/>
                      <a:pt x="21" y="34"/>
                      <a:pt x="21" y="35"/>
                    </a:cubicBezTo>
                    <a:cubicBezTo>
                      <a:pt x="21" y="36"/>
                      <a:pt x="20" y="36"/>
                      <a:pt x="20" y="37"/>
                    </a:cubicBezTo>
                    <a:cubicBezTo>
                      <a:pt x="20" y="38"/>
                      <a:pt x="21" y="38"/>
                      <a:pt x="21" y="39"/>
                    </a:cubicBezTo>
                    <a:cubicBezTo>
                      <a:pt x="20" y="41"/>
                      <a:pt x="20" y="42"/>
                      <a:pt x="21" y="44"/>
                    </a:cubicBezTo>
                    <a:cubicBezTo>
                      <a:pt x="21" y="45"/>
                      <a:pt x="20" y="46"/>
                      <a:pt x="20" y="48"/>
                    </a:cubicBezTo>
                    <a:cubicBezTo>
                      <a:pt x="20" y="48"/>
                      <a:pt x="19" y="49"/>
                      <a:pt x="19" y="50"/>
                    </a:cubicBezTo>
                    <a:cubicBezTo>
                      <a:pt x="19" y="50"/>
                      <a:pt x="20" y="51"/>
                      <a:pt x="20" y="51"/>
                    </a:cubicBezTo>
                    <a:cubicBezTo>
                      <a:pt x="20" y="51"/>
                      <a:pt x="20" y="52"/>
                      <a:pt x="20" y="52"/>
                    </a:cubicBezTo>
                    <a:cubicBezTo>
                      <a:pt x="20" y="52"/>
                      <a:pt x="19" y="52"/>
                      <a:pt x="19" y="52"/>
                    </a:cubicBezTo>
                    <a:cubicBezTo>
                      <a:pt x="15" y="52"/>
                      <a:pt x="11" y="52"/>
                      <a:pt x="6" y="52"/>
                    </a:cubicBezTo>
                    <a:cubicBezTo>
                      <a:pt x="5" y="52"/>
                      <a:pt x="4" y="52"/>
                      <a:pt x="3" y="52"/>
                    </a:cubicBezTo>
                    <a:cubicBezTo>
                      <a:pt x="3" y="52"/>
                      <a:pt x="2" y="52"/>
                      <a:pt x="1" y="52"/>
                    </a:cubicBezTo>
                    <a:cubicBezTo>
                      <a:pt x="1" y="52"/>
                      <a:pt x="1" y="54"/>
                      <a:pt x="1" y="54"/>
                    </a:cubicBezTo>
                    <a:cubicBezTo>
                      <a:pt x="1" y="55"/>
                      <a:pt x="1" y="56"/>
                      <a:pt x="1" y="57"/>
                    </a:cubicBezTo>
                    <a:cubicBezTo>
                      <a:pt x="1" y="65"/>
                      <a:pt x="1" y="74"/>
                      <a:pt x="1" y="82"/>
                    </a:cubicBezTo>
                    <a:cubicBezTo>
                      <a:pt x="1" y="83"/>
                      <a:pt x="1" y="84"/>
                      <a:pt x="1" y="85"/>
                    </a:cubicBezTo>
                    <a:cubicBezTo>
                      <a:pt x="1" y="86"/>
                      <a:pt x="0" y="87"/>
                      <a:pt x="1" y="87"/>
                    </a:cubicBezTo>
                    <a:cubicBezTo>
                      <a:pt x="1" y="88"/>
                      <a:pt x="1" y="88"/>
                      <a:pt x="2" y="89"/>
                    </a:cubicBezTo>
                    <a:cubicBezTo>
                      <a:pt x="2" y="89"/>
                      <a:pt x="1" y="90"/>
                      <a:pt x="2" y="91"/>
                    </a:cubicBezTo>
                    <a:cubicBezTo>
                      <a:pt x="5" y="93"/>
                      <a:pt x="7" y="96"/>
                      <a:pt x="10" y="99"/>
                    </a:cubicBezTo>
                    <a:cubicBezTo>
                      <a:pt x="11" y="100"/>
                      <a:pt x="12" y="101"/>
                      <a:pt x="13" y="102"/>
                    </a:cubicBezTo>
                    <a:cubicBezTo>
                      <a:pt x="14" y="103"/>
                      <a:pt x="14" y="103"/>
                      <a:pt x="15" y="103"/>
                    </a:cubicBezTo>
                    <a:cubicBezTo>
                      <a:pt x="15" y="103"/>
                      <a:pt x="16" y="103"/>
                      <a:pt x="17" y="102"/>
                    </a:cubicBezTo>
                    <a:cubicBezTo>
                      <a:pt x="19" y="102"/>
                      <a:pt x="21" y="101"/>
                      <a:pt x="23" y="101"/>
                    </a:cubicBezTo>
                    <a:cubicBezTo>
                      <a:pt x="24" y="101"/>
                      <a:pt x="25" y="102"/>
                      <a:pt x="25" y="102"/>
                    </a:cubicBezTo>
                    <a:cubicBezTo>
                      <a:pt x="26" y="102"/>
                      <a:pt x="26" y="101"/>
                      <a:pt x="26" y="102"/>
                    </a:cubicBezTo>
                    <a:cubicBezTo>
                      <a:pt x="26" y="102"/>
                      <a:pt x="27" y="102"/>
                      <a:pt x="27" y="102"/>
                    </a:cubicBezTo>
                    <a:cubicBezTo>
                      <a:pt x="28" y="102"/>
                      <a:pt x="29" y="102"/>
                      <a:pt x="29" y="103"/>
                    </a:cubicBezTo>
                    <a:cubicBezTo>
                      <a:pt x="30" y="103"/>
                      <a:pt x="30" y="104"/>
                      <a:pt x="31" y="104"/>
                    </a:cubicBezTo>
                    <a:cubicBezTo>
                      <a:pt x="31" y="105"/>
                      <a:pt x="33" y="106"/>
                      <a:pt x="34" y="105"/>
                    </a:cubicBezTo>
                    <a:cubicBezTo>
                      <a:pt x="35" y="105"/>
                      <a:pt x="35" y="105"/>
                      <a:pt x="36" y="105"/>
                    </a:cubicBezTo>
                    <a:cubicBezTo>
                      <a:pt x="36" y="105"/>
                      <a:pt x="37" y="106"/>
                      <a:pt x="37" y="106"/>
                    </a:cubicBezTo>
                    <a:cubicBezTo>
                      <a:pt x="37" y="107"/>
                      <a:pt x="39" y="107"/>
                      <a:pt x="39" y="106"/>
                    </a:cubicBezTo>
                    <a:cubicBezTo>
                      <a:pt x="39" y="106"/>
                      <a:pt x="40" y="106"/>
                      <a:pt x="41" y="106"/>
                    </a:cubicBezTo>
                    <a:cubicBezTo>
                      <a:pt x="41" y="106"/>
                      <a:pt x="41" y="106"/>
                      <a:pt x="41" y="106"/>
                    </a:cubicBezTo>
                    <a:cubicBezTo>
                      <a:pt x="42" y="106"/>
                      <a:pt x="42" y="106"/>
                      <a:pt x="42" y="106"/>
                    </a:cubicBezTo>
                    <a:cubicBezTo>
                      <a:pt x="43" y="107"/>
                      <a:pt x="44" y="107"/>
                      <a:pt x="44" y="107"/>
                    </a:cubicBezTo>
                    <a:cubicBezTo>
                      <a:pt x="45" y="108"/>
                      <a:pt x="45" y="108"/>
                      <a:pt x="46" y="108"/>
                    </a:cubicBezTo>
                    <a:cubicBezTo>
                      <a:pt x="47" y="107"/>
                      <a:pt x="49" y="107"/>
                      <a:pt x="49" y="105"/>
                    </a:cubicBezTo>
                    <a:cubicBezTo>
                      <a:pt x="50" y="104"/>
                      <a:pt x="51" y="103"/>
                      <a:pt x="52" y="102"/>
                    </a:cubicBezTo>
                    <a:cubicBezTo>
                      <a:pt x="53" y="101"/>
                      <a:pt x="54" y="100"/>
                      <a:pt x="54" y="100"/>
                    </a:cubicBezTo>
                    <a:cubicBezTo>
                      <a:pt x="55" y="99"/>
                      <a:pt x="55" y="98"/>
                      <a:pt x="55" y="98"/>
                    </a:cubicBezTo>
                    <a:cubicBezTo>
                      <a:pt x="55" y="97"/>
                      <a:pt x="56" y="96"/>
                      <a:pt x="56" y="96"/>
                    </a:cubicBezTo>
                    <a:cubicBezTo>
                      <a:pt x="57" y="95"/>
                      <a:pt x="57" y="95"/>
                      <a:pt x="58" y="95"/>
                    </a:cubicBezTo>
                    <a:cubicBezTo>
                      <a:pt x="60" y="94"/>
                      <a:pt x="61" y="93"/>
                      <a:pt x="63" y="92"/>
                    </a:cubicBezTo>
                    <a:cubicBezTo>
                      <a:pt x="64" y="91"/>
                      <a:pt x="66" y="91"/>
                      <a:pt x="66" y="90"/>
                    </a:cubicBezTo>
                    <a:cubicBezTo>
                      <a:pt x="66" y="89"/>
                      <a:pt x="66" y="89"/>
                      <a:pt x="66" y="88"/>
                    </a:cubicBezTo>
                    <a:cubicBezTo>
                      <a:pt x="66" y="88"/>
                      <a:pt x="66" y="88"/>
                      <a:pt x="66" y="87"/>
                    </a:cubicBezTo>
                    <a:cubicBezTo>
                      <a:pt x="66" y="87"/>
                      <a:pt x="66" y="86"/>
                      <a:pt x="67" y="85"/>
                    </a:cubicBezTo>
                    <a:cubicBezTo>
                      <a:pt x="67" y="85"/>
                      <a:pt x="68" y="85"/>
                      <a:pt x="68" y="84"/>
                    </a:cubicBezTo>
                    <a:cubicBezTo>
                      <a:pt x="69" y="84"/>
                      <a:pt x="69" y="83"/>
                      <a:pt x="70" y="83"/>
                    </a:cubicBezTo>
                    <a:cubicBezTo>
                      <a:pt x="71" y="82"/>
                      <a:pt x="73" y="82"/>
                      <a:pt x="75" y="81"/>
                    </a:cubicBezTo>
                    <a:cubicBezTo>
                      <a:pt x="76" y="81"/>
                      <a:pt x="76" y="81"/>
                      <a:pt x="77" y="81"/>
                    </a:cubicBezTo>
                    <a:cubicBezTo>
                      <a:pt x="78" y="81"/>
                      <a:pt x="78" y="81"/>
                      <a:pt x="79" y="81"/>
                    </a:cubicBezTo>
                    <a:cubicBezTo>
                      <a:pt x="80" y="81"/>
                      <a:pt x="80" y="81"/>
                      <a:pt x="81" y="81"/>
                    </a:cubicBezTo>
                    <a:cubicBezTo>
                      <a:pt x="82" y="81"/>
                      <a:pt x="81" y="81"/>
                      <a:pt x="81" y="80"/>
                    </a:cubicBezTo>
                    <a:cubicBezTo>
                      <a:pt x="81" y="80"/>
                      <a:pt x="81" y="79"/>
                      <a:pt x="81" y="78"/>
                    </a:cubicBezTo>
                    <a:cubicBezTo>
                      <a:pt x="81" y="78"/>
                      <a:pt x="80" y="77"/>
                      <a:pt x="80" y="76"/>
                    </a:cubicBezTo>
                    <a:cubicBezTo>
                      <a:pt x="80" y="76"/>
                      <a:pt x="80" y="75"/>
                      <a:pt x="80" y="75"/>
                    </a:cubicBezTo>
                    <a:cubicBezTo>
                      <a:pt x="80" y="74"/>
                      <a:pt x="79" y="74"/>
                      <a:pt x="80" y="74"/>
                    </a:cubicBezTo>
                    <a:cubicBezTo>
                      <a:pt x="81" y="74"/>
                      <a:pt x="82" y="73"/>
                      <a:pt x="82" y="73"/>
                    </a:cubicBezTo>
                    <a:cubicBezTo>
                      <a:pt x="84" y="72"/>
                      <a:pt x="86" y="72"/>
                      <a:pt x="87" y="71"/>
                    </a:cubicBezTo>
                    <a:cubicBezTo>
                      <a:pt x="89" y="71"/>
                      <a:pt x="91" y="70"/>
                      <a:pt x="93" y="69"/>
                    </a:cubicBezTo>
                    <a:cubicBezTo>
                      <a:pt x="94" y="68"/>
                      <a:pt x="96" y="68"/>
                      <a:pt x="98" y="68"/>
                    </a:cubicBezTo>
                    <a:cubicBezTo>
                      <a:pt x="99" y="67"/>
                      <a:pt x="102" y="66"/>
                      <a:pt x="103" y="65"/>
                    </a:cubicBezTo>
                    <a:cubicBezTo>
                      <a:pt x="105" y="65"/>
                      <a:pt x="107" y="64"/>
                      <a:pt x="109" y="63"/>
                    </a:cubicBezTo>
                    <a:cubicBezTo>
                      <a:pt x="109" y="63"/>
                      <a:pt x="109" y="62"/>
                      <a:pt x="108" y="62"/>
                    </a:cubicBezTo>
                    <a:cubicBezTo>
                      <a:pt x="108" y="62"/>
                      <a:pt x="108" y="63"/>
                      <a:pt x="108" y="63"/>
                    </a:cubicBezTo>
                    <a:cubicBezTo>
                      <a:pt x="107" y="63"/>
                      <a:pt x="107" y="64"/>
                      <a:pt x="107" y="63"/>
                    </a:cubicBezTo>
                    <a:cubicBezTo>
                      <a:pt x="107" y="63"/>
                      <a:pt x="107" y="63"/>
                      <a:pt x="106" y="62"/>
                    </a:cubicBezTo>
                    <a:cubicBezTo>
                      <a:pt x="106" y="62"/>
                      <a:pt x="106" y="61"/>
                      <a:pt x="106" y="61"/>
                    </a:cubicBezTo>
                    <a:cubicBezTo>
                      <a:pt x="105" y="61"/>
                      <a:pt x="105" y="61"/>
                      <a:pt x="105" y="61"/>
                    </a:cubicBezTo>
                    <a:cubicBezTo>
                      <a:pt x="105" y="60"/>
                      <a:pt x="106" y="60"/>
                      <a:pt x="105" y="59"/>
                    </a:cubicBezTo>
                    <a:cubicBezTo>
                      <a:pt x="104" y="59"/>
                      <a:pt x="103" y="58"/>
                      <a:pt x="104" y="58"/>
                    </a:cubicBezTo>
                    <a:cubicBezTo>
                      <a:pt x="105" y="58"/>
                      <a:pt x="106" y="57"/>
                      <a:pt x="106" y="57"/>
                    </a:cubicBezTo>
                    <a:cubicBezTo>
                      <a:pt x="106" y="56"/>
                      <a:pt x="106" y="56"/>
                      <a:pt x="107" y="55"/>
                    </a:cubicBezTo>
                    <a:cubicBezTo>
                      <a:pt x="107" y="55"/>
                      <a:pt x="107" y="55"/>
                      <a:pt x="107" y="54"/>
                    </a:cubicBezTo>
                    <a:cubicBezTo>
                      <a:pt x="107" y="54"/>
                      <a:pt x="107" y="53"/>
                      <a:pt x="107" y="53"/>
                    </a:cubicBezTo>
                    <a:cubicBezTo>
                      <a:pt x="107" y="52"/>
                      <a:pt x="107" y="52"/>
                      <a:pt x="107" y="51"/>
                    </a:cubicBezTo>
                    <a:cubicBezTo>
                      <a:pt x="107" y="51"/>
                      <a:pt x="107" y="51"/>
                      <a:pt x="107" y="50"/>
                    </a:cubicBezTo>
                    <a:cubicBezTo>
                      <a:pt x="107" y="50"/>
                      <a:pt x="107" y="49"/>
                      <a:pt x="107" y="49"/>
                    </a:cubicBezTo>
                    <a:cubicBezTo>
                      <a:pt x="108" y="48"/>
                      <a:pt x="108" y="47"/>
                      <a:pt x="109" y="48"/>
                    </a:cubicBezTo>
                    <a:cubicBezTo>
                      <a:pt x="109" y="48"/>
                      <a:pt x="109" y="48"/>
                      <a:pt x="110" y="47"/>
                    </a:cubicBezTo>
                    <a:cubicBezTo>
                      <a:pt x="110" y="47"/>
                      <a:pt x="110" y="47"/>
                      <a:pt x="111" y="47"/>
                    </a:cubicBezTo>
                    <a:cubicBezTo>
                      <a:pt x="111" y="47"/>
                      <a:pt x="112" y="46"/>
                      <a:pt x="112" y="45"/>
                    </a:cubicBezTo>
                    <a:cubicBezTo>
                      <a:pt x="113" y="44"/>
                      <a:pt x="112" y="45"/>
                      <a:pt x="111" y="45"/>
                    </a:cubicBezTo>
                    <a:cubicBezTo>
                      <a:pt x="111" y="45"/>
                      <a:pt x="111" y="44"/>
                      <a:pt x="110" y="44"/>
                    </a:cubicBezTo>
                    <a:cubicBezTo>
                      <a:pt x="110" y="43"/>
                      <a:pt x="110" y="43"/>
                      <a:pt x="110" y="42"/>
                    </a:cubicBezTo>
                    <a:cubicBezTo>
                      <a:pt x="110" y="42"/>
                      <a:pt x="110" y="41"/>
                      <a:pt x="110" y="40"/>
                    </a:cubicBezTo>
                    <a:cubicBezTo>
                      <a:pt x="111" y="39"/>
                      <a:pt x="111" y="38"/>
                      <a:pt x="110" y="37"/>
                    </a:cubicBezTo>
                    <a:cubicBezTo>
                      <a:pt x="110" y="36"/>
                      <a:pt x="110" y="37"/>
                      <a:pt x="110" y="36"/>
                    </a:cubicBezTo>
                    <a:cubicBezTo>
                      <a:pt x="110" y="36"/>
                      <a:pt x="110" y="35"/>
                      <a:pt x="110" y="35"/>
                    </a:cubicBezTo>
                    <a:cubicBezTo>
                      <a:pt x="110" y="34"/>
                      <a:pt x="110" y="35"/>
                      <a:pt x="110" y="34"/>
                    </a:cubicBezTo>
                    <a:cubicBezTo>
                      <a:pt x="110" y="34"/>
                      <a:pt x="111" y="34"/>
                      <a:pt x="111" y="33"/>
                    </a:cubicBezTo>
                    <a:cubicBezTo>
                      <a:pt x="111" y="33"/>
                      <a:pt x="112" y="32"/>
                      <a:pt x="111" y="31"/>
                    </a:cubicBezTo>
                    <a:cubicBezTo>
                      <a:pt x="111" y="31"/>
                      <a:pt x="111" y="30"/>
                      <a:pt x="110" y="29"/>
                    </a:cubicBezTo>
                    <a:cubicBezTo>
                      <a:pt x="110" y="29"/>
                      <a:pt x="110" y="29"/>
                      <a:pt x="110" y="29"/>
                    </a:cubicBezTo>
                    <a:cubicBezTo>
                      <a:pt x="111" y="28"/>
                      <a:pt x="111" y="28"/>
                      <a:pt x="112" y="28"/>
                    </a:cubicBezTo>
                    <a:cubicBezTo>
                      <a:pt x="112" y="28"/>
                      <a:pt x="113" y="27"/>
                      <a:pt x="113" y="27"/>
                    </a:cubicBezTo>
                    <a:cubicBezTo>
                      <a:pt x="113" y="26"/>
                      <a:pt x="114" y="26"/>
                      <a:pt x="114" y="26"/>
                    </a:cubicBezTo>
                    <a:cubicBezTo>
                      <a:pt x="114" y="25"/>
                      <a:pt x="114" y="24"/>
                      <a:pt x="113" y="2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64" name="Yemen">
                <a:extLst>
                  <a:ext uri="{FF2B5EF4-FFF2-40B4-BE49-F238E27FC236}">
                    <a16:creationId xmlns:a16="http://schemas.microsoft.com/office/drawing/2014/main" id="{1D4E16B8-5A17-9FDB-44C6-B2EDB32CF3A5}"/>
                  </a:ext>
                </a:extLst>
              </p:cNvPr>
              <p:cNvSpPr>
                <a:spLocks noEditPoints="1"/>
              </p:cNvSpPr>
              <p:nvPr/>
            </p:nvSpPr>
            <p:spPr bwMode="auto">
              <a:xfrm>
                <a:off x="7149287" y="3303345"/>
                <a:ext cx="410691" cy="269547"/>
              </a:xfrm>
              <a:custGeom>
                <a:avLst/>
                <a:gdLst/>
                <a:ahLst/>
                <a:cxnLst>
                  <a:cxn ang="0">
                    <a:pos x="114" y="72"/>
                  </a:cxn>
                  <a:cxn ang="0">
                    <a:pos x="108" y="74"/>
                  </a:cxn>
                  <a:cxn ang="0">
                    <a:pos x="105" y="71"/>
                  </a:cxn>
                  <a:cxn ang="0">
                    <a:pos x="109" y="71"/>
                  </a:cxn>
                  <a:cxn ang="0">
                    <a:pos x="114" y="71"/>
                  </a:cxn>
                  <a:cxn ang="0">
                    <a:pos x="88" y="0"/>
                  </a:cxn>
                  <a:cxn ang="0">
                    <a:pos x="64" y="4"/>
                  </a:cxn>
                  <a:cxn ang="0">
                    <a:pos x="51" y="11"/>
                  </a:cxn>
                  <a:cxn ang="0">
                    <a:pos x="42" y="23"/>
                  </a:cxn>
                  <a:cxn ang="0">
                    <a:pos x="27" y="19"/>
                  </a:cxn>
                  <a:cxn ang="0">
                    <a:pos x="16" y="18"/>
                  </a:cxn>
                  <a:cxn ang="0">
                    <a:pos x="13" y="18"/>
                  </a:cxn>
                  <a:cxn ang="0">
                    <a:pos x="9" y="18"/>
                  </a:cxn>
                  <a:cxn ang="0">
                    <a:pos x="4" y="19"/>
                  </a:cxn>
                  <a:cxn ang="0">
                    <a:pos x="4" y="24"/>
                  </a:cxn>
                  <a:cxn ang="0">
                    <a:pos x="5" y="26"/>
                  </a:cxn>
                  <a:cxn ang="0">
                    <a:pos x="2" y="29"/>
                  </a:cxn>
                  <a:cxn ang="0">
                    <a:pos x="2" y="35"/>
                  </a:cxn>
                  <a:cxn ang="0">
                    <a:pos x="1" y="37"/>
                  </a:cxn>
                  <a:cxn ang="0">
                    <a:pos x="1" y="41"/>
                  </a:cxn>
                  <a:cxn ang="0">
                    <a:pos x="0" y="42"/>
                  </a:cxn>
                  <a:cxn ang="0">
                    <a:pos x="2" y="43"/>
                  </a:cxn>
                  <a:cxn ang="0">
                    <a:pos x="3" y="45"/>
                  </a:cxn>
                  <a:cxn ang="0">
                    <a:pos x="4" y="50"/>
                  </a:cxn>
                  <a:cxn ang="0">
                    <a:pos x="5" y="54"/>
                  </a:cxn>
                  <a:cxn ang="0">
                    <a:pos x="7" y="62"/>
                  </a:cxn>
                  <a:cxn ang="0">
                    <a:pos x="10" y="70"/>
                  </a:cxn>
                  <a:cxn ang="0">
                    <a:pos x="16" y="70"/>
                  </a:cxn>
                  <a:cxn ang="0">
                    <a:pos x="20" y="68"/>
                  </a:cxn>
                  <a:cxn ang="0">
                    <a:pos x="23" y="69"/>
                  </a:cxn>
                  <a:cxn ang="0">
                    <a:pos x="24" y="69"/>
                  </a:cxn>
                  <a:cxn ang="0">
                    <a:pos x="30" y="63"/>
                  </a:cxn>
                  <a:cxn ang="0">
                    <a:pos x="42" y="61"/>
                  </a:cxn>
                  <a:cxn ang="0">
                    <a:pos x="50" y="56"/>
                  </a:cxn>
                  <a:cxn ang="0">
                    <a:pos x="57" y="55"/>
                  </a:cxn>
                  <a:cxn ang="0">
                    <a:pos x="61" y="53"/>
                  </a:cxn>
                  <a:cxn ang="0">
                    <a:pos x="63" y="50"/>
                  </a:cxn>
                  <a:cxn ang="0">
                    <a:pos x="71" y="46"/>
                  </a:cxn>
                  <a:cxn ang="0">
                    <a:pos x="78" y="43"/>
                  </a:cxn>
                  <a:cxn ang="0">
                    <a:pos x="87" y="41"/>
                  </a:cxn>
                  <a:cxn ang="0">
                    <a:pos x="89" y="39"/>
                  </a:cxn>
                  <a:cxn ang="0">
                    <a:pos x="92" y="32"/>
                  </a:cxn>
                  <a:cxn ang="0">
                    <a:pos x="100" y="26"/>
                  </a:cxn>
                  <a:cxn ang="0">
                    <a:pos x="95" y="75"/>
                  </a:cxn>
                  <a:cxn ang="0">
                    <a:pos x="94" y="76"/>
                  </a:cxn>
                </a:cxnLst>
                <a:rect l="0" t="0" r="r" b="b"/>
                <a:pathLst>
                  <a:path w="116" h="76">
                    <a:moveTo>
                      <a:pt x="116" y="71"/>
                    </a:moveTo>
                    <a:cubicBezTo>
                      <a:pt x="116" y="72"/>
                      <a:pt x="115" y="71"/>
                      <a:pt x="115" y="71"/>
                    </a:cubicBezTo>
                    <a:cubicBezTo>
                      <a:pt x="115" y="72"/>
                      <a:pt x="115" y="72"/>
                      <a:pt x="114" y="72"/>
                    </a:cubicBezTo>
                    <a:cubicBezTo>
                      <a:pt x="114" y="73"/>
                      <a:pt x="113" y="73"/>
                      <a:pt x="113" y="73"/>
                    </a:cubicBezTo>
                    <a:cubicBezTo>
                      <a:pt x="112" y="74"/>
                      <a:pt x="111" y="74"/>
                      <a:pt x="111" y="74"/>
                    </a:cubicBezTo>
                    <a:cubicBezTo>
                      <a:pt x="110" y="74"/>
                      <a:pt x="109" y="74"/>
                      <a:pt x="108" y="74"/>
                    </a:cubicBezTo>
                    <a:cubicBezTo>
                      <a:pt x="107" y="74"/>
                      <a:pt x="107" y="74"/>
                      <a:pt x="106" y="73"/>
                    </a:cubicBezTo>
                    <a:cubicBezTo>
                      <a:pt x="106" y="73"/>
                      <a:pt x="104" y="72"/>
                      <a:pt x="104" y="71"/>
                    </a:cubicBezTo>
                    <a:cubicBezTo>
                      <a:pt x="104" y="71"/>
                      <a:pt x="105" y="71"/>
                      <a:pt x="105" y="71"/>
                    </a:cubicBezTo>
                    <a:cubicBezTo>
                      <a:pt x="105" y="71"/>
                      <a:pt x="105" y="70"/>
                      <a:pt x="105" y="70"/>
                    </a:cubicBezTo>
                    <a:cubicBezTo>
                      <a:pt x="106" y="69"/>
                      <a:pt x="107" y="69"/>
                      <a:pt x="107" y="70"/>
                    </a:cubicBezTo>
                    <a:cubicBezTo>
                      <a:pt x="108" y="70"/>
                      <a:pt x="108" y="71"/>
                      <a:pt x="109" y="71"/>
                    </a:cubicBezTo>
                    <a:cubicBezTo>
                      <a:pt x="109" y="71"/>
                      <a:pt x="109" y="70"/>
                      <a:pt x="110" y="70"/>
                    </a:cubicBezTo>
                    <a:cubicBezTo>
                      <a:pt x="110" y="70"/>
                      <a:pt x="111" y="70"/>
                      <a:pt x="112" y="70"/>
                    </a:cubicBezTo>
                    <a:cubicBezTo>
                      <a:pt x="112" y="70"/>
                      <a:pt x="113" y="70"/>
                      <a:pt x="114" y="71"/>
                    </a:cubicBezTo>
                    <a:cubicBezTo>
                      <a:pt x="115" y="71"/>
                      <a:pt x="116" y="71"/>
                      <a:pt x="116" y="71"/>
                    </a:cubicBezTo>
                    <a:close/>
                    <a:moveTo>
                      <a:pt x="94" y="14"/>
                    </a:moveTo>
                    <a:cubicBezTo>
                      <a:pt x="92" y="9"/>
                      <a:pt x="90" y="5"/>
                      <a:pt x="88" y="0"/>
                    </a:cubicBezTo>
                    <a:cubicBezTo>
                      <a:pt x="84" y="1"/>
                      <a:pt x="80" y="2"/>
                      <a:pt x="76" y="3"/>
                    </a:cubicBezTo>
                    <a:cubicBezTo>
                      <a:pt x="74" y="3"/>
                      <a:pt x="73" y="3"/>
                      <a:pt x="71" y="3"/>
                    </a:cubicBezTo>
                    <a:cubicBezTo>
                      <a:pt x="69" y="4"/>
                      <a:pt x="67" y="4"/>
                      <a:pt x="64" y="4"/>
                    </a:cubicBezTo>
                    <a:cubicBezTo>
                      <a:pt x="63" y="4"/>
                      <a:pt x="61" y="4"/>
                      <a:pt x="60" y="5"/>
                    </a:cubicBezTo>
                    <a:cubicBezTo>
                      <a:pt x="58" y="6"/>
                      <a:pt x="56" y="7"/>
                      <a:pt x="55" y="8"/>
                    </a:cubicBezTo>
                    <a:cubicBezTo>
                      <a:pt x="53" y="9"/>
                      <a:pt x="52" y="9"/>
                      <a:pt x="51" y="11"/>
                    </a:cubicBezTo>
                    <a:cubicBezTo>
                      <a:pt x="50" y="13"/>
                      <a:pt x="49" y="14"/>
                      <a:pt x="48" y="16"/>
                    </a:cubicBezTo>
                    <a:cubicBezTo>
                      <a:pt x="47" y="17"/>
                      <a:pt x="46" y="19"/>
                      <a:pt x="45" y="21"/>
                    </a:cubicBezTo>
                    <a:cubicBezTo>
                      <a:pt x="45" y="22"/>
                      <a:pt x="43" y="23"/>
                      <a:pt x="42" y="23"/>
                    </a:cubicBezTo>
                    <a:cubicBezTo>
                      <a:pt x="40" y="23"/>
                      <a:pt x="39" y="21"/>
                      <a:pt x="38" y="20"/>
                    </a:cubicBezTo>
                    <a:cubicBezTo>
                      <a:pt x="37" y="20"/>
                      <a:pt x="34" y="20"/>
                      <a:pt x="33" y="20"/>
                    </a:cubicBezTo>
                    <a:cubicBezTo>
                      <a:pt x="31" y="19"/>
                      <a:pt x="29" y="19"/>
                      <a:pt x="27" y="19"/>
                    </a:cubicBezTo>
                    <a:cubicBezTo>
                      <a:pt x="25" y="18"/>
                      <a:pt x="23" y="18"/>
                      <a:pt x="22" y="18"/>
                    </a:cubicBezTo>
                    <a:cubicBezTo>
                      <a:pt x="20" y="18"/>
                      <a:pt x="19" y="18"/>
                      <a:pt x="18" y="18"/>
                    </a:cubicBezTo>
                    <a:cubicBezTo>
                      <a:pt x="17" y="18"/>
                      <a:pt x="16" y="18"/>
                      <a:pt x="16" y="18"/>
                    </a:cubicBezTo>
                    <a:cubicBezTo>
                      <a:pt x="15" y="18"/>
                      <a:pt x="15" y="18"/>
                      <a:pt x="14" y="18"/>
                    </a:cubicBezTo>
                    <a:cubicBezTo>
                      <a:pt x="14" y="18"/>
                      <a:pt x="14" y="18"/>
                      <a:pt x="14" y="18"/>
                    </a:cubicBezTo>
                    <a:cubicBezTo>
                      <a:pt x="13" y="18"/>
                      <a:pt x="13" y="19"/>
                      <a:pt x="13" y="18"/>
                    </a:cubicBezTo>
                    <a:cubicBezTo>
                      <a:pt x="12" y="18"/>
                      <a:pt x="11" y="19"/>
                      <a:pt x="11" y="19"/>
                    </a:cubicBezTo>
                    <a:cubicBezTo>
                      <a:pt x="11" y="18"/>
                      <a:pt x="11" y="19"/>
                      <a:pt x="11" y="19"/>
                    </a:cubicBezTo>
                    <a:cubicBezTo>
                      <a:pt x="10" y="18"/>
                      <a:pt x="10" y="19"/>
                      <a:pt x="9" y="18"/>
                    </a:cubicBezTo>
                    <a:cubicBezTo>
                      <a:pt x="9" y="18"/>
                      <a:pt x="8" y="17"/>
                      <a:pt x="8" y="17"/>
                    </a:cubicBezTo>
                    <a:cubicBezTo>
                      <a:pt x="7" y="17"/>
                      <a:pt x="6" y="17"/>
                      <a:pt x="6" y="17"/>
                    </a:cubicBezTo>
                    <a:cubicBezTo>
                      <a:pt x="5" y="18"/>
                      <a:pt x="5" y="18"/>
                      <a:pt x="4" y="19"/>
                    </a:cubicBezTo>
                    <a:cubicBezTo>
                      <a:pt x="4" y="19"/>
                      <a:pt x="6" y="19"/>
                      <a:pt x="5" y="20"/>
                    </a:cubicBezTo>
                    <a:cubicBezTo>
                      <a:pt x="4" y="20"/>
                      <a:pt x="4" y="21"/>
                      <a:pt x="4" y="22"/>
                    </a:cubicBezTo>
                    <a:cubicBezTo>
                      <a:pt x="4" y="22"/>
                      <a:pt x="4" y="23"/>
                      <a:pt x="4" y="24"/>
                    </a:cubicBezTo>
                    <a:cubicBezTo>
                      <a:pt x="4" y="24"/>
                      <a:pt x="4" y="24"/>
                      <a:pt x="4" y="24"/>
                    </a:cubicBezTo>
                    <a:cubicBezTo>
                      <a:pt x="5" y="24"/>
                      <a:pt x="5" y="24"/>
                      <a:pt x="5" y="25"/>
                    </a:cubicBezTo>
                    <a:cubicBezTo>
                      <a:pt x="5" y="25"/>
                      <a:pt x="4" y="25"/>
                      <a:pt x="5" y="26"/>
                    </a:cubicBezTo>
                    <a:cubicBezTo>
                      <a:pt x="5" y="26"/>
                      <a:pt x="4" y="26"/>
                      <a:pt x="4" y="26"/>
                    </a:cubicBezTo>
                    <a:cubicBezTo>
                      <a:pt x="4" y="26"/>
                      <a:pt x="4" y="27"/>
                      <a:pt x="3" y="27"/>
                    </a:cubicBezTo>
                    <a:cubicBezTo>
                      <a:pt x="3" y="28"/>
                      <a:pt x="2" y="28"/>
                      <a:pt x="2" y="29"/>
                    </a:cubicBezTo>
                    <a:cubicBezTo>
                      <a:pt x="2" y="29"/>
                      <a:pt x="1" y="29"/>
                      <a:pt x="1" y="29"/>
                    </a:cubicBezTo>
                    <a:cubicBezTo>
                      <a:pt x="1" y="30"/>
                      <a:pt x="2" y="32"/>
                      <a:pt x="2" y="33"/>
                    </a:cubicBezTo>
                    <a:cubicBezTo>
                      <a:pt x="2" y="34"/>
                      <a:pt x="2" y="34"/>
                      <a:pt x="2" y="35"/>
                    </a:cubicBezTo>
                    <a:cubicBezTo>
                      <a:pt x="1" y="35"/>
                      <a:pt x="1" y="35"/>
                      <a:pt x="1" y="35"/>
                    </a:cubicBezTo>
                    <a:cubicBezTo>
                      <a:pt x="1" y="36"/>
                      <a:pt x="1" y="36"/>
                      <a:pt x="1" y="36"/>
                    </a:cubicBezTo>
                    <a:cubicBezTo>
                      <a:pt x="1" y="37"/>
                      <a:pt x="0" y="37"/>
                      <a:pt x="1" y="37"/>
                    </a:cubicBezTo>
                    <a:cubicBezTo>
                      <a:pt x="1" y="38"/>
                      <a:pt x="1" y="38"/>
                      <a:pt x="1" y="39"/>
                    </a:cubicBezTo>
                    <a:cubicBezTo>
                      <a:pt x="2" y="39"/>
                      <a:pt x="2" y="41"/>
                      <a:pt x="2" y="42"/>
                    </a:cubicBezTo>
                    <a:cubicBezTo>
                      <a:pt x="1" y="42"/>
                      <a:pt x="1" y="41"/>
                      <a:pt x="1" y="41"/>
                    </a:cubicBezTo>
                    <a:cubicBezTo>
                      <a:pt x="1" y="41"/>
                      <a:pt x="1" y="41"/>
                      <a:pt x="1" y="40"/>
                    </a:cubicBezTo>
                    <a:cubicBezTo>
                      <a:pt x="1" y="41"/>
                      <a:pt x="0" y="41"/>
                      <a:pt x="0" y="41"/>
                    </a:cubicBezTo>
                    <a:cubicBezTo>
                      <a:pt x="0" y="41"/>
                      <a:pt x="1" y="41"/>
                      <a:pt x="0" y="42"/>
                    </a:cubicBezTo>
                    <a:cubicBezTo>
                      <a:pt x="0" y="42"/>
                      <a:pt x="0" y="42"/>
                      <a:pt x="0" y="42"/>
                    </a:cubicBezTo>
                    <a:cubicBezTo>
                      <a:pt x="0" y="43"/>
                      <a:pt x="0" y="42"/>
                      <a:pt x="1" y="42"/>
                    </a:cubicBezTo>
                    <a:cubicBezTo>
                      <a:pt x="1" y="42"/>
                      <a:pt x="2" y="43"/>
                      <a:pt x="2" y="43"/>
                    </a:cubicBezTo>
                    <a:cubicBezTo>
                      <a:pt x="3" y="43"/>
                      <a:pt x="2" y="44"/>
                      <a:pt x="3" y="44"/>
                    </a:cubicBezTo>
                    <a:cubicBezTo>
                      <a:pt x="3" y="45"/>
                      <a:pt x="3" y="45"/>
                      <a:pt x="3" y="46"/>
                    </a:cubicBezTo>
                    <a:cubicBezTo>
                      <a:pt x="3" y="47"/>
                      <a:pt x="3" y="46"/>
                      <a:pt x="3" y="45"/>
                    </a:cubicBezTo>
                    <a:cubicBezTo>
                      <a:pt x="2" y="46"/>
                      <a:pt x="3" y="48"/>
                      <a:pt x="4" y="48"/>
                    </a:cubicBezTo>
                    <a:cubicBezTo>
                      <a:pt x="4" y="48"/>
                      <a:pt x="4" y="50"/>
                      <a:pt x="4" y="50"/>
                    </a:cubicBezTo>
                    <a:cubicBezTo>
                      <a:pt x="4" y="51"/>
                      <a:pt x="4" y="50"/>
                      <a:pt x="4" y="50"/>
                    </a:cubicBezTo>
                    <a:cubicBezTo>
                      <a:pt x="4" y="50"/>
                      <a:pt x="4" y="50"/>
                      <a:pt x="4" y="51"/>
                    </a:cubicBezTo>
                    <a:cubicBezTo>
                      <a:pt x="4" y="51"/>
                      <a:pt x="4" y="52"/>
                      <a:pt x="5" y="52"/>
                    </a:cubicBezTo>
                    <a:cubicBezTo>
                      <a:pt x="5" y="53"/>
                      <a:pt x="5" y="54"/>
                      <a:pt x="5" y="54"/>
                    </a:cubicBezTo>
                    <a:cubicBezTo>
                      <a:pt x="5" y="55"/>
                      <a:pt x="5" y="56"/>
                      <a:pt x="6" y="56"/>
                    </a:cubicBezTo>
                    <a:cubicBezTo>
                      <a:pt x="7" y="57"/>
                      <a:pt x="7" y="58"/>
                      <a:pt x="7" y="60"/>
                    </a:cubicBezTo>
                    <a:cubicBezTo>
                      <a:pt x="7" y="60"/>
                      <a:pt x="7" y="61"/>
                      <a:pt x="7" y="62"/>
                    </a:cubicBezTo>
                    <a:cubicBezTo>
                      <a:pt x="7" y="62"/>
                      <a:pt x="7" y="63"/>
                      <a:pt x="7" y="64"/>
                    </a:cubicBezTo>
                    <a:cubicBezTo>
                      <a:pt x="7" y="65"/>
                      <a:pt x="8" y="66"/>
                      <a:pt x="9" y="68"/>
                    </a:cubicBezTo>
                    <a:cubicBezTo>
                      <a:pt x="9" y="68"/>
                      <a:pt x="9" y="70"/>
                      <a:pt x="10" y="70"/>
                    </a:cubicBezTo>
                    <a:cubicBezTo>
                      <a:pt x="11" y="69"/>
                      <a:pt x="12" y="70"/>
                      <a:pt x="13" y="71"/>
                    </a:cubicBezTo>
                    <a:cubicBezTo>
                      <a:pt x="14" y="71"/>
                      <a:pt x="14" y="71"/>
                      <a:pt x="15" y="71"/>
                    </a:cubicBezTo>
                    <a:cubicBezTo>
                      <a:pt x="15" y="71"/>
                      <a:pt x="16" y="70"/>
                      <a:pt x="16" y="70"/>
                    </a:cubicBezTo>
                    <a:cubicBezTo>
                      <a:pt x="16" y="70"/>
                      <a:pt x="16" y="70"/>
                      <a:pt x="16" y="70"/>
                    </a:cubicBezTo>
                    <a:cubicBezTo>
                      <a:pt x="16" y="71"/>
                      <a:pt x="18" y="70"/>
                      <a:pt x="18" y="70"/>
                    </a:cubicBezTo>
                    <a:cubicBezTo>
                      <a:pt x="19" y="69"/>
                      <a:pt x="19" y="68"/>
                      <a:pt x="20" y="68"/>
                    </a:cubicBezTo>
                    <a:cubicBezTo>
                      <a:pt x="20" y="68"/>
                      <a:pt x="21" y="69"/>
                      <a:pt x="21" y="69"/>
                    </a:cubicBezTo>
                    <a:cubicBezTo>
                      <a:pt x="22" y="69"/>
                      <a:pt x="21" y="69"/>
                      <a:pt x="22" y="69"/>
                    </a:cubicBezTo>
                    <a:cubicBezTo>
                      <a:pt x="22" y="69"/>
                      <a:pt x="22" y="69"/>
                      <a:pt x="23" y="69"/>
                    </a:cubicBezTo>
                    <a:cubicBezTo>
                      <a:pt x="23" y="69"/>
                      <a:pt x="23" y="69"/>
                      <a:pt x="23" y="69"/>
                    </a:cubicBezTo>
                    <a:cubicBezTo>
                      <a:pt x="22" y="69"/>
                      <a:pt x="24" y="68"/>
                      <a:pt x="24" y="68"/>
                    </a:cubicBezTo>
                    <a:cubicBezTo>
                      <a:pt x="24" y="68"/>
                      <a:pt x="23" y="69"/>
                      <a:pt x="24" y="69"/>
                    </a:cubicBezTo>
                    <a:cubicBezTo>
                      <a:pt x="25" y="69"/>
                      <a:pt x="24" y="67"/>
                      <a:pt x="25" y="67"/>
                    </a:cubicBezTo>
                    <a:cubicBezTo>
                      <a:pt x="26" y="66"/>
                      <a:pt x="27" y="66"/>
                      <a:pt x="28" y="66"/>
                    </a:cubicBezTo>
                    <a:cubicBezTo>
                      <a:pt x="29" y="65"/>
                      <a:pt x="29" y="63"/>
                      <a:pt x="30" y="63"/>
                    </a:cubicBezTo>
                    <a:cubicBezTo>
                      <a:pt x="31" y="62"/>
                      <a:pt x="33" y="62"/>
                      <a:pt x="34" y="62"/>
                    </a:cubicBezTo>
                    <a:cubicBezTo>
                      <a:pt x="35" y="62"/>
                      <a:pt x="36" y="62"/>
                      <a:pt x="38" y="62"/>
                    </a:cubicBezTo>
                    <a:cubicBezTo>
                      <a:pt x="40" y="62"/>
                      <a:pt x="41" y="61"/>
                      <a:pt x="42" y="61"/>
                    </a:cubicBezTo>
                    <a:cubicBezTo>
                      <a:pt x="43" y="60"/>
                      <a:pt x="45" y="60"/>
                      <a:pt x="46" y="59"/>
                    </a:cubicBezTo>
                    <a:cubicBezTo>
                      <a:pt x="47" y="59"/>
                      <a:pt x="48" y="58"/>
                      <a:pt x="49" y="57"/>
                    </a:cubicBezTo>
                    <a:cubicBezTo>
                      <a:pt x="49" y="56"/>
                      <a:pt x="50" y="56"/>
                      <a:pt x="50" y="56"/>
                    </a:cubicBezTo>
                    <a:cubicBezTo>
                      <a:pt x="51" y="56"/>
                      <a:pt x="51" y="55"/>
                      <a:pt x="52" y="55"/>
                    </a:cubicBezTo>
                    <a:cubicBezTo>
                      <a:pt x="53" y="54"/>
                      <a:pt x="54" y="56"/>
                      <a:pt x="55" y="55"/>
                    </a:cubicBezTo>
                    <a:cubicBezTo>
                      <a:pt x="55" y="55"/>
                      <a:pt x="56" y="55"/>
                      <a:pt x="57" y="55"/>
                    </a:cubicBezTo>
                    <a:cubicBezTo>
                      <a:pt x="57" y="55"/>
                      <a:pt x="58" y="55"/>
                      <a:pt x="58" y="55"/>
                    </a:cubicBezTo>
                    <a:cubicBezTo>
                      <a:pt x="59" y="55"/>
                      <a:pt x="59" y="55"/>
                      <a:pt x="60" y="54"/>
                    </a:cubicBezTo>
                    <a:cubicBezTo>
                      <a:pt x="60" y="54"/>
                      <a:pt x="60" y="53"/>
                      <a:pt x="61" y="53"/>
                    </a:cubicBezTo>
                    <a:cubicBezTo>
                      <a:pt x="61" y="52"/>
                      <a:pt x="61" y="52"/>
                      <a:pt x="61" y="52"/>
                    </a:cubicBezTo>
                    <a:cubicBezTo>
                      <a:pt x="62" y="52"/>
                      <a:pt x="62" y="51"/>
                      <a:pt x="62" y="51"/>
                    </a:cubicBezTo>
                    <a:cubicBezTo>
                      <a:pt x="62" y="51"/>
                      <a:pt x="63" y="49"/>
                      <a:pt x="63" y="50"/>
                    </a:cubicBezTo>
                    <a:cubicBezTo>
                      <a:pt x="63" y="49"/>
                      <a:pt x="66" y="48"/>
                      <a:pt x="67" y="47"/>
                    </a:cubicBezTo>
                    <a:cubicBezTo>
                      <a:pt x="68" y="47"/>
                      <a:pt x="69" y="47"/>
                      <a:pt x="70" y="46"/>
                    </a:cubicBezTo>
                    <a:cubicBezTo>
                      <a:pt x="70" y="46"/>
                      <a:pt x="71" y="46"/>
                      <a:pt x="71" y="46"/>
                    </a:cubicBezTo>
                    <a:cubicBezTo>
                      <a:pt x="72" y="47"/>
                      <a:pt x="72" y="46"/>
                      <a:pt x="72" y="46"/>
                    </a:cubicBezTo>
                    <a:cubicBezTo>
                      <a:pt x="73" y="46"/>
                      <a:pt x="74" y="45"/>
                      <a:pt x="75" y="45"/>
                    </a:cubicBezTo>
                    <a:cubicBezTo>
                      <a:pt x="76" y="44"/>
                      <a:pt x="77" y="44"/>
                      <a:pt x="78" y="43"/>
                    </a:cubicBezTo>
                    <a:cubicBezTo>
                      <a:pt x="80" y="43"/>
                      <a:pt x="81" y="43"/>
                      <a:pt x="82" y="42"/>
                    </a:cubicBezTo>
                    <a:cubicBezTo>
                      <a:pt x="84" y="42"/>
                      <a:pt x="84" y="41"/>
                      <a:pt x="86" y="41"/>
                    </a:cubicBezTo>
                    <a:cubicBezTo>
                      <a:pt x="86" y="41"/>
                      <a:pt x="87" y="41"/>
                      <a:pt x="87" y="41"/>
                    </a:cubicBezTo>
                    <a:cubicBezTo>
                      <a:pt x="87" y="40"/>
                      <a:pt x="87" y="40"/>
                      <a:pt x="87" y="40"/>
                    </a:cubicBezTo>
                    <a:cubicBezTo>
                      <a:pt x="87" y="40"/>
                      <a:pt x="88" y="39"/>
                      <a:pt x="88" y="39"/>
                    </a:cubicBezTo>
                    <a:cubicBezTo>
                      <a:pt x="89" y="40"/>
                      <a:pt x="89" y="39"/>
                      <a:pt x="89" y="39"/>
                    </a:cubicBezTo>
                    <a:cubicBezTo>
                      <a:pt x="90" y="38"/>
                      <a:pt x="91" y="38"/>
                      <a:pt x="92" y="38"/>
                    </a:cubicBezTo>
                    <a:cubicBezTo>
                      <a:pt x="92" y="37"/>
                      <a:pt x="92" y="35"/>
                      <a:pt x="92" y="35"/>
                    </a:cubicBezTo>
                    <a:cubicBezTo>
                      <a:pt x="91" y="34"/>
                      <a:pt x="91" y="33"/>
                      <a:pt x="92" y="32"/>
                    </a:cubicBezTo>
                    <a:cubicBezTo>
                      <a:pt x="92" y="31"/>
                      <a:pt x="93" y="30"/>
                      <a:pt x="94" y="29"/>
                    </a:cubicBezTo>
                    <a:cubicBezTo>
                      <a:pt x="94" y="28"/>
                      <a:pt x="96" y="28"/>
                      <a:pt x="97" y="28"/>
                    </a:cubicBezTo>
                    <a:cubicBezTo>
                      <a:pt x="98" y="27"/>
                      <a:pt x="99" y="27"/>
                      <a:pt x="100" y="26"/>
                    </a:cubicBezTo>
                    <a:cubicBezTo>
                      <a:pt x="99" y="24"/>
                      <a:pt x="97" y="22"/>
                      <a:pt x="96" y="20"/>
                    </a:cubicBezTo>
                    <a:cubicBezTo>
                      <a:pt x="95" y="18"/>
                      <a:pt x="95" y="16"/>
                      <a:pt x="94" y="14"/>
                    </a:cubicBezTo>
                    <a:close/>
                    <a:moveTo>
                      <a:pt x="95" y="75"/>
                    </a:moveTo>
                    <a:cubicBezTo>
                      <a:pt x="94" y="75"/>
                      <a:pt x="94" y="75"/>
                      <a:pt x="93" y="75"/>
                    </a:cubicBezTo>
                    <a:cubicBezTo>
                      <a:pt x="92" y="75"/>
                      <a:pt x="92" y="75"/>
                      <a:pt x="93" y="75"/>
                    </a:cubicBezTo>
                    <a:cubicBezTo>
                      <a:pt x="93" y="75"/>
                      <a:pt x="94" y="76"/>
                      <a:pt x="94" y="76"/>
                    </a:cubicBezTo>
                    <a:cubicBezTo>
                      <a:pt x="94" y="76"/>
                      <a:pt x="94" y="76"/>
                      <a:pt x="95" y="76"/>
                    </a:cubicBezTo>
                    <a:cubicBezTo>
                      <a:pt x="96" y="76"/>
                      <a:pt x="95" y="75"/>
                      <a:pt x="95" y="7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65" name="Western Sahara">
                <a:extLst>
                  <a:ext uri="{FF2B5EF4-FFF2-40B4-BE49-F238E27FC236}">
                    <a16:creationId xmlns:a16="http://schemas.microsoft.com/office/drawing/2014/main" id="{2C0B48E2-57E4-68F4-85EA-9388420ADB98}"/>
                  </a:ext>
                </a:extLst>
              </p:cNvPr>
              <p:cNvSpPr>
                <a:spLocks/>
              </p:cNvSpPr>
              <p:nvPr/>
            </p:nvSpPr>
            <p:spPr bwMode="auto">
              <a:xfrm>
                <a:off x="5123287" y="2966168"/>
                <a:ext cx="294048" cy="269547"/>
              </a:xfrm>
              <a:custGeom>
                <a:avLst/>
                <a:gdLst/>
                <a:ahLst/>
                <a:cxnLst>
                  <a:cxn ang="0">
                    <a:pos x="41" y="0"/>
                  </a:cxn>
                  <a:cxn ang="0">
                    <a:pos x="40" y="2"/>
                  </a:cxn>
                  <a:cxn ang="0">
                    <a:pos x="40" y="4"/>
                  </a:cxn>
                  <a:cxn ang="0">
                    <a:pos x="39" y="5"/>
                  </a:cxn>
                  <a:cxn ang="0">
                    <a:pos x="38" y="7"/>
                  </a:cxn>
                  <a:cxn ang="0">
                    <a:pos x="34" y="12"/>
                  </a:cxn>
                  <a:cxn ang="0">
                    <a:pos x="33" y="13"/>
                  </a:cxn>
                  <a:cxn ang="0">
                    <a:pos x="31" y="14"/>
                  </a:cxn>
                  <a:cxn ang="0">
                    <a:pos x="29" y="16"/>
                  </a:cxn>
                  <a:cxn ang="0">
                    <a:pos x="28" y="18"/>
                  </a:cxn>
                  <a:cxn ang="0">
                    <a:pos x="26" y="21"/>
                  </a:cxn>
                  <a:cxn ang="0">
                    <a:pos x="25" y="25"/>
                  </a:cxn>
                  <a:cxn ang="0">
                    <a:pos x="24" y="28"/>
                  </a:cxn>
                  <a:cxn ang="0">
                    <a:pos x="23" y="33"/>
                  </a:cxn>
                  <a:cxn ang="0">
                    <a:pos x="22" y="34"/>
                  </a:cxn>
                  <a:cxn ang="0">
                    <a:pos x="22" y="35"/>
                  </a:cxn>
                  <a:cxn ang="0">
                    <a:pos x="20" y="35"/>
                  </a:cxn>
                  <a:cxn ang="0">
                    <a:pos x="19" y="37"/>
                  </a:cxn>
                  <a:cxn ang="0">
                    <a:pos x="16" y="40"/>
                  </a:cxn>
                  <a:cxn ang="0">
                    <a:pos x="14" y="42"/>
                  </a:cxn>
                  <a:cxn ang="0">
                    <a:pos x="12" y="44"/>
                  </a:cxn>
                  <a:cxn ang="0">
                    <a:pos x="13" y="43"/>
                  </a:cxn>
                  <a:cxn ang="0">
                    <a:pos x="14" y="42"/>
                  </a:cxn>
                  <a:cxn ang="0">
                    <a:pos x="12" y="46"/>
                  </a:cxn>
                  <a:cxn ang="0">
                    <a:pos x="11" y="49"/>
                  </a:cxn>
                  <a:cxn ang="0">
                    <a:pos x="10" y="51"/>
                  </a:cxn>
                  <a:cxn ang="0">
                    <a:pos x="10" y="52"/>
                  </a:cxn>
                  <a:cxn ang="0">
                    <a:pos x="9" y="53"/>
                  </a:cxn>
                  <a:cxn ang="0">
                    <a:pos x="9" y="55"/>
                  </a:cxn>
                  <a:cxn ang="0">
                    <a:pos x="7" y="58"/>
                  </a:cxn>
                  <a:cxn ang="0">
                    <a:pos x="6" y="59"/>
                  </a:cxn>
                  <a:cxn ang="0">
                    <a:pos x="5" y="59"/>
                  </a:cxn>
                  <a:cxn ang="0">
                    <a:pos x="4" y="61"/>
                  </a:cxn>
                  <a:cxn ang="0">
                    <a:pos x="3" y="63"/>
                  </a:cxn>
                  <a:cxn ang="0">
                    <a:pos x="2" y="65"/>
                  </a:cxn>
                  <a:cxn ang="0">
                    <a:pos x="2" y="67"/>
                  </a:cxn>
                  <a:cxn ang="0">
                    <a:pos x="1" y="72"/>
                  </a:cxn>
                  <a:cxn ang="0">
                    <a:pos x="1" y="74"/>
                  </a:cxn>
                  <a:cxn ang="0">
                    <a:pos x="1" y="76"/>
                  </a:cxn>
                  <a:cxn ang="0">
                    <a:pos x="2" y="72"/>
                  </a:cxn>
                  <a:cxn ang="0">
                    <a:pos x="4" y="70"/>
                  </a:cxn>
                  <a:cxn ang="0">
                    <a:pos x="16" y="70"/>
                  </a:cxn>
                  <a:cxn ang="0">
                    <a:pos x="40" y="70"/>
                  </a:cxn>
                  <a:cxn ang="0">
                    <a:pos x="39" y="57"/>
                  </a:cxn>
                  <a:cxn ang="0">
                    <a:pos x="40" y="52"/>
                  </a:cxn>
                  <a:cxn ang="0">
                    <a:pos x="43" y="49"/>
                  </a:cxn>
                  <a:cxn ang="0">
                    <a:pos x="48" y="47"/>
                  </a:cxn>
                  <a:cxn ang="0">
                    <a:pos x="50" y="46"/>
                  </a:cxn>
                  <a:cxn ang="0">
                    <a:pos x="50" y="41"/>
                  </a:cxn>
                  <a:cxn ang="0">
                    <a:pos x="50" y="36"/>
                  </a:cxn>
                  <a:cxn ang="0">
                    <a:pos x="51" y="23"/>
                  </a:cxn>
                  <a:cxn ang="0">
                    <a:pos x="51" y="19"/>
                  </a:cxn>
                  <a:cxn ang="0">
                    <a:pos x="55" y="19"/>
                  </a:cxn>
                  <a:cxn ang="0">
                    <a:pos x="67" y="19"/>
                  </a:cxn>
                  <a:cxn ang="0">
                    <a:pos x="80" y="19"/>
                  </a:cxn>
                  <a:cxn ang="0">
                    <a:pos x="83" y="17"/>
                  </a:cxn>
                  <a:cxn ang="0">
                    <a:pos x="83" y="13"/>
                  </a:cxn>
                  <a:cxn ang="0">
                    <a:pos x="83" y="0"/>
                  </a:cxn>
                  <a:cxn ang="0">
                    <a:pos x="41" y="0"/>
                  </a:cxn>
                </a:cxnLst>
                <a:rect l="0" t="0" r="r" b="b"/>
                <a:pathLst>
                  <a:path w="83" h="76">
                    <a:moveTo>
                      <a:pt x="41" y="0"/>
                    </a:moveTo>
                    <a:cubicBezTo>
                      <a:pt x="41" y="1"/>
                      <a:pt x="41" y="2"/>
                      <a:pt x="40" y="2"/>
                    </a:cubicBezTo>
                    <a:cubicBezTo>
                      <a:pt x="40" y="3"/>
                      <a:pt x="40" y="3"/>
                      <a:pt x="40" y="4"/>
                    </a:cubicBezTo>
                    <a:cubicBezTo>
                      <a:pt x="39" y="4"/>
                      <a:pt x="39" y="5"/>
                      <a:pt x="39" y="5"/>
                    </a:cubicBezTo>
                    <a:cubicBezTo>
                      <a:pt x="38" y="6"/>
                      <a:pt x="38" y="6"/>
                      <a:pt x="38" y="7"/>
                    </a:cubicBezTo>
                    <a:cubicBezTo>
                      <a:pt x="37" y="9"/>
                      <a:pt x="37" y="11"/>
                      <a:pt x="34" y="12"/>
                    </a:cubicBezTo>
                    <a:cubicBezTo>
                      <a:pt x="34" y="13"/>
                      <a:pt x="33" y="13"/>
                      <a:pt x="33" y="13"/>
                    </a:cubicBezTo>
                    <a:cubicBezTo>
                      <a:pt x="32" y="14"/>
                      <a:pt x="32" y="14"/>
                      <a:pt x="31" y="14"/>
                    </a:cubicBezTo>
                    <a:cubicBezTo>
                      <a:pt x="30" y="14"/>
                      <a:pt x="30" y="15"/>
                      <a:pt x="29" y="16"/>
                    </a:cubicBezTo>
                    <a:cubicBezTo>
                      <a:pt x="28" y="16"/>
                      <a:pt x="28" y="17"/>
                      <a:pt x="28" y="18"/>
                    </a:cubicBezTo>
                    <a:cubicBezTo>
                      <a:pt x="28" y="19"/>
                      <a:pt x="27" y="20"/>
                      <a:pt x="26" y="21"/>
                    </a:cubicBezTo>
                    <a:cubicBezTo>
                      <a:pt x="26" y="22"/>
                      <a:pt x="25" y="23"/>
                      <a:pt x="25" y="25"/>
                    </a:cubicBezTo>
                    <a:cubicBezTo>
                      <a:pt x="24" y="26"/>
                      <a:pt x="24" y="27"/>
                      <a:pt x="24" y="28"/>
                    </a:cubicBezTo>
                    <a:cubicBezTo>
                      <a:pt x="24" y="30"/>
                      <a:pt x="24" y="31"/>
                      <a:pt x="23" y="33"/>
                    </a:cubicBezTo>
                    <a:cubicBezTo>
                      <a:pt x="23" y="33"/>
                      <a:pt x="22" y="33"/>
                      <a:pt x="22" y="34"/>
                    </a:cubicBezTo>
                    <a:cubicBezTo>
                      <a:pt x="22" y="34"/>
                      <a:pt x="22" y="34"/>
                      <a:pt x="22" y="35"/>
                    </a:cubicBezTo>
                    <a:cubicBezTo>
                      <a:pt x="21" y="35"/>
                      <a:pt x="21" y="35"/>
                      <a:pt x="20" y="35"/>
                    </a:cubicBezTo>
                    <a:cubicBezTo>
                      <a:pt x="20" y="36"/>
                      <a:pt x="19" y="36"/>
                      <a:pt x="19" y="37"/>
                    </a:cubicBezTo>
                    <a:cubicBezTo>
                      <a:pt x="18" y="38"/>
                      <a:pt x="17" y="39"/>
                      <a:pt x="16" y="40"/>
                    </a:cubicBezTo>
                    <a:cubicBezTo>
                      <a:pt x="16" y="41"/>
                      <a:pt x="14" y="41"/>
                      <a:pt x="14" y="42"/>
                    </a:cubicBezTo>
                    <a:cubicBezTo>
                      <a:pt x="13" y="42"/>
                      <a:pt x="12" y="44"/>
                      <a:pt x="12" y="44"/>
                    </a:cubicBezTo>
                    <a:cubicBezTo>
                      <a:pt x="13" y="44"/>
                      <a:pt x="13" y="43"/>
                      <a:pt x="13" y="43"/>
                    </a:cubicBezTo>
                    <a:cubicBezTo>
                      <a:pt x="13" y="42"/>
                      <a:pt x="14" y="42"/>
                      <a:pt x="14" y="42"/>
                    </a:cubicBezTo>
                    <a:cubicBezTo>
                      <a:pt x="15" y="43"/>
                      <a:pt x="13" y="44"/>
                      <a:pt x="12" y="46"/>
                    </a:cubicBezTo>
                    <a:cubicBezTo>
                      <a:pt x="12" y="47"/>
                      <a:pt x="11" y="48"/>
                      <a:pt x="11" y="49"/>
                    </a:cubicBezTo>
                    <a:cubicBezTo>
                      <a:pt x="11" y="49"/>
                      <a:pt x="10" y="50"/>
                      <a:pt x="10" y="51"/>
                    </a:cubicBezTo>
                    <a:cubicBezTo>
                      <a:pt x="11" y="50"/>
                      <a:pt x="10" y="52"/>
                      <a:pt x="10" y="52"/>
                    </a:cubicBezTo>
                    <a:cubicBezTo>
                      <a:pt x="10" y="53"/>
                      <a:pt x="9" y="53"/>
                      <a:pt x="9" y="53"/>
                    </a:cubicBezTo>
                    <a:cubicBezTo>
                      <a:pt x="9" y="54"/>
                      <a:pt x="9" y="54"/>
                      <a:pt x="9" y="55"/>
                    </a:cubicBezTo>
                    <a:cubicBezTo>
                      <a:pt x="8" y="56"/>
                      <a:pt x="8" y="57"/>
                      <a:pt x="7" y="58"/>
                    </a:cubicBezTo>
                    <a:cubicBezTo>
                      <a:pt x="7" y="59"/>
                      <a:pt x="7" y="59"/>
                      <a:pt x="6" y="59"/>
                    </a:cubicBezTo>
                    <a:cubicBezTo>
                      <a:pt x="6" y="59"/>
                      <a:pt x="5" y="59"/>
                      <a:pt x="5" y="59"/>
                    </a:cubicBezTo>
                    <a:cubicBezTo>
                      <a:pt x="4" y="60"/>
                      <a:pt x="4" y="61"/>
                      <a:pt x="4" y="61"/>
                    </a:cubicBezTo>
                    <a:cubicBezTo>
                      <a:pt x="3" y="62"/>
                      <a:pt x="3" y="63"/>
                      <a:pt x="3" y="63"/>
                    </a:cubicBezTo>
                    <a:cubicBezTo>
                      <a:pt x="2" y="64"/>
                      <a:pt x="2" y="65"/>
                      <a:pt x="2" y="65"/>
                    </a:cubicBezTo>
                    <a:cubicBezTo>
                      <a:pt x="2" y="66"/>
                      <a:pt x="2" y="66"/>
                      <a:pt x="2" y="67"/>
                    </a:cubicBezTo>
                    <a:cubicBezTo>
                      <a:pt x="2" y="69"/>
                      <a:pt x="1" y="70"/>
                      <a:pt x="1" y="72"/>
                    </a:cubicBezTo>
                    <a:cubicBezTo>
                      <a:pt x="1" y="73"/>
                      <a:pt x="1" y="74"/>
                      <a:pt x="1" y="74"/>
                    </a:cubicBezTo>
                    <a:cubicBezTo>
                      <a:pt x="0" y="75"/>
                      <a:pt x="1" y="75"/>
                      <a:pt x="1" y="76"/>
                    </a:cubicBezTo>
                    <a:cubicBezTo>
                      <a:pt x="1" y="74"/>
                      <a:pt x="1" y="73"/>
                      <a:pt x="2" y="72"/>
                    </a:cubicBezTo>
                    <a:cubicBezTo>
                      <a:pt x="2" y="70"/>
                      <a:pt x="2" y="70"/>
                      <a:pt x="4" y="70"/>
                    </a:cubicBezTo>
                    <a:cubicBezTo>
                      <a:pt x="8" y="70"/>
                      <a:pt x="12" y="70"/>
                      <a:pt x="16" y="70"/>
                    </a:cubicBezTo>
                    <a:cubicBezTo>
                      <a:pt x="24" y="70"/>
                      <a:pt x="32" y="70"/>
                      <a:pt x="40" y="70"/>
                    </a:cubicBezTo>
                    <a:cubicBezTo>
                      <a:pt x="40" y="66"/>
                      <a:pt x="40" y="61"/>
                      <a:pt x="39" y="57"/>
                    </a:cubicBezTo>
                    <a:cubicBezTo>
                      <a:pt x="39" y="55"/>
                      <a:pt x="39" y="54"/>
                      <a:pt x="40" y="52"/>
                    </a:cubicBezTo>
                    <a:cubicBezTo>
                      <a:pt x="41" y="51"/>
                      <a:pt x="42" y="50"/>
                      <a:pt x="43" y="49"/>
                    </a:cubicBezTo>
                    <a:cubicBezTo>
                      <a:pt x="45" y="48"/>
                      <a:pt x="46" y="48"/>
                      <a:pt x="48" y="47"/>
                    </a:cubicBezTo>
                    <a:cubicBezTo>
                      <a:pt x="49" y="47"/>
                      <a:pt x="50" y="47"/>
                      <a:pt x="50" y="46"/>
                    </a:cubicBezTo>
                    <a:cubicBezTo>
                      <a:pt x="50" y="45"/>
                      <a:pt x="50" y="43"/>
                      <a:pt x="50" y="41"/>
                    </a:cubicBezTo>
                    <a:cubicBezTo>
                      <a:pt x="50" y="40"/>
                      <a:pt x="50" y="38"/>
                      <a:pt x="50" y="36"/>
                    </a:cubicBezTo>
                    <a:cubicBezTo>
                      <a:pt x="51" y="31"/>
                      <a:pt x="51" y="27"/>
                      <a:pt x="51" y="23"/>
                    </a:cubicBezTo>
                    <a:cubicBezTo>
                      <a:pt x="51" y="22"/>
                      <a:pt x="51" y="20"/>
                      <a:pt x="51" y="19"/>
                    </a:cubicBezTo>
                    <a:cubicBezTo>
                      <a:pt x="51" y="18"/>
                      <a:pt x="54" y="19"/>
                      <a:pt x="55" y="19"/>
                    </a:cubicBezTo>
                    <a:cubicBezTo>
                      <a:pt x="59" y="19"/>
                      <a:pt x="63" y="19"/>
                      <a:pt x="67" y="19"/>
                    </a:cubicBezTo>
                    <a:cubicBezTo>
                      <a:pt x="71" y="19"/>
                      <a:pt x="76" y="18"/>
                      <a:pt x="80" y="19"/>
                    </a:cubicBezTo>
                    <a:cubicBezTo>
                      <a:pt x="81" y="19"/>
                      <a:pt x="83" y="19"/>
                      <a:pt x="83" y="17"/>
                    </a:cubicBezTo>
                    <a:cubicBezTo>
                      <a:pt x="83" y="16"/>
                      <a:pt x="83" y="14"/>
                      <a:pt x="83" y="13"/>
                    </a:cubicBezTo>
                    <a:cubicBezTo>
                      <a:pt x="83" y="8"/>
                      <a:pt x="83" y="4"/>
                      <a:pt x="83" y="0"/>
                    </a:cubicBezTo>
                    <a:cubicBezTo>
                      <a:pt x="69" y="0"/>
                      <a:pt x="55" y="0"/>
                      <a:pt x="41"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66" name="Wake Island (U.S.)">
                <a:extLst>
                  <a:ext uri="{FF2B5EF4-FFF2-40B4-BE49-F238E27FC236}">
                    <a16:creationId xmlns:a16="http://schemas.microsoft.com/office/drawing/2014/main" id="{832CF2E7-2134-2CB1-27D6-E11622F5D8E1}"/>
                  </a:ext>
                </a:extLst>
              </p:cNvPr>
              <p:cNvSpPr>
                <a:spLocks/>
              </p:cNvSpPr>
              <p:nvPr/>
            </p:nvSpPr>
            <p:spPr bwMode="auto">
              <a:xfrm>
                <a:off x="11333608" y="3292564"/>
                <a:ext cx="980" cy="3921"/>
              </a:xfrm>
              <a:custGeom>
                <a:avLst/>
                <a:gdLst/>
                <a:ahLst/>
                <a:cxnLst>
                  <a:cxn ang="0">
                    <a:pos x="0" y="0"/>
                  </a:cxn>
                  <a:cxn ang="0">
                    <a:pos x="0" y="0"/>
                  </a:cxn>
                  <a:cxn ang="0">
                    <a:pos x="0" y="0"/>
                  </a:cxn>
                  <a:cxn ang="0">
                    <a:pos x="0" y="0"/>
                  </a:cxn>
                </a:cxnLst>
                <a:rect l="0" t="0" r="r" b="b"/>
                <a:pathLst>
                  <a:path h="1">
                    <a:moveTo>
                      <a:pt x="0" y="0"/>
                    </a:moveTo>
                    <a:cubicBezTo>
                      <a:pt x="0" y="0"/>
                      <a:pt x="0" y="0"/>
                      <a:pt x="0" y="0"/>
                    </a:cubicBezTo>
                    <a:cubicBezTo>
                      <a:pt x="0" y="0"/>
                      <a:pt x="0" y="0"/>
                      <a:pt x="0" y="0"/>
                    </a:cubicBezTo>
                    <a:cubicBezTo>
                      <a:pt x="0" y="1"/>
                      <a:pt x="0" y="0"/>
                      <a:pt x="0"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901" kern="0">
                  <a:solidFill>
                    <a:srgbClr val="FFFFFF"/>
                  </a:solidFill>
                </a:endParaRPr>
              </a:p>
            </p:txBody>
          </p:sp>
          <p:sp>
            <p:nvSpPr>
              <p:cNvPr id="1467" name="Wallis and Futuna (FR)">
                <a:extLst>
                  <a:ext uri="{FF2B5EF4-FFF2-40B4-BE49-F238E27FC236}">
                    <a16:creationId xmlns:a16="http://schemas.microsoft.com/office/drawing/2014/main" id="{07478D62-33E0-6DBA-798A-626FD9ABAFA7}"/>
                  </a:ext>
                </a:extLst>
              </p:cNvPr>
              <p:cNvSpPr/>
              <p:nvPr/>
            </p:nvSpPr>
            <p:spPr>
              <a:xfrm>
                <a:off x="11563065" y="4772629"/>
                <a:ext cx="26534" cy="17815"/>
              </a:xfrm>
              <a:custGeom>
                <a:avLst/>
                <a:gdLst>
                  <a:gd name="connsiteX0" fmla="*/ 4478 w 26534"/>
                  <a:gd name="connsiteY0" fmla="*/ 14298 h 17815"/>
                  <a:gd name="connsiteX1" fmla="*/ 3195 w 26534"/>
                  <a:gd name="connsiteY1" fmla="*/ 17414 h 17815"/>
                  <a:gd name="connsiteX2" fmla="*/ 445 w 26534"/>
                  <a:gd name="connsiteY2" fmla="*/ 15031 h 17815"/>
                  <a:gd name="connsiteX3" fmla="*/ 2278 w 26534"/>
                  <a:gd name="connsiteY3" fmla="*/ 13748 h 17815"/>
                  <a:gd name="connsiteX4" fmla="*/ 4478 w 26534"/>
                  <a:gd name="connsiteY4" fmla="*/ 14298 h 17815"/>
                  <a:gd name="connsiteX5" fmla="*/ 23175 w 26534"/>
                  <a:gd name="connsiteY5" fmla="*/ 1283 h 17815"/>
                  <a:gd name="connsiteX6" fmla="*/ 22442 w 26534"/>
                  <a:gd name="connsiteY6" fmla="*/ 3850 h 17815"/>
                  <a:gd name="connsiteX7" fmla="*/ 24092 w 26534"/>
                  <a:gd name="connsiteY7" fmla="*/ 5866 h 17815"/>
                  <a:gd name="connsiteX8" fmla="*/ 26291 w 26534"/>
                  <a:gd name="connsiteY8" fmla="*/ 5316 h 17815"/>
                  <a:gd name="connsiteX9" fmla="*/ 26475 w 26534"/>
                  <a:gd name="connsiteY9" fmla="*/ 2383 h 17815"/>
                  <a:gd name="connsiteX10" fmla="*/ 25191 w 26534"/>
                  <a:gd name="connsiteY10" fmla="*/ 0 h 17815"/>
                  <a:gd name="connsiteX11" fmla="*/ 23175 w 26534"/>
                  <a:gd name="connsiteY11" fmla="*/ 1283 h 1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534" h="17815">
                    <a:moveTo>
                      <a:pt x="4478" y="14298"/>
                    </a:moveTo>
                    <a:cubicBezTo>
                      <a:pt x="5211" y="14848"/>
                      <a:pt x="4661" y="16131"/>
                      <a:pt x="3195" y="17414"/>
                    </a:cubicBezTo>
                    <a:cubicBezTo>
                      <a:pt x="1728" y="18514"/>
                      <a:pt x="1911" y="17231"/>
                      <a:pt x="445" y="15031"/>
                    </a:cubicBezTo>
                    <a:cubicBezTo>
                      <a:pt x="-1022" y="12832"/>
                      <a:pt x="1545" y="13565"/>
                      <a:pt x="2278" y="13748"/>
                    </a:cubicBezTo>
                    <a:cubicBezTo>
                      <a:pt x="2461" y="13748"/>
                      <a:pt x="3744" y="13932"/>
                      <a:pt x="4478" y="14298"/>
                    </a:cubicBezTo>
                    <a:close/>
                    <a:moveTo>
                      <a:pt x="23175" y="1283"/>
                    </a:moveTo>
                    <a:cubicBezTo>
                      <a:pt x="22258" y="2933"/>
                      <a:pt x="21525" y="3116"/>
                      <a:pt x="22442" y="3850"/>
                    </a:cubicBezTo>
                    <a:cubicBezTo>
                      <a:pt x="23358" y="4583"/>
                      <a:pt x="23358" y="5133"/>
                      <a:pt x="24092" y="5866"/>
                    </a:cubicBezTo>
                    <a:cubicBezTo>
                      <a:pt x="25008" y="6599"/>
                      <a:pt x="26291" y="7149"/>
                      <a:pt x="26291" y="5316"/>
                    </a:cubicBezTo>
                    <a:cubicBezTo>
                      <a:pt x="26291" y="3483"/>
                      <a:pt x="26291" y="3300"/>
                      <a:pt x="26475" y="2383"/>
                    </a:cubicBezTo>
                    <a:cubicBezTo>
                      <a:pt x="26658" y="1466"/>
                      <a:pt x="26475" y="183"/>
                      <a:pt x="25191" y="0"/>
                    </a:cubicBezTo>
                    <a:cubicBezTo>
                      <a:pt x="24092" y="0"/>
                      <a:pt x="22992" y="1283"/>
                      <a:pt x="23175" y="1283"/>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468" name="Vietnam">
                <a:extLst>
                  <a:ext uri="{FF2B5EF4-FFF2-40B4-BE49-F238E27FC236}">
                    <a16:creationId xmlns:a16="http://schemas.microsoft.com/office/drawing/2014/main" id="{A17013BA-D174-6557-13C8-62B5B8BB404F}"/>
                  </a:ext>
                </a:extLst>
              </p:cNvPr>
              <p:cNvSpPr>
                <a:spLocks noEditPoints="1"/>
              </p:cNvSpPr>
              <p:nvPr/>
            </p:nvSpPr>
            <p:spPr bwMode="auto">
              <a:xfrm>
                <a:off x="9135100" y="3132796"/>
                <a:ext cx="297970" cy="578298"/>
              </a:xfrm>
              <a:custGeom>
                <a:avLst/>
                <a:gdLst/>
                <a:ahLst/>
                <a:cxnLst>
                  <a:cxn ang="0">
                    <a:pos x="56" y="26"/>
                  </a:cxn>
                  <a:cxn ang="0">
                    <a:pos x="45" y="140"/>
                  </a:cxn>
                  <a:cxn ang="0">
                    <a:pos x="42" y="141"/>
                  </a:cxn>
                  <a:cxn ang="0">
                    <a:pos x="41" y="145"/>
                  </a:cxn>
                  <a:cxn ang="0">
                    <a:pos x="43" y="161"/>
                  </a:cxn>
                  <a:cxn ang="0">
                    <a:pos x="54" y="155"/>
                  </a:cxn>
                  <a:cxn ang="0">
                    <a:pos x="56" y="23"/>
                  </a:cxn>
                  <a:cxn ang="0">
                    <a:pos x="47" y="142"/>
                  </a:cxn>
                  <a:cxn ang="0">
                    <a:pos x="84" y="118"/>
                  </a:cxn>
                  <a:cxn ang="0">
                    <a:pos x="81" y="121"/>
                  </a:cxn>
                  <a:cxn ang="0">
                    <a:pos x="82" y="125"/>
                  </a:cxn>
                  <a:cxn ang="0">
                    <a:pos x="78" y="134"/>
                  </a:cxn>
                  <a:cxn ang="0">
                    <a:pos x="66" y="142"/>
                  </a:cxn>
                  <a:cxn ang="0">
                    <a:pos x="62" y="142"/>
                  </a:cxn>
                  <a:cxn ang="0">
                    <a:pos x="58" y="144"/>
                  </a:cxn>
                  <a:cxn ang="0">
                    <a:pos x="58" y="147"/>
                  </a:cxn>
                  <a:cxn ang="0">
                    <a:pos x="49" y="143"/>
                  </a:cxn>
                  <a:cxn ang="0">
                    <a:pos x="53" y="138"/>
                  </a:cxn>
                  <a:cxn ang="0">
                    <a:pos x="55" y="129"/>
                  </a:cxn>
                  <a:cxn ang="0">
                    <a:pos x="64" y="122"/>
                  </a:cxn>
                  <a:cxn ang="0">
                    <a:pos x="63" y="103"/>
                  </a:cxn>
                  <a:cxn ang="0">
                    <a:pos x="64" y="90"/>
                  </a:cxn>
                  <a:cxn ang="0">
                    <a:pos x="60" y="82"/>
                  </a:cxn>
                  <a:cxn ang="0">
                    <a:pos x="52" y="75"/>
                  </a:cxn>
                  <a:cxn ang="0">
                    <a:pos x="40" y="60"/>
                  </a:cxn>
                  <a:cxn ang="0">
                    <a:pos x="32" y="51"/>
                  </a:cxn>
                  <a:cxn ang="0">
                    <a:pos x="23" y="41"/>
                  </a:cxn>
                  <a:cxn ang="0">
                    <a:pos x="30" y="35"/>
                  </a:cxn>
                  <a:cxn ang="0">
                    <a:pos x="23" y="27"/>
                  </a:cxn>
                  <a:cxn ang="0">
                    <a:pos x="14" y="28"/>
                  </a:cxn>
                  <a:cxn ang="0">
                    <a:pos x="9" y="22"/>
                  </a:cxn>
                  <a:cxn ang="0">
                    <a:pos x="3" y="14"/>
                  </a:cxn>
                  <a:cxn ang="0">
                    <a:pos x="6" y="8"/>
                  </a:cxn>
                  <a:cxn ang="0">
                    <a:pos x="14" y="7"/>
                  </a:cxn>
                  <a:cxn ang="0">
                    <a:pos x="25" y="5"/>
                  </a:cxn>
                  <a:cxn ang="0">
                    <a:pos x="33" y="4"/>
                  </a:cxn>
                  <a:cxn ang="0">
                    <a:pos x="44" y="8"/>
                  </a:cxn>
                  <a:cxn ang="0">
                    <a:pos x="47" y="16"/>
                  </a:cxn>
                  <a:cxn ang="0">
                    <a:pos x="57" y="20"/>
                  </a:cxn>
                  <a:cxn ang="0">
                    <a:pos x="55" y="21"/>
                  </a:cxn>
                  <a:cxn ang="0">
                    <a:pos x="52" y="24"/>
                  </a:cxn>
                  <a:cxn ang="0">
                    <a:pos x="49" y="26"/>
                  </a:cxn>
                  <a:cxn ang="0">
                    <a:pos x="46" y="26"/>
                  </a:cxn>
                  <a:cxn ang="0">
                    <a:pos x="45" y="30"/>
                  </a:cxn>
                  <a:cxn ang="0">
                    <a:pos x="44" y="35"/>
                  </a:cxn>
                  <a:cxn ang="0">
                    <a:pos x="40" y="41"/>
                  </a:cxn>
                  <a:cxn ang="0">
                    <a:pos x="39" y="49"/>
                  </a:cxn>
                  <a:cxn ang="0">
                    <a:pos x="48" y="59"/>
                  </a:cxn>
                  <a:cxn ang="0">
                    <a:pos x="50" y="64"/>
                  </a:cxn>
                  <a:cxn ang="0">
                    <a:pos x="61" y="75"/>
                  </a:cxn>
                  <a:cxn ang="0">
                    <a:pos x="66" y="79"/>
                  </a:cxn>
                  <a:cxn ang="0">
                    <a:pos x="70" y="84"/>
                  </a:cxn>
                  <a:cxn ang="0">
                    <a:pos x="76" y="91"/>
                  </a:cxn>
                  <a:cxn ang="0">
                    <a:pos x="80" y="101"/>
                  </a:cxn>
                  <a:cxn ang="0">
                    <a:pos x="82" y="109"/>
                  </a:cxn>
                  <a:cxn ang="0">
                    <a:pos x="83" y="117"/>
                  </a:cxn>
                  <a:cxn ang="0">
                    <a:pos x="34" y="145"/>
                  </a:cxn>
                  <a:cxn ang="0">
                    <a:pos x="81" y="141"/>
                  </a:cxn>
                  <a:cxn ang="0">
                    <a:pos x="54" y="27"/>
                  </a:cxn>
                  <a:cxn ang="0">
                    <a:pos x="57" y="146"/>
                  </a:cxn>
                  <a:cxn ang="0">
                    <a:pos x="61" y="142"/>
                  </a:cxn>
                  <a:cxn ang="0">
                    <a:pos x="49" y="29"/>
                  </a:cxn>
                  <a:cxn ang="0">
                    <a:pos x="54" y="26"/>
                  </a:cxn>
                </a:cxnLst>
                <a:rect l="0" t="0" r="r" b="b"/>
                <a:pathLst>
                  <a:path w="84" h="163">
                    <a:moveTo>
                      <a:pt x="54" y="24"/>
                    </a:moveTo>
                    <a:cubicBezTo>
                      <a:pt x="54" y="25"/>
                      <a:pt x="52" y="27"/>
                      <a:pt x="52" y="25"/>
                    </a:cubicBezTo>
                    <a:cubicBezTo>
                      <a:pt x="52" y="25"/>
                      <a:pt x="52" y="24"/>
                      <a:pt x="53" y="24"/>
                    </a:cubicBezTo>
                    <a:cubicBezTo>
                      <a:pt x="53" y="24"/>
                      <a:pt x="52" y="23"/>
                      <a:pt x="53" y="24"/>
                    </a:cubicBezTo>
                    <a:cubicBezTo>
                      <a:pt x="54" y="24"/>
                      <a:pt x="53" y="24"/>
                      <a:pt x="54" y="24"/>
                    </a:cubicBezTo>
                    <a:close/>
                    <a:moveTo>
                      <a:pt x="57" y="26"/>
                    </a:moveTo>
                    <a:cubicBezTo>
                      <a:pt x="57" y="26"/>
                      <a:pt x="56" y="26"/>
                      <a:pt x="56" y="27"/>
                    </a:cubicBezTo>
                    <a:cubicBezTo>
                      <a:pt x="57" y="27"/>
                      <a:pt x="57" y="26"/>
                      <a:pt x="57" y="26"/>
                    </a:cubicBezTo>
                    <a:close/>
                    <a:moveTo>
                      <a:pt x="56" y="27"/>
                    </a:moveTo>
                    <a:cubicBezTo>
                      <a:pt x="56" y="26"/>
                      <a:pt x="56" y="26"/>
                      <a:pt x="56" y="26"/>
                    </a:cubicBezTo>
                    <a:cubicBezTo>
                      <a:pt x="56" y="27"/>
                      <a:pt x="56" y="27"/>
                      <a:pt x="56" y="27"/>
                    </a:cubicBezTo>
                    <a:cubicBezTo>
                      <a:pt x="56" y="27"/>
                      <a:pt x="56" y="27"/>
                      <a:pt x="56" y="27"/>
                    </a:cubicBezTo>
                    <a:close/>
                    <a:moveTo>
                      <a:pt x="54" y="151"/>
                    </a:moveTo>
                    <a:cubicBezTo>
                      <a:pt x="54" y="150"/>
                      <a:pt x="53" y="149"/>
                      <a:pt x="53" y="149"/>
                    </a:cubicBezTo>
                    <a:cubicBezTo>
                      <a:pt x="51" y="147"/>
                      <a:pt x="50" y="146"/>
                      <a:pt x="48" y="144"/>
                    </a:cubicBezTo>
                    <a:cubicBezTo>
                      <a:pt x="48" y="144"/>
                      <a:pt x="47" y="143"/>
                      <a:pt x="46" y="142"/>
                    </a:cubicBezTo>
                    <a:cubicBezTo>
                      <a:pt x="46" y="141"/>
                      <a:pt x="45" y="141"/>
                      <a:pt x="45" y="141"/>
                    </a:cubicBezTo>
                    <a:cubicBezTo>
                      <a:pt x="45" y="140"/>
                      <a:pt x="44" y="140"/>
                      <a:pt x="44" y="139"/>
                    </a:cubicBezTo>
                    <a:cubicBezTo>
                      <a:pt x="44" y="139"/>
                      <a:pt x="44" y="139"/>
                      <a:pt x="44" y="139"/>
                    </a:cubicBezTo>
                    <a:cubicBezTo>
                      <a:pt x="44" y="139"/>
                      <a:pt x="45" y="140"/>
                      <a:pt x="45" y="140"/>
                    </a:cubicBezTo>
                    <a:cubicBezTo>
                      <a:pt x="45" y="140"/>
                      <a:pt x="46" y="141"/>
                      <a:pt x="46" y="141"/>
                    </a:cubicBezTo>
                    <a:cubicBezTo>
                      <a:pt x="47" y="141"/>
                      <a:pt x="46" y="139"/>
                      <a:pt x="46" y="139"/>
                    </a:cubicBezTo>
                    <a:cubicBezTo>
                      <a:pt x="45" y="139"/>
                      <a:pt x="45" y="139"/>
                      <a:pt x="45" y="138"/>
                    </a:cubicBezTo>
                    <a:cubicBezTo>
                      <a:pt x="44" y="137"/>
                      <a:pt x="44" y="137"/>
                      <a:pt x="44" y="137"/>
                    </a:cubicBezTo>
                    <a:cubicBezTo>
                      <a:pt x="44" y="137"/>
                      <a:pt x="44" y="137"/>
                      <a:pt x="44" y="137"/>
                    </a:cubicBezTo>
                    <a:cubicBezTo>
                      <a:pt x="44" y="137"/>
                      <a:pt x="44" y="137"/>
                      <a:pt x="44" y="137"/>
                    </a:cubicBezTo>
                    <a:cubicBezTo>
                      <a:pt x="44" y="137"/>
                      <a:pt x="44" y="137"/>
                      <a:pt x="44" y="137"/>
                    </a:cubicBezTo>
                    <a:cubicBezTo>
                      <a:pt x="42" y="138"/>
                      <a:pt x="44" y="139"/>
                      <a:pt x="44" y="140"/>
                    </a:cubicBezTo>
                    <a:cubicBezTo>
                      <a:pt x="43" y="140"/>
                      <a:pt x="43" y="140"/>
                      <a:pt x="43" y="140"/>
                    </a:cubicBezTo>
                    <a:cubicBezTo>
                      <a:pt x="42" y="141"/>
                      <a:pt x="42" y="141"/>
                      <a:pt x="42" y="141"/>
                    </a:cubicBezTo>
                    <a:cubicBezTo>
                      <a:pt x="41" y="142"/>
                      <a:pt x="41" y="142"/>
                      <a:pt x="40" y="142"/>
                    </a:cubicBezTo>
                    <a:cubicBezTo>
                      <a:pt x="40" y="141"/>
                      <a:pt x="40" y="141"/>
                      <a:pt x="39" y="142"/>
                    </a:cubicBezTo>
                    <a:cubicBezTo>
                      <a:pt x="39" y="142"/>
                      <a:pt x="39" y="142"/>
                      <a:pt x="39" y="142"/>
                    </a:cubicBezTo>
                    <a:cubicBezTo>
                      <a:pt x="38" y="143"/>
                      <a:pt x="38" y="143"/>
                      <a:pt x="38" y="143"/>
                    </a:cubicBezTo>
                    <a:cubicBezTo>
                      <a:pt x="38" y="144"/>
                      <a:pt x="38" y="143"/>
                      <a:pt x="38" y="143"/>
                    </a:cubicBezTo>
                    <a:cubicBezTo>
                      <a:pt x="39" y="143"/>
                      <a:pt x="38" y="143"/>
                      <a:pt x="38" y="143"/>
                    </a:cubicBezTo>
                    <a:cubicBezTo>
                      <a:pt x="39" y="144"/>
                      <a:pt x="39" y="144"/>
                      <a:pt x="39" y="144"/>
                    </a:cubicBezTo>
                    <a:cubicBezTo>
                      <a:pt x="39" y="144"/>
                      <a:pt x="39" y="144"/>
                      <a:pt x="39" y="144"/>
                    </a:cubicBezTo>
                    <a:cubicBezTo>
                      <a:pt x="39" y="145"/>
                      <a:pt x="39" y="145"/>
                      <a:pt x="39" y="145"/>
                    </a:cubicBezTo>
                    <a:cubicBezTo>
                      <a:pt x="40" y="146"/>
                      <a:pt x="40" y="145"/>
                      <a:pt x="41" y="145"/>
                    </a:cubicBezTo>
                    <a:cubicBezTo>
                      <a:pt x="41" y="145"/>
                      <a:pt x="42" y="145"/>
                      <a:pt x="42" y="146"/>
                    </a:cubicBezTo>
                    <a:cubicBezTo>
                      <a:pt x="42" y="146"/>
                      <a:pt x="42" y="146"/>
                      <a:pt x="43" y="146"/>
                    </a:cubicBezTo>
                    <a:cubicBezTo>
                      <a:pt x="44" y="146"/>
                      <a:pt x="45" y="148"/>
                      <a:pt x="45" y="149"/>
                    </a:cubicBezTo>
                    <a:cubicBezTo>
                      <a:pt x="44" y="149"/>
                      <a:pt x="44" y="148"/>
                      <a:pt x="44" y="148"/>
                    </a:cubicBezTo>
                    <a:cubicBezTo>
                      <a:pt x="43" y="149"/>
                      <a:pt x="43" y="149"/>
                      <a:pt x="43" y="150"/>
                    </a:cubicBezTo>
                    <a:cubicBezTo>
                      <a:pt x="42" y="151"/>
                      <a:pt x="42" y="153"/>
                      <a:pt x="42" y="155"/>
                    </a:cubicBezTo>
                    <a:cubicBezTo>
                      <a:pt x="42" y="156"/>
                      <a:pt x="42" y="158"/>
                      <a:pt x="42" y="159"/>
                    </a:cubicBezTo>
                    <a:cubicBezTo>
                      <a:pt x="42" y="160"/>
                      <a:pt x="42" y="160"/>
                      <a:pt x="42" y="161"/>
                    </a:cubicBezTo>
                    <a:cubicBezTo>
                      <a:pt x="43" y="161"/>
                      <a:pt x="43" y="161"/>
                      <a:pt x="44" y="160"/>
                    </a:cubicBezTo>
                    <a:cubicBezTo>
                      <a:pt x="44" y="161"/>
                      <a:pt x="44" y="161"/>
                      <a:pt x="43" y="161"/>
                    </a:cubicBezTo>
                    <a:cubicBezTo>
                      <a:pt x="43" y="161"/>
                      <a:pt x="43" y="161"/>
                      <a:pt x="43" y="162"/>
                    </a:cubicBezTo>
                    <a:cubicBezTo>
                      <a:pt x="43" y="162"/>
                      <a:pt x="44" y="162"/>
                      <a:pt x="44" y="162"/>
                    </a:cubicBezTo>
                    <a:cubicBezTo>
                      <a:pt x="44" y="162"/>
                      <a:pt x="43" y="162"/>
                      <a:pt x="43" y="162"/>
                    </a:cubicBezTo>
                    <a:cubicBezTo>
                      <a:pt x="43" y="162"/>
                      <a:pt x="42" y="163"/>
                      <a:pt x="42" y="163"/>
                    </a:cubicBezTo>
                    <a:cubicBezTo>
                      <a:pt x="43" y="163"/>
                      <a:pt x="44" y="163"/>
                      <a:pt x="45" y="163"/>
                    </a:cubicBezTo>
                    <a:cubicBezTo>
                      <a:pt x="46" y="163"/>
                      <a:pt x="46" y="162"/>
                      <a:pt x="46" y="161"/>
                    </a:cubicBezTo>
                    <a:cubicBezTo>
                      <a:pt x="47" y="161"/>
                      <a:pt x="48" y="161"/>
                      <a:pt x="48" y="160"/>
                    </a:cubicBezTo>
                    <a:cubicBezTo>
                      <a:pt x="48" y="159"/>
                      <a:pt x="48" y="158"/>
                      <a:pt x="49" y="158"/>
                    </a:cubicBezTo>
                    <a:cubicBezTo>
                      <a:pt x="49" y="157"/>
                      <a:pt x="50" y="157"/>
                      <a:pt x="50" y="156"/>
                    </a:cubicBezTo>
                    <a:cubicBezTo>
                      <a:pt x="52" y="156"/>
                      <a:pt x="53" y="155"/>
                      <a:pt x="54" y="155"/>
                    </a:cubicBezTo>
                    <a:cubicBezTo>
                      <a:pt x="54" y="155"/>
                      <a:pt x="55" y="155"/>
                      <a:pt x="55" y="154"/>
                    </a:cubicBezTo>
                    <a:cubicBezTo>
                      <a:pt x="56" y="154"/>
                      <a:pt x="55" y="154"/>
                      <a:pt x="55" y="154"/>
                    </a:cubicBezTo>
                    <a:cubicBezTo>
                      <a:pt x="55" y="154"/>
                      <a:pt x="56" y="153"/>
                      <a:pt x="56" y="153"/>
                    </a:cubicBezTo>
                    <a:cubicBezTo>
                      <a:pt x="56" y="152"/>
                      <a:pt x="55" y="152"/>
                      <a:pt x="54" y="151"/>
                    </a:cubicBezTo>
                    <a:close/>
                    <a:moveTo>
                      <a:pt x="56" y="22"/>
                    </a:moveTo>
                    <a:cubicBezTo>
                      <a:pt x="56" y="22"/>
                      <a:pt x="56" y="22"/>
                      <a:pt x="57" y="22"/>
                    </a:cubicBezTo>
                    <a:cubicBezTo>
                      <a:pt x="57" y="22"/>
                      <a:pt x="56" y="22"/>
                      <a:pt x="56" y="23"/>
                    </a:cubicBezTo>
                    <a:cubicBezTo>
                      <a:pt x="56" y="23"/>
                      <a:pt x="58" y="22"/>
                      <a:pt x="58" y="22"/>
                    </a:cubicBezTo>
                    <a:cubicBezTo>
                      <a:pt x="57" y="22"/>
                      <a:pt x="56" y="22"/>
                      <a:pt x="56" y="22"/>
                    </a:cubicBezTo>
                    <a:close/>
                    <a:moveTo>
                      <a:pt x="56" y="23"/>
                    </a:moveTo>
                    <a:cubicBezTo>
                      <a:pt x="56" y="23"/>
                      <a:pt x="55" y="23"/>
                      <a:pt x="55" y="23"/>
                    </a:cubicBezTo>
                    <a:cubicBezTo>
                      <a:pt x="55" y="23"/>
                      <a:pt x="56" y="23"/>
                      <a:pt x="56" y="23"/>
                    </a:cubicBezTo>
                    <a:close/>
                    <a:moveTo>
                      <a:pt x="58" y="149"/>
                    </a:moveTo>
                    <a:cubicBezTo>
                      <a:pt x="57" y="148"/>
                      <a:pt x="56" y="147"/>
                      <a:pt x="56" y="147"/>
                    </a:cubicBezTo>
                    <a:cubicBezTo>
                      <a:pt x="55" y="146"/>
                      <a:pt x="55" y="145"/>
                      <a:pt x="54" y="145"/>
                    </a:cubicBezTo>
                    <a:cubicBezTo>
                      <a:pt x="53" y="145"/>
                      <a:pt x="52" y="145"/>
                      <a:pt x="51" y="144"/>
                    </a:cubicBezTo>
                    <a:cubicBezTo>
                      <a:pt x="51" y="144"/>
                      <a:pt x="50" y="143"/>
                      <a:pt x="49" y="143"/>
                    </a:cubicBezTo>
                    <a:cubicBezTo>
                      <a:pt x="49" y="143"/>
                      <a:pt x="48" y="142"/>
                      <a:pt x="48" y="142"/>
                    </a:cubicBezTo>
                    <a:cubicBezTo>
                      <a:pt x="48" y="142"/>
                      <a:pt x="47" y="141"/>
                      <a:pt x="46" y="141"/>
                    </a:cubicBezTo>
                    <a:cubicBezTo>
                      <a:pt x="46" y="142"/>
                      <a:pt x="47" y="142"/>
                      <a:pt x="47" y="142"/>
                    </a:cubicBezTo>
                    <a:cubicBezTo>
                      <a:pt x="48" y="143"/>
                      <a:pt x="48" y="143"/>
                      <a:pt x="48" y="144"/>
                    </a:cubicBezTo>
                    <a:cubicBezTo>
                      <a:pt x="48" y="144"/>
                      <a:pt x="49" y="145"/>
                      <a:pt x="50" y="146"/>
                    </a:cubicBezTo>
                    <a:cubicBezTo>
                      <a:pt x="50" y="146"/>
                      <a:pt x="51" y="147"/>
                      <a:pt x="52" y="147"/>
                    </a:cubicBezTo>
                    <a:cubicBezTo>
                      <a:pt x="52" y="148"/>
                      <a:pt x="53" y="148"/>
                      <a:pt x="53" y="149"/>
                    </a:cubicBezTo>
                    <a:cubicBezTo>
                      <a:pt x="54" y="150"/>
                      <a:pt x="54" y="150"/>
                      <a:pt x="55" y="151"/>
                    </a:cubicBezTo>
                    <a:cubicBezTo>
                      <a:pt x="55" y="151"/>
                      <a:pt x="56" y="152"/>
                      <a:pt x="57" y="152"/>
                    </a:cubicBezTo>
                    <a:cubicBezTo>
                      <a:pt x="57" y="152"/>
                      <a:pt x="58" y="153"/>
                      <a:pt x="59" y="152"/>
                    </a:cubicBezTo>
                    <a:cubicBezTo>
                      <a:pt x="59" y="151"/>
                      <a:pt x="59" y="150"/>
                      <a:pt x="59" y="150"/>
                    </a:cubicBezTo>
                    <a:cubicBezTo>
                      <a:pt x="58" y="150"/>
                      <a:pt x="58" y="149"/>
                      <a:pt x="58" y="149"/>
                    </a:cubicBezTo>
                    <a:close/>
                    <a:moveTo>
                      <a:pt x="84" y="118"/>
                    </a:moveTo>
                    <a:cubicBezTo>
                      <a:pt x="84" y="118"/>
                      <a:pt x="84" y="119"/>
                      <a:pt x="84" y="119"/>
                    </a:cubicBezTo>
                    <a:cubicBezTo>
                      <a:pt x="84" y="119"/>
                      <a:pt x="84" y="118"/>
                      <a:pt x="84" y="118"/>
                    </a:cubicBezTo>
                    <a:cubicBezTo>
                      <a:pt x="83" y="118"/>
                      <a:pt x="83" y="118"/>
                      <a:pt x="83" y="118"/>
                    </a:cubicBezTo>
                    <a:cubicBezTo>
                      <a:pt x="83" y="118"/>
                      <a:pt x="83" y="117"/>
                      <a:pt x="83" y="117"/>
                    </a:cubicBezTo>
                    <a:cubicBezTo>
                      <a:pt x="83" y="117"/>
                      <a:pt x="81" y="118"/>
                      <a:pt x="82" y="119"/>
                    </a:cubicBezTo>
                    <a:cubicBezTo>
                      <a:pt x="82" y="119"/>
                      <a:pt x="82" y="119"/>
                      <a:pt x="82" y="119"/>
                    </a:cubicBezTo>
                    <a:cubicBezTo>
                      <a:pt x="82" y="119"/>
                      <a:pt x="83" y="121"/>
                      <a:pt x="83" y="121"/>
                    </a:cubicBezTo>
                    <a:cubicBezTo>
                      <a:pt x="83" y="122"/>
                      <a:pt x="82" y="120"/>
                      <a:pt x="82" y="120"/>
                    </a:cubicBezTo>
                    <a:cubicBezTo>
                      <a:pt x="81" y="120"/>
                      <a:pt x="81" y="121"/>
                      <a:pt x="82" y="121"/>
                    </a:cubicBezTo>
                    <a:cubicBezTo>
                      <a:pt x="81" y="121"/>
                      <a:pt x="81" y="121"/>
                      <a:pt x="81" y="121"/>
                    </a:cubicBezTo>
                    <a:cubicBezTo>
                      <a:pt x="81" y="121"/>
                      <a:pt x="83" y="123"/>
                      <a:pt x="82" y="122"/>
                    </a:cubicBezTo>
                    <a:cubicBezTo>
                      <a:pt x="82" y="123"/>
                      <a:pt x="82" y="123"/>
                      <a:pt x="82" y="123"/>
                    </a:cubicBezTo>
                    <a:cubicBezTo>
                      <a:pt x="82" y="123"/>
                      <a:pt x="82" y="123"/>
                      <a:pt x="82" y="123"/>
                    </a:cubicBezTo>
                    <a:cubicBezTo>
                      <a:pt x="82" y="123"/>
                      <a:pt x="82" y="124"/>
                      <a:pt x="82" y="125"/>
                    </a:cubicBezTo>
                    <a:cubicBezTo>
                      <a:pt x="82" y="125"/>
                      <a:pt x="83" y="125"/>
                      <a:pt x="83" y="126"/>
                    </a:cubicBezTo>
                    <a:cubicBezTo>
                      <a:pt x="83" y="126"/>
                      <a:pt x="83" y="126"/>
                      <a:pt x="83" y="126"/>
                    </a:cubicBezTo>
                    <a:cubicBezTo>
                      <a:pt x="83" y="127"/>
                      <a:pt x="83" y="127"/>
                      <a:pt x="83" y="127"/>
                    </a:cubicBezTo>
                    <a:cubicBezTo>
                      <a:pt x="83" y="127"/>
                      <a:pt x="83" y="126"/>
                      <a:pt x="82" y="126"/>
                    </a:cubicBezTo>
                    <a:cubicBezTo>
                      <a:pt x="82" y="126"/>
                      <a:pt x="82" y="124"/>
                      <a:pt x="82" y="124"/>
                    </a:cubicBezTo>
                    <a:cubicBezTo>
                      <a:pt x="82" y="124"/>
                      <a:pt x="82" y="125"/>
                      <a:pt x="82" y="125"/>
                    </a:cubicBezTo>
                    <a:cubicBezTo>
                      <a:pt x="82" y="126"/>
                      <a:pt x="82" y="126"/>
                      <a:pt x="82" y="127"/>
                    </a:cubicBezTo>
                    <a:cubicBezTo>
                      <a:pt x="82" y="128"/>
                      <a:pt x="82" y="127"/>
                      <a:pt x="82" y="127"/>
                    </a:cubicBezTo>
                    <a:cubicBezTo>
                      <a:pt x="82" y="127"/>
                      <a:pt x="83" y="128"/>
                      <a:pt x="83" y="128"/>
                    </a:cubicBezTo>
                    <a:cubicBezTo>
                      <a:pt x="83" y="128"/>
                      <a:pt x="83" y="128"/>
                      <a:pt x="83" y="129"/>
                    </a:cubicBezTo>
                    <a:cubicBezTo>
                      <a:pt x="82" y="129"/>
                      <a:pt x="82" y="130"/>
                      <a:pt x="82" y="130"/>
                    </a:cubicBezTo>
                    <a:cubicBezTo>
                      <a:pt x="82" y="130"/>
                      <a:pt x="81" y="129"/>
                      <a:pt x="81" y="129"/>
                    </a:cubicBezTo>
                    <a:cubicBezTo>
                      <a:pt x="81" y="130"/>
                      <a:pt x="82" y="130"/>
                      <a:pt x="81" y="130"/>
                    </a:cubicBezTo>
                    <a:cubicBezTo>
                      <a:pt x="81" y="131"/>
                      <a:pt x="81" y="132"/>
                      <a:pt x="81" y="132"/>
                    </a:cubicBezTo>
                    <a:cubicBezTo>
                      <a:pt x="81" y="134"/>
                      <a:pt x="79" y="132"/>
                      <a:pt x="79" y="134"/>
                    </a:cubicBezTo>
                    <a:cubicBezTo>
                      <a:pt x="79" y="134"/>
                      <a:pt x="79" y="134"/>
                      <a:pt x="78" y="134"/>
                    </a:cubicBezTo>
                    <a:cubicBezTo>
                      <a:pt x="77" y="134"/>
                      <a:pt x="77" y="135"/>
                      <a:pt x="76" y="135"/>
                    </a:cubicBezTo>
                    <a:cubicBezTo>
                      <a:pt x="76" y="136"/>
                      <a:pt x="76" y="136"/>
                      <a:pt x="76" y="136"/>
                    </a:cubicBezTo>
                    <a:cubicBezTo>
                      <a:pt x="76" y="136"/>
                      <a:pt x="76" y="136"/>
                      <a:pt x="76" y="136"/>
                    </a:cubicBezTo>
                    <a:cubicBezTo>
                      <a:pt x="75" y="136"/>
                      <a:pt x="75" y="137"/>
                      <a:pt x="75" y="137"/>
                    </a:cubicBezTo>
                    <a:cubicBezTo>
                      <a:pt x="74" y="137"/>
                      <a:pt x="74" y="137"/>
                      <a:pt x="73" y="137"/>
                    </a:cubicBezTo>
                    <a:cubicBezTo>
                      <a:pt x="72" y="137"/>
                      <a:pt x="72" y="138"/>
                      <a:pt x="72" y="139"/>
                    </a:cubicBezTo>
                    <a:cubicBezTo>
                      <a:pt x="72" y="139"/>
                      <a:pt x="72" y="140"/>
                      <a:pt x="71" y="139"/>
                    </a:cubicBezTo>
                    <a:cubicBezTo>
                      <a:pt x="70" y="139"/>
                      <a:pt x="70" y="140"/>
                      <a:pt x="69" y="141"/>
                    </a:cubicBezTo>
                    <a:cubicBezTo>
                      <a:pt x="68" y="141"/>
                      <a:pt x="68" y="142"/>
                      <a:pt x="67" y="142"/>
                    </a:cubicBezTo>
                    <a:cubicBezTo>
                      <a:pt x="67" y="142"/>
                      <a:pt x="66" y="142"/>
                      <a:pt x="66" y="142"/>
                    </a:cubicBezTo>
                    <a:cubicBezTo>
                      <a:pt x="66" y="143"/>
                      <a:pt x="66" y="143"/>
                      <a:pt x="65" y="143"/>
                    </a:cubicBezTo>
                    <a:cubicBezTo>
                      <a:pt x="65" y="143"/>
                      <a:pt x="64" y="143"/>
                      <a:pt x="64" y="143"/>
                    </a:cubicBezTo>
                    <a:cubicBezTo>
                      <a:pt x="64" y="143"/>
                      <a:pt x="64" y="144"/>
                      <a:pt x="63" y="144"/>
                    </a:cubicBezTo>
                    <a:cubicBezTo>
                      <a:pt x="63" y="143"/>
                      <a:pt x="64" y="143"/>
                      <a:pt x="64" y="143"/>
                    </a:cubicBezTo>
                    <a:cubicBezTo>
                      <a:pt x="63" y="143"/>
                      <a:pt x="63" y="142"/>
                      <a:pt x="63" y="142"/>
                    </a:cubicBezTo>
                    <a:cubicBezTo>
                      <a:pt x="63" y="142"/>
                      <a:pt x="63" y="140"/>
                      <a:pt x="62" y="140"/>
                    </a:cubicBezTo>
                    <a:cubicBezTo>
                      <a:pt x="63" y="140"/>
                      <a:pt x="63" y="141"/>
                      <a:pt x="63" y="142"/>
                    </a:cubicBezTo>
                    <a:cubicBezTo>
                      <a:pt x="63" y="142"/>
                      <a:pt x="62" y="141"/>
                      <a:pt x="62" y="141"/>
                    </a:cubicBezTo>
                    <a:cubicBezTo>
                      <a:pt x="62" y="141"/>
                      <a:pt x="63" y="142"/>
                      <a:pt x="63" y="142"/>
                    </a:cubicBezTo>
                    <a:cubicBezTo>
                      <a:pt x="63" y="142"/>
                      <a:pt x="62" y="142"/>
                      <a:pt x="62" y="142"/>
                    </a:cubicBezTo>
                    <a:cubicBezTo>
                      <a:pt x="62" y="142"/>
                      <a:pt x="62" y="141"/>
                      <a:pt x="61" y="140"/>
                    </a:cubicBezTo>
                    <a:cubicBezTo>
                      <a:pt x="61" y="140"/>
                      <a:pt x="59" y="139"/>
                      <a:pt x="60" y="141"/>
                    </a:cubicBezTo>
                    <a:cubicBezTo>
                      <a:pt x="60" y="141"/>
                      <a:pt x="60" y="142"/>
                      <a:pt x="60" y="142"/>
                    </a:cubicBezTo>
                    <a:cubicBezTo>
                      <a:pt x="59" y="143"/>
                      <a:pt x="59" y="142"/>
                      <a:pt x="59" y="142"/>
                    </a:cubicBezTo>
                    <a:cubicBezTo>
                      <a:pt x="59" y="143"/>
                      <a:pt x="58" y="142"/>
                      <a:pt x="58" y="142"/>
                    </a:cubicBezTo>
                    <a:cubicBezTo>
                      <a:pt x="58" y="142"/>
                      <a:pt x="59" y="143"/>
                      <a:pt x="59" y="142"/>
                    </a:cubicBezTo>
                    <a:cubicBezTo>
                      <a:pt x="59" y="143"/>
                      <a:pt x="60" y="143"/>
                      <a:pt x="60" y="143"/>
                    </a:cubicBezTo>
                    <a:cubicBezTo>
                      <a:pt x="60" y="142"/>
                      <a:pt x="60" y="143"/>
                      <a:pt x="60" y="143"/>
                    </a:cubicBezTo>
                    <a:cubicBezTo>
                      <a:pt x="61" y="144"/>
                      <a:pt x="61" y="145"/>
                      <a:pt x="60" y="144"/>
                    </a:cubicBezTo>
                    <a:cubicBezTo>
                      <a:pt x="59" y="144"/>
                      <a:pt x="59" y="144"/>
                      <a:pt x="58" y="144"/>
                    </a:cubicBezTo>
                    <a:cubicBezTo>
                      <a:pt x="58" y="144"/>
                      <a:pt x="57" y="144"/>
                      <a:pt x="57" y="144"/>
                    </a:cubicBezTo>
                    <a:cubicBezTo>
                      <a:pt x="56" y="144"/>
                      <a:pt x="55" y="144"/>
                      <a:pt x="55" y="144"/>
                    </a:cubicBezTo>
                    <a:cubicBezTo>
                      <a:pt x="54" y="144"/>
                      <a:pt x="54" y="144"/>
                      <a:pt x="53" y="144"/>
                    </a:cubicBezTo>
                    <a:cubicBezTo>
                      <a:pt x="53" y="144"/>
                      <a:pt x="53" y="144"/>
                      <a:pt x="53" y="144"/>
                    </a:cubicBezTo>
                    <a:cubicBezTo>
                      <a:pt x="53" y="144"/>
                      <a:pt x="53" y="144"/>
                      <a:pt x="53" y="144"/>
                    </a:cubicBezTo>
                    <a:cubicBezTo>
                      <a:pt x="54" y="145"/>
                      <a:pt x="54" y="144"/>
                      <a:pt x="54" y="144"/>
                    </a:cubicBezTo>
                    <a:cubicBezTo>
                      <a:pt x="55" y="145"/>
                      <a:pt x="55" y="145"/>
                      <a:pt x="55" y="145"/>
                    </a:cubicBezTo>
                    <a:cubicBezTo>
                      <a:pt x="55" y="145"/>
                      <a:pt x="55" y="145"/>
                      <a:pt x="56" y="145"/>
                    </a:cubicBezTo>
                    <a:cubicBezTo>
                      <a:pt x="56" y="145"/>
                      <a:pt x="56" y="145"/>
                      <a:pt x="57" y="146"/>
                    </a:cubicBezTo>
                    <a:cubicBezTo>
                      <a:pt x="57" y="146"/>
                      <a:pt x="57" y="147"/>
                      <a:pt x="58" y="147"/>
                    </a:cubicBezTo>
                    <a:cubicBezTo>
                      <a:pt x="58" y="147"/>
                      <a:pt x="59" y="148"/>
                      <a:pt x="59" y="148"/>
                    </a:cubicBezTo>
                    <a:cubicBezTo>
                      <a:pt x="60" y="148"/>
                      <a:pt x="60" y="149"/>
                      <a:pt x="60" y="149"/>
                    </a:cubicBezTo>
                    <a:cubicBezTo>
                      <a:pt x="60" y="149"/>
                      <a:pt x="60" y="149"/>
                      <a:pt x="60" y="149"/>
                    </a:cubicBezTo>
                    <a:cubicBezTo>
                      <a:pt x="59" y="150"/>
                      <a:pt x="58" y="148"/>
                      <a:pt x="57" y="148"/>
                    </a:cubicBezTo>
                    <a:cubicBezTo>
                      <a:pt x="56" y="147"/>
                      <a:pt x="55" y="145"/>
                      <a:pt x="53" y="145"/>
                    </a:cubicBezTo>
                    <a:cubicBezTo>
                      <a:pt x="53" y="145"/>
                      <a:pt x="53" y="144"/>
                      <a:pt x="53" y="144"/>
                    </a:cubicBezTo>
                    <a:cubicBezTo>
                      <a:pt x="53" y="144"/>
                      <a:pt x="52" y="144"/>
                      <a:pt x="52" y="144"/>
                    </a:cubicBezTo>
                    <a:cubicBezTo>
                      <a:pt x="52" y="144"/>
                      <a:pt x="52" y="144"/>
                      <a:pt x="52" y="144"/>
                    </a:cubicBezTo>
                    <a:cubicBezTo>
                      <a:pt x="52" y="144"/>
                      <a:pt x="51" y="144"/>
                      <a:pt x="51" y="144"/>
                    </a:cubicBezTo>
                    <a:cubicBezTo>
                      <a:pt x="50" y="143"/>
                      <a:pt x="50" y="143"/>
                      <a:pt x="49" y="143"/>
                    </a:cubicBezTo>
                    <a:cubicBezTo>
                      <a:pt x="49" y="142"/>
                      <a:pt x="49" y="142"/>
                      <a:pt x="48" y="142"/>
                    </a:cubicBezTo>
                    <a:cubicBezTo>
                      <a:pt x="47" y="141"/>
                      <a:pt x="47" y="140"/>
                      <a:pt x="46" y="139"/>
                    </a:cubicBezTo>
                    <a:cubicBezTo>
                      <a:pt x="46" y="138"/>
                      <a:pt x="45" y="139"/>
                      <a:pt x="45" y="137"/>
                    </a:cubicBezTo>
                    <a:cubicBezTo>
                      <a:pt x="45" y="137"/>
                      <a:pt x="46" y="138"/>
                      <a:pt x="46" y="138"/>
                    </a:cubicBezTo>
                    <a:cubicBezTo>
                      <a:pt x="46" y="138"/>
                      <a:pt x="47" y="137"/>
                      <a:pt x="47" y="137"/>
                    </a:cubicBezTo>
                    <a:cubicBezTo>
                      <a:pt x="47" y="137"/>
                      <a:pt x="47" y="137"/>
                      <a:pt x="48" y="137"/>
                    </a:cubicBezTo>
                    <a:cubicBezTo>
                      <a:pt x="49" y="137"/>
                      <a:pt x="50" y="136"/>
                      <a:pt x="50" y="136"/>
                    </a:cubicBezTo>
                    <a:cubicBezTo>
                      <a:pt x="51" y="136"/>
                      <a:pt x="51" y="138"/>
                      <a:pt x="51" y="138"/>
                    </a:cubicBezTo>
                    <a:cubicBezTo>
                      <a:pt x="52" y="138"/>
                      <a:pt x="52" y="138"/>
                      <a:pt x="52" y="138"/>
                    </a:cubicBezTo>
                    <a:cubicBezTo>
                      <a:pt x="53" y="138"/>
                      <a:pt x="53" y="138"/>
                      <a:pt x="53" y="138"/>
                    </a:cubicBezTo>
                    <a:cubicBezTo>
                      <a:pt x="53" y="139"/>
                      <a:pt x="54" y="139"/>
                      <a:pt x="54" y="139"/>
                    </a:cubicBezTo>
                    <a:cubicBezTo>
                      <a:pt x="54" y="138"/>
                      <a:pt x="53" y="137"/>
                      <a:pt x="54" y="137"/>
                    </a:cubicBezTo>
                    <a:cubicBezTo>
                      <a:pt x="55" y="137"/>
                      <a:pt x="54" y="135"/>
                      <a:pt x="53" y="136"/>
                    </a:cubicBezTo>
                    <a:cubicBezTo>
                      <a:pt x="53" y="136"/>
                      <a:pt x="52" y="134"/>
                      <a:pt x="52" y="134"/>
                    </a:cubicBezTo>
                    <a:cubicBezTo>
                      <a:pt x="51" y="134"/>
                      <a:pt x="51" y="133"/>
                      <a:pt x="51" y="132"/>
                    </a:cubicBezTo>
                    <a:cubicBezTo>
                      <a:pt x="51" y="132"/>
                      <a:pt x="51" y="131"/>
                      <a:pt x="51" y="131"/>
                    </a:cubicBezTo>
                    <a:cubicBezTo>
                      <a:pt x="51" y="130"/>
                      <a:pt x="50" y="130"/>
                      <a:pt x="50" y="130"/>
                    </a:cubicBezTo>
                    <a:cubicBezTo>
                      <a:pt x="50" y="129"/>
                      <a:pt x="51" y="130"/>
                      <a:pt x="52" y="129"/>
                    </a:cubicBezTo>
                    <a:cubicBezTo>
                      <a:pt x="52" y="128"/>
                      <a:pt x="53" y="128"/>
                      <a:pt x="54" y="128"/>
                    </a:cubicBezTo>
                    <a:cubicBezTo>
                      <a:pt x="54" y="128"/>
                      <a:pt x="54" y="129"/>
                      <a:pt x="55" y="129"/>
                    </a:cubicBezTo>
                    <a:cubicBezTo>
                      <a:pt x="56" y="129"/>
                      <a:pt x="56" y="129"/>
                      <a:pt x="56" y="129"/>
                    </a:cubicBezTo>
                    <a:cubicBezTo>
                      <a:pt x="56" y="129"/>
                      <a:pt x="56" y="128"/>
                      <a:pt x="56" y="128"/>
                    </a:cubicBezTo>
                    <a:cubicBezTo>
                      <a:pt x="56" y="127"/>
                      <a:pt x="56" y="127"/>
                      <a:pt x="56" y="126"/>
                    </a:cubicBezTo>
                    <a:cubicBezTo>
                      <a:pt x="56" y="126"/>
                      <a:pt x="56" y="125"/>
                      <a:pt x="56" y="126"/>
                    </a:cubicBezTo>
                    <a:cubicBezTo>
                      <a:pt x="56" y="126"/>
                      <a:pt x="57" y="126"/>
                      <a:pt x="58" y="126"/>
                    </a:cubicBezTo>
                    <a:cubicBezTo>
                      <a:pt x="58" y="126"/>
                      <a:pt x="58" y="126"/>
                      <a:pt x="58" y="126"/>
                    </a:cubicBezTo>
                    <a:cubicBezTo>
                      <a:pt x="59" y="125"/>
                      <a:pt x="59" y="125"/>
                      <a:pt x="59" y="125"/>
                    </a:cubicBezTo>
                    <a:cubicBezTo>
                      <a:pt x="60" y="124"/>
                      <a:pt x="61" y="125"/>
                      <a:pt x="61" y="124"/>
                    </a:cubicBezTo>
                    <a:cubicBezTo>
                      <a:pt x="62" y="124"/>
                      <a:pt x="62" y="123"/>
                      <a:pt x="62" y="122"/>
                    </a:cubicBezTo>
                    <a:cubicBezTo>
                      <a:pt x="62" y="122"/>
                      <a:pt x="63" y="122"/>
                      <a:pt x="64" y="122"/>
                    </a:cubicBezTo>
                    <a:cubicBezTo>
                      <a:pt x="64" y="122"/>
                      <a:pt x="64" y="122"/>
                      <a:pt x="65" y="122"/>
                    </a:cubicBezTo>
                    <a:cubicBezTo>
                      <a:pt x="65" y="123"/>
                      <a:pt x="66" y="121"/>
                      <a:pt x="66" y="121"/>
                    </a:cubicBezTo>
                    <a:cubicBezTo>
                      <a:pt x="66" y="119"/>
                      <a:pt x="66" y="118"/>
                      <a:pt x="66" y="116"/>
                    </a:cubicBezTo>
                    <a:cubicBezTo>
                      <a:pt x="65" y="115"/>
                      <a:pt x="64" y="114"/>
                      <a:pt x="65" y="113"/>
                    </a:cubicBezTo>
                    <a:cubicBezTo>
                      <a:pt x="65" y="113"/>
                      <a:pt x="65" y="112"/>
                      <a:pt x="65" y="112"/>
                    </a:cubicBezTo>
                    <a:cubicBezTo>
                      <a:pt x="66" y="111"/>
                      <a:pt x="66" y="110"/>
                      <a:pt x="66" y="109"/>
                    </a:cubicBezTo>
                    <a:cubicBezTo>
                      <a:pt x="65" y="108"/>
                      <a:pt x="65" y="107"/>
                      <a:pt x="64" y="107"/>
                    </a:cubicBezTo>
                    <a:cubicBezTo>
                      <a:pt x="64" y="106"/>
                      <a:pt x="64" y="106"/>
                      <a:pt x="64" y="105"/>
                    </a:cubicBezTo>
                    <a:cubicBezTo>
                      <a:pt x="64" y="105"/>
                      <a:pt x="64" y="104"/>
                      <a:pt x="63" y="104"/>
                    </a:cubicBezTo>
                    <a:cubicBezTo>
                      <a:pt x="63" y="103"/>
                      <a:pt x="63" y="104"/>
                      <a:pt x="63" y="103"/>
                    </a:cubicBezTo>
                    <a:cubicBezTo>
                      <a:pt x="62" y="102"/>
                      <a:pt x="62" y="102"/>
                      <a:pt x="62" y="101"/>
                    </a:cubicBezTo>
                    <a:cubicBezTo>
                      <a:pt x="62" y="100"/>
                      <a:pt x="62" y="100"/>
                      <a:pt x="62" y="99"/>
                    </a:cubicBezTo>
                    <a:cubicBezTo>
                      <a:pt x="62" y="99"/>
                      <a:pt x="62" y="98"/>
                      <a:pt x="63" y="99"/>
                    </a:cubicBezTo>
                    <a:cubicBezTo>
                      <a:pt x="63" y="99"/>
                      <a:pt x="63" y="97"/>
                      <a:pt x="63" y="97"/>
                    </a:cubicBezTo>
                    <a:cubicBezTo>
                      <a:pt x="63" y="97"/>
                      <a:pt x="64" y="96"/>
                      <a:pt x="63" y="96"/>
                    </a:cubicBezTo>
                    <a:cubicBezTo>
                      <a:pt x="63" y="95"/>
                      <a:pt x="63" y="95"/>
                      <a:pt x="63" y="94"/>
                    </a:cubicBezTo>
                    <a:cubicBezTo>
                      <a:pt x="64" y="93"/>
                      <a:pt x="62" y="93"/>
                      <a:pt x="62" y="92"/>
                    </a:cubicBezTo>
                    <a:cubicBezTo>
                      <a:pt x="62" y="92"/>
                      <a:pt x="63" y="92"/>
                      <a:pt x="64" y="92"/>
                    </a:cubicBezTo>
                    <a:cubicBezTo>
                      <a:pt x="64" y="91"/>
                      <a:pt x="64" y="91"/>
                      <a:pt x="64" y="90"/>
                    </a:cubicBezTo>
                    <a:cubicBezTo>
                      <a:pt x="64" y="90"/>
                      <a:pt x="64" y="90"/>
                      <a:pt x="64" y="90"/>
                    </a:cubicBezTo>
                    <a:cubicBezTo>
                      <a:pt x="64" y="89"/>
                      <a:pt x="63" y="89"/>
                      <a:pt x="63" y="89"/>
                    </a:cubicBezTo>
                    <a:cubicBezTo>
                      <a:pt x="63" y="88"/>
                      <a:pt x="63" y="88"/>
                      <a:pt x="63" y="88"/>
                    </a:cubicBezTo>
                    <a:cubicBezTo>
                      <a:pt x="63" y="88"/>
                      <a:pt x="63" y="88"/>
                      <a:pt x="62" y="88"/>
                    </a:cubicBezTo>
                    <a:cubicBezTo>
                      <a:pt x="62" y="88"/>
                      <a:pt x="62" y="87"/>
                      <a:pt x="62" y="87"/>
                    </a:cubicBezTo>
                    <a:cubicBezTo>
                      <a:pt x="61" y="87"/>
                      <a:pt x="61" y="87"/>
                      <a:pt x="61" y="87"/>
                    </a:cubicBezTo>
                    <a:cubicBezTo>
                      <a:pt x="60" y="87"/>
                      <a:pt x="60" y="86"/>
                      <a:pt x="60" y="86"/>
                    </a:cubicBezTo>
                    <a:cubicBezTo>
                      <a:pt x="59" y="85"/>
                      <a:pt x="60" y="85"/>
                      <a:pt x="59" y="84"/>
                    </a:cubicBezTo>
                    <a:cubicBezTo>
                      <a:pt x="59" y="84"/>
                      <a:pt x="58" y="84"/>
                      <a:pt x="58" y="84"/>
                    </a:cubicBezTo>
                    <a:cubicBezTo>
                      <a:pt x="58" y="83"/>
                      <a:pt x="58" y="83"/>
                      <a:pt x="59" y="83"/>
                    </a:cubicBezTo>
                    <a:cubicBezTo>
                      <a:pt x="59" y="83"/>
                      <a:pt x="60" y="82"/>
                      <a:pt x="60" y="82"/>
                    </a:cubicBezTo>
                    <a:cubicBezTo>
                      <a:pt x="61" y="82"/>
                      <a:pt x="61" y="80"/>
                      <a:pt x="60" y="81"/>
                    </a:cubicBezTo>
                    <a:cubicBezTo>
                      <a:pt x="60" y="81"/>
                      <a:pt x="59" y="81"/>
                      <a:pt x="59" y="80"/>
                    </a:cubicBezTo>
                    <a:cubicBezTo>
                      <a:pt x="59" y="80"/>
                      <a:pt x="58" y="80"/>
                      <a:pt x="58" y="80"/>
                    </a:cubicBezTo>
                    <a:cubicBezTo>
                      <a:pt x="57" y="79"/>
                      <a:pt x="58" y="79"/>
                      <a:pt x="57" y="78"/>
                    </a:cubicBezTo>
                    <a:cubicBezTo>
                      <a:pt x="57" y="78"/>
                      <a:pt x="56" y="78"/>
                      <a:pt x="56" y="78"/>
                    </a:cubicBezTo>
                    <a:cubicBezTo>
                      <a:pt x="56" y="78"/>
                      <a:pt x="55" y="77"/>
                      <a:pt x="55" y="77"/>
                    </a:cubicBezTo>
                    <a:cubicBezTo>
                      <a:pt x="55" y="77"/>
                      <a:pt x="55" y="76"/>
                      <a:pt x="55" y="76"/>
                    </a:cubicBezTo>
                    <a:cubicBezTo>
                      <a:pt x="55" y="75"/>
                      <a:pt x="54" y="76"/>
                      <a:pt x="54" y="76"/>
                    </a:cubicBezTo>
                    <a:cubicBezTo>
                      <a:pt x="54" y="76"/>
                      <a:pt x="54" y="77"/>
                      <a:pt x="53" y="77"/>
                    </a:cubicBezTo>
                    <a:cubicBezTo>
                      <a:pt x="53" y="76"/>
                      <a:pt x="52" y="76"/>
                      <a:pt x="52" y="75"/>
                    </a:cubicBezTo>
                    <a:cubicBezTo>
                      <a:pt x="52" y="75"/>
                      <a:pt x="52" y="75"/>
                      <a:pt x="51" y="74"/>
                    </a:cubicBezTo>
                    <a:cubicBezTo>
                      <a:pt x="51" y="73"/>
                      <a:pt x="51" y="72"/>
                      <a:pt x="51" y="70"/>
                    </a:cubicBezTo>
                    <a:cubicBezTo>
                      <a:pt x="50" y="71"/>
                      <a:pt x="50" y="70"/>
                      <a:pt x="49" y="70"/>
                    </a:cubicBezTo>
                    <a:cubicBezTo>
                      <a:pt x="49" y="69"/>
                      <a:pt x="49" y="69"/>
                      <a:pt x="48" y="68"/>
                    </a:cubicBezTo>
                    <a:cubicBezTo>
                      <a:pt x="48" y="68"/>
                      <a:pt x="48" y="68"/>
                      <a:pt x="48" y="67"/>
                    </a:cubicBezTo>
                    <a:cubicBezTo>
                      <a:pt x="48" y="67"/>
                      <a:pt x="48" y="67"/>
                      <a:pt x="48" y="68"/>
                    </a:cubicBezTo>
                    <a:cubicBezTo>
                      <a:pt x="47" y="68"/>
                      <a:pt x="47" y="67"/>
                      <a:pt x="46" y="67"/>
                    </a:cubicBezTo>
                    <a:cubicBezTo>
                      <a:pt x="45" y="66"/>
                      <a:pt x="44" y="65"/>
                      <a:pt x="43" y="64"/>
                    </a:cubicBezTo>
                    <a:cubicBezTo>
                      <a:pt x="42" y="63"/>
                      <a:pt x="41" y="62"/>
                      <a:pt x="41" y="61"/>
                    </a:cubicBezTo>
                    <a:cubicBezTo>
                      <a:pt x="40" y="61"/>
                      <a:pt x="41" y="60"/>
                      <a:pt x="40" y="60"/>
                    </a:cubicBezTo>
                    <a:cubicBezTo>
                      <a:pt x="40" y="59"/>
                      <a:pt x="40" y="59"/>
                      <a:pt x="39" y="58"/>
                    </a:cubicBezTo>
                    <a:cubicBezTo>
                      <a:pt x="39" y="58"/>
                      <a:pt x="39" y="57"/>
                      <a:pt x="38" y="57"/>
                    </a:cubicBezTo>
                    <a:cubicBezTo>
                      <a:pt x="38" y="57"/>
                      <a:pt x="38" y="58"/>
                      <a:pt x="38" y="58"/>
                    </a:cubicBezTo>
                    <a:cubicBezTo>
                      <a:pt x="37" y="58"/>
                      <a:pt x="37" y="57"/>
                      <a:pt x="37" y="57"/>
                    </a:cubicBezTo>
                    <a:cubicBezTo>
                      <a:pt x="37" y="56"/>
                      <a:pt x="37" y="57"/>
                      <a:pt x="36" y="56"/>
                    </a:cubicBezTo>
                    <a:cubicBezTo>
                      <a:pt x="36" y="56"/>
                      <a:pt x="35" y="55"/>
                      <a:pt x="35" y="55"/>
                    </a:cubicBezTo>
                    <a:cubicBezTo>
                      <a:pt x="35" y="54"/>
                      <a:pt x="35" y="54"/>
                      <a:pt x="35" y="53"/>
                    </a:cubicBezTo>
                    <a:cubicBezTo>
                      <a:pt x="35" y="53"/>
                      <a:pt x="35" y="53"/>
                      <a:pt x="35" y="53"/>
                    </a:cubicBezTo>
                    <a:cubicBezTo>
                      <a:pt x="36" y="52"/>
                      <a:pt x="34" y="51"/>
                      <a:pt x="33" y="51"/>
                    </a:cubicBezTo>
                    <a:cubicBezTo>
                      <a:pt x="33" y="51"/>
                      <a:pt x="32" y="51"/>
                      <a:pt x="32" y="51"/>
                    </a:cubicBezTo>
                    <a:cubicBezTo>
                      <a:pt x="31" y="51"/>
                      <a:pt x="30" y="51"/>
                      <a:pt x="30" y="50"/>
                    </a:cubicBezTo>
                    <a:cubicBezTo>
                      <a:pt x="29" y="50"/>
                      <a:pt x="28" y="48"/>
                      <a:pt x="28" y="49"/>
                    </a:cubicBezTo>
                    <a:cubicBezTo>
                      <a:pt x="27" y="49"/>
                      <a:pt x="26" y="47"/>
                      <a:pt x="26" y="47"/>
                    </a:cubicBezTo>
                    <a:cubicBezTo>
                      <a:pt x="25" y="47"/>
                      <a:pt x="25" y="47"/>
                      <a:pt x="25" y="47"/>
                    </a:cubicBezTo>
                    <a:cubicBezTo>
                      <a:pt x="25" y="47"/>
                      <a:pt x="24" y="46"/>
                      <a:pt x="24" y="46"/>
                    </a:cubicBezTo>
                    <a:cubicBezTo>
                      <a:pt x="24" y="46"/>
                      <a:pt x="22" y="46"/>
                      <a:pt x="22" y="45"/>
                    </a:cubicBezTo>
                    <a:cubicBezTo>
                      <a:pt x="22" y="44"/>
                      <a:pt x="23" y="44"/>
                      <a:pt x="23" y="44"/>
                    </a:cubicBezTo>
                    <a:cubicBezTo>
                      <a:pt x="23" y="43"/>
                      <a:pt x="24" y="43"/>
                      <a:pt x="23" y="43"/>
                    </a:cubicBezTo>
                    <a:cubicBezTo>
                      <a:pt x="23" y="42"/>
                      <a:pt x="23" y="42"/>
                      <a:pt x="22" y="41"/>
                    </a:cubicBezTo>
                    <a:cubicBezTo>
                      <a:pt x="22" y="41"/>
                      <a:pt x="23" y="41"/>
                      <a:pt x="23" y="41"/>
                    </a:cubicBezTo>
                    <a:cubicBezTo>
                      <a:pt x="24" y="41"/>
                      <a:pt x="24" y="41"/>
                      <a:pt x="25" y="41"/>
                    </a:cubicBezTo>
                    <a:cubicBezTo>
                      <a:pt x="25" y="41"/>
                      <a:pt x="25" y="41"/>
                      <a:pt x="25" y="41"/>
                    </a:cubicBezTo>
                    <a:cubicBezTo>
                      <a:pt x="26" y="41"/>
                      <a:pt x="26" y="41"/>
                      <a:pt x="26" y="41"/>
                    </a:cubicBezTo>
                    <a:cubicBezTo>
                      <a:pt x="26" y="41"/>
                      <a:pt x="27" y="41"/>
                      <a:pt x="27" y="42"/>
                    </a:cubicBezTo>
                    <a:cubicBezTo>
                      <a:pt x="28" y="43"/>
                      <a:pt x="29" y="41"/>
                      <a:pt x="29" y="40"/>
                    </a:cubicBezTo>
                    <a:cubicBezTo>
                      <a:pt x="30" y="40"/>
                      <a:pt x="30" y="40"/>
                      <a:pt x="30" y="39"/>
                    </a:cubicBezTo>
                    <a:cubicBezTo>
                      <a:pt x="30" y="39"/>
                      <a:pt x="29" y="39"/>
                      <a:pt x="30" y="38"/>
                    </a:cubicBezTo>
                    <a:cubicBezTo>
                      <a:pt x="30" y="38"/>
                      <a:pt x="30" y="38"/>
                      <a:pt x="31" y="38"/>
                    </a:cubicBezTo>
                    <a:cubicBezTo>
                      <a:pt x="31" y="38"/>
                      <a:pt x="31" y="37"/>
                      <a:pt x="31" y="37"/>
                    </a:cubicBezTo>
                    <a:cubicBezTo>
                      <a:pt x="31" y="36"/>
                      <a:pt x="30" y="35"/>
                      <a:pt x="30" y="35"/>
                    </a:cubicBezTo>
                    <a:cubicBezTo>
                      <a:pt x="30" y="35"/>
                      <a:pt x="29" y="35"/>
                      <a:pt x="28" y="35"/>
                    </a:cubicBezTo>
                    <a:cubicBezTo>
                      <a:pt x="28" y="35"/>
                      <a:pt x="28" y="35"/>
                      <a:pt x="28" y="34"/>
                    </a:cubicBezTo>
                    <a:cubicBezTo>
                      <a:pt x="28" y="34"/>
                      <a:pt x="28" y="34"/>
                      <a:pt x="28" y="33"/>
                    </a:cubicBezTo>
                    <a:cubicBezTo>
                      <a:pt x="27" y="33"/>
                      <a:pt x="27" y="33"/>
                      <a:pt x="26" y="33"/>
                    </a:cubicBezTo>
                    <a:cubicBezTo>
                      <a:pt x="26" y="33"/>
                      <a:pt x="24" y="33"/>
                      <a:pt x="25" y="32"/>
                    </a:cubicBezTo>
                    <a:cubicBezTo>
                      <a:pt x="25" y="32"/>
                      <a:pt x="25" y="32"/>
                      <a:pt x="26" y="32"/>
                    </a:cubicBezTo>
                    <a:cubicBezTo>
                      <a:pt x="26" y="32"/>
                      <a:pt x="27" y="31"/>
                      <a:pt x="27" y="31"/>
                    </a:cubicBezTo>
                    <a:cubicBezTo>
                      <a:pt x="27" y="30"/>
                      <a:pt x="25" y="30"/>
                      <a:pt x="25" y="29"/>
                    </a:cubicBezTo>
                    <a:cubicBezTo>
                      <a:pt x="25" y="29"/>
                      <a:pt x="24" y="29"/>
                      <a:pt x="24" y="29"/>
                    </a:cubicBezTo>
                    <a:cubicBezTo>
                      <a:pt x="24" y="28"/>
                      <a:pt x="23" y="28"/>
                      <a:pt x="23" y="27"/>
                    </a:cubicBezTo>
                    <a:cubicBezTo>
                      <a:pt x="22" y="27"/>
                      <a:pt x="22" y="27"/>
                      <a:pt x="21" y="27"/>
                    </a:cubicBezTo>
                    <a:cubicBezTo>
                      <a:pt x="21" y="27"/>
                      <a:pt x="21" y="27"/>
                      <a:pt x="21" y="27"/>
                    </a:cubicBezTo>
                    <a:cubicBezTo>
                      <a:pt x="21" y="27"/>
                      <a:pt x="20" y="28"/>
                      <a:pt x="20" y="28"/>
                    </a:cubicBezTo>
                    <a:cubicBezTo>
                      <a:pt x="20" y="28"/>
                      <a:pt x="19" y="28"/>
                      <a:pt x="19" y="28"/>
                    </a:cubicBezTo>
                    <a:cubicBezTo>
                      <a:pt x="18" y="29"/>
                      <a:pt x="18" y="29"/>
                      <a:pt x="19" y="29"/>
                    </a:cubicBezTo>
                    <a:cubicBezTo>
                      <a:pt x="19" y="29"/>
                      <a:pt x="18" y="29"/>
                      <a:pt x="18" y="29"/>
                    </a:cubicBezTo>
                    <a:cubicBezTo>
                      <a:pt x="18" y="30"/>
                      <a:pt x="18" y="30"/>
                      <a:pt x="18" y="30"/>
                    </a:cubicBezTo>
                    <a:cubicBezTo>
                      <a:pt x="18" y="30"/>
                      <a:pt x="17" y="29"/>
                      <a:pt x="17" y="29"/>
                    </a:cubicBezTo>
                    <a:cubicBezTo>
                      <a:pt x="16" y="29"/>
                      <a:pt x="15" y="28"/>
                      <a:pt x="15" y="29"/>
                    </a:cubicBezTo>
                    <a:cubicBezTo>
                      <a:pt x="15" y="29"/>
                      <a:pt x="14" y="28"/>
                      <a:pt x="14" y="28"/>
                    </a:cubicBezTo>
                    <a:cubicBezTo>
                      <a:pt x="13" y="28"/>
                      <a:pt x="13" y="28"/>
                      <a:pt x="13" y="28"/>
                    </a:cubicBezTo>
                    <a:cubicBezTo>
                      <a:pt x="13" y="28"/>
                      <a:pt x="12" y="28"/>
                      <a:pt x="12" y="28"/>
                    </a:cubicBezTo>
                    <a:cubicBezTo>
                      <a:pt x="12" y="27"/>
                      <a:pt x="11" y="26"/>
                      <a:pt x="11" y="26"/>
                    </a:cubicBezTo>
                    <a:cubicBezTo>
                      <a:pt x="10" y="26"/>
                      <a:pt x="10" y="26"/>
                      <a:pt x="10" y="25"/>
                    </a:cubicBezTo>
                    <a:cubicBezTo>
                      <a:pt x="10" y="25"/>
                      <a:pt x="10" y="25"/>
                      <a:pt x="10" y="24"/>
                    </a:cubicBezTo>
                    <a:cubicBezTo>
                      <a:pt x="9" y="24"/>
                      <a:pt x="10" y="24"/>
                      <a:pt x="9" y="24"/>
                    </a:cubicBezTo>
                    <a:cubicBezTo>
                      <a:pt x="9" y="24"/>
                      <a:pt x="9" y="24"/>
                      <a:pt x="9" y="24"/>
                    </a:cubicBezTo>
                    <a:cubicBezTo>
                      <a:pt x="9" y="24"/>
                      <a:pt x="9" y="23"/>
                      <a:pt x="9" y="23"/>
                    </a:cubicBezTo>
                    <a:cubicBezTo>
                      <a:pt x="9" y="23"/>
                      <a:pt x="9" y="22"/>
                      <a:pt x="9" y="21"/>
                    </a:cubicBezTo>
                    <a:cubicBezTo>
                      <a:pt x="9" y="22"/>
                      <a:pt x="9" y="22"/>
                      <a:pt x="9" y="22"/>
                    </a:cubicBezTo>
                    <a:cubicBezTo>
                      <a:pt x="9" y="21"/>
                      <a:pt x="10" y="21"/>
                      <a:pt x="10" y="20"/>
                    </a:cubicBezTo>
                    <a:cubicBezTo>
                      <a:pt x="10" y="20"/>
                      <a:pt x="10" y="19"/>
                      <a:pt x="9" y="18"/>
                    </a:cubicBezTo>
                    <a:cubicBezTo>
                      <a:pt x="9" y="18"/>
                      <a:pt x="9" y="19"/>
                      <a:pt x="8" y="19"/>
                    </a:cubicBezTo>
                    <a:cubicBezTo>
                      <a:pt x="8" y="18"/>
                      <a:pt x="8" y="18"/>
                      <a:pt x="8" y="17"/>
                    </a:cubicBezTo>
                    <a:cubicBezTo>
                      <a:pt x="8" y="17"/>
                      <a:pt x="8" y="17"/>
                      <a:pt x="8" y="18"/>
                    </a:cubicBezTo>
                    <a:cubicBezTo>
                      <a:pt x="8" y="18"/>
                      <a:pt x="8" y="19"/>
                      <a:pt x="7" y="19"/>
                    </a:cubicBezTo>
                    <a:cubicBezTo>
                      <a:pt x="6" y="19"/>
                      <a:pt x="6" y="18"/>
                      <a:pt x="6" y="18"/>
                    </a:cubicBezTo>
                    <a:cubicBezTo>
                      <a:pt x="6" y="17"/>
                      <a:pt x="6" y="16"/>
                      <a:pt x="5" y="16"/>
                    </a:cubicBezTo>
                    <a:cubicBezTo>
                      <a:pt x="4" y="16"/>
                      <a:pt x="5" y="16"/>
                      <a:pt x="4" y="15"/>
                    </a:cubicBezTo>
                    <a:cubicBezTo>
                      <a:pt x="4" y="15"/>
                      <a:pt x="3" y="14"/>
                      <a:pt x="3" y="14"/>
                    </a:cubicBezTo>
                    <a:cubicBezTo>
                      <a:pt x="3" y="14"/>
                      <a:pt x="0" y="11"/>
                      <a:pt x="1" y="11"/>
                    </a:cubicBezTo>
                    <a:cubicBezTo>
                      <a:pt x="1" y="11"/>
                      <a:pt x="1" y="11"/>
                      <a:pt x="1" y="11"/>
                    </a:cubicBezTo>
                    <a:cubicBezTo>
                      <a:pt x="1" y="10"/>
                      <a:pt x="2" y="10"/>
                      <a:pt x="2" y="9"/>
                    </a:cubicBezTo>
                    <a:cubicBezTo>
                      <a:pt x="2" y="9"/>
                      <a:pt x="2" y="9"/>
                      <a:pt x="2" y="8"/>
                    </a:cubicBezTo>
                    <a:cubicBezTo>
                      <a:pt x="2" y="8"/>
                      <a:pt x="2" y="8"/>
                      <a:pt x="2" y="8"/>
                    </a:cubicBezTo>
                    <a:cubicBezTo>
                      <a:pt x="2" y="8"/>
                      <a:pt x="3" y="8"/>
                      <a:pt x="3" y="8"/>
                    </a:cubicBezTo>
                    <a:cubicBezTo>
                      <a:pt x="3" y="7"/>
                      <a:pt x="3" y="7"/>
                      <a:pt x="3" y="7"/>
                    </a:cubicBezTo>
                    <a:cubicBezTo>
                      <a:pt x="4" y="7"/>
                      <a:pt x="4" y="8"/>
                      <a:pt x="4" y="8"/>
                    </a:cubicBezTo>
                    <a:cubicBezTo>
                      <a:pt x="4" y="8"/>
                      <a:pt x="4" y="8"/>
                      <a:pt x="5" y="8"/>
                    </a:cubicBezTo>
                    <a:cubicBezTo>
                      <a:pt x="5" y="8"/>
                      <a:pt x="6" y="8"/>
                      <a:pt x="6" y="8"/>
                    </a:cubicBezTo>
                    <a:cubicBezTo>
                      <a:pt x="7" y="9"/>
                      <a:pt x="7" y="9"/>
                      <a:pt x="8" y="10"/>
                    </a:cubicBezTo>
                    <a:cubicBezTo>
                      <a:pt x="8" y="10"/>
                      <a:pt x="9" y="11"/>
                      <a:pt x="9" y="11"/>
                    </a:cubicBezTo>
                    <a:cubicBezTo>
                      <a:pt x="9" y="10"/>
                      <a:pt x="9" y="10"/>
                      <a:pt x="9" y="10"/>
                    </a:cubicBezTo>
                    <a:cubicBezTo>
                      <a:pt x="9" y="10"/>
                      <a:pt x="10" y="10"/>
                      <a:pt x="10" y="9"/>
                    </a:cubicBezTo>
                    <a:cubicBezTo>
                      <a:pt x="10" y="9"/>
                      <a:pt x="10" y="9"/>
                      <a:pt x="10" y="9"/>
                    </a:cubicBezTo>
                    <a:cubicBezTo>
                      <a:pt x="10" y="9"/>
                      <a:pt x="10" y="9"/>
                      <a:pt x="10" y="8"/>
                    </a:cubicBezTo>
                    <a:cubicBezTo>
                      <a:pt x="11" y="8"/>
                      <a:pt x="11" y="7"/>
                      <a:pt x="11" y="7"/>
                    </a:cubicBezTo>
                    <a:cubicBezTo>
                      <a:pt x="12" y="6"/>
                      <a:pt x="12" y="8"/>
                      <a:pt x="13" y="9"/>
                    </a:cubicBezTo>
                    <a:cubicBezTo>
                      <a:pt x="13" y="9"/>
                      <a:pt x="14" y="9"/>
                      <a:pt x="14" y="8"/>
                    </a:cubicBezTo>
                    <a:cubicBezTo>
                      <a:pt x="14" y="8"/>
                      <a:pt x="13" y="7"/>
                      <a:pt x="14" y="7"/>
                    </a:cubicBezTo>
                    <a:cubicBezTo>
                      <a:pt x="14" y="7"/>
                      <a:pt x="15" y="8"/>
                      <a:pt x="16" y="8"/>
                    </a:cubicBezTo>
                    <a:cubicBezTo>
                      <a:pt x="16" y="9"/>
                      <a:pt x="17" y="9"/>
                      <a:pt x="17" y="10"/>
                    </a:cubicBezTo>
                    <a:cubicBezTo>
                      <a:pt x="18" y="10"/>
                      <a:pt x="18" y="9"/>
                      <a:pt x="18" y="9"/>
                    </a:cubicBezTo>
                    <a:cubicBezTo>
                      <a:pt x="18" y="8"/>
                      <a:pt x="18" y="8"/>
                      <a:pt x="18" y="7"/>
                    </a:cubicBezTo>
                    <a:cubicBezTo>
                      <a:pt x="18" y="7"/>
                      <a:pt x="19" y="7"/>
                      <a:pt x="19" y="6"/>
                    </a:cubicBezTo>
                    <a:cubicBezTo>
                      <a:pt x="20" y="6"/>
                      <a:pt x="20" y="7"/>
                      <a:pt x="20" y="7"/>
                    </a:cubicBezTo>
                    <a:cubicBezTo>
                      <a:pt x="20" y="7"/>
                      <a:pt x="21" y="8"/>
                      <a:pt x="21" y="8"/>
                    </a:cubicBezTo>
                    <a:cubicBezTo>
                      <a:pt x="22" y="8"/>
                      <a:pt x="22" y="7"/>
                      <a:pt x="23" y="6"/>
                    </a:cubicBezTo>
                    <a:cubicBezTo>
                      <a:pt x="23" y="7"/>
                      <a:pt x="24" y="7"/>
                      <a:pt x="24" y="6"/>
                    </a:cubicBezTo>
                    <a:cubicBezTo>
                      <a:pt x="25" y="6"/>
                      <a:pt x="25" y="5"/>
                      <a:pt x="25" y="5"/>
                    </a:cubicBezTo>
                    <a:cubicBezTo>
                      <a:pt x="25" y="4"/>
                      <a:pt x="25" y="4"/>
                      <a:pt x="25" y="4"/>
                    </a:cubicBezTo>
                    <a:cubicBezTo>
                      <a:pt x="25" y="3"/>
                      <a:pt x="25" y="3"/>
                      <a:pt x="25" y="3"/>
                    </a:cubicBezTo>
                    <a:cubicBezTo>
                      <a:pt x="25" y="3"/>
                      <a:pt x="25" y="3"/>
                      <a:pt x="25" y="3"/>
                    </a:cubicBezTo>
                    <a:cubicBezTo>
                      <a:pt x="26" y="2"/>
                      <a:pt x="26" y="3"/>
                      <a:pt x="26" y="2"/>
                    </a:cubicBezTo>
                    <a:cubicBezTo>
                      <a:pt x="26" y="2"/>
                      <a:pt x="27" y="2"/>
                      <a:pt x="27" y="2"/>
                    </a:cubicBezTo>
                    <a:cubicBezTo>
                      <a:pt x="27" y="2"/>
                      <a:pt x="28" y="1"/>
                      <a:pt x="28" y="2"/>
                    </a:cubicBezTo>
                    <a:cubicBezTo>
                      <a:pt x="28" y="2"/>
                      <a:pt x="29" y="0"/>
                      <a:pt x="29" y="1"/>
                    </a:cubicBezTo>
                    <a:cubicBezTo>
                      <a:pt x="29" y="1"/>
                      <a:pt x="30" y="1"/>
                      <a:pt x="30" y="1"/>
                    </a:cubicBezTo>
                    <a:cubicBezTo>
                      <a:pt x="30" y="2"/>
                      <a:pt x="31" y="2"/>
                      <a:pt x="31" y="2"/>
                    </a:cubicBezTo>
                    <a:cubicBezTo>
                      <a:pt x="32" y="3"/>
                      <a:pt x="32" y="4"/>
                      <a:pt x="33" y="4"/>
                    </a:cubicBezTo>
                    <a:cubicBezTo>
                      <a:pt x="34" y="4"/>
                      <a:pt x="34" y="5"/>
                      <a:pt x="35" y="5"/>
                    </a:cubicBezTo>
                    <a:cubicBezTo>
                      <a:pt x="35" y="5"/>
                      <a:pt x="36" y="5"/>
                      <a:pt x="36" y="5"/>
                    </a:cubicBezTo>
                    <a:cubicBezTo>
                      <a:pt x="36" y="4"/>
                      <a:pt x="38" y="5"/>
                      <a:pt x="38" y="5"/>
                    </a:cubicBezTo>
                    <a:cubicBezTo>
                      <a:pt x="39" y="6"/>
                      <a:pt x="39" y="6"/>
                      <a:pt x="41" y="6"/>
                    </a:cubicBezTo>
                    <a:cubicBezTo>
                      <a:pt x="41" y="5"/>
                      <a:pt x="41" y="5"/>
                      <a:pt x="41" y="5"/>
                    </a:cubicBezTo>
                    <a:cubicBezTo>
                      <a:pt x="42" y="5"/>
                      <a:pt x="42" y="6"/>
                      <a:pt x="42" y="6"/>
                    </a:cubicBezTo>
                    <a:cubicBezTo>
                      <a:pt x="43" y="6"/>
                      <a:pt x="43" y="7"/>
                      <a:pt x="44" y="7"/>
                    </a:cubicBezTo>
                    <a:cubicBezTo>
                      <a:pt x="44" y="7"/>
                      <a:pt x="44" y="7"/>
                      <a:pt x="44" y="7"/>
                    </a:cubicBezTo>
                    <a:cubicBezTo>
                      <a:pt x="44" y="7"/>
                      <a:pt x="44" y="7"/>
                      <a:pt x="44" y="7"/>
                    </a:cubicBezTo>
                    <a:cubicBezTo>
                      <a:pt x="44" y="7"/>
                      <a:pt x="44" y="8"/>
                      <a:pt x="44" y="8"/>
                    </a:cubicBezTo>
                    <a:cubicBezTo>
                      <a:pt x="44" y="8"/>
                      <a:pt x="44" y="8"/>
                      <a:pt x="43" y="8"/>
                    </a:cubicBezTo>
                    <a:cubicBezTo>
                      <a:pt x="43" y="9"/>
                      <a:pt x="43" y="9"/>
                      <a:pt x="43" y="9"/>
                    </a:cubicBezTo>
                    <a:cubicBezTo>
                      <a:pt x="43" y="9"/>
                      <a:pt x="43" y="9"/>
                      <a:pt x="43" y="9"/>
                    </a:cubicBezTo>
                    <a:cubicBezTo>
                      <a:pt x="42" y="9"/>
                      <a:pt x="42" y="10"/>
                      <a:pt x="42" y="11"/>
                    </a:cubicBezTo>
                    <a:cubicBezTo>
                      <a:pt x="42" y="12"/>
                      <a:pt x="43" y="11"/>
                      <a:pt x="43" y="12"/>
                    </a:cubicBezTo>
                    <a:cubicBezTo>
                      <a:pt x="44" y="13"/>
                      <a:pt x="44" y="14"/>
                      <a:pt x="44" y="15"/>
                    </a:cubicBezTo>
                    <a:cubicBezTo>
                      <a:pt x="44" y="15"/>
                      <a:pt x="44" y="15"/>
                      <a:pt x="44" y="16"/>
                    </a:cubicBezTo>
                    <a:cubicBezTo>
                      <a:pt x="44" y="16"/>
                      <a:pt x="45" y="15"/>
                      <a:pt x="45" y="15"/>
                    </a:cubicBezTo>
                    <a:cubicBezTo>
                      <a:pt x="45" y="15"/>
                      <a:pt x="45" y="16"/>
                      <a:pt x="46" y="16"/>
                    </a:cubicBezTo>
                    <a:cubicBezTo>
                      <a:pt x="46" y="16"/>
                      <a:pt x="46" y="16"/>
                      <a:pt x="47" y="16"/>
                    </a:cubicBezTo>
                    <a:cubicBezTo>
                      <a:pt x="47" y="16"/>
                      <a:pt x="48" y="16"/>
                      <a:pt x="48" y="17"/>
                    </a:cubicBezTo>
                    <a:cubicBezTo>
                      <a:pt x="47" y="18"/>
                      <a:pt x="49" y="18"/>
                      <a:pt x="49" y="18"/>
                    </a:cubicBezTo>
                    <a:cubicBezTo>
                      <a:pt x="49" y="18"/>
                      <a:pt x="50" y="19"/>
                      <a:pt x="50" y="19"/>
                    </a:cubicBezTo>
                    <a:cubicBezTo>
                      <a:pt x="50" y="19"/>
                      <a:pt x="50" y="18"/>
                      <a:pt x="51" y="19"/>
                    </a:cubicBezTo>
                    <a:cubicBezTo>
                      <a:pt x="51" y="19"/>
                      <a:pt x="51" y="21"/>
                      <a:pt x="52" y="19"/>
                    </a:cubicBezTo>
                    <a:cubicBezTo>
                      <a:pt x="52" y="19"/>
                      <a:pt x="52" y="20"/>
                      <a:pt x="53" y="20"/>
                    </a:cubicBezTo>
                    <a:cubicBezTo>
                      <a:pt x="53" y="20"/>
                      <a:pt x="54" y="20"/>
                      <a:pt x="54" y="20"/>
                    </a:cubicBezTo>
                    <a:cubicBezTo>
                      <a:pt x="55" y="19"/>
                      <a:pt x="55" y="19"/>
                      <a:pt x="56" y="19"/>
                    </a:cubicBezTo>
                    <a:cubicBezTo>
                      <a:pt x="56" y="20"/>
                      <a:pt x="56" y="20"/>
                      <a:pt x="56" y="20"/>
                    </a:cubicBezTo>
                    <a:cubicBezTo>
                      <a:pt x="57" y="20"/>
                      <a:pt x="57" y="20"/>
                      <a:pt x="57" y="20"/>
                    </a:cubicBezTo>
                    <a:cubicBezTo>
                      <a:pt x="57" y="21"/>
                      <a:pt x="57" y="21"/>
                      <a:pt x="58" y="21"/>
                    </a:cubicBezTo>
                    <a:cubicBezTo>
                      <a:pt x="58" y="21"/>
                      <a:pt x="58" y="21"/>
                      <a:pt x="58" y="21"/>
                    </a:cubicBezTo>
                    <a:cubicBezTo>
                      <a:pt x="58" y="21"/>
                      <a:pt x="58" y="21"/>
                      <a:pt x="58" y="21"/>
                    </a:cubicBezTo>
                    <a:cubicBezTo>
                      <a:pt x="58" y="21"/>
                      <a:pt x="58" y="22"/>
                      <a:pt x="57" y="22"/>
                    </a:cubicBezTo>
                    <a:cubicBezTo>
                      <a:pt x="57" y="22"/>
                      <a:pt x="57" y="21"/>
                      <a:pt x="57" y="21"/>
                    </a:cubicBezTo>
                    <a:cubicBezTo>
                      <a:pt x="57" y="21"/>
                      <a:pt x="57" y="22"/>
                      <a:pt x="57" y="21"/>
                    </a:cubicBezTo>
                    <a:cubicBezTo>
                      <a:pt x="57" y="20"/>
                      <a:pt x="56" y="21"/>
                      <a:pt x="56" y="21"/>
                    </a:cubicBezTo>
                    <a:cubicBezTo>
                      <a:pt x="56" y="21"/>
                      <a:pt x="56" y="21"/>
                      <a:pt x="56" y="21"/>
                    </a:cubicBezTo>
                    <a:cubicBezTo>
                      <a:pt x="56" y="21"/>
                      <a:pt x="56" y="21"/>
                      <a:pt x="56" y="21"/>
                    </a:cubicBezTo>
                    <a:cubicBezTo>
                      <a:pt x="56" y="21"/>
                      <a:pt x="55" y="21"/>
                      <a:pt x="55" y="21"/>
                    </a:cubicBezTo>
                    <a:cubicBezTo>
                      <a:pt x="55" y="21"/>
                      <a:pt x="55" y="21"/>
                      <a:pt x="56" y="21"/>
                    </a:cubicBezTo>
                    <a:cubicBezTo>
                      <a:pt x="55" y="21"/>
                      <a:pt x="56" y="22"/>
                      <a:pt x="55" y="22"/>
                    </a:cubicBezTo>
                    <a:cubicBezTo>
                      <a:pt x="55" y="22"/>
                      <a:pt x="54" y="22"/>
                      <a:pt x="54" y="22"/>
                    </a:cubicBezTo>
                    <a:cubicBezTo>
                      <a:pt x="54" y="22"/>
                      <a:pt x="54" y="22"/>
                      <a:pt x="54" y="22"/>
                    </a:cubicBezTo>
                    <a:cubicBezTo>
                      <a:pt x="54" y="23"/>
                      <a:pt x="54" y="23"/>
                      <a:pt x="54" y="23"/>
                    </a:cubicBezTo>
                    <a:cubicBezTo>
                      <a:pt x="54" y="23"/>
                      <a:pt x="54" y="23"/>
                      <a:pt x="53" y="23"/>
                    </a:cubicBezTo>
                    <a:cubicBezTo>
                      <a:pt x="53" y="23"/>
                      <a:pt x="53" y="23"/>
                      <a:pt x="53" y="23"/>
                    </a:cubicBezTo>
                    <a:cubicBezTo>
                      <a:pt x="53" y="23"/>
                      <a:pt x="52" y="23"/>
                      <a:pt x="52" y="23"/>
                    </a:cubicBezTo>
                    <a:cubicBezTo>
                      <a:pt x="52" y="23"/>
                      <a:pt x="53" y="23"/>
                      <a:pt x="53" y="23"/>
                    </a:cubicBezTo>
                    <a:cubicBezTo>
                      <a:pt x="52" y="23"/>
                      <a:pt x="52" y="23"/>
                      <a:pt x="52" y="24"/>
                    </a:cubicBezTo>
                    <a:cubicBezTo>
                      <a:pt x="52" y="24"/>
                      <a:pt x="52" y="24"/>
                      <a:pt x="52" y="25"/>
                    </a:cubicBezTo>
                    <a:cubicBezTo>
                      <a:pt x="52" y="25"/>
                      <a:pt x="52" y="26"/>
                      <a:pt x="52" y="26"/>
                    </a:cubicBezTo>
                    <a:cubicBezTo>
                      <a:pt x="52" y="26"/>
                      <a:pt x="52" y="26"/>
                      <a:pt x="52" y="26"/>
                    </a:cubicBezTo>
                    <a:cubicBezTo>
                      <a:pt x="51" y="26"/>
                      <a:pt x="51" y="26"/>
                      <a:pt x="51" y="27"/>
                    </a:cubicBezTo>
                    <a:cubicBezTo>
                      <a:pt x="51" y="27"/>
                      <a:pt x="51" y="27"/>
                      <a:pt x="50" y="27"/>
                    </a:cubicBezTo>
                    <a:cubicBezTo>
                      <a:pt x="49" y="27"/>
                      <a:pt x="50" y="27"/>
                      <a:pt x="50" y="26"/>
                    </a:cubicBezTo>
                    <a:cubicBezTo>
                      <a:pt x="50" y="26"/>
                      <a:pt x="50" y="27"/>
                      <a:pt x="49" y="26"/>
                    </a:cubicBezTo>
                    <a:cubicBezTo>
                      <a:pt x="49" y="27"/>
                      <a:pt x="49" y="26"/>
                      <a:pt x="49" y="26"/>
                    </a:cubicBezTo>
                    <a:cubicBezTo>
                      <a:pt x="49" y="26"/>
                      <a:pt x="49" y="26"/>
                      <a:pt x="49" y="26"/>
                    </a:cubicBezTo>
                    <a:cubicBezTo>
                      <a:pt x="49" y="26"/>
                      <a:pt x="49" y="26"/>
                      <a:pt x="49" y="26"/>
                    </a:cubicBezTo>
                    <a:cubicBezTo>
                      <a:pt x="49" y="26"/>
                      <a:pt x="49" y="26"/>
                      <a:pt x="49" y="26"/>
                    </a:cubicBezTo>
                    <a:cubicBezTo>
                      <a:pt x="49" y="27"/>
                      <a:pt x="49" y="27"/>
                      <a:pt x="48" y="27"/>
                    </a:cubicBezTo>
                    <a:cubicBezTo>
                      <a:pt x="47" y="26"/>
                      <a:pt x="48" y="27"/>
                      <a:pt x="48" y="27"/>
                    </a:cubicBezTo>
                    <a:cubicBezTo>
                      <a:pt x="48" y="28"/>
                      <a:pt x="48" y="27"/>
                      <a:pt x="48" y="27"/>
                    </a:cubicBezTo>
                    <a:cubicBezTo>
                      <a:pt x="48" y="27"/>
                      <a:pt x="48" y="28"/>
                      <a:pt x="48" y="28"/>
                    </a:cubicBezTo>
                    <a:cubicBezTo>
                      <a:pt x="48" y="28"/>
                      <a:pt x="47" y="27"/>
                      <a:pt x="47" y="27"/>
                    </a:cubicBezTo>
                    <a:cubicBezTo>
                      <a:pt x="47" y="27"/>
                      <a:pt x="46" y="27"/>
                      <a:pt x="47" y="27"/>
                    </a:cubicBezTo>
                    <a:cubicBezTo>
                      <a:pt x="47" y="27"/>
                      <a:pt x="47" y="27"/>
                      <a:pt x="47" y="26"/>
                    </a:cubicBezTo>
                    <a:cubicBezTo>
                      <a:pt x="47" y="26"/>
                      <a:pt x="47" y="26"/>
                      <a:pt x="46" y="26"/>
                    </a:cubicBezTo>
                    <a:cubicBezTo>
                      <a:pt x="46" y="26"/>
                      <a:pt x="46" y="26"/>
                      <a:pt x="46" y="26"/>
                    </a:cubicBezTo>
                    <a:cubicBezTo>
                      <a:pt x="46" y="26"/>
                      <a:pt x="46" y="26"/>
                      <a:pt x="46" y="26"/>
                    </a:cubicBezTo>
                    <a:cubicBezTo>
                      <a:pt x="46" y="26"/>
                      <a:pt x="46" y="26"/>
                      <a:pt x="45" y="26"/>
                    </a:cubicBezTo>
                    <a:cubicBezTo>
                      <a:pt x="45" y="26"/>
                      <a:pt x="46" y="26"/>
                      <a:pt x="46" y="26"/>
                    </a:cubicBezTo>
                    <a:cubicBezTo>
                      <a:pt x="46" y="26"/>
                      <a:pt x="46" y="26"/>
                      <a:pt x="46" y="26"/>
                    </a:cubicBezTo>
                    <a:cubicBezTo>
                      <a:pt x="46" y="27"/>
                      <a:pt x="47" y="27"/>
                      <a:pt x="46" y="28"/>
                    </a:cubicBezTo>
                    <a:cubicBezTo>
                      <a:pt x="46" y="28"/>
                      <a:pt x="46" y="28"/>
                      <a:pt x="46" y="28"/>
                    </a:cubicBezTo>
                    <a:cubicBezTo>
                      <a:pt x="46" y="28"/>
                      <a:pt x="47" y="29"/>
                      <a:pt x="46" y="29"/>
                    </a:cubicBezTo>
                    <a:cubicBezTo>
                      <a:pt x="47" y="29"/>
                      <a:pt x="47" y="30"/>
                      <a:pt x="47" y="30"/>
                    </a:cubicBezTo>
                    <a:cubicBezTo>
                      <a:pt x="47" y="30"/>
                      <a:pt x="47" y="30"/>
                      <a:pt x="46" y="30"/>
                    </a:cubicBezTo>
                    <a:cubicBezTo>
                      <a:pt x="47" y="30"/>
                      <a:pt x="46" y="31"/>
                      <a:pt x="45" y="30"/>
                    </a:cubicBezTo>
                    <a:cubicBezTo>
                      <a:pt x="45" y="30"/>
                      <a:pt x="46" y="31"/>
                      <a:pt x="46" y="31"/>
                    </a:cubicBezTo>
                    <a:cubicBezTo>
                      <a:pt x="46" y="31"/>
                      <a:pt x="45" y="31"/>
                      <a:pt x="45" y="32"/>
                    </a:cubicBezTo>
                    <a:cubicBezTo>
                      <a:pt x="45" y="32"/>
                      <a:pt x="45" y="32"/>
                      <a:pt x="45" y="31"/>
                    </a:cubicBezTo>
                    <a:cubicBezTo>
                      <a:pt x="45" y="32"/>
                      <a:pt x="46" y="32"/>
                      <a:pt x="46" y="32"/>
                    </a:cubicBezTo>
                    <a:cubicBezTo>
                      <a:pt x="46" y="32"/>
                      <a:pt x="45" y="32"/>
                      <a:pt x="45" y="33"/>
                    </a:cubicBezTo>
                    <a:cubicBezTo>
                      <a:pt x="46" y="32"/>
                      <a:pt x="46" y="33"/>
                      <a:pt x="46" y="33"/>
                    </a:cubicBezTo>
                    <a:cubicBezTo>
                      <a:pt x="46" y="33"/>
                      <a:pt x="45" y="33"/>
                      <a:pt x="46" y="34"/>
                    </a:cubicBezTo>
                    <a:cubicBezTo>
                      <a:pt x="46" y="34"/>
                      <a:pt x="46" y="34"/>
                      <a:pt x="46" y="34"/>
                    </a:cubicBezTo>
                    <a:cubicBezTo>
                      <a:pt x="46" y="34"/>
                      <a:pt x="46" y="34"/>
                      <a:pt x="46" y="34"/>
                    </a:cubicBezTo>
                    <a:cubicBezTo>
                      <a:pt x="46" y="35"/>
                      <a:pt x="45" y="36"/>
                      <a:pt x="44" y="35"/>
                    </a:cubicBezTo>
                    <a:cubicBezTo>
                      <a:pt x="44" y="36"/>
                      <a:pt x="44" y="36"/>
                      <a:pt x="43" y="37"/>
                    </a:cubicBezTo>
                    <a:cubicBezTo>
                      <a:pt x="43" y="37"/>
                      <a:pt x="43" y="38"/>
                      <a:pt x="43" y="37"/>
                    </a:cubicBezTo>
                    <a:cubicBezTo>
                      <a:pt x="43" y="37"/>
                      <a:pt x="43" y="38"/>
                      <a:pt x="42" y="38"/>
                    </a:cubicBezTo>
                    <a:cubicBezTo>
                      <a:pt x="42" y="38"/>
                      <a:pt x="42" y="37"/>
                      <a:pt x="42" y="37"/>
                    </a:cubicBezTo>
                    <a:cubicBezTo>
                      <a:pt x="42" y="38"/>
                      <a:pt x="42" y="38"/>
                      <a:pt x="41" y="38"/>
                    </a:cubicBezTo>
                    <a:cubicBezTo>
                      <a:pt x="41" y="38"/>
                      <a:pt x="41" y="38"/>
                      <a:pt x="41" y="39"/>
                    </a:cubicBezTo>
                    <a:cubicBezTo>
                      <a:pt x="40" y="39"/>
                      <a:pt x="40" y="39"/>
                      <a:pt x="40" y="39"/>
                    </a:cubicBezTo>
                    <a:cubicBezTo>
                      <a:pt x="40" y="40"/>
                      <a:pt x="40" y="39"/>
                      <a:pt x="40" y="40"/>
                    </a:cubicBezTo>
                    <a:cubicBezTo>
                      <a:pt x="40" y="40"/>
                      <a:pt x="40" y="40"/>
                      <a:pt x="40" y="40"/>
                    </a:cubicBezTo>
                    <a:cubicBezTo>
                      <a:pt x="40" y="40"/>
                      <a:pt x="40" y="41"/>
                      <a:pt x="40" y="41"/>
                    </a:cubicBezTo>
                    <a:cubicBezTo>
                      <a:pt x="40" y="41"/>
                      <a:pt x="40" y="42"/>
                      <a:pt x="39" y="42"/>
                    </a:cubicBezTo>
                    <a:cubicBezTo>
                      <a:pt x="40" y="42"/>
                      <a:pt x="40" y="42"/>
                      <a:pt x="40" y="42"/>
                    </a:cubicBezTo>
                    <a:cubicBezTo>
                      <a:pt x="40" y="42"/>
                      <a:pt x="40" y="43"/>
                      <a:pt x="40" y="43"/>
                    </a:cubicBezTo>
                    <a:cubicBezTo>
                      <a:pt x="40" y="43"/>
                      <a:pt x="40" y="44"/>
                      <a:pt x="40" y="44"/>
                    </a:cubicBezTo>
                    <a:cubicBezTo>
                      <a:pt x="40" y="44"/>
                      <a:pt x="40" y="45"/>
                      <a:pt x="40" y="45"/>
                    </a:cubicBezTo>
                    <a:cubicBezTo>
                      <a:pt x="40" y="45"/>
                      <a:pt x="40" y="46"/>
                      <a:pt x="40" y="46"/>
                    </a:cubicBezTo>
                    <a:cubicBezTo>
                      <a:pt x="39" y="46"/>
                      <a:pt x="40" y="47"/>
                      <a:pt x="40" y="47"/>
                    </a:cubicBezTo>
                    <a:cubicBezTo>
                      <a:pt x="40" y="47"/>
                      <a:pt x="39" y="47"/>
                      <a:pt x="39" y="48"/>
                    </a:cubicBezTo>
                    <a:cubicBezTo>
                      <a:pt x="39" y="48"/>
                      <a:pt x="39" y="48"/>
                      <a:pt x="39" y="48"/>
                    </a:cubicBezTo>
                    <a:cubicBezTo>
                      <a:pt x="39" y="49"/>
                      <a:pt x="39" y="49"/>
                      <a:pt x="39" y="49"/>
                    </a:cubicBezTo>
                    <a:cubicBezTo>
                      <a:pt x="39" y="50"/>
                      <a:pt x="40" y="51"/>
                      <a:pt x="39" y="50"/>
                    </a:cubicBezTo>
                    <a:cubicBezTo>
                      <a:pt x="40" y="51"/>
                      <a:pt x="40" y="51"/>
                      <a:pt x="40" y="51"/>
                    </a:cubicBezTo>
                    <a:cubicBezTo>
                      <a:pt x="40" y="51"/>
                      <a:pt x="40" y="51"/>
                      <a:pt x="41" y="51"/>
                    </a:cubicBezTo>
                    <a:cubicBezTo>
                      <a:pt x="41" y="51"/>
                      <a:pt x="41" y="52"/>
                      <a:pt x="41" y="53"/>
                    </a:cubicBezTo>
                    <a:cubicBezTo>
                      <a:pt x="42" y="53"/>
                      <a:pt x="42" y="54"/>
                      <a:pt x="43" y="54"/>
                    </a:cubicBezTo>
                    <a:cubicBezTo>
                      <a:pt x="43" y="54"/>
                      <a:pt x="45" y="56"/>
                      <a:pt x="44" y="57"/>
                    </a:cubicBezTo>
                    <a:cubicBezTo>
                      <a:pt x="45" y="56"/>
                      <a:pt x="46" y="57"/>
                      <a:pt x="47" y="58"/>
                    </a:cubicBezTo>
                    <a:cubicBezTo>
                      <a:pt x="47" y="58"/>
                      <a:pt x="47" y="58"/>
                      <a:pt x="47" y="59"/>
                    </a:cubicBezTo>
                    <a:cubicBezTo>
                      <a:pt x="47" y="58"/>
                      <a:pt x="48" y="58"/>
                      <a:pt x="48" y="58"/>
                    </a:cubicBezTo>
                    <a:cubicBezTo>
                      <a:pt x="48" y="58"/>
                      <a:pt x="48" y="59"/>
                      <a:pt x="48" y="59"/>
                    </a:cubicBezTo>
                    <a:cubicBezTo>
                      <a:pt x="48" y="59"/>
                      <a:pt x="48" y="59"/>
                      <a:pt x="48" y="59"/>
                    </a:cubicBezTo>
                    <a:cubicBezTo>
                      <a:pt x="49" y="59"/>
                      <a:pt x="49" y="60"/>
                      <a:pt x="49" y="60"/>
                    </a:cubicBezTo>
                    <a:cubicBezTo>
                      <a:pt x="49" y="60"/>
                      <a:pt x="48" y="61"/>
                      <a:pt x="48" y="61"/>
                    </a:cubicBezTo>
                    <a:cubicBezTo>
                      <a:pt x="48" y="61"/>
                      <a:pt x="49" y="62"/>
                      <a:pt x="49" y="63"/>
                    </a:cubicBezTo>
                    <a:cubicBezTo>
                      <a:pt x="49" y="63"/>
                      <a:pt x="48" y="62"/>
                      <a:pt x="48" y="62"/>
                    </a:cubicBezTo>
                    <a:cubicBezTo>
                      <a:pt x="48" y="62"/>
                      <a:pt x="47" y="62"/>
                      <a:pt x="47" y="62"/>
                    </a:cubicBezTo>
                    <a:cubicBezTo>
                      <a:pt x="47" y="62"/>
                      <a:pt x="48" y="62"/>
                      <a:pt x="48" y="62"/>
                    </a:cubicBezTo>
                    <a:cubicBezTo>
                      <a:pt x="48" y="62"/>
                      <a:pt x="48" y="63"/>
                      <a:pt x="48" y="63"/>
                    </a:cubicBezTo>
                    <a:cubicBezTo>
                      <a:pt x="48" y="62"/>
                      <a:pt x="49" y="63"/>
                      <a:pt x="49" y="63"/>
                    </a:cubicBezTo>
                    <a:cubicBezTo>
                      <a:pt x="49" y="63"/>
                      <a:pt x="50" y="64"/>
                      <a:pt x="50" y="64"/>
                    </a:cubicBezTo>
                    <a:cubicBezTo>
                      <a:pt x="51" y="65"/>
                      <a:pt x="52" y="66"/>
                      <a:pt x="53" y="67"/>
                    </a:cubicBezTo>
                    <a:cubicBezTo>
                      <a:pt x="53" y="68"/>
                      <a:pt x="54" y="68"/>
                      <a:pt x="55" y="69"/>
                    </a:cubicBezTo>
                    <a:cubicBezTo>
                      <a:pt x="55" y="69"/>
                      <a:pt x="56" y="69"/>
                      <a:pt x="56" y="69"/>
                    </a:cubicBezTo>
                    <a:cubicBezTo>
                      <a:pt x="56" y="70"/>
                      <a:pt x="56" y="70"/>
                      <a:pt x="57" y="71"/>
                    </a:cubicBezTo>
                    <a:cubicBezTo>
                      <a:pt x="57" y="71"/>
                      <a:pt x="57" y="71"/>
                      <a:pt x="57" y="72"/>
                    </a:cubicBezTo>
                    <a:cubicBezTo>
                      <a:pt x="57" y="72"/>
                      <a:pt x="57" y="72"/>
                      <a:pt x="57" y="72"/>
                    </a:cubicBezTo>
                    <a:cubicBezTo>
                      <a:pt x="57" y="71"/>
                      <a:pt x="58" y="72"/>
                      <a:pt x="58" y="73"/>
                    </a:cubicBezTo>
                    <a:cubicBezTo>
                      <a:pt x="59" y="73"/>
                      <a:pt x="60" y="74"/>
                      <a:pt x="62" y="75"/>
                    </a:cubicBezTo>
                    <a:cubicBezTo>
                      <a:pt x="61" y="75"/>
                      <a:pt x="60" y="74"/>
                      <a:pt x="60" y="74"/>
                    </a:cubicBezTo>
                    <a:cubicBezTo>
                      <a:pt x="60" y="75"/>
                      <a:pt x="60" y="75"/>
                      <a:pt x="61" y="75"/>
                    </a:cubicBezTo>
                    <a:cubicBezTo>
                      <a:pt x="61" y="75"/>
                      <a:pt x="62" y="75"/>
                      <a:pt x="61" y="75"/>
                    </a:cubicBezTo>
                    <a:cubicBezTo>
                      <a:pt x="62" y="75"/>
                      <a:pt x="62" y="75"/>
                      <a:pt x="62" y="76"/>
                    </a:cubicBezTo>
                    <a:cubicBezTo>
                      <a:pt x="62" y="76"/>
                      <a:pt x="62" y="76"/>
                      <a:pt x="62" y="76"/>
                    </a:cubicBezTo>
                    <a:cubicBezTo>
                      <a:pt x="63" y="76"/>
                      <a:pt x="64" y="77"/>
                      <a:pt x="64" y="77"/>
                    </a:cubicBezTo>
                    <a:cubicBezTo>
                      <a:pt x="63" y="77"/>
                      <a:pt x="64" y="78"/>
                      <a:pt x="64" y="78"/>
                    </a:cubicBezTo>
                    <a:cubicBezTo>
                      <a:pt x="64" y="79"/>
                      <a:pt x="65" y="78"/>
                      <a:pt x="65" y="78"/>
                    </a:cubicBezTo>
                    <a:cubicBezTo>
                      <a:pt x="65" y="78"/>
                      <a:pt x="65" y="78"/>
                      <a:pt x="66" y="78"/>
                    </a:cubicBezTo>
                    <a:cubicBezTo>
                      <a:pt x="66" y="78"/>
                      <a:pt x="66" y="78"/>
                      <a:pt x="66" y="78"/>
                    </a:cubicBezTo>
                    <a:cubicBezTo>
                      <a:pt x="66" y="78"/>
                      <a:pt x="66" y="79"/>
                      <a:pt x="67" y="79"/>
                    </a:cubicBezTo>
                    <a:cubicBezTo>
                      <a:pt x="66" y="79"/>
                      <a:pt x="66" y="79"/>
                      <a:pt x="66" y="79"/>
                    </a:cubicBezTo>
                    <a:cubicBezTo>
                      <a:pt x="66" y="79"/>
                      <a:pt x="67" y="79"/>
                      <a:pt x="67" y="79"/>
                    </a:cubicBezTo>
                    <a:cubicBezTo>
                      <a:pt x="67" y="79"/>
                      <a:pt x="67" y="79"/>
                      <a:pt x="68" y="79"/>
                    </a:cubicBezTo>
                    <a:cubicBezTo>
                      <a:pt x="66" y="81"/>
                      <a:pt x="69" y="80"/>
                      <a:pt x="68" y="81"/>
                    </a:cubicBezTo>
                    <a:cubicBezTo>
                      <a:pt x="68" y="81"/>
                      <a:pt x="68" y="81"/>
                      <a:pt x="68" y="81"/>
                    </a:cubicBezTo>
                    <a:cubicBezTo>
                      <a:pt x="68" y="81"/>
                      <a:pt x="68" y="80"/>
                      <a:pt x="68" y="80"/>
                    </a:cubicBezTo>
                    <a:cubicBezTo>
                      <a:pt x="68" y="80"/>
                      <a:pt x="69" y="80"/>
                      <a:pt x="69" y="80"/>
                    </a:cubicBezTo>
                    <a:cubicBezTo>
                      <a:pt x="69" y="80"/>
                      <a:pt x="69" y="80"/>
                      <a:pt x="69" y="80"/>
                    </a:cubicBezTo>
                    <a:cubicBezTo>
                      <a:pt x="68" y="80"/>
                      <a:pt x="68" y="81"/>
                      <a:pt x="68" y="81"/>
                    </a:cubicBezTo>
                    <a:cubicBezTo>
                      <a:pt x="69" y="82"/>
                      <a:pt x="70" y="82"/>
                      <a:pt x="70" y="83"/>
                    </a:cubicBezTo>
                    <a:cubicBezTo>
                      <a:pt x="70" y="83"/>
                      <a:pt x="70" y="84"/>
                      <a:pt x="70" y="84"/>
                    </a:cubicBezTo>
                    <a:cubicBezTo>
                      <a:pt x="71" y="84"/>
                      <a:pt x="71" y="85"/>
                      <a:pt x="71" y="85"/>
                    </a:cubicBezTo>
                    <a:cubicBezTo>
                      <a:pt x="72" y="86"/>
                      <a:pt x="72" y="86"/>
                      <a:pt x="72" y="86"/>
                    </a:cubicBezTo>
                    <a:cubicBezTo>
                      <a:pt x="73" y="87"/>
                      <a:pt x="73" y="87"/>
                      <a:pt x="73" y="87"/>
                    </a:cubicBezTo>
                    <a:cubicBezTo>
                      <a:pt x="72" y="87"/>
                      <a:pt x="73" y="88"/>
                      <a:pt x="73" y="87"/>
                    </a:cubicBezTo>
                    <a:cubicBezTo>
                      <a:pt x="74" y="88"/>
                      <a:pt x="74" y="88"/>
                      <a:pt x="74" y="89"/>
                    </a:cubicBezTo>
                    <a:cubicBezTo>
                      <a:pt x="74" y="89"/>
                      <a:pt x="75" y="89"/>
                      <a:pt x="75" y="89"/>
                    </a:cubicBezTo>
                    <a:cubicBezTo>
                      <a:pt x="74" y="88"/>
                      <a:pt x="75" y="88"/>
                      <a:pt x="74" y="88"/>
                    </a:cubicBezTo>
                    <a:cubicBezTo>
                      <a:pt x="75" y="88"/>
                      <a:pt x="75" y="89"/>
                      <a:pt x="75" y="89"/>
                    </a:cubicBezTo>
                    <a:cubicBezTo>
                      <a:pt x="75" y="89"/>
                      <a:pt x="76" y="90"/>
                      <a:pt x="76" y="90"/>
                    </a:cubicBezTo>
                    <a:cubicBezTo>
                      <a:pt x="76" y="90"/>
                      <a:pt x="75" y="91"/>
                      <a:pt x="76" y="91"/>
                    </a:cubicBezTo>
                    <a:cubicBezTo>
                      <a:pt x="76" y="91"/>
                      <a:pt x="76" y="91"/>
                      <a:pt x="76" y="91"/>
                    </a:cubicBezTo>
                    <a:cubicBezTo>
                      <a:pt x="76" y="92"/>
                      <a:pt x="77" y="93"/>
                      <a:pt x="77" y="94"/>
                    </a:cubicBezTo>
                    <a:cubicBezTo>
                      <a:pt x="77" y="94"/>
                      <a:pt x="77" y="94"/>
                      <a:pt x="78" y="95"/>
                    </a:cubicBezTo>
                    <a:cubicBezTo>
                      <a:pt x="78" y="95"/>
                      <a:pt x="78" y="96"/>
                      <a:pt x="78" y="96"/>
                    </a:cubicBezTo>
                    <a:cubicBezTo>
                      <a:pt x="78" y="96"/>
                      <a:pt x="78" y="96"/>
                      <a:pt x="78" y="96"/>
                    </a:cubicBezTo>
                    <a:cubicBezTo>
                      <a:pt x="78" y="97"/>
                      <a:pt x="78" y="97"/>
                      <a:pt x="78" y="97"/>
                    </a:cubicBezTo>
                    <a:cubicBezTo>
                      <a:pt x="78" y="97"/>
                      <a:pt x="79" y="98"/>
                      <a:pt x="79" y="98"/>
                    </a:cubicBezTo>
                    <a:cubicBezTo>
                      <a:pt x="79" y="99"/>
                      <a:pt x="79" y="99"/>
                      <a:pt x="79" y="100"/>
                    </a:cubicBezTo>
                    <a:cubicBezTo>
                      <a:pt x="79" y="100"/>
                      <a:pt x="80" y="102"/>
                      <a:pt x="80" y="102"/>
                    </a:cubicBezTo>
                    <a:cubicBezTo>
                      <a:pt x="80" y="102"/>
                      <a:pt x="80" y="101"/>
                      <a:pt x="80" y="101"/>
                    </a:cubicBezTo>
                    <a:cubicBezTo>
                      <a:pt x="80" y="101"/>
                      <a:pt x="81" y="103"/>
                      <a:pt x="81" y="103"/>
                    </a:cubicBezTo>
                    <a:cubicBezTo>
                      <a:pt x="81" y="104"/>
                      <a:pt x="81" y="104"/>
                      <a:pt x="81" y="105"/>
                    </a:cubicBezTo>
                    <a:cubicBezTo>
                      <a:pt x="81" y="105"/>
                      <a:pt x="81" y="106"/>
                      <a:pt x="81" y="106"/>
                    </a:cubicBezTo>
                    <a:cubicBezTo>
                      <a:pt x="81" y="106"/>
                      <a:pt x="81" y="105"/>
                      <a:pt x="81" y="105"/>
                    </a:cubicBezTo>
                    <a:cubicBezTo>
                      <a:pt x="80" y="105"/>
                      <a:pt x="81" y="106"/>
                      <a:pt x="81" y="106"/>
                    </a:cubicBezTo>
                    <a:cubicBezTo>
                      <a:pt x="81" y="107"/>
                      <a:pt x="82" y="108"/>
                      <a:pt x="81" y="109"/>
                    </a:cubicBezTo>
                    <a:cubicBezTo>
                      <a:pt x="81" y="108"/>
                      <a:pt x="81" y="108"/>
                      <a:pt x="81" y="107"/>
                    </a:cubicBezTo>
                    <a:cubicBezTo>
                      <a:pt x="81" y="108"/>
                      <a:pt x="81" y="109"/>
                      <a:pt x="82" y="109"/>
                    </a:cubicBezTo>
                    <a:cubicBezTo>
                      <a:pt x="82" y="109"/>
                      <a:pt x="82" y="110"/>
                      <a:pt x="82" y="110"/>
                    </a:cubicBezTo>
                    <a:cubicBezTo>
                      <a:pt x="81" y="110"/>
                      <a:pt x="82" y="109"/>
                      <a:pt x="82" y="109"/>
                    </a:cubicBezTo>
                    <a:cubicBezTo>
                      <a:pt x="81" y="109"/>
                      <a:pt x="81" y="109"/>
                      <a:pt x="81" y="109"/>
                    </a:cubicBezTo>
                    <a:cubicBezTo>
                      <a:pt x="81" y="110"/>
                      <a:pt x="81" y="110"/>
                      <a:pt x="82" y="110"/>
                    </a:cubicBezTo>
                    <a:cubicBezTo>
                      <a:pt x="82" y="111"/>
                      <a:pt x="82" y="111"/>
                      <a:pt x="82" y="111"/>
                    </a:cubicBezTo>
                    <a:cubicBezTo>
                      <a:pt x="81" y="111"/>
                      <a:pt x="82" y="112"/>
                      <a:pt x="82" y="112"/>
                    </a:cubicBezTo>
                    <a:cubicBezTo>
                      <a:pt x="82" y="112"/>
                      <a:pt x="82" y="111"/>
                      <a:pt x="82" y="111"/>
                    </a:cubicBezTo>
                    <a:cubicBezTo>
                      <a:pt x="82" y="112"/>
                      <a:pt x="82" y="113"/>
                      <a:pt x="82" y="113"/>
                    </a:cubicBezTo>
                    <a:cubicBezTo>
                      <a:pt x="82" y="114"/>
                      <a:pt x="83" y="114"/>
                      <a:pt x="83" y="114"/>
                    </a:cubicBezTo>
                    <a:cubicBezTo>
                      <a:pt x="83" y="114"/>
                      <a:pt x="84" y="116"/>
                      <a:pt x="84" y="116"/>
                    </a:cubicBezTo>
                    <a:cubicBezTo>
                      <a:pt x="84" y="115"/>
                      <a:pt x="83" y="116"/>
                      <a:pt x="83" y="116"/>
                    </a:cubicBezTo>
                    <a:cubicBezTo>
                      <a:pt x="83" y="117"/>
                      <a:pt x="83" y="117"/>
                      <a:pt x="83" y="117"/>
                    </a:cubicBezTo>
                    <a:cubicBezTo>
                      <a:pt x="84" y="118"/>
                      <a:pt x="84" y="118"/>
                      <a:pt x="84" y="118"/>
                    </a:cubicBezTo>
                    <a:close/>
                    <a:moveTo>
                      <a:pt x="41" y="52"/>
                    </a:moveTo>
                    <a:cubicBezTo>
                      <a:pt x="41" y="52"/>
                      <a:pt x="41" y="52"/>
                      <a:pt x="41" y="52"/>
                    </a:cubicBezTo>
                    <a:cubicBezTo>
                      <a:pt x="41" y="52"/>
                      <a:pt x="41" y="52"/>
                      <a:pt x="41" y="52"/>
                    </a:cubicBezTo>
                    <a:close/>
                    <a:moveTo>
                      <a:pt x="33" y="143"/>
                    </a:moveTo>
                    <a:cubicBezTo>
                      <a:pt x="33" y="143"/>
                      <a:pt x="33" y="143"/>
                      <a:pt x="32" y="143"/>
                    </a:cubicBezTo>
                    <a:cubicBezTo>
                      <a:pt x="32" y="144"/>
                      <a:pt x="32" y="144"/>
                      <a:pt x="32" y="144"/>
                    </a:cubicBezTo>
                    <a:cubicBezTo>
                      <a:pt x="33" y="144"/>
                      <a:pt x="33" y="145"/>
                      <a:pt x="33" y="146"/>
                    </a:cubicBezTo>
                    <a:cubicBezTo>
                      <a:pt x="34" y="146"/>
                      <a:pt x="34" y="147"/>
                      <a:pt x="34" y="147"/>
                    </a:cubicBezTo>
                    <a:cubicBezTo>
                      <a:pt x="34" y="147"/>
                      <a:pt x="34" y="146"/>
                      <a:pt x="34" y="145"/>
                    </a:cubicBezTo>
                    <a:cubicBezTo>
                      <a:pt x="34" y="144"/>
                      <a:pt x="34" y="144"/>
                      <a:pt x="34" y="143"/>
                    </a:cubicBezTo>
                    <a:cubicBezTo>
                      <a:pt x="34" y="143"/>
                      <a:pt x="34" y="142"/>
                      <a:pt x="33" y="143"/>
                    </a:cubicBezTo>
                    <a:close/>
                    <a:moveTo>
                      <a:pt x="53" y="29"/>
                    </a:moveTo>
                    <a:cubicBezTo>
                      <a:pt x="53" y="28"/>
                      <a:pt x="52" y="28"/>
                      <a:pt x="52" y="28"/>
                    </a:cubicBezTo>
                    <a:cubicBezTo>
                      <a:pt x="52" y="28"/>
                      <a:pt x="52" y="29"/>
                      <a:pt x="53" y="29"/>
                    </a:cubicBezTo>
                    <a:close/>
                    <a:moveTo>
                      <a:pt x="57" y="36"/>
                    </a:moveTo>
                    <a:cubicBezTo>
                      <a:pt x="57" y="36"/>
                      <a:pt x="57" y="36"/>
                      <a:pt x="57" y="36"/>
                    </a:cubicBezTo>
                    <a:cubicBezTo>
                      <a:pt x="57" y="36"/>
                      <a:pt x="57" y="36"/>
                      <a:pt x="57" y="36"/>
                    </a:cubicBezTo>
                    <a:close/>
                    <a:moveTo>
                      <a:pt x="81" y="141"/>
                    </a:moveTo>
                    <a:cubicBezTo>
                      <a:pt x="80" y="142"/>
                      <a:pt x="82" y="142"/>
                      <a:pt x="81" y="141"/>
                    </a:cubicBezTo>
                    <a:close/>
                    <a:moveTo>
                      <a:pt x="62" y="142"/>
                    </a:moveTo>
                    <a:cubicBezTo>
                      <a:pt x="62" y="141"/>
                      <a:pt x="62" y="141"/>
                      <a:pt x="62" y="141"/>
                    </a:cubicBezTo>
                    <a:cubicBezTo>
                      <a:pt x="61" y="141"/>
                      <a:pt x="62" y="141"/>
                      <a:pt x="62" y="142"/>
                    </a:cubicBezTo>
                    <a:close/>
                    <a:moveTo>
                      <a:pt x="60" y="162"/>
                    </a:moveTo>
                    <a:cubicBezTo>
                      <a:pt x="60" y="162"/>
                      <a:pt x="60" y="161"/>
                      <a:pt x="60" y="162"/>
                    </a:cubicBezTo>
                    <a:cubicBezTo>
                      <a:pt x="60" y="161"/>
                      <a:pt x="60" y="161"/>
                      <a:pt x="60" y="161"/>
                    </a:cubicBezTo>
                    <a:cubicBezTo>
                      <a:pt x="60" y="161"/>
                      <a:pt x="59" y="162"/>
                      <a:pt x="60" y="162"/>
                    </a:cubicBezTo>
                    <a:close/>
                    <a:moveTo>
                      <a:pt x="54" y="26"/>
                    </a:moveTo>
                    <a:cubicBezTo>
                      <a:pt x="53" y="26"/>
                      <a:pt x="53" y="27"/>
                      <a:pt x="53" y="28"/>
                    </a:cubicBezTo>
                    <a:cubicBezTo>
                      <a:pt x="53" y="28"/>
                      <a:pt x="54" y="27"/>
                      <a:pt x="54" y="27"/>
                    </a:cubicBezTo>
                    <a:cubicBezTo>
                      <a:pt x="54" y="27"/>
                      <a:pt x="54" y="26"/>
                      <a:pt x="54" y="26"/>
                    </a:cubicBezTo>
                    <a:cubicBezTo>
                      <a:pt x="54" y="26"/>
                      <a:pt x="54" y="26"/>
                      <a:pt x="54" y="26"/>
                    </a:cubicBezTo>
                    <a:cubicBezTo>
                      <a:pt x="54" y="26"/>
                      <a:pt x="54" y="26"/>
                      <a:pt x="54" y="26"/>
                    </a:cubicBezTo>
                    <a:close/>
                    <a:moveTo>
                      <a:pt x="60" y="145"/>
                    </a:moveTo>
                    <a:cubicBezTo>
                      <a:pt x="60" y="145"/>
                      <a:pt x="60" y="145"/>
                      <a:pt x="60" y="145"/>
                    </a:cubicBezTo>
                    <a:cubicBezTo>
                      <a:pt x="59" y="145"/>
                      <a:pt x="59" y="145"/>
                      <a:pt x="58" y="145"/>
                    </a:cubicBezTo>
                    <a:cubicBezTo>
                      <a:pt x="57" y="144"/>
                      <a:pt x="57" y="144"/>
                      <a:pt x="56" y="144"/>
                    </a:cubicBezTo>
                    <a:cubicBezTo>
                      <a:pt x="56" y="144"/>
                      <a:pt x="54" y="144"/>
                      <a:pt x="55" y="144"/>
                    </a:cubicBezTo>
                    <a:cubicBezTo>
                      <a:pt x="55" y="145"/>
                      <a:pt x="56" y="144"/>
                      <a:pt x="56" y="145"/>
                    </a:cubicBezTo>
                    <a:cubicBezTo>
                      <a:pt x="57" y="145"/>
                      <a:pt x="57" y="146"/>
                      <a:pt x="57" y="146"/>
                    </a:cubicBezTo>
                    <a:cubicBezTo>
                      <a:pt x="58" y="147"/>
                      <a:pt x="59" y="148"/>
                      <a:pt x="60" y="148"/>
                    </a:cubicBezTo>
                    <a:cubicBezTo>
                      <a:pt x="60" y="147"/>
                      <a:pt x="59" y="146"/>
                      <a:pt x="59" y="146"/>
                    </a:cubicBezTo>
                    <a:cubicBezTo>
                      <a:pt x="60" y="146"/>
                      <a:pt x="60" y="147"/>
                      <a:pt x="60" y="147"/>
                    </a:cubicBezTo>
                    <a:cubicBezTo>
                      <a:pt x="60" y="147"/>
                      <a:pt x="61" y="146"/>
                      <a:pt x="61" y="146"/>
                    </a:cubicBezTo>
                    <a:cubicBezTo>
                      <a:pt x="61" y="146"/>
                      <a:pt x="60" y="146"/>
                      <a:pt x="60" y="145"/>
                    </a:cubicBezTo>
                    <a:close/>
                    <a:moveTo>
                      <a:pt x="61" y="141"/>
                    </a:moveTo>
                    <a:cubicBezTo>
                      <a:pt x="61" y="141"/>
                      <a:pt x="60" y="140"/>
                      <a:pt x="60" y="140"/>
                    </a:cubicBezTo>
                    <a:cubicBezTo>
                      <a:pt x="61" y="141"/>
                      <a:pt x="60" y="141"/>
                      <a:pt x="60" y="142"/>
                    </a:cubicBezTo>
                    <a:cubicBezTo>
                      <a:pt x="60" y="142"/>
                      <a:pt x="61" y="143"/>
                      <a:pt x="61" y="143"/>
                    </a:cubicBezTo>
                    <a:cubicBezTo>
                      <a:pt x="61" y="143"/>
                      <a:pt x="61" y="142"/>
                      <a:pt x="61" y="142"/>
                    </a:cubicBezTo>
                    <a:cubicBezTo>
                      <a:pt x="62" y="142"/>
                      <a:pt x="61" y="141"/>
                      <a:pt x="61" y="141"/>
                    </a:cubicBezTo>
                    <a:close/>
                    <a:moveTo>
                      <a:pt x="54" y="27"/>
                    </a:moveTo>
                    <a:cubicBezTo>
                      <a:pt x="54" y="27"/>
                      <a:pt x="54" y="27"/>
                      <a:pt x="54" y="28"/>
                    </a:cubicBezTo>
                    <a:cubicBezTo>
                      <a:pt x="54" y="28"/>
                      <a:pt x="54" y="28"/>
                      <a:pt x="53" y="28"/>
                    </a:cubicBezTo>
                    <a:cubicBezTo>
                      <a:pt x="54" y="28"/>
                      <a:pt x="53" y="28"/>
                      <a:pt x="54" y="28"/>
                    </a:cubicBezTo>
                    <a:cubicBezTo>
                      <a:pt x="53" y="28"/>
                      <a:pt x="54" y="27"/>
                      <a:pt x="54" y="27"/>
                    </a:cubicBezTo>
                    <a:close/>
                    <a:moveTo>
                      <a:pt x="49" y="28"/>
                    </a:moveTo>
                    <a:cubicBezTo>
                      <a:pt x="49" y="28"/>
                      <a:pt x="49" y="28"/>
                      <a:pt x="48" y="28"/>
                    </a:cubicBezTo>
                    <a:cubicBezTo>
                      <a:pt x="49" y="28"/>
                      <a:pt x="48" y="28"/>
                      <a:pt x="48" y="28"/>
                    </a:cubicBezTo>
                    <a:cubicBezTo>
                      <a:pt x="48" y="29"/>
                      <a:pt x="49" y="29"/>
                      <a:pt x="49" y="29"/>
                    </a:cubicBezTo>
                    <a:cubicBezTo>
                      <a:pt x="49" y="29"/>
                      <a:pt x="49" y="30"/>
                      <a:pt x="50" y="30"/>
                    </a:cubicBezTo>
                    <a:cubicBezTo>
                      <a:pt x="50" y="29"/>
                      <a:pt x="50" y="29"/>
                      <a:pt x="50" y="29"/>
                    </a:cubicBezTo>
                    <a:cubicBezTo>
                      <a:pt x="50" y="29"/>
                      <a:pt x="49" y="29"/>
                      <a:pt x="49" y="29"/>
                    </a:cubicBezTo>
                    <a:cubicBezTo>
                      <a:pt x="50" y="29"/>
                      <a:pt x="50" y="29"/>
                      <a:pt x="50" y="29"/>
                    </a:cubicBezTo>
                    <a:cubicBezTo>
                      <a:pt x="50" y="29"/>
                      <a:pt x="50" y="29"/>
                      <a:pt x="50" y="29"/>
                    </a:cubicBezTo>
                    <a:cubicBezTo>
                      <a:pt x="50" y="29"/>
                      <a:pt x="50" y="29"/>
                      <a:pt x="50" y="29"/>
                    </a:cubicBezTo>
                    <a:cubicBezTo>
                      <a:pt x="50" y="29"/>
                      <a:pt x="49" y="28"/>
                      <a:pt x="49" y="28"/>
                    </a:cubicBezTo>
                    <a:close/>
                    <a:moveTo>
                      <a:pt x="54" y="27"/>
                    </a:moveTo>
                    <a:cubicBezTo>
                      <a:pt x="55" y="27"/>
                      <a:pt x="55" y="25"/>
                      <a:pt x="55" y="25"/>
                    </a:cubicBezTo>
                    <a:cubicBezTo>
                      <a:pt x="54" y="25"/>
                      <a:pt x="54" y="26"/>
                      <a:pt x="54" y="26"/>
                    </a:cubicBezTo>
                    <a:cubicBezTo>
                      <a:pt x="54" y="26"/>
                      <a:pt x="54" y="27"/>
                      <a:pt x="54" y="27"/>
                    </a:cubicBezTo>
                    <a:close/>
                    <a:moveTo>
                      <a:pt x="47" y="28"/>
                    </a:moveTo>
                    <a:cubicBezTo>
                      <a:pt x="47" y="28"/>
                      <a:pt x="47" y="28"/>
                      <a:pt x="47" y="28"/>
                    </a:cubicBezTo>
                    <a:cubicBezTo>
                      <a:pt x="47" y="28"/>
                      <a:pt x="48" y="29"/>
                      <a:pt x="48" y="29"/>
                    </a:cubicBezTo>
                    <a:cubicBezTo>
                      <a:pt x="48" y="28"/>
                      <a:pt x="48" y="28"/>
                      <a:pt x="47" y="27"/>
                    </a:cubicBezTo>
                    <a:cubicBezTo>
                      <a:pt x="46" y="27"/>
                      <a:pt x="47" y="29"/>
                      <a:pt x="47" y="2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69" name="Venezuela">
                <a:extLst>
                  <a:ext uri="{FF2B5EF4-FFF2-40B4-BE49-F238E27FC236}">
                    <a16:creationId xmlns:a16="http://schemas.microsoft.com/office/drawing/2014/main" id="{190A60DC-CBCD-84BA-876F-FCAA7671E0CA}"/>
                  </a:ext>
                </a:extLst>
              </p:cNvPr>
              <p:cNvSpPr>
                <a:spLocks noEditPoints="1"/>
              </p:cNvSpPr>
              <p:nvPr/>
            </p:nvSpPr>
            <p:spPr bwMode="auto">
              <a:xfrm>
                <a:off x="3183541" y="3568971"/>
                <a:ext cx="467539" cy="449895"/>
              </a:xfrm>
              <a:custGeom>
                <a:avLst/>
                <a:gdLst/>
                <a:ahLst/>
                <a:cxnLst>
                  <a:cxn ang="0">
                    <a:pos x="129" y="45"/>
                  </a:cxn>
                  <a:cxn ang="0">
                    <a:pos x="124" y="56"/>
                  </a:cxn>
                  <a:cxn ang="0">
                    <a:pos x="117" y="61"/>
                  </a:cxn>
                  <a:cxn ang="0">
                    <a:pos x="121" y="77"/>
                  </a:cxn>
                  <a:cxn ang="0">
                    <a:pos x="113" y="87"/>
                  </a:cxn>
                  <a:cxn ang="0">
                    <a:pos x="101" y="91"/>
                  </a:cxn>
                  <a:cxn ang="0">
                    <a:pos x="89" y="91"/>
                  </a:cxn>
                  <a:cxn ang="0">
                    <a:pos x="86" y="93"/>
                  </a:cxn>
                  <a:cxn ang="0">
                    <a:pos x="90" y="108"/>
                  </a:cxn>
                  <a:cxn ang="0">
                    <a:pos x="87" y="117"/>
                  </a:cxn>
                  <a:cxn ang="0">
                    <a:pos x="77" y="123"/>
                  </a:cxn>
                  <a:cxn ang="0">
                    <a:pos x="66" y="126"/>
                  </a:cxn>
                  <a:cxn ang="0">
                    <a:pos x="58" y="111"/>
                  </a:cxn>
                  <a:cxn ang="0">
                    <a:pos x="55" y="99"/>
                  </a:cxn>
                  <a:cxn ang="0">
                    <a:pos x="52" y="78"/>
                  </a:cxn>
                  <a:cxn ang="0">
                    <a:pos x="55" y="65"/>
                  </a:cxn>
                  <a:cxn ang="0">
                    <a:pos x="40" y="66"/>
                  </a:cxn>
                  <a:cxn ang="0">
                    <a:pos x="26" y="56"/>
                  </a:cxn>
                  <a:cxn ang="0">
                    <a:pos x="11" y="54"/>
                  </a:cxn>
                  <a:cxn ang="0">
                    <a:pos x="7" y="40"/>
                  </a:cxn>
                  <a:cxn ang="0">
                    <a:pos x="4" y="27"/>
                  </a:cxn>
                  <a:cxn ang="0">
                    <a:pos x="10" y="12"/>
                  </a:cxn>
                  <a:cxn ang="0">
                    <a:pos x="22" y="4"/>
                  </a:cxn>
                  <a:cxn ang="0">
                    <a:pos x="18" y="18"/>
                  </a:cxn>
                  <a:cxn ang="0">
                    <a:pos x="14" y="30"/>
                  </a:cxn>
                  <a:cxn ang="0">
                    <a:pos x="15" y="33"/>
                  </a:cxn>
                  <a:cxn ang="0">
                    <a:pos x="23" y="27"/>
                  </a:cxn>
                  <a:cxn ang="0">
                    <a:pos x="19" y="19"/>
                  </a:cxn>
                  <a:cxn ang="0">
                    <a:pos x="24" y="12"/>
                  </a:cxn>
                  <a:cxn ang="0">
                    <a:pos x="34" y="8"/>
                  </a:cxn>
                  <a:cxn ang="0">
                    <a:pos x="35" y="6"/>
                  </a:cxn>
                  <a:cxn ang="0">
                    <a:pos x="37" y="4"/>
                  </a:cxn>
                  <a:cxn ang="0">
                    <a:pos x="48" y="10"/>
                  </a:cxn>
                  <a:cxn ang="0">
                    <a:pos x="53" y="19"/>
                  </a:cxn>
                  <a:cxn ang="0">
                    <a:pos x="71" y="17"/>
                  </a:cxn>
                  <a:cxn ang="0">
                    <a:pos x="77" y="23"/>
                  </a:cxn>
                  <a:cxn ang="0">
                    <a:pos x="88" y="21"/>
                  </a:cxn>
                  <a:cxn ang="0">
                    <a:pos x="93" y="18"/>
                  </a:cxn>
                  <a:cxn ang="0">
                    <a:pos x="94" y="17"/>
                  </a:cxn>
                  <a:cxn ang="0">
                    <a:pos x="112" y="17"/>
                  </a:cxn>
                  <a:cxn ang="0">
                    <a:pos x="101" y="21"/>
                  </a:cxn>
                  <a:cxn ang="0">
                    <a:pos x="101" y="23"/>
                  </a:cxn>
                  <a:cxn ang="0">
                    <a:pos x="105" y="22"/>
                  </a:cxn>
                  <a:cxn ang="0">
                    <a:pos x="110" y="26"/>
                  </a:cxn>
                  <a:cxn ang="0">
                    <a:pos x="113" y="27"/>
                  </a:cxn>
                  <a:cxn ang="0">
                    <a:pos x="121" y="30"/>
                  </a:cxn>
                  <a:cxn ang="0">
                    <a:pos x="118" y="40"/>
                  </a:cxn>
                  <a:cxn ang="0">
                    <a:pos x="120" y="41"/>
                  </a:cxn>
                  <a:cxn ang="0">
                    <a:pos x="130" y="44"/>
                  </a:cxn>
                  <a:cxn ang="0">
                    <a:pos x="68" y="5"/>
                  </a:cxn>
                  <a:cxn ang="0">
                    <a:pos x="80" y="15"/>
                  </a:cxn>
                  <a:cxn ang="0">
                    <a:pos x="92" y="13"/>
                  </a:cxn>
                  <a:cxn ang="0">
                    <a:pos x="115" y="40"/>
                  </a:cxn>
                  <a:cxn ang="0">
                    <a:pos x="120" y="39"/>
                  </a:cxn>
                  <a:cxn ang="0">
                    <a:pos x="118" y="39"/>
                  </a:cxn>
                  <a:cxn ang="0">
                    <a:pos x="118" y="39"/>
                  </a:cxn>
                  <a:cxn ang="0">
                    <a:pos x="121" y="38"/>
                  </a:cxn>
                  <a:cxn ang="0">
                    <a:pos x="123" y="39"/>
                  </a:cxn>
                  <a:cxn ang="0">
                    <a:pos x="121" y="40"/>
                  </a:cxn>
                  <a:cxn ang="0">
                    <a:pos x="123" y="39"/>
                  </a:cxn>
                  <a:cxn ang="0">
                    <a:pos x="122" y="38"/>
                  </a:cxn>
                  <a:cxn ang="0">
                    <a:pos x="122" y="34"/>
                  </a:cxn>
                  <a:cxn ang="0">
                    <a:pos x="122" y="37"/>
                  </a:cxn>
                </a:cxnLst>
                <a:rect l="0" t="0" r="r" b="b"/>
                <a:pathLst>
                  <a:path w="132" h="127">
                    <a:moveTo>
                      <a:pt x="93" y="16"/>
                    </a:moveTo>
                    <a:cubicBezTo>
                      <a:pt x="92" y="16"/>
                      <a:pt x="92" y="16"/>
                      <a:pt x="92" y="16"/>
                    </a:cubicBezTo>
                    <a:cubicBezTo>
                      <a:pt x="92" y="15"/>
                      <a:pt x="93" y="16"/>
                      <a:pt x="93" y="16"/>
                    </a:cubicBezTo>
                    <a:close/>
                    <a:moveTo>
                      <a:pt x="87" y="5"/>
                    </a:moveTo>
                    <a:cubicBezTo>
                      <a:pt x="88" y="4"/>
                      <a:pt x="87" y="3"/>
                      <a:pt x="87" y="4"/>
                    </a:cubicBezTo>
                    <a:cubicBezTo>
                      <a:pt x="86" y="4"/>
                      <a:pt x="87" y="4"/>
                      <a:pt x="87" y="5"/>
                    </a:cubicBezTo>
                    <a:close/>
                    <a:moveTo>
                      <a:pt x="130" y="44"/>
                    </a:moveTo>
                    <a:cubicBezTo>
                      <a:pt x="130" y="44"/>
                      <a:pt x="129" y="44"/>
                      <a:pt x="129" y="45"/>
                    </a:cubicBezTo>
                    <a:cubicBezTo>
                      <a:pt x="129" y="46"/>
                      <a:pt x="128" y="46"/>
                      <a:pt x="128" y="46"/>
                    </a:cubicBezTo>
                    <a:cubicBezTo>
                      <a:pt x="127" y="47"/>
                      <a:pt x="127" y="47"/>
                      <a:pt x="126" y="48"/>
                    </a:cubicBezTo>
                    <a:cubicBezTo>
                      <a:pt x="125" y="48"/>
                      <a:pt x="125" y="48"/>
                      <a:pt x="124" y="48"/>
                    </a:cubicBezTo>
                    <a:cubicBezTo>
                      <a:pt x="124" y="48"/>
                      <a:pt x="123" y="49"/>
                      <a:pt x="123" y="50"/>
                    </a:cubicBezTo>
                    <a:cubicBezTo>
                      <a:pt x="123" y="50"/>
                      <a:pt x="123" y="51"/>
                      <a:pt x="122" y="51"/>
                    </a:cubicBezTo>
                    <a:cubicBezTo>
                      <a:pt x="121" y="52"/>
                      <a:pt x="123" y="53"/>
                      <a:pt x="123" y="54"/>
                    </a:cubicBezTo>
                    <a:cubicBezTo>
                      <a:pt x="123" y="54"/>
                      <a:pt x="122" y="55"/>
                      <a:pt x="123" y="55"/>
                    </a:cubicBezTo>
                    <a:cubicBezTo>
                      <a:pt x="123" y="56"/>
                      <a:pt x="124" y="56"/>
                      <a:pt x="124" y="56"/>
                    </a:cubicBezTo>
                    <a:cubicBezTo>
                      <a:pt x="124" y="55"/>
                      <a:pt x="125" y="55"/>
                      <a:pt x="126" y="56"/>
                    </a:cubicBezTo>
                    <a:cubicBezTo>
                      <a:pt x="126" y="56"/>
                      <a:pt x="126" y="57"/>
                      <a:pt x="125" y="57"/>
                    </a:cubicBezTo>
                    <a:cubicBezTo>
                      <a:pt x="125" y="57"/>
                      <a:pt x="125" y="58"/>
                      <a:pt x="125" y="58"/>
                    </a:cubicBezTo>
                    <a:cubicBezTo>
                      <a:pt x="125" y="58"/>
                      <a:pt x="123" y="59"/>
                      <a:pt x="123" y="59"/>
                    </a:cubicBezTo>
                    <a:cubicBezTo>
                      <a:pt x="122" y="59"/>
                      <a:pt x="122" y="60"/>
                      <a:pt x="121" y="60"/>
                    </a:cubicBezTo>
                    <a:cubicBezTo>
                      <a:pt x="121" y="60"/>
                      <a:pt x="120" y="59"/>
                      <a:pt x="120" y="59"/>
                    </a:cubicBezTo>
                    <a:cubicBezTo>
                      <a:pt x="120" y="59"/>
                      <a:pt x="120" y="60"/>
                      <a:pt x="119" y="60"/>
                    </a:cubicBezTo>
                    <a:cubicBezTo>
                      <a:pt x="119" y="61"/>
                      <a:pt x="118" y="60"/>
                      <a:pt x="117" y="61"/>
                    </a:cubicBezTo>
                    <a:cubicBezTo>
                      <a:pt x="116" y="62"/>
                      <a:pt x="118" y="63"/>
                      <a:pt x="117" y="64"/>
                    </a:cubicBezTo>
                    <a:cubicBezTo>
                      <a:pt x="117" y="65"/>
                      <a:pt x="117" y="65"/>
                      <a:pt x="118" y="65"/>
                    </a:cubicBezTo>
                    <a:cubicBezTo>
                      <a:pt x="118" y="66"/>
                      <a:pt x="117" y="66"/>
                      <a:pt x="117" y="67"/>
                    </a:cubicBezTo>
                    <a:cubicBezTo>
                      <a:pt x="116" y="67"/>
                      <a:pt x="116" y="68"/>
                      <a:pt x="115" y="68"/>
                    </a:cubicBezTo>
                    <a:cubicBezTo>
                      <a:pt x="115" y="69"/>
                      <a:pt x="115" y="69"/>
                      <a:pt x="115" y="70"/>
                    </a:cubicBezTo>
                    <a:cubicBezTo>
                      <a:pt x="116" y="71"/>
                      <a:pt x="117" y="71"/>
                      <a:pt x="117" y="72"/>
                    </a:cubicBezTo>
                    <a:cubicBezTo>
                      <a:pt x="118" y="73"/>
                      <a:pt x="118" y="74"/>
                      <a:pt x="119" y="75"/>
                    </a:cubicBezTo>
                    <a:cubicBezTo>
                      <a:pt x="120" y="75"/>
                      <a:pt x="120" y="76"/>
                      <a:pt x="121" y="77"/>
                    </a:cubicBezTo>
                    <a:cubicBezTo>
                      <a:pt x="121" y="77"/>
                      <a:pt x="121" y="77"/>
                      <a:pt x="122" y="78"/>
                    </a:cubicBezTo>
                    <a:cubicBezTo>
                      <a:pt x="122" y="79"/>
                      <a:pt x="122" y="80"/>
                      <a:pt x="121" y="81"/>
                    </a:cubicBezTo>
                    <a:cubicBezTo>
                      <a:pt x="121" y="82"/>
                      <a:pt x="120" y="82"/>
                      <a:pt x="120" y="82"/>
                    </a:cubicBezTo>
                    <a:cubicBezTo>
                      <a:pt x="119" y="82"/>
                      <a:pt x="119" y="83"/>
                      <a:pt x="119" y="83"/>
                    </a:cubicBezTo>
                    <a:cubicBezTo>
                      <a:pt x="119" y="85"/>
                      <a:pt x="117" y="85"/>
                      <a:pt x="116" y="85"/>
                    </a:cubicBezTo>
                    <a:cubicBezTo>
                      <a:pt x="114" y="84"/>
                      <a:pt x="116" y="86"/>
                      <a:pt x="115" y="86"/>
                    </a:cubicBezTo>
                    <a:cubicBezTo>
                      <a:pt x="114" y="86"/>
                      <a:pt x="114" y="86"/>
                      <a:pt x="113" y="86"/>
                    </a:cubicBezTo>
                    <a:cubicBezTo>
                      <a:pt x="113" y="86"/>
                      <a:pt x="113" y="87"/>
                      <a:pt x="113" y="87"/>
                    </a:cubicBezTo>
                    <a:cubicBezTo>
                      <a:pt x="112" y="88"/>
                      <a:pt x="111" y="87"/>
                      <a:pt x="111" y="88"/>
                    </a:cubicBezTo>
                    <a:cubicBezTo>
                      <a:pt x="110" y="88"/>
                      <a:pt x="110" y="89"/>
                      <a:pt x="109" y="89"/>
                    </a:cubicBezTo>
                    <a:cubicBezTo>
                      <a:pt x="108" y="89"/>
                      <a:pt x="108" y="88"/>
                      <a:pt x="107" y="89"/>
                    </a:cubicBezTo>
                    <a:cubicBezTo>
                      <a:pt x="107" y="90"/>
                      <a:pt x="106" y="89"/>
                      <a:pt x="105" y="89"/>
                    </a:cubicBezTo>
                    <a:cubicBezTo>
                      <a:pt x="105" y="88"/>
                      <a:pt x="104" y="88"/>
                      <a:pt x="104" y="89"/>
                    </a:cubicBezTo>
                    <a:cubicBezTo>
                      <a:pt x="103" y="89"/>
                      <a:pt x="103" y="89"/>
                      <a:pt x="103" y="90"/>
                    </a:cubicBezTo>
                    <a:cubicBezTo>
                      <a:pt x="103" y="90"/>
                      <a:pt x="102" y="90"/>
                      <a:pt x="102" y="90"/>
                    </a:cubicBezTo>
                    <a:cubicBezTo>
                      <a:pt x="101" y="90"/>
                      <a:pt x="101" y="90"/>
                      <a:pt x="101" y="91"/>
                    </a:cubicBezTo>
                    <a:cubicBezTo>
                      <a:pt x="100" y="92"/>
                      <a:pt x="102" y="94"/>
                      <a:pt x="100" y="95"/>
                    </a:cubicBezTo>
                    <a:cubicBezTo>
                      <a:pt x="99" y="95"/>
                      <a:pt x="99" y="95"/>
                      <a:pt x="98" y="95"/>
                    </a:cubicBezTo>
                    <a:cubicBezTo>
                      <a:pt x="98" y="94"/>
                      <a:pt x="97" y="93"/>
                      <a:pt x="97" y="93"/>
                    </a:cubicBezTo>
                    <a:cubicBezTo>
                      <a:pt x="96" y="92"/>
                      <a:pt x="95" y="90"/>
                      <a:pt x="94" y="91"/>
                    </a:cubicBezTo>
                    <a:cubicBezTo>
                      <a:pt x="94" y="91"/>
                      <a:pt x="94" y="92"/>
                      <a:pt x="94" y="92"/>
                    </a:cubicBezTo>
                    <a:cubicBezTo>
                      <a:pt x="93" y="92"/>
                      <a:pt x="93" y="91"/>
                      <a:pt x="93" y="91"/>
                    </a:cubicBezTo>
                    <a:cubicBezTo>
                      <a:pt x="92" y="91"/>
                      <a:pt x="91" y="91"/>
                      <a:pt x="91" y="91"/>
                    </a:cubicBezTo>
                    <a:cubicBezTo>
                      <a:pt x="90" y="91"/>
                      <a:pt x="90" y="91"/>
                      <a:pt x="89" y="91"/>
                    </a:cubicBezTo>
                    <a:cubicBezTo>
                      <a:pt x="88" y="92"/>
                      <a:pt x="88" y="90"/>
                      <a:pt x="87" y="89"/>
                    </a:cubicBezTo>
                    <a:cubicBezTo>
                      <a:pt x="86" y="88"/>
                      <a:pt x="85" y="89"/>
                      <a:pt x="84" y="89"/>
                    </a:cubicBezTo>
                    <a:cubicBezTo>
                      <a:pt x="83" y="89"/>
                      <a:pt x="83" y="89"/>
                      <a:pt x="83" y="88"/>
                    </a:cubicBezTo>
                    <a:cubicBezTo>
                      <a:pt x="83" y="88"/>
                      <a:pt x="82" y="87"/>
                      <a:pt x="81" y="87"/>
                    </a:cubicBezTo>
                    <a:cubicBezTo>
                      <a:pt x="81" y="88"/>
                      <a:pt x="81" y="88"/>
                      <a:pt x="82" y="88"/>
                    </a:cubicBezTo>
                    <a:cubicBezTo>
                      <a:pt x="82" y="89"/>
                      <a:pt x="82" y="89"/>
                      <a:pt x="82" y="90"/>
                    </a:cubicBezTo>
                    <a:cubicBezTo>
                      <a:pt x="83" y="91"/>
                      <a:pt x="83" y="91"/>
                      <a:pt x="84" y="92"/>
                    </a:cubicBezTo>
                    <a:cubicBezTo>
                      <a:pt x="84" y="93"/>
                      <a:pt x="85" y="93"/>
                      <a:pt x="86" y="93"/>
                    </a:cubicBezTo>
                    <a:cubicBezTo>
                      <a:pt x="86" y="94"/>
                      <a:pt x="87" y="94"/>
                      <a:pt x="87" y="95"/>
                    </a:cubicBezTo>
                    <a:cubicBezTo>
                      <a:pt x="87" y="96"/>
                      <a:pt x="86" y="96"/>
                      <a:pt x="86" y="97"/>
                    </a:cubicBezTo>
                    <a:cubicBezTo>
                      <a:pt x="86" y="98"/>
                      <a:pt x="87" y="98"/>
                      <a:pt x="87" y="99"/>
                    </a:cubicBezTo>
                    <a:cubicBezTo>
                      <a:pt x="86" y="100"/>
                      <a:pt x="87" y="100"/>
                      <a:pt x="87" y="101"/>
                    </a:cubicBezTo>
                    <a:cubicBezTo>
                      <a:pt x="87" y="102"/>
                      <a:pt x="88" y="102"/>
                      <a:pt x="88" y="103"/>
                    </a:cubicBezTo>
                    <a:cubicBezTo>
                      <a:pt x="88" y="104"/>
                      <a:pt x="89" y="105"/>
                      <a:pt x="88" y="106"/>
                    </a:cubicBezTo>
                    <a:cubicBezTo>
                      <a:pt x="88" y="106"/>
                      <a:pt x="88" y="107"/>
                      <a:pt x="88" y="107"/>
                    </a:cubicBezTo>
                    <a:cubicBezTo>
                      <a:pt x="89" y="107"/>
                      <a:pt x="89" y="107"/>
                      <a:pt x="90" y="108"/>
                    </a:cubicBezTo>
                    <a:cubicBezTo>
                      <a:pt x="91" y="108"/>
                      <a:pt x="92" y="107"/>
                      <a:pt x="92" y="107"/>
                    </a:cubicBezTo>
                    <a:cubicBezTo>
                      <a:pt x="93" y="108"/>
                      <a:pt x="93" y="107"/>
                      <a:pt x="94" y="108"/>
                    </a:cubicBezTo>
                    <a:cubicBezTo>
                      <a:pt x="95" y="108"/>
                      <a:pt x="95" y="109"/>
                      <a:pt x="94" y="110"/>
                    </a:cubicBezTo>
                    <a:cubicBezTo>
                      <a:pt x="94" y="111"/>
                      <a:pt x="94" y="111"/>
                      <a:pt x="93" y="111"/>
                    </a:cubicBezTo>
                    <a:cubicBezTo>
                      <a:pt x="92" y="111"/>
                      <a:pt x="92" y="111"/>
                      <a:pt x="91" y="112"/>
                    </a:cubicBezTo>
                    <a:cubicBezTo>
                      <a:pt x="91" y="112"/>
                      <a:pt x="90" y="113"/>
                      <a:pt x="90" y="113"/>
                    </a:cubicBezTo>
                    <a:cubicBezTo>
                      <a:pt x="89" y="113"/>
                      <a:pt x="88" y="113"/>
                      <a:pt x="88" y="113"/>
                    </a:cubicBezTo>
                    <a:cubicBezTo>
                      <a:pt x="87" y="115"/>
                      <a:pt x="88" y="116"/>
                      <a:pt x="87" y="117"/>
                    </a:cubicBezTo>
                    <a:cubicBezTo>
                      <a:pt x="87" y="117"/>
                      <a:pt x="86" y="118"/>
                      <a:pt x="86" y="118"/>
                    </a:cubicBezTo>
                    <a:cubicBezTo>
                      <a:pt x="85" y="118"/>
                      <a:pt x="85" y="119"/>
                      <a:pt x="85" y="119"/>
                    </a:cubicBezTo>
                    <a:cubicBezTo>
                      <a:pt x="84" y="119"/>
                      <a:pt x="85" y="117"/>
                      <a:pt x="84" y="118"/>
                    </a:cubicBezTo>
                    <a:cubicBezTo>
                      <a:pt x="83" y="118"/>
                      <a:pt x="83" y="119"/>
                      <a:pt x="82" y="120"/>
                    </a:cubicBezTo>
                    <a:cubicBezTo>
                      <a:pt x="82" y="120"/>
                      <a:pt x="81" y="121"/>
                      <a:pt x="81" y="120"/>
                    </a:cubicBezTo>
                    <a:cubicBezTo>
                      <a:pt x="80" y="120"/>
                      <a:pt x="80" y="121"/>
                      <a:pt x="79" y="121"/>
                    </a:cubicBezTo>
                    <a:cubicBezTo>
                      <a:pt x="79" y="121"/>
                      <a:pt x="78" y="122"/>
                      <a:pt x="78" y="122"/>
                    </a:cubicBezTo>
                    <a:cubicBezTo>
                      <a:pt x="77" y="122"/>
                      <a:pt x="77" y="122"/>
                      <a:pt x="77" y="123"/>
                    </a:cubicBezTo>
                    <a:cubicBezTo>
                      <a:pt x="77" y="123"/>
                      <a:pt x="77" y="124"/>
                      <a:pt x="76" y="124"/>
                    </a:cubicBezTo>
                    <a:cubicBezTo>
                      <a:pt x="75" y="124"/>
                      <a:pt x="75" y="125"/>
                      <a:pt x="75" y="125"/>
                    </a:cubicBezTo>
                    <a:cubicBezTo>
                      <a:pt x="74" y="126"/>
                      <a:pt x="74" y="126"/>
                      <a:pt x="74" y="127"/>
                    </a:cubicBezTo>
                    <a:cubicBezTo>
                      <a:pt x="73" y="127"/>
                      <a:pt x="73" y="127"/>
                      <a:pt x="73" y="126"/>
                    </a:cubicBezTo>
                    <a:cubicBezTo>
                      <a:pt x="73" y="125"/>
                      <a:pt x="74" y="124"/>
                      <a:pt x="73" y="123"/>
                    </a:cubicBezTo>
                    <a:cubicBezTo>
                      <a:pt x="71" y="123"/>
                      <a:pt x="70" y="125"/>
                      <a:pt x="69" y="125"/>
                    </a:cubicBezTo>
                    <a:cubicBezTo>
                      <a:pt x="68" y="126"/>
                      <a:pt x="68" y="126"/>
                      <a:pt x="68" y="126"/>
                    </a:cubicBezTo>
                    <a:cubicBezTo>
                      <a:pt x="67" y="126"/>
                      <a:pt x="67" y="126"/>
                      <a:pt x="66" y="126"/>
                    </a:cubicBezTo>
                    <a:cubicBezTo>
                      <a:pt x="65" y="126"/>
                      <a:pt x="65" y="126"/>
                      <a:pt x="65" y="125"/>
                    </a:cubicBezTo>
                    <a:cubicBezTo>
                      <a:pt x="64" y="124"/>
                      <a:pt x="63" y="124"/>
                      <a:pt x="62" y="123"/>
                    </a:cubicBezTo>
                    <a:cubicBezTo>
                      <a:pt x="62" y="122"/>
                      <a:pt x="61" y="122"/>
                      <a:pt x="60" y="121"/>
                    </a:cubicBezTo>
                    <a:cubicBezTo>
                      <a:pt x="60" y="120"/>
                      <a:pt x="60" y="119"/>
                      <a:pt x="60" y="119"/>
                    </a:cubicBezTo>
                    <a:cubicBezTo>
                      <a:pt x="60" y="118"/>
                      <a:pt x="60" y="117"/>
                      <a:pt x="59" y="117"/>
                    </a:cubicBezTo>
                    <a:cubicBezTo>
                      <a:pt x="59" y="116"/>
                      <a:pt x="59" y="115"/>
                      <a:pt x="59" y="114"/>
                    </a:cubicBezTo>
                    <a:cubicBezTo>
                      <a:pt x="59" y="114"/>
                      <a:pt x="58" y="113"/>
                      <a:pt x="58" y="112"/>
                    </a:cubicBezTo>
                    <a:cubicBezTo>
                      <a:pt x="58" y="112"/>
                      <a:pt x="58" y="111"/>
                      <a:pt x="58" y="111"/>
                    </a:cubicBezTo>
                    <a:cubicBezTo>
                      <a:pt x="57" y="111"/>
                      <a:pt x="57" y="110"/>
                      <a:pt x="57" y="109"/>
                    </a:cubicBezTo>
                    <a:cubicBezTo>
                      <a:pt x="57" y="109"/>
                      <a:pt x="58" y="109"/>
                      <a:pt x="57" y="108"/>
                    </a:cubicBezTo>
                    <a:cubicBezTo>
                      <a:pt x="57" y="108"/>
                      <a:pt x="56" y="107"/>
                      <a:pt x="56" y="107"/>
                    </a:cubicBezTo>
                    <a:cubicBezTo>
                      <a:pt x="56" y="107"/>
                      <a:pt x="55" y="106"/>
                      <a:pt x="55" y="105"/>
                    </a:cubicBezTo>
                    <a:cubicBezTo>
                      <a:pt x="54" y="105"/>
                      <a:pt x="54" y="105"/>
                      <a:pt x="54" y="104"/>
                    </a:cubicBezTo>
                    <a:cubicBezTo>
                      <a:pt x="53" y="103"/>
                      <a:pt x="53" y="104"/>
                      <a:pt x="52" y="103"/>
                    </a:cubicBezTo>
                    <a:cubicBezTo>
                      <a:pt x="52" y="103"/>
                      <a:pt x="51" y="103"/>
                      <a:pt x="51" y="104"/>
                    </a:cubicBezTo>
                    <a:cubicBezTo>
                      <a:pt x="51" y="102"/>
                      <a:pt x="53" y="100"/>
                      <a:pt x="55" y="99"/>
                    </a:cubicBezTo>
                    <a:cubicBezTo>
                      <a:pt x="55" y="98"/>
                      <a:pt x="57" y="97"/>
                      <a:pt x="56" y="96"/>
                    </a:cubicBezTo>
                    <a:cubicBezTo>
                      <a:pt x="55" y="95"/>
                      <a:pt x="55" y="94"/>
                      <a:pt x="55" y="94"/>
                    </a:cubicBezTo>
                    <a:cubicBezTo>
                      <a:pt x="55" y="93"/>
                      <a:pt x="54" y="93"/>
                      <a:pt x="53" y="92"/>
                    </a:cubicBezTo>
                    <a:cubicBezTo>
                      <a:pt x="53" y="92"/>
                      <a:pt x="53" y="91"/>
                      <a:pt x="53" y="90"/>
                    </a:cubicBezTo>
                    <a:cubicBezTo>
                      <a:pt x="52" y="89"/>
                      <a:pt x="52" y="88"/>
                      <a:pt x="52" y="87"/>
                    </a:cubicBezTo>
                    <a:cubicBezTo>
                      <a:pt x="52" y="86"/>
                      <a:pt x="51" y="85"/>
                      <a:pt x="51" y="84"/>
                    </a:cubicBezTo>
                    <a:cubicBezTo>
                      <a:pt x="52" y="83"/>
                      <a:pt x="52" y="82"/>
                      <a:pt x="52" y="81"/>
                    </a:cubicBezTo>
                    <a:cubicBezTo>
                      <a:pt x="52" y="80"/>
                      <a:pt x="53" y="79"/>
                      <a:pt x="52" y="78"/>
                    </a:cubicBezTo>
                    <a:cubicBezTo>
                      <a:pt x="52" y="78"/>
                      <a:pt x="52" y="77"/>
                      <a:pt x="52" y="77"/>
                    </a:cubicBezTo>
                    <a:cubicBezTo>
                      <a:pt x="52" y="76"/>
                      <a:pt x="52" y="76"/>
                      <a:pt x="52" y="75"/>
                    </a:cubicBezTo>
                    <a:cubicBezTo>
                      <a:pt x="53" y="75"/>
                      <a:pt x="54" y="74"/>
                      <a:pt x="54" y="74"/>
                    </a:cubicBezTo>
                    <a:cubicBezTo>
                      <a:pt x="54" y="73"/>
                      <a:pt x="54" y="73"/>
                      <a:pt x="54" y="73"/>
                    </a:cubicBezTo>
                    <a:cubicBezTo>
                      <a:pt x="54" y="72"/>
                      <a:pt x="54" y="71"/>
                      <a:pt x="54" y="71"/>
                    </a:cubicBezTo>
                    <a:cubicBezTo>
                      <a:pt x="55" y="70"/>
                      <a:pt x="56" y="69"/>
                      <a:pt x="56" y="69"/>
                    </a:cubicBezTo>
                    <a:cubicBezTo>
                      <a:pt x="57" y="68"/>
                      <a:pt x="55" y="67"/>
                      <a:pt x="56" y="66"/>
                    </a:cubicBezTo>
                    <a:cubicBezTo>
                      <a:pt x="55" y="66"/>
                      <a:pt x="55" y="65"/>
                      <a:pt x="55" y="65"/>
                    </a:cubicBezTo>
                    <a:cubicBezTo>
                      <a:pt x="54" y="65"/>
                      <a:pt x="53" y="65"/>
                      <a:pt x="52" y="65"/>
                    </a:cubicBezTo>
                    <a:cubicBezTo>
                      <a:pt x="52" y="65"/>
                      <a:pt x="51" y="66"/>
                      <a:pt x="51" y="66"/>
                    </a:cubicBezTo>
                    <a:cubicBezTo>
                      <a:pt x="50" y="66"/>
                      <a:pt x="50" y="66"/>
                      <a:pt x="49" y="66"/>
                    </a:cubicBezTo>
                    <a:cubicBezTo>
                      <a:pt x="49" y="66"/>
                      <a:pt x="49" y="66"/>
                      <a:pt x="48" y="66"/>
                    </a:cubicBezTo>
                    <a:cubicBezTo>
                      <a:pt x="47" y="66"/>
                      <a:pt x="47" y="66"/>
                      <a:pt x="46" y="66"/>
                    </a:cubicBezTo>
                    <a:cubicBezTo>
                      <a:pt x="46" y="66"/>
                      <a:pt x="45" y="67"/>
                      <a:pt x="44" y="67"/>
                    </a:cubicBezTo>
                    <a:cubicBezTo>
                      <a:pt x="44" y="67"/>
                      <a:pt x="43" y="66"/>
                      <a:pt x="42" y="66"/>
                    </a:cubicBezTo>
                    <a:cubicBezTo>
                      <a:pt x="41" y="66"/>
                      <a:pt x="41" y="66"/>
                      <a:pt x="40" y="66"/>
                    </a:cubicBezTo>
                    <a:cubicBezTo>
                      <a:pt x="40" y="67"/>
                      <a:pt x="39" y="68"/>
                      <a:pt x="39" y="67"/>
                    </a:cubicBezTo>
                    <a:cubicBezTo>
                      <a:pt x="38" y="67"/>
                      <a:pt x="38" y="66"/>
                      <a:pt x="37" y="67"/>
                    </a:cubicBezTo>
                    <a:cubicBezTo>
                      <a:pt x="37" y="67"/>
                      <a:pt x="36" y="66"/>
                      <a:pt x="35" y="64"/>
                    </a:cubicBezTo>
                    <a:cubicBezTo>
                      <a:pt x="35" y="64"/>
                      <a:pt x="34" y="63"/>
                      <a:pt x="34" y="63"/>
                    </a:cubicBezTo>
                    <a:cubicBezTo>
                      <a:pt x="33" y="61"/>
                      <a:pt x="32" y="60"/>
                      <a:pt x="31" y="58"/>
                    </a:cubicBezTo>
                    <a:cubicBezTo>
                      <a:pt x="30" y="57"/>
                      <a:pt x="29" y="58"/>
                      <a:pt x="28" y="58"/>
                    </a:cubicBezTo>
                    <a:cubicBezTo>
                      <a:pt x="28" y="57"/>
                      <a:pt x="27" y="57"/>
                      <a:pt x="27" y="57"/>
                    </a:cubicBezTo>
                    <a:cubicBezTo>
                      <a:pt x="26" y="56"/>
                      <a:pt x="26" y="56"/>
                      <a:pt x="26" y="56"/>
                    </a:cubicBezTo>
                    <a:cubicBezTo>
                      <a:pt x="25" y="56"/>
                      <a:pt x="25" y="56"/>
                      <a:pt x="24" y="56"/>
                    </a:cubicBezTo>
                    <a:cubicBezTo>
                      <a:pt x="23" y="57"/>
                      <a:pt x="23" y="57"/>
                      <a:pt x="22" y="57"/>
                    </a:cubicBezTo>
                    <a:cubicBezTo>
                      <a:pt x="21" y="58"/>
                      <a:pt x="20" y="58"/>
                      <a:pt x="20" y="57"/>
                    </a:cubicBezTo>
                    <a:cubicBezTo>
                      <a:pt x="19" y="57"/>
                      <a:pt x="19" y="57"/>
                      <a:pt x="18" y="57"/>
                    </a:cubicBezTo>
                    <a:cubicBezTo>
                      <a:pt x="18" y="57"/>
                      <a:pt x="17" y="57"/>
                      <a:pt x="16" y="57"/>
                    </a:cubicBezTo>
                    <a:cubicBezTo>
                      <a:pt x="16" y="57"/>
                      <a:pt x="15" y="57"/>
                      <a:pt x="14" y="57"/>
                    </a:cubicBezTo>
                    <a:cubicBezTo>
                      <a:pt x="13" y="58"/>
                      <a:pt x="12" y="56"/>
                      <a:pt x="11" y="56"/>
                    </a:cubicBezTo>
                    <a:cubicBezTo>
                      <a:pt x="11" y="55"/>
                      <a:pt x="11" y="54"/>
                      <a:pt x="11" y="54"/>
                    </a:cubicBezTo>
                    <a:cubicBezTo>
                      <a:pt x="11" y="53"/>
                      <a:pt x="10" y="53"/>
                      <a:pt x="10" y="53"/>
                    </a:cubicBezTo>
                    <a:cubicBezTo>
                      <a:pt x="8" y="53"/>
                      <a:pt x="8" y="51"/>
                      <a:pt x="8" y="50"/>
                    </a:cubicBezTo>
                    <a:cubicBezTo>
                      <a:pt x="8" y="49"/>
                      <a:pt x="9" y="48"/>
                      <a:pt x="8" y="48"/>
                    </a:cubicBezTo>
                    <a:cubicBezTo>
                      <a:pt x="8" y="47"/>
                      <a:pt x="9" y="47"/>
                      <a:pt x="9" y="46"/>
                    </a:cubicBezTo>
                    <a:cubicBezTo>
                      <a:pt x="9" y="46"/>
                      <a:pt x="10" y="46"/>
                      <a:pt x="10" y="46"/>
                    </a:cubicBezTo>
                    <a:cubicBezTo>
                      <a:pt x="10" y="45"/>
                      <a:pt x="9" y="44"/>
                      <a:pt x="9" y="44"/>
                    </a:cubicBezTo>
                    <a:cubicBezTo>
                      <a:pt x="9" y="43"/>
                      <a:pt x="10" y="42"/>
                      <a:pt x="9" y="42"/>
                    </a:cubicBezTo>
                    <a:cubicBezTo>
                      <a:pt x="8" y="41"/>
                      <a:pt x="8" y="41"/>
                      <a:pt x="7" y="40"/>
                    </a:cubicBezTo>
                    <a:cubicBezTo>
                      <a:pt x="7" y="39"/>
                      <a:pt x="6" y="38"/>
                      <a:pt x="6" y="36"/>
                    </a:cubicBezTo>
                    <a:cubicBezTo>
                      <a:pt x="6" y="36"/>
                      <a:pt x="6" y="33"/>
                      <a:pt x="5" y="34"/>
                    </a:cubicBezTo>
                    <a:cubicBezTo>
                      <a:pt x="4" y="35"/>
                      <a:pt x="4" y="33"/>
                      <a:pt x="4" y="32"/>
                    </a:cubicBezTo>
                    <a:cubicBezTo>
                      <a:pt x="4" y="32"/>
                      <a:pt x="2" y="33"/>
                      <a:pt x="2" y="33"/>
                    </a:cubicBezTo>
                    <a:cubicBezTo>
                      <a:pt x="0" y="34"/>
                      <a:pt x="1" y="33"/>
                      <a:pt x="1" y="32"/>
                    </a:cubicBezTo>
                    <a:cubicBezTo>
                      <a:pt x="2" y="31"/>
                      <a:pt x="2" y="31"/>
                      <a:pt x="2" y="30"/>
                    </a:cubicBezTo>
                    <a:cubicBezTo>
                      <a:pt x="3" y="29"/>
                      <a:pt x="3" y="29"/>
                      <a:pt x="3" y="28"/>
                    </a:cubicBezTo>
                    <a:cubicBezTo>
                      <a:pt x="4" y="28"/>
                      <a:pt x="4" y="27"/>
                      <a:pt x="4" y="27"/>
                    </a:cubicBezTo>
                    <a:cubicBezTo>
                      <a:pt x="5" y="26"/>
                      <a:pt x="4" y="25"/>
                      <a:pt x="5" y="25"/>
                    </a:cubicBezTo>
                    <a:cubicBezTo>
                      <a:pt x="5" y="24"/>
                      <a:pt x="5" y="23"/>
                      <a:pt x="5" y="23"/>
                    </a:cubicBezTo>
                    <a:cubicBezTo>
                      <a:pt x="5" y="22"/>
                      <a:pt x="5" y="21"/>
                      <a:pt x="6" y="20"/>
                    </a:cubicBezTo>
                    <a:cubicBezTo>
                      <a:pt x="6" y="19"/>
                      <a:pt x="6" y="19"/>
                      <a:pt x="7" y="18"/>
                    </a:cubicBezTo>
                    <a:cubicBezTo>
                      <a:pt x="7" y="17"/>
                      <a:pt x="7" y="17"/>
                      <a:pt x="7" y="16"/>
                    </a:cubicBezTo>
                    <a:cubicBezTo>
                      <a:pt x="8" y="16"/>
                      <a:pt x="8" y="15"/>
                      <a:pt x="8" y="15"/>
                    </a:cubicBezTo>
                    <a:cubicBezTo>
                      <a:pt x="9" y="14"/>
                      <a:pt x="9" y="14"/>
                      <a:pt x="10" y="13"/>
                    </a:cubicBezTo>
                    <a:cubicBezTo>
                      <a:pt x="10" y="13"/>
                      <a:pt x="10" y="12"/>
                      <a:pt x="10" y="12"/>
                    </a:cubicBezTo>
                    <a:cubicBezTo>
                      <a:pt x="11" y="12"/>
                      <a:pt x="11" y="12"/>
                      <a:pt x="12" y="12"/>
                    </a:cubicBezTo>
                    <a:cubicBezTo>
                      <a:pt x="12" y="12"/>
                      <a:pt x="12" y="12"/>
                      <a:pt x="12" y="12"/>
                    </a:cubicBezTo>
                    <a:cubicBezTo>
                      <a:pt x="13" y="11"/>
                      <a:pt x="13" y="11"/>
                      <a:pt x="13" y="10"/>
                    </a:cubicBezTo>
                    <a:cubicBezTo>
                      <a:pt x="14" y="9"/>
                      <a:pt x="14" y="9"/>
                      <a:pt x="15" y="8"/>
                    </a:cubicBezTo>
                    <a:cubicBezTo>
                      <a:pt x="15" y="7"/>
                      <a:pt x="15" y="7"/>
                      <a:pt x="15" y="6"/>
                    </a:cubicBezTo>
                    <a:cubicBezTo>
                      <a:pt x="16" y="6"/>
                      <a:pt x="17" y="6"/>
                      <a:pt x="18" y="6"/>
                    </a:cubicBezTo>
                    <a:cubicBezTo>
                      <a:pt x="19" y="5"/>
                      <a:pt x="19" y="5"/>
                      <a:pt x="20" y="5"/>
                    </a:cubicBezTo>
                    <a:cubicBezTo>
                      <a:pt x="21" y="5"/>
                      <a:pt x="21" y="4"/>
                      <a:pt x="22" y="4"/>
                    </a:cubicBezTo>
                    <a:cubicBezTo>
                      <a:pt x="21" y="6"/>
                      <a:pt x="20" y="6"/>
                      <a:pt x="18" y="6"/>
                    </a:cubicBezTo>
                    <a:cubicBezTo>
                      <a:pt x="16" y="6"/>
                      <a:pt x="15" y="7"/>
                      <a:pt x="15" y="9"/>
                    </a:cubicBezTo>
                    <a:cubicBezTo>
                      <a:pt x="16" y="10"/>
                      <a:pt x="16" y="11"/>
                      <a:pt x="17" y="12"/>
                    </a:cubicBezTo>
                    <a:cubicBezTo>
                      <a:pt x="17" y="12"/>
                      <a:pt x="18" y="13"/>
                      <a:pt x="18" y="13"/>
                    </a:cubicBezTo>
                    <a:cubicBezTo>
                      <a:pt x="19" y="14"/>
                      <a:pt x="18" y="13"/>
                      <a:pt x="18" y="13"/>
                    </a:cubicBezTo>
                    <a:cubicBezTo>
                      <a:pt x="17" y="13"/>
                      <a:pt x="17" y="14"/>
                      <a:pt x="17" y="14"/>
                    </a:cubicBezTo>
                    <a:cubicBezTo>
                      <a:pt x="18" y="15"/>
                      <a:pt x="18" y="16"/>
                      <a:pt x="18" y="16"/>
                    </a:cubicBezTo>
                    <a:cubicBezTo>
                      <a:pt x="19" y="17"/>
                      <a:pt x="18" y="17"/>
                      <a:pt x="18" y="18"/>
                    </a:cubicBezTo>
                    <a:cubicBezTo>
                      <a:pt x="18" y="19"/>
                      <a:pt x="18" y="19"/>
                      <a:pt x="17" y="20"/>
                    </a:cubicBezTo>
                    <a:cubicBezTo>
                      <a:pt x="17" y="20"/>
                      <a:pt x="16" y="21"/>
                      <a:pt x="16" y="22"/>
                    </a:cubicBezTo>
                    <a:cubicBezTo>
                      <a:pt x="15" y="23"/>
                      <a:pt x="14" y="23"/>
                      <a:pt x="14" y="24"/>
                    </a:cubicBezTo>
                    <a:cubicBezTo>
                      <a:pt x="14" y="25"/>
                      <a:pt x="13" y="26"/>
                      <a:pt x="13" y="27"/>
                    </a:cubicBezTo>
                    <a:cubicBezTo>
                      <a:pt x="13" y="27"/>
                      <a:pt x="13" y="28"/>
                      <a:pt x="14" y="28"/>
                    </a:cubicBezTo>
                    <a:cubicBezTo>
                      <a:pt x="14" y="28"/>
                      <a:pt x="14" y="29"/>
                      <a:pt x="14" y="29"/>
                    </a:cubicBezTo>
                    <a:cubicBezTo>
                      <a:pt x="14" y="29"/>
                      <a:pt x="14" y="29"/>
                      <a:pt x="14" y="29"/>
                    </a:cubicBezTo>
                    <a:cubicBezTo>
                      <a:pt x="14" y="29"/>
                      <a:pt x="14" y="30"/>
                      <a:pt x="14" y="30"/>
                    </a:cubicBezTo>
                    <a:cubicBezTo>
                      <a:pt x="13" y="30"/>
                      <a:pt x="14" y="30"/>
                      <a:pt x="14" y="30"/>
                    </a:cubicBezTo>
                    <a:cubicBezTo>
                      <a:pt x="14" y="30"/>
                      <a:pt x="14" y="30"/>
                      <a:pt x="14" y="30"/>
                    </a:cubicBezTo>
                    <a:cubicBezTo>
                      <a:pt x="15" y="30"/>
                      <a:pt x="15" y="30"/>
                      <a:pt x="15" y="30"/>
                    </a:cubicBezTo>
                    <a:cubicBezTo>
                      <a:pt x="15" y="30"/>
                      <a:pt x="15" y="30"/>
                      <a:pt x="15" y="31"/>
                    </a:cubicBezTo>
                    <a:cubicBezTo>
                      <a:pt x="15" y="30"/>
                      <a:pt x="15" y="31"/>
                      <a:pt x="15" y="31"/>
                    </a:cubicBezTo>
                    <a:cubicBezTo>
                      <a:pt x="15" y="30"/>
                      <a:pt x="16" y="32"/>
                      <a:pt x="16" y="31"/>
                    </a:cubicBezTo>
                    <a:cubicBezTo>
                      <a:pt x="16" y="32"/>
                      <a:pt x="16" y="32"/>
                      <a:pt x="16" y="32"/>
                    </a:cubicBezTo>
                    <a:cubicBezTo>
                      <a:pt x="16" y="32"/>
                      <a:pt x="15" y="33"/>
                      <a:pt x="15" y="33"/>
                    </a:cubicBezTo>
                    <a:cubicBezTo>
                      <a:pt x="16" y="33"/>
                      <a:pt x="16" y="33"/>
                      <a:pt x="16" y="33"/>
                    </a:cubicBezTo>
                    <a:cubicBezTo>
                      <a:pt x="16" y="33"/>
                      <a:pt x="16" y="34"/>
                      <a:pt x="16" y="34"/>
                    </a:cubicBezTo>
                    <a:cubicBezTo>
                      <a:pt x="16" y="35"/>
                      <a:pt x="17" y="35"/>
                      <a:pt x="17" y="35"/>
                    </a:cubicBezTo>
                    <a:cubicBezTo>
                      <a:pt x="17" y="35"/>
                      <a:pt x="18" y="35"/>
                      <a:pt x="18" y="35"/>
                    </a:cubicBezTo>
                    <a:cubicBezTo>
                      <a:pt x="19" y="35"/>
                      <a:pt x="20" y="34"/>
                      <a:pt x="20" y="34"/>
                    </a:cubicBezTo>
                    <a:cubicBezTo>
                      <a:pt x="21" y="34"/>
                      <a:pt x="21" y="33"/>
                      <a:pt x="22" y="32"/>
                    </a:cubicBezTo>
                    <a:cubicBezTo>
                      <a:pt x="23" y="32"/>
                      <a:pt x="23" y="31"/>
                      <a:pt x="23" y="30"/>
                    </a:cubicBezTo>
                    <a:cubicBezTo>
                      <a:pt x="23" y="29"/>
                      <a:pt x="23" y="28"/>
                      <a:pt x="23" y="27"/>
                    </a:cubicBezTo>
                    <a:cubicBezTo>
                      <a:pt x="23" y="27"/>
                      <a:pt x="23" y="27"/>
                      <a:pt x="23" y="27"/>
                    </a:cubicBezTo>
                    <a:cubicBezTo>
                      <a:pt x="23" y="26"/>
                      <a:pt x="23" y="26"/>
                      <a:pt x="22" y="25"/>
                    </a:cubicBezTo>
                    <a:cubicBezTo>
                      <a:pt x="22" y="25"/>
                      <a:pt x="22" y="25"/>
                      <a:pt x="22" y="24"/>
                    </a:cubicBezTo>
                    <a:cubicBezTo>
                      <a:pt x="21" y="24"/>
                      <a:pt x="21" y="23"/>
                      <a:pt x="21" y="23"/>
                    </a:cubicBezTo>
                    <a:cubicBezTo>
                      <a:pt x="21" y="23"/>
                      <a:pt x="21" y="22"/>
                      <a:pt x="21" y="22"/>
                    </a:cubicBezTo>
                    <a:cubicBezTo>
                      <a:pt x="20" y="22"/>
                      <a:pt x="20" y="21"/>
                      <a:pt x="20" y="21"/>
                    </a:cubicBezTo>
                    <a:cubicBezTo>
                      <a:pt x="20" y="20"/>
                      <a:pt x="19" y="20"/>
                      <a:pt x="19" y="19"/>
                    </a:cubicBezTo>
                    <a:cubicBezTo>
                      <a:pt x="20" y="19"/>
                      <a:pt x="20" y="19"/>
                      <a:pt x="19" y="19"/>
                    </a:cubicBezTo>
                    <a:cubicBezTo>
                      <a:pt x="19" y="18"/>
                      <a:pt x="19" y="18"/>
                      <a:pt x="19" y="18"/>
                    </a:cubicBezTo>
                    <a:cubicBezTo>
                      <a:pt x="19" y="18"/>
                      <a:pt x="19" y="18"/>
                      <a:pt x="19" y="18"/>
                    </a:cubicBezTo>
                    <a:cubicBezTo>
                      <a:pt x="19" y="17"/>
                      <a:pt x="19" y="17"/>
                      <a:pt x="19" y="17"/>
                    </a:cubicBezTo>
                    <a:cubicBezTo>
                      <a:pt x="19" y="16"/>
                      <a:pt x="19" y="15"/>
                      <a:pt x="19" y="15"/>
                    </a:cubicBezTo>
                    <a:cubicBezTo>
                      <a:pt x="20" y="15"/>
                      <a:pt x="20" y="16"/>
                      <a:pt x="20" y="15"/>
                    </a:cubicBezTo>
                    <a:cubicBezTo>
                      <a:pt x="20" y="15"/>
                      <a:pt x="20" y="14"/>
                      <a:pt x="20" y="14"/>
                    </a:cubicBezTo>
                    <a:cubicBezTo>
                      <a:pt x="19" y="14"/>
                      <a:pt x="21" y="14"/>
                      <a:pt x="21" y="13"/>
                    </a:cubicBezTo>
                    <a:cubicBezTo>
                      <a:pt x="22" y="13"/>
                      <a:pt x="23" y="13"/>
                      <a:pt x="24" y="12"/>
                    </a:cubicBezTo>
                    <a:cubicBezTo>
                      <a:pt x="25" y="11"/>
                      <a:pt x="27" y="11"/>
                      <a:pt x="28" y="11"/>
                    </a:cubicBezTo>
                    <a:cubicBezTo>
                      <a:pt x="28" y="11"/>
                      <a:pt x="29" y="11"/>
                      <a:pt x="29" y="11"/>
                    </a:cubicBezTo>
                    <a:cubicBezTo>
                      <a:pt x="29" y="11"/>
                      <a:pt x="30" y="10"/>
                      <a:pt x="29" y="10"/>
                    </a:cubicBezTo>
                    <a:cubicBezTo>
                      <a:pt x="29" y="10"/>
                      <a:pt x="32" y="10"/>
                      <a:pt x="32" y="9"/>
                    </a:cubicBezTo>
                    <a:cubicBezTo>
                      <a:pt x="33" y="9"/>
                      <a:pt x="33" y="9"/>
                      <a:pt x="33" y="8"/>
                    </a:cubicBezTo>
                    <a:cubicBezTo>
                      <a:pt x="33" y="8"/>
                      <a:pt x="33" y="8"/>
                      <a:pt x="34" y="9"/>
                    </a:cubicBezTo>
                    <a:cubicBezTo>
                      <a:pt x="33" y="8"/>
                      <a:pt x="34" y="8"/>
                      <a:pt x="34" y="8"/>
                    </a:cubicBezTo>
                    <a:cubicBezTo>
                      <a:pt x="34" y="8"/>
                      <a:pt x="34" y="8"/>
                      <a:pt x="34" y="8"/>
                    </a:cubicBezTo>
                    <a:cubicBezTo>
                      <a:pt x="34" y="8"/>
                      <a:pt x="34" y="8"/>
                      <a:pt x="34" y="8"/>
                    </a:cubicBezTo>
                    <a:cubicBezTo>
                      <a:pt x="34" y="8"/>
                      <a:pt x="34" y="8"/>
                      <a:pt x="34" y="8"/>
                    </a:cubicBezTo>
                    <a:cubicBezTo>
                      <a:pt x="33" y="8"/>
                      <a:pt x="33" y="7"/>
                      <a:pt x="33" y="7"/>
                    </a:cubicBezTo>
                    <a:cubicBezTo>
                      <a:pt x="34" y="7"/>
                      <a:pt x="35" y="8"/>
                      <a:pt x="35" y="8"/>
                    </a:cubicBezTo>
                    <a:cubicBezTo>
                      <a:pt x="35" y="8"/>
                      <a:pt x="35" y="9"/>
                      <a:pt x="36" y="9"/>
                    </a:cubicBezTo>
                    <a:cubicBezTo>
                      <a:pt x="37" y="8"/>
                      <a:pt x="37" y="7"/>
                      <a:pt x="36" y="6"/>
                    </a:cubicBezTo>
                    <a:cubicBezTo>
                      <a:pt x="36" y="6"/>
                      <a:pt x="36" y="6"/>
                      <a:pt x="36" y="6"/>
                    </a:cubicBezTo>
                    <a:cubicBezTo>
                      <a:pt x="36" y="6"/>
                      <a:pt x="35" y="6"/>
                      <a:pt x="35" y="6"/>
                    </a:cubicBezTo>
                    <a:cubicBezTo>
                      <a:pt x="35" y="6"/>
                      <a:pt x="34" y="6"/>
                      <a:pt x="33" y="7"/>
                    </a:cubicBezTo>
                    <a:cubicBezTo>
                      <a:pt x="33" y="7"/>
                      <a:pt x="32" y="7"/>
                      <a:pt x="32" y="6"/>
                    </a:cubicBezTo>
                    <a:cubicBezTo>
                      <a:pt x="32" y="6"/>
                      <a:pt x="33" y="4"/>
                      <a:pt x="32" y="5"/>
                    </a:cubicBezTo>
                    <a:cubicBezTo>
                      <a:pt x="32" y="5"/>
                      <a:pt x="32" y="4"/>
                      <a:pt x="32" y="4"/>
                    </a:cubicBezTo>
                    <a:cubicBezTo>
                      <a:pt x="32" y="3"/>
                      <a:pt x="32" y="3"/>
                      <a:pt x="33" y="2"/>
                    </a:cubicBezTo>
                    <a:cubicBezTo>
                      <a:pt x="33" y="2"/>
                      <a:pt x="33" y="1"/>
                      <a:pt x="34" y="1"/>
                    </a:cubicBezTo>
                    <a:cubicBezTo>
                      <a:pt x="34" y="1"/>
                      <a:pt x="34" y="0"/>
                      <a:pt x="35" y="0"/>
                    </a:cubicBezTo>
                    <a:cubicBezTo>
                      <a:pt x="37" y="1"/>
                      <a:pt x="36" y="3"/>
                      <a:pt x="37" y="4"/>
                    </a:cubicBezTo>
                    <a:cubicBezTo>
                      <a:pt x="37" y="5"/>
                      <a:pt x="37" y="7"/>
                      <a:pt x="38" y="8"/>
                    </a:cubicBezTo>
                    <a:cubicBezTo>
                      <a:pt x="38" y="8"/>
                      <a:pt x="38" y="8"/>
                      <a:pt x="39" y="8"/>
                    </a:cubicBezTo>
                    <a:cubicBezTo>
                      <a:pt x="39" y="8"/>
                      <a:pt x="40" y="8"/>
                      <a:pt x="40" y="8"/>
                    </a:cubicBezTo>
                    <a:cubicBezTo>
                      <a:pt x="41" y="8"/>
                      <a:pt x="41" y="8"/>
                      <a:pt x="42" y="8"/>
                    </a:cubicBezTo>
                    <a:cubicBezTo>
                      <a:pt x="43" y="8"/>
                      <a:pt x="43" y="8"/>
                      <a:pt x="44" y="8"/>
                    </a:cubicBezTo>
                    <a:cubicBezTo>
                      <a:pt x="44" y="9"/>
                      <a:pt x="45" y="8"/>
                      <a:pt x="46" y="9"/>
                    </a:cubicBezTo>
                    <a:cubicBezTo>
                      <a:pt x="46" y="9"/>
                      <a:pt x="46" y="9"/>
                      <a:pt x="47" y="9"/>
                    </a:cubicBezTo>
                    <a:cubicBezTo>
                      <a:pt x="47" y="10"/>
                      <a:pt x="48" y="10"/>
                      <a:pt x="48" y="10"/>
                    </a:cubicBezTo>
                    <a:cubicBezTo>
                      <a:pt x="49" y="11"/>
                      <a:pt x="49" y="11"/>
                      <a:pt x="49" y="11"/>
                    </a:cubicBezTo>
                    <a:cubicBezTo>
                      <a:pt x="49" y="11"/>
                      <a:pt x="50" y="11"/>
                      <a:pt x="50" y="11"/>
                    </a:cubicBezTo>
                    <a:cubicBezTo>
                      <a:pt x="50" y="11"/>
                      <a:pt x="50" y="12"/>
                      <a:pt x="50" y="12"/>
                    </a:cubicBezTo>
                    <a:cubicBezTo>
                      <a:pt x="50" y="13"/>
                      <a:pt x="51" y="14"/>
                      <a:pt x="51" y="14"/>
                    </a:cubicBezTo>
                    <a:cubicBezTo>
                      <a:pt x="50" y="14"/>
                      <a:pt x="50" y="14"/>
                      <a:pt x="50" y="14"/>
                    </a:cubicBezTo>
                    <a:cubicBezTo>
                      <a:pt x="50" y="14"/>
                      <a:pt x="52" y="15"/>
                      <a:pt x="51" y="15"/>
                    </a:cubicBezTo>
                    <a:cubicBezTo>
                      <a:pt x="50" y="15"/>
                      <a:pt x="50" y="17"/>
                      <a:pt x="51" y="18"/>
                    </a:cubicBezTo>
                    <a:cubicBezTo>
                      <a:pt x="51" y="19"/>
                      <a:pt x="52" y="19"/>
                      <a:pt x="53" y="19"/>
                    </a:cubicBezTo>
                    <a:cubicBezTo>
                      <a:pt x="53" y="19"/>
                      <a:pt x="54" y="19"/>
                      <a:pt x="54" y="19"/>
                    </a:cubicBezTo>
                    <a:cubicBezTo>
                      <a:pt x="55" y="19"/>
                      <a:pt x="56" y="19"/>
                      <a:pt x="56" y="19"/>
                    </a:cubicBezTo>
                    <a:cubicBezTo>
                      <a:pt x="57" y="19"/>
                      <a:pt x="58" y="19"/>
                      <a:pt x="59" y="18"/>
                    </a:cubicBezTo>
                    <a:cubicBezTo>
                      <a:pt x="60" y="18"/>
                      <a:pt x="61" y="18"/>
                      <a:pt x="62" y="18"/>
                    </a:cubicBezTo>
                    <a:cubicBezTo>
                      <a:pt x="63" y="18"/>
                      <a:pt x="65" y="18"/>
                      <a:pt x="66" y="18"/>
                    </a:cubicBezTo>
                    <a:cubicBezTo>
                      <a:pt x="66" y="18"/>
                      <a:pt x="67" y="17"/>
                      <a:pt x="68" y="17"/>
                    </a:cubicBezTo>
                    <a:cubicBezTo>
                      <a:pt x="68" y="18"/>
                      <a:pt x="69" y="18"/>
                      <a:pt x="69" y="18"/>
                    </a:cubicBezTo>
                    <a:cubicBezTo>
                      <a:pt x="70" y="17"/>
                      <a:pt x="70" y="17"/>
                      <a:pt x="71" y="17"/>
                    </a:cubicBezTo>
                    <a:cubicBezTo>
                      <a:pt x="71" y="18"/>
                      <a:pt x="72" y="18"/>
                      <a:pt x="72" y="18"/>
                    </a:cubicBezTo>
                    <a:cubicBezTo>
                      <a:pt x="72" y="18"/>
                      <a:pt x="71" y="18"/>
                      <a:pt x="71" y="18"/>
                    </a:cubicBezTo>
                    <a:cubicBezTo>
                      <a:pt x="71" y="19"/>
                      <a:pt x="71" y="19"/>
                      <a:pt x="72" y="19"/>
                    </a:cubicBezTo>
                    <a:cubicBezTo>
                      <a:pt x="72" y="20"/>
                      <a:pt x="73" y="20"/>
                      <a:pt x="73" y="21"/>
                    </a:cubicBezTo>
                    <a:cubicBezTo>
                      <a:pt x="73" y="21"/>
                      <a:pt x="73" y="21"/>
                      <a:pt x="73" y="21"/>
                    </a:cubicBezTo>
                    <a:cubicBezTo>
                      <a:pt x="74" y="22"/>
                      <a:pt x="74" y="22"/>
                      <a:pt x="75" y="22"/>
                    </a:cubicBezTo>
                    <a:cubicBezTo>
                      <a:pt x="75" y="22"/>
                      <a:pt x="74" y="21"/>
                      <a:pt x="74" y="21"/>
                    </a:cubicBezTo>
                    <a:cubicBezTo>
                      <a:pt x="75" y="21"/>
                      <a:pt x="76" y="22"/>
                      <a:pt x="77" y="23"/>
                    </a:cubicBezTo>
                    <a:cubicBezTo>
                      <a:pt x="78" y="23"/>
                      <a:pt x="80" y="23"/>
                      <a:pt x="81" y="24"/>
                    </a:cubicBezTo>
                    <a:cubicBezTo>
                      <a:pt x="81" y="24"/>
                      <a:pt x="80" y="24"/>
                      <a:pt x="80" y="24"/>
                    </a:cubicBezTo>
                    <a:cubicBezTo>
                      <a:pt x="81" y="24"/>
                      <a:pt x="82" y="23"/>
                      <a:pt x="83" y="23"/>
                    </a:cubicBezTo>
                    <a:cubicBezTo>
                      <a:pt x="84" y="23"/>
                      <a:pt x="84" y="23"/>
                      <a:pt x="84" y="23"/>
                    </a:cubicBezTo>
                    <a:cubicBezTo>
                      <a:pt x="85" y="22"/>
                      <a:pt x="84" y="22"/>
                      <a:pt x="85" y="22"/>
                    </a:cubicBezTo>
                    <a:cubicBezTo>
                      <a:pt x="85" y="22"/>
                      <a:pt x="86" y="22"/>
                      <a:pt x="86" y="22"/>
                    </a:cubicBezTo>
                    <a:cubicBezTo>
                      <a:pt x="86" y="21"/>
                      <a:pt x="86" y="22"/>
                      <a:pt x="87" y="22"/>
                    </a:cubicBezTo>
                    <a:cubicBezTo>
                      <a:pt x="87" y="22"/>
                      <a:pt x="88" y="22"/>
                      <a:pt x="88" y="21"/>
                    </a:cubicBezTo>
                    <a:cubicBezTo>
                      <a:pt x="88" y="21"/>
                      <a:pt x="87" y="21"/>
                      <a:pt x="87" y="21"/>
                    </a:cubicBezTo>
                    <a:cubicBezTo>
                      <a:pt x="87" y="21"/>
                      <a:pt x="88" y="21"/>
                      <a:pt x="88" y="20"/>
                    </a:cubicBezTo>
                    <a:cubicBezTo>
                      <a:pt x="88" y="20"/>
                      <a:pt x="88" y="21"/>
                      <a:pt x="88" y="21"/>
                    </a:cubicBezTo>
                    <a:cubicBezTo>
                      <a:pt x="88" y="21"/>
                      <a:pt x="89" y="20"/>
                      <a:pt x="89" y="20"/>
                    </a:cubicBezTo>
                    <a:cubicBezTo>
                      <a:pt x="90" y="20"/>
                      <a:pt x="89" y="20"/>
                      <a:pt x="90" y="19"/>
                    </a:cubicBezTo>
                    <a:cubicBezTo>
                      <a:pt x="90" y="19"/>
                      <a:pt x="90" y="19"/>
                      <a:pt x="91" y="19"/>
                    </a:cubicBezTo>
                    <a:cubicBezTo>
                      <a:pt x="92" y="20"/>
                      <a:pt x="94" y="20"/>
                      <a:pt x="95" y="19"/>
                    </a:cubicBezTo>
                    <a:cubicBezTo>
                      <a:pt x="94" y="19"/>
                      <a:pt x="94" y="18"/>
                      <a:pt x="93" y="18"/>
                    </a:cubicBezTo>
                    <a:cubicBezTo>
                      <a:pt x="92" y="18"/>
                      <a:pt x="92" y="18"/>
                      <a:pt x="91" y="18"/>
                    </a:cubicBezTo>
                    <a:cubicBezTo>
                      <a:pt x="90" y="18"/>
                      <a:pt x="89" y="19"/>
                      <a:pt x="89" y="19"/>
                    </a:cubicBezTo>
                    <a:cubicBezTo>
                      <a:pt x="89" y="18"/>
                      <a:pt x="89" y="18"/>
                      <a:pt x="89" y="17"/>
                    </a:cubicBezTo>
                    <a:cubicBezTo>
                      <a:pt x="89" y="17"/>
                      <a:pt x="90" y="18"/>
                      <a:pt x="90" y="18"/>
                    </a:cubicBezTo>
                    <a:cubicBezTo>
                      <a:pt x="91" y="18"/>
                      <a:pt x="91" y="17"/>
                      <a:pt x="91" y="17"/>
                    </a:cubicBezTo>
                    <a:cubicBezTo>
                      <a:pt x="91" y="17"/>
                      <a:pt x="92" y="17"/>
                      <a:pt x="92" y="17"/>
                    </a:cubicBezTo>
                    <a:cubicBezTo>
                      <a:pt x="92" y="17"/>
                      <a:pt x="93" y="17"/>
                      <a:pt x="94" y="17"/>
                    </a:cubicBezTo>
                    <a:cubicBezTo>
                      <a:pt x="94" y="16"/>
                      <a:pt x="94" y="17"/>
                      <a:pt x="94" y="17"/>
                    </a:cubicBezTo>
                    <a:cubicBezTo>
                      <a:pt x="95" y="18"/>
                      <a:pt x="96" y="18"/>
                      <a:pt x="97" y="17"/>
                    </a:cubicBezTo>
                    <a:cubicBezTo>
                      <a:pt x="98" y="17"/>
                      <a:pt x="99" y="17"/>
                      <a:pt x="100" y="16"/>
                    </a:cubicBezTo>
                    <a:cubicBezTo>
                      <a:pt x="100" y="16"/>
                      <a:pt x="102" y="17"/>
                      <a:pt x="102" y="17"/>
                    </a:cubicBezTo>
                    <a:cubicBezTo>
                      <a:pt x="103" y="17"/>
                      <a:pt x="103" y="16"/>
                      <a:pt x="104" y="16"/>
                    </a:cubicBezTo>
                    <a:cubicBezTo>
                      <a:pt x="104" y="16"/>
                      <a:pt x="105" y="16"/>
                      <a:pt x="105" y="16"/>
                    </a:cubicBezTo>
                    <a:cubicBezTo>
                      <a:pt x="107" y="16"/>
                      <a:pt x="108" y="17"/>
                      <a:pt x="109" y="17"/>
                    </a:cubicBezTo>
                    <a:cubicBezTo>
                      <a:pt x="110" y="17"/>
                      <a:pt x="112" y="16"/>
                      <a:pt x="113" y="16"/>
                    </a:cubicBezTo>
                    <a:cubicBezTo>
                      <a:pt x="112" y="16"/>
                      <a:pt x="112" y="17"/>
                      <a:pt x="112" y="17"/>
                    </a:cubicBezTo>
                    <a:cubicBezTo>
                      <a:pt x="111" y="17"/>
                      <a:pt x="111" y="17"/>
                      <a:pt x="110" y="17"/>
                    </a:cubicBezTo>
                    <a:cubicBezTo>
                      <a:pt x="110" y="17"/>
                      <a:pt x="109" y="17"/>
                      <a:pt x="109" y="18"/>
                    </a:cubicBezTo>
                    <a:cubicBezTo>
                      <a:pt x="108" y="18"/>
                      <a:pt x="108" y="18"/>
                      <a:pt x="108" y="19"/>
                    </a:cubicBezTo>
                    <a:cubicBezTo>
                      <a:pt x="107" y="19"/>
                      <a:pt x="105" y="18"/>
                      <a:pt x="104" y="18"/>
                    </a:cubicBezTo>
                    <a:cubicBezTo>
                      <a:pt x="104" y="18"/>
                      <a:pt x="101" y="19"/>
                      <a:pt x="101" y="19"/>
                    </a:cubicBezTo>
                    <a:cubicBezTo>
                      <a:pt x="102" y="19"/>
                      <a:pt x="103" y="18"/>
                      <a:pt x="103" y="20"/>
                    </a:cubicBezTo>
                    <a:cubicBezTo>
                      <a:pt x="103" y="21"/>
                      <a:pt x="102" y="19"/>
                      <a:pt x="101" y="20"/>
                    </a:cubicBezTo>
                    <a:cubicBezTo>
                      <a:pt x="102" y="20"/>
                      <a:pt x="101" y="21"/>
                      <a:pt x="101" y="21"/>
                    </a:cubicBezTo>
                    <a:cubicBezTo>
                      <a:pt x="102" y="21"/>
                      <a:pt x="101" y="20"/>
                      <a:pt x="102" y="20"/>
                    </a:cubicBezTo>
                    <a:cubicBezTo>
                      <a:pt x="102" y="20"/>
                      <a:pt x="102" y="20"/>
                      <a:pt x="103" y="20"/>
                    </a:cubicBezTo>
                    <a:cubicBezTo>
                      <a:pt x="104" y="20"/>
                      <a:pt x="104" y="21"/>
                      <a:pt x="104" y="21"/>
                    </a:cubicBezTo>
                    <a:cubicBezTo>
                      <a:pt x="105" y="22"/>
                      <a:pt x="105" y="24"/>
                      <a:pt x="104" y="23"/>
                    </a:cubicBezTo>
                    <a:cubicBezTo>
                      <a:pt x="103" y="23"/>
                      <a:pt x="103" y="24"/>
                      <a:pt x="103" y="24"/>
                    </a:cubicBezTo>
                    <a:cubicBezTo>
                      <a:pt x="103" y="24"/>
                      <a:pt x="102" y="24"/>
                      <a:pt x="102" y="24"/>
                    </a:cubicBezTo>
                    <a:cubicBezTo>
                      <a:pt x="102" y="24"/>
                      <a:pt x="102" y="23"/>
                      <a:pt x="102" y="23"/>
                    </a:cubicBezTo>
                    <a:cubicBezTo>
                      <a:pt x="102" y="23"/>
                      <a:pt x="101" y="23"/>
                      <a:pt x="101" y="23"/>
                    </a:cubicBezTo>
                    <a:cubicBezTo>
                      <a:pt x="101" y="24"/>
                      <a:pt x="101" y="24"/>
                      <a:pt x="101" y="23"/>
                    </a:cubicBezTo>
                    <a:cubicBezTo>
                      <a:pt x="102" y="23"/>
                      <a:pt x="102" y="24"/>
                      <a:pt x="102" y="24"/>
                    </a:cubicBezTo>
                    <a:cubicBezTo>
                      <a:pt x="102" y="24"/>
                      <a:pt x="102" y="24"/>
                      <a:pt x="102" y="24"/>
                    </a:cubicBezTo>
                    <a:cubicBezTo>
                      <a:pt x="102" y="24"/>
                      <a:pt x="102" y="24"/>
                      <a:pt x="102" y="24"/>
                    </a:cubicBezTo>
                    <a:cubicBezTo>
                      <a:pt x="103" y="24"/>
                      <a:pt x="103" y="24"/>
                      <a:pt x="103" y="24"/>
                    </a:cubicBezTo>
                    <a:cubicBezTo>
                      <a:pt x="103" y="24"/>
                      <a:pt x="103" y="24"/>
                      <a:pt x="104" y="24"/>
                    </a:cubicBezTo>
                    <a:cubicBezTo>
                      <a:pt x="104" y="24"/>
                      <a:pt x="105" y="24"/>
                      <a:pt x="105" y="23"/>
                    </a:cubicBezTo>
                    <a:cubicBezTo>
                      <a:pt x="105" y="23"/>
                      <a:pt x="105" y="22"/>
                      <a:pt x="105" y="22"/>
                    </a:cubicBezTo>
                    <a:cubicBezTo>
                      <a:pt x="106" y="22"/>
                      <a:pt x="106" y="23"/>
                      <a:pt x="106" y="24"/>
                    </a:cubicBezTo>
                    <a:cubicBezTo>
                      <a:pt x="107" y="24"/>
                      <a:pt x="106" y="25"/>
                      <a:pt x="107" y="25"/>
                    </a:cubicBezTo>
                    <a:cubicBezTo>
                      <a:pt x="107" y="26"/>
                      <a:pt x="107" y="27"/>
                      <a:pt x="107" y="27"/>
                    </a:cubicBezTo>
                    <a:cubicBezTo>
                      <a:pt x="107" y="28"/>
                      <a:pt x="108" y="27"/>
                      <a:pt x="108" y="27"/>
                    </a:cubicBezTo>
                    <a:cubicBezTo>
                      <a:pt x="108" y="26"/>
                      <a:pt x="108" y="25"/>
                      <a:pt x="108" y="25"/>
                    </a:cubicBezTo>
                    <a:cubicBezTo>
                      <a:pt x="109" y="26"/>
                      <a:pt x="109" y="27"/>
                      <a:pt x="109" y="28"/>
                    </a:cubicBezTo>
                    <a:cubicBezTo>
                      <a:pt x="109" y="28"/>
                      <a:pt x="109" y="27"/>
                      <a:pt x="109" y="26"/>
                    </a:cubicBezTo>
                    <a:cubicBezTo>
                      <a:pt x="109" y="24"/>
                      <a:pt x="110" y="26"/>
                      <a:pt x="110" y="26"/>
                    </a:cubicBezTo>
                    <a:cubicBezTo>
                      <a:pt x="110" y="26"/>
                      <a:pt x="109" y="25"/>
                      <a:pt x="109" y="25"/>
                    </a:cubicBezTo>
                    <a:cubicBezTo>
                      <a:pt x="109" y="25"/>
                      <a:pt x="109" y="25"/>
                      <a:pt x="109" y="25"/>
                    </a:cubicBezTo>
                    <a:cubicBezTo>
                      <a:pt x="108" y="24"/>
                      <a:pt x="109" y="24"/>
                      <a:pt x="109" y="24"/>
                    </a:cubicBezTo>
                    <a:cubicBezTo>
                      <a:pt x="110" y="24"/>
                      <a:pt x="111" y="25"/>
                      <a:pt x="111" y="26"/>
                    </a:cubicBezTo>
                    <a:cubicBezTo>
                      <a:pt x="112" y="27"/>
                      <a:pt x="112" y="27"/>
                      <a:pt x="112" y="28"/>
                    </a:cubicBezTo>
                    <a:cubicBezTo>
                      <a:pt x="112" y="28"/>
                      <a:pt x="112" y="27"/>
                      <a:pt x="113" y="27"/>
                    </a:cubicBezTo>
                    <a:cubicBezTo>
                      <a:pt x="113" y="27"/>
                      <a:pt x="113" y="27"/>
                      <a:pt x="113" y="27"/>
                    </a:cubicBezTo>
                    <a:cubicBezTo>
                      <a:pt x="113" y="27"/>
                      <a:pt x="113" y="27"/>
                      <a:pt x="113" y="27"/>
                    </a:cubicBezTo>
                    <a:cubicBezTo>
                      <a:pt x="113" y="27"/>
                      <a:pt x="112" y="26"/>
                      <a:pt x="113" y="26"/>
                    </a:cubicBezTo>
                    <a:cubicBezTo>
                      <a:pt x="114" y="26"/>
                      <a:pt x="115" y="27"/>
                      <a:pt x="114" y="26"/>
                    </a:cubicBezTo>
                    <a:cubicBezTo>
                      <a:pt x="114" y="25"/>
                      <a:pt x="115" y="26"/>
                      <a:pt x="115" y="26"/>
                    </a:cubicBezTo>
                    <a:cubicBezTo>
                      <a:pt x="116" y="26"/>
                      <a:pt x="116" y="27"/>
                      <a:pt x="116" y="27"/>
                    </a:cubicBezTo>
                    <a:cubicBezTo>
                      <a:pt x="116" y="28"/>
                      <a:pt x="117" y="28"/>
                      <a:pt x="117" y="29"/>
                    </a:cubicBezTo>
                    <a:cubicBezTo>
                      <a:pt x="118" y="29"/>
                      <a:pt x="118" y="29"/>
                      <a:pt x="118" y="29"/>
                    </a:cubicBezTo>
                    <a:cubicBezTo>
                      <a:pt x="118" y="29"/>
                      <a:pt x="118" y="29"/>
                      <a:pt x="118" y="29"/>
                    </a:cubicBezTo>
                    <a:cubicBezTo>
                      <a:pt x="119" y="29"/>
                      <a:pt x="120" y="29"/>
                      <a:pt x="121" y="30"/>
                    </a:cubicBezTo>
                    <a:cubicBezTo>
                      <a:pt x="120" y="30"/>
                      <a:pt x="120" y="30"/>
                      <a:pt x="120" y="30"/>
                    </a:cubicBezTo>
                    <a:cubicBezTo>
                      <a:pt x="122" y="30"/>
                      <a:pt x="123" y="31"/>
                      <a:pt x="122" y="32"/>
                    </a:cubicBezTo>
                    <a:cubicBezTo>
                      <a:pt x="122" y="32"/>
                      <a:pt x="121" y="33"/>
                      <a:pt x="120" y="33"/>
                    </a:cubicBezTo>
                    <a:cubicBezTo>
                      <a:pt x="120" y="33"/>
                      <a:pt x="119" y="34"/>
                      <a:pt x="119" y="35"/>
                    </a:cubicBezTo>
                    <a:cubicBezTo>
                      <a:pt x="119" y="35"/>
                      <a:pt x="120" y="33"/>
                      <a:pt x="120" y="33"/>
                    </a:cubicBezTo>
                    <a:cubicBezTo>
                      <a:pt x="121" y="34"/>
                      <a:pt x="119" y="36"/>
                      <a:pt x="119" y="36"/>
                    </a:cubicBezTo>
                    <a:cubicBezTo>
                      <a:pt x="119" y="37"/>
                      <a:pt x="119" y="37"/>
                      <a:pt x="118" y="38"/>
                    </a:cubicBezTo>
                    <a:cubicBezTo>
                      <a:pt x="118" y="38"/>
                      <a:pt x="118" y="39"/>
                      <a:pt x="118" y="40"/>
                    </a:cubicBezTo>
                    <a:cubicBezTo>
                      <a:pt x="117" y="40"/>
                      <a:pt x="113" y="40"/>
                      <a:pt x="113" y="40"/>
                    </a:cubicBezTo>
                    <a:cubicBezTo>
                      <a:pt x="113" y="40"/>
                      <a:pt x="115" y="41"/>
                      <a:pt x="115" y="41"/>
                    </a:cubicBezTo>
                    <a:cubicBezTo>
                      <a:pt x="115" y="41"/>
                      <a:pt x="116" y="41"/>
                      <a:pt x="116" y="41"/>
                    </a:cubicBezTo>
                    <a:cubicBezTo>
                      <a:pt x="116" y="41"/>
                      <a:pt x="117" y="42"/>
                      <a:pt x="117" y="42"/>
                    </a:cubicBezTo>
                    <a:cubicBezTo>
                      <a:pt x="117" y="42"/>
                      <a:pt x="117" y="41"/>
                      <a:pt x="118" y="41"/>
                    </a:cubicBezTo>
                    <a:cubicBezTo>
                      <a:pt x="118" y="41"/>
                      <a:pt x="118" y="41"/>
                      <a:pt x="119" y="41"/>
                    </a:cubicBezTo>
                    <a:cubicBezTo>
                      <a:pt x="120" y="41"/>
                      <a:pt x="118" y="41"/>
                      <a:pt x="119" y="42"/>
                    </a:cubicBezTo>
                    <a:cubicBezTo>
                      <a:pt x="119" y="41"/>
                      <a:pt x="119" y="41"/>
                      <a:pt x="120" y="41"/>
                    </a:cubicBezTo>
                    <a:cubicBezTo>
                      <a:pt x="120" y="40"/>
                      <a:pt x="120" y="40"/>
                      <a:pt x="121" y="40"/>
                    </a:cubicBezTo>
                    <a:cubicBezTo>
                      <a:pt x="121" y="40"/>
                      <a:pt x="122" y="40"/>
                      <a:pt x="122" y="40"/>
                    </a:cubicBezTo>
                    <a:cubicBezTo>
                      <a:pt x="123" y="40"/>
                      <a:pt x="123" y="40"/>
                      <a:pt x="123" y="40"/>
                    </a:cubicBezTo>
                    <a:cubicBezTo>
                      <a:pt x="123" y="40"/>
                      <a:pt x="124" y="40"/>
                      <a:pt x="124" y="40"/>
                    </a:cubicBezTo>
                    <a:cubicBezTo>
                      <a:pt x="125" y="40"/>
                      <a:pt x="125" y="40"/>
                      <a:pt x="125" y="40"/>
                    </a:cubicBezTo>
                    <a:cubicBezTo>
                      <a:pt x="126" y="39"/>
                      <a:pt x="126" y="39"/>
                      <a:pt x="127" y="39"/>
                    </a:cubicBezTo>
                    <a:cubicBezTo>
                      <a:pt x="128" y="40"/>
                      <a:pt x="129" y="40"/>
                      <a:pt x="130" y="41"/>
                    </a:cubicBezTo>
                    <a:cubicBezTo>
                      <a:pt x="130" y="42"/>
                      <a:pt x="132" y="44"/>
                      <a:pt x="130" y="44"/>
                    </a:cubicBezTo>
                    <a:close/>
                    <a:moveTo>
                      <a:pt x="113" y="28"/>
                    </a:moveTo>
                    <a:cubicBezTo>
                      <a:pt x="113" y="28"/>
                      <a:pt x="113" y="28"/>
                      <a:pt x="113" y="29"/>
                    </a:cubicBezTo>
                    <a:cubicBezTo>
                      <a:pt x="113" y="28"/>
                      <a:pt x="113" y="28"/>
                      <a:pt x="113" y="28"/>
                    </a:cubicBezTo>
                    <a:close/>
                    <a:moveTo>
                      <a:pt x="68" y="5"/>
                    </a:moveTo>
                    <a:cubicBezTo>
                      <a:pt x="68" y="5"/>
                      <a:pt x="67" y="5"/>
                      <a:pt x="67" y="4"/>
                    </a:cubicBezTo>
                    <a:cubicBezTo>
                      <a:pt x="67" y="5"/>
                      <a:pt x="67" y="5"/>
                      <a:pt x="67" y="5"/>
                    </a:cubicBezTo>
                    <a:cubicBezTo>
                      <a:pt x="67" y="5"/>
                      <a:pt x="67" y="5"/>
                      <a:pt x="67" y="5"/>
                    </a:cubicBezTo>
                    <a:cubicBezTo>
                      <a:pt x="67" y="5"/>
                      <a:pt x="67" y="5"/>
                      <a:pt x="68" y="5"/>
                    </a:cubicBezTo>
                    <a:close/>
                    <a:moveTo>
                      <a:pt x="72" y="4"/>
                    </a:moveTo>
                    <a:cubicBezTo>
                      <a:pt x="72" y="4"/>
                      <a:pt x="72" y="4"/>
                      <a:pt x="71" y="4"/>
                    </a:cubicBezTo>
                    <a:cubicBezTo>
                      <a:pt x="72" y="5"/>
                      <a:pt x="72" y="5"/>
                      <a:pt x="72" y="5"/>
                    </a:cubicBezTo>
                    <a:cubicBezTo>
                      <a:pt x="72" y="5"/>
                      <a:pt x="72" y="4"/>
                      <a:pt x="72" y="4"/>
                    </a:cubicBezTo>
                    <a:close/>
                    <a:moveTo>
                      <a:pt x="80" y="15"/>
                    </a:moveTo>
                    <a:cubicBezTo>
                      <a:pt x="80" y="15"/>
                      <a:pt x="81" y="15"/>
                      <a:pt x="80" y="14"/>
                    </a:cubicBezTo>
                    <a:cubicBezTo>
                      <a:pt x="80" y="14"/>
                      <a:pt x="79" y="14"/>
                      <a:pt x="79" y="14"/>
                    </a:cubicBezTo>
                    <a:cubicBezTo>
                      <a:pt x="77" y="14"/>
                      <a:pt x="79" y="15"/>
                      <a:pt x="80" y="15"/>
                    </a:cubicBezTo>
                    <a:close/>
                    <a:moveTo>
                      <a:pt x="90" y="14"/>
                    </a:moveTo>
                    <a:cubicBezTo>
                      <a:pt x="90" y="14"/>
                      <a:pt x="92" y="14"/>
                      <a:pt x="91" y="15"/>
                    </a:cubicBezTo>
                    <a:cubicBezTo>
                      <a:pt x="92" y="15"/>
                      <a:pt x="92" y="15"/>
                      <a:pt x="93" y="15"/>
                    </a:cubicBezTo>
                    <a:cubicBezTo>
                      <a:pt x="93" y="15"/>
                      <a:pt x="93" y="14"/>
                      <a:pt x="93" y="14"/>
                    </a:cubicBezTo>
                    <a:cubicBezTo>
                      <a:pt x="93" y="14"/>
                      <a:pt x="94" y="14"/>
                      <a:pt x="94" y="14"/>
                    </a:cubicBezTo>
                    <a:cubicBezTo>
                      <a:pt x="94" y="14"/>
                      <a:pt x="94" y="13"/>
                      <a:pt x="94" y="13"/>
                    </a:cubicBezTo>
                    <a:cubicBezTo>
                      <a:pt x="94" y="12"/>
                      <a:pt x="94" y="11"/>
                      <a:pt x="93" y="12"/>
                    </a:cubicBezTo>
                    <a:cubicBezTo>
                      <a:pt x="92" y="12"/>
                      <a:pt x="92" y="13"/>
                      <a:pt x="92" y="13"/>
                    </a:cubicBezTo>
                    <a:cubicBezTo>
                      <a:pt x="92" y="13"/>
                      <a:pt x="91" y="14"/>
                      <a:pt x="91" y="13"/>
                    </a:cubicBezTo>
                    <a:cubicBezTo>
                      <a:pt x="90" y="13"/>
                      <a:pt x="90" y="12"/>
                      <a:pt x="90" y="12"/>
                    </a:cubicBezTo>
                    <a:cubicBezTo>
                      <a:pt x="89" y="13"/>
                      <a:pt x="88" y="13"/>
                      <a:pt x="88" y="13"/>
                    </a:cubicBezTo>
                    <a:cubicBezTo>
                      <a:pt x="88" y="14"/>
                      <a:pt x="89" y="14"/>
                      <a:pt x="90" y="14"/>
                    </a:cubicBezTo>
                    <a:close/>
                    <a:moveTo>
                      <a:pt x="117" y="40"/>
                    </a:moveTo>
                    <a:cubicBezTo>
                      <a:pt x="116" y="40"/>
                      <a:pt x="116" y="40"/>
                      <a:pt x="116" y="40"/>
                    </a:cubicBezTo>
                    <a:cubicBezTo>
                      <a:pt x="116" y="40"/>
                      <a:pt x="115" y="40"/>
                      <a:pt x="115" y="40"/>
                    </a:cubicBezTo>
                    <a:cubicBezTo>
                      <a:pt x="115" y="40"/>
                      <a:pt x="115" y="40"/>
                      <a:pt x="115" y="40"/>
                    </a:cubicBezTo>
                    <a:cubicBezTo>
                      <a:pt x="115" y="40"/>
                      <a:pt x="114" y="40"/>
                      <a:pt x="114" y="40"/>
                    </a:cubicBezTo>
                    <a:cubicBezTo>
                      <a:pt x="114" y="40"/>
                      <a:pt x="115" y="40"/>
                      <a:pt x="115" y="40"/>
                    </a:cubicBezTo>
                    <a:cubicBezTo>
                      <a:pt x="115" y="40"/>
                      <a:pt x="115" y="41"/>
                      <a:pt x="116" y="41"/>
                    </a:cubicBezTo>
                    <a:cubicBezTo>
                      <a:pt x="116" y="41"/>
                      <a:pt x="117" y="41"/>
                      <a:pt x="117" y="41"/>
                    </a:cubicBezTo>
                    <a:cubicBezTo>
                      <a:pt x="117" y="41"/>
                      <a:pt x="118" y="41"/>
                      <a:pt x="118" y="41"/>
                    </a:cubicBezTo>
                    <a:cubicBezTo>
                      <a:pt x="118" y="41"/>
                      <a:pt x="117" y="41"/>
                      <a:pt x="117" y="41"/>
                    </a:cubicBezTo>
                    <a:cubicBezTo>
                      <a:pt x="117" y="40"/>
                      <a:pt x="117" y="40"/>
                      <a:pt x="117" y="40"/>
                    </a:cubicBezTo>
                    <a:close/>
                    <a:moveTo>
                      <a:pt x="120" y="39"/>
                    </a:moveTo>
                    <a:cubicBezTo>
                      <a:pt x="120" y="39"/>
                      <a:pt x="121" y="39"/>
                      <a:pt x="121" y="38"/>
                    </a:cubicBezTo>
                    <a:cubicBezTo>
                      <a:pt x="121" y="38"/>
                      <a:pt x="120" y="39"/>
                      <a:pt x="120" y="39"/>
                    </a:cubicBezTo>
                    <a:close/>
                    <a:moveTo>
                      <a:pt x="121" y="38"/>
                    </a:moveTo>
                    <a:cubicBezTo>
                      <a:pt x="120" y="38"/>
                      <a:pt x="120" y="39"/>
                      <a:pt x="120" y="39"/>
                    </a:cubicBezTo>
                    <a:cubicBezTo>
                      <a:pt x="119" y="39"/>
                      <a:pt x="119" y="39"/>
                      <a:pt x="119" y="39"/>
                    </a:cubicBezTo>
                    <a:cubicBezTo>
                      <a:pt x="118" y="39"/>
                      <a:pt x="118" y="39"/>
                      <a:pt x="118" y="39"/>
                    </a:cubicBezTo>
                    <a:cubicBezTo>
                      <a:pt x="118" y="39"/>
                      <a:pt x="118" y="39"/>
                      <a:pt x="119" y="39"/>
                    </a:cubicBezTo>
                    <a:cubicBezTo>
                      <a:pt x="118" y="39"/>
                      <a:pt x="118" y="39"/>
                      <a:pt x="118" y="39"/>
                    </a:cubicBezTo>
                    <a:cubicBezTo>
                      <a:pt x="118" y="40"/>
                      <a:pt x="118" y="40"/>
                      <a:pt x="118" y="40"/>
                    </a:cubicBezTo>
                    <a:cubicBezTo>
                      <a:pt x="118" y="40"/>
                      <a:pt x="118" y="40"/>
                      <a:pt x="119" y="40"/>
                    </a:cubicBezTo>
                    <a:cubicBezTo>
                      <a:pt x="119" y="40"/>
                      <a:pt x="120" y="40"/>
                      <a:pt x="120" y="39"/>
                    </a:cubicBezTo>
                    <a:cubicBezTo>
                      <a:pt x="120" y="39"/>
                      <a:pt x="119" y="39"/>
                      <a:pt x="119" y="39"/>
                    </a:cubicBezTo>
                    <a:cubicBezTo>
                      <a:pt x="119" y="39"/>
                      <a:pt x="119" y="39"/>
                      <a:pt x="119" y="39"/>
                    </a:cubicBezTo>
                    <a:cubicBezTo>
                      <a:pt x="120" y="39"/>
                      <a:pt x="120" y="39"/>
                      <a:pt x="121" y="38"/>
                    </a:cubicBezTo>
                    <a:close/>
                    <a:moveTo>
                      <a:pt x="119" y="38"/>
                    </a:moveTo>
                    <a:cubicBezTo>
                      <a:pt x="119" y="38"/>
                      <a:pt x="118" y="38"/>
                      <a:pt x="118" y="39"/>
                    </a:cubicBezTo>
                    <a:cubicBezTo>
                      <a:pt x="118" y="39"/>
                      <a:pt x="119" y="38"/>
                      <a:pt x="119" y="38"/>
                    </a:cubicBezTo>
                    <a:cubicBezTo>
                      <a:pt x="120" y="38"/>
                      <a:pt x="120" y="39"/>
                      <a:pt x="120" y="38"/>
                    </a:cubicBezTo>
                    <a:cubicBezTo>
                      <a:pt x="121" y="38"/>
                      <a:pt x="121" y="37"/>
                      <a:pt x="121" y="37"/>
                    </a:cubicBezTo>
                    <a:cubicBezTo>
                      <a:pt x="121" y="37"/>
                      <a:pt x="120" y="37"/>
                      <a:pt x="120" y="37"/>
                    </a:cubicBezTo>
                    <a:cubicBezTo>
                      <a:pt x="120" y="37"/>
                      <a:pt x="119" y="37"/>
                      <a:pt x="119" y="38"/>
                    </a:cubicBezTo>
                    <a:close/>
                    <a:moveTo>
                      <a:pt x="121" y="38"/>
                    </a:moveTo>
                    <a:cubicBezTo>
                      <a:pt x="121" y="38"/>
                      <a:pt x="122" y="38"/>
                      <a:pt x="122" y="37"/>
                    </a:cubicBezTo>
                    <a:cubicBezTo>
                      <a:pt x="121" y="37"/>
                      <a:pt x="121" y="38"/>
                      <a:pt x="121" y="38"/>
                    </a:cubicBezTo>
                    <a:close/>
                    <a:moveTo>
                      <a:pt x="122" y="38"/>
                    </a:moveTo>
                    <a:cubicBezTo>
                      <a:pt x="122" y="38"/>
                      <a:pt x="122" y="38"/>
                      <a:pt x="122" y="38"/>
                    </a:cubicBezTo>
                    <a:cubicBezTo>
                      <a:pt x="122" y="38"/>
                      <a:pt x="122" y="38"/>
                      <a:pt x="122" y="38"/>
                    </a:cubicBezTo>
                    <a:close/>
                    <a:moveTo>
                      <a:pt x="121" y="35"/>
                    </a:moveTo>
                    <a:cubicBezTo>
                      <a:pt x="122" y="34"/>
                      <a:pt x="121" y="35"/>
                      <a:pt x="122" y="35"/>
                    </a:cubicBezTo>
                    <a:cubicBezTo>
                      <a:pt x="122" y="35"/>
                      <a:pt x="121" y="34"/>
                      <a:pt x="121" y="35"/>
                    </a:cubicBezTo>
                    <a:close/>
                    <a:moveTo>
                      <a:pt x="123" y="39"/>
                    </a:moveTo>
                    <a:cubicBezTo>
                      <a:pt x="123" y="39"/>
                      <a:pt x="123" y="39"/>
                      <a:pt x="123" y="39"/>
                    </a:cubicBezTo>
                    <a:cubicBezTo>
                      <a:pt x="123" y="40"/>
                      <a:pt x="123" y="39"/>
                      <a:pt x="123" y="39"/>
                    </a:cubicBezTo>
                    <a:close/>
                    <a:moveTo>
                      <a:pt x="122" y="39"/>
                    </a:moveTo>
                    <a:cubicBezTo>
                      <a:pt x="122" y="39"/>
                      <a:pt x="122" y="39"/>
                      <a:pt x="123" y="39"/>
                    </a:cubicBezTo>
                    <a:cubicBezTo>
                      <a:pt x="123" y="39"/>
                      <a:pt x="123" y="38"/>
                      <a:pt x="123" y="38"/>
                    </a:cubicBezTo>
                    <a:cubicBezTo>
                      <a:pt x="123" y="38"/>
                      <a:pt x="123" y="38"/>
                      <a:pt x="123" y="38"/>
                    </a:cubicBezTo>
                    <a:cubicBezTo>
                      <a:pt x="123" y="38"/>
                      <a:pt x="122" y="38"/>
                      <a:pt x="122" y="38"/>
                    </a:cubicBezTo>
                    <a:cubicBezTo>
                      <a:pt x="122" y="39"/>
                      <a:pt x="122" y="39"/>
                      <a:pt x="122" y="39"/>
                    </a:cubicBezTo>
                    <a:close/>
                    <a:moveTo>
                      <a:pt x="121" y="40"/>
                    </a:moveTo>
                    <a:cubicBezTo>
                      <a:pt x="121" y="40"/>
                      <a:pt x="121" y="40"/>
                      <a:pt x="121" y="39"/>
                    </a:cubicBezTo>
                    <a:cubicBezTo>
                      <a:pt x="121" y="39"/>
                      <a:pt x="121" y="39"/>
                      <a:pt x="121" y="39"/>
                    </a:cubicBezTo>
                    <a:cubicBezTo>
                      <a:pt x="121" y="39"/>
                      <a:pt x="120" y="40"/>
                      <a:pt x="121" y="40"/>
                    </a:cubicBezTo>
                    <a:close/>
                    <a:moveTo>
                      <a:pt x="122" y="35"/>
                    </a:moveTo>
                    <a:cubicBezTo>
                      <a:pt x="122" y="35"/>
                      <a:pt x="122" y="35"/>
                      <a:pt x="121" y="35"/>
                    </a:cubicBezTo>
                    <a:cubicBezTo>
                      <a:pt x="122" y="35"/>
                      <a:pt x="122" y="35"/>
                      <a:pt x="122" y="35"/>
                    </a:cubicBezTo>
                    <a:cubicBezTo>
                      <a:pt x="122" y="35"/>
                      <a:pt x="122" y="35"/>
                      <a:pt x="122" y="35"/>
                    </a:cubicBezTo>
                    <a:close/>
                    <a:moveTo>
                      <a:pt x="123" y="39"/>
                    </a:moveTo>
                    <a:cubicBezTo>
                      <a:pt x="123" y="39"/>
                      <a:pt x="122" y="39"/>
                      <a:pt x="122" y="39"/>
                    </a:cubicBezTo>
                    <a:cubicBezTo>
                      <a:pt x="122" y="40"/>
                      <a:pt x="123" y="40"/>
                      <a:pt x="123" y="39"/>
                    </a:cubicBezTo>
                    <a:close/>
                    <a:moveTo>
                      <a:pt x="122" y="39"/>
                    </a:moveTo>
                    <a:cubicBezTo>
                      <a:pt x="121" y="38"/>
                      <a:pt x="120" y="39"/>
                      <a:pt x="120" y="39"/>
                    </a:cubicBezTo>
                    <a:cubicBezTo>
                      <a:pt x="120" y="40"/>
                      <a:pt x="120" y="40"/>
                      <a:pt x="120" y="40"/>
                    </a:cubicBezTo>
                    <a:cubicBezTo>
                      <a:pt x="121" y="39"/>
                      <a:pt x="122" y="39"/>
                      <a:pt x="122" y="39"/>
                    </a:cubicBezTo>
                    <a:close/>
                    <a:moveTo>
                      <a:pt x="123" y="37"/>
                    </a:moveTo>
                    <a:cubicBezTo>
                      <a:pt x="123" y="37"/>
                      <a:pt x="122" y="37"/>
                      <a:pt x="122" y="38"/>
                    </a:cubicBezTo>
                    <a:cubicBezTo>
                      <a:pt x="122" y="38"/>
                      <a:pt x="122" y="38"/>
                      <a:pt x="122" y="38"/>
                    </a:cubicBezTo>
                    <a:cubicBezTo>
                      <a:pt x="123" y="38"/>
                      <a:pt x="123" y="38"/>
                      <a:pt x="123" y="37"/>
                    </a:cubicBezTo>
                    <a:close/>
                    <a:moveTo>
                      <a:pt x="123" y="34"/>
                    </a:moveTo>
                    <a:cubicBezTo>
                      <a:pt x="123" y="34"/>
                      <a:pt x="122" y="34"/>
                      <a:pt x="123" y="35"/>
                    </a:cubicBezTo>
                    <a:cubicBezTo>
                      <a:pt x="123" y="35"/>
                      <a:pt x="123" y="34"/>
                      <a:pt x="123" y="34"/>
                    </a:cubicBezTo>
                    <a:close/>
                    <a:moveTo>
                      <a:pt x="122" y="34"/>
                    </a:moveTo>
                    <a:cubicBezTo>
                      <a:pt x="122" y="34"/>
                      <a:pt x="122" y="33"/>
                      <a:pt x="122" y="34"/>
                    </a:cubicBezTo>
                    <a:cubicBezTo>
                      <a:pt x="122" y="34"/>
                      <a:pt x="122" y="34"/>
                      <a:pt x="122" y="34"/>
                    </a:cubicBezTo>
                    <a:close/>
                    <a:moveTo>
                      <a:pt x="124" y="37"/>
                    </a:moveTo>
                    <a:cubicBezTo>
                      <a:pt x="123" y="37"/>
                      <a:pt x="124" y="37"/>
                      <a:pt x="124" y="37"/>
                    </a:cubicBezTo>
                    <a:cubicBezTo>
                      <a:pt x="124" y="37"/>
                      <a:pt x="124" y="37"/>
                      <a:pt x="124" y="37"/>
                    </a:cubicBezTo>
                    <a:close/>
                    <a:moveTo>
                      <a:pt x="122" y="36"/>
                    </a:moveTo>
                    <a:cubicBezTo>
                      <a:pt x="123" y="36"/>
                      <a:pt x="121" y="35"/>
                      <a:pt x="122" y="36"/>
                    </a:cubicBezTo>
                    <a:close/>
                    <a:moveTo>
                      <a:pt x="122" y="37"/>
                    </a:moveTo>
                    <a:cubicBezTo>
                      <a:pt x="122" y="37"/>
                      <a:pt x="122" y="37"/>
                      <a:pt x="122" y="37"/>
                    </a:cubicBezTo>
                    <a:cubicBezTo>
                      <a:pt x="122" y="37"/>
                      <a:pt x="121" y="37"/>
                      <a:pt x="122" y="3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0" name="Vanuata">
                <a:extLst>
                  <a:ext uri="{FF2B5EF4-FFF2-40B4-BE49-F238E27FC236}">
                    <a16:creationId xmlns:a16="http://schemas.microsoft.com/office/drawing/2014/main" id="{EBA53608-46EE-B7BD-DA69-F52BD055964D}"/>
                  </a:ext>
                </a:extLst>
              </p:cNvPr>
              <p:cNvSpPr>
                <a:spLocks noEditPoints="1"/>
              </p:cNvSpPr>
              <p:nvPr/>
            </p:nvSpPr>
            <p:spPr bwMode="auto">
              <a:xfrm>
                <a:off x="11365952" y="4555015"/>
                <a:ext cx="70572" cy="279348"/>
              </a:xfrm>
              <a:custGeom>
                <a:avLst/>
                <a:gdLst/>
                <a:ahLst/>
                <a:cxnLst>
                  <a:cxn ang="0">
                    <a:pos x="10" y="5"/>
                  </a:cxn>
                  <a:cxn ang="0">
                    <a:pos x="10" y="5"/>
                  </a:cxn>
                  <a:cxn ang="0">
                    <a:pos x="14" y="6"/>
                  </a:cxn>
                  <a:cxn ang="0">
                    <a:pos x="11" y="12"/>
                  </a:cxn>
                  <a:cxn ang="0">
                    <a:pos x="5" y="28"/>
                  </a:cxn>
                  <a:cxn ang="0">
                    <a:pos x="5" y="29"/>
                  </a:cxn>
                  <a:cxn ang="0">
                    <a:pos x="16" y="69"/>
                  </a:cxn>
                  <a:cxn ang="0">
                    <a:pos x="17" y="72"/>
                  </a:cxn>
                  <a:cxn ang="0">
                    <a:pos x="17" y="70"/>
                  </a:cxn>
                  <a:cxn ang="0">
                    <a:pos x="13" y="41"/>
                  </a:cxn>
                  <a:cxn ang="0">
                    <a:pos x="13" y="41"/>
                  </a:cxn>
                  <a:cxn ang="0">
                    <a:pos x="12" y="40"/>
                  </a:cxn>
                  <a:cxn ang="0">
                    <a:pos x="12" y="41"/>
                  </a:cxn>
                  <a:cxn ang="0">
                    <a:pos x="5" y="27"/>
                  </a:cxn>
                  <a:cxn ang="0">
                    <a:pos x="5" y="25"/>
                  </a:cxn>
                  <a:cxn ang="0">
                    <a:pos x="5" y="21"/>
                  </a:cxn>
                  <a:cxn ang="0">
                    <a:pos x="3" y="23"/>
                  </a:cxn>
                  <a:cxn ang="0">
                    <a:pos x="1" y="18"/>
                  </a:cxn>
                  <a:cxn ang="0">
                    <a:pos x="0" y="22"/>
                  </a:cxn>
                  <a:cxn ang="0">
                    <a:pos x="0" y="26"/>
                  </a:cxn>
                  <a:cxn ang="0">
                    <a:pos x="1" y="28"/>
                  </a:cxn>
                  <a:cxn ang="0">
                    <a:pos x="2" y="28"/>
                  </a:cxn>
                  <a:cxn ang="0">
                    <a:pos x="6" y="26"/>
                  </a:cxn>
                  <a:cxn ang="0">
                    <a:pos x="11" y="34"/>
                  </a:cxn>
                  <a:cxn ang="0">
                    <a:pos x="14" y="35"/>
                  </a:cxn>
                  <a:cxn ang="0">
                    <a:pos x="13" y="33"/>
                  </a:cxn>
                  <a:cxn ang="0">
                    <a:pos x="8" y="35"/>
                  </a:cxn>
                  <a:cxn ang="0">
                    <a:pos x="8" y="35"/>
                  </a:cxn>
                  <a:cxn ang="0">
                    <a:pos x="6" y="33"/>
                  </a:cxn>
                  <a:cxn ang="0">
                    <a:pos x="5" y="31"/>
                  </a:cxn>
                  <a:cxn ang="0">
                    <a:pos x="4" y="34"/>
                  </a:cxn>
                  <a:cxn ang="0">
                    <a:pos x="5" y="36"/>
                  </a:cxn>
                  <a:cxn ang="0">
                    <a:pos x="6" y="39"/>
                  </a:cxn>
                  <a:cxn ang="0">
                    <a:pos x="7" y="38"/>
                  </a:cxn>
                  <a:cxn ang="0">
                    <a:pos x="9" y="37"/>
                  </a:cxn>
                  <a:cxn ang="0">
                    <a:pos x="3" y="1"/>
                  </a:cxn>
                  <a:cxn ang="0">
                    <a:pos x="11" y="9"/>
                  </a:cxn>
                  <a:cxn ang="0">
                    <a:pos x="11" y="9"/>
                  </a:cxn>
                  <a:cxn ang="0">
                    <a:pos x="12" y="8"/>
                  </a:cxn>
                  <a:cxn ang="0">
                    <a:pos x="10" y="8"/>
                  </a:cxn>
                  <a:cxn ang="0">
                    <a:pos x="15" y="21"/>
                  </a:cxn>
                  <a:cxn ang="0">
                    <a:pos x="14" y="25"/>
                  </a:cxn>
                  <a:cxn ang="0">
                    <a:pos x="14" y="32"/>
                  </a:cxn>
                  <a:cxn ang="0">
                    <a:pos x="15" y="28"/>
                  </a:cxn>
                  <a:cxn ang="0">
                    <a:pos x="14" y="26"/>
                  </a:cxn>
                  <a:cxn ang="0">
                    <a:pos x="17" y="63"/>
                  </a:cxn>
                  <a:cxn ang="0">
                    <a:pos x="17" y="62"/>
                  </a:cxn>
                  <a:cxn ang="0">
                    <a:pos x="15" y="62"/>
                  </a:cxn>
                  <a:cxn ang="0">
                    <a:pos x="17" y="65"/>
                  </a:cxn>
                  <a:cxn ang="0">
                    <a:pos x="10" y="26"/>
                  </a:cxn>
                  <a:cxn ang="0">
                    <a:pos x="13" y="25"/>
                  </a:cxn>
                  <a:cxn ang="0">
                    <a:pos x="12" y="25"/>
                  </a:cxn>
                  <a:cxn ang="0">
                    <a:pos x="18" y="78"/>
                  </a:cxn>
                  <a:cxn ang="0">
                    <a:pos x="19" y="78"/>
                  </a:cxn>
                  <a:cxn ang="0">
                    <a:pos x="11" y="49"/>
                  </a:cxn>
                  <a:cxn ang="0">
                    <a:pos x="10" y="51"/>
                  </a:cxn>
                  <a:cxn ang="0">
                    <a:pos x="11" y="51"/>
                  </a:cxn>
                  <a:cxn ang="0">
                    <a:pos x="11" y="52"/>
                  </a:cxn>
                  <a:cxn ang="0">
                    <a:pos x="13" y="51"/>
                  </a:cxn>
                </a:cxnLst>
                <a:rect l="0" t="0" r="r" b="b"/>
                <a:pathLst>
                  <a:path w="20" h="79">
                    <a:moveTo>
                      <a:pt x="4" y="4"/>
                    </a:moveTo>
                    <a:cubicBezTo>
                      <a:pt x="4" y="3"/>
                      <a:pt x="5" y="4"/>
                      <a:pt x="4" y="4"/>
                    </a:cubicBezTo>
                    <a:close/>
                    <a:moveTo>
                      <a:pt x="10" y="5"/>
                    </a:moveTo>
                    <a:cubicBezTo>
                      <a:pt x="11" y="5"/>
                      <a:pt x="11" y="5"/>
                      <a:pt x="11" y="5"/>
                    </a:cubicBezTo>
                    <a:cubicBezTo>
                      <a:pt x="11" y="5"/>
                      <a:pt x="10" y="4"/>
                      <a:pt x="11" y="5"/>
                    </a:cubicBezTo>
                    <a:cubicBezTo>
                      <a:pt x="10" y="4"/>
                      <a:pt x="10" y="5"/>
                      <a:pt x="10" y="5"/>
                    </a:cubicBezTo>
                    <a:close/>
                    <a:moveTo>
                      <a:pt x="14" y="6"/>
                    </a:moveTo>
                    <a:cubicBezTo>
                      <a:pt x="14" y="6"/>
                      <a:pt x="13" y="7"/>
                      <a:pt x="13" y="7"/>
                    </a:cubicBezTo>
                    <a:cubicBezTo>
                      <a:pt x="13" y="7"/>
                      <a:pt x="14" y="7"/>
                      <a:pt x="14" y="6"/>
                    </a:cubicBezTo>
                    <a:close/>
                    <a:moveTo>
                      <a:pt x="11" y="14"/>
                    </a:moveTo>
                    <a:cubicBezTo>
                      <a:pt x="11" y="14"/>
                      <a:pt x="11" y="13"/>
                      <a:pt x="12" y="13"/>
                    </a:cubicBezTo>
                    <a:cubicBezTo>
                      <a:pt x="12" y="12"/>
                      <a:pt x="12" y="12"/>
                      <a:pt x="11" y="12"/>
                    </a:cubicBezTo>
                    <a:cubicBezTo>
                      <a:pt x="10" y="12"/>
                      <a:pt x="10" y="12"/>
                      <a:pt x="10" y="13"/>
                    </a:cubicBezTo>
                    <a:cubicBezTo>
                      <a:pt x="9" y="14"/>
                      <a:pt x="10" y="14"/>
                      <a:pt x="11" y="14"/>
                    </a:cubicBezTo>
                    <a:close/>
                    <a:moveTo>
                      <a:pt x="5" y="28"/>
                    </a:moveTo>
                    <a:cubicBezTo>
                      <a:pt x="4" y="28"/>
                      <a:pt x="4" y="28"/>
                      <a:pt x="4" y="28"/>
                    </a:cubicBezTo>
                    <a:cubicBezTo>
                      <a:pt x="3" y="29"/>
                      <a:pt x="4" y="29"/>
                      <a:pt x="5" y="29"/>
                    </a:cubicBezTo>
                    <a:cubicBezTo>
                      <a:pt x="5" y="29"/>
                      <a:pt x="5" y="29"/>
                      <a:pt x="5" y="29"/>
                    </a:cubicBezTo>
                    <a:cubicBezTo>
                      <a:pt x="5" y="28"/>
                      <a:pt x="5" y="28"/>
                      <a:pt x="5" y="28"/>
                    </a:cubicBezTo>
                    <a:close/>
                    <a:moveTo>
                      <a:pt x="16" y="69"/>
                    </a:moveTo>
                    <a:cubicBezTo>
                      <a:pt x="16" y="69"/>
                      <a:pt x="17" y="69"/>
                      <a:pt x="16" y="69"/>
                    </a:cubicBezTo>
                    <a:cubicBezTo>
                      <a:pt x="16" y="69"/>
                      <a:pt x="16" y="69"/>
                      <a:pt x="16" y="69"/>
                    </a:cubicBezTo>
                    <a:cubicBezTo>
                      <a:pt x="15" y="69"/>
                      <a:pt x="15" y="70"/>
                      <a:pt x="15" y="71"/>
                    </a:cubicBezTo>
                    <a:cubicBezTo>
                      <a:pt x="15" y="72"/>
                      <a:pt x="16" y="72"/>
                      <a:pt x="17" y="72"/>
                    </a:cubicBezTo>
                    <a:cubicBezTo>
                      <a:pt x="17" y="72"/>
                      <a:pt x="17" y="72"/>
                      <a:pt x="17" y="72"/>
                    </a:cubicBezTo>
                    <a:cubicBezTo>
                      <a:pt x="17" y="71"/>
                      <a:pt x="17" y="71"/>
                      <a:pt x="17" y="71"/>
                    </a:cubicBezTo>
                    <a:cubicBezTo>
                      <a:pt x="17" y="71"/>
                      <a:pt x="17" y="70"/>
                      <a:pt x="17" y="70"/>
                    </a:cubicBezTo>
                    <a:cubicBezTo>
                      <a:pt x="16" y="70"/>
                      <a:pt x="16" y="70"/>
                      <a:pt x="16" y="69"/>
                    </a:cubicBezTo>
                    <a:close/>
                    <a:moveTo>
                      <a:pt x="12" y="41"/>
                    </a:moveTo>
                    <a:cubicBezTo>
                      <a:pt x="12" y="41"/>
                      <a:pt x="13" y="41"/>
                      <a:pt x="13" y="41"/>
                    </a:cubicBezTo>
                    <a:cubicBezTo>
                      <a:pt x="13" y="41"/>
                      <a:pt x="14" y="41"/>
                      <a:pt x="14" y="41"/>
                    </a:cubicBezTo>
                    <a:cubicBezTo>
                      <a:pt x="14" y="41"/>
                      <a:pt x="15" y="41"/>
                      <a:pt x="14" y="41"/>
                    </a:cubicBezTo>
                    <a:cubicBezTo>
                      <a:pt x="14" y="40"/>
                      <a:pt x="14" y="41"/>
                      <a:pt x="13" y="41"/>
                    </a:cubicBezTo>
                    <a:cubicBezTo>
                      <a:pt x="14" y="41"/>
                      <a:pt x="13" y="40"/>
                      <a:pt x="13" y="40"/>
                    </a:cubicBezTo>
                    <a:cubicBezTo>
                      <a:pt x="13" y="40"/>
                      <a:pt x="13" y="40"/>
                      <a:pt x="13" y="40"/>
                    </a:cubicBezTo>
                    <a:cubicBezTo>
                      <a:pt x="13" y="39"/>
                      <a:pt x="13" y="40"/>
                      <a:pt x="12" y="40"/>
                    </a:cubicBezTo>
                    <a:cubicBezTo>
                      <a:pt x="12" y="39"/>
                      <a:pt x="13" y="39"/>
                      <a:pt x="12" y="38"/>
                    </a:cubicBezTo>
                    <a:cubicBezTo>
                      <a:pt x="12" y="38"/>
                      <a:pt x="11" y="40"/>
                      <a:pt x="12" y="41"/>
                    </a:cubicBezTo>
                    <a:cubicBezTo>
                      <a:pt x="12" y="41"/>
                      <a:pt x="12" y="41"/>
                      <a:pt x="12" y="41"/>
                    </a:cubicBezTo>
                    <a:close/>
                    <a:moveTo>
                      <a:pt x="5" y="28"/>
                    </a:moveTo>
                    <a:cubicBezTo>
                      <a:pt x="5" y="28"/>
                      <a:pt x="5" y="27"/>
                      <a:pt x="5" y="27"/>
                    </a:cubicBezTo>
                    <a:cubicBezTo>
                      <a:pt x="5" y="27"/>
                      <a:pt x="5" y="27"/>
                      <a:pt x="5" y="27"/>
                    </a:cubicBezTo>
                    <a:cubicBezTo>
                      <a:pt x="5" y="27"/>
                      <a:pt x="3" y="28"/>
                      <a:pt x="5" y="28"/>
                    </a:cubicBezTo>
                    <a:close/>
                    <a:moveTo>
                      <a:pt x="6" y="26"/>
                    </a:moveTo>
                    <a:cubicBezTo>
                      <a:pt x="6" y="26"/>
                      <a:pt x="5" y="25"/>
                      <a:pt x="5" y="25"/>
                    </a:cubicBezTo>
                    <a:cubicBezTo>
                      <a:pt x="6" y="25"/>
                      <a:pt x="5" y="24"/>
                      <a:pt x="5" y="24"/>
                    </a:cubicBezTo>
                    <a:cubicBezTo>
                      <a:pt x="5" y="24"/>
                      <a:pt x="6" y="23"/>
                      <a:pt x="5" y="22"/>
                    </a:cubicBezTo>
                    <a:cubicBezTo>
                      <a:pt x="5" y="23"/>
                      <a:pt x="5" y="22"/>
                      <a:pt x="5" y="21"/>
                    </a:cubicBezTo>
                    <a:cubicBezTo>
                      <a:pt x="5" y="21"/>
                      <a:pt x="5" y="21"/>
                      <a:pt x="5" y="20"/>
                    </a:cubicBezTo>
                    <a:cubicBezTo>
                      <a:pt x="4" y="20"/>
                      <a:pt x="4" y="20"/>
                      <a:pt x="4" y="21"/>
                    </a:cubicBezTo>
                    <a:cubicBezTo>
                      <a:pt x="4" y="22"/>
                      <a:pt x="4" y="23"/>
                      <a:pt x="3" y="23"/>
                    </a:cubicBezTo>
                    <a:cubicBezTo>
                      <a:pt x="2" y="23"/>
                      <a:pt x="2" y="22"/>
                      <a:pt x="2" y="22"/>
                    </a:cubicBezTo>
                    <a:cubicBezTo>
                      <a:pt x="2" y="21"/>
                      <a:pt x="2" y="21"/>
                      <a:pt x="2" y="20"/>
                    </a:cubicBezTo>
                    <a:cubicBezTo>
                      <a:pt x="2" y="19"/>
                      <a:pt x="2" y="18"/>
                      <a:pt x="1" y="18"/>
                    </a:cubicBezTo>
                    <a:cubicBezTo>
                      <a:pt x="1" y="17"/>
                      <a:pt x="1" y="17"/>
                      <a:pt x="1" y="17"/>
                    </a:cubicBezTo>
                    <a:cubicBezTo>
                      <a:pt x="0" y="18"/>
                      <a:pt x="0" y="18"/>
                      <a:pt x="0" y="19"/>
                    </a:cubicBezTo>
                    <a:cubicBezTo>
                      <a:pt x="0" y="20"/>
                      <a:pt x="0" y="21"/>
                      <a:pt x="0" y="22"/>
                    </a:cubicBezTo>
                    <a:cubicBezTo>
                      <a:pt x="0" y="22"/>
                      <a:pt x="0" y="23"/>
                      <a:pt x="0" y="23"/>
                    </a:cubicBezTo>
                    <a:cubicBezTo>
                      <a:pt x="0" y="24"/>
                      <a:pt x="0" y="24"/>
                      <a:pt x="0" y="25"/>
                    </a:cubicBezTo>
                    <a:cubicBezTo>
                      <a:pt x="0" y="25"/>
                      <a:pt x="0" y="25"/>
                      <a:pt x="0" y="26"/>
                    </a:cubicBezTo>
                    <a:cubicBezTo>
                      <a:pt x="0" y="26"/>
                      <a:pt x="0" y="27"/>
                      <a:pt x="0" y="27"/>
                    </a:cubicBezTo>
                    <a:cubicBezTo>
                      <a:pt x="0" y="27"/>
                      <a:pt x="1" y="27"/>
                      <a:pt x="1" y="27"/>
                    </a:cubicBezTo>
                    <a:cubicBezTo>
                      <a:pt x="1" y="28"/>
                      <a:pt x="0" y="28"/>
                      <a:pt x="1" y="28"/>
                    </a:cubicBezTo>
                    <a:cubicBezTo>
                      <a:pt x="1" y="28"/>
                      <a:pt x="1" y="28"/>
                      <a:pt x="2" y="28"/>
                    </a:cubicBezTo>
                    <a:cubicBezTo>
                      <a:pt x="2" y="28"/>
                      <a:pt x="2" y="28"/>
                      <a:pt x="2" y="28"/>
                    </a:cubicBezTo>
                    <a:cubicBezTo>
                      <a:pt x="2" y="28"/>
                      <a:pt x="2" y="28"/>
                      <a:pt x="2" y="28"/>
                    </a:cubicBezTo>
                    <a:cubicBezTo>
                      <a:pt x="3" y="27"/>
                      <a:pt x="3" y="28"/>
                      <a:pt x="3" y="28"/>
                    </a:cubicBezTo>
                    <a:cubicBezTo>
                      <a:pt x="4" y="28"/>
                      <a:pt x="4" y="27"/>
                      <a:pt x="5" y="27"/>
                    </a:cubicBezTo>
                    <a:cubicBezTo>
                      <a:pt x="5" y="27"/>
                      <a:pt x="6" y="27"/>
                      <a:pt x="6" y="26"/>
                    </a:cubicBezTo>
                    <a:close/>
                    <a:moveTo>
                      <a:pt x="13" y="33"/>
                    </a:moveTo>
                    <a:cubicBezTo>
                      <a:pt x="13" y="33"/>
                      <a:pt x="13" y="33"/>
                      <a:pt x="12" y="34"/>
                    </a:cubicBezTo>
                    <a:cubicBezTo>
                      <a:pt x="12" y="34"/>
                      <a:pt x="12" y="34"/>
                      <a:pt x="11" y="34"/>
                    </a:cubicBezTo>
                    <a:cubicBezTo>
                      <a:pt x="11" y="34"/>
                      <a:pt x="10" y="35"/>
                      <a:pt x="10" y="35"/>
                    </a:cubicBezTo>
                    <a:cubicBezTo>
                      <a:pt x="11" y="36"/>
                      <a:pt x="12" y="36"/>
                      <a:pt x="12" y="36"/>
                    </a:cubicBezTo>
                    <a:cubicBezTo>
                      <a:pt x="13" y="36"/>
                      <a:pt x="14" y="36"/>
                      <a:pt x="14" y="35"/>
                    </a:cubicBezTo>
                    <a:cubicBezTo>
                      <a:pt x="14" y="35"/>
                      <a:pt x="14" y="35"/>
                      <a:pt x="13" y="35"/>
                    </a:cubicBezTo>
                    <a:cubicBezTo>
                      <a:pt x="13" y="35"/>
                      <a:pt x="13" y="34"/>
                      <a:pt x="13" y="34"/>
                    </a:cubicBezTo>
                    <a:cubicBezTo>
                      <a:pt x="13" y="34"/>
                      <a:pt x="14" y="33"/>
                      <a:pt x="13" y="33"/>
                    </a:cubicBezTo>
                    <a:close/>
                    <a:moveTo>
                      <a:pt x="9" y="37"/>
                    </a:moveTo>
                    <a:cubicBezTo>
                      <a:pt x="8" y="37"/>
                      <a:pt x="9" y="37"/>
                      <a:pt x="9" y="36"/>
                    </a:cubicBezTo>
                    <a:cubicBezTo>
                      <a:pt x="9" y="36"/>
                      <a:pt x="9" y="36"/>
                      <a:pt x="8" y="35"/>
                    </a:cubicBezTo>
                    <a:cubicBezTo>
                      <a:pt x="8" y="35"/>
                      <a:pt x="8" y="35"/>
                      <a:pt x="8" y="35"/>
                    </a:cubicBezTo>
                    <a:cubicBezTo>
                      <a:pt x="8" y="35"/>
                      <a:pt x="8" y="35"/>
                      <a:pt x="8" y="35"/>
                    </a:cubicBezTo>
                    <a:cubicBezTo>
                      <a:pt x="8" y="35"/>
                      <a:pt x="8" y="35"/>
                      <a:pt x="8" y="35"/>
                    </a:cubicBezTo>
                    <a:cubicBezTo>
                      <a:pt x="7" y="34"/>
                      <a:pt x="7" y="34"/>
                      <a:pt x="7" y="34"/>
                    </a:cubicBezTo>
                    <a:cubicBezTo>
                      <a:pt x="6" y="34"/>
                      <a:pt x="7" y="33"/>
                      <a:pt x="6" y="33"/>
                    </a:cubicBezTo>
                    <a:cubicBezTo>
                      <a:pt x="6" y="34"/>
                      <a:pt x="6" y="33"/>
                      <a:pt x="6" y="33"/>
                    </a:cubicBezTo>
                    <a:cubicBezTo>
                      <a:pt x="6" y="32"/>
                      <a:pt x="6" y="32"/>
                      <a:pt x="5" y="31"/>
                    </a:cubicBezTo>
                    <a:cubicBezTo>
                      <a:pt x="5" y="31"/>
                      <a:pt x="5" y="31"/>
                      <a:pt x="5" y="31"/>
                    </a:cubicBezTo>
                    <a:cubicBezTo>
                      <a:pt x="5" y="31"/>
                      <a:pt x="5" y="31"/>
                      <a:pt x="5" y="31"/>
                    </a:cubicBezTo>
                    <a:cubicBezTo>
                      <a:pt x="4" y="31"/>
                      <a:pt x="4" y="32"/>
                      <a:pt x="4" y="32"/>
                    </a:cubicBezTo>
                    <a:cubicBezTo>
                      <a:pt x="4" y="32"/>
                      <a:pt x="3" y="33"/>
                      <a:pt x="3" y="33"/>
                    </a:cubicBezTo>
                    <a:cubicBezTo>
                      <a:pt x="4" y="34"/>
                      <a:pt x="4" y="34"/>
                      <a:pt x="4" y="34"/>
                    </a:cubicBezTo>
                    <a:cubicBezTo>
                      <a:pt x="5" y="34"/>
                      <a:pt x="5" y="33"/>
                      <a:pt x="5" y="34"/>
                    </a:cubicBezTo>
                    <a:cubicBezTo>
                      <a:pt x="5" y="34"/>
                      <a:pt x="5" y="35"/>
                      <a:pt x="5" y="35"/>
                    </a:cubicBezTo>
                    <a:cubicBezTo>
                      <a:pt x="5" y="35"/>
                      <a:pt x="5" y="36"/>
                      <a:pt x="5" y="36"/>
                    </a:cubicBezTo>
                    <a:cubicBezTo>
                      <a:pt x="5" y="36"/>
                      <a:pt x="5" y="36"/>
                      <a:pt x="5" y="36"/>
                    </a:cubicBezTo>
                    <a:cubicBezTo>
                      <a:pt x="5" y="37"/>
                      <a:pt x="5" y="37"/>
                      <a:pt x="5" y="38"/>
                    </a:cubicBezTo>
                    <a:cubicBezTo>
                      <a:pt x="5" y="37"/>
                      <a:pt x="5" y="38"/>
                      <a:pt x="6" y="39"/>
                    </a:cubicBezTo>
                    <a:cubicBezTo>
                      <a:pt x="6" y="38"/>
                      <a:pt x="6" y="38"/>
                      <a:pt x="6" y="38"/>
                    </a:cubicBezTo>
                    <a:cubicBezTo>
                      <a:pt x="6" y="38"/>
                      <a:pt x="6" y="38"/>
                      <a:pt x="7" y="38"/>
                    </a:cubicBezTo>
                    <a:cubicBezTo>
                      <a:pt x="7" y="38"/>
                      <a:pt x="7" y="38"/>
                      <a:pt x="7" y="38"/>
                    </a:cubicBezTo>
                    <a:cubicBezTo>
                      <a:pt x="7" y="37"/>
                      <a:pt x="8" y="38"/>
                      <a:pt x="8" y="38"/>
                    </a:cubicBezTo>
                    <a:cubicBezTo>
                      <a:pt x="8" y="38"/>
                      <a:pt x="8" y="38"/>
                      <a:pt x="8" y="38"/>
                    </a:cubicBezTo>
                    <a:cubicBezTo>
                      <a:pt x="9" y="38"/>
                      <a:pt x="9" y="37"/>
                      <a:pt x="9" y="37"/>
                    </a:cubicBezTo>
                    <a:cubicBezTo>
                      <a:pt x="9" y="37"/>
                      <a:pt x="9" y="37"/>
                      <a:pt x="9" y="37"/>
                    </a:cubicBezTo>
                    <a:close/>
                    <a:moveTo>
                      <a:pt x="3" y="0"/>
                    </a:moveTo>
                    <a:cubicBezTo>
                      <a:pt x="3" y="0"/>
                      <a:pt x="3" y="1"/>
                      <a:pt x="3" y="1"/>
                    </a:cubicBezTo>
                    <a:cubicBezTo>
                      <a:pt x="3" y="1"/>
                      <a:pt x="3" y="1"/>
                      <a:pt x="4" y="1"/>
                    </a:cubicBezTo>
                    <a:cubicBezTo>
                      <a:pt x="4" y="1"/>
                      <a:pt x="4" y="0"/>
                      <a:pt x="3" y="0"/>
                    </a:cubicBezTo>
                    <a:close/>
                    <a:moveTo>
                      <a:pt x="11" y="9"/>
                    </a:moveTo>
                    <a:cubicBezTo>
                      <a:pt x="11" y="9"/>
                      <a:pt x="11" y="9"/>
                      <a:pt x="11" y="9"/>
                    </a:cubicBezTo>
                    <a:cubicBezTo>
                      <a:pt x="11" y="9"/>
                      <a:pt x="11" y="9"/>
                      <a:pt x="11" y="10"/>
                    </a:cubicBezTo>
                    <a:cubicBezTo>
                      <a:pt x="11" y="9"/>
                      <a:pt x="11" y="9"/>
                      <a:pt x="11" y="9"/>
                    </a:cubicBezTo>
                    <a:cubicBezTo>
                      <a:pt x="11" y="9"/>
                      <a:pt x="12" y="9"/>
                      <a:pt x="12" y="9"/>
                    </a:cubicBezTo>
                    <a:cubicBezTo>
                      <a:pt x="12" y="9"/>
                      <a:pt x="12" y="9"/>
                      <a:pt x="12" y="9"/>
                    </a:cubicBezTo>
                    <a:cubicBezTo>
                      <a:pt x="12" y="8"/>
                      <a:pt x="12" y="9"/>
                      <a:pt x="12" y="8"/>
                    </a:cubicBezTo>
                    <a:cubicBezTo>
                      <a:pt x="12" y="9"/>
                      <a:pt x="12" y="8"/>
                      <a:pt x="12" y="8"/>
                    </a:cubicBezTo>
                    <a:cubicBezTo>
                      <a:pt x="12" y="8"/>
                      <a:pt x="12" y="8"/>
                      <a:pt x="12" y="7"/>
                    </a:cubicBezTo>
                    <a:cubicBezTo>
                      <a:pt x="11" y="7"/>
                      <a:pt x="11" y="7"/>
                      <a:pt x="10" y="8"/>
                    </a:cubicBezTo>
                    <a:cubicBezTo>
                      <a:pt x="10" y="8"/>
                      <a:pt x="10" y="8"/>
                      <a:pt x="11" y="9"/>
                    </a:cubicBezTo>
                    <a:close/>
                    <a:moveTo>
                      <a:pt x="15" y="23"/>
                    </a:moveTo>
                    <a:cubicBezTo>
                      <a:pt x="15" y="22"/>
                      <a:pt x="15" y="22"/>
                      <a:pt x="15" y="21"/>
                    </a:cubicBezTo>
                    <a:cubicBezTo>
                      <a:pt x="15" y="21"/>
                      <a:pt x="15" y="20"/>
                      <a:pt x="15" y="20"/>
                    </a:cubicBezTo>
                    <a:cubicBezTo>
                      <a:pt x="15" y="20"/>
                      <a:pt x="15" y="21"/>
                      <a:pt x="15" y="21"/>
                    </a:cubicBezTo>
                    <a:cubicBezTo>
                      <a:pt x="15" y="23"/>
                      <a:pt x="14" y="24"/>
                      <a:pt x="14" y="25"/>
                    </a:cubicBezTo>
                    <a:cubicBezTo>
                      <a:pt x="15" y="26"/>
                      <a:pt x="15" y="24"/>
                      <a:pt x="15" y="23"/>
                    </a:cubicBezTo>
                    <a:close/>
                    <a:moveTo>
                      <a:pt x="14" y="30"/>
                    </a:moveTo>
                    <a:cubicBezTo>
                      <a:pt x="14" y="30"/>
                      <a:pt x="13" y="32"/>
                      <a:pt x="14" y="32"/>
                    </a:cubicBezTo>
                    <a:cubicBezTo>
                      <a:pt x="15" y="32"/>
                      <a:pt x="15" y="30"/>
                      <a:pt x="15" y="30"/>
                    </a:cubicBezTo>
                    <a:cubicBezTo>
                      <a:pt x="15" y="30"/>
                      <a:pt x="15" y="30"/>
                      <a:pt x="15" y="29"/>
                    </a:cubicBezTo>
                    <a:cubicBezTo>
                      <a:pt x="15" y="29"/>
                      <a:pt x="15" y="29"/>
                      <a:pt x="15" y="28"/>
                    </a:cubicBezTo>
                    <a:cubicBezTo>
                      <a:pt x="15" y="28"/>
                      <a:pt x="15" y="28"/>
                      <a:pt x="15" y="27"/>
                    </a:cubicBezTo>
                    <a:cubicBezTo>
                      <a:pt x="15" y="27"/>
                      <a:pt x="15" y="26"/>
                      <a:pt x="15" y="26"/>
                    </a:cubicBezTo>
                    <a:cubicBezTo>
                      <a:pt x="15" y="26"/>
                      <a:pt x="14" y="26"/>
                      <a:pt x="14" y="26"/>
                    </a:cubicBezTo>
                    <a:cubicBezTo>
                      <a:pt x="14" y="27"/>
                      <a:pt x="14" y="27"/>
                      <a:pt x="14" y="28"/>
                    </a:cubicBezTo>
                    <a:cubicBezTo>
                      <a:pt x="14" y="29"/>
                      <a:pt x="14" y="29"/>
                      <a:pt x="14" y="30"/>
                    </a:cubicBezTo>
                    <a:close/>
                    <a:moveTo>
                      <a:pt x="17" y="63"/>
                    </a:moveTo>
                    <a:cubicBezTo>
                      <a:pt x="16" y="62"/>
                      <a:pt x="18" y="63"/>
                      <a:pt x="17" y="62"/>
                    </a:cubicBezTo>
                    <a:cubicBezTo>
                      <a:pt x="17" y="62"/>
                      <a:pt x="17" y="62"/>
                      <a:pt x="17" y="62"/>
                    </a:cubicBezTo>
                    <a:cubicBezTo>
                      <a:pt x="16" y="62"/>
                      <a:pt x="17" y="62"/>
                      <a:pt x="17" y="62"/>
                    </a:cubicBezTo>
                    <a:cubicBezTo>
                      <a:pt x="16" y="61"/>
                      <a:pt x="16" y="61"/>
                      <a:pt x="15" y="61"/>
                    </a:cubicBezTo>
                    <a:cubicBezTo>
                      <a:pt x="15" y="61"/>
                      <a:pt x="15" y="61"/>
                      <a:pt x="15" y="61"/>
                    </a:cubicBezTo>
                    <a:cubicBezTo>
                      <a:pt x="15" y="61"/>
                      <a:pt x="15" y="62"/>
                      <a:pt x="15" y="62"/>
                    </a:cubicBezTo>
                    <a:cubicBezTo>
                      <a:pt x="15" y="62"/>
                      <a:pt x="15" y="63"/>
                      <a:pt x="15" y="63"/>
                    </a:cubicBezTo>
                    <a:cubicBezTo>
                      <a:pt x="14" y="64"/>
                      <a:pt x="15" y="64"/>
                      <a:pt x="15" y="64"/>
                    </a:cubicBezTo>
                    <a:cubicBezTo>
                      <a:pt x="15" y="64"/>
                      <a:pt x="17" y="65"/>
                      <a:pt x="17" y="65"/>
                    </a:cubicBezTo>
                    <a:cubicBezTo>
                      <a:pt x="17" y="65"/>
                      <a:pt x="18" y="64"/>
                      <a:pt x="17" y="64"/>
                    </a:cubicBezTo>
                    <a:cubicBezTo>
                      <a:pt x="17" y="63"/>
                      <a:pt x="17" y="63"/>
                      <a:pt x="17" y="63"/>
                    </a:cubicBezTo>
                    <a:close/>
                    <a:moveTo>
                      <a:pt x="10" y="26"/>
                    </a:moveTo>
                    <a:cubicBezTo>
                      <a:pt x="9" y="26"/>
                      <a:pt x="11" y="26"/>
                      <a:pt x="11" y="26"/>
                    </a:cubicBezTo>
                    <a:cubicBezTo>
                      <a:pt x="12" y="26"/>
                      <a:pt x="12" y="26"/>
                      <a:pt x="12" y="26"/>
                    </a:cubicBezTo>
                    <a:cubicBezTo>
                      <a:pt x="13" y="25"/>
                      <a:pt x="13" y="25"/>
                      <a:pt x="13" y="25"/>
                    </a:cubicBezTo>
                    <a:cubicBezTo>
                      <a:pt x="13" y="25"/>
                      <a:pt x="13" y="24"/>
                      <a:pt x="13" y="24"/>
                    </a:cubicBezTo>
                    <a:cubicBezTo>
                      <a:pt x="13" y="24"/>
                      <a:pt x="12" y="24"/>
                      <a:pt x="12" y="24"/>
                    </a:cubicBezTo>
                    <a:cubicBezTo>
                      <a:pt x="12" y="24"/>
                      <a:pt x="12" y="25"/>
                      <a:pt x="12" y="25"/>
                    </a:cubicBezTo>
                    <a:cubicBezTo>
                      <a:pt x="11" y="25"/>
                      <a:pt x="11" y="25"/>
                      <a:pt x="10" y="26"/>
                    </a:cubicBezTo>
                    <a:close/>
                    <a:moveTo>
                      <a:pt x="19" y="78"/>
                    </a:moveTo>
                    <a:cubicBezTo>
                      <a:pt x="19" y="78"/>
                      <a:pt x="18" y="78"/>
                      <a:pt x="18" y="78"/>
                    </a:cubicBezTo>
                    <a:cubicBezTo>
                      <a:pt x="18" y="78"/>
                      <a:pt x="18" y="78"/>
                      <a:pt x="18" y="78"/>
                    </a:cubicBezTo>
                    <a:cubicBezTo>
                      <a:pt x="18" y="79"/>
                      <a:pt x="18" y="79"/>
                      <a:pt x="19" y="79"/>
                    </a:cubicBezTo>
                    <a:cubicBezTo>
                      <a:pt x="20" y="79"/>
                      <a:pt x="20" y="77"/>
                      <a:pt x="19" y="78"/>
                    </a:cubicBezTo>
                    <a:close/>
                    <a:moveTo>
                      <a:pt x="13" y="50"/>
                    </a:moveTo>
                    <a:cubicBezTo>
                      <a:pt x="12" y="49"/>
                      <a:pt x="12" y="49"/>
                      <a:pt x="12" y="49"/>
                    </a:cubicBezTo>
                    <a:cubicBezTo>
                      <a:pt x="11" y="49"/>
                      <a:pt x="11" y="49"/>
                      <a:pt x="11" y="49"/>
                    </a:cubicBezTo>
                    <a:cubicBezTo>
                      <a:pt x="11" y="49"/>
                      <a:pt x="10" y="50"/>
                      <a:pt x="10" y="50"/>
                    </a:cubicBezTo>
                    <a:cubicBezTo>
                      <a:pt x="10" y="50"/>
                      <a:pt x="10" y="50"/>
                      <a:pt x="9" y="51"/>
                    </a:cubicBezTo>
                    <a:cubicBezTo>
                      <a:pt x="9" y="52"/>
                      <a:pt x="10" y="51"/>
                      <a:pt x="10" y="51"/>
                    </a:cubicBezTo>
                    <a:cubicBezTo>
                      <a:pt x="10" y="51"/>
                      <a:pt x="11" y="51"/>
                      <a:pt x="11" y="51"/>
                    </a:cubicBezTo>
                    <a:cubicBezTo>
                      <a:pt x="11" y="52"/>
                      <a:pt x="10" y="51"/>
                      <a:pt x="10" y="52"/>
                    </a:cubicBezTo>
                    <a:cubicBezTo>
                      <a:pt x="10" y="52"/>
                      <a:pt x="10" y="52"/>
                      <a:pt x="11" y="51"/>
                    </a:cubicBezTo>
                    <a:cubicBezTo>
                      <a:pt x="11" y="52"/>
                      <a:pt x="11" y="52"/>
                      <a:pt x="10" y="52"/>
                    </a:cubicBezTo>
                    <a:cubicBezTo>
                      <a:pt x="11" y="52"/>
                      <a:pt x="11" y="52"/>
                      <a:pt x="11" y="52"/>
                    </a:cubicBezTo>
                    <a:cubicBezTo>
                      <a:pt x="11" y="52"/>
                      <a:pt x="11" y="52"/>
                      <a:pt x="11" y="52"/>
                    </a:cubicBezTo>
                    <a:cubicBezTo>
                      <a:pt x="11" y="52"/>
                      <a:pt x="11" y="52"/>
                      <a:pt x="11" y="52"/>
                    </a:cubicBezTo>
                    <a:cubicBezTo>
                      <a:pt x="12" y="52"/>
                      <a:pt x="12" y="52"/>
                      <a:pt x="13" y="52"/>
                    </a:cubicBezTo>
                    <a:cubicBezTo>
                      <a:pt x="13" y="52"/>
                      <a:pt x="13" y="52"/>
                      <a:pt x="13" y="51"/>
                    </a:cubicBezTo>
                    <a:cubicBezTo>
                      <a:pt x="13" y="51"/>
                      <a:pt x="13" y="51"/>
                      <a:pt x="13" y="51"/>
                    </a:cubicBezTo>
                    <a:cubicBezTo>
                      <a:pt x="13" y="51"/>
                      <a:pt x="13" y="50"/>
                      <a:pt x="13" y="5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1" name="Uzbakistan">
                <a:extLst>
                  <a:ext uri="{FF2B5EF4-FFF2-40B4-BE49-F238E27FC236}">
                    <a16:creationId xmlns:a16="http://schemas.microsoft.com/office/drawing/2014/main" id="{C91F7E46-CEBA-727C-DC74-AA3AF8CFFAD7}"/>
                  </a:ext>
                </a:extLst>
              </p:cNvPr>
              <p:cNvSpPr>
                <a:spLocks noEditPoints="1"/>
              </p:cNvSpPr>
              <p:nvPr/>
            </p:nvSpPr>
            <p:spPr bwMode="auto">
              <a:xfrm>
                <a:off x="7453137" y="2271231"/>
                <a:ext cx="581238" cy="326395"/>
              </a:xfrm>
              <a:custGeom>
                <a:avLst/>
                <a:gdLst/>
                <a:ahLst/>
                <a:cxnLst>
                  <a:cxn ang="0">
                    <a:pos x="148" y="60"/>
                  </a:cxn>
                  <a:cxn ang="0">
                    <a:pos x="148" y="61"/>
                  </a:cxn>
                  <a:cxn ang="0">
                    <a:pos x="143" y="63"/>
                  </a:cxn>
                  <a:cxn ang="0">
                    <a:pos x="157" y="55"/>
                  </a:cxn>
                  <a:cxn ang="0">
                    <a:pos x="155" y="57"/>
                  </a:cxn>
                  <a:cxn ang="0">
                    <a:pos x="149" y="58"/>
                  </a:cxn>
                  <a:cxn ang="0">
                    <a:pos x="139" y="56"/>
                  </a:cxn>
                  <a:cxn ang="0">
                    <a:pos x="141" y="51"/>
                  </a:cxn>
                  <a:cxn ang="0">
                    <a:pos x="134" y="53"/>
                  </a:cxn>
                  <a:cxn ang="0">
                    <a:pos x="129" y="55"/>
                  </a:cxn>
                  <a:cxn ang="0">
                    <a:pos x="125" y="59"/>
                  </a:cxn>
                  <a:cxn ang="0">
                    <a:pos x="126" y="60"/>
                  </a:cxn>
                  <a:cxn ang="0">
                    <a:pos x="126" y="65"/>
                  </a:cxn>
                  <a:cxn ang="0">
                    <a:pos x="116" y="69"/>
                  </a:cxn>
                  <a:cxn ang="0">
                    <a:pos x="123" y="76"/>
                  </a:cxn>
                  <a:cxn ang="0">
                    <a:pos x="124" y="88"/>
                  </a:cxn>
                  <a:cxn ang="0">
                    <a:pos x="116" y="90"/>
                  </a:cxn>
                  <a:cxn ang="0">
                    <a:pos x="110" y="82"/>
                  </a:cxn>
                  <a:cxn ang="0">
                    <a:pos x="99" y="78"/>
                  </a:cxn>
                  <a:cxn ang="0">
                    <a:pos x="85" y="71"/>
                  </a:cxn>
                  <a:cxn ang="0">
                    <a:pos x="68" y="57"/>
                  </a:cxn>
                  <a:cxn ang="0">
                    <a:pos x="57" y="48"/>
                  </a:cxn>
                  <a:cxn ang="0">
                    <a:pos x="46" y="46"/>
                  </a:cxn>
                  <a:cxn ang="0">
                    <a:pos x="44" y="40"/>
                  </a:cxn>
                  <a:cxn ang="0">
                    <a:pos x="40" y="36"/>
                  </a:cxn>
                  <a:cxn ang="0">
                    <a:pos x="27" y="32"/>
                  </a:cxn>
                  <a:cxn ang="0">
                    <a:pos x="28" y="35"/>
                  </a:cxn>
                  <a:cxn ang="0">
                    <a:pos x="24" y="36"/>
                  </a:cxn>
                  <a:cxn ang="0">
                    <a:pos x="17" y="42"/>
                  </a:cxn>
                  <a:cxn ang="0">
                    <a:pos x="13" y="47"/>
                  </a:cxn>
                  <a:cxn ang="0">
                    <a:pos x="2" y="12"/>
                  </a:cxn>
                  <a:cxn ang="0">
                    <a:pos x="22" y="1"/>
                  </a:cxn>
                  <a:cxn ang="0">
                    <a:pos x="22" y="11"/>
                  </a:cxn>
                  <a:cxn ang="0">
                    <a:pos x="25" y="10"/>
                  </a:cxn>
                  <a:cxn ang="0">
                    <a:pos x="25" y="7"/>
                  </a:cxn>
                  <a:cxn ang="0">
                    <a:pos x="24" y="4"/>
                  </a:cxn>
                  <a:cxn ang="0">
                    <a:pos x="30" y="8"/>
                  </a:cxn>
                  <a:cxn ang="0">
                    <a:pos x="36" y="17"/>
                  </a:cxn>
                  <a:cxn ang="0">
                    <a:pos x="37" y="8"/>
                  </a:cxn>
                  <a:cxn ang="0">
                    <a:pos x="57" y="23"/>
                  </a:cxn>
                  <a:cxn ang="0">
                    <a:pos x="86" y="24"/>
                  </a:cxn>
                  <a:cxn ang="0">
                    <a:pos x="95" y="32"/>
                  </a:cxn>
                  <a:cxn ang="0">
                    <a:pos x="101" y="39"/>
                  </a:cxn>
                  <a:cxn ang="0">
                    <a:pos x="115" y="48"/>
                  </a:cxn>
                  <a:cxn ang="0">
                    <a:pos x="122" y="54"/>
                  </a:cxn>
                  <a:cxn ang="0">
                    <a:pos x="123" y="50"/>
                  </a:cxn>
                  <a:cxn ang="0">
                    <a:pos x="128" y="45"/>
                  </a:cxn>
                  <a:cxn ang="0">
                    <a:pos x="135" y="38"/>
                  </a:cxn>
                  <a:cxn ang="0">
                    <a:pos x="140" y="38"/>
                  </a:cxn>
                  <a:cxn ang="0">
                    <a:pos x="135" y="43"/>
                  </a:cxn>
                  <a:cxn ang="0">
                    <a:pos x="141" y="47"/>
                  </a:cxn>
                  <a:cxn ang="0">
                    <a:pos x="146" y="48"/>
                  </a:cxn>
                  <a:cxn ang="0">
                    <a:pos x="148" y="45"/>
                  </a:cxn>
                  <a:cxn ang="0">
                    <a:pos x="154" y="50"/>
                  </a:cxn>
                  <a:cxn ang="0">
                    <a:pos x="159" y="51"/>
                  </a:cxn>
                  <a:cxn ang="0">
                    <a:pos x="140" y="50"/>
                  </a:cxn>
                </a:cxnLst>
                <a:rect l="0" t="0" r="r" b="b"/>
                <a:pathLst>
                  <a:path w="164" h="92">
                    <a:moveTo>
                      <a:pt x="153" y="62"/>
                    </a:moveTo>
                    <a:cubicBezTo>
                      <a:pt x="153" y="62"/>
                      <a:pt x="153" y="62"/>
                      <a:pt x="153" y="61"/>
                    </a:cubicBezTo>
                    <a:cubicBezTo>
                      <a:pt x="153" y="61"/>
                      <a:pt x="153" y="61"/>
                      <a:pt x="153" y="61"/>
                    </a:cubicBezTo>
                    <a:cubicBezTo>
                      <a:pt x="153" y="61"/>
                      <a:pt x="153" y="61"/>
                      <a:pt x="153" y="61"/>
                    </a:cubicBezTo>
                    <a:cubicBezTo>
                      <a:pt x="154" y="61"/>
                      <a:pt x="154" y="62"/>
                      <a:pt x="153" y="62"/>
                    </a:cubicBezTo>
                    <a:close/>
                    <a:moveTo>
                      <a:pt x="148" y="60"/>
                    </a:moveTo>
                    <a:cubicBezTo>
                      <a:pt x="147" y="61"/>
                      <a:pt x="147" y="59"/>
                      <a:pt x="146" y="59"/>
                    </a:cubicBezTo>
                    <a:cubicBezTo>
                      <a:pt x="145" y="59"/>
                      <a:pt x="146" y="60"/>
                      <a:pt x="146" y="61"/>
                    </a:cubicBezTo>
                    <a:cubicBezTo>
                      <a:pt x="147" y="61"/>
                      <a:pt x="147" y="61"/>
                      <a:pt x="147" y="62"/>
                    </a:cubicBezTo>
                    <a:cubicBezTo>
                      <a:pt x="147" y="62"/>
                      <a:pt x="147" y="62"/>
                      <a:pt x="147" y="62"/>
                    </a:cubicBezTo>
                    <a:cubicBezTo>
                      <a:pt x="148" y="62"/>
                      <a:pt x="148" y="62"/>
                      <a:pt x="149" y="62"/>
                    </a:cubicBezTo>
                    <a:cubicBezTo>
                      <a:pt x="149" y="61"/>
                      <a:pt x="148" y="61"/>
                      <a:pt x="148" y="61"/>
                    </a:cubicBezTo>
                    <a:cubicBezTo>
                      <a:pt x="148" y="61"/>
                      <a:pt x="149" y="60"/>
                      <a:pt x="148" y="60"/>
                    </a:cubicBezTo>
                    <a:close/>
                    <a:moveTo>
                      <a:pt x="143" y="63"/>
                    </a:moveTo>
                    <a:cubicBezTo>
                      <a:pt x="143" y="63"/>
                      <a:pt x="143" y="63"/>
                      <a:pt x="144" y="63"/>
                    </a:cubicBezTo>
                    <a:cubicBezTo>
                      <a:pt x="144" y="63"/>
                      <a:pt x="144" y="63"/>
                      <a:pt x="144" y="63"/>
                    </a:cubicBezTo>
                    <a:cubicBezTo>
                      <a:pt x="144" y="62"/>
                      <a:pt x="143" y="62"/>
                      <a:pt x="142" y="62"/>
                    </a:cubicBezTo>
                    <a:cubicBezTo>
                      <a:pt x="142" y="62"/>
                      <a:pt x="143" y="63"/>
                      <a:pt x="143" y="63"/>
                    </a:cubicBezTo>
                    <a:close/>
                    <a:moveTo>
                      <a:pt x="161" y="53"/>
                    </a:moveTo>
                    <a:cubicBezTo>
                      <a:pt x="161" y="53"/>
                      <a:pt x="161" y="53"/>
                      <a:pt x="160" y="54"/>
                    </a:cubicBezTo>
                    <a:cubicBezTo>
                      <a:pt x="160" y="54"/>
                      <a:pt x="161" y="55"/>
                      <a:pt x="160" y="54"/>
                    </a:cubicBezTo>
                    <a:cubicBezTo>
                      <a:pt x="159" y="54"/>
                      <a:pt x="160" y="55"/>
                      <a:pt x="159" y="55"/>
                    </a:cubicBezTo>
                    <a:cubicBezTo>
                      <a:pt x="158" y="55"/>
                      <a:pt x="158" y="54"/>
                      <a:pt x="157" y="54"/>
                    </a:cubicBezTo>
                    <a:cubicBezTo>
                      <a:pt x="157" y="54"/>
                      <a:pt x="157" y="55"/>
                      <a:pt x="157" y="55"/>
                    </a:cubicBezTo>
                    <a:cubicBezTo>
                      <a:pt x="157" y="55"/>
                      <a:pt x="158" y="56"/>
                      <a:pt x="158" y="56"/>
                    </a:cubicBezTo>
                    <a:cubicBezTo>
                      <a:pt x="158" y="57"/>
                      <a:pt x="157" y="56"/>
                      <a:pt x="157" y="56"/>
                    </a:cubicBezTo>
                    <a:cubicBezTo>
                      <a:pt x="157" y="56"/>
                      <a:pt x="156" y="56"/>
                      <a:pt x="156" y="56"/>
                    </a:cubicBezTo>
                    <a:cubicBezTo>
                      <a:pt x="156" y="56"/>
                      <a:pt x="156" y="56"/>
                      <a:pt x="156" y="56"/>
                    </a:cubicBezTo>
                    <a:cubicBezTo>
                      <a:pt x="156" y="56"/>
                      <a:pt x="156" y="56"/>
                      <a:pt x="155" y="56"/>
                    </a:cubicBezTo>
                    <a:cubicBezTo>
                      <a:pt x="155" y="56"/>
                      <a:pt x="155" y="57"/>
                      <a:pt x="155" y="57"/>
                    </a:cubicBezTo>
                    <a:cubicBezTo>
                      <a:pt x="154" y="57"/>
                      <a:pt x="154" y="58"/>
                      <a:pt x="155" y="58"/>
                    </a:cubicBezTo>
                    <a:cubicBezTo>
                      <a:pt x="155" y="58"/>
                      <a:pt x="154" y="58"/>
                      <a:pt x="154" y="58"/>
                    </a:cubicBezTo>
                    <a:cubicBezTo>
                      <a:pt x="153" y="58"/>
                      <a:pt x="153" y="59"/>
                      <a:pt x="153" y="59"/>
                    </a:cubicBezTo>
                    <a:cubicBezTo>
                      <a:pt x="152" y="59"/>
                      <a:pt x="152" y="59"/>
                      <a:pt x="152" y="59"/>
                    </a:cubicBezTo>
                    <a:cubicBezTo>
                      <a:pt x="152" y="59"/>
                      <a:pt x="151" y="58"/>
                      <a:pt x="151" y="58"/>
                    </a:cubicBezTo>
                    <a:cubicBezTo>
                      <a:pt x="151" y="59"/>
                      <a:pt x="150" y="58"/>
                      <a:pt x="149" y="58"/>
                    </a:cubicBezTo>
                    <a:cubicBezTo>
                      <a:pt x="149" y="58"/>
                      <a:pt x="148" y="57"/>
                      <a:pt x="148" y="57"/>
                    </a:cubicBezTo>
                    <a:cubicBezTo>
                      <a:pt x="147" y="57"/>
                      <a:pt x="148" y="58"/>
                      <a:pt x="147" y="58"/>
                    </a:cubicBezTo>
                    <a:cubicBezTo>
                      <a:pt x="146" y="58"/>
                      <a:pt x="145" y="58"/>
                      <a:pt x="144" y="58"/>
                    </a:cubicBezTo>
                    <a:cubicBezTo>
                      <a:pt x="144" y="58"/>
                      <a:pt x="143" y="59"/>
                      <a:pt x="142" y="58"/>
                    </a:cubicBezTo>
                    <a:cubicBezTo>
                      <a:pt x="142" y="58"/>
                      <a:pt x="142" y="57"/>
                      <a:pt x="141" y="57"/>
                    </a:cubicBezTo>
                    <a:cubicBezTo>
                      <a:pt x="140" y="57"/>
                      <a:pt x="140" y="57"/>
                      <a:pt x="139" y="56"/>
                    </a:cubicBezTo>
                    <a:cubicBezTo>
                      <a:pt x="139" y="56"/>
                      <a:pt x="140" y="56"/>
                      <a:pt x="140" y="56"/>
                    </a:cubicBezTo>
                    <a:cubicBezTo>
                      <a:pt x="140" y="55"/>
                      <a:pt x="141" y="54"/>
                      <a:pt x="141" y="54"/>
                    </a:cubicBezTo>
                    <a:cubicBezTo>
                      <a:pt x="142" y="54"/>
                      <a:pt x="143" y="53"/>
                      <a:pt x="142" y="53"/>
                    </a:cubicBezTo>
                    <a:cubicBezTo>
                      <a:pt x="142" y="52"/>
                      <a:pt x="141" y="52"/>
                      <a:pt x="141" y="52"/>
                    </a:cubicBezTo>
                    <a:cubicBezTo>
                      <a:pt x="140" y="52"/>
                      <a:pt x="141" y="52"/>
                      <a:pt x="141" y="52"/>
                    </a:cubicBezTo>
                    <a:cubicBezTo>
                      <a:pt x="142" y="52"/>
                      <a:pt x="141" y="52"/>
                      <a:pt x="141" y="51"/>
                    </a:cubicBezTo>
                    <a:cubicBezTo>
                      <a:pt x="140" y="51"/>
                      <a:pt x="140" y="51"/>
                      <a:pt x="140" y="50"/>
                    </a:cubicBezTo>
                    <a:cubicBezTo>
                      <a:pt x="139" y="50"/>
                      <a:pt x="139" y="49"/>
                      <a:pt x="138" y="49"/>
                    </a:cubicBezTo>
                    <a:cubicBezTo>
                      <a:pt x="138" y="49"/>
                      <a:pt x="138" y="50"/>
                      <a:pt x="138" y="51"/>
                    </a:cubicBezTo>
                    <a:cubicBezTo>
                      <a:pt x="138" y="51"/>
                      <a:pt x="137" y="52"/>
                      <a:pt x="136" y="52"/>
                    </a:cubicBezTo>
                    <a:cubicBezTo>
                      <a:pt x="136" y="52"/>
                      <a:pt x="136" y="52"/>
                      <a:pt x="136" y="52"/>
                    </a:cubicBezTo>
                    <a:cubicBezTo>
                      <a:pt x="135" y="53"/>
                      <a:pt x="135" y="53"/>
                      <a:pt x="134" y="53"/>
                    </a:cubicBezTo>
                    <a:cubicBezTo>
                      <a:pt x="134" y="53"/>
                      <a:pt x="134" y="53"/>
                      <a:pt x="133" y="54"/>
                    </a:cubicBezTo>
                    <a:cubicBezTo>
                      <a:pt x="133" y="54"/>
                      <a:pt x="132" y="53"/>
                      <a:pt x="132" y="53"/>
                    </a:cubicBezTo>
                    <a:cubicBezTo>
                      <a:pt x="131" y="53"/>
                      <a:pt x="131" y="52"/>
                      <a:pt x="130" y="52"/>
                    </a:cubicBezTo>
                    <a:cubicBezTo>
                      <a:pt x="130" y="52"/>
                      <a:pt x="129" y="52"/>
                      <a:pt x="129" y="53"/>
                    </a:cubicBezTo>
                    <a:cubicBezTo>
                      <a:pt x="129" y="53"/>
                      <a:pt x="130" y="54"/>
                      <a:pt x="129" y="54"/>
                    </a:cubicBezTo>
                    <a:cubicBezTo>
                      <a:pt x="129" y="54"/>
                      <a:pt x="129" y="54"/>
                      <a:pt x="129" y="55"/>
                    </a:cubicBezTo>
                    <a:cubicBezTo>
                      <a:pt x="129" y="56"/>
                      <a:pt x="131" y="56"/>
                      <a:pt x="130" y="57"/>
                    </a:cubicBezTo>
                    <a:cubicBezTo>
                      <a:pt x="130" y="58"/>
                      <a:pt x="130" y="57"/>
                      <a:pt x="130" y="58"/>
                    </a:cubicBezTo>
                    <a:cubicBezTo>
                      <a:pt x="130" y="58"/>
                      <a:pt x="131" y="58"/>
                      <a:pt x="131" y="59"/>
                    </a:cubicBezTo>
                    <a:cubicBezTo>
                      <a:pt x="130" y="59"/>
                      <a:pt x="129" y="58"/>
                      <a:pt x="128" y="58"/>
                    </a:cubicBezTo>
                    <a:cubicBezTo>
                      <a:pt x="128" y="58"/>
                      <a:pt x="127" y="59"/>
                      <a:pt x="126" y="59"/>
                    </a:cubicBezTo>
                    <a:cubicBezTo>
                      <a:pt x="126" y="59"/>
                      <a:pt x="125" y="58"/>
                      <a:pt x="125" y="59"/>
                    </a:cubicBezTo>
                    <a:cubicBezTo>
                      <a:pt x="124" y="59"/>
                      <a:pt x="125" y="59"/>
                      <a:pt x="125" y="59"/>
                    </a:cubicBezTo>
                    <a:cubicBezTo>
                      <a:pt x="126" y="60"/>
                      <a:pt x="128" y="59"/>
                      <a:pt x="128" y="60"/>
                    </a:cubicBezTo>
                    <a:cubicBezTo>
                      <a:pt x="128" y="60"/>
                      <a:pt x="127" y="60"/>
                      <a:pt x="127" y="60"/>
                    </a:cubicBezTo>
                    <a:cubicBezTo>
                      <a:pt x="127" y="60"/>
                      <a:pt x="127" y="60"/>
                      <a:pt x="127" y="60"/>
                    </a:cubicBezTo>
                    <a:cubicBezTo>
                      <a:pt x="127" y="60"/>
                      <a:pt x="127" y="60"/>
                      <a:pt x="126" y="60"/>
                    </a:cubicBezTo>
                    <a:cubicBezTo>
                      <a:pt x="126" y="60"/>
                      <a:pt x="126" y="60"/>
                      <a:pt x="126" y="60"/>
                    </a:cubicBezTo>
                    <a:cubicBezTo>
                      <a:pt x="127" y="61"/>
                      <a:pt x="128" y="62"/>
                      <a:pt x="128" y="62"/>
                    </a:cubicBezTo>
                    <a:cubicBezTo>
                      <a:pt x="127" y="63"/>
                      <a:pt x="127" y="61"/>
                      <a:pt x="126" y="61"/>
                    </a:cubicBezTo>
                    <a:cubicBezTo>
                      <a:pt x="126" y="61"/>
                      <a:pt x="127" y="62"/>
                      <a:pt x="127" y="62"/>
                    </a:cubicBezTo>
                    <a:cubicBezTo>
                      <a:pt x="127" y="63"/>
                      <a:pt x="126" y="63"/>
                      <a:pt x="126" y="62"/>
                    </a:cubicBezTo>
                    <a:cubicBezTo>
                      <a:pt x="126" y="62"/>
                      <a:pt x="126" y="62"/>
                      <a:pt x="125" y="62"/>
                    </a:cubicBezTo>
                    <a:cubicBezTo>
                      <a:pt x="126" y="63"/>
                      <a:pt x="126" y="64"/>
                      <a:pt x="126" y="65"/>
                    </a:cubicBezTo>
                    <a:cubicBezTo>
                      <a:pt x="125" y="66"/>
                      <a:pt x="123" y="66"/>
                      <a:pt x="122" y="66"/>
                    </a:cubicBezTo>
                    <a:cubicBezTo>
                      <a:pt x="121" y="65"/>
                      <a:pt x="119" y="65"/>
                      <a:pt x="118" y="65"/>
                    </a:cubicBezTo>
                    <a:cubicBezTo>
                      <a:pt x="117" y="65"/>
                      <a:pt x="117" y="65"/>
                      <a:pt x="117" y="65"/>
                    </a:cubicBezTo>
                    <a:cubicBezTo>
                      <a:pt x="116" y="66"/>
                      <a:pt x="116" y="66"/>
                      <a:pt x="116" y="66"/>
                    </a:cubicBezTo>
                    <a:cubicBezTo>
                      <a:pt x="116" y="67"/>
                      <a:pt x="116" y="66"/>
                      <a:pt x="116" y="67"/>
                    </a:cubicBezTo>
                    <a:cubicBezTo>
                      <a:pt x="116" y="68"/>
                      <a:pt x="116" y="68"/>
                      <a:pt x="116" y="69"/>
                    </a:cubicBezTo>
                    <a:cubicBezTo>
                      <a:pt x="115" y="69"/>
                      <a:pt x="117" y="70"/>
                      <a:pt x="117" y="70"/>
                    </a:cubicBezTo>
                    <a:cubicBezTo>
                      <a:pt x="119" y="70"/>
                      <a:pt x="119" y="70"/>
                      <a:pt x="119" y="71"/>
                    </a:cubicBezTo>
                    <a:cubicBezTo>
                      <a:pt x="120" y="72"/>
                      <a:pt x="122" y="72"/>
                      <a:pt x="123" y="72"/>
                    </a:cubicBezTo>
                    <a:cubicBezTo>
                      <a:pt x="123" y="72"/>
                      <a:pt x="124" y="73"/>
                      <a:pt x="124" y="74"/>
                    </a:cubicBezTo>
                    <a:cubicBezTo>
                      <a:pt x="123" y="74"/>
                      <a:pt x="123" y="74"/>
                      <a:pt x="123" y="74"/>
                    </a:cubicBezTo>
                    <a:cubicBezTo>
                      <a:pt x="123" y="75"/>
                      <a:pt x="123" y="75"/>
                      <a:pt x="123" y="76"/>
                    </a:cubicBezTo>
                    <a:cubicBezTo>
                      <a:pt x="124" y="77"/>
                      <a:pt x="124" y="78"/>
                      <a:pt x="125" y="78"/>
                    </a:cubicBezTo>
                    <a:cubicBezTo>
                      <a:pt x="126" y="79"/>
                      <a:pt x="127" y="80"/>
                      <a:pt x="127" y="81"/>
                    </a:cubicBezTo>
                    <a:cubicBezTo>
                      <a:pt x="128" y="81"/>
                      <a:pt x="127" y="83"/>
                      <a:pt x="127" y="83"/>
                    </a:cubicBezTo>
                    <a:cubicBezTo>
                      <a:pt x="126" y="83"/>
                      <a:pt x="126" y="83"/>
                      <a:pt x="126" y="84"/>
                    </a:cubicBezTo>
                    <a:cubicBezTo>
                      <a:pt x="126" y="84"/>
                      <a:pt x="126" y="85"/>
                      <a:pt x="126" y="85"/>
                    </a:cubicBezTo>
                    <a:cubicBezTo>
                      <a:pt x="125" y="86"/>
                      <a:pt x="124" y="87"/>
                      <a:pt x="124" y="88"/>
                    </a:cubicBezTo>
                    <a:cubicBezTo>
                      <a:pt x="124" y="89"/>
                      <a:pt x="125" y="91"/>
                      <a:pt x="124" y="92"/>
                    </a:cubicBezTo>
                    <a:cubicBezTo>
                      <a:pt x="124" y="91"/>
                      <a:pt x="123" y="91"/>
                      <a:pt x="123" y="91"/>
                    </a:cubicBezTo>
                    <a:cubicBezTo>
                      <a:pt x="122" y="91"/>
                      <a:pt x="122" y="91"/>
                      <a:pt x="122" y="91"/>
                    </a:cubicBezTo>
                    <a:cubicBezTo>
                      <a:pt x="121" y="90"/>
                      <a:pt x="120" y="92"/>
                      <a:pt x="119" y="91"/>
                    </a:cubicBezTo>
                    <a:cubicBezTo>
                      <a:pt x="119" y="91"/>
                      <a:pt x="118" y="91"/>
                      <a:pt x="118" y="90"/>
                    </a:cubicBezTo>
                    <a:cubicBezTo>
                      <a:pt x="118" y="90"/>
                      <a:pt x="117" y="90"/>
                      <a:pt x="116" y="90"/>
                    </a:cubicBezTo>
                    <a:cubicBezTo>
                      <a:pt x="115" y="90"/>
                      <a:pt x="114" y="90"/>
                      <a:pt x="113" y="90"/>
                    </a:cubicBezTo>
                    <a:cubicBezTo>
                      <a:pt x="113" y="90"/>
                      <a:pt x="112" y="89"/>
                      <a:pt x="113" y="89"/>
                    </a:cubicBezTo>
                    <a:cubicBezTo>
                      <a:pt x="113" y="88"/>
                      <a:pt x="112" y="88"/>
                      <a:pt x="112" y="88"/>
                    </a:cubicBezTo>
                    <a:cubicBezTo>
                      <a:pt x="112" y="87"/>
                      <a:pt x="112" y="86"/>
                      <a:pt x="112" y="85"/>
                    </a:cubicBezTo>
                    <a:cubicBezTo>
                      <a:pt x="112" y="84"/>
                      <a:pt x="113" y="84"/>
                      <a:pt x="113" y="83"/>
                    </a:cubicBezTo>
                    <a:cubicBezTo>
                      <a:pt x="112" y="82"/>
                      <a:pt x="110" y="82"/>
                      <a:pt x="110" y="82"/>
                    </a:cubicBezTo>
                    <a:cubicBezTo>
                      <a:pt x="109" y="82"/>
                      <a:pt x="108" y="81"/>
                      <a:pt x="108" y="81"/>
                    </a:cubicBezTo>
                    <a:cubicBezTo>
                      <a:pt x="107" y="81"/>
                      <a:pt x="107" y="80"/>
                      <a:pt x="107" y="80"/>
                    </a:cubicBezTo>
                    <a:cubicBezTo>
                      <a:pt x="106" y="80"/>
                      <a:pt x="106" y="80"/>
                      <a:pt x="105" y="80"/>
                    </a:cubicBezTo>
                    <a:cubicBezTo>
                      <a:pt x="105" y="80"/>
                      <a:pt x="104" y="80"/>
                      <a:pt x="104" y="80"/>
                    </a:cubicBezTo>
                    <a:cubicBezTo>
                      <a:pt x="103" y="80"/>
                      <a:pt x="102" y="80"/>
                      <a:pt x="102" y="80"/>
                    </a:cubicBezTo>
                    <a:cubicBezTo>
                      <a:pt x="101" y="79"/>
                      <a:pt x="100" y="79"/>
                      <a:pt x="99" y="78"/>
                    </a:cubicBezTo>
                    <a:cubicBezTo>
                      <a:pt x="99" y="78"/>
                      <a:pt x="98" y="77"/>
                      <a:pt x="97" y="77"/>
                    </a:cubicBezTo>
                    <a:cubicBezTo>
                      <a:pt x="96" y="76"/>
                      <a:pt x="94" y="75"/>
                      <a:pt x="93" y="75"/>
                    </a:cubicBezTo>
                    <a:cubicBezTo>
                      <a:pt x="92" y="74"/>
                      <a:pt x="91" y="74"/>
                      <a:pt x="91" y="73"/>
                    </a:cubicBezTo>
                    <a:cubicBezTo>
                      <a:pt x="90" y="73"/>
                      <a:pt x="90" y="72"/>
                      <a:pt x="89" y="72"/>
                    </a:cubicBezTo>
                    <a:cubicBezTo>
                      <a:pt x="88" y="72"/>
                      <a:pt x="88" y="72"/>
                      <a:pt x="87" y="72"/>
                    </a:cubicBezTo>
                    <a:cubicBezTo>
                      <a:pt x="86" y="72"/>
                      <a:pt x="86" y="71"/>
                      <a:pt x="85" y="71"/>
                    </a:cubicBezTo>
                    <a:cubicBezTo>
                      <a:pt x="84" y="70"/>
                      <a:pt x="84" y="70"/>
                      <a:pt x="83" y="69"/>
                    </a:cubicBezTo>
                    <a:cubicBezTo>
                      <a:pt x="82" y="69"/>
                      <a:pt x="82" y="68"/>
                      <a:pt x="81" y="68"/>
                    </a:cubicBezTo>
                    <a:cubicBezTo>
                      <a:pt x="80" y="67"/>
                      <a:pt x="78" y="66"/>
                      <a:pt x="76" y="65"/>
                    </a:cubicBezTo>
                    <a:cubicBezTo>
                      <a:pt x="75" y="64"/>
                      <a:pt x="73" y="63"/>
                      <a:pt x="72" y="62"/>
                    </a:cubicBezTo>
                    <a:cubicBezTo>
                      <a:pt x="71" y="62"/>
                      <a:pt x="69" y="61"/>
                      <a:pt x="69" y="60"/>
                    </a:cubicBezTo>
                    <a:cubicBezTo>
                      <a:pt x="69" y="59"/>
                      <a:pt x="69" y="57"/>
                      <a:pt x="68" y="57"/>
                    </a:cubicBezTo>
                    <a:cubicBezTo>
                      <a:pt x="68" y="56"/>
                      <a:pt x="66" y="56"/>
                      <a:pt x="66" y="55"/>
                    </a:cubicBezTo>
                    <a:cubicBezTo>
                      <a:pt x="65" y="54"/>
                      <a:pt x="65" y="53"/>
                      <a:pt x="64" y="52"/>
                    </a:cubicBezTo>
                    <a:cubicBezTo>
                      <a:pt x="63" y="51"/>
                      <a:pt x="63" y="50"/>
                      <a:pt x="62" y="49"/>
                    </a:cubicBezTo>
                    <a:cubicBezTo>
                      <a:pt x="61" y="48"/>
                      <a:pt x="60" y="47"/>
                      <a:pt x="59" y="47"/>
                    </a:cubicBezTo>
                    <a:cubicBezTo>
                      <a:pt x="58" y="47"/>
                      <a:pt x="58" y="47"/>
                      <a:pt x="57" y="47"/>
                    </a:cubicBezTo>
                    <a:cubicBezTo>
                      <a:pt x="57" y="47"/>
                      <a:pt x="57" y="48"/>
                      <a:pt x="57" y="48"/>
                    </a:cubicBezTo>
                    <a:cubicBezTo>
                      <a:pt x="57" y="48"/>
                      <a:pt x="56" y="48"/>
                      <a:pt x="56" y="48"/>
                    </a:cubicBezTo>
                    <a:cubicBezTo>
                      <a:pt x="56" y="48"/>
                      <a:pt x="55" y="48"/>
                      <a:pt x="55" y="47"/>
                    </a:cubicBezTo>
                    <a:cubicBezTo>
                      <a:pt x="55" y="47"/>
                      <a:pt x="54" y="48"/>
                      <a:pt x="54" y="47"/>
                    </a:cubicBezTo>
                    <a:cubicBezTo>
                      <a:pt x="54" y="47"/>
                      <a:pt x="54" y="48"/>
                      <a:pt x="54" y="48"/>
                    </a:cubicBezTo>
                    <a:cubicBezTo>
                      <a:pt x="53" y="47"/>
                      <a:pt x="51" y="47"/>
                      <a:pt x="50" y="47"/>
                    </a:cubicBezTo>
                    <a:cubicBezTo>
                      <a:pt x="49" y="48"/>
                      <a:pt x="48" y="47"/>
                      <a:pt x="46" y="46"/>
                    </a:cubicBezTo>
                    <a:cubicBezTo>
                      <a:pt x="46" y="46"/>
                      <a:pt x="45" y="45"/>
                      <a:pt x="45" y="44"/>
                    </a:cubicBezTo>
                    <a:cubicBezTo>
                      <a:pt x="45" y="44"/>
                      <a:pt x="46" y="44"/>
                      <a:pt x="46" y="43"/>
                    </a:cubicBezTo>
                    <a:cubicBezTo>
                      <a:pt x="45" y="43"/>
                      <a:pt x="45" y="43"/>
                      <a:pt x="45" y="42"/>
                    </a:cubicBezTo>
                    <a:cubicBezTo>
                      <a:pt x="44" y="42"/>
                      <a:pt x="44" y="41"/>
                      <a:pt x="45" y="41"/>
                    </a:cubicBezTo>
                    <a:cubicBezTo>
                      <a:pt x="47" y="42"/>
                      <a:pt x="46" y="41"/>
                      <a:pt x="45" y="40"/>
                    </a:cubicBezTo>
                    <a:cubicBezTo>
                      <a:pt x="45" y="40"/>
                      <a:pt x="44" y="40"/>
                      <a:pt x="44" y="40"/>
                    </a:cubicBezTo>
                    <a:cubicBezTo>
                      <a:pt x="43" y="40"/>
                      <a:pt x="42" y="40"/>
                      <a:pt x="43" y="39"/>
                    </a:cubicBezTo>
                    <a:cubicBezTo>
                      <a:pt x="43" y="39"/>
                      <a:pt x="43" y="39"/>
                      <a:pt x="43" y="39"/>
                    </a:cubicBezTo>
                    <a:cubicBezTo>
                      <a:pt x="43" y="38"/>
                      <a:pt x="43" y="38"/>
                      <a:pt x="43" y="38"/>
                    </a:cubicBezTo>
                    <a:cubicBezTo>
                      <a:pt x="43" y="37"/>
                      <a:pt x="43" y="37"/>
                      <a:pt x="43" y="37"/>
                    </a:cubicBezTo>
                    <a:cubicBezTo>
                      <a:pt x="43" y="37"/>
                      <a:pt x="42" y="36"/>
                      <a:pt x="42" y="36"/>
                    </a:cubicBezTo>
                    <a:cubicBezTo>
                      <a:pt x="41" y="36"/>
                      <a:pt x="41" y="36"/>
                      <a:pt x="40" y="36"/>
                    </a:cubicBezTo>
                    <a:cubicBezTo>
                      <a:pt x="39" y="36"/>
                      <a:pt x="37" y="36"/>
                      <a:pt x="36" y="35"/>
                    </a:cubicBezTo>
                    <a:cubicBezTo>
                      <a:pt x="35" y="34"/>
                      <a:pt x="35" y="34"/>
                      <a:pt x="35" y="34"/>
                    </a:cubicBezTo>
                    <a:cubicBezTo>
                      <a:pt x="34" y="33"/>
                      <a:pt x="34" y="33"/>
                      <a:pt x="33" y="33"/>
                    </a:cubicBezTo>
                    <a:cubicBezTo>
                      <a:pt x="32" y="33"/>
                      <a:pt x="30" y="31"/>
                      <a:pt x="29" y="31"/>
                    </a:cubicBezTo>
                    <a:cubicBezTo>
                      <a:pt x="29" y="30"/>
                      <a:pt x="29" y="31"/>
                      <a:pt x="29" y="31"/>
                    </a:cubicBezTo>
                    <a:cubicBezTo>
                      <a:pt x="29" y="32"/>
                      <a:pt x="28" y="32"/>
                      <a:pt x="27" y="32"/>
                    </a:cubicBezTo>
                    <a:cubicBezTo>
                      <a:pt x="27" y="32"/>
                      <a:pt x="26" y="31"/>
                      <a:pt x="26" y="32"/>
                    </a:cubicBezTo>
                    <a:cubicBezTo>
                      <a:pt x="25" y="32"/>
                      <a:pt x="25" y="32"/>
                      <a:pt x="25" y="33"/>
                    </a:cubicBezTo>
                    <a:cubicBezTo>
                      <a:pt x="26" y="33"/>
                      <a:pt x="26" y="33"/>
                      <a:pt x="27" y="33"/>
                    </a:cubicBezTo>
                    <a:cubicBezTo>
                      <a:pt x="27" y="33"/>
                      <a:pt x="28" y="34"/>
                      <a:pt x="28" y="35"/>
                    </a:cubicBezTo>
                    <a:cubicBezTo>
                      <a:pt x="28" y="35"/>
                      <a:pt x="29" y="36"/>
                      <a:pt x="29" y="36"/>
                    </a:cubicBezTo>
                    <a:cubicBezTo>
                      <a:pt x="29" y="36"/>
                      <a:pt x="28" y="36"/>
                      <a:pt x="28" y="35"/>
                    </a:cubicBezTo>
                    <a:cubicBezTo>
                      <a:pt x="28" y="35"/>
                      <a:pt x="28" y="34"/>
                      <a:pt x="27" y="34"/>
                    </a:cubicBezTo>
                    <a:cubicBezTo>
                      <a:pt x="27" y="34"/>
                      <a:pt x="26" y="34"/>
                      <a:pt x="25" y="34"/>
                    </a:cubicBezTo>
                    <a:cubicBezTo>
                      <a:pt x="25" y="34"/>
                      <a:pt x="25" y="33"/>
                      <a:pt x="25" y="34"/>
                    </a:cubicBezTo>
                    <a:cubicBezTo>
                      <a:pt x="24" y="34"/>
                      <a:pt x="24" y="34"/>
                      <a:pt x="24" y="34"/>
                    </a:cubicBezTo>
                    <a:cubicBezTo>
                      <a:pt x="24" y="35"/>
                      <a:pt x="24" y="35"/>
                      <a:pt x="24" y="35"/>
                    </a:cubicBezTo>
                    <a:cubicBezTo>
                      <a:pt x="24" y="35"/>
                      <a:pt x="24" y="36"/>
                      <a:pt x="24" y="36"/>
                    </a:cubicBezTo>
                    <a:cubicBezTo>
                      <a:pt x="24" y="37"/>
                      <a:pt x="24" y="37"/>
                      <a:pt x="24" y="37"/>
                    </a:cubicBezTo>
                    <a:cubicBezTo>
                      <a:pt x="23" y="37"/>
                      <a:pt x="23" y="37"/>
                      <a:pt x="22" y="37"/>
                    </a:cubicBezTo>
                    <a:cubicBezTo>
                      <a:pt x="21" y="37"/>
                      <a:pt x="20" y="37"/>
                      <a:pt x="19" y="38"/>
                    </a:cubicBezTo>
                    <a:cubicBezTo>
                      <a:pt x="18" y="38"/>
                      <a:pt x="18" y="39"/>
                      <a:pt x="17" y="40"/>
                    </a:cubicBezTo>
                    <a:cubicBezTo>
                      <a:pt x="17" y="40"/>
                      <a:pt x="17" y="40"/>
                      <a:pt x="17" y="40"/>
                    </a:cubicBezTo>
                    <a:cubicBezTo>
                      <a:pt x="16" y="41"/>
                      <a:pt x="17" y="41"/>
                      <a:pt x="17" y="42"/>
                    </a:cubicBezTo>
                    <a:cubicBezTo>
                      <a:pt x="17" y="43"/>
                      <a:pt x="18" y="43"/>
                      <a:pt x="18" y="44"/>
                    </a:cubicBezTo>
                    <a:cubicBezTo>
                      <a:pt x="18" y="45"/>
                      <a:pt x="18" y="45"/>
                      <a:pt x="19" y="45"/>
                    </a:cubicBezTo>
                    <a:cubicBezTo>
                      <a:pt x="19" y="45"/>
                      <a:pt x="20" y="46"/>
                      <a:pt x="20" y="46"/>
                    </a:cubicBezTo>
                    <a:cubicBezTo>
                      <a:pt x="20" y="46"/>
                      <a:pt x="19" y="47"/>
                      <a:pt x="19" y="47"/>
                    </a:cubicBezTo>
                    <a:cubicBezTo>
                      <a:pt x="19" y="47"/>
                      <a:pt x="18" y="47"/>
                      <a:pt x="18" y="47"/>
                    </a:cubicBezTo>
                    <a:cubicBezTo>
                      <a:pt x="16" y="46"/>
                      <a:pt x="15" y="47"/>
                      <a:pt x="13" y="47"/>
                    </a:cubicBezTo>
                    <a:cubicBezTo>
                      <a:pt x="12" y="47"/>
                      <a:pt x="11" y="46"/>
                      <a:pt x="11" y="46"/>
                    </a:cubicBezTo>
                    <a:cubicBezTo>
                      <a:pt x="10" y="46"/>
                      <a:pt x="10" y="47"/>
                      <a:pt x="9" y="46"/>
                    </a:cubicBezTo>
                    <a:cubicBezTo>
                      <a:pt x="9" y="46"/>
                      <a:pt x="9" y="45"/>
                      <a:pt x="9" y="45"/>
                    </a:cubicBezTo>
                    <a:cubicBezTo>
                      <a:pt x="9" y="44"/>
                      <a:pt x="8" y="43"/>
                      <a:pt x="8" y="42"/>
                    </a:cubicBezTo>
                    <a:cubicBezTo>
                      <a:pt x="7" y="35"/>
                      <a:pt x="5" y="28"/>
                      <a:pt x="4" y="22"/>
                    </a:cubicBezTo>
                    <a:cubicBezTo>
                      <a:pt x="3" y="18"/>
                      <a:pt x="2" y="15"/>
                      <a:pt x="2" y="12"/>
                    </a:cubicBezTo>
                    <a:cubicBezTo>
                      <a:pt x="1" y="10"/>
                      <a:pt x="1" y="9"/>
                      <a:pt x="1" y="7"/>
                    </a:cubicBezTo>
                    <a:cubicBezTo>
                      <a:pt x="0" y="6"/>
                      <a:pt x="1" y="6"/>
                      <a:pt x="2" y="6"/>
                    </a:cubicBezTo>
                    <a:cubicBezTo>
                      <a:pt x="5" y="5"/>
                      <a:pt x="8" y="4"/>
                      <a:pt x="11" y="3"/>
                    </a:cubicBezTo>
                    <a:cubicBezTo>
                      <a:pt x="14" y="2"/>
                      <a:pt x="18" y="1"/>
                      <a:pt x="21" y="0"/>
                    </a:cubicBezTo>
                    <a:cubicBezTo>
                      <a:pt x="21" y="0"/>
                      <a:pt x="22" y="0"/>
                      <a:pt x="22" y="0"/>
                    </a:cubicBezTo>
                    <a:cubicBezTo>
                      <a:pt x="22" y="1"/>
                      <a:pt x="22" y="1"/>
                      <a:pt x="22" y="1"/>
                    </a:cubicBezTo>
                    <a:cubicBezTo>
                      <a:pt x="22" y="1"/>
                      <a:pt x="22" y="1"/>
                      <a:pt x="22" y="1"/>
                    </a:cubicBezTo>
                    <a:cubicBezTo>
                      <a:pt x="22" y="1"/>
                      <a:pt x="22" y="2"/>
                      <a:pt x="22" y="2"/>
                    </a:cubicBezTo>
                    <a:cubicBezTo>
                      <a:pt x="22" y="3"/>
                      <a:pt x="21" y="3"/>
                      <a:pt x="21" y="3"/>
                    </a:cubicBezTo>
                    <a:cubicBezTo>
                      <a:pt x="21" y="4"/>
                      <a:pt x="21" y="5"/>
                      <a:pt x="21" y="6"/>
                    </a:cubicBezTo>
                    <a:cubicBezTo>
                      <a:pt x="20" y="7"/>
                      <a:pt x="20" y="8"/>
                      <a:pt x="20" y="9"/>
                    </a:cubicBezTo>
                    <a:cubicBezTo>
                      <a:pt x="21" y="9"/>
                      <a:pt x="22" y="11"/>
                      <a:pt x="22" y="11"/>
                    </a:cubicBezTo>
                    <a:cubicBezTo>
                      <a:pt x="21" y="12"/>
                      <a:pt x="22" y="13"/>
                      <a:pt x="23" y="13"/>
                    </a:cubicBezTo>
                    <a:cubicBezTo>
                      <a:pt x="24" y="13"/>
                      <a:pt x="24" y="13"/>
                      <a:pt x="25" y="12"/>
                    </a:cubicBezTo>
                    <a:cubicBezTo>
                      <a:pt x="25" y="12"/>
                      <a:pt x="25" y="11"/>
                      <a:pt x="25" y="11"/>
                    </a:cubicBezTo>
                    <a:cubicBezTo>
                      <a:pt x="25" y="11"/>
                      <a:pt x="25" y="10"/>
                      <a:pt x="25" y="10"/>
                    </a:cubicBezTo>
                    <a:cubicBezTo>
                      <a:pt x="25" y="11"/>
                      <a:pt x="23" y="9"/>
                      <a:pt x="24" y="9"/>
                    </a:cubicBezTo>
                    <a:cubicBezTo>
                      <a:pt x="25" y="9"/>
                      <a:pt x="25" y="10"/>
                      <a:pt x="25" y="10"/>
                    </a:cubicBezTo>
                    <a:cubicBezTo>
                      <a:pt x="26" y="10"/>
                      <a:pt x="26" y="10"/>
                      <a:pt x="26" y="10"/>
                    </a:cubicBezTo>
                    <a:cubicBezTo>
                      <a:pt x="26" y="10"/>
                      <a:pt x="26" y="10"/>
                      <a:pt x="26" y="10"/>
                    </a:cubicBezTo>
                    <a:cubicBezTo>
                      <a:pt x="26" y="9"/>
                      <a:pt x="25" y="9"/>
                      <a:pt x="25" y="9"/>
                    </a:cubicBezTo>
                    <a:cubicBezTo>
                      <a:pt x="25" y="9"/>
                      <a:pt x="25" y="9"/>
                      <a:pt x="25" y="9"/>
                    </a:cubicBezTo>
                    <a:cubicBezTo>
                      <a:pt x="25" y="8"/>
                      <a:pt x="25" y="8"/>
                      <a:pt x="25" y="8"/>
                    </a:cubicBezTo>
                    <a:cubicBezTo>
                      <a:pt x="25" y="8"/>
                      <a:pt x="25" y="7"/>
                      <a:pt x="25" y="7"/>
                    </a:cubicBezTo>
                    <a:cubicBezTo>
                      <a:pt x="25" y="7"/>
                      <a:pt x="25" y="7"/>
                      <a:pt x="25" y="7"/>
                    </a:cubicBezTo>
                    <a:cubicBezTo>
                      <a:pt x="25" y="7"/>
                      <a:pt x="25" y="7"/>
                      <a:pt x="25" y="7"/>
                    </a:cubicBezTo>
                    <a:cubicBezTo>
                      <a:pt x="25" y="6"/>
                      <a:pt x="25" y="6"/>
                      <a:pt x="25" y="7"/>
                    </a:cubicBezTo>
                    <a:cubicBezTo>
                      <a:pt x="25" y="7"/>
                      <a:pt x="24" y="7"/>
                      <a:pt x="24" y="7"/>
                    </a:cubicBezTo>
                    <a:cubicBezTo>
                      <a:pt x="23" y="6"/>
                      <a:pt x="24" y="6"/>
                      <a:pt x="24" y="5"/>
                    </a:cubicBezTo>
                    <a:cubicBezTo>
                      <a:pt x="25" y="5"/>
                      <a:pt x="24" y="4"/>
                      <a:pt x="24" y="4"/>
                    </a:cubicBezTo>
                    <a:cubicBezTo>
                      <a:pt x="23" y="3"/>
                      <a:pt x="23" y="3"/>
                      <a:pt x="23" y="2"/>
                    </a:cubicBezTo>
                    <a:cubicBezTo>
                      <a:pt x="23" y="2"/>
                      <a:pt x="23" y="2"/>
                      <a:pt x="24" y="1"/>
                    </a:cubicBezTo>
                    <a:cubicBezTo>
                      <a:pt x="24" y="1"/>
                      <a:pt x="24" y="1"/>
                      <a:pt x="24" y="1"/>
                    </a:cubicBezTo>
                    <a:cubicBezTo>
                      <a:pt x="24" y="2"/>
                      <a:pt x="24" y="2"/>
                      <a:pt x="25" y="2"/>
                    </a:cubicBezTo>
                    <a:cubicBezTo>
                      <a:pt x="27" y="3"/>
                      <a:pt x="30" y="5"/>
                      <a:pt x="30" y="5"/>
                    </a:cubicBezTo>
                    <a:cubicBezTo>
                      <a:pt x="30" y="6"/>
                      <a:pt x="30" y="7"/>
                      <a:pt x="30" y="8"/>
                    </a:cubicBezTo>
                    <a:cubicBezTo>
                      <a:pt x="29" y="9"/>
                      <a:pt x="29" y="10"/>
                      <a:pt x="29" y="11"/>
                    </a:cubicBezTo>
                    <a:cubicBezTo>
                      <a:pt x="30" y="12"/>
                      <a:pt x="31" y="14"/>
                      <a:pt x="32" y="15"/>
                    </a:cubicBezTo>
                    <a:cubicBezTo>
                      <a:pt x="33" y="15"/>
                      <a:pt x="33" y="16"/>
                      <a:pt x="34" y="17"/>
                    </a:cubicBezTo>
                    <a:cubicBezTo>
                      <a:pt x="35" y="17"/>
                      <a:pt x="35" y="16"/>
                      <a:pt x="35" y="16"/>
                    </a:cubicBezTo>
                    <a:cubicBezTo>
                      <a:pt x="36" y="16"/>
                      <a:pt x="36" y="16"/>
                      <a:pt x="36" y="16"/>
                    </a:cubicBezTo>
                    <a:cubicBezTo>
                      <a:pt x="36" y="16"/>
                      <a:pt x="36" y="16"/>
                      <a:pt x="36" y="17"/>
                    </a:cubicBezTo>
                    <a:cubicBezTo>
                      <a:pt x="37" y="17"/>
                      <a:pt x="37" y="17"/>
                      <a:pt x="37" y="17"/>
                    </a:cubicBezTo>
                    <a:cubicBezTo>
                      <a:pt x="37" y="16"/>
                      <a:pt x="36" y="16"/>
                      <a:pt x="37" y="16"/>
                    </a:cubicBezTo>
                    <a:cubicBezTo>
                      <a:pt x="37" y="15"/>
                      <a:pt x="37" y="15"/>
                      <a:pt x="38" y="15"/>
                    </a:cubicBezTo>
                    <a:cubicBezTo>
                      <a:pt x="38" y="14"/>
                      <a:pt x="38" y="13"/>
                      <a:pt x="38" y="12"/>
                    </a:cubicBezTo>
                    <a:cubicBezTo>
                      <a:pt x="37" y="11"/>
                      <a:pt x="37" y="10"/>
                      <a:pt x="37" y="9"/>
                    </a:cubicBezTo>
                    <a:cubicBezTo>
                      <a:pt x="37" y="8"/>
                      <a:pt x="37" y="8"/>
                      <a:pt x="37" y="8"/>
                    </a:cubicBezTo>
                    <a:cubicBezTo>
                      <a:pt x="39" y="9"/>
                      <a:pt x="40" y="10"/>
                      <a:pt x="42" y="10"/>
                    </a:cubicBezTo>
                    <a:cubicBezTo>
                      <a:pt x="43" y="11"/>
                      <a:pt x="44" y="12"/>
                      <a:pt x="46" y="13"/>
                    </a:cubicBezTo>
                    <a:cubicBezTo>
                      <a:pt x="47" y="13"/>
                      <a:pt x="47" y="15"/>
                      <a:pt x="49" y="16"/>
                    </a:cubicBezTo>
                    <a:cubicBezTo>
                      <a:pt x="50" y="17"/>
                      <a:pt x="52" y="18"/>
                      <a:pt x="53" y="19"/>
                    </a:cubicBezTo>
                    <a:cubicBezTo>
                      <a:pt x="54" y="20"/>
                      <a:pt x="55" y="21"/>
                      <a:pt x="55" y="21"/>
                    </a:cubicBezTo>
                    <a:cubicBezTo>
                      <a:pt x="56" y="22"/>
                      <a:pt x="57" y="23"/>
                      <a:pt x="57" y="23"/>
                    </a:cubicBezTo>
                    <a:cubicBezTo>
                      <a:pt x="61" y="23"/>
                      <a:pt x="64" y="22"/>
                      <a:pt x="67" y="21"/>
                    </a:cubicBezTo>
                    <a:cubicBezTo>
                      <a:pt x="71" y="21"/>
                      <a:pt x="71" y="22"/>
                      <a:pt x="73" y="22"/>
                    </a:cubicBezTo>
                    <a:cubicBezTo>
                      <a:pt x="74" y="22"/>
                      <a:pt x="76" y="22"/>
                      <a:pt x="78" y="22"/>
                    </a:cubicBezTo>
                    <a:cubicBezTo>
                      <a:pt x="79" y="22"/>
                      <a:pt x="79" y="22"/>
                      <a:pt x="80" y="21"/>
                    </a:cubicBezTo>
                    <a:cubicBezTo>
                      <a:pt x="81" y="21"/>
                      <a:pt x="82" y="20"/>
                      <a:pt x="82" y="20"/>
                    </a:cubicBezTo>
                    <a:cubicBezTo>
                      <a:pt x="84" y="21"/>
                      <a:pt x="85" y="23"/>
                      <a:pt x="86" y="24"/>
                    </a:cubicBezTo>
                    <a:cubicBezTo>
                      <a:pt x="87" y="24"/>
                      <a:pt x="87" y="24"/>
                      <a:pt x="88" y="24"/>
                    </a:cubicBezTo>
                    <a:cubicBezTo>
                      <a:pt x="89" y="25"/>
                      <a:pt x="89" y="26"/>
                      <a:pt x="90" y="26"/>
                    </a:cubicBezTo>
                    <a:cubicBezTo>
                      <a:pt x="91" y="27"/>
                      <a:pt x="92" y="30"/>
                      <a:pt x="93" y="29"/>
                    </a:cubicBezTo>
                    <a:cubicBezTo>
                      <a:pt x="93" y="29"/>
                      <a:pt x="94" y="28"/>
                      <a:pt x="94" y="28"/>
                    </a:cubicBezTo>
                    <a:cubicBezTo>
                      <a:pt x="95" y="29"/>
                      <a:pt x="95" y="29"/>
                      <a:pt x="95" y="30"/>
                    </a:cubicBezTo>
                    <a:cubicBezTo>
                      <a:pt x="95" y="31"/>
                      <a:pt x="95" y="31"/>
                      <a:pt x="95" y="32"/>
                    </a:cubicBezTo>
                    <a:cubicBezTo>
                      <a:pt x="95" y="33"/>
                      <a:pt x="96" y="34"/>
                      <a:pt x="96" y="34"/>
                    </a:cubicBezTo>
                    <a:cubicBezTo>
                      <a:pt x="96" y="35"/>
                      <a:pt x="95" y="34"/>
                      <a:pt x="95" y="35"/>
                    </a:cubicBezTo>
                    <a:cubicBezTo>
                      <a:pt x="96" y="35"/>
                      <a:pt x="96" y="36"/>
                      <a:pt x="96" y="36"/>
                    </a:cubicBezTo>
                    <a:cubicBezTo>
                      <a:pt x="96" y="37"/>
                      <a:pt x="96" y="37"/>
                      <a:pt x="96" y="38"/>
                    </a:cubicBezTo>
                    <a:cubicBezTo>
                      <a:pt x="97" y="39"/>
                      <a:pt x="99" y="39"/>
                      <a:pt x="100" y="39"/>
                    </a:cubicBezTo>
                    <a:cubicBezTo>
                      <a:pt x="100" y="39"/>
                      <a:pt x="101" y="39"/>
                      <a:pt x="101" y="39"/>
                    </a:cubicBezTo>
                    <a:cubicBezTo>
                      <a:pt x="101" y="40"/>
                      <a:pt x="101" y="41"/>
                      <a:pt x="102" y="41"/>
                    </a:cubicBezTo>
                    <a:cubicBezTo>
                      <a:pt x="102" y="43"/>
                      <a:pt x="103" y="45"/>
                      <a:pt x="104" y="47"/>
                    </a:cubicBezTo>
                    <a:cubicBezTo>
                      <a:pt x="105" y="48"/>
                      <a:pt x="106" y="48"/>
                      <a:pt x="107" y="48"/>
                    </a:cubicBezTo>
                    <a:cubicBezTo>
                      <a:pt x="108" y="48"/>
                      <a:pt x="109" y="48"/>
                      <a:pt x="110" y="48"/>
                    </a:cubicBezTo>
                    <a:cubicBezTo>
                      <a:pt x="111" y="48"/>
                      <a:pt x="112" y="48"/>
                      <a:pt x="113" y="48"/>
                    </a:cubicBezTo>
                    <a:cubicBezTo>
                      <a:pt x="113" y="48"/>
                      <a:pt x="114" y="48"/>
                      <a:pt x="115" y="48"/>
                    </a:cubicBezTo>
                    <a:cubicBezTo>
                      <a:pt x="115" y="48"/>
                      <a:pt x="115" y="48"/>
                      <a:pt x="116" y="48"/>
                    </a:cubicBezTo>
                    <a:cubicBezTo>
                      <a:pt x="116" y="48"/>
                      <a:pt x="117" y="49"/>
                      <a:pt x="117" y="49"/>
                    </a:cubicBezTo>
                    <a:cubicBezTo>
                      <a:pt x="118" y="49"/>
                      <a:pt x="118" y="49"/>
                      <a:pt x="118" y="50"/>
                    </a:cubicBezTo>
                    <a:cubicBezTo>
                      <a:pt x="118" y="50"/>
                      <a:pt x="118" y="51"/>
                      <a:pt x="118" y="51"/>
                    </a:cubicBezTo>
                    <a:cubicBezTo>
                      <a:pt x="117" y="52"/>
                      <a:pt x="117" y="52"/>
                      <a:pt x="118" y="52"/>
                    </a:cubicBezTo>
                    <a:cubicBezTo>
                      <a:pt x="119" y="53"/>
                      <a:pt x="121" y="54"/>
                      <a:pt x="122" y="54"/>
                    </a:cubicBezTo>
                    <a:cubicBezTo>
                      <a:pt x="122" y="54"/>
                      <a:pt x="122" y="54"/>
                      <a:pt x="123" y="54"/>
                    </a:cubicBezTo>
                    <a:cubicBezTo>
                      <a:pt x="123" y="54"/>
                      <a:pt x="123" y="54"/>
                      <a:pt x="123" y="54"/>
                    </a:cubicBezTo>
                    <a:cubicBezTo>
                      <a:pt x="124" y="54"/>
                      <a:pt x="123" y="53"/>
                      <a:pt x="123" y="53"/>
                    </a:cubicBezTo>
                    <a:cubicBezTo>
                      <a:pt x="123" y="53"/>
                      <a:pt x="123" y="53"/>
                      <a:pt x="123" y="53"/>
                    </a:cubicBezTo>
                    <a:cubicBezTo>
                      <a:pt x="123" y="52"/>
                      <a:pt x="122" y="52"/>
                      <a:pt x="122" y="52"/>
                    </a:cubicBezTo>
                    <a:cubicBezTo>
                      <a:pt x="122" y="51"/>
                      <a:pt x="122" y="51"/>
                      <a:pt x="123" y="50"/>
                    </a:cubicBezTo>
                    <a:cubicBezTo>
                      <a:pt x="123" y="50"/>
                      <a:pt x="123" y="50"/>
                      <a:pt x="123" y="49"/>
                    </a:cubicBezTo>
                    <a:cubicBezTo>
                      <a:pt x="123" y="49"/>
                      <a:pt x="124" y="49"/>
                      <a:pt x="124" y="49"/>
                    </a:cubicBezTo>
                    <a:cubicBezTo>
                      <a:pt x="124" y="48"/>
                      <a:pt x="125" y="48"/>
                      <a:pt x="125" y="48"/>
                    </a:cubicBezTo>
                    <a:cubicBezTo>
                      <a:pt x="126" y="47"/>
                      <a:pt x="125" y="47"/>
                      <a:pt x="125" y="46"/>
                    </a:cubicBezTo>
                    <a:cubicBezTo>
                      <a:pt x="125" y="46"/>
                      <a:pt x="125" y="46"/>
                      <a:pt x="126" y="45"/>
                    </a:cubicBezTo>
                    <a:cubicBezTo>
                      <a:pt x="126" y="45"/>
                      <a:pt x="127" y="45"/>
                      <a:pt x="128" y="45"/>
                    </a:cubicBezTo>
                    <a:cubicBezTo>
                      <a:pt x="127" y="44"/>
                      <a:pt x="129" y="43"/>
                      <a:pt x="129" y="43"/>
                    </a:cubicBezTo>
                    <a:cubicBezTo>
                      <a:pt x="130" y="42"/>
                      <a:pt x="131" y="42"/>
                      <a:pt x="131" y="42"/>
                    </a:cubicBezTo>
                    <a:cubicBezTo>
                      <a:pt x="132" y="42"/>
                      <a:pt x="132" y="42"/>
                      <a:pt x="132" y="41"/>
                    </a:cubicBezTo>
                    <a:cubicBezTo>
                      <a:pt x="133" y="41"/>
                      <a:pt x="133" y="41"/>
                      <a:pt x="133" y="41"/>
                    </a:cubicBezTo>
                    <a:cubicBezTo>
                      <a:pt x="134" y="40"/>
                      <a:pt x="134" y="40"/>
                      <a:pt x="134" y="40"/>
                    </a:cubicBezTo>
                    <a:cubicBezTo>
                      <a:pt x="135" y="39"/>
                      <a:pt x="134" y="39"/>
                      <a:pt x="135" y="38"/>
                    </a:cubicBezTo>
                    <a:cubicBezTo>
                      <a:pt x="136" y="38"/>
                      <a:pt x="136" y="38"/>
                      <a:pt x="136" y="39"/>
                    </a:cubicBezTo>
                    <a:cubicBezTo>
                      <a:pt x="137" y="39"/>
                      <a:pt x="137" y="37"/>
                      <a:pt x="138" y="37"/>
                    </a:cubicBezTo>
                    <a:cubicBezTo>
                      <a:pt x="138" y="37"/>
                      <a:pt x="138" y="37"/>
                      <a:pt x="139" y="37"/>
                    </a:cubicBezTo>
                    <a:cubicBezTo>
                      <a:pt x="139" y="37"/>
                      <a:pt x="139" y="36"/>
                      <a:pt x="140" y="36"/>
                    </a:cubicBezTo>
                    <a:cubicBezTo>
                      <a:pt x="140" y="36"/>
                      <a:pt x="142" y="36"/>
                      <a:pt x="142" y="37"/>
                    </a:cubicBezTo>
                    <a:cubicBezTo>
                      <a:pt x="143" y="37"/>
                      <a:pt x="141" y="38"/>
                      <a:pt x="140" y="38"/>
                    </a:cubicBezTo>
                    <a:cubicBezTo>
                      <a:pt x="140" y="39"/>
                      <a:pt x="140" y="38"/>
                      <a:pt x="139" y="39"/>
                    </a:cubicBezTo>
                    <a:cubicBezTo>
                      <a:pt x="139" y="39"/>
                      <a:pt x="139" y="39"/>
                      <a:pt x="139" y="40"/>
                    </a:cubicBezTo>
                    <a:cubicBezTo>
                      <a:pt x="139" y="40"/>
                      <a:pt x="139" y="40"/>
                      <a:pt x="138" y="40"/>
                    </a:cubicBezTo>
                    <a:cubicBezTo>
                      <a:pt x="138" y="40"/>
                      <a:pt x="137" y="41"/>
                      <a:pt x="137" y="41"/>
                    </a:cubicBezTo>
                    <a:cubicBezTo>
                      <a:pt x="137" y="41"/>
                      <a:pt x="137" y="42"/>
                      <a:pt x="136" y="42"/>
                    </a:cubicBezTo>
                    <a:cubicBezTo>
                      <a:pt x="136" y="43"/>
                      <a:pt x="136" y="43"/>
                      <a:pt x="135" y="43"/>
                    </a:cubicBezTo>
                    <a:cubicBezTo>
                      <a:pt x="135" y="43"/>
                      <a:pt x="134" y="44"/>
                      <a:pt x="135" y="44"/>
                    </a:cubicBezTo>
                    <a:cubicBezTo>
                      <a:pt x="135" y="44"/>
                      <a:pt x="136" y="44"/>
                      <a:pt x="136" y="44"/>
                    </a:cubicBezTo>
                    <a:cubicBezTo>
                      <a:pt x="137" y="44"/>
                      <a:pt x="137" y="45"/>
                      <a:pt x="137" y="45"/>
                    </a:cubicBezTo>
                    <a:cubicBezTo>
                      <a:pt x="138" y="46"/>
                      <a:pt x="138" y="45"/>
                      <a:pt x="139" y="45"/>
                    </a:cubicBezTo>
                    <a:cubicBezTo>
                      <a:pt x="140" y="45"/>
                      <a:pt x="140" y="45"/>
                      <a:pt x="140" y="46"/>
                    </a:cubicBezTo>
                    <a:cubicBezTo>
                      <a:pt x="141" y="46"/>
                      <a:pt x="140" y="47"/>
                      <a:pt x="141" y="47"/>
                    </a:cubicBezTo>
                    <a:cubicBezTo>
                      <a:pt x="141" y="47"/>
                      <a:pt x="142" y="47"/>
                      <a:pt x="142" y="47"/>
                    </a:cubicBezTo>
                    <a:cubicBezTo>
                      <a:pt x="142" y="48"/>
                      <a:pt x="143" y="48"/>
                      <a:pt x="143" y="48"/>
                    </a:cubicBezTo>
                    <a:cubicBezTo>
                      <a:pt x="144" y="48"/>
                      <a:pt x="144" y="48"/>
                      <a:pt x="145" y="49"/>
                    </a:cubicBezTo>
                    <a:cubicBezTo>
                      <a:pt x="145" y="49"/>
                      <a:pt x="145" y="48"/>
                      <a:pt x="145" y="48"/>
                    </a:cubicBezTo>
                    <a:cubicBezTo>
                      <a:pt x="145" y="48"/>
                      <a:pt x="145" y="48"/>
                      <a:pt x="146" y="49"/>
                    </a:cubicBezTo>
                    <a:cubicBezTo>
                      <a:pt x="146" y="49"/>
                      <a:pt x="146" y="48"/>
                      <a:pt x="146" y="48"/>
                    </a:cubicBezTo>
                    <a:cubicBezTo>
                      <a:pt x="147" y="48"/>
                      <a:pt x="147" y="49"/>
                      <a:pt x="147" y="48"/>
                    </a:cubicBezTo>
                    <a:cubicBezTo>
                      <a:pt x="147" y="47"/>
                      <a:pt x="146" y="47"/>
                      <a:pt x="146" y="46"/>
                    </a:cubicBezTo>
                    <a:cubicBezTo>
                      <a:pt x="147" y="46"/>
                      <a:pt x="147" y="47"/>
                      <a:pt x="148" y="47"/>
                    </a:cubicBezTo>
                    <a:cubicBezTo>
                      <a:pt x="148" y="46"/>
                      <a:pt x="148" y="45"/>
                      <a:pt x="148" y="45"/>
                    </a:cubicBezTo>
                    <a:cubicBezTo>
                      <a:pt x="148" y="45"/>
                      <a:pt x="147" y="44"/>
                      <a:pt x="148" y="44"/>
                    </a:cubicBezTo>
                    <a:cubicBezTo>
                      <a:pt x="148" y="43"/>
                      <a:pt x="148" y="45"/>
                      <a:pt x="148" y="45"/>
                    </a:cubicBezTo>
                    <a:cubicBezTo>
                      <a:pt x="148" y="45"/>
                      <a:pt x="149" y="45"/>
                      <a:pt x="149" y="45"/>
                    </a:cubicBezTo>
                    <a:cubicBezTo>
                      <a:pt x="150" y="46"/>
                      <a:pt x="150" y="46"/>
                      <a:pt x="150" y="47"/>
                    </a:cubicBezTo>
                    <a:cubicBezTo>
                      <a:pt x="151" y="47"/>
                      <a:pt x="151" y="48"/>
                      <a:pt x="151" y="48"/>
                    </a:cubicBezTo>
                    <a:cubicBezTo>
                      <a:pt x="151" y="48"/>
                      <a:pt x="152" y="48"/>
                      <a:pt x="152" y="48"/>
                    </a:cubicBezTo>
                    <a:cubicBezTo>
                      <a:pt x="153" y="48"/>
                      <a:pt x="153" y="48"/>
                      <a:pt x="153" y="48"/>
                    </a:cubicBezTo>
                    <a:cubicBezTo>
                      <a:pt x="154" y="48"/>
                      <a:pt x="154" y="49"/>
                      <a:pt x="154" y="50"/>
                    </a:cubicBezTo>
                    <a:cubicBezTo>
                      <a:pt x="154" y="50"/>
                      <a:pt x="155" y="50"/>
                      <a:pt x="155" y="49"/>
                    </a:cubicBezTo>
                    <a:cubicBezTo>
                      <a:pt x="155" y="49"/>
                      <a:pt x="155" y="49"/>
                      <a:pt x="155" y="49"/>
                    </a:cubicBezTo>
                    <a:cubicBezTo>
                      <a:pt x="155" y="49"/>
                      <a:pt x="156" y="49"/>
                      <a:pt x="156" y="50"/>
                    </a:cubicBezTo>
                    <a:cubicBezTo>
                      <a:pt x="156" y="50"/>
                      <a:pt x="157" y="50"/>
                      <a:pt x="157" y="50"/>
                    </a:cubicBezTo>
                    <a:cubicBezTo>
                      <a:pt x="157" y="50"/>
                      <a:pt x="157" y="50"/>
                      <a:pt x="158" y="51"/>
                    </a:cubicBezTo>
                    <a:cubicBezTo>
                      <a:pt x="158" y="51"/>
                      <a:pt x="158" y="51"/>
                      <a:pt x="159" y="51"/>
                    </a:cubicBezTo>
                    <a:cubicBezTo>
                      <a:pt x="159" y="51"/>
                      <a:pt x="160" y="51"/>
                      <a:pt x="161" y="51"/>
                    </a:cubicBezTo>
                    <a:cubicBezTo>
                      <a:pt x="161" y="52"/>
                      <a:pt x="161" y="51"/>
                      <a:pt x="162" y="51"/>
                    </a:cubicBezTo>
                    <a:cubicBezTo>
                      <a:pt x="162" y="51"/>
                      <a:pt x="163" y="51"/>
                      <a:pt x="163" y="52"/>
                    </a:cubicBezTo>
                    <a:cubicBezTo>
                      <a:pt x="164" y="52"/>
                      <a:pt x="161" y="53"/>
                      <a:pt x="161" y="53"/>
                    </a:cubicBezTo>
                    <a:close/>
                    <a:moveTo>
                      <a:pt x="141" y="51"/>
                    </a:moveTo>
                    <a:cubicBezTo>
                      <a:pt x="141" y="50"/>
                      <a:pt x="140" y="50"/>
                      <a:pt x="140" y="50"/>
                    </a:cubicBezTo>
                    <a:cubicBezTo>
                      <a:pt x="139" y="50"/>
                      <a:pt x="140" y="51"/>
                      <a:pt x="141" y="5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2" name="Uruguay">
                <a:extLst>
                  <a:ext uri="{FF2B5EF4-FFF2-40B4-BE49-F238E27FC236}">
                    <a16:creationId xmlns:a16="http://schemas.microsoft.com/office/drawing/2014/main" id="{6C24F3AB-BE72-1A66-3E23-F8448BC0F827}"/>
                  </a:ext>
                </a:extLst>
              </p:cNvPr>
              <p:cNvSpPr>
                <a:spLocks/>
              </p:cNvSpPr>
              <p:nvPr/>
            </p:nvSpPr>
            <p:spPr bwMode="auto">
              <a:xfrm>
                <a:off x="3799088" y="5217607"/>
                <a:ext cx="177409" cy="191132"/>
              </a:xfrm>
              <a:custGeom>
                <a:avLst/>
                <a:gdLst/>
                <a:ahLst/>
                <a:cxnLst>
                  <a:cxn ang="0">
                    <a:pos x="48" y="39"/>
                  </a:cxn>
                  <a:cxn ang="0">
                    <a:pos x="47" y="34"/>
                  </a:cxn>
                  <a:cxn ang="0">
                    <a:pos x="49" y="31"/>
                  </a:cxn>
                  <a:cxn ang="0">
                    <a:pos x="49" y="28"/>
                  </a:cxn>
                  <a:cxn ang="0">
                    <a:pos x="44" y="23"/>
                  </a:cxn>
                  <a:cxn ang="0">
                    <a:pos x="41" y="21"/>
                  </a:cxn>
                  <a:cxn ang="0">
                    <a:pos x="39" y="20"/>
                  </a:cxn>
                  <a:cxn ang="0">
                    <a:pos x="37" y="18"/>
                  </a:cxn>
                  <a:cxn ang="0">
                    <a:pos x="34" y="16"/>
                  </a:cxn>
                  <a:cxn ang="0">
                    <a:pos x="30" y="14"/>
                  </a:cxn>
                  <a:cxn ang="0">
                    <a:pos x="28" y="13"/>
                  </a:cxn>
                  <a:cxn ang="0">
                    <a:pos x="24" y="9"/>
                  </a:cxn>
                  <a:cxn ang="0">
                    <a:pos x="22" y="10"/>
                  </a:cxn>
                  <a:cxn ang="0">
                    <a:pos x="20" y="11"/>
                  </a:cxn>
                  <a:cxn ang="0">
                    <a:pos x="18" y="7"/>
                  </a:cxn>
                  <a:cxn ang="0">
                    <a:pos x="14" y="3"/>
                  </a:cxn>
                  <a:cxn ang="0">
                    <a:pos x="11" y="1"/>
                  </a:cxn>
                  <a:cxn ang="0">
                    <a:pos x="7" y="1"/>
                  </a:cxn>
                  <a:cxn ang="0">
                    <a:pos x="6" y="2"/>
                  </a:cxn>
                  <a:cxn ang="0">
                    <a:pos x="4" y="2"/>
                  </a:cxn>
                  <a:cxn ang="0">
                    <a:pos x="3" y="2"/>
                  </a:cxn>
                  <a:cxn ang="0">
                    <a:pos x="2" y="8"/>
                  </a:cxn>
                  <a:cxn ang="0">
                    <a:pos x="2" y="9"/>
                  </a:cxn>
                  <a:cxn ang="0">
                    <a:pos x="2" y="12"/>
                  </a:cxn>
                  <a:cxn ang="0">
                    <a:pos x="2" y="14"/>
                  </a:cxn>
                  <a:cxn ang="0">
                    <a:pos x="2" y="16"/>
                  </a:cxn>
                  <a:cxn ang="0">
                    <a:pos x="2" y="19"/>
                  </a:cxn>
                  <a:cxn ang="0">
                    <a:pos x="2" y="22"/>
                  </a:cxn>
                  <a:cxn ang="0">
                    <a:pos x="2" y="25"/>
                  </a:cxn>
                  <a:cxn ang="0">
                    <a:pos x="4" y="30"/>
                  </a:cxn>
                  <a:cxn ang="0">
                    <a:pos x="4" y="33"/>
                  </a:cxn>
                  <a:cxn ang="0">
                    <a:pos x="3" y="35"/>
                  </a:cxn>
                  <a:cxn ang="0">
                    <a:pos x="3" y="38"/>
                  </a:cxn>
                  <a:cxn ang="0">
                    <a:pos x="4" y="43"/>
                  </a:cxn>
                  <a:cxn ang="0">
                    <a:pos x="6" y="45"/>
                  </a:cxn>
                  <a:cxn ang="0">
                    <a:pos x="9" y="46"/>
                  </a:cxn>
                  <a:cxn ang="0">
                    <a:pos x="12" y="48"/>
                  </a:cxn>
                  <a:cxn ang="0">
                    <a:pos x="16" y="48"/>
                  </a:cxn>
                  <a:cxn ang="0">
                    <a:pos x="20" y="50"/>
                  </a:cxn>
                  <a:cxn ang="0">
                    <a:pos x="25" y="53"/>
                  </a:cxn>
                  <a:cxn ang="0">
                    <a:pos x="28" y="53"/>
                  </a:cxn>
                  <a:cxn ang="0">
                    <a:pos x="33" y="52"/>
                  </a:cxn>
                  <a:cxn ang="0">
                    <a:pos x="37" y="53"/>
                  </a:cxn>
                  <a:cxn ang="0">
                    <a:pos x="40" y="52"/>
                  </a:cxn>
                  <a:cxn ang="0">
                    <a:pos x="43" y="50"/>
                  </a:cxn>
                  <a:cxn ang="0">
                    <a:pos x="44" y="50"/>
                  </a:cxn>
                  <a:cxn ang="0">
                    <a:pos x="47" y="47"/>
                  </a:cxn>
                  <a:cxn ang="0">
                    <a:pos x="49" y="43"/>
                  </a:cxn>
                  <a:cxn ang="0">
                    <a:pos x="49" y="40"/>
                  </a:cxn>
                </a:cxnLst>
                <a:rect l="0" t="0" r="r" b="b"/>
                <a:pathLst>
                  <a:path w="50" h="54">
                    <a:moveTo>
                      <a:pt x="49" y="40"/>
                    </a:moveTo>
                    <a:cubicBezTo>
                      <a:pt x="49" y="39"/>
                      <a:pt x="48" y="40"/>
                      <a:pt x="48" y="39"/>
                    </a:cubicBezTo>
                    <a:cubicBezTo>
                      <a:pt x="48" y="38"/>
                      <a:pt x="48" y="38"/>
                      <a:pt x="48" y="37"/>
                    </a:cubicBezTo>
                    <a:cubicBezTo>
                      <a:pt x="48" y="36"/>
                      <a:pt x="47" y="35"/>
                      <a:pt x="47" y="34"/>
                    </a:cubicBezTo>
                    <a:cubicBezTo>
                      <a:pt x="47" y="33"/>
                      <a:pt x="47" y="32"/>
                      <a:pt x="48" y="32"/>
                    </a:cubicBezTo>
                    <a:cubicBezTo>
                      <a:pt x="49" y="31"/>
                      <a:pt x="48" y="31"/>
                      <a:pt x="49" y="31"/>
                    </a:cubicBezTo>
                    <a:cubicBezTo>
                      <a:pt x="49" y="30"/>
                      <a:pt x="49" y="30"/>
                      <a:pt x="49" y="30"/>
                    </a:cubicBezTo>
                    <a:cubicBezTo>
                      <a:pt x="50" y="29"/>
                      <a:pt x="50" y="28"/>
                      <a:pt x="49" y="28"/>
                    </a:cubicBezTo>
                    <a:cubicBezTo>
                      <a:pt x="47" y="27"/>
                      <a:pt x="45" y="26"/>
                      <a:pt x="44" y="25"/>
                    </a:cubicBezTo>
                    <a:cubicBezTo>
                      <a:pt x="44" y="24"/>
                      <a:pt x="44" y="24"/>
                      <a:pt x="44" y="23"/>
                    </a:cubicBezTo>
                    <a:cubicBezTo>
                      <a:pt x="43" y="23"/>
                      <a:pt x="43" y="23"/>
                      <a:pt x="43" y="22"/>
                    </a:cubicBezTo>
                    <a:cubicBezTo>
                      <a:pt x="43" y="22"/>
                      <a:pt x="42" y="22"/>
                      <a:pt x="41" y="21"/>
                    </a:cubicBezTo>
                    <a:cubicBezTo>
                      <a:pt x="41" y="21"/>
                      <a:pt x="41" y="20"/>
                      <a:pt x="40" y="20"/>
                    </a:cubicBezTo>
                    <a:cubicBezTo>
                      <a:pt x="40" y="20"/>
                      <a:pt x="40" y="20"/>
                      <a:pt x="39" y="20"/>
                    </a:cubicBezTo>
                    <a:cubicBezTo>
                      <a:pt x="39" y="20"/>
                      <a:pt x="39" y="20"/>
                      <a:pt x="39" y="20"/>
                    </a:cubicBezTo>
                    <a:cubicBezTo>
                      <a:pt x="38" y="20"/>
                      <a:pt x="37" y="19"/>
                      <a:pt x="37" y="18"/>
                    </a:cubicBezTo>
                    <a:cubicBezTo>
                      <a:pt x="36" y="18"/>
                      <a:pt x="35" y="18"/>
                      <a:pt x="35" y="17"/>
                    </a:cubicBezTo>
                    <a:cubicBezTo>
                      <a:pt x="35" y="17"/>
                      <a:pt x="35" y="16"/>
                      <a:pt x="34" y="16"/>
                    </a:cubicBezTo>
                    <a:cubicBezTo>
                      <a:pt x="33" y="15"/>
                      <a:pt x="33" y="15"/>
                      <a:pt x="32" y="15"/>
                    </a:cubicBezTo>
                    <a:cubicBezTo>
                      <a:pt x="31" y="15"/>
                      <a:pt x="30" y="14"/>
                      <a:pt x="30" y="14"/>
                    </a:cubicBezTo>
                    <a:cubicBezTo>
                      <a:pt x="30" y="14"/>
                      <a:pt x="29" y="13"/>
                      <a:pt x="29" y="13"/>
                    </a:cubicBezTo>
                    <a:cubicBezTo>
                      <a:pt x="29" y="13"/>
                      <a:pt x="29" y="14"/>
                      <a:pt x="28" y="13"/>
                    </a:cubicBezTo>
                    <a:cubicBezTo>
                      <a:pt x="28" y="13"/>
                      <a:pt x="27" y="13"/>
                      <a:pt x="27" y="12"/>
                    </a:cubicBezTo>
                    <a:cubicBezTo>
                      <a:pt x="26" y="11"/>
                      <a:pt x="25" y="10"/>
                      <a:pt x="24" y="9"/>
                    </a:cubicBezTo>
                    <a:cubicBezTo>
                      <a:pt x="24" y="9"/>
                      <a:pt x="22" y="8"/>
                      <a:pt x="23" y="9"/>
                    </a:cubicBezTo>
                    <a:cubicBezTo>
                      <a:pt x="23" y="10"/>
                      <a:pt x="22" y="9"/>
                      <a:pt x="22" y="10"/>
                    </a:cubicBezTo>
                    <a:cubicBezTo>
                      <a:pt x="22" y="10"/>
                      <a:pt x="21" y="11"/>
                      <a:pt x="21" y="11"/>
                    </a:cubicBezTo>
                    <a:cubicBezTo>
                      <a:pt x="20" y="11"/>
                      <a:pt x="20" y="11"/>
                      <a:pt x="20" y="11"/>
                    </a:cubicBezTo>
                    <a:cubicBezTo>
                      <a:pt x="19" y="11"/>
                      <a:pt x="19" y="9"/>
                      <a:pt x="19" y="9"/>
                    </a:cubicBezTo>
                    <a:cubicBezTo>
                      <a:pt x="19" y="8"/>
                      <a:pt x="19" y="8"/>
                      <a:pt x="18" y="7"/>
                    </a:cubicBezTo>
                    <a:cubicBezTo>
                      <a:pt x="18" y="6"/>
                      <a:pt x="17" y="6"/>
                      <a:pt x="16" y="5"/>
                    </a:cubicBezTo>
                    <a:cubicBezTo>
                      <a:pt x="16" y="5"/>
                      <a:pt x="15" y="4"/>
                      <a:pt x="14" y="3"/>
                    </a:cubicBezTo>
                    <a:cubicBezTo>
                      <a:pt x="14" y="3"/>
                      <a:pt x="13" y="3"/>
                      <a:pt x="13" y="2"/>
                    </a:cubicBezTo>
                    <a:cubicBezTo>
                      <a:pt x="12" y="2"/>
                      <a:pt x="12" y="1"/>
                      <a:pt x="11" y="1"/>
                    </a:cubicBezTo>
                    <a:cubicBezTo>
                      <a:pt x="11" y="1"/>
                      <a:pt x="10" y="0"/>
                      <a:pt x="10" y="0"/>
                    </a:cubicBezTo>
                    <a:cubicBezTo>
                      <a:pt x="9" y="0"/>
                      <a:pt x="8" y="0"/>
                      <a:pt x="7" y="1"/>
                    </a:cubicBezTo>
                    <a:cubicBezTo>
                      <a:pt x="7" y="1"/>
                      <a:pt x="7" y="2"/>
                      <a:pt x="6" y="2"/>
                    </a:cubicBezTo>
                    <a:cubicBezTo>
                      <a:pt x="6" y="2"/>
                      <a:pt x="6" y="2"/>
                      <a:pt x="6" y="2"/>
                    </a:cubicBezTo>
                    <a:cubicBezTo>
                      <a:pt x="5" y="2"/>
                      <a:pt x="5" y="2"/>
                      <a:pt x="5" y="2"/>
                    </a:cubicBezTo>
                    <a:cubicBezTo>
                      <a:pt x="5" y="2"/>
                      <a:pt x="5" y="2"/>
                      <a:pt x="4" y="2"/>
                    </a:cubicBezTo>
                    <a:cubicBezTo>
                      <a:pt x="3" y="2"/>
                      <a:pt x="3" y="1"/>
                      <a:pt x="3" y="1"/>
                    </a:cubicBezTo>
                    <a:cubicBezTo>
                      <a:pt x="2" y="1"/>
                      <a:pt x="3" y="2"/>
                      <a:pt x="3" y="2"/>
                    </a:cubicBezTo>
                    <a:cubicBezTo>
                      <a:pt x="3" y="3"/>
                      <a:pt x="2" y="4"/>
                      <a:pt x="1" y="4"/>
                    </a:cubicBezTo>
                    <a:cubicBezTo>
                      <a:pt x="0" y="5"/>
                      <a:pt x="2" y="7"/>
                      <a:pt x="2" y="8"/>
                    </a:cubicBezTo>
                    <a:cubicBezTo>
                      <a:pt x="2" y="8"/>
                      <a:pt x="3" y="9"/>
                      <a:pt x="2" y="9"/>
                    </a:cubicBezTo>
                    <a:cubicBezTo>
                      <a:pt x="2" y="9"/>
                      <a:pt x="2" y="9"/>
                      <a:pt x="2" y="9"/>
                    </a:cubicBezTo>
                    <a:cubicBezTo>
                      <a:pt x="1" y="9"/>
                      <a:pt x="2" y="10"/>
                      <a:pt x="2" y="11"/>
                    </a:cubicBezTo>
                    <a:cubicBezTo>
                      <a:pt x="2" y="11"/>
                      <a:pt x="2" y="12"/>
                      <a:pt x="2" y="12"/>
                    </a:cubicBezTo>
                    <a:cubicBezTo>
                      <a:pt x="2" y="12"/>
                      <a:pt x="2" y="13"/>
                      <a:pt x="2" y="13"/>
                    </a:cubicBezTo>
                    <a:cubicBezTo>
                      <a:pt x="2" y="14"/>
                      <a:pt x="2" y="14"/>
                      <a:pt x="2" y="14"/>
                    </a:cubicBezTo>
                    <a:cubicBezTo>
                      <a:pt x="2" y="15"/>
                      <a:pt x="1" y="15"/>
                      <a:pt x="1" y="15"/>
                    </a:cubicBezTo>
                    <a:cubicBezTo>
                      <a:pt x="1" y="15"/>
                      <a:pt x="2" y="16"/>
                      <a:pt x="2" y="16"/>
                    </a:cubicBezTo>
                    <a:cubicBezTo>
                      <a:pt x="3" y="16"/>
                      <a:pt x="2" y="17"/>
                      <a:pt x="2" y="18"/>
                    </a:cubicBezTo>
                    <a:cubicBezTo>
                      <a:pt x="2" y="18"/>
                      <a:pt x="2" y="19"/>
                      <a:pt x="2" y="19"/>
                    </a:cubicBezTo>
                    <a:cubicBezTo>
                      <a:pt x="1" y="19"/>
                      <a:pt x="1" y="19"/>
                      <a:pt x="1" y="20"/>
                    </a:cubicBezTo>
                    <a:cubicBezTo>
                      <a:pt x="2" y="21"/>
                      <a:pt x="2" y="21"/>
                      <a:pt x="2" y="22"/>
                    </a:cubicBezTo>
                    <a:cubicBezTo>
                      <a:pt x="2" y="23"/>
                      <a:pt x="2" y="23"/>
                      <a:pt x="3" y="24"/>
                    </a:cubicBezTo>
                    <a:cubicBezTo>
                      <a:pt x="3" y="24"/>
                      <a:pt x="2" y="25"/>
                      <a:pt x="2" y="25"/>
                    </a:cubicBezTo>
                    <a:cubicBezTo>
                      <a:pt x="2" y="26"/>
                      <a:pt x="3" y="27"/>
                      <a:pt x="3" y="27"/>
                    </a:cubicBezTo>
                    <a:cubicBezTo>
                      <a:pt x="3" y="28"/>
                      <a:pt x="3" y="29"/>
                      <a:pt x="4" y="30"/>
                    </a:cubicBezTo>
                    <a:cubicBezTo>
                      <a:pt x="4" y="30"/>
                      <a:pt x="5" y="31"/>
                      <a:pt x="5" y="32"/>
                    </a:cubicBezTo>
                    <a:cubicBezTo>
                      <a:pt x="5" y="32"/>
                      <a:pt x="5" y="33"/>
                      <a:pt x="4" y="33"/>
                    </a:cubicBezTo>
                    <a:cubicBezTo>
                      <a:pt x="3" y="33"/>
                      <a:pt x="2" y="33"/>
                      <a:pt x="2" y="34"/>
                    </a:cubicBezTo>
                    <a:cubicBezTo>
                      <a:pt x="2" y="34"/>
                      <a:pt x="3" y="35"/>
                      <a:pt x="3" y="35"/>
                    </a:cubicBezTo>
                    <a:cubicBezTo>
                      <a:pt x="3" y="36"/>
                      <a:pt x="2" y="36"/>
                      <a:pt x="3" y="37"/>
                    </a:cubicBezTo>
                    <a:cubicBezTo>
                      <a:pt x="3" y="37"/>
                      <a:pt x="3" y="38"/>
                      <a:pt x="3" y="38"/>
                    </a:cubicBezTo>
                    <a:cubicBezTo>
                      <a:pt x="3" y="39"/>
                      <a:pt x="3" y="40"/>
                      <a:pt x="3" y="40"/>
                    </a:cubicBezTo>
                    <a:cubicBezTo>
                      <a:pt x="3" y="41"/>
                      <a:pt x="4" y="42"/>
                      <a:pt x="4" y="43"/>
                    </a:cubicBezTo>
                    <a:cubicBezTo>
                      <a:pt x="5" y="43"/>
                      <a:pt x="6" y="43"/>
                      <a:pt x="6" y="44"/>
                    </a:cubicBezTo>
                    <a:cubicBezTo>
                      <a:pt x="6" y="44"/>
                      <a:pt x="6" y="45"/>
                      <a:pt x="6" y="45"/>
                    </a:cubicBezTo>
                    <a:cubicBezTo>
                      <a:pt x="7" y="45"/>
                      <a:pt x="7" y="45"/>
                      <a:pt x="7" y="45"/>
                    </a:cubicBezTo>
                    <a:cubicBezTo>
                      <a:pt x="8" y="45"/>
                      <a:pt x="8" y="46"/>
                      <a:pt x="9" y="46"/>
                    </a:cubicBezTo>
                    <a:cubicBezTo>
                      <a:pt x="9" y="47"/>
                      <a:pt x="10" y="48"/>
                      <a:pt x="10" y="48"/>
                    </a:cubicBezTo>
                    <a:cubicBezTo>
                      <a:pt x="11" y="48"/>
                      <a:pt x="11" y="48"/>
                      <a:pt x="12" y="48"/>
                    </a:cubicBezTo>
                    <a:cubicBezTo>
                      <a:pt x="12" y="48"/>
                      <a:pt x="13" y="48"/>
                      <a:pt x="14" y="48"/>
                    </a:cubicBezTo>
                    <a:cubicBezTo>
                      <a:pt x="14" y="48"/>
                      <a:pt x="15" y="48"/>
                      <a:pt x="16" y="48"/>
                    </a:cubicBezTo>
                    <a:cubicBezTo>
                      <a:pt x="17" y="48"/>
                      <a:pt x="17" y="48"/>
                      <a:pt x="18" y="49"/>
                    </a:cubicBezTo>
                    <a:cubicBezTo>
                      <a:pt x="19" y="50"/>
                      <a:pt x="19" y="50"/>
                      <a:pt x="20" y="50"/>
                    </a:cubicBezTo>
                    <a:cubicBezTo>
                      <a:pt x="22" y="52"/>
                      <a:pt x="23" y="51"/>
                      <a:pt x="25" y="52"/>
                    </a:cubicBezTo>
                    <a:cubicBezTo>
                      <a:pt x="24" y="52"/>
                      <a:pt x="25" y="52"/>
                      <a:pt x="25" y="53"/>
                    </a:cubicBezTo>
                    <a:cubicBezTo>
                      <a:pt x="25" y="53"/>
                      <a:pt x="26" y="53"/>
                      <a:pt x="26" y="53"/>
                    </a:cubicBezTo>
                    <a:cubicBezTo>
                      <a:pt x="27" y="53"/>
                      <a:pt x="27" y="53"/>
                      <a:pt x="28" y="53"/>
                    </a:cubicBezTo>
                    <a:cubicBezTo>
                      <a:pt x="29" y="52"/>
                      <a:pt x="29" y="52"/>
                      <a:pt x="30" y="52"/>
                    </a:cubicBezTo>
                    <a:cubicBezTo>
                      <a:pt x="31" y="51"/>
                      <a:pt x="32" y="52"/>
                      <a:pt x="33" y="52"/>
                    </a:cubicBezTo>
                    <a:cubicBezTo>
                      <a:pt x="34" y="52"/>
                      <a:pt x="34" y="52"/>
                      <a:pt x="35" y="52"/>
                    </a:cubicBezTo>
                    <a:cubicBezTo>
                      <a:pt x="35" y="53"/>
                      <a:pt x="36" y="53"/>
                      <a:pt x="37" y="53"/>
                    </a:cubicBezTo>
                    <a:cubicBezTo>
                      <a:pt x="37" y="53"/>
                      <a:pt x="38" y="53"/>
                      <a:pt x="38" y="54"/>
                    </a:cubicBezTo>
                    <a:cubicBezTo>
                      <a:pt x="39" y="53"/>
                      <a:pt x="40" y="53"/>
                      <a:pt x="40" y="52"/>
                    </a:cubicBezTo>
                    <a:cubicBezTo>
                      <a:pt x="41" y="52"/>
                      <a:pt x="42" y="52"/>
                      <a:pt x="43" y="51"/>
                    </a:cubicBezTo>
                    <a:cubicBezTo>
                      <a:pt x="44" y="50"/>
                      <a:pt x="43" y="50"/>
                      <a:pt x="43" y="50"/>
                    </a:cubicBezTo>
                    <a:cubicBezTo>
                      <a:pt x="42" y="50"/>
                      <a:pt x="44" y="49"/>
                      <a:pt x="43" y="49"/>
                    </a:cubicBezTo>
                    <a:cubicBezTo>
                      <a:pt x="43" y="49"/>
                      <a:pt x="44" y="50"/>
                      <a:pt x="44" y="50"/>
                    </a:cubicBezTo>
                    <a:cubicBezTo>
                      <a:pt x="45" y="50"/>
                      <a:pt x="45" y="49"/>
                      <a:pt x="46" y="48"/>
                    </a:cubicBezTo>
                    <a:cubicBezTo>
                      <a:pt x="46" y="48"/>
                      <a:pt x="47" y="47"/>
                      <a:pt x="47" y="47"/>
                    </a:cubicBezTo>
                    <a:cubicBezTo>
                      <a:pt x="47" y="47"/>
                      <a:pt x="47" y="46"/>
                      <a:pt x="47" y="46"/>
                    </a:cubicBezTo>
                    <a:cubicBezTo>
                      <a:pt x="47" y="45"/>
                      <a:pt x="49" y="44"/>
                      <a:pt x="49" y="43"/>
                    </a:cubicBezTo>
                    <a:cubicBezTo>
                      <a:pt x="49" y="42"/>
                      <a:pt x="49" y="41"/>
                      <a:pt x="50" y="40"/>
                    </a:cubicBezTo>
                    <a:cubicBezTo>
                      <a:pt x="49" y="40"/>
                      <a:pt x="49" y="40"/>
                      <a:pt x="49" y="4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3" name="US Minor Outlying Islands">
                <a:extLst>
                  <a:ext uri="{FF2B5EF4-FFF2-40B4-BE49-F238E27FC236}">
                    <a16:creationId xmlns:a16="http://schemas.microsoft.com/office/drawing/2014/main" id="{F3CB7021-B686-9FAC-956C-6EC352B4515B}"/>
                  </a:ext>
                </a:extLst>
              </p:cNvPr>
              <p:cNvSpPr/>
              <p:nvPr/>
            </p:nvSpPr>
            <p:spPr>
              <a:xfrm>
                <a:off x="10814211" y="3126460"/>
                <a:ext cx="1333481" cy="1166506"/>
              </a:xfrm>
              <a:custGeom>
                <a:avLst/>
                <a:gdLst>
                  <a:gd name="connsiteX0" fmla="*/ 9941 w 1333481"/>
                  <a:gd name="connsiteY0" fmla="*/ 387616 h 1166506"/>
                  <a:gd name="connsiteX1" fmla="*/ 6179 w 1333481"/>
                  <a:gd name="connsiteY1" fmla="*/ 390751 h 1166506"/>
                  <a:gd name="connsiteX2" fmla="*/ 1162 w 1333481"/>
                  <a:gd name="connsiteY2" fmla="*/ 393260 h 1166506"/>
                  <a:gd name="connsiteX3" fmla="*/ 3670 w 1333481"/>
                  <a:gd name="connsiteY3" fmla="*/ 387616 h 1166506"/>
                  <a:gd name="connsiteX4" fmla="*/ 9941 w 1333481"/>
                  <a:gd name="connsiteY4" fmla="*/ 387616 h 1166506"/>
                  <a:gd name="connsiteX5" fmla="*/ 652038 w 1333481"/>
                  <a:gd name="connsiteY5" fmla="*/ 1113111 h 1166506"/>
                  <a:gd name="connsiteX6" fmla="*/ 650784 w 1333481"/>
                  <a:gd name="connsiteY6" fmla="*/ 1120635 h 1166506"/>
                  <a:gd name="connsiteX7" fmla="*/ 657681 w 1333481"/>
                  <a:gd name="connsiteY7" fmla="*/ 1116246 h 1166506"/>
                  <a:gd name="connsiteX8" fmla="*/ 652038 w 1333481"/>
                  <a:gd name="connsiteY8" fmla="*/ 1113111 h 1166506"/>
                  <a:gd name="connsiteX9" fmla="*/ 654546 w 1333481"/>
                  <a:gd name="connsiteY9" fmla="*/ 1136311 h 1166506"/>
                  <a:gd name="connsiteX10" fmla="*/ 655173 w 1333481"/>
                  <a:gd name="connsiteY10" fmla="*/ 1143836 h 1166506"/>
                  <a:gd name="connsiteX11" fmla="*/ 660817 w 1333481"/>
                  <a:gd name="connsiteY11" fmla="*/ 1146971 h 1166506"/>
                  <a:gd name="connsiteX12" fmla="*/ 659563 w 1333481"/>
                  <a:gd name="connsiteY12" fmla="*/ 1138193 h 1166506"/>
                  <a:gd name="connsiteX13" fmla="*/ 655800 w 1333481"/>
                  <a:gd name="connsiteY13" fmla="*/ 1132549 h 1166506"/>
                  <a:gd name="connsiteX14" fmla="*/ 654546 w 1333481"/>
                  <a:gd name="connsiteY14" fmla="*/ 1136311 h 1166506"/>
                  <a:gd name="connsiteX15" fmla="*/ 1206348 w 1333481"/>
                  <a:gd name="connsiteY15" fmla="*/ 897406 h 1166506"/>
                  <a:gd name="connsiteX16" fmla="*/ 1201959 w 1333481"/>
                  <a:gd name="connsiteY16" fmla="*/ 904931 h 1166506"/>
                  <a:gd name="connsiteX17" fmla="*/ 1213246 w 1333481"/>
                  <a:gd name="connsiteY17" fmla="*/ 901795 h 1166506"/>
                  <a:gd name="connsiteX18" fmla="*/ 1206348 w 1333481"/>
                  <a:gd name="connsiteY18" fmla="*/ 897406 h 1166506"/>
                  <a:gd name="connsiteX19" fmla="*/ 1217635 w 1333481"/>
                  <a:gd name="connsiteY19" fmla="*/ 918099 h 1166506"/>
                  <a:gd name="connsiteX20" fmla="*/ 1214500 w 1333481"/>
                  <a:gd name="connsiteY20" fmla="*/ 925623 h 1166506"/>
                  <a:gd name="connsiteX21" fmla="*/ 1219516 w 1333481"/>
                  <a:gd name="connsiteY21" fmla="*/ 924996 h 1166506"/>
                  <a:gd name="connsiteX22" fmla="*/ 1225160 w 1333481"/>
                  <a:gd name="connsiteY22" fmla="*/ 919353 h 1166506"/>
                  <a:gd name="connsiteX23" fmla="*/ 1217635 w 1333481"/>
                  <a:gd name="connsiteY23" fmla="*/ 918099 h 1166506"/>
                  <a:gd name="connsiteX24" fmla="*/ 1282221 w 1333481"/>
                  <a:gd name="connsiteY24" fmla="*/ 962619 h 1166506"/>
                  <a:gd name="connsiteX25" fmla="*/ 1281594 w 1333481"/>
                  <a:gd name="connsiteY25" fmla="*/ 972025 h 1166506"/>
                  <a:gd name="connsiteX26" fmla="*/ 1291000 w 1333481"/>
                  <a:gd name="connsiteY26" fmla="*/ 961992 h 1166506"/>
                  <a:gd name="connsiteX27" fmla="*/ 1282221 w 1333481"/>
                  <a:gd name="connsiteY27" fmla="*/ 962619 h 1166506"/>
                  <a:gd name="connsiteX28" fmla="*/ 1326115 w 1333481"/>
                  <a:gd name="connsiteY28" fmla="*/ 995226 h 1166506"/>
                  <a:gd name="connsiteX29" fmla="*/ 1322979 w 1333481"/>
                  <a:gd name="connsiteY29" fmla="*/ 1004631 h 1166506"/>
                  <a:gd name="connsiteX30" fmla="*/ 1333012 w 1333481"/>
                  <a:gd name="connsiteY30" fmla="*/ 998988 h 1166506"/>
                  <a:gd name="connsiteX31" fmla="*/ 1326115 w 1333481"/>
                  <a:gd name="connsiteY31" fmla="*/ 995226 h 1166506"/>
                  <a:gd name="connsiteX32" fmla="*/ 1296016 w 1333481"/>
                  <a:gd name="connsiteY32" fmla="*/ 1158885 h 1166506"/>
                  <a:gd name="connsiteX33" fmla="*/ 1294135 w 1333481"/>
                  <a:gd name="connsiteY33" fmla="*/ 1165783 h 1166506"/>
                  <a:gd name="connsiteX34" fmla="*/ 1299779 w 1333481"/>
                  <a:gd name="connsiteY34" fmla="*/ 1165783 h 1166506"/>
                  <a:gd name="connsiteX35" fmla="*/ 1302287 w 1333481"/>
                  <a:gd name="connsiteY35" fmla="*/ 1157631 h 1166506"/>
                  <a:gd name="connsiteX36" fmla="*/ 1296016 w 1333481"/>
                  <a:gd name="connsiteY36" fmla="*/ 1158885 h 1166506"/>
                  <a:gd name="connsiteX37" fmla="*/ 930447 w 1333481"/>
                  <a:gd name="connsiteY37" fmla="*/ 491079 h 1166506"/>
                  <a:gd name="connsiteX38" fmla="*/ 927312 w 1333481"/>
                  <a:gd name="connsiteY38" fmla="*/ 496723 h 1166506"/>
                  <a:gd name="connsiteX39" fmla="*/ 933582 w 1333481"/>
                  <a:gd name="connsiteY39" fmla="*/ 497977 h 1166506"/>
                  <a:gd name="connsiteX40" fmla="*/ 931701 w 1333481"/>
                  <a:gd name="connsiteY40" fmla="*/ 494841 h 1166506"/>
                  <a:gd name="connsiteX41" fmla="*/ 932328 w 1333481"/>
                  <a:gd name="connsiteY41" fmla="*/ 491079 h 1166506"/>
                  <a:gd name="connsiteX42" fmla="*/ 930447 w 1333481"/>
                  <a:gd name="connsiteY42" fmla="*/ 491079 h 1166506"/>
                  <a:gd name="connsiteX43" fmla="*/ 585571 w 1333481"/>
                  <a:gd name="connsiteY43" fmla="*/ 1982 h 1166506"/>
                  <a:gd name="connsiteX44" fmla="*/ 585571 w 1333481"/>
                  <a:gd name="connsiteY44" fmla="*/ 8879 h 1166506"/>
                  <a:gd name="connsiteX45" fmla="*/ 589960 w 1333481"/>
                  <a:gd name="connsiteY45" fmla="*/ 101 h 1166506"/>
                  <a:gd name="connsiteX46" fmla="*/ 585571 w 1333481"/>
                  <a:gd name="connsiteY46" fmla="*/ 1982 h 1166506"/>
                  <a:gd name="connsiteX47" fmla="*/ 624448 w 1333481"/>
                  <a:gd name="connsiteY47" fmla="*/ 10760 h 1166506"/>
                  <a:gd name="connsiteX48" fmla="*/ 622567 w 1333481"/>
                  <a:gd name="connsiteY48" fmla="*/ 17658 h 1166506"/>
                  <a:gd name="connsiteX49" fmla="*/ 628837 w 1333481"/>
                  <a:gd name="connsiteY49" fmla="*/ 17658 h 1166506"/>
                  <a:gd name="connsiteX50" fmla="*/ 630718 w 1333481"/>
                  <a:gd name="connsiteY50" fmla="*/ 11387 h 1166506"/>
                  <a:gd name="connsiteX51" fmla="*/ 624448 w 1333481"/>
                  <a:gd name="connsiteY51" fmla="*/ 10760 h 1166506"/>
                  <a:gd name="connsiteX52" fmla="*/ 684017 w 1333481"/>
                  <a:gd name="connsiteY52" fmla="*/ 27064 h 1166506"/>
                  <a:gd name="connsiteX53" fmla="*/ 686526 w 1333481"/>
                  <a:gd name="connsiteY53" fmla="*/ 27064 h 1166506"/>
                  <a:gd name="connsiteX54" fmla="*/ 683390 w 1333481"/>
                  <a:gd name="connsiteY54" fmla="*/ 28945 h 1166506"/>
                  <a:gd name="connsiteX55" fmla="*/ 679001 w 1333481"/>
                  <a:gd name="connsiteY55" fmla="*/ 30826 h 1166506"/>
                  <a:gd name="connsiteX56" fmla="*/ 680882 w 1333481"/>
                  <a:gd name="connsiteY56" fmla="*/ 34588 h 1166506"/>
                  <a:gd name="connsiteX57" fmla="*/ 684017 w 1333481"/>
                  <a:gd name="connsiteY57" fmla="*/ 32080 h 1166506"/>
                  <a:gd name="connsiteX58" fmla="*/ 689034 w 1333481"/>
                  <a:gd name="connsiteY58" fmla="*/ 31453 h 1166506"/>
                  <a:gd name="connsiteX59" fmla="*/ 689034 w 1333481"/>
                  <a:gd name="connsiteY59" fmla="*/ 25810 h 1166506"/>
                  <a:gd name="connsiteX60" fmla="*/ 683390 w 1333481"/>
                  <a:gd name="connsiteY60" fmla="*/ 22674 h 1166506"/>
                  <a:gd name="connsiteX61" fmla="*/ 682763 w 1333481"/>
                  <a:gd name="connsiteY61" fmla="*/ 26437 h 1166506"/>
                  <a:gd name="connsiteX62" fmla="*/ 684017 w 1333481"/>
                  <a:gd name="connsiteY62" fmla="*/ 27064 h 1166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333481" h="1166506">
                    <a:moveTo>
                      <a:pt x="9941" y="387616"/>
                    </a:moveTo>
                    <a:cubicBezTo>
                      <a:pt x="11822" y="388870"/>
                      <a:pt x="8687" y="390751"/>
                      <a:pt x="6179" y="390751"/>
                    </a:cubicBezTo>
                    <a:cubicBezTo>
                      <a:pt x="3670" y="390751"/>
                      <a:pt x="3670" y="393260"/>
                      <a:pt x="1162" y="393260"/>
                    </a:cubicBezTo>
                    <a:cubicBezTo>
                      <a:pt x="-1346" y="392633"/>
                      <a:pt x="535" y="388243"/>
                      <a:pt x="3670" y="387616"/>
                    </a:cubicBezTo>
                    <a:cubicBezTo>
                      <a:pt x="3670" y="387616"/>
                      <a:pt x="8687" y="386362"/>
                      <a:pt x="9941" y="387616"/>
                    </a:cubicBezTo>
                    <a:close/>
                    <a:moveTo>
                      <a:pt x="652038" y="1113111"/>
                    </a:moveTo>
                    <a:cubicBezTo>
                      <a:pt x="648903" y="1116873"/>
                      <a:pt x="647649" y="1119381"/>
                      <a:pt x="650784" y="1120635"/>
                    </a:cubicBezTo>
                    <a:cubicBezTo>
                      <a:pt x="653919" y="1121889"/>
                      <a:pt x="660190" y="1120008"/>
                      <a:pt x="657681" y="1116246"/>
                    </a:cubicBezTo>
                    <a:cubicBezTo>
                      <a:pt x="655173" y="1112484"/>
                      <a:pt x="652038" y="1113111"/>
                      <a:pt x="652038" y="1113111"/>
                    </a:cubicBezTo>
                    <a:close/>
                    <a:moveTo>
                      <a:pt x="654546" y="1136311"/>
                    </a:moveTo>
                    <a:cubicBezTo>
                      <a:pt x="652038" y="1141955"/>
                      <a:pt x="653292" y="1139447"/>
                      <a:pt x="655173" y="1143836"/>
                    </a:cubicBezTo>
                    <a:cubicBezTo>
                      <a:pt x="657054" y="1148225"/>
                      <a:pt x="661444" y="1151361"/>
                      <a:pt x="660817" y="1146971"/>
                    </a:cubicBezTo>
                    <a:cubicBezTo>
                      <a:pt x="660190" y="1142582"/>
                      <a:pt x="658936" y="1142582"/>
                      <a:pt x="659563" y="1138193"/>
                    </a:cubicBezTo>
                    <a:cubicBezTo>
                      <a:pt x="660190" y="1133803"/>
                      <a:pt x="657054" y="1131922"/>
                      <a:pt x="655800" y="1132549"/>
                    </a:cubicBezTo>
                    <a:cubicBezTo>
                      <a:pt x="654546" y="1133176"/>
                      <a:pt x="655173" y="1135684"/>
                      <a:pt x="654546" y="1136311"/>
                    </a:cubicBezTo>
                    <a:close/>
                    <a:moveTo>
                      <a:pt x="1206348" y="897406"/>
                    </a:moveTo>
                    <a:cubicBezTo>
                      <a:pt x="1200705" y="898033"/>
                      <a:pt x="1198197" y="903677"/>
                      <a:pt x="1201959" y="904931"/>
                    </a:cubicBezTo>
                    <a:cubicBezTo>
                      <a:pt x="1206348" y="906185"/>
                      <a:pt x="1215127" y="906812"/>
                      <a:pt x="1213246" y="901795"/>
                    </a:cubicBezTo>
                    <a:cubicBezTo>
                      <a:pt x="1210738" y="897406"/>
                      <a:pt x="1206348" y="897406"/>
                      <a:pt x="1206348" y="897406"/>
                    </a:cubicBezTo>
                    <a:close/>
                    <a:moveTo>
                      <a:pt x="1217635" y="918099"/>
                    </a:moveTo>
                    <a:cubicBezTo>
                      <a:pt x="1213873" y="918726"/>
                      <a:pt x="1211992" y="924369"/>
                      <a:pt x="1214500" y="925623"/>
                    </a:cubicBezTo>
                    <a:cubicBezTo>
                      <a:pt x="1217008" y="926877"/>
                      <a:pt x="1216381" y="925623"/>
                      <a:pt x="1219516" y="924996"/>
                    </a:cubicBezTo>
                    <a:cubicBezTo>
                      <a:pt x="1222652" y="924996"/>
                      <a:pt x="1227668" y="921234"/>
                      <a:pt x="1225160" y="919353"/>
                    </a:cubicBezTo>
                    <a:cubicBezTo>
                      <a:pt x="1222652" y="916845"/>
                      <a:pt x="1217008" y="918099"/>
                      <a:pt x="1217635" y="918099"/>
                    </a:cubicBezTo>
                    <a:close/>
                    <a:moveTo>
                      <a:pt x="1282221" y="962619"/>
                    </a:moveTo>
                    <a:cubicBezTo>
                      <a:pt x="1277832" y="964500"/>
                      <a:pt x="1277832" y="973279"/>
                      <a:pt x="1281594" y="972025"/>
                    </a:cubicBezTo>
                    <a:cubicBezTo>
                      <a:pt x="1285356" y="970771"/>
                      <a:pt x="1294135" y="965127"/>
                      <a:pt x="1291000" y="961992"/>
                    </a:cubicBezTo>
                    <a:cubicBezTo>
                      <a:pt x="1287865" y="959484"/>
                      <a:pt x="1282221" y="962619"/>
                      <a:pt x="1282221" y="962619"/>
                    </a:cubicBezTo>
                    <a:close/>
                    <a:moveTo>
                      <a:pt x="1326115" y="995226"/>
                    </a:moveTo>
                    <a:cubicBezTo>
                      <a:pt x="1321725" y="997107"/>
                      <a:pt x="1318590" y="1003377"/>
                      <a:pt x="1322979" y="1004631"/>
                    </a:cubicBezTo>
                    <a:cubicBezTo>
                      <a:pt x="1327369" y="1005885"/>
                      <a:pt x="1335520" y="1003377"/>
                      <a:pt x="1333012" y="998988"/>
                    </a:cubicBezTo>
                    <a:cubicBezTo>
                      <a:pt x="1330504" y="995226"/>
                      <a:pt x="1326115" y="995226"/>
                      <a:pt x="1326115" y="995226"/>
                    </a:cubicBezTo>
                    <a:close/>
                    <a:moveTo>
                      <a:pt x="1296016" y="1158885"/>
                    </a:moveTo>
                    <a:cubicBezTo>
                      <a:pt x="1292254" y="1161393"/>
                      <a:pt x="1291627" y="1164529"/>
                      <a:pt x="1294135" y="1165783"/>
                    </a:cubicBezTo>
                    <a:cubicBezTo>
                      <a:pt x="1297270" y="1167037"/>
                      <a:pt x="1297270" y="1166410"/>
                      <a:pt x="1299779" y="1165783"/>
                    </a:cubicBezTo>
                    <a:cubicBezTo>
                      <a:pt x="1301660" y="1164529"/>
                      <a:pt x="1305422" y="1159512"/>
                      <a:pt x="1302287" y="1157631"/>
                    </a:cubicBezTo>
                    <a:cubicBezTo>
                      <a:pt x="1299779" y="1155123"/>
                      <a:pt x="1296016" y="1158885"/>
                      <a:pt x="1296016" y="1158885"/>
                    </a:cubicBezTo>
                    <a:close/>
                    <a:moveTo>
                      <a:pt x="930447" y="491079"/>
                    </a:moveTo>
                    <a:cubicBezTo>
                      <a:pt x="926685" y="493587"/>
                      <a:pt x="925431" y="495468"/>
                      <a:pt x="927312" y="496723"/>
                    </a:cubicBezTo>
                    <a:cubicBezTo>
                      <a:pt x="929820" y="497977"/>
                      <a:pt x="930447" y="498604"/>
                      <a:pt x="933582" y="497977"/>
                    </a:cubicBezTo>
                    <a:cubicBezTo>
                      <a:pt x="936718" y="497350"/>
                      <a:pt x="931701" y="496723"/>
                      <a:pt x="931701" y="494841"/>
                    </a:cubicBezTo>
                    <a:cubicBezTo>
                      <a:pt x="931701" y="492960"/>
                      <a:pt x="933582" y="491706"/>
                      <a:pt x="932328" y="491079"/>
                    </a:cubicBezTo>
                    <a:cubicBezTo>
                      <a:pt x="931074" y="489825"/>
                      <a:pt x="930447" y="491079"/>
                      <a:pt x="930447" y="491079"/>
                    </a:cubicBezTo>
                    <a:close/>
                    <a:moveTo>
                      <a:pt x="585571" y="1982"/>
                    </a:moveTo>
                    <a:cubicBezTo>
                      <a:pt x="583063" y="5117"/>
                      <a:pt x="583063" y="8252"/>
                      <a:pt x="585571" y="8879"/>
                    </a:cubicBezTo>
                    <a:cubicBezTo>
                      <a:pt x="588079" y="9506"/>
                      <a:pt x="593096" y="728"/>
                      <a:pt x="589960" y="101"/>
                    </a:cubicBezTo>
                    <a:cubicBezTo>
                      <a:pt x="586825" y="-526"/>
                      <a:pt x="584944" y="1982"/>
                      <a:pt x="585571" y="1982"/>
                    </a:cubicBezTo>
                    <a:close/>
                    <a:moveTo>
                      <a:pt x="624448" y="10760"/>
                    </a:moveTo>
                    <a:cubicBezTo>
                      <a:pt x="620686" y="13896"/>
                      <a:pt x="619432" y="17658"/>
                      <a:pt x="622567" y="17658"/>
                    </a:cubicBezTo>
                    <a:cubicBezTo>
                      <a:pt x="626329" y="17031"/>
                      <a:pt x="626329" y="17658"/>
                      <a:pt x="628837" y="17658"/>
                    </a:cubicBezTo>
                    <a:cubicBezTo>
                      <a:pt x="631345" y="17658"/>
                      <a:pt x="633854" y="12642"/>
                      <a:pt x="630718" y="11387"/>
                    </a:cubicBezTo>
                    <a:cubicBezTo>
                      <a:pt x="626956" y="9506"/>
                      <a:pt x="624448" y="10760"/>
                      <a:pt x="624448" y="10760"/>
                    </a:cubicBezTo>
                    <a:close/>
                    <a:moveTo>
                      <a:pt x="684017" y="27064"/>
                    </a:moveTo>
                    <a:cubicBezTo>
                      <a:pt x="684644" y="27064"/>
                      <a:pt x="684644" y="25810"/>
                      <a:pt x="686526" y="27064"/>
                    </a:cubicBezTo>
                    <a:cubicBezTo>
                      <a:pt x="688407" y="28318"/>
                      <a:pt x="684644" y="29572"/>
                      <a:pt x="683390" y="28945"/>
                    </a:cubicBezTo>
                    <a:cubicBezTo>
                      <a:pt x="682136" y="28318"/>
                      <a:pt x="680882" y="30826"/>
                      <a:pt x="679001" y="30826"/>
                    </a:cubicBezTo>
                    <a:cubicBezTo>
                      <a:pt x="676493" y="31453"/>
                      <a:pt x="679628" y="33961"/>
                      <a:pt x="680882" y="34588"/>
                    </a:cubicBezTo>
                    <a:cubicBezTo>
                      <a:pt x="682136" y="35215"/>
                      <a:pt x="683390" y="33961"/>
                      <a:pt x="684017" y="32080"/>
                    </a:cubicBezTo>
                    <a:cubicBezTo>
                      <a:pt x="684644" y="29572"/>
                      <a:pt x="685899" y="31453"/>
                      <a:pt x="689034" y="31453"/>
                    </a:cubicBezTo>
                    <a:cubicBezTo>
                      <a:pt x="692169" y="30826"/>
                      <a:pt x="690288" y="28318"/>
                      <a:pt x="689034" y="25810"/>
                    </a:cubicBezTo>
                    <a:cubicBezTo>
                      <a:pt x="687780" y="23301"/>
                      <a:pt x="685899" y="23928"/>
                      <a:pt x="683390" y="22674"/>
                    </a:cubicBezTo>
                    <a:cubicBezTo>
                      <a:pt x="680882" y="21420"/>
                      <a:pt x="680255" y="23301"/>
                      <a:pt x="682763" y="26437"/>
                    </a:cubicBezTo>
                    <a:cubicBezTo>
                      <a:pt x="683390" y="27064"/>
                      <a:pt x="683390" y="27064"/>
                      <a:pt x="684017" y="27064"/>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474" name="United States Virgin Islands">
                <a:extLst>
                  <a:ext uri="{FF2B5EF4-FFF2-40B4-BE49-F238E27FC236}">
                    <a16:creationId xmlns:a16="http://schemas.microsoft.com/office/drawing/2014/main" id="{A4849B65-7C55-2FC4-B725-D63B7EF8C852}"/>
                  </a:ext>
                </a:extLst>
              </p:cNvPr>
              <p:cNvSpPr>
                <a:spLocks noEditPoints="1"/>
              </p:cNvSpPr>
              <p:nvPr/>
            </p:nvSpPr>
            <p:spPr bwMode="auto">
              <a:xfrm>
                <a:off x="3498176" y="3327850"/>
                <a:ext cx="14703" cy="28425"/>
              </a:xfrm>
              <a:custGeom>
                <a:avLst/>
                <a:gdLst/>
                <a:ahLst/>
                <a:cxnLst>
                  <a:cxn ang="0">
                    <a:pos x="4" y="7"/>
                  </a:cxn>
                  <a:cxn ang="0">
                    <a:pos x="2" y="8"/>
                  </a:cxn>
                  <a:cxn ang="0">
                    <a:pos x="1" y="8"/>
                  </a:cxn>
                  <a:cxn ang="0">
                    <a:pos x="1" y="7"/>
                  </a:cxn>
                  <a:cxn ang="0">
                    <a:pos x="2" y="7"/>
                  </a:cxn>
                  <a:cxn ang="0">
                    <a:pos x="3" y="7"/>
                  </a:cxn>
                  <a:cxn ang="0">
                    <a:pos x="4" y="7"/>
                  </a:cxn>
                  <a:cxn ang="0">
                    <a:pos x="0" y="0"/>
                  </a:cxn>
                  <a:cxn ang="0">
                    <a:pos x="1" y="1"/>
                  </a:cxn>
                  <a:cxn ang="0">
                    <a:pos x="1" y="1"/>
                  </a:cxn>
                  <a:cxn ang="0">
                    <a:pos x="0" y="0"/>
                  </a:cxn>
                  <a:cxn ang="0">
                    <a:pos x="3" y="1"/>
                  </a:cxn>
                  <a:cxn ang="0">
                    <a:pos x="3" y="1"/>
                  </a:cxn>
                  <a:cxn ang="0">
                    <a:pos x="3" y="1"/>
                  </a:cxn>
                  <a:cxn ang="0">
                    <a:pos x="3" y="1"/>
                  </a:cxn>
                  <a:cxn ang="0">
                    <a:pos x="3" y="1"/>
                  </a:cxn>
                </a:cxnLst>
                <a:rect l="0" t="0" r="r" b="b"/>
                <a:pathLst>
                  <a:path w="4" h="8">
                    <a:moveTo>
                      <a:pt x="4" y="7"/>
                    </a:moveTo>
                    <a:cubicBezTo>
                      <a:pt x="3" y="7"/>
                      <a:pt x="3" y="8"/>
                      <a:pt x="2" y="8"/>
                    </a:cubicBezTo>
                    <a:cubicBezTo>
                      <a:pt x="2" y="8"/>
                      <a:pt x="1" y="8"/>
                      <a:pt x="1" y="8"/>
                    </a:cubicBezTo>
                    <a:cubicBezTo>
                      <a:pt x="1" y="8"/>
                      <a:pt x="1" y="7"/>
                      <a:pt x="1" y="7"/>
                    </a:cubicBezTo>
                    <a:cubicBezTo>
                      <a:pt x="1" y="7"/>
                      <a:pt x="1" y="7"/>
                      <a:pt x="2" y="7"/>
                    </a:cubicBezTo>
                    <a:cubicBezTo>
                      <a:pt x="2" y="7"/>
                      <a:pt x="2" y="7"/>
                      <a:pt x="3" y="7"/>
                    </a:cubicBezTo>
                    <a:cubicBezTo>
                      <a:pt x="3" y="7"/>
                      <a:pt x="3" y="7"/>
                      <a:pt x="4" y="7"/>
                    </a:cubicBezTo>
                    <a:close/>
                    <a:moveTo>
                      <a:pt x="0" y="0"/>
                    </a:moveTo>
                    <a:cubicBezTo>
                      <a:pt x="0" y="0"/>
                      <a:pt x="0" y="1"/>
                      <a:pt x="1" y="1"/>
                    </a:cubicBezTo>
                    <a:cubicBezTo>
                      <a:pt x="1" y="1"/>
                      <a:pt x="1" y="1"/>
                      <a:pt x="1" y="1"/>
                    </a:cubicBezTo>
                    <a:cubicBezTo>
                      <a:pt x="3" y="1"/>
                      <a:pt x="0" y="0"/>
                      <a:pt x="0" y="0"/>
                    </a:cubicBezTo>
                    <a:close/>
                    <a:moveTo>
                      <a:pt x="3" y="1"/>
                    </a:moveTo>
                    <a:cubicBezTo>
                      <a:pt x="2" y="1"/>
                      <a:pt x="3" y="1"/>
                      <a:pt x="3" y="1"/>
                    </a:cubicBezTo>
                    <a:cubicBezTo>
                      <a:pt x="3" y="1"/>
                      <a:pt x="3" y="1"/>
                      <a:pt x="3" y="1"/>
                    </a:cubicBezTo>
                    <a:cubicBezTo>
                      <a:pt x="3" y="1"/>
                      <a:pt x="3" y="1"/>
                      <a:pt x="3" y="1"/>
                    </a:cubicBezTo>
                    <a:cubicBezTo>
                      <a:pt x="4" y="0"/>
                      <a:pt x="3" y="0"/>
                      <a:pt x="3"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5" name="United States of America">
                <a:extLst>
                  <a:ext uri="{FF2B5EF4-FFF2-40B4-BE49-F238E27FC236}">
                    <a16:creationId xmlns:a16="http://schemas.microsoft.com/office/drawing/2014/main" id="{176FC2D6-D340-FE9E-45F9-78A4D6EE10BD}"/>
                  </a:ext>
                </a:extLst>
              </p:cNvPr>
              <p:cNvSpPr>
                <a:spLocks noEditPoints="1"/>
              </p:cNvSpPr>
              <p:nvPr/>
            </p:nvSpPr>
            <p:spPr bwMode="auto">
              <a:xfrm>
                <a:off x="304800" y="1349880"/>
                <a:ext cx="3366864" cy="1956409"/>
              </a:xfrm>
              <a:custGeom>
                <a:avLst/>
                <a:gdLst/>
                <a:ahLst/>
                <a:cxnLst>
                  <a:cxn ang="0">
                    <a:pos x="774" y="235"/>
                  </a:cxn>
                  <a:cxn ang="0">
                    <a:pos x="611" y="461"/>
                  </a:cxn>
                  <a:cxn ang="0">
                    <a:pos x="428" y="387"/>
                  </a:cxn>
                  <a:cxn ang="0">
                    <a:pos x="762" y="488"/>
                  </a:cxn>
                  <a:cxn ang="0">
                    <a:pos x="937" y="272"/>
                  </a:cxn>
                  <a:cxn ang="0">
                    <a:pos x="906" y="294"/>
                  </a:cxn>
                  <a:cxn ang="0">
                    <a:pos x="873" y="312"/>
                  </a:cxn>
                  <a:cxn ang="0">
                    <a:pos x="860" y="329"/>
                  </a:cxn>
                  <a:cxn ang="0">
                    <a:pos x="844" y="339"/>
                  </a:cxn>
                  <a:cxn ang="0">
                    <a:pos x="839" y="335"/>
                  </a:cxn>
                  <a:cxn ang="0">
                    <a:pos x="837" y="349"/>
                  </a:cxn>
                  <a:cxn ang="0">
                    <a:pos x="830" y="364"/>
                  </a:cxn>
                  <a:cxn ang="0">
                    <a:pos x="829" y="377"/>
                  </a:cxn>
                  <a:cxn ang="0">
                    <a:pos x="778" y="408"/>
                  </a:cxn>
                  <a:cxn ang="0">
                    <a:pos x="765" y="483"/>
                  </a:cxn>
                  <a:cxn ang="0">
                    <a:pos x="753" y="444"/>
                  </a:cxn>
                  <a:cxn ang="0">
                    <a:pos x="708" y="428"/>
                  </a:cxn>
                  <a:cxn ang="0">
                    <a:pos x="693" y="439"/>
                  </a:cxn>
                  <a:cxn ang="0">
                    <a:pos x="656" y="432"/>
                  </a:cxn>
                  <a:cxn ang="0">
                    <a:pos x="616" y="451"/>
                  </a:cxn>
                  <a:cxn ang="0">
                    <a:pos x="586" y="447"/>
                  </a:cxn>
                  <a:cxn ang="0">
                    <a:pos x="445" y="402"/>
                  </a:cxn>
                  <a:cxn ang="0">
                    <a:pos x="429" y="342"/>
                  </a:cxn>
                  <a:cxn ang="0">
                    <a:pos x="459" y="259"/>
                  </a:cxn>
                  <a:cxn ang="0">
                    <a:pos x="482" y="238"/>
                  </a:cxn>
                  <a:cxn ang="0">
                    <a:pos x="729" y="221"/>
                  </a:cxn>
                  <a:cxn ang="0">
                    <a:pos x="780" y="247"/>
                  </a:cxn>
                  <a:cxn ang="0">
                    <a:pos x="758" y="290"/>
                  </a:cxn>
                  <a:cxn ang="0">
                    <a:pos x="806" y="286"/>
                  </a:cxn>
                  <a:cxn ang="0">
                    <a:pos x="908" y="266"/>
                  </a:cxn>
                  <a:cxn ang="0">
                    <a:pos x="34" y="530"/>
                  </a:cxn>
                  <a:cxn ang="0">
                    <a:pos x="339" y="128"/>
                  </a:cxn>
                  <a:cxn ang="0">
                    <a:pos x="480" y="146"/>
                  </a:cxn>
                  <a:cxn ang="0">
                    <a:pos x="316" y="138"/>
                  </a:cxn>
                  <a:cxn ang="0">
                    <a:pos x="461" y="135"/>
                  </a:cxn>
                  <a:cxn ang="0">
                    <a:pos x="460" y="157"/>
                  </a:cxn>
                  <a:cxn ang="0">
                    <a:pos x="462" y="145"/>
                  </a:cxn>
                  <a:cxn ang="0">
                    <a:pos x="465" y="146"/>
                  </a:cxn>
                  <a:cxn ang="0">
                    <a:pos x="477" y="135"/>
                  </a:cxn>
                  <a:cxn ang="0">
                    <a:pos x="161" y="177"/>
                  </a:cxn>
                  <a:cxn ang="0">
                    <a:pos x="473" y="160"/>
                  </a:cxn>
                  <a:cxn ang="0">
                    <a:pos x="465" y="162"/>
                  </a:cxn>
                  <a:cxn ang="0">
                    <a:pos x="197" y="164"/>
                  </a:cxn>
                  <a:cxn ang="0">
                    <a:pos x="273" y="141"/>
                  </a:cxn>
                  <a:cxn ang="0">
                    <a:pos x="477" y="160"/>
                  </a:cxn>
                  <a:cxn ang="0">
                    <a:pos x="485" y="134"/>
                  </a:cxn>
                  <a:cxn ang="0">
                    <a:pos x="466" y="121"/>
                  </a:cxn>
                  <a:cxn ang="0">
                    <a:pos x="457" y="110"/>
                  </a:cxn>
                  <a:cxn ang="0">
                    <a:pos x="418" y="98"/>
                  </a:cxn>
                  <a:cxn ang="0">
                    <a:pos x="393" y="107"/>
                  </a:cxn>
                  <a:cxn ang="0">
                    <a:pos x="384" y="100"/>
                  </a:cxn>
                  <a:cxn ang="0">
                    <a:pos x="338" y="122"/>
                  </a:cxn>
                  <a:cxn ang="0">
                    <a:pos x="271" y="147"/>
                  </a:cxn>
                  <a:cxn ang="0">
                    <a:pos x="222" y="158"/>
                  </a:cxn>
                  <a:cxn ang="0">
                    <a:pos x="291" y="133"/>
                  </a:cxn>
                  <a:cxn ang="0">
                    <a:pos x="273" y="121"/>
                  </a:cxn>
                  <a:cxn ang="0">
                    <a:pos x="284" y="102"/>
                  </a:cxn>
                  <a:cxn ang="0">
                    <a:pos x="307" y="78"/>
                  </a:cxn>
                  <a:cxn ang="0">
                    <a:pos x="321" y="58"/>
                  </a:cxn>
                  <a:cxn ang="0">
                    <a:pos x="375" y="41"/>
                  </a:cxn>
                  <a:cxn ang="0">
                    <a:pos x="431" y="10"/>
                  </a:cxn>
                  <a:cxn ang="0">
                    <a:pos x="495" y="4"/>
                  </a:cxn>
                  <a:cxn ang="0">
                    <a:pos x="493" y="8"/>
                  </a:cxn>
                </a:cxnLst>
                <a:rect l="0" t="0" r="r" b="b"/>
                <a:pathLst>
                  <a:path w="951" h="552">
                    <a:moveTo>
                      <a:pt x="754" y="246"/>
                    </a:moveTo>
                    <a:cubicBezTo>
                      <a:pt x="754" y="246"/>
                      <a:pt x="755" y="245"/>
                      <a:pt x="755" y="245"/>
                    </a:cubicBezTo>
                    <a:cubicBezTo>
                      <a:pt x="755" y="246"/>
                      <a:pt x="754" y="246"/>
                      <a:pt x="754" y="246"/>
                    </a:cubicBezTo>
                    <a:close/>
                    <a:moveTo>
                      <a:pt x="773" y="243"/>
                    </a:moveTo>
                    <a:cubicBezTo>
                      <a:pt x="772" y="243"/>
                      <a:pt x="773" y="243"/>
                      <a:pt x="774" y="244"/>
                    </a:cubicBezTo>
                    <a:cubicBezTo>
                      <a:pt x="774" y="244"/>
                      <a:pt x="774" y="244"/>
                      <a:pt x="774" y="244"/>
                    </a:cubicBezTo>
                    <a:cubicBezTo>
                      <a:pt x="774" y="244"/>
                      <a:pt x="775" y="243"/>
                      <a:pt x="774" y="243"/>
                    </a:cubicBezTo>
                    <a:cubicBezTo>
                      <a:pt x="774" y="243"/>
                      <a:pt x="774" y="243"/>
                      <a:pt x="775" y="243"/>
                    </a:cubicBezTo>
                    <a:cubicBezTo>
                      <a:pt x="775" y="243"/>
                      <a:pt x="774" y="244"/>
                      <a:pt x="774" y="244"/>
                    </a:cubicBezTo>
                    <a:cubicBezTo>
                      <a:pt x="773" y="244"/>
                      <a:pt x="773" y="244"/>
                      <a:pt x="774" y="245"/>
                    </a:cubicBezTo>
                    <a:cubicBezTo>
                      <a:pt x="774" y="245"/>
                      <a:pt x="774" y="244"/>
                      <a:pt x="775" y="244"/>
                    </a:cubicBezTo>
                    <a:cubicBezTo>
                      <a:pt x="775" y="244"/>
                      <a:pt x="776" y="243"/>
                      <a:pt x="776" y="243"/>
                    </a:cubicBezTo>
                    <a:cubicBezTo>
                      <a:pt x="777" y="242"/>
                      <a:pt x="778" y="242"/>
                      <a:pt x="779" y="241"/>
                    </a:cubicBezTo>
                    <a:cubicBezTo>
                      <a:pt x="780" y="241"/>
                      <a:pt x="779" y="241"/>
                      <a:pt x="779" y="241"/>
                    </a:cubicBezTo>
                    <a:cubicBezTo>
                      <a:pt x="779" y="241"/>
                      <a:pt x="782" y="241"/>
                      <a:pt x="782" y="240"/>
                    </a:cubicBezTo>
                    <a:cubicBezTo>
                      <a:pt x="782" y="239"/>
                      <a:pt x="779" y="240"/>
                      <a:pt x="779" y="240"/>
                    </a:cubicBezTo>
                    <a:cubicBezTo>
                      <a:pt x="777" y="240"/>
                      <a:pt x="775" y="241"/>
                      <a:pt x="773" y="243"/>
                    </a:cubicBezTo>
                    <a:close/>
                    <a:moveTo>
                      <a:pt x="757" y="244"/>
                    </a:moveTo>
                    <a:cubicBezTo>
                      <a:pt x="757" y="244"/>
                      <a:pt x="757" y="244"/>
                      <a:pt x="757" y="244"/>
                    </a:cubicBezTo>
                    <a:cubicBezTo>
                      <a:pt x="757" y="244"/>
                      <a:pt x="756" y="245"/>
                      <a:pt x="756" y="245"/>
                    </a:cubicBezTo>
                    <a:cubicBezTo>
                      <a:pt x="756" y="245"/>
                      <a:pt x="757" y="244"/>
                      <a:pt x="757" y="244"/>
                    </a:cubicBezTo>
                    <a:close/>
                    <a:moveTo>
                      <a:pt x="848" y="344"/>
                    </a:moveTo>
                    <a:cubicBezTo>
                      <a:pt x="848" y="344"/>
                      <a:pt x="849" y="343"/>
                      <a:pt x="849" y="343"/>
                    </a:cubicBezTo>
                    <a:cubicBezTo>
                      <a:pt x="850" y="342"/>
                      <a:pt x="851" y="341"/>
                      <a:pt x="852" y="339"/>
                    </a:cubicBezTo>
                    <a:cubicBezTo>
                      <a:pt x="851" y="340"/>
                      <a:pt x="850" y="341"/>
                      <a:pt x="850" y="342"/>
                    </a:cubicBezTo>
                    <a:cubicBezTo>
                      <a:pt x="849" y="343"/>
                      <a:pt x="848" y="344"/>
                      <a:pt x="848" y="344"/>
                    </a:cubicBezTo>
                    <a:close/>
                    <a:moveTo>
                      <a:pt x="754" y="246"/>
                    </a:moveTo>
                    <a:cubicBezTo>
                      <a:pt x="754" y="246"/>
                      <a:pt x="752" y="247"/>
                      <a:pt x="752" y="247"/>
                    </a:cubicBezTo>
                    <a:cubicBezTo>
                      <a:pt x="752" y="248"/>
                      <a:pt x="754" y="247"/>
                      <a:pt x="754" y="246"/>
                    </a:cubicBezTo>
                    <a:close/>
                    <a:moveTo>
                      <a:pt x="864" y="326"/>
                    </a:moveTo>
                    <a:cubicBezTo>
                      <a:pt x="865" y="325"/>
                      <a:pt x="866" y="325"/>
                      <a:pt x="866" y="324"/>
                    </a:cubicBezTo>
                    <a:cubicBezTo>
                      <a:pt x="865" y="324"/>
                      <a:pt x="865" y="325"/>
                      <a:pt x="864" y="326"/>
                    </a:cubicBezTo>
                    <a:close/>
                    <a:moveTo>
                      <a:pt x="808" y="256"/>
                    </a:moveTo>
                    <a:cubicBezTo>
                      <a:pt x="808" y="257"/>
                      <a:pt x="808" y="256"/>
                      <a:pt x="808" y="256"/>
                    </a:cubicBezTo>
                    <a:cubicBezTo>
                      <a:pt x="809" y="256"/>
                      <a:pt x="809" y="256"/>
                      <a:pt x="810" y="256"/>
                    </a:cubicBezTo>
                    <a:cubicBezTo>
                      <a:pt x="810" y="256"/>
                      <a:pt x="811" y="256"/>
                      <a:pt x="811" y="256"/>
                    </a:cubicBezTo>
                    <a:cubicBezTo>
                      <a:pt x="811" y="255"/>
                      <a:pt x="811" y="255"/>
                      <a:pt x="810" y="255"/>
                    </a:cubicBezTo>
                    <a:cubicBezTo>
                      <a:pt x="810" y="255"/>
                      <a:pt x="810" y="254"/>
                      <a:pt x="810" y="255"/>
                    </a:cubicBezTo>
                    <a:cubicBezTo>
                      <a:pt x="810" y="255"/>
                      <a:pt x="810" y="255"/>
                      <a:pt x="809" y="255"/>
                    </a:cubicBezTo>
                    <a:cubicBezTo>
                      <a:pt x="809" y="256"/>
                      <a:pt x="808" y="255"/>
                      <a:pt x="807" y="256"/>
                    </a:cubicBezTo>
                    <a:cubicBezTo>
                      <a:pt x="808" y="256"/>
                      <a:pt x="808" y="256"/>
                      <a:pt x="808" y="256"/>
                    </a:cubicBezTo>
                    <a:close/>
                    <a:moveTo>
                      <a:pt x="792" y="259"/>
                    </a:moveTo>
                    <a:cubicBezTo>
                      <a:pt x="792" y="258"/>
                      <a:pt x="792" y="258"/>
                      <a:pt x="792" y="258"/>
                    </a:cubicBezTo>
                    <a:cubicBezTo>
                      <a:pt x="792" y="258"/>
                      <a:pt x="790" y="260"/>
                      <a:pt x="791" y="260"/>
                    </a:cubicBezTo>
                    <a:cubicBezTo>
                      <a:pt x="791" y="261"/>
                      <a:pt x="792" y="259"/>
                      <a:pt x="792" y="259"/>
                    </a:cubicBezTo>
                    <a:close/>
                    <a:moveTo>
                      <a:pt x="776" y="265"/>
                    </a:moveTo>
                    <a:cubicBezTo>
                      <a:pt x="776" y="264"/>
                      <a:pt x="776" y="264"/>
                      <a:pt x="777" y="264"/>
                    </a:cubicBezTo>
                    <a:cubicBezTo>
                      <a:pt x="777" y="264"/>
                      <a:pt x="777" y="264"/>
                      <a:pt x="777" y="263"/>
                    </a:cubicBezTo>
                    <a:cubicBezTo>
                      <a:pt x="777" y="263"/>
                      <a:pt x="777" y="263"/>
                      <a:pt x="776" y="263"/>
                    </a:cubicBezTo>
                    <a:cubicBezTo>
                      <a:pt x="776" y="264"/>
                      <a:pt x="775" y="265"/>
                      <a:pt x="775" y="265"/>
                    </a:cubicBezTo>
                    <a:cubicBezTo>
                      <a:pt x="774" y="265"/>
                      <a:pt x="774" y="266"/>
                      <a:pt x="773" y="266"/>
                    </a:cubicBezTo>
                    <a:cubicBezTo>
                      <a:pt x="772" y="267"/>
                      <a:pt x="771" y="267"/>
                      <a:pt x="771" y="268"/>
                    </a:cubicBezTo>
                    <a:cubicBezTo>
                      <a:pt x="772" y="269"/>
                      <a:pt x="772" y="268"/>
                      <a:pt x="773" y="268"/>
                    </a:cubicBezTo>
                    <a:cubicBezTo>
                      <a:pt x="773" y="268"/>
                      <a:pt x="774" y="267"/>
                      <a:pt x="774" y="267"/>
                    </a:cubicBezTo>
                    <a:cubicBezTo>
                      <a:pt x="774" y="266"/>
                      <a:pt x="775" y="266"/>
                      <a:pt x="775" y="266"/>
                    </a:cubicBezTo>
                    <a:cubicBezTo>
                      <a:pt x="775" y="266"/>
                      <a:pt x="775" y="265"/>
                      <a:pt x="775" y="265"/>
                    </a:cubicBezTo>
                    <a:cubicBezTo>
                      <a:pt x="776" y="265"/>
                      <a:pt x="776" y="265"/>
                      <a:pt x="776" y="265"/>
                    </a:cubicBezTo>
                    <a:cubicBezTo>
                      <a:pt x="776" y="265"/>
                      <a:pt x="776" y="265"/>
                      <a:pt x="776" y="265"/>
                    </a:cubicBezTo>
                    <a:close/>
                    <a:moveTo>
                      <a:pt x="935" y="273"/>
                    </a:moveTo>
                    <a:cubicBezTo>
                      <a:pt x="934" y="274"/>
                      <a:pt x="934" y="275"/>
                      <a:pt x="935" y="275"/>
                    </a:cubicBezTo>
                    <a:cubicBezTo>
                      <a:pt x="936" y="274"/>
                      <a:pt x="935" y="274"/>
                      <a:pt x="935" y="274"/>
                    </a:cubicBezTo>
                    <a:cubicBezTo>
                      <a:pt x="935" y="274"/>
                      <a:pt x="936" y="274"/>
                      <a:pt x="936" y="274"/>
                    </a:cubicBezTo>
                    <a:cubicBezTo>
                      <a:pt x="937" y="274"/>
                      <a:pt x="936" y="273"/>
                      <a:pt x="936" y="273"/>
                    </a:cubicBezTo>
                    <a:cubicBezTo>
                      <a:pt x="936" y="272"/>
                      <a:pt x="935" y="273"/>
                      <a:pt x="935" y="273"/>
                    </a:cubicBezTo>
                    <a:close/>
                    <a:moveTo>
                      <a:pt x="908" y="307"/>
                    </a:moveTo>
                    <a:cubicBezTo>
                      <a:pt x="908" y="306"/>
                      <a:pt x="908" y="306"/>
                      <a:pt x="909" y="306"/>
                    </a:cubicBezTo>
                    <a:cubicBezTo>
                      <a:pt x="908" y="307"/>
                      <a:pt x="907" y="306"/>
                      <a:pt x="907" y="307"/>
                    </a:cubicBezTo>
                    <a:cubicBezTo>
                      <a:pt x="907" y="307"/>
                      <a:pt x="908" y="307"/>
                      <a:pt x="908" y="307"/>
                    </a:cubicBezTo>
                    <a:cubicBezTo>
                      <a:pt x="909" y="307"/>
                      <a:pt x="909" y="307"/>
                      <a:pt x="909" y="307"/>
                    </a:cubicBezTo>
                    <a:cubicBezTo>
                      <a:pt x="909" y="306"/>
                      <a:pt x="909" y="306"/>
                      <a:pt x="909" y="306"/>
                    </a:cubicBezTo>
                    <a:cubicBezTo>
                      <a:pt x="909" y="306"/>
                      <a:pt x="908" y="306"/>
                      <a:pt x="908" y="307"/>
                    </a:cubicBezTo>
                    <a:close/>
                    <a:moveTo>
                      <a:pt x="772" y="236"/>
                    </a:moveTo>
                    <a:cubicBezTo>
                      <a:pt x="773" y="236"/>
                      <a:pt x="774" y="236"/>
                      <a:pt x="774" y="235"/>
                    </a:cubicBezTo>
                    <a:cubicBezTo>
                      <a:pt x="774" y="235"/>
                      <a:pt x="774" y="235"/>
                      <a:pt x="774" y="235"/>
                    </a:cubicBezTo>
                    <a:cubicBezTo>
                      <a:pt x="775" y="235"/>
                      <a:pt x="776" y="235"/>
                      <a:pt x="777" y="234"/>
                    </a:cubicBezTo>
                    <a:cubicBezTo>
                      <a:pt x="778" y="234"/>
                      <a:pt x="779" y="233"/>
                      <a:pt x="779" y="232"/>
                    </a:cubicBezTo>
                    <a:cubicBezTo>
                      <a:pt x="779" y="232"/>
                      <a:pt x="780" y="232"/>
                      <a:pt x="780" y="232"/>
                    </a:cubicBezTo>
                    <a:cubicBezTo>
                      <a:pt x="779" y="232"/>
                      <a:pt x="779" y="233"/>
                      <a:pt x="779" y="232"/>
                    </a:cubicBezTo>
                    <a:cubicBezTo>
                      <a:pt x="778" y="233"/>
                      <a:pt x="777" y="233"/>
                      <a:pt x="775" y="234"/>
                    </a:cubicBezTo>
                    <a:cubicBezTo>
                      <a:pt x="774" y="234"/>
                      <a:pt x="773" y="234"/>
                      <a:pt x="772" y="235"/>
                    </a:cubicBezTo>
                    <a:cubicBezTo>
                      <a:pt x="772" y="235"/>
                      <a:pt x="772" y="235"/>
                      <a:pt x="772" y="235"/>
                    </a:cubicBezTo>
                    <a:cubicBezTo>
                      <a:pt x="772" y="236"/>
                      <a:pt x="771" y="236"/>
                      <a:pt x="772" y="236"/>
                    </a:cubicBezTo>
                    <a:close/>
                    <a:moveTo>
                      <a:pt x="904" y="305"/>
                    </a:moveTo>
                    <a:cubicBezTo>
                      <a:pt x="904" y="305"/>
                      <a:pt x="904" y="305"/>
                      <a:pt x="904" y="305"/>
                    </a:cubicBezTo>
                    <a:cubicBezTo>
                      <a:pt x="904" y="304"/>
                      <a:pt x="902" y="306"/>
                      <a:pt x="902" y="306"/>
                    </a:cubicBezTo>
                    <a:cubicBezTo>
                      <a:pt x="902" y="306"/>
                      <a:pt x="901" y="306"/>
                      <a:pt x="901" y="306"/>
                    </a:cubicBezTo>
                    <a:cubicBezTo>
                      <a:pt x="902" y="307"/>
                      <a:pt x="902" y="306"/>
                      <a:pt x="902" y="306"/>
                    </a:cubicBezTo>
                    <a:cubicBezTo>
                      <a:pt x="902" y="306"/>
                      <a:pt x="904" y="306"/>
                      <a:pt x="904" y="306"/>
                    </a:cubicBezTo>
                    <a:cubicBezTo>
                      <a:pt x="904" y="305"/>
                      <a:pt x="904" y="305"/>
                      <a:pt x="904" y="305"/>
                    </a:cubicBezTo>
                    <a:cubicBezTo>
                      <a:pt x="904" y="305"/>
                      <a:pt x="904" y="305"/>
                      <a:pt x="904" y="305"/>
                    </a:cubicBezTo>
                    <a:close/>
                    <a:moveTo>
                      <a:pt x="487" y="229"/>
                    </a:moveTo>
                    <a:cubicBezTo>
                      <a:pt x="487" y="229"/>
                      <a:pt x="488" y="229"/>
                      <a:pt x="488" y="229"/>
                    </a:cubicBezTo>
                    <a:cubicBezTo>
                      <a:pt x="488" y="228"/>
                      <a:pt x="487" y="228"/>
                      <a:pt x="487" y="228"/>
                    </a:cubicBezTo>
                    <a:cubicBezTo>
                      <a:pt x="487" y="227"/>
                      <a:pt x="486" y="228"/>
                      <a:pt x="486" y="229"/>
                    </a:cubicBezTo>
                    <a:cubicBezTo>
                      <a:pt x="486" y="229"/>
                      <a:pt x="487" y="230"/>
                      <a:pt x="487" y="229"/>
                    </a:cubicBezTo>
                    <a:close/>
                    <a:moveTo>
                      <a:pt x="488" y="233"/>
                    </a:moveTo>
                    <a:cubicBezTo>
                      <a:pt x="488" y="233"/>
                      <a:pt x="488" y="233"/>
                      <a:pt x="488" y="233"/>
                    </a:cubicBezTo>
                    <a:cubicBezTo>
                      <a:pt x="488" y="234"/>
                      <a:pt x="488" y="234"/>
                      <a:pt x="488" y="234"/>
                    </a:cubicBezTo>
                    <a:cubicBezTo>
                      <a:pt x="488" y="235"/>
                      <a:pt x="489" y="234"/>
                      <a:pt x="488" y="235"/>
                    </a:cubicBezTo>
                    <a:cubicBezTo>
                      <a:pt x="488" y="235"/>
                      <a:pt x="489" y="235"/>
                      <a:pt x="489" y="234"/>
                    </a:cubicBezTo>
                    <a:cubicBezTo>
                      <a:pt x="489" y="232"/>
                      <a:pt x="488" y="234"/>
                      <a:pt x="488" y="234"/>
                    </a:cubicBezTo>
                    <a:cubicBezTo>
                      <a:pt x="488" y="233"/>
                      <a:pt x="489" y="232"/>
                      <a:pt x="488" y="232"/>
                    </a:cubicBezTo>
                    <a:cubicBezTo>
                      <a:pt x="488" y="231"/>
                      <a:pt x="489" y="231"/>
                      <a:pt x="490" y="231"/>
                    </a:cubicBezTo>
                    <a:cubicBezTo>
                      <a:pt x="490" y="231"/>
                      <a:pt x="490" y="230"/>
                      <a:pt x="490" y="230"/>
                    </a:cubicBezTo>
                    <a:cubicBezTo>
                      <a:pt x="490" y="229"/>
                      <a:pt x="486" y="233"/>
                      <a:pt x="488" y="233"/>
                    </a:cubicBezTo>
                    <a:close/>
                    <a:moveTo>
                      <a:pt x="490" y="224"/>
                    </a:moveTo>
                    <a:cubicBezTo>
                      <a:pt x="490" y="224"/>
                      <a:pt x="490" y="224"/>
                      <a:pt x="490" y="224"/>
                    </a:cubicBezTo>
                    <a:cubicBezTo>
                      <a:pt x="491" y="224"/>
                      <a:pt x="491" y="224"/>
                      <a:pt x="491" y="224"/>
                    </a:cubicBezTo>
                    <a:cubicBezTo>
                      <a:pt x="491" y="224"/>
                      <a:pt x="491" y="224"/>
                      <a:pt x="490" y="224"/>
                    </a:cubicBezTo>
                    <a:close/>
                    <a:moveTo>
                      <a:pt x="489" y="228"/>
                    </a:moveTo>
                    <a:cubicBezTo>
                      <a:pt x="489" y="228"/>
                      <a:pt x="489" y="228"/>
                      <a:pt x="489" y="227"/>
                    </a:cubicBezTo>
                    <a:cubicBezTo>
                      <a:pt x="490" y="226"/>
                      <a:pt x="490" y="228"/>
                      <a:pt x="490" y="228"/>
                    </a:cubicBezTo>
                    <a:cubicBezTo>
                      <a:pt x="490" y="228"/>
                      <a:pt x="492" y="227"/>
                      <a:pt x="490" y="227"/>
                    </a:cubicBezTo>
                    <a:cubicBezTo>
                      <a:pt x="490" y="227"/>
                      <a:pt x="488" y="228"/>
                      <a:pt x="488" y="228"/>
                    </a:cubicBezTo>
                    <a:cubicBezTo>
                      <a:pt x="488" y="228"/>
                      <a:pt x="489" y="228"/>
                      <a:pt x="489" y="228"/>
                    </a:cubicBezTo>
                    <a:cubicBezTo>
                      <a:pt x="489" y="228"/>
                      <a:pt x="489" y="228"/>
                      <a:pt x="489" y="228"/>
                    </a:cubicBezTo>
                    <a:close/>
                    <a:moveTo>
                      <a:pt x="702" y="428"/>
                    </a:moveTo>
                    <a:cubicBezTo>
                      <a:pt x="701" y="428"/>
                      <a:pt x="701" y="428"/>
                      <a:pt x="700" y="428"/>
                    </a:cubicBezTo>
                    <a:cubicBezTo>
                      <a:pt x="700" y="428"/>
                      <a:pt x="701" y="428"/>
                      <a:pt x="702" y="428"/>
                    </a:cubicBezTo>
                    <a:close/>
                    <a:moveTo>
                      <a:pt x="667" y="435"/>
                    </a:moveTo>
                    <a:cubicBezTo>
                      <a:pt x="667" y="435"/>
                      <a:pt x="668" y="436"/>
                      <a:pt x="669" y="436"/>
                    </a:cubicBezTo>
                    <a:cubicBezTo>
                      <a:pt x="669" y="436"/>
                      <a:pt x="670" y="436"/>
                      <a:pt x="670" y="435"/>
                    </a:cubicBezTo>
                    <a:cubicBezTo>
                      <a:pt x="670" y="435"/>
                      <a:pt x="670" y="435"/>
                      <a:pt x="670" y="435"/>
                    </a:cubicBezTo>
                    <a:cubicBezTo>
                      <a:pt x="670" y="435"/>
                      <a:pt x="669" y="434"/>
                      <a:pt x="669" y="435"/>
                    </a:cubicBezTo>
                    <a:cubicBezTo>
                      <a:pt x="668" y="435"/>
                      <a:pt x="667" y="435"/>
                      <a:pt x="667" y="435"/>
                    </a:cubicBezTo>
                    <a:close/>
                    <a:moveTo>
                      <a:pt x="699" y="430"/>
                    </a:moveTo>
                    <a:cubicBezTo>
                      <a:pt x="699" y="430"/>
                      <a:pt x="698" y="430"/>
                      <a:pt x="698" y="430"/>
                    </a:cubicBezTo>
                    <a:cubicBezTo>
                      <a:pt x="698" y="430"/>
                      <a:pt x="698" y="430"/>
                      <a:pt x="698" y="430"/>
                    </a:cubicBezTo>
                    <a:cubicBezTo>
                      <a:pt x="698" y="430"/>
                      <a:pt x="698" y="430"/>
                      <a:pt x="698" y="430"/>
                    </a:cubicBezTo>
                    <a:cubicBezTo>
                      <a:pt x="699" y="430"/>
                      <a:pt x="699" y="430"/>
                      <a:pt x="699" y="430"/>
                    </a:cubicBezTo>
                    <a:close/>
                    <a:moveTo>
                      <a:pt x="733" y="435"/>
                    </a:moveTo>
                    <a:cubicBezTo>
                      <a:pt x="733" y="435"/>
                      <a:pt x="733" y="435"/>
                      <a:pt x="733" y="435"/>
                    </a:cubicBezTo>
                    <a:cubicBezTo>
                      <a:pt x="733" y="435"/>
                      <a:pt x="733" y="435"/>
                      <a:pt x="733" y="435"/>
                    </a:cubicBezTo>
                    <a:close/>
                    <a:moveTo>
                      <a:pt x="734" y="434"/>
                    </a:moveTo>
                    <a:cubicBezTo>
                      <a:pt x="734" y="434"/>
                      <a:pt x="734" y="435"/>
                      <a:pt x="733" y="435"/>
                    </a:cubicBezTo>
                    <a:cubicBezTo>
                      <a:pt x="734" y="434"/>
                      <a:pt x="736" y="433"/>
                      <a:pt x="736" y="433"/>
                    </a:cubicBezTo>
                    <a:cubicBezTo>
                      <a:pt x="736" y="434"/>
                      <a:pt x="735" y="434"/>
                      <a:pt x="734" y="434"/>
                    </a:cubicBezTo>
                    <a:close/>
                    <a:moveTo>
                      <a:pt x="732" y="435"/>
                    </a:moveTo>
                    <a:cubicBezTo>
                      <a:pt x="732" y="435"/>
                      <a:pt x="733" y="435"/>
                      <a:pt x="733" y="435"/>
                    </a:cubicBezTo>
                    <a:cubicBezTo>
                      <a:pt x="733" y="435"/>
                      <a:pt x="733" y="435"/>
                      <a:pt x="732" y="435"/>
                    </a:cubicBezTo>
                    <a:close/>
                    <a:moveTo>
                      <a:pt x="610" y="464"/>
                    </a:moveTo>
                    <a:cubicBezTo>
                      <a:pt x="610" y="465"/>
                      <a:pt x="609" y="466"/>
                      <a:pt x="610" y="467"/>
                    </a:cubicBezTo>
                    <a:cubicBezTo>
                      <a:pt x="610" y="468"/>
                      <a:pt x="610" y="469"/>
                      <a:pt x="610" y="470"/>
                    </a:cubicBezTo>
                    <a:cubicBezTo>
                      <a:pt x="610" y="471"/>
                      <a:pt x="609" y="473"/>
                      <a:pt x="610" y="474"/>
                    </a:cubicBezTo>
                    <a:cubicBezTo>
                      <a:pt x="610" y="472"/>
                      <a:pt x="610" y="470"/>
                      <a:pt x="610" y="468"/>
                    </a:cubicBezTo>
                    <a:cubicBezTo>
                      <a:pt x="610" y="466"/>
                      <a:pt x="610" y="464"/>
                      <a:pt x="611" y="461"/>
                    </a:cubicBezTo>
                    <a:cubicBezTo>
                      <a:pt x="610" y="462"/>
                      <a:pt x="610" y="463"/>
                      <a:pt x="610" y="464"/>
                    </a:cubicBezTo>
                    <a:close/>
                    <a:moveTo>
                      <a:pt x="637" y="440"/>
                    </a:moveTo>
                    <a:cubicBezTo>
                      <a:pt x="638" y="440"/>
                      <a:pt x="639" y="439"/>
                      <a:pt x="640" y="439"/>
                    </a:cubicBezTo>
                    <a:cubicBezTo>
                      <a:pt x="640" y="438"/>
                      <a:pt x="642" y="438"/>
                      <a:pt x="640" y="438"/>
                    </a:cubicBezTo>
                    <a:cubicBezTo>
                      <a:pt x="641" y="438"/>
                      <a:pt x="638" y="440"/>
                      <a:pt x="637" y="440"/>
                    </a:cubicBezTo>
                    <a:close/>
                    <a:moveTo>
                      <a:pt x="667" y="434"/>
                    </a:moveTo>
                    <a:cubicBezTo>
                      <a:pt x="667" y="435"/>
                      <a:pt x="667" y="434"/>
                      <a:pt x="667" y="434"/>
                    </a:cubicBezTo>
                    <a:cubicBezTo>
                      <a:pt x="667" y="434"/>
                      <a:pt x="668" y="434"/>
                      <a:pt x="668" y="434"/>
                    </a:cubicBezTo>
                    <a:cubicBezTo>
                      <a:pt x="668" y="434"/>
                      <a:pt x="667" y="434"/>
                      <a:pt x="667" y="434"/>
                    </a:cubicBezTo>
                    <a:close/>
                    <a:moveTo>
                      <a:pt x="717" y="426"/>
                    </a:moveTo>
                    <a:cubicBezTo>
                      <a:pt x="717" y="427"/>
                      <a:pt x="714" y="427"/>
                      <a:pt x="714" y="427"/>
                    </a:cubicBezTo>
                    <a:cubicBezTo>
                      <a:pt x="715" y="427"/>
                      <a:pt x="716" y="427"/>
                      <a:pt x="717" y="427"/>
                    </a:cubicBezTo>
                    <a:cubicBezTo>
                      <a:pt x="718" y="426"/>
                      <a:pt x="720" y="426"/>
                      <a:pt x="721" y="426"/>
                    </a:cubicBezTo>
                    <a:cubicBezTo>
                      <a:pt x="720" y="426"/>
                      <a:pt x="718" y="426"/>
                      <a:pt x="717" y="426"/>
                    </a:cubicBezTo>
                    <a:close/>
                    <a:moveTo>
                      <a:pt x="623" y="448"/>
                    </a:moveTo>
                    <a:cubicBezTo>
                      <a:pt x="624" y="448"/>
                      <a:pt x="624" y="448"/>
                      <a:pt x="625" y="447"/>
                    </a:cubicBezTo>
                    <a:cubicBezTo>
                      <a:pt x="624" y="447"/>
                      <a:pt x="624" y="448"/>
                      <a:pt x="623" y="448"/>
                    </a:cubicBezTo>
                    <a:close/>
                    <a:moveTo>
                      <a:pt x="674" y="437"/>
                    </a:moveTo>
                    <a:cubicBezTo>
                      <a:pt x="674" y="438"/>
                      <a:pt x="673" y="438"/>
                      <a:pt x="673" y="438"/>
                    </a:cubicBezTo>
                    <a:cubicBezTo>
                      <a:pt x="673" y="439"/>
                      <a:pt x="674" y="439"/>
                      <a:pt x="675" y="439"/>
                    </a:cubicBezTo>
                    <a:cubicBezTo>
                      <a:pt x="674" y="439"/>
                      <a:pt x="675" y="438"/>
                      <a:pt x="675" y="438"/>
                    </a:cubicBezTo>
                    <a:cubicBezTo>
                      <a:pt x="674" y="438"/>
                      <a:pt x="674" y="437"/>
                      <a:pt x="674" y="437"/>
                    </a:cubicBezTo>
                    <a:close/>
                    <a:moveTo>
                      <a:pt x="694" y="430"/>
                    </a:moveTo>
                    <a:cubicBezTo>
                      <a:pt x="694" y="430"/>
                      <a:pt x="695" y="430"/>
                      <a:pt x="695" y="430"/>
                    </a:cubicBezTo>
                    <a:cubicBezTo>
                      <a:pt x="695" y="430"/>
                      <a:pt x="695" y="430"/>
                      <a:pt x="695" y="430"/>
                    </a:cubicBezTo>
                    <a:cubicBezTo>
                      <a:pt x="695" y="430"/>
                      <a:pt x="695" y="430"/>
                      <a:pt x="695" y="429"/>
                    </a:cubicBezTo>
                    <a:cubicBezTo>
                      <a:pt x="695" y="429"/>
                      <a:pt x="695" y="429"/>
                      <a:pt x="696" y="429"/>
                    </a:cubicBezTo>
                    <a:cubicBezTo>
                      <a:pt x="695" y="429"/>
                      <a:pt x="694" y="430"/>
                      <a:pt x="694" y="430"/>
                    </a:cubicBezTo>
                    <a:close/>
                    <a:moveTo>
                      <a:pt x="622" y="449"/>
                    </a:moveTo>
                    <a:cubicBezTo>
                      <a:pt x="622" y="449"/>
                      <a:pt x="622" y="449"/>
                      <a:pt x="621" y="449"/>
                    </a:cubicBezTo>
                    <a:cubicBezTo>
                      <a:pt x="621" y="450"/>
                      <a:pt x="620" y="450"/>
                      <a:pt x="619" y="450"/>
                    </a:cubicBezTo>
                    <a:cubicBezTo>
                      <a:pt x="619" y="450"/>
                      <a:pt x="618" y="451"/>
                      <a:pt x="618" y="452"/>
                    </a:cubicBezTo>
                    <a:cubicBezTo>
                      <a:pt x="619" y="451"/>
                      <a:pt x="620" y="450"/>
                      <a:pt x="621" y="450"/>
                    </a:cubicBezTo>
                    <a:cubicBezTo>
                      <a:pt x="622" y="449"/>
                      <a:pt x="623" y="449"/>
                      <a:pt x="623" y="448"/>
                    </a:cubicBezTo>
                    <a:cubicBezTo>
                      <a:pt x="623" y="448"/>
                      <a:pt x="623" y="449"/>
                      <a:pt x="622" y="449"/>
                    </a:cubicBezTo>
                    <a:close/>
                    <a:moveTo>
                      <a:pt x="704" y="428"/>
                    </a:moveTo>
                    <a:cubicBezTo>
                      <a:pt x="705" y="428"/>
                      <a:pt x="706" y="428"/>
                      <a:pt x="706" y="428"/>
                    </a:cubicBezTo>
                    <a:cubicBezTo>
                      <a:pt x="706" y="428"/>
                      <a:pt x="706" y="428"/>
                      <a:pt x="706" y="428"/>
                    </a:cubicBezTo>
                    <a:cubicBezTo>
                      <a:pt x="705" y="428"/>
                      <a:pt x="705" y="428"/>
                      <a:pt x="704" y="428"/>
                    </a:cubicBezTo>
                    <a:close/>
                    <a:moveTo>
                      <a:pt x="617" y="452"/>
                    </a:moveTo>
                    <a:cubicBezTo>
                      <a:pt x="617" y="453"/>
                      <a:pt x="617" y="453"/>
                      <a:pt x="617" y="453"/>
                    </a:cubicBezTo>
                    <a:cubicBezTo>
                      <a:pt x="616" y="453"/>
                      <a:pt x="616" y="454"/>
                      <a:pt x="616" y="454"/>
                    </a:cubicBezTo>
                    <a:cubicBezTo>
                      <a:pt x="617" y="453"/>
                      <a:pt x="618" y="452"/>
                      <a:pt x="618" y="451"/>
                    </a:cubicBezTo>
                    <a:cubicBezTo>
                      <a:pt x="618" y="451"/>
                      <a:pt x="617" y="452"/>
                      <a:pt x="617" y="452"/>
                    </a:cubicBezTo>
                    <a:close/>
                    <a:moveTo>
                      <a:pt x="613" y="456"/>
                    </a:moveTo>
                    <a:cubicBezTo>
                      <a:pt x="613" y="457"/>
                      <a:pt x="612" y="458"/>
                      <a:pt x="611" y="459"/>
                    </a:cubicBezTo>
                    <a:cubicBezTo>
                      <a:pt x="611" y="459"/>
                      <a:pt x="611" y="461"/>
                      <a:pt x="611" y="461"/>
                    </a:cubicBezTo>
                    <a:cubicBezTo>
                      <a:pt x="611" y="461"/>
                      <a:pt x="611" y="460"/>
                      <a:pt x="611" y="460"/>
                    </a:cubicBezTo>
                    <a:cubicBezTo>
                      <a:pt x="612" y="459"/>
                      <a:pt x="612" y="458"/>
                      <a:pt x="613" y="458"/>
                    </a:cubicBezTo>
                    <a:cubicBezTo>
                      <a:pt x="613" y="457"/>
                      <a:pt x="614" y="456"/>
                      <a:pt x="614" y="456"/>
                    </a:cubicBezTo>
                    <a:cubicBezTo>
                      <a:pt x="614" y="455"/>
                      <a:pt x="615" y="455"/>
                      <a:pt x="615" y="455"/>
                    </a:cubicBezTo>
                    <a:cubicBezTo>
                      <a:pt x="615" y="455"/>
                      <a:pt x="613" y="457"/>
                      <a:pt x="613" y="456"/>
                    </a:cubicBezTo>
                    <a:close/>
                    <a:moveTo>
                      <a:pt x="436" y="392"/>
                    </a:moveTo>
                    <a:cubicBezTo>
                      <a:pt x="436" y="393"/>
                      <a:pt x="437" y="393"/>
                      <a:pt x="436" y="394"/>
                    </a:cubicBezTo>
                    <a:cubicBezTo>
                      <a:pt x="436" y="394"/>
                      <a:pt x="437" y="394"/>
                      <a:pt x="437" y="394"/>
                    </a:cubicBezTo>
                    <a:cubicBezTo>
                      <a:pt x="438" y="395"/>
                      <a:pt x="438" y="393"/>
                      <a:pt x="438" y="393"/>
                    </a:cubicBezTo>
                    <a:cubicBezTo>
                      <a:pt x="437" y="393"/>
                      <a:pt x="436" y="392"/>
                      <a:pt x="436" y="392"/>
                    </a:cubicBezTo>
                    <a:close/>
                    <a:moveTo>
                      <a:pt x="421" y="386"/>
                    </a:moveTo>
                    <a:cubicBezTo>
                      <a:pt x="421" y="386"/>
                      <a:pt x="423" y="386"/>
                      <a:pt x="422" y="386"/>
                    </a:cubicBezTo>
                    <a:cubicBezTo>
                      <a:pt x="422" y="386"/>
                      <a:pt x="421" y="386"/>
                      <a:pt x="421" y="386"/>
                    </a:cubicBezTo>
                    <a:close/>
                    <a:moveTo>
                      <a:pt x="425" y="386"/>
                    </a:moveTo>
                    <a:cubicBezTo>
                      <a:pt x="424" y="386"/>
                      <a:pt x="424" y="386"/>
                      <a:pt x="423" y="386"/>
                    </a:cubicBezTo>
                    <a:cubicBezTo>
                      <a:pt x="423" y="387"/>
                      <a:pt x="423" y="388"/>
                      <a:pt x="424" y="388"/>
                    </a:cubicBezTo>
                    <a:cubicBezTo>
                      <a:pt x="424" y="387"/>
                      <a:pt x="425" y="387"/>
                      <a:pt x="425" y="387"/>
                    </a:cubicBezTo>
                    <a:cubicBezTo>
                      <a:pt x="425" y="387"/>
                      <a:pt x="425" y="386"/>
                      <a:pt x="425" y="386"/>
                    </a:cubicBezTo>
                    <a:close/>
                    <a:moveTo>
                      <a:pt x="426" y="395"/>
                    </a:moveTo>
                    <a:cubicBezTo>
                      <a:pt x="426" y="394"/>
                      <a:pt x="425" y="395"/>
                      <a:pt x="426" y="395"/>
                    </a:cubicBezTo>
                    <a:cubicBezTo>
                      <a:pt x="427" y="395"/>
                      <a:pt x="427" y="395"/>
                      <a:pt x="426" y="395"/>
                    </a:cubicBezTo>
                    <a:close/>
                    <a:moveTo>
                      <a:pt x="429" y="386"/>
                    </a:moveTo>
                    <a:cubicBezTo>
                      <a:pt x="428" y="386"/>
                      <a:pt x="427" y="386"/>
                      <a:pt x="427" y="386"/>
                    </a:cubicBezTo>
                    <a:cubicBezTo>
                      <a:pt x="426" y="386"/>
                      <a:pt x="426" y="386"/>
                      <a:pt x="426" y="386"/>
                    </a:cubicBezTo>
                    <a:cubicBezTo>
                      <a:pt x="426" y="386"/>
                      <a:pt x="426" y="386"/>
                      <a:pt x="426" y="387"/>
                    </a:cubicBezTo>
                    <a:cubicBezTo>
                      <a:pt x="427" y="387"/>
                      <a:pt x="428" y="387"/>
                      <a:pt x="428" y="387"/>
                    </a:cubicBezTo>
                    <a:cubicBezTo>
                      <a:pt x="429" y="387"/>
                      <a:pt x="429" y="387"/>
                      <a:pt x="429" y="386"/>
                    </a:cubicBezTo>
                    <a:cubicBezTo>
                      <a:pt x="430" y="386"/>
                      <a:pt x="429" y="386"/>
                      <a:pt x="429" y="386"/>
                    </a:cubicBezTo>
                    <a:close/>
                    <a:moveTo>
                      <a:pt x="434" y="397"/>
                    </a:moveTo>
                    <a:cubicBezTo>
                      <a:pt x="433" y="398"/>
                      <a:pt x="434" y="398"/>
                      <a:pt x="434" y="399"/>
                    </a:cubicBezTo>
                    <a:cubicBezTo>
                      <a:pt x="434" y="399"/>
                      <a:pt x="434" y="399"/>
                      <a:pt x="434" y="399"/>
                    </a:cubicBezTo>
                    <a:cubicBezTo>
                      <a:pt x="434" y="400"/>
                      <a:pt x="435" y="399"/>
                      <a:pt x="435" y="399"/>
                    </a:cubicBezTo>
                    <a:cubicBezTo>
                      <a:pt x="435" y="399"/>
                      <a:pt x="434" y="398"/>
                      <a:pt x="434" y="398"/>
                    </a:cubicBezTo>
                    <a:cubicBezTo>
                      <a:pt x="434" y="398"/>
                      <a:pt x="434" y="397"/>
                      <a:pt x="434" y="397"/>
                    </a:cubicBezTo>
                    <a:close/>
                    <a:moveTo>
                      <a:pt x="811" y="388"/>
                    </a:moveTo>
                    <a:cubicBezTo>
                      <a:pt x="811" y="388"/>
                      <a:pt x="811" y="388"/>
                      <a:pt x="811" y="388"/>
                    </a:cubicBezTo>
                    <a:cubicBezTo>
                      <a:pt x="811" y="388"/>
                      <a:pt x="811" y="388"/>
                      <a:pt x="811" y="388"/>
                    </a:cubicBezTo>
                    <a:cubicBezTo>
                      <a:pt x="811" y="388"/>
                      <a:pt x="810" y="388"/>
                      <a:pt x="811" y="388"/>
                    </a:cubicBezTo>
                    <a:close/>
                    <a:moveTo>
                      <a:pt x="833" y="375"/>
                    </a:moveTo>
                    <a:cubicBezTo>
                      <a:pt x="833" y="374"/>
                      <a:pt x="834" y="374"/>
                      <a:pt x="835" y="374"/>
                    </a:cubicBezTo>
                    <a:cubicBezTo>
                      <a:pt x="835" y="374"/>
                      <a:pt x="835" y="374"/>
                      <a:pt x="835" y="374"/>
                    </a:cubicBezTo>
                    <a:cubicBezTo>
                      <a:pt x="834" y="374"/>
                      <a:pt x="833" y="374"/>
                      <a:pt x="833" y="375"/>
                    </a:cubicBezTo>
                    <a:close/>
                    <a:moveTo>
                      <a:pt x="831" y="376"/>
                    </a:moveTo>
                    <a:cubicBezTo>
                      <a:pt x="831" y="376"/>
                      <a:pt x="832" y="375"/>
                      <a:pt x="832" y="375"/>
                    </a:cubicBezTo>
                    <a:cubicBezTo>
                      <a:pt x="832" y="375"/>
                      <a:pt x="831" y="375"/>
                      <a:pt x="831" y="376"/>
                    </a:cubicBezTo>
                    <a:close/>
                    <a:moveTo>
                      <a:pt x="839" y="370"/>
                    </a:moveTo>
                    <a:cubicBezTo>
                      <a:pt x="838" y="371"/>
                      <a:pt x="838" y="372"/>
                      <a:pt x="838" y="373"/>
                    </a:cubicBezTo>
                    <a:cubicBezTo>
                      <a:pt x="837" y="373"/>
                      <a:pt x="836" y="373"/>
                      <a:pt x="835" y="374"/>
                    </a:cubicBezTo>
                    <a:cubicBezTo>
                      <a:pt x="836" y="374"/>
                      <a:pt x="837" y="373"/>
                      <a:pt x="837" y="373"/>
                    </a:cubicBezTo>
                    <a:cubicBezTo>
                      <a:pt x="838" y="373"/>
                      <a:pt x="840" y="367"/>
                      <a:pt x="839" y="367"/>
                    </a:cubicBezTo>
                    <a:cubicBezTo>
                      <a:pt x="840" y="367"/>
                      <a:pt x="839" y="370"/>
                      <a:pt x="839" y="370"/>
                    </a:cubicBezTo>
                    <a:close/>
                    <a:moveTo>
                      <a:pt x="816" y="382"/>
                    </a:moveTo>
                    <a:cubicBezTo>
                      <a:pt x="816" y="382"/>
                      <a:pt x="818" y="381"/>
                      <a:pt x="818" y="381"/>
                    </a:cubicBezTo>
                    <a:cubicBezTo>
                      <a:pt x="818" y="381"/>
                      <a:pt x="818" y="381"/>
                      <a:pt x="818" y="381"/>
                    </a:cubicBezTo>
                    <a:cubicBezTo>
                      <a:pt x="817" y="381"/>
                      <a:pt x="816" y="382"/>
                      <a:pt x="816" y="382"/>
                    </a:cubicBezTo>
                    <a:close/>
                    <a:moveTo>
                      <a:pt x="826" y="380"/>
                    </a:moveTo>
                    <a:cubicBezTo>
                      <a:pt x="826" y="380"/>
                      <a:pt x="828" y="378"/>
                      <a:pt x="828" y="378"/>
                    </a:cubicBezTo>
                    <a:cubicBezTo>
                      <a:pt x="829" y="378"/>
                      <a:pt x="830" y="377"/>
                      <a:pt x="830" y="376"/>
                    </a:cubicBezTo>
                    <a:cubicBezTo>
                      <a:pt x="829" y="377"/>
                      <a:pt x="827" y="379"/>
                      <a:pt x="826" y="380"/>
                    </a:cubicBezTo>
                    <a:close/>
                    <a:moveTo>
                      <a:pt x="821" y="379"/>
                    </a:moveTo>
                    <a:cubicBezTo>
                      <a:pt x="823" y="379"/>
                      <a:pt x="824" y="379"/>
                      <a:pt x="825" y="379"/>
                    </a:cubicBezTo>
                    <a:cubicBezTo>
                      <a:pt x="825" y="379"/>
                      <a:pt x="825" y="379"/>
                      <a:pt x="824" y="379"/>
                    </a:cubicBezTo>
                    <a:cubicBezTo>
                      <a:pt x="824" y="379"/>
                      <a:pt x="822" y="379"/>
                      <a:pt x="821" y="379"/>
                    </a:cubicBezTo>
                    <a:close/>
                    <a:moveTo>
                      <a:pt x="754" y="489"/>
                    </a:moveTo>
                    <a:cubicBezTo>
                      <a:pt x="754" y="489"/>
                      <a:pt x="755" y="489"/>
                      <a:pt x="755" y="489"/>
                    </a:cubicBezTo>
                    <a:cubicBezTo>
                      <a:pt x="755" y="489"/>
                      <a:pt x="755" y="489"/>
                      <a:pt x="755" y="489"/>
                    </a:cubicBezTo>
                    <a:cubicBezTo>
                      <a:pt x="755" y="489"/>
                      <a:pt x="754" y="489"/>
                      <a:pt x="754" y="489"/>
                    </a:cubicBezTo>
                    <a:close/>
                    <a:moveTo>
                      <a:pt x="755" y="489"/>
                    </a:moveTo>
                    <a:cubicBezTo>
                      <a:pt x="755" y="489"/>
                      <a:pt x="755" y="489"/>
                      <a:pt x="755" y="489"/>
                    </a:cubicBezTo>
                    <a:cubicBezTo>
                      <a:pt x="755" y="489"/>
                      <a:pt x="755" y="489"/>
                      <a:pt x="755" y="489"/>
                    </a:cubicBezTo>
                    <a:close/>
                    <a:moveTo>
                      <a:pt x="759" y="489"/>
                    </a:moveTo>
                    <a:cubicBezTo>
                      <a:pt x="759" y="489"/>
                      <a:pt x="759" y="489"/>
                      <a:pt x="759" y="489"/>
                    </a:cubicBezTo>
                    <a:cubicBezTo>
                      <a:pt x="759" y="489"/>
                      <a:pt x="759" y="489"/>
                      <a:pt x="759" y="489"/>
                    </a:cubicBezTo>
                    <a:cubicBezTo>
                      <a:pt x="759" y="489"/>
                      <a:pt x="758" y="489"/>
                      <a:pt x="758" y="489"/>
                    </a:cubicBezTo>
                    <a:cubicBezTo>
                      <a:pt x="758" y="489"/>
                      <a:pt x="758" y="489"/>
                      <a:pt x="759" y="489"/>
                    </a:cubicBezTo>
                    <a:close/>
                    <a:moveTo>
                      <a:pt x="767" y="483"/>
                    </a:moveTo>
                    <a:cubicBezTo>
                      <a:pt x="767" y="483"/>
                      <a:pt x="766" y="484"/>
                      <a:pt x="765" y="484"/>
                    </a:cubicBezTo>
                    <a:cubicBezTo>
                      <a:pt x="766" y="484"/>
                      <a:pt x="764" y="486"/>
                      <a:pt x="764" y="486"/>
                    </a:cubicBezTo>
                    <a:cubicBezTo>
                      <a:pt x="764" y="486"/>
                      <a:pt x="765" y="485"/>
                      <a:pt x="766" y="484"/>
                    </a:cubicBezTo>
                    <a:cubicBezTo>
                      <a:pt x="766" y="484"/>
                      <a:pt x="767" y="483"/>
                      <a:pt x="767" y="482"/>
                    </a:cubicBezTo>
                    <a:cubicBezTo>
                      <a:pt x="767" y="482"/>
                      <a:pt x="768" y="482"/>
                      <a:pt x="768" y="482"/>
                    </a:cubicBezTo>
                    <a:cubicBezTo>
                      <a:pt x="768" y="482"/>
                      <a:pt x="766" y="482"/>
                      <a:pt x="767" y="483"/>
                    </a:cubicBezTo>
                    <a:close/>
                    <a:moveTo>
                      <a:pt x="762" y="487"/>
                    </a:moveTo>
                    <a:cubicBezTo>
                      <a:pt x="762" y="487"/>
                      <a:pt x="762" y="487"/>
                      <a:pt x="763" y="487"/>
                    </a:cubicBezTo>
                    <a:cubicBezTo>
                      <a:pt x="763" y="487"/>
                      <a:pt x="762" y="487"/>
                      <a:pt x="762" y="487"/>
                    </a:cubicBezTo>
                    <a:close/>
                    <a:moveTo>
                      <a:pt x="752" y="469"/>
                    </a:moveTo>
                    <a:cubicBezTo>
                      <a:pt x="752" y="469"/>
                      <a:pt x="752" y="469"/>
                      <a:pt x="752" y="469"/>
                    </a:cubicBezTo>
                    <a:cubicBezTo>
                      <a:pt x="751" y="469"/>
                      <a:pt x="753" y="471"/>
                      <a:pt x="753" y="470"/>
                    </a:cubicBezTo>
                    <a:cubicBezTo>
                      <a:pt x="753" y="470"/>
                      <a:pt x="752" y="469"/>
                      <a:pt x="752" y="469"/>
                    </a:cubicBezTo>
                    <a:close/>
                    <a:moveTo>
                      <a:pt x="752" y="490"/>
                    </a:moveTo>
                    <a:cubicBezTo>
                      <a:pt x="752" y="490"/>
                      <a:pt x="753" y="490"/>
                      <a:pt x="753" y="490"/>
                    </a:cubicBezTo>
                    <a:cubicBezTo>
                      <a:pt x="753" y="490"/>
                      <a:pt x="753" y="490"/>
                      <a:pt x="753" y="490"/>
                    </a:cubicBezTo>
                    <a:cubicBezTo>
                      <a:pt x="752" y="490"/>
                      <a:pt x="752" y="490"/>
                      <a:pt x="752" y="490"/>
                    </a:cubicBezTo>
                    <a:close/>
                    <a:moveTo>
                      <a:pt x="748" y="490"/>
                    </a:moveTo>
                    <a:cubicBezTo>
                      <a:pt x="749" y="490"/>
                      <a:pt x="749" y="490"/>
                      <a:pt x="748" y="490"/>
                    </a:cubicBezTo>
                    <a:cubicBezTo>
                      <a:pt x="749" y="490"/>
                      <a:pt x="749" y="490"/>
                      <a:pt x="749" y="490"/>
                    </a:cubicBezTo>
                    <a:cubicBezTo>
                      <a:pt x="749" y="490"/>
                      <a:pt x="748" y="490"/>
                      <a:pt x="748" y="490"/>
                    </a:cubicBezTo>
                    <a:close/>
                    <a:moveTo>
                      <a:pt x="761" y="488"/>
                    </a:moveTo>
                    <a:cubicBezTo>
                      <a:pt x="761" y="488"/>
                      <a:pt x="761" y="488"/>
                      <a:pt x="762" y="488"/>
                    </a:cubicBezTo>
                    <a:cubicBezTo>
                      <a:pt x="762" y="487"/>
                      <a:pt x="762" y="487"/>
                      <a:pt x="761" y="487"/>
                    </a:cubicBezTo>
                    <a:cubicBezTo>
                      <a:pt x="761" y="487"/>
                      <a:pt x="761" y="488"/>
                      <a:pt x="761" y="488"/>
                    </a:cubicBezTo>
                    <a:close/>
                    <a:moveTo>
                      <a:pt x="760" y="488"/>
                    </a:moveTo>
                    <a:cubicBezTo>
                      <a:pt x="760" y="488"/>
                      <a:pt x="760" y="488"/>
                      <a:pt x="760" y="488"/>
                    </a:cubicBezTo>
                    <a:cubicBezTo>
                      <a:pt x="760" y="488"/>
                      <a:pt x="759" y="488"/>
                      <a:pt x="759" y="489"/>
                    </a:cubicBezTo>
                    <a:cubicBezTo>
                      <a:pt x="759" y="488"/>
                      <a:pt x="760" y="488"/>
                      <a:pt x="760" y="488"/>
                    </a:cubicBezTo>
                    <a:close/>
                    <a:moveTo>
                      <a:pt x="755" y="488"/>
                    </a:moveTo>
                    <a:cubicBezTo>
                      <a:pt x="756" y="489"/>
                      <a:pt x="756" y="489"/>
                      <a:pt x="756" y="490"/>
                    </a:cubicBezTo>
                    <a:cubicBezTo>
                      <a:pt x="756" y="489"/>
                      <a:pt x="756" y="489"/>
                      <a:pt x="756" y="488"/>
                    </a:cubicBezTo>
                    <a:cubicBezTo>
                      <a:pt x="755" y="488"/>
                      <a:pt x="755" y="488"/>
                      <a:pt x="755" y="488"/>
                    </a:cubicBezTo>
                    <a:close/>
                    <a:moveTo>
                      <a:pt x="752" y="490"/>
                    </a:moveTo>
                    <a:cubicBezTo>
                      <a:pt x="751" y="490"/>
                      <a:pt x="751" y="490"/>
                      <a:pt x="751" y="490"/>
                    </a:cubicBezTo>
                    <a:cubicBezTo>
                      <a:pt x="751" y="491"/>
                      <a:pt x="752" y="490"/>
                      <a:pt x="752" y="490"/>
                    </a:cubicBezTo>
                    <a:cubicBezTo>
                      <a:pt x="752" y="490"/>
                      <a:pt x="752" y="490"/>
                      <a:pt x="752" y="490"/>
                    </a:cubicBezTo>
                    <a:close/>
                    <a:moveTo>
                      <a:pt x="768" y="481"/>
                    </a:moveTo>
                    <a:cubicBezTo>
                      <a:pt x="768" y="481"/>
                      <a:pt x="768" y="481"/>
                      <a:pt x="769" y="480"/>
                    </a:cubicBezTo>
                    <a:cubicBezTo>
                      <a:pt x="769" y="480"/>
                      <a:pt x="768" y="481"/>
                      <a:pt x="768" y="481"/>
                    </a:cubicBezTo>
                    <a:close/>
                    <a:moveTo>
                      <a:pt x="754" y="489"/>
                    </a:moveTo>
                    <a:cubicBezTo>
                      <a:pt x="754" y="489"/>
                      <a:pt x="754" y="489"/>
                      <a:pt x="754" y="489"/>
                    </a:cubicBezTo>
                    <a:cubicBezTo>
                      <a:pt x="754" y="490"/>
                      <a:pt x="754" y="489"/>
                      <a:pt x="754" y="489"/>
                    </a:cubicBezTo>
                    <a:cubicBezTo>
                      <a:pt x="754" y="490"/>
                      <a:pt x="754" y="490"/>
                      <a:pt x="754" y="490"/>
                    </a:cubicBezTo>
                    <a:cubicBezTo>
                      <a:pt x="753" y="490"/>
                      <a:pt x="753" y="490"/>
                      <a:pt x="753" y="490"/>
                    </a:cubicBezTo>
                    <a:cubicBezTo>
                      <a:pt x="754" y="490"/>
                      <a:pt x="754" y="490"/>
                      <a:pt x="754" y="490"/>
                    </a:cubicBezTo>
                    <a:cubicBezTo>
                      <a:pt x="755" y="489"/>
                      <a:pt x="754" y="489"/>
                      <a:pt x="754" y="489"/>
                    </a:cubicBezTo>
                    <a:close/>
                    <a:moveTo>
                      <a:pt x="951" y="244"/>
                    </a:moveTo>
                    <a:cubicBezTo>
                      <a:pt x="951" y="245"/>
                      <a:pt x="951" y="245"/>
                      <a:pt x="951" y="246"/>
                    </a:cubicBezTo>
                    <a:cubicBezTo>
                      <a:pt x="950" y="247"/>
                      <a:pt x="950" y="247"/>
                      <a:pt x="950" y="248"/>
                    </a:cubicBezTo>
                    <a:cubicBezTo>
                      <a:pt x="949" y="250"/>
                      <a:pt x="948" y="252"/>
                      <a:pt x="948" y="254"/>
                    </a:cubicBezTo>
                    <a:cubicBezTo>
                      <a:pt x="947" y="254"/>
                      <a:pt x="947" y="256"/>
                      <a:pt x="947" y="256"/>
                    </a:cubicBezTo>
                    <a:cubicBezTo>
                      <a:pt x="947" y="256"/>
                      <a:pt x="946" y="258"/>
                      <a:pt x="946" y="258"/>
                    </a:cubicBezTo>
                    <a:cubicBezTo>
                      <a:pt x="946" y="258"/>
                      <a:pt x="945" y="259"/>
                      <a:pt x="946" y="259"/>
                    </a:cubicBezTo>
                    <a:cubicBezTo>
                      <a:pt x="946" y="259"/>
                      <a:pt x="946" y="259"/>
                      <a:pt x="946" y="260"/>
                    </a:cubicBezTo>
                    <a:cubicBezTo>
                      <a:pt x="947" y="260"/>
                      <a:pt x="947" y="260"/>
                      <a:pt x="948" y="260"/>
                    </a:cubicBezTo>
                    <a:cubicBezTo>
                      <a:pt x="948" y="260"/>
                      <a:pt x="948" y="261"/>
                      <a:pt x="948" y="261"/>
                    </a:cubicBezTo>
                    <a:cubicBezTo>
                      <a:pt x="947" y="261"/>
                      <a:pt x="947" y="262"/>
                      <a:pt x="947" y="262"/>
                    </a:cubicBezTo>
                    <a:cubicBezTo>
                      <a:pt x="947" y="263"/>
                      <a:pt x="947" y="263"/>
                      <a:pt x="947" y="264"/>
                    </a:cubicBezTo>
                    <a:cubicBezTo>
                      <a:pt x="947" y="266"/>
                      <a:pt x="948" y="264"/>
                      <a:pt x="949" y="265"/>
                    </a:cubicBezTo>
                    <a:cubicBezTo>
                      <a:pt x="949" y="265"/>
                      <a:pt x="949" y="268"/>
                      <a:pt x="949" y="267"/>
                    </a:cubicBezTo>
                    <a:cubicBezTo>
                      <a:pt x="948" y="267"/>
                      <a:pt x="948" y="267"/>
                      <a:pt x="948" y="268"/>
                    </a:cubicBezTo>
                    <a:cubicBezTo>
                      <a:pt x="948" y="268"/>
                      <a:pt x="948" y="267"/>
                      <a:pt x="948" y="267"/>
                    </a:cubicBezTo>
                    <a:cubicBezTo>
                      <a:pt x="947" y="267"/>
                      <a:pt x="948" y="268"/>
                      <a:pt x="948" y="268"/>
                    </a:cubicBezTo>
                    <a:cubicBezTo>
                      <a:pt x="948" y="268"/>
                      <a:pt x="948" y="268"/>
                      <a:pt x="948" y="268"/>
                    </a:cubicBezTo>
                    <a:cubicBezTo>
                      <a:pt x="949" y="267"/>
                      <a:pt x="948" y="268"/>
                      <a:pt x="948" y="268"/>
                    </a:cubicBezTo>
                    <a:cubicBezTo>
                      <a:pt x="949" y="268"/>
                      <a:pt x="949" y="267"/>
                      <a:pt x="949" y="268"/>
                    </a:cubicBezTo>
                    <a:cubicBezTo>
                      <a:pt x="950" y="268"/>
                      <a:pt x="948" y="269"/>
                      <a:pt x="948" y="269"/>
                    </a:cubicBezTo>
                    <a:cubicBezTo>
                      <a:pt x="948" y="269"/>
                      <a:pt x="948" y="269"/>
                      <a:pt x="947" y="270"/>
                    </a:cubicBezTo>
                    <a:cubicBezTo>
                      <a:pt x="947" y="270"/>
                      <a:pt x="946" y="270"/>
                      <a:pt x="946" y="270"/>
                    </a:cubicBezTo>
                    <a:cubicBezTo>
                      <a:pt x="946" y="270"/>
                      <a:pt x="946" y="270"/>
                      <a:pt x="946" y="270"/>
                    </a:cubicBezTo>
                    <a:cubicBezTo>
                      <a:pt x="946" y="271"/>
                      <a:pt x="946" y="270"/>
                      <a:pt x="946" y="270"/>
                    </a:cubicBezTo>
                    <a:cubicBezTo>
                      <a:pt x="946" y="269"/>
                      <a:pt x="945" y="270"/>
                      <a:pt x="945" y="270"/>
                    </a:cubicBezTo>
                    <a:cubicBezTo>
                      <a:pt x="945" y="270"/>
                      <a:pt x="945" y="270"/>
                      <a:pt x="944" y="271"/>
                    </a:cubicBezTo>
                    <a:cubicBezTo>
                      <a:pt x="945" y="270"/>
                      <a:pt x="945" y="270"/>
                      <a:pt x="944" y="270"/>
                    </a:cubicBezTo>
                    <a:cubicBezTo>
                      <a:pt x="944" y="270"/>
                      <a:pt x="944" y="271"/>
                      <a:pt x="944" y="271"/>
                    </a:cubicBezTo>
                    <a:cubicBezTo>
                      <a:pt x="944" y="271"/>
                      <a:pt x="944" y="270"/>
                      <a:pt x="944" y="270"/>
                    </a:cubicBezTo>
                    <a:cubicBezTo>
                      <a:pt x="944" y="270"/>
                      <a:pt x="943" y="270"/>
                      <a:pt x="943" y="270"/>
                    </a:cubicBezTo>
                    <a:cubicBezTo>
                      <a:pt x="943" y="271"/>
                      <a:pt x="943" y="270"/>
                      <a:pt x="943" y="271"/>
                    </a:cubicBezTo>
                    <a:cubicBezTo>
                      <a:pt x="943" y="271"/>
                      <a:pt x="942" y="272"/>
                      <a:pt x="942" y="271"/>
                    </a:cubicBezTo>
                    <a:cubicBezTo>
                      <a:pt x="942" y="271"/>
                      <a:pt x="942" y="272"/>
                      <a:pt x="942" y="272"/>
                    </a:cubicBezTo>
                    <a:cubicBezTo>
                      <a:pt x="941" y="272"/>
                      <a:pt x="942" y="271"/>
                      <a:pt x="942" y="271"/>
                    </a:cubicBezTo>
                    <a:cubicBezTo>
                      <a:pt x="942" y="271"/>
                      <a:pt x="941" y="271"/>
                      <a:pt x="941" y="271"/>
                    </a:cubicBezTo>
                    <a:cubicBezTo>
                      <a:pt x="941" y="271"/>
                      <a:pt x="941" y="271"/>
                      <a:pt x="941" y="271"/>
                    </a:cubicBezTo>
                    <a:cubicBezTo>
                      <a:pt x="941" y="271"/>
                      <a:pt x="941" y="271"/>
                      <a:pt x="940" y="272"/>
                    </a:cubicBezTo>
                    <a:cubicBezTo>
                      <a:pt x="940" y="272"/>
                      <a:pt x="939" y="273"/>
                      <a:pt x="939" y="273"/>
                    </a:cubicBezTo>
                    <a:cubicBezTo>
                      <a:pt x="939" y="273"/>
                      <a:pt x="940" y="272"/>
                      <a:pt x="940" y="272"/>
                    </a:cubicBezTo>
                    <a:cubicBezTo>
                      <a:pt x="940" y="272"/>
                      <a:pt x="939" y="273"/>
                      <a:pt x="939" y="273"/>
                    </a:cubicBezTo>
                    <a:cubicBezTo>
                      <a:pt x="939" y="273"/>
                      <a:pt x="939" y="272"/>
                      <a:pt x="939" y="272"/>
                    </a:cubicBezTo>
                    <a:cubicBezTo>
                      <a:pt x="939" y="272"/>
                      <a:pt x="939" y="272"/>
                      <a:pt x="939" y="273"/>
                    </a:cubicBezTo>
                    <a:cubicBezTo>
                      <a:pt x="939" y="273"/>
                      <a:pt x="938" y="274"/>
                      <a:pt x="938" y="273"/>
                    </a:cubicBezTo>
                    <a:cubicBezTo>
                      <a:pt x="937" y="273"/>
                      <a:pt x="938" y="272"/>
                      <a:pt x="938" y="272"/>
                    </a:cubicBezTo>
                    <a:cubicBezTo>
                      <a:pt x="938" y="272"/>
                      <a:pt x="937" y="272"/>
                      <a:pt x="937" y="272"/>
                    </a:cubicBezTo>
                    <a:cubicBezTo>
                      <a:pt x="937" y="272"/>
                      <a:pt x="937" y="272"/>
                      <a:pt x="937" y="271"/>
                    </a:cubicBezTo>
                    <a:cubicBezTo>
                      <a:pt x="937" y="272"/>
                      <a:pt x="937" y="272"/>
                      <a:pt x="937" y="272"/>
                    </a:cubicBezTo>
                    <a:cubicBezTo>
                      <a:pt x="937" y="272"/>
                      <a:pt x="936" y="271"/>
                      <a:pt x="937" y="272"/>
                    </a:cubicBezTo>
                    <a:cubicBezTo>
                      <a:pt x="937" y="272"/>
                      <a:pt x="936" y="272"/>
                      <a:pt x="936" y="272"/>
                    </a:cubicBezTo>
                    <a:cubicBezTo>
                      <a:pt x="936" y="272"/>
                      <a:pt x="935" y="273"/>
                      <a:pt x="935" y="273"/>
                    </a:cubicBezTo>
                    <a:cubicBezTo>
                      <a:pt x="935" y="273"/>
                      <a:pt x="936" y="272"/>
                      <a:pt x="935" y="272"/>
                    </a:cubicBezTo>
                    <a:cubicBezTo>
                      <a:pt x="935" y="272"/>
                      <a:pt x="935" y="273"/>
                      <a:pt x="934" y="273"/>
                    </a:cubicBezTo>
                    <a:cubicBezTo>
                      <a:pt x="934" y="273"/>
                      <a:pt x="934" y="273"/>
                      <a:pt x="934" y="273"/>
                    </a:cubicBezTo>
                    <a:cubicBezTo>
                      <a:pt x="934" y="273"/>
                      <a:pt x="934" y="273"/>
                      <a:pt x="934" y="273"/>
                    </a:cubicBezTo>
                    <a:cubicBezTo>
                      <a:pt x="934" y="273"/>
                      <a:pt x="934" y="273"/>
                      <a:pt x="933" y="274"/>
                    </a:cubicBezTo>
                    <a:cubicBezTo>
                      <a:pt x="933" y="274"/>
                      <a:pt x="934" y="274"/>
                      <a:pt x="934" y="274"/>
                    </a:cubicBezTo>
                    <a:cubicBezTo>
                      <a:pt x="934" y="274"/>
                      <a:pt x="933" y="275"/>
                      <a:pt x="933" y="275"/>
                    </a:cubicBezTo>
                    <a:cubicBezTo>
                      <a:pt x="933" y="275"/>
                      <a:pt x="933" y="274"/>
                      <a:pt x="933" y="274"/>
                    </a:cubicBezTo>
                    <a:cubicBezTo>
                      <a:pt x="932" y="274"/>
                      <a:pt x="932" y="274"/>
                      <a:pt x="932" y="274"/>
                    </a:cubicBezTo>
                    <a:cubicBezTo>
                      <a:pt x="932" y="273"/>
                      <a:pt x="932" y="274"/>
                      <a:pt x="931" y="274"/>
                    </a:cubicBezTo>
                    <a:cubicBezTo>
                      <a:pt x="931" y="273"/>
                      <a:pt x="933" y="273"/>
                      <a:pt x="932" y="272"/>
                    </a:cubicBezTo>
                    <a:cubicBezTo>
                      <a:pt x="932" y="272"/>
                      <a:pt x="932" y="273"/>
                      <a:pt x="931" y="273"/>
                    </a:cubicBezTo>
                    <a:cubicBezTo>
                      <a:pt x="932" y="272"/>
                      <a:pt x="933" y="272"/>
                      <a:pt x="933" y="271"/>
                    </a:cubicBezTo>
                    <a:cubicBezTo>
                      <a:pt x="933" y="271"/>
                      <a:pt x="931" y="272"/>
                      <a:pt x="931" y="272"/>
                    </a:cubicBezTo>
                    <a:cubicBezTo>
                      <a:pt x="931" y="272"/>
                      <a:pt x="931" y="272"/>
                      <a:pt x="930" y="272"/>
                    </a:cubicBezTo>
                    <a:cubicBezTo>
                      <a:pt x="930" y="273"/>
                      <a:pt x="930" y="273"/>
                      <a:pt x="930" y="273"/>
                    </a:cubicBezTo>
                    <a:cubicBezTo>
                      <a:pt x="930" y="274"/>
                      <a:pt x="929" y="275"/>
                      <a:pt x="929" y="275"/>
                    </a:cubicBezTo>
                    <a:cubicBezTo>
                      <a:pt x="928" y="275"/>
                      <a:pt x="927" y="276"/>
                      <a:pt x="928" y="276"/>
                    </a:cubicBezTo>
                    <a:cubicBezTo>
                      <a:pt x="928" y="277"/>
                      <a:pt x="927" y="277"/>
                      <a:pt x="927" y="277"/>
                    </a:cubicBezTo>
                    <a:cubicBezTo>
                      <a:pt x="927" y="277"/>
                      <a:pt x="926" y="278"/>
                      <a:pt x="926" y="278"/>
                    </a:cubicBezTo>
                    <a:cubicBezTo>
                      <a:pt x="925" y="278"/>
                      <a:pt x="926" y="277"/>
                      <a:pt x="926" y="277"/>
                    </a:cubicBezTo>
                    <a:cubicBezTo>
                      <a:pt x="926" y="277"/>
                      <a:pt x="925" y="278"/>
                      <a:pt x="925" y="278"/>
                    </a:cubicBezTo>
                    <a:cubicBezTo>
                      <a:pt x="926" y="277"/>
                      <a:pt x="925" y="277"/>
                      <a:pt x="925" y="277"/>
                    </a:cubicBezTo>
                    <a:cubicBezTo>
                      <a:pt x="925" y="277"/>
                      <a:pt x="925" y="277"/>
                      <a:pt x="925" y="277"/>
                    </a:cubicBezTo>
                    <a:cubicBezTo>
                      <a:pt x="925" y="276"/>
                      <a:pt x="923" y="279"/>
                      <a:pt x="923" y="279"/>
                    </a:cubicBezTo>
                    <a:cubicBezTo>
                      <a:pt x="923" y="279"/>
                      <a:pt x="923" y="279"/>
                      <a:pt x="923" y="278"/>
                    </a:cubicBezTo>
                    <a:cubicBezTo>
                      <a:pt x="923" y="279"/>
                      <a:pt x="923" y="279"/>
                      <a:pt x="923" y="279"/>
                    </a:cubicBezTo>
                    <a:cubicBezTo>
                      <a:pt x="923" y="278"/>
                      <a:pt x="923" y="278"/>
                      <a:pt x="924" y="277"/>
                    </a:cubicBezTo>
                    <a:cubicBezTo>
                      <a:pt x="923" y="277"/>
                      <a:pt x="923" y="278"/>
                      <a:pt x="923" y="278"/>
                    </a:cubicBezTo>
                    <a:cubicBezTo>
                      <a:pt x="923" y="279"/>
                      <a:pt x="923" y="279"/>
                      <a:pt x="922" y="279"/>
                    </a:cubicBezTo>
                    <a:cubicBezTo>
                      <a:pt x="923" y="278"/>
                      <a:pt x="922" y="279"/>
                      <a:pt x="922" y="279"/>
                    </a:cubicBezTo>
                    <a:cubicBezTo>
                      <a:pt x="922" y="278"/>
                      <a:pt x="922" y="278"/>
                      <a:pt x="922" y="278"/>
                    </a:cubicBezTo>
                    <a:cubicBezTo>
                      <a:pt x="922" y="278"/>
                      <a:pt x="923" y="277"/>
                      <a:pt x="923" y="277"/>
                    </a:cubicBezTo>
                    <a:cubicBezTo>
                      <a:pt x="922" y="277"/>
                      <a:pt x="922" y="278"/>
                      <a:pt x="921" y="278"/>
                    </a:cubicBezTo>
                    <a:cubicBezTo>
                      <a:pt x="921" y="278"/>
                      <a:pt x="921" y="279"/>
                      <a:pt x="921" y="279"/>
                    </a:cubicBezTo>
                    <a:cubicBezTo>
                      <a:pt x="921" y="279"/>
                      <a:pt x="921" y="279"/>
                      <a:pt x="921" y="279"/>
                    </a:cubicBezTo>
                    <a:cubicBezTo>
                      <a:pt x="921" y="279"/>
                      <a:pt x="921" y="280"/>
                      <a:pt x="921" y="280"/>
                    </a:cubicBezTo>
                    <a:cubicBezTo>
                      <a:pt x="920" y="280"/>
                      <a:pt x="921" y="279"/>
                      <a:pt x="921" y="279"/>
                    </a:cubicBezTo>
                    <a:cubicBezTo>
                      <a:pt x="921" y="278"/>
                      <a:pt x="921" y="277"/>
                      <a:pt x="922" y="277"/>
                    </a:cubicBezTo>
                    <a:cubicBezTo>
                      <a:pt x="922" y="277"/>
                      <a:pt x="920" y="278"/>
                      <a:pt x="920" y="278"/>
                    </a:cubicBezTo>
                    <a:cubicBezTo>
                      <a:pt x="921" y="278"/>
                      <a:pt x="921" y="278"/>
                      <a:pt x="921" y="277"/>
                    </a:cubicBezTo>
                    <a:cubicBezTo>
                      <a:pt x="921" y="278"/>
                      <a:pt x="921" y="280"/>
                      <a:pt x="920" y="280"/>
                    </a:cubicBezTo>
                    <a:cubicBezTo>
                      <a:pt x="920" y="280"/>
                      <a:pt x="920" y="279"/>
                      <a:pt x="920" y="279"/>
                    </a:cubicBezTo>
                    <a:cubicBezTo>
                      <a:pt x="920" y="278"/>
                      <a:pt x="920" y="279"/>
                      <a:pt x="919" y="279"/>
                    </a:cubicBezTo>
                    <a:cubicBezTo>
                      <a:pt x="919" y="279"/>
                      <a:pt x="919" y="280"/>
                      <a:pt x="918" y="280"/>
                    </a:cubicBezTo>
                    <a:cubicBezTo>
                      <a:pt x="919" y="280"/>
                      <a:pt x="919" y="279"/>
                      <a:pt x="919" y="279"/>
                    </a:cubicBezTo>
                    <a:cubicBezTo>
                      <a:pt x="919" y="279"/>
                      <a:pt x="919" y="280"/>
                      <a:pt x="918" y="280"/>
                    </a:cubicBezTo>
                    <a:cubicBezTo>
                      <a:pt x="918" y="280"/>
                      <a:pt x="919" y="279"/>
                      <a:pt x="919" y="279"/>
                    </a:cubicBezTo>
                    <a:cubicBezTo>
                      <a:pt x="919" y="279"/>
                      <a:pt x="919" y="279"/>
                      <a:pt x="919" y="279"/>
                    </a:cubicBezTo>
                    <a:cubicBezTo>
                      <a:pt x="919" y="279"/>
                      <a:pt x="919" y="279"/>
                      <a:pt x="919" y="279"/>
                    </a:cubicBezTo>
                    <a:cubicBezTo>
                      <a:pt x="918" y="279"/>
                      <a:pt x="917" y="279"/>
                      <a:pt x="917" y="280"/>
                    </a:cubicBezTo>
                    <a:cubicBezTo>
                      <a:pt x="916" y="280"/>
                      <a:pt x="916" y="281"/>
                      <a:pt x="915" y="281"/>
                    </a:cubicBezTo>
                    <a:cubicBezTo>
                      <a:pt x="916" y="281"/>
                      <a:pt x="916" y="281"/>
                      <a:pt x="916" y="281"/>
                    </a:cubicBezTo>
                    <a:cubicBezTo>
                      <a:pt x="916" y="282"/>
                      <a:pt x="915" y="282"/>
                      <a:pt x="915" y="282"/>
                    </a:cubicBezTo>
                    <a:cubicBezTo>
                      <a:pt x="914" y="282"/>
                      <a:pt x="914" y="283"/>
                      <a:pt x="914" y="283"/>
                    </a:cubicBezTo>
                    <a:cubicBezTo>
                      <a:pt x="914" y="284"/>
                      <a:pt x="913" y="284"/>
                      <a:pt x="912" y="284"/>
                    </a:cubicBezTo>
                    <a:cubicBezTo>
                      <a:pt x="912" y="285"/>
                      <a:pt x="911" y="285"/>
                      <a:pt x="911" y="286"/>
                    </a:cubicBezTo>
                    <a:cubicBezTo>
                      <a:pt x="911" y="286"/>
                      <a:pt x="910" y="287"/>
                      <a:pt x="910" y="287"/>
                    </a:cubicBezTo>
                    <a:cubicBezTo>
                      <a:pt x="909" y="287"/>
                      <a:pt x="909" y="287"/>
                      <a:pt x="909" y="288"/>
                    </a:cubicBezTo>
                    <a:cubicBezTo>
                      <a:pt x="909" y="288"/>
                      <a:pt x="909" y="288"/>
                      <a:pt x="909" y="288"/>
                    </a:cubicBezTo>
                    <a:cubicBezTo>
                      <a:pt x="909" y="288"/>
                      <a:pt x="908" y="288"/>
                      <a:pt x="908" y="289"/>
                    </a:cubicBezTo>
                    <a:cubicBezTo>
                      <a:pt x="908" y="289"/>
                      <a:pt x="908" y="290"/>
                      <a:pt x="907" y="290"/>
                    </a:cubicBezTo>
                    <a:cubicBezTo>
                      <a:pt x="907" y="290"/>
                      <a:pt x="907" y="290"/>
                      <a:pt x="907" y="290"/>
                    </a:cubicBezTo>
                    <a:cubicBezTo>
                      <a:pt x="907" y="290"/>
                      <a:pt x="908" y="291"/>
                      <a:pt x="907" y="291"/>
                    </a:cubicBezTo>
                    <a:cubicBezTo>
                      <a:pt x="907" y="291"/>
                      <a:pt x="907" y="291"/>
                      <a:pt x="907" y="291"/>
                    </a:cubicBezTo>
                    <a:cubicBezTo>
                      <a:pt x="907" y="291"/>
                      <a:pt x="907" y="292"/>
                      <a:pt x="908" y="292"/>
                    </a:cubicBezTo>
                    <a:cubicBezTo>
                      <a:pt x="907" y="292"/>
                      <a:pt x="908" y="292"/>
                      <a:pt x="908" y="292"/>
                    </a:cubicBezTo>
                    <a:cubicBezTo>
                      <a:pt x="908" y="292"/>
                      <a:pt x="908" y="292"/>
                      <a:pt x="909" y="292"/>
                    </a:cubicBezTo>
                    <a:cubicBezTo>
                      <a:pt x="909" y="292"/>
                      <a:pt x="909" y="292"/>
                      <a:pt x="908" y="292"/>
                    </a:cubicBezTo>
                    <a:cubicBezTo>
                      <a:pt x="908" y="292"/>
                      <a:pt x="908" y="293"/>
                      <a:pt x="908" y="293"/>
                    </a:cubicBezTo>
                    <a:cubicBezTo>
                      <a:pt x="907" y="293"/>
                      <a:pt x="906" y="293"/>
                      <a:pt x="906" y="294"/>
                    </a:cubicBezTo>
                    <a:cubicBezTo>
                      <a:pt x="906" y="293"/>
                      <a:pt x="906" y="293"/>
                      <a:pt x="906" y="293"/>
                    </a:cubicBezTo>
                    <a:cubicBezTo>
                      <a:pt x="906" y="294"/>
                      <a:pt x="905" y="294"/>
                      <a:pt x="905" y="294"/>
                    </a:cubicBezTo>
                    <a:cubicBezTo>
                      <a:pt x="905" y="294"/>
                      <a:pt x="905" y="294"/>
                      <a:pt x="905" y="294"/>
                    </a:cubicBezTo>
                    <a:cubicBezTo>
                      <a:pt x="905" y="294"/>
                      <a:pt x="904" y="294"/>
                      <a:pt x="904" y="295"/>
                    </a:cubicBezTo>
                    <a:cubicBezTo>
                      <a:pt x="904" y="295"/>
                      <a:pt x="904" y="295"/>
                      <a:pt x="904" y="295"/>
                    </a:cubicBezTo>
                    <a:cubicBezTo>
                      <a:pt x="904" y="295"/>
                      <a:pt x="903" y="295"/>
                      <a:pt x="903" y="296"/>
                    </a:cubicBezTo>
                    <a:cubicBezTo>
                      <a:pt x="903" y="296"/>
                      <a:pt x="904" y="296"/>
                      <a:pt x="904" y="296"/>
                    </a:cubicBezTo>
                    <a:cubicBezTo>
                      <a:pt x="903" y="296"/>
                      <a:pt x="904" y="296"/>
                      <a:pt x="904" y="296"/>
                    </a:cubicBezTo>
                    <a:cubicBezTo>
                      <a:pt x="904" y="296"/>
                      <a:pt x="904" y="296"/>
                      <a:pt x="904" y="296"/>
                    </a:cubicBezTo>
                    <a:cubicBezTo>
                      <a:pt x="904" y="296"/>
                      <a:pt x="904" y="296"/>
                      <a:pt x="904" y="296"/>
                    </a:cubicBezTo>
                    <a:cubicBezTo>
                      <a:pt x="905" y="296"/>
                      <a:pt x="904" y="296"/>
                      <a:pt x="905" y="296"/>
                    </a:cubicBezTo>
                    <a:cubicBezTo>
                      <a:pt x="905" y="295"/>
                      <a:pt x="906" y="297"/>
                      <a:pt x="906" y="297"/>
                    </a:cubicBezTo>
                    <a:cubicBezTo>
                      <a:pt x="906" y="297"/>
                      <a:pt x="906" y="299"/>
                      <a:pt x="906" y="299"/>
                    </a:cubicBezTo>
                    <a:cubicBezTo>
                      <a:pt x="906" y="299"/>
                      <a:pt x="906" y="299"/>
                      <a:pt x="906" y="298"/>
                    </a:cubicBezTo>
                    <a:cubicBezTo>
                      <a:pt x="906" y="298"/>
                      <a:pt x="905" y="299"/>
                      <a:pt x="905" y="299"/>
                    </a:cubicBezTo>
                    <a:cubicBezTo>
                      <a:pt x="906" y="300"/>
                      <a:pt x="906" y="300"/>
                      <a:pt x="906" y="300"/>
                    </a:cubicBezTo>
                    <a:cubicBezTo>
                      <a:pt x="906" y="301"/>
                      <a:pt x="906" y="301"/>
                      <a:pt x="906" y="302"/>
                    </a:cubicBezTo>
                    <a:cubicBezTo>
                      <a:pt x="907" y="302"/>
                      <a:pt x="907" y="302"/>
                      <a:pt x="908" y="302"/>
                    </a:cubicBezTo>
                    <a:cubicBezTo>
                      <a:pt x="908" y="302"/>
                      <a:pt x="907" y="302"/>
                      <a:pt x="907" y="302"/>
                    </a:cubicBezTo>
                    <a:cubicBezTo>
                      <a:pt x="908" y="302"/>
                      <a:pt x="909" y="302"/>
                      <a:pt x="909" y="302"/>
                    </a:cubicBezTo>
                    <a:cubicBezTo>
                      <a:pt x="910" y="301"/>
                      <a:pt x="910" y="301"/>
                      <a:pt x="911" y="301"/>
                    </a:cubicBezTo>
                    <a:cubicBezTo>
                      <a:pt x="911" y="301"/>
                      <a:pt x="911" y="300"/>
                      <a:pt x="911" y="300"/>
                    </a:cubicBezTo>
                    <a:cubicBezTo>
                      <a:pt x="911" y="300"/>
                      <a:pt x="910" y="300"/>
                      <a:pt x="910" y="300"/>
                    </a:cubicBezTo>
                    <a:cubicBezTo>
                      <a:pt x="910" y="300"/>
                      <a:pt x="911" y="299"/>
                      <a:pt x="910" y="299"/>
                    </a:cubicBezTo>
                    <a:cubicBezTo>
                      <a:pt x="910" y="298"/>
                      <a:pt x="910" y="298"/>
                      <a:pt x="910" y="299"/>
                    </a:cubicBezTo>
                    <a:cubicBezTo>
                      <a:pt x="910" y="299"/>
                      <a:pt x="909" y="298"/>
                      <a:pt x="910" y="298"/>
                    </a:cubicBezTo>
                    <a:cubicBezTo>
                      <a:pt x="911" y="298"/>
                      <a:pt x="911" y="299"/>
                      <a:pt x="911" y="300"/>
                    </a:cubicBezTo>
                    <a:cubicBezTo>
                      <a:pt x="911" y="300"/>
                      <a:pt x="911" y="301"/>
                      <a:pt x="911" y="301"/>
                    </a:cubicBezTo>
                    <a:cubicBezTo>
                      <a:pt x="911" y="301"/>
                      <a:pt x="911" y="301"/>
                      <a:pt x="911" y="301"/>
                    </a:cubicBezTo>
                    <a:cubicBezTo>
                      <a:pt x="911" y="301"/>
                      <a:pt x="911" y="302"/>
                      <a:pt x="910" y="303"/>
                    </a:cubicBezTo>
                    <a:cubicBezTo>
                      <a:pt x="910" y="303"/>
                      <a:pt x="909" y="303"/>
                      <a:pt x="909" y="303"/>
                    </a:cubicBezTo>
                    <a:cubicBezTo>
                      <a:pt x="908" y="303"/>
                      <a:pt x="908" y="303"/>
                      <a:pt x="907" y="303"/>
                    </a:cubicBezTo>
                    <a:cubicBezTo>
                      <a:pt x="908" y="303"/>
                      <a:pt x="907" y="303"/>
                      <a:pt x="907" y="303"/>
                    </a:cubicBezTo>
                    <a:cubicBezTo>
                      <a:pt x="906" y="303"/>
                      <a:pt x="906" y="303"/>
                      <a:pt x="906" y="303"/>
                    </a:cubicBezTo>
                    <a:cubicBezTo>
                      <a:pt x="905" y="304"/>
                      <a:pt x="904" y="304"/>
                      <a:pt x="904" y="304"/>
                    </a:cubicBezTo>
                    <a:cubicBezTo>
                      <a:pt x="904" y="304"/>
                      <a:pt x="905" y="302"/>
                      <a:pt x="905" y="302"/>
                    </a:cubicBezTo>
                    <a:cubicBezTo>
                      <a:pt x="904" y="302"/>
                      <a:pt x="904" y="302"/>
                      <a:pt x="904" y="302"/>
                    </a:cubicBezTo>
                    <a:cubicBezTo>
                      <a:pt x="904" y="302"/>
                      <a:pt x="904" y="302"/>
                      <a:pt x="904" y="303"/>
                    </a:cubicBezTo>
                    <a:cubicBezTo>
                      <a:pt x="903" y="303"/>
                      <a:pt x="902" y="303"/>
                      <a:pt x="902" y="303"/>
                    </a:cubicBezTo>
                    <a:cubicBezTo>
                      <a:pt x="902" y="303"/>
                      <a:pt x="902" y="303"/>
                      <a:pt x="902" y="303"/>
                    </a:cubicBezTo>
                    <a:cubicBezTo>
                      <a:pt x="902" y="303"/>
                      <a:pt x="901" y="305"/>
                      <a:pt x="900" y="304"/>
                    </a:cubicBezTo>
                    <a:cubicBezTo>
                      <a:pt x="900" y="304"/>
                      <a:pt x="900" y="304"/>
                      <a:pt x="900" y="304"/>
                    </a:cubicBezTo>
                    <a:cubicBezTo>
                      <a:pt x="900" y="304"/>
                      <a:pt x="899" y="304"/>
                      <a:pt x="899" y="305"/>
                    </a:cubicBezTo>
                    <a:cubicBezTo>
                      <a:pt x="899" y="305"/>
                      <a:pt x="899" y="304"/>
                      <a:pt x="899" y="304"/>
                    </a:cubicBezTo>
                    <a:cubicBezTo>
                      <a:pt x="899" y="303"/>
                      <a:pt x="900" y="302"/>
                      <a:pt x="901" y="301"/>
                    </a:cubicBezTo>
                    <a:cubicBezTo>
                      <a:pt x="900" y="302"/>
                      <a:pt x="899" y="302"/>
                      <a:pt x="899" y="303"/>
                    </a:cubicBezTo>
                    <a:cubicBezTo>
                      <a:pt x="898" y="303"/>
                      <a:pt x="899" y="302"/>
                      <a:pt x="899" y="302"/>
                    </a:cubicBezTo>
                    <a:cubicBezTo>
                      <a:pt x="898" y="303"/>
                      <a:pt x="898" y="301"/>
                      <a:pt x="898" y="301"/>
                    </a:cubicBezTo>
                    <a:cubicBezTo>
                      <a:pt x="898" y="301"/>
                      <a:pt x="898" y="303"/>
                      <a:pt x="898" y="302"/>
                    </a:cubicBezTo>
                    <a:cubicBezTo>
                      <a:pt x="897" y="302"/>
                      <a:pt x="897" y="303"/>
                      <a:pt x="897" y="303"/>
                    </a:cubicBezTo>
                    <a:cubicBezTo>
                      <a:pt x="897" y="304"/>
                      <a:pt x="896" y="305"/>
                      <a:pt x="896" y="306"/>
                    </a:cubicBezTo>
                    <a:cubicBezTo>
                      <a:pt x="895" y="306"/>
                      <a:pt x="895" y="306"/>
                      <a:pt x="895" y="306"/>
                    </a:cubicBezTo>
                    <a:cubicBezTo>
                      <a:pt x="894" y="306"/>
                      <a:pt x="894" y="306"/>
                      <a:pt x="894" y="306"/>
                    </a:cubicBezTo>
                    <a:cubicBezTo>
                      <a:pt x="893" y="306"/>
                      <a:pt x="893" y="307"/>
                      <a:pt x="892" y="306"/>
                    </a:cubicBezTo>
                    <a:cubicBezTo>
                      <a:pt x="892" y="306"/>
                      <a:pt x="892" y="306"/>
                      <a:pt x="892" y="306"/>
                    </a:cubicBezTo>
                    <a:cubicBezTo>
                      <a:pt x="891" y="306"/>
                      <a:pt x="890" y="306"/>
                      <a:pt x="890" y="306"/>
                    </a:cubicBezTo>
                    <a:cubicBezTo>
                      <a:pt x="890" y="307"/>
                      <a:pt x="889" y="306"/>
                      <a:pt x="889" y="307"/>
                    </a:cubicBezTo>
                    <a:cubicBezTo>
                      <a:pt x="888" y="307"/>
                      <a:pt x="888" y="306"/>
                      <a:pt x="888" y="306"/>
                    </a:cubicBezTo>
                    <a:cubicBezTo>
                      <a:pt x="888" y="306"/>
                      <a:pt x="888" y="306"/>
                      <a:pt x="888" y="306"/>
                    </a:cubicBezTo>
                    <a:cubicBezTo>
                      <a:pt x="887" y="306"/>
                      <a:pt x="888" y="307"/>
                      <a:pt x="887" y="307"/>
                    </a:cubicBezTo>
                    <a:cubicBezTo>
                      <a:pt x="887" y="307"/>
                      <a:pt x="886" y="307"/>
                      <a:pt x="885" y="307"/>
                    </a:cubicBezTo>
                    <a:cubicBezTo>
                      <a:pt x="885" y="307"/>
                      <a:pt x="882" y="307"/>
                      <a:pt x="883" y="307"/>
                    </a:cubicBezTo>
                    <a:cubicBezTo>
                      <a:pt x="882" y="307"/>
                      <a:pt x="882" y="308"/>
                      <a:pt x="881" y="308"/>
                    </a:cubicBezTo>
                    <a:cubicBezTo>
                      <a:pt x="880" y="308"/>
                      <a:pt x="880" y="308"/>
                      <a:pt x="879" y="308"/>
                    </a:cubicBezTo>
                    <a:cubicBezTo>
                      <a:pt x="879" y="309"/>
                      <a:pt x="878" y="309"/>
                      <a:pt x="877" y="309"/>
                    </a:cubicBezTo>
                    <a:cubicBezTo>
                      <a:pt x="877" y="309"/>
                      <a:pt x="876" y="310"/>
                      <a:pt x="876" y="310"/>
                    </a:cubicBezTo>
                    <a:cubicBezTo>
                      <a:pt x="875" y="310"/>
                      <a:pt x="875" y="310"/>
                      <a:pt x="874" y="311"/>
                    </a:cubicBezTo>
                    <a:cubicBezTo>
                      <a:pt x="874" y="311"/>
                      <a:pt x="873" y="311"/>
                      <a:pt x="873" y="312"/>
                    </a:cubicBezTo>
                    <a:cubicBezTo>
                      <a:pt x="873" y="312"/>
                      <a:pt x="872" y="312"/>
                      <a:pt x="872" y="312"/>
                    </a:cubicBezTo>
                    <a:cubicBezTo>
                      <a:pt x="872" y="312"/>
                      <a:pt x="871" y="312"/>
                      <a:pt x="871" y="313"/>
                    </a:cubicBezTo>
                    <a:cubicBezTo>
                      <a:pt x="871" y="312"/>
                      <a:pt x="871" y="312"/>
                      <a:pt x="872" y="312"/>
                    </a:cubicBezTo>
                    <a:cubicBezTo>
                      <a:pt x="872" y="312"/>
                      <a:pt x="873" y="312"/>
                      <a:pt x="873" y="312"/>
                    </a:cubicBezTo>
                    <a:cubicBezTo>
                      <a:pt x="873" y="312"/>
                      <a:pt x="873" y="312"/>
                      <a:pt x="873" y="312"/>
                    </a:cubicBezTo>
                    <a:cubicBezTo>
                      <a:pt x="874" y="312"/>
                      <a:pt x="873" y="312"/>
                      <a:pt x="874" y="312"/>
                    </a:cubicBezTo>
                    <a:cubicBezTo>
                      <a:pt x="874" y="312"/>
                      <a:pt x="874" y="311"/>
                      <a:pt x="874" y="311"/>
                    </a:cubicBezTo>
                    <a:cubicBezTo>
                      <a:pt x="874" y="311"/>
                      <a:pt x="874" y="312"/>
                      <a:pt x="874" y="312"/>
                    </a:cubicBezTo>
                    <a:cubicBezTo>
                      <a:pt x="874" y="312"/>
                      <a:pt x="875" y="311"/>
                      <a:pt x="875" y="311"/>
                    </a:cubicBezTo>
                    <a:cubicBezTo>
                      <a:pt x="875" y="311"/>
                      <a:pt x="876" y="311"/>
                      <a:pt x="876" y="311"/>
                    </a:cubicBezTo>
                    <a:cubicBezTo>
                      <a:pt x="876" y="311"/>
                      <a:pt x="876" y="310"/>
                      <a:pt x="877" y="311"/>
                    </a:cubicBezTo>
                    <a:cubicBezTo>
                      <a:pt x="877" y="311"/>
                      <a:pt x="877" y="311"/>
                      <a:pt x="877" y="311"/>
                    </a:cubicBezTo>
                    <a:cubicBezTo>
                      <a:pt x="877" y="311"/>
                      <a:pt x="877" y="310"/>
                      <a:pt x="877" y="310"/>
                    </a:cubicBezTo>
                    <a:cubicBezTo>
                      <a:pt x="877" y="310"/>
                      <a:pt x="878" y="311"/>
                      <a:pt x="878" y="311"/>
                    </a:cubicBezTo>
                    <a:cubicBezTo>
                      <a:pt x="878" y="311"/>
                      <a:pt x="879" y="311"/>
                      <a:pt x="879" y="311"/>
                    </a:cubicBezTo>
                    <a:cubicBezTo>
                      <a:pt x="879" y="310"/>
                      <a:pt x="880" y="310"/>
                      <a:pt x="880" y="310"/>
                    </a:cubicBezTo>
                    <a:cubicBezTo>
                      <a:pt x="880" y="310"/>
                      <a:pt x="880" y="310"/>
                      <a:pt x="880" y="310"/>
                    </a:cubicBezTo>
                    <a:cubicBezTo>
                      <a:pt x="881" y="310"/>
                      <a:pt x="882" y="310"/>
                      <a:pt x="883" y="310"/>
                    </a:cubicBezTo>
                    <a:cubicBezTo>
                      <a:pt x="884" y="310"/>
                      <a:pt x="885" y="309"/>
                      <a:pt x="887" y="309"/>
                    </a:cubicBezTo>
                    <a:cubicBezTo>
                      <a:pt x="887" y="308"/>
                      <a:pt x="887" y="308"/>
                      <a:pt x="888" y="308"/>
                    </a:cubicBezTo>
                    <a:cubicBezTo>
                      <a:pt x="888" y="308"/>
                      <a:pt x="888" y="308"/>
                      <a:pt x="888" y="309"/>
                    </a:cubicBezTo>
                    <a:cubicBezTo>
                      <a:pt x="887" y="309"/>
                      <a:pt x="886" y="310"/>
                      <a:pt x="886" y="310"/>
                    </a:cubicBezTo>
                    <a:cubicBezTo>
                      <a:pt x="886" y="310"/>
                      <a:pt x="886" y="310"/>
                      <a:pt x="886" y="310"/>
                    </a:cubicBezTo>
                    <a:cubicBezTo>
                      <a:pt x="885" y="310"/>
                      <a:pt x="884" y="311"/>
                      <a:pt x="884" y="311"/>
                    </a:cubicBezTo>
                    <a:cubicBezTo>
                      <a:pt x="884" y="311"/>
                      <a:pt x="885" y="311"/>
                      <a:pt x="885" y="311"/>
                    </a:cubicBezTo>
                    <a:cubicBezTo>
                      <a:pt x="886" y="311"/>
                      <a:pt x="886" y="310"/>
                      <a:pt x="887" y="310"/>
                    </a:cubicBezTo>
                    <a:cubicBezTo>
                      <a:pt x="887" y="310"/>
                      <a:pt x="888" y="309"/>
                      <a:pt x="888" y="310"/>
                    </a:cubicBezTo>
                    <a:cubicBezTo>
                      <a:pt x="888" y="310"/>
                      <a:pt x="888" y="309"/>
                      <a:pt x="889" y="309"/>
                    </a:cubicBezTo>
                    <a:cubicBezTo>
                      <a:pt x="889" y="309"/>
                      <a:pt x="888" y="310"/>
                      <a:pt x="889" y="310"/>
                    </a:cubicBezTo>
                    <a:cubicBezTo>
                      <a:pt x="889" y="310"/>
                      <a:pt x="889" y="310"/>
                      <a:pt x="890" y="310"/>
                    </a:cubicBezTo>
                    <a:cubicBezTo>
                      <a:pt x="890" y="309"/>
                      <a:pt x="891" y="309"/>
                      <a:pt x="891" y="309"/>
                    </a:cubicBezTo>
                    <a:cubicBezTo>
                      <a:pt x="891" y="309"/>
                      <a:pt x="886" y="311"/>
                      <a:pt x="885" y="311"/>
                    </a:cubicBezTo>
                    <a:cubicBezTo>
                      <a:pt x="885" y="311"/>
                      <a:pt x="885" y="311"/>
                      <a:pt x="885" y="311"/>
                    </a:cubicBezTo>
                    <a:cubicBezTo>
                      <a:pt x="885" y="311"/>
                      <a:pt x="885" y="312"/>
                      <a:pt x="884" y="312"/>
                    </a:cubicBezTo>
                    <a:cubicBezTo>
                      <a:pt x="884" y="312"/>
                      <a:pt x="883" y="312"/>
                      <a:pt x="882" y="312"/>
                    </a:cubicBezTo>
                    <a:cubicBezTo>
                      <a:pt x="882" y="312"/>
                      <a:pt x="883" y="312"/>
                      <a:pt x="883" y="312"/>
                    </a:cubicBezTo>
                    <a:cubicBezTo>
                      <a:pt x="883" y="312"/>
                      <a:pt x="882" y="312"/>
                      <a:pt x="882" y="312"/>
                    </a:cubicBezTo>
                    <a:cubicBezTo>
                      <a:pt x="881" y="313"/>
                      <a:pt x="880" y="313"/>
                      <a:pt x="880" y="313"/>
                    </a:cubicBezTo>
                    <a:cubicBezTo>
                      <a:pt x="879" y="313"/>
                      <a:pt x="877" y="313"/>
                      <a:pt x="876" y="314"/>
                    </a:cubicBezTo>
                    <a:cubicBezTo>
                      <a:pt x="875" y="314"/>
                      <a:pt x="875" y="314"/>
                      <a:pt x="874" y="314"/>
                    </a:cubicBezTo>
                    <a:cubicBezTo>
                      <a:pt x="874" y="314"/>
                      <a:pt x="873" y="314"/>
                      <a:pt x="873" y="314"/>
                    </a:cubicBezTo>
                    <a:cubicBezTo>
                      <a:pt x="873" y="314"/>
                      <a:pt x="874" y="314"/>
                      <a:pt x="874" y="314"/>
                    </a:cubicBezTo>
                    <a:cubicBezTo>
                      <a:pt x="873" y="314"/>
                      <a:pt x="873" y="314"/>
                      <a:pt x="872" y="314"/>
                    </a:cubicBezTo>
                    <a:cubicBezTo>
                      <a:pt x="872" y="314"/>
                      <a:pt x="871" y="315"/>
                      <a:pt x="871" y="315"/>
                    </a:cubicBezTo>
                    <a:cubicBezTo>
                      <a:pt x="871" y="314"/>
                      <a:pt x="872" y="314"/>
                      <a:pt x="872" y="314"/>
                    </a:cubicBezTo>
                    <a:cubicBezTo>
                      <a:pt x="873" y="314"/>
                      <a:pt x="871" y="314"/>
                      <a:pt x="871" y="314"/>
                    </a:cubicBezTo>
                    <a:cubicBezTo>
                      <a:pt x="871" y="314"/>
                      <a:pt x="871" y="314"/>
                      <a:pt x="871" y="314"/>
                    </a:cubicBezTo>
                    <a:cubicBezTo>
                      <a:pt x="871" y="314"/>
                      <a:pt x="870" y="314"/>
                      <a:pt x="870" y="314"/>
                    </a:cubicBezTo>
                    <a:cubicBezTo>
                      <a:pt x="870" y="314"/>
                      <a:pt x="870" y="314"/>
                      <a:pt x="870" y="314"/>
                    </a:cubicBezTo>
                    <a:cubicBezTo>
                      <a:pt x="870" y="314"/>
                      <a:pt x="871" y="313"/>
                      <a:pt x="871" y="313"/>
                    </a:cubicBezTo>
                    <a:cubicBezTo>
                      <a:pt x="871" y="313"/>
                      <a:pt x="871" y="313"/>
                      <a:pt x="871" y="313"/>
                    </a:cubicBezTo>
                    <a:cubicBezTo>
                      <a:pt x="871" y="313"/>
                      <a:pt x="871" y="313"/>
                      <a:pt x="871" y="313"/>
                    </a:cubicBezTo>
                    <a:cubicBezTo>
                      <a:pt x="871" y="313"/>
                      <a:pt x="871" y="313"/>
                      <a:pt x="871" y="313"/>
                    </a:cubicBezTo>
                    <a:cubicBezTo>
                      <a:pt x="870" y="313"/>
                      <a:pt x="870" y="314"/>
                      <a:pt x="869" y="314"/>
                    </a:cubicBezTo>
                    <a:cubicBezTo>
                      <a:pt x="870" y="313"/>
                      <a:pt x="870" y="313"/>
                      <a:pt x="870" y="313"/>
                    </a:cubicBezTo>
                    <a:cubicBezTo>
                      <a:pt x="869" y="313"/>
                      <a:pt x="867" y="315"/>
                      <a:pt x="867" y="316"/>
                    </a:cubicBezTo>
                    <a:cubicBezTo>
                      <a:pt x="868" y="316"/>
                      <a:pt x="869" y="316"/>
                      <a:pt x="869" y="316"/>
                    </a:cubicBezTo>
                    <a:cubicBezTo>
                      <a:pt x="870" y="317"/>
                      <a:pt x="870" y="316"/>
                      <a:pt x="870" y="316"/>
                    </a:cubicBezTo>
                    <a:cubicBezTo>
                      <a:pt x="870" y="316"/>
                      <a:pt x="870" y="317"/>
                      <a:pt x="870" y="317"/>
                    </a:cubicBezTo>
                    <a:cubicBezTo>
                      <a:pt x="870" y="317"/>
                      <a:pt x="870" y="317"/>
                      <a:pt x="869" y="318"/>
                    </a:cubicBezTo>
                    <a:cubicBezTo>
                      <a:pt x="869" y="318"/>
                      <a:pt x="869" y="319"/>
                      <a:pt x="868" y="319"/>
                    </a:cubicBezTo>
                    <a:cubicBezTo>
                      <a:pt x="867" y="321"/>
                      <a:pt x="867" y="322"/>
                      <a:pt x="866" y="323"/>
                    </a:cubicBezTo>
                    <a:cubicBezTo>
                      <a:pt x="866" y="322"/>
                      <a:pt x="867" y="321"/>
                      <a:pt x="868" y="320"/>
                    </a:cubicBezTo>
                    <a:cubicBezTo>
                      <a:pt x="867" y="320"/>
                      <a:pt x="868" y="321"/>
                      <a:pt x="867" y="321"/>
                    </a:cubicBezTo>
                    <a:cubicBezTo>
                      <a:pt x="867" y="321"/>
                      <a:pt x="867" y="321"/>
                      <a:pt x="867" y="321"/>
                    </a:cubicBezTo>
                    <a:cubicBezTo>
                      <a:pt x="867" y="321"/>
                      <a:pt x="867" y="322"/>
                      <a:pt x="867" y="322"/>
                    </a:cubicBezTo>
                    <a:cubicBezTo>
                      <a:pt x="867" y="322"/>
                      <a:pt x="866" y="323"/>
                      <a:pt x="865" y="324"/>
                    </a:cubicBezTo>
                    <a:cubicBezTo>
                      <a:pt x="865" y="324"/>
                      <a:pt x="865" y="325"/>
                      <a:pt x="864" y="325"/>
                    </a:cubicBezTo>
                    <a:cubicBezTo>
                      <a:pt x="864" y="325"/>
                      <a:pt x="863" y="326"/>
                      <a:pt x="863" y="326"/>
                    </a:cubicBezTo>
                    <a:cubicBezTo>
                      <a:pt x="863" y="326"/>
                      <a:pt x="862" y="326"/>
                      <a:pt x="863" y="326"/>
                    </a:cubicBezTo>
                    <a:cubicBezTo>
                      <a:pt x="863" y="327"/>
                      <a:pt x="862" y="327"/>
                      <a:pt x="861" y="327"/>
                    </a:cubicBezTo>
                    <a:cubicBezTo>
                      <a:pt x="862" y="327"/>
                      <a:pt x="862" y="328"/>
                      <a:pt x="862" y="328"/>
                    </a:cubicBezTo>
                    <a:cubicBezTo>
                      <a:pt x="861" y="328"/>
                      <a:pt x="861" y="328"/>
                      <a:pt x="861" y="328"/>
                    </a:cubicBezTo>
                    <a:cubicBezTo>
                      <a:pt x="861" y="328"/>
                      <a:pt x="861" y="328"/>
                      <a:pt x="861" y="328"/>
                    </a:cubicBezTo>
                    <a:cubicBezTo>
                      <a:pt x="861" y="327"/>
                      <a:pt x="860" y="328"/>
                      <a:pt x="860" y="328"/>
                    </a:cubicBezTo>
                    <a:cubicBezTo>
                      <a:pt x="860" y="329"/>
                      <a:pt x="860" y="328"/>
                      <a:pt x="860" y="328"/>
                    </a:cubicBezTo>
                    <a:cubicBezTo>
                      <a:pt x="859" y="328"/>
                      <a:pt x="859" y="329"/>
                      <a:pt x="860" y="329"/>
                    </a:cubicBezTo>
                    <a:cubicBezTo>
                      <a:pt x="860" y="329"/>
                      <a:pt x="860" y="329"/>
                      <a:pt x="860" y="329"/>
                    </a:cubicBezTo>
                    <a:cubicBezTo>
                      <a:pt x="860" y="329"/>
                      <a:pt x="859" y="330"/>
                      <a:pt x="858" y="330"/>
                    </a:cubicBezTo>
                    <a:cubicBezTo>
                      <a:pt x="859" y="331"/>
                      <a:pt x="857" y="332"/>
                      <a:pt x="857" y="332"/>
                    </a:cubicBezTo>
                    <a:cubicBezTo>
                      <a:pt x="857" y="332"/>
                      <a:pt x="856" y="333"/>
                      <a:pt x="855" y="333"/>
                    </a:cubicBezTo>
                    <a:cubicBezTo>
                      <a:pt x="855" y="332"/>
                      <a:pt x="858" y="330"/>
                      <a:pt x="857" y="330"/>
                    </a:cubicBezTo>
                    <a:cubicBezTo>
                      <a:pt x="856" y="330"/>
                      <a:pt x="856" y="330"/>
                      <a:pt x="856" y="330"/>
                    </a:cubicBezTo>
                    <a:cubicBezTo>
                      <a:pt x="856" y="330"/>
                      <a:pt x="856" y="329"/>
                      <a:pt x="855" y="330"/>
                    </a:cubicBezTo>
                    <a:cubicBezTo>
                      <a:pt x="855" y="330"/>
                      <a:pt x="855" y="330"/>
                      <a:pt x="855" y="330"/>
                    </a:cubicBezTo>
                    <a:cubicBezTo>
                      <a:pt x="854" y="330"/>
                      <a:pt x="855" y="329"/>
                      <a:pt x="855" y="329"/>
                    </a:cubicBezTo>
                    <a:cubicBezTo>
                      <a:pt x="854" y="329"/>
                      <a:pt x="852" y="327"/>
                      <a:pt x="852" y="326"/>
                    </a:cubicBezTo>
                    <a:cubicBezTo>
                      <a:pt x="852" y="326"/>
                      <a:pt x="852" y="326"/>
                      <a:pt x="852" y="326"/>
                    </a:cubicBezTo>
                    <a:cubicBezTo>
                      <a:pt x="853" y="326"/>
                      <a:pt x="853" y="326"/>
                      <a:pt x="853" y="325"/>
                    </a:cubicBezTo>
                    <a:cubicBezTo>
                      <a:pt x="853" y="325"/>
                      <a:pt x="853" y="325"/>
                      <a:pt x="853" y="325"/>
                    </a:cubicBezTo>
                    <a:cubicBezTo>
                      <a:pt x="854" y="324"/>
                      <a:pt x="854" y="323"/>
                      <a:pt x="855" y="323"/>
                    </a:cubicBezTo>
                    <a:cubicBezTo>
                      <a:pt x="856" y="323"/>
                      <a:pt x="857" y="323"/>
                      <a:pt x="858" y="322"/>
                    </a:cubicBezTo>
                    <a:cubicBezTo>
                      <a:pt x="858" y="322"/>
                      <a:pt x="858" y="322"/>
                      <a:pt x="858" y="321"/>
                    </a:cubicBezTo>
                    <a:cubicBezTo>
                      <a:pt x="858" y="321"/>
                      <a:pt x="859" y="321"/>
                      <a:pt x="859" y="321"/>
                    </a:cubicBezTo>
                    <a:cubicBezTo>
                      <a:pt x="859" y="321"/>
                      <a:pt x="858" y="321"/>
                      <a:pt x="858" y="321"/>
                    </a:cubicBezTo>
                    <a:cubicBezTo>
                      <a:pt x="859" y="321"/>
                      <a:pt x="858" y="322"/>
                      <a:pt x="857" y="322"/>
                    </a:cubicBezTo>
                    <a:cubicBezTo>
                      <a:pt x="857" y="322"/>
                      <a:pt x="857" y="322"/>
                      <a:pt x="856" y="322"/>
                    </a:cubicBezTo>
                    <a:cubicBezTo>
                      <a:pt x="855" y="322"/>
                      <a:pt x="854" y="323"/>
                      <a:pt x="854" y="324"/>
                    </a:cubicBezTo>
                    <a:cubicBezTo>
                      <a:pt x="854" y="324"/>
                      <a:pt x="852" y="325"/>
                      <a:pt x="852" y="325"/>
                    </a:cubicBezTo>
                    <a:cubicBezTo>
                      <a:pt x="852" y="326"/>
                      <a:pt x="852" y="326"/>
                      <a:pt x="852" y="327"/>
                    </a:cubicBezTo>
                    <a:cubicBezTo>
                      <a:pt x="852" y="328"/>
                      <a:pt x="853" y="329"/>
                      <a:pt x="853" y="329"/>
                    </a:cubicBezTo>
                    <a:cubicBezTo>
                      <a:pt x="852" y="330"/>
                      <a:pt x="852" y="330"/>
                      <a:pt x="852" y="331"/>
                    </a:cubicBezTo>
                    <a:cubicBezTo>
                      <a:pt x="852" y="331"/>
                      <a:pt x="852" y="332"/>
                      <a:pt x="852" y="332"/>
                    </a:cubicBezTo>
                    <a:cubicBezTo>
                      <a:pt x="852" y="332"/>
                      <a:pt x="853" y="334"/>
                      <a:pt x="854" y="334"/>
                    </a:cubicBezTo>
                    <a:cubicBezTo>
                      <a:pt x="854" y="334"/>
                      <a:pt x="854" y="336"/>
                      <a:pt x="853" y="336"/>
                    </a:cubicBezTo>
                    <a:cubicBezTo>
                      <a:pt x="854" y="334"/>
                      <a:pt x="852" y="336"/>
                      <a:pt x="853" y="336"/>
                    </a:cubicBezTo>
                    <a:cubicBezTo>
                      <a:pt x="853" y="336"/>
                      <a:pt x="852" y="336"/>
                      <a:pt x="852" y="337"/>
                    </a:cubicBezTo>
                    <a:cubicBezTo>
                      <a:pt x="852" y="336"/>
                      <a:pt x="853" y="337"/>
                      <a:pt x="853" y="336"/>
                    </a:cubicBezTo>
                    <a:cubicBezTo>
                      <a:pt x="854" y="337"/>
                      <a:pt x="853" y="339"/>
                      <a:pt x="852" y="339"/>
                    </a:cubicBezTo>
                    <a:cubicBezTo>
                      <a:pt x="852" y="339"/>
                      <a:pt x="853" y="338"/>
                      <a:pt x="853" y="338"/>
                    </a:cubicBezTo>
                    <a:cubicBezTo>
                      <a:pt x="853" y="337"/>
                      <a:pt x="852" y="338"/>
                      <a:pt x="852" y="338"/>
                    </a:cubicBezTo>
                    <a:cubicBezTo>
                      <a:pt x="852" y="338"/>
                      <a:pt x="852" y="338"/>
                      <a:pt x="852" y="338"/>
                    </a:cubicBezTo>
                    <a:cubicBezTo>
                      <a:pt x="852" y="338"/>
                      <a:pt x="852" y="339"/>
                      <a:pt x="852" y="339"/>
                    </a:cubicBezTo>
                    <a:cubicBezTo>
                      <a:pt x="852" y="339"/>
                      <a:pt x="851" y="340"/>
                      <a:pt x="851" y="340"/>
                    </a:cubicBezTo>
                    <a:cubicBezTo>
                      <a:pt x="851" y="340"/>
                      <a:pt x="851" y="340"/>
                      <a:pt x="851" y="340"/>
                    </a:cubicBezTo>
                    <a:cubicBezTo>
                      <a:pt x="850" y="340"/>
                      <a:pt x="850" y="341"/>
                      <a:pt x="850" y="341"/>
                    </a:cubicBezTo>
                    <a:cubicBezTo>
                      <a:pt x="849" y="342"/>
                      <a:pt x="849" y="341"/>
                      <a:pt x="849" y="342"/>
                    </a:cubicBezTo>
                    <a:cubicBezTo>
                      <a:pt x="849" y="342"/>
                      <a:pt x="848" y="342"/>
                      <a:pt x="848" y="342"/>
                    </a:cubicBezTo>
                    <a:cubicBezTo>
                      <a:pt x="848" y="343"/>
                      <a:pt x="848" y="344"/>
                      <a:pt x="847" y="344"/>
                    </a:cubicBezTo>
                    <a:cubicBezTo>
                      <a:pt x="847" y="345"/>
                      <a:pt x="846" y="345"/>
                      <a:pt x="846" y="346"/>
                    </a:cubicBezTo>
                    <a:cubicBezTo>
                      <a:pt x="845" y="346"/>
                      <a:pt x="845" y="347"/>
                      <a:pt x="844" y="348"/>
                    </a:cubicBezTo>
                    <a:cubicBezTo>
                      <a:pt x="844" y="349"/>
                      <a:pt x="844" y="348"/>
                      <a:pt x="844" y="348"/>
                    </a:cubicBezTo>
                    <a:cubicBezTo>
                      <a:pt x="843" y="348"/>
                      <a:pt x="843" y="348"/>
                      <a:pt x="844" y="348"/>
                    </a:cubicBezTo>
                    <a:cubicBezTo>
                      <a:pt x="843" y="348"/>
                      <a:pt x="842" y="349"/>
                      <a:pt x="842" y="349"/>
                    </a:cubicBezTo>
                    <a:cubicBezTo>
                      <a:pt x="841" y="350"/>
                      <a:pt x="841" y="351"/>
                      <a:pt x="841" y="352"/>
                    </a:cubicBezTo>
                    <a:cubicBezTo>
                      <a:pt x="841" y="352"/>
                      <a:pt x="841" y="351"/>
                      <a:pt x="841" y="351"/>
                    </a:cubicBezTo>
                    <a:cubicBezTo>
                      <a:pt x="840" y="351"/>
                      <a:pt x="840" y="352"/>
                      <a:pt x="840" y="352"/>
                    </a:cubicBezTo>
                    <a:cubicBezTo>
                      <a:pt x="840" y="351"/>
                      <a:pt x="840" y="351"/>
                      <a:pt x="840" y="350"/>
                    </a:cubicBezTo>
                    <a:cubicBezTo>
                      <a:pt x="840" y="350"/>
                      <a:pt x="841" y="349"/>
                      <a:pt x="841" y="349"/>
                    </a:cubicBezTo>
                    <a:cubicBezTo>
                      <a:pt x="841" y="349"/>
                      <a:pt x="841" y="349"/>
                      <a:pt x="841" y="348"/>
                    </a:cubicBezTo>
                    <a:cubicBezTo>
                      <a:pt x="841" y="349"/>
                      <a:pt x="842" y="348"/>
                      <a:pt x="842" y="347"/>
                    </a:cubicBezTo>
                    <a:cubicBezTo>
                      <a:pt x="842" y="348"/>
                      <a:pt x="842" y="347"/>
                      <a:pt x="842" y="347"/>
                    </a:cubicBezTo>
                    <a:cubicBezTo>
                      <a:pt x="842" y="347"/>
                      <a:pt x="842" y="347"/>
                      <a:pt x="842" y="347"/>
                    </a:cubicBezTo>
                    <a:cubicBezTo>
                      <a:pt x="843" y="347"/>
                      <a:pt x="843" y="346"/>
                      <a:pt x="844" y="346"/>
                    </a:cubicBezTo>
                    <a:cubicBezTo>
                      <a:pt x="843" y="346"/>
                      <a:pt x="844" y="345"/>
                      <a:pt x="844" y="345"/>
                    </a:cubicBezTo>
                    <a:cubicBezTo>
                      <a:pt x="844" y="345"/>
                      <a:pt x="844" y="345"/>
                      <a:pt x="845" y="345"/>
                    </a:cubicBezTo>
                    <a:cubicBezTo>
                      <a:pt x="845" y="345"/>
                      <a:pt x="846" y="343"/>
                      <a:pt x="845" y="344"/>
                    </a:cubicBezTo>
                    <a:cubicBezTo>
                      <a:pt x="845" y="344"/>
                      <a:pt x="846" y="343"/>
                      <a:pt x="846" y="343"/>
                    </a:cubicBezTo>
                    <a:cubicBezTo>
                      <a:pt x="846" y="343"/>
                      <a:pt x="844" y="343"/>
                      <a:pt x="844" y="343"/>
                    </a:cubicBezTo>
                    <a:cubicBezTo>
                      <a:pt x="844" y="343"/>
                      <a:pt x="844" y="344"/>
                      <a:pt x="843" y="343"/>
                    </a:cubicBezTo>
                    <a:cubicBezTo>
                      <a:pt x="843" y="343"/>
                      <a:pt x="844" y="343"/>
                      <a:pt x="844" y="343"/>
                    </a:cubicBezTo>
                    <a:cubicBezTo>
                      <a:pt x="843" y="343"/>
                      <a:pt x="844" y="342"/>
                      <a:pt x="844" y="342"/>
                    </a:cubicBezTo>
                    <a:cubicBezTo>
                      <a:pt x="845" y="342"/>
                      <a:pt x="845" y="342"/>
                      <a:pt x="845" y="342"/>
                    </a:cubicBezTo>
                    <a:cubicBezTo>
                      <a:pt x="845" y="342"/>
                      <a:pt x="845" y="342"/>
                      <a:pt x="844" y="342"/>
                    </a:cubicBezTo>
                    <a:cubicBezTo>
                      <a:pt x="844" y="342"/>
                      <a:pt x="845" y="341"/>
                      <a:pt x="845" y="341"/>
                    </a:cubicBezTo>
                    <a:cubicBezTo>
                      <a:pt x="845" y="341"/>
                      <a:pt x="844" y="341"/>
                      <a:pt x="844" y="341"/>
                    </a:cubicBezTo>
                    <a:cubicBezTo>
                      <a:pt x="844" y="340"/>
                      <a:pt x="845" y="340"/>
                      <a:pt x="845" y="340"/>
                    </a:cubicBezTo>
                    <a:cubicBezTo>
                      <a:pt x="844" y="340"/>
                      <a:pt x="845" y="339"/>
                      <a:pt x="845" y="338"/>
                    </a:cubicBezTo>
                    <a:cubicBezTo>
                      <a:pt x="845" y="338"/>
                      <a:pt x="844" y="340"/>
                      <a:pt x="844" y="340"/>
                    </a:cubicBezTo>
                    <a:cubicBezTo>
                      <a:pt x="844" y="340"/>
                      <a:pt x="844" y="339"/>
                      <a:pt x="844" y="339"/>
                    </a:cubicBezTo>
                    <a:cubicBezTo>
                      <a:pt x="844" y="339"/>
                      <a:pt x="845" y="339"/>
                      <a:pt x="844" y="339"/>
                    </a:cubicBezTo>
                    <a:cubicBezTo>
                      <a:pt x="843" y="338"/>
                      <a:pt x="844" y="340"/>
                      <a:pt x="843" y="340"/>
                    </a:cubicBezTo>
                    <a:cubicBezTo>
                      <a:pt x="843" y="340"/>
                      <a:pt x="842" y="338"/>
                      <a:pt x="842" y="338"/>
                    </a:cubicBezTo>
                    <a:cubicBezTo>
                      <a:pt x="842" y="339"/>
                      <a:pt x="842" y="339"/>
                      <a:pt x="842" y="339"/>
                    </a:cubicBezTo>
                    <a:cubicBezTo>
                      <a:pt x="842" y="339"/>
                      <a:pt x="841" y="338"/>
                      <a:pt x="841" y="337"/>
                    </a:cubicBezTo>
                    <a:cubicBezTo>
                      <a:pt x="842" y="337"/>
                      <a:pt x="842" y="338"/>
                      <a:pt x="842" y="338"/>
                    </a:cubicBezTo>
                    <a:cubicBezTo>
                      <a:pt x="842" y="338"/>
                      <a:pt x="843" y="337"/>
                      <a:pt x="843" y="336"/>
                    </a:cubicBezTo>
                    <a:cubicBezTo>
                      <a:pt x="843" y="336"/>
                      <a:pt x="843" y="337"/>
                      <a:pt x="842" y="337"/>
                    </a:cubicBezTo>
                    <a:cubicBezTo>
                      <a:pt x="842" y="337"/>
                      <a:pt x="842" y="336"/>
                      <a:pt x="842" y="336"/>
                    </a:cubicBezTo>
                    <a:cubicBezTo>
                      <a:pt x="843" y="336"/>
                      <a:pt x="843" y="336"/>
                      <a:pt x="843" y="336"/>
                    </a:cubicBezTo>
                    <a:cubicBezTo>
                      <a:pt x="843" y="336"/>
                      <a:pt x="844" y="336"/>
                      <a:pt x="844" y="336"/>
                    </a:cubicBezTo>
                    <a:cubicBezTo>
                      <a:pt x="845" y="336"/>
                      <a:pt x="845" y="336"/>
                      <a:pt x="845" y="336"/>
                    </a:cubicBezTo>
                    <a:cubicBezTo>
                      <a:pt x="845" y="336"/>
                      <a:pt x="844" y="337"/>
                      <a:pt x="844" y="336"/>
                    </a:cubicBezTo>
                    <a:cubicBezTo>
                      <a:pt x="844" y="336"/>
                      <a:pt x="844" y="336"/>
                      <a:pt x="844" y="336"/>
                    </a:cubicBezTo>
                    <a:cubicBezTo>
                      <a:pt x="844" y="335"/>
                      <a:pt x="844" y="335"/>
                      <a:pt x="844" y="335"/>
                    </a:cubicBezTo>
                    <a:cubicBezTo>
                      <a:pt x="844" y="335"/>
                      <a:pt x="843" y="335"/>
                      <a:pt x="844" y="335"/>
                    </a:cubicBezTo>
                    <a:cubicBezTo>
                      <a:pt x="844" y="335"/>
                      <a:pt x="844" y="335"/>
                      <a:pt x="843" y="335"/>
                    </a:cubicBezTo>
                    <a:cubicBezTo>
                      <a:pt x="843" y="335"/>
                      <a:pt x="844" y="334"/>
                      <a:pt x="843" y="334"/>
                    </a:cubicBezTo>
                    <a:cubicBezTo>
                      <a:pt x="843" y="335"/>
                      <a:pt x="843" y="335"/>
                      <a:pt x="843" y="334"/>
                    </a:cubicBezTo>
                    <a:cubicBezTo>
                      <a:pt x="843" y="334"/>
                      <a:pt x="842" y="335"/>
                      <a:pt x="842" y="335"/>
                    </a:cubicBezTo>
                    <a:cubicBezTo>
                      <a:pt x="842" y="335"/>
                      <a:pt x="843" y="333"/>
                      <a:pt x="843" y="334"/>
                    </a:cubicBezTo>
                    <a:cubicBezTo>
                      <a:pt x="844" y="334"/>
                      <a:pt x="844" y="335"/>
                      <a:pt x="845" y="334"/>
                    </a:cubicBezTo>
                    <a:cubicBezTo>
                      <a:pt x="844" y="334"/>
                      <a:pt x="844" y="334"/>
                      <a:pt x="844" y="334"/>
                    </a:cubicBezTo>
                    <a:cubicBezTo>
                      <a:pt x="844" y="333"/>
                      <a:pt x="845" y="333"/>
                      <a:pt x="845" y="333"/>
                    </a:cubicBezTo>
                    <a:cubicBezTo>
                      <a:pt x="845" y="333"/>
                      <a:pt x="844" y="333"/>
                      <a:pt x="845" y="333"/>
                    </a:cubicBezTo>
                    <a:cubicBezTo>
                      <a:pt x="845" y="333"/>
                      <a:pt x="844" y="333"/>
                      <a:pt x="844" y="333"/>
                    </a:cubicBezTo>
                    <a:cubicBezTo>
                      <a:pt x="844" y="333"/>
                      <a:pt x="844" y="332"/>
                      <a:pt x="844" y="332"/>
                    </a:cubicBezTo>
                    <a:cubicBezTo>
                      <a:pt x="844" y="332"/>
                      <a:pt x="843" y="333"/>
                      <a:pt x="842" y="333"/>
                    </a:cubicBezTo>
                    <a:cubicBezTo>
                      <a:pt x="843" y="333"/>
                      <a:pt x="843" y="332"/>
                      <a:pt x="844" y="332"/>
                    </a:cubicBezTo>
                    <a:cubicBezTo>
                      <a:pt x="844" y="331"/>
                      <a:pt x="844" y="332"/>
                      <a:pt x="844" y="332"/>
                    </a:cubicBezTo>
                    <a:cubicBezTo>
                      <a:pt x="845" y="332"/>
                      <a:pt x="845" y="332"/>
                      <a:pt x="845" y="331"/>
                    </a:cubicBezTo>
                    <a:cubicBezTo>
                      <a:pt x="845" y="331"/>
                      <a:pt x="846" y="331"/>
                      <a:pt x="846" y="330"/>
                    </a:cubicBezTo>
                    <a:cubicBezTo>
                      <a:pt x="846" y="330"/>
                      <a:pt x="845" y="331"/>
                      <a:pt x="845" y="330"/>
                    </a:cubicBezTo>
                    <a:cubicBezTo>
                      <a:pt x="845" y="330"/>
                      <a:pt x="844" y="331"/>
                      <a:pt x="844" y="331"/>
                    </a:cubicBezTo>
                    <a:cubicBezTo>
                      <a:pt x="844" y="331"/>
                      <a:pt x="845" y="330"/>
                      <a:pt x="845" y="330"/>
                    </a:cubicBezTo>
                    <a:cubicBezTo>
                      <a:pt x="844" y="330"/>
                      <a:pt x="845" y="329"/>
                      <a:pt x="846" y="329"/>
                    </a:cubicBezTo>
                    <a:cubicBezTo>
                      <a:pt x="846" y="328"/>
                      <a:pt x="847" y="328"/>
                      <a:pt x="848" y="328"/>
                    </a:cubicBezTo>
                    <a:cubicBezTo>
                      <a:pt x="848" y="328"/>
                      <a:pt x="849" y="328"/>
                      <a:pt x="849" y="328"/>
                    </a:cubicBezTo>
                    <a:cubicBezTo>
                      <a:pt x="849" y="328"/>
                      <a:pt x="847" y="328"/>
                      <a:pt x="848" y="327"/>
                    </a:cubicBezTo>
                    <a:cubicBezTo>
                      <a:pt x="848" y="327"/>
                      <a:pt x="848" y="327"/>
                      <a:pt x="849" y="327"/>
                    </a:cubicBezTo>
                    <a:cubicBezTo>
                      <a:pt x="849" y="327"/>
                      <a:pt x="849" y="327"/>
                      <a:pt x="849" y="327"/>
                    </a:cubicBezTo>
                    <a:cubicBezTo>
                      <a:pt x="849" y="327"/>
                      <a:pt x="849" y="326"/>
                      <a:pt x="849" y="326"/>
                    </a:cubicBezTo>
                    <a:cubicBezTo>
                      <a:pt x="849" y="326"/>
                      <a:pt x="850" y="326"/>
                      <a:pt x="850" y="325"/>
                    </a:cubicBezTo>
                    <a:cubicBezTo>
                      <a:pt x="850" y="326"/>
                      <a:pt x="848" y="327"/>
                      <a:pt x="848" y="327"/>
                    </a:cubicBezTo>
                    <a:cubicBezTo>
                      <a:pt x="848" y="327"/>
                      <a:pt x="849" y="325"/>
                      <a:pt x="849" y="325"/>
                    </a:cubicBezTo>
                    <a:cubicBezTo>
                      <a:pt x="849" y="325"/>
                      <a:pt x="847" y="326"/>
                      <a:pt x="847" y="326"/>
                    </a:cubicBezTo>
                    <a:cubicBezTo>
                      <a:pt x="847" y="327"/>
                      <a:pt x="848" y="327"/>
                      <a:pt x="847" y="327"/>
                    </a:cubicBezTo>
                    <a:cubicBezTo>
                      <a:pt x="847" y="327"/>
                      <a:pt x="846" y="328"/>
                      <a:pt x="846" y="327"/>
                    </a:cubicBezTo>
                    <a:cubicBezTo>
                      <a:pt x="846" y="327"/>
                      <a:pt x="846" y="327"/>
                      <a:pt x="846" y="327"/>
                    </a:cubicBezTo>
                    <a:cubicBezTo>
                      <a:pt x="846" y="326"/>
                      <a:pt x="845" y="328"/>
                      <a:pt x="845" y="328"/>
                    </a:cubicBezTo>
                    <a:cubicBezTo>
                      <a:pt x="845" y="328"/>
                      <a:pt x="845" y="328"/>
                      <a:pt x="845" y="327"/>
                    </a:cubicBezTo>
                    <a:cubicBezTo>
                      <a:pt x="845" y="327"/>
                      <a:pt x="844" y="327"/>
                      <a:pt x="844" y="328"/>
                    </a:cubicBezTo>
                    <a:cubicBezTo>
                      <a:pt x="844" y="328"/>
                      <a:pt x="845" y="328"/>
                      <a:pt x="844" y="328"/>
                    </a:cubicBezTo>
                    <a:cubicBezTo>
                      <a:pt x="844" y="328"/>
                      <a:pt x="844" y="328"/>
                      <a:pt x="844" y="329"/>
                    </a:cubicBezTo>
                    <a:cubicBezTo>
                      <a:pt x="844" y="329"/>
                      <a:pt x="843" y="329"/>
                      <a:pt x="843" y="328"/>
                    </a:cubicBezTo>
                    <a:cubicBezTo>
                      <a:pt x="843" y="329"/>
                      <a:pt x="843" y="329"/>
                      <a:pt x="844" y="329"/>
                    </a:cubicBezTo>
                    <a:cubicBezTo>
                      <a:pt x="843" y="330"/>
                      <a:pt x="843" y="329"/>
                      <a:pt x="843" y="329"/>
                    </a:cubicBezTo>
                    <a:cubicBezTo>
                      <a:pt x="842" y="329"/>
                      <a:pt x="842" y="329"/>
                      <a:pt x="842" y="329"/>
                    </a:cubicBezTo>
                    <a:cubicBezTo>
                      <a:pt x="842" y="329"/>
                      <a:pt x="842" y="329"/>
                      <a:pt x="842" y="330"/>
                    </a:cubicBezTo>
                    <a:cubicBezTo>
                      <a:pt x="842" y="330"/>
                      <a:pt x="843" y="330"/>
                      <a:pt x="843" y="330"/>
                    </a:cubicBezTo>
                    <a:cubicBezTo>
                      <a:pt x="843" y="331"/>
                      <a:pt x="842" y="331"/>
                      <a:pt x="842" y="331"/>
                    </a:cubicBezTo>
                    <a:cubicBezTo>
                      <a:pt x="842" y="331"/>
                      <a:pt x="843" y="332"/>
                      <a:pt x="842" y="332"/>
                    </a:cubicBezTo>
                    <a:cubicBezTo>
                      <a:pt x="842" y="332"/>
                      <a:pt x="841" y="331"/>
                      <a:pt x="841" y="331"/>
                    </a:cubicBezTo>
                    <a:cubicBezTo>
                      <a:pt x="841" y="331"/>
                      <a:pt x="842" y="333"/>
                      <a:pt x="842" y="332"/>
                    </a:cubicBezTo>
                    <a:cubicBezTo>
                      <a:pt x="841" y="332"/>
                      <a:pt x="841" y="332"/>
                      <a:pt x="841" y="333"/>
                    </a:cubicBezTo>
                    <a:cubicBezTo>
                      <a:pt x="841" y="333"/>
                      <a:pt x="841" y="333"/>
                      <a:pt x="841" y="334"/>
                    </a:cubicBezTo>
                    <a:cubicBezTo>
                      <a:pt x="841" y="334"/>
                      <a:pt x="841" y="333"/>
                      <a:pt x="841" y="333"/>
                    </a:cubicBezTo>
                    <a:cubicBezTo>
                      <a:pt x="841" y="333"/>
                      <a:pt x="841" y="334"/>
                      <a:pt x="841" y="334"/>
                    </a:cubicBezTo>
                    <a:cubicBezTo>
                      <a:pt x="840" y="335"/>
                      <a:pt x="841" y="335"/>
                      <a:pt x="840" y="336"/>
                    </a:cubicBezTo>
                    <a:cubicBezTo>
                      <a:pt x="840" y="337"/>
                      <a:pt x="840" y="337"/>
                      <a:pt x="840" y="338"/>
                    </a:cubicBezTo>
                    <a:cubicBezTo>
                      <a:pt x="841" y="338"/>
                      <a:pt x="841" y="339"/>
                      <a:pt x="840" y="339"/>
                    </a:cubicBezTo>
                    <a:cubicBezTo>
                      <a:pt x="840" y="339"/>
                      <a:pt x="840" y="339"/>
                      <a:pt x="840" y="339"/>
                    </a:cubicBezTo>
                    <a:cubicBezTo>
                      <a:pt x="839" y="338"/>
                      <a:pt x="839" y="338"/>
                      <a:pt x="839" y="337"/>
                    </a:cubicBezTo>
                    <a:cubicBezTo>
                      <a:pt x="839" y="337"/>
                      <a:pt x="839" y="336"/>
                      <a:pt x="839" y="335"/>
                    </a:cubicBezTo>
                    <a:cubicBezTo>
                      <a:pt x="838" y="336"/>
                      <a:pt x="838" y="337"/>
                      <a:pt x="839" y="338"/>
                    </a:cubicBezTo>
                    <a:cubicBezTo>
                      <a:pt x="839" y="338"/>
                      <a:pt x="839" y="339"/>
                      <a:pt x="840" y="339"/>
                    </a:cubicBezTo>
                    <a:cubicBezTo>
                      <a:pt x="841" y="339"/>
                      <a:pt x="840" y="340"/>
                      <a:pt x="840" y="340"/>
                    </a:cubicBezTo>
                    <a:cubicBezTo>
                      <a:pt x="840" y="341"/>
                      <a:pt x="840" y="341"/>
                      <a:pt x="840" y="341"/>
                    </a:cubicBezTo>
                    <a:cubicBezTo>
                      <a:pt x="840" y="341"/>
                      <a:pt x="840" y="342"/>
                      <a:pt x="840" y="342"/>
                    </a:cubicBezTo>
                    <a:cubicBezTo>
                      <a:pt x="840" y="342"/>
                      <a:pt x="839" y="342"/>
                      <a:pt x="839" y="341"/>
                    </a:cubicBezTo>
                    <a:cubicBezTo>
                      <a:pt x="839" y="341"/>
                      <a:pt x="839" y="340"/>
                      <a:pt x="839" y="341"/>
                    </a:cubicBezTo>
                    <a:cubicBezTo>
                      <a:pt x="839" y="340"/>
                      <a:pt x="839" y="341"/>
                      <a:pt x="839" y="341"/>
                    </a:cubicBezTo>
                    <a:cubicBezTo>
                      <a:pt x="839" y="341"/>
                      <a:pt x="838" y="341"/>
                      <a:pt x="838" y="341"/>
                    </a:cubicBezTo>
                    <a:cubicBezTo>
                      <a:pt x="839" y="341"/>
                      <a:pt x="838" y="340"/>
                      <a:pt x="838" y="340"/>
                    </a:cubicBezTo>
                    <a:cubicBezTo>
                      <a:pt x="837" y="340"/>
                      <a:pt x="837" y="340"/>
                      <a:pt x="837" y="340"/>
                    </a:cubicBezTo>
                    <a:cubicBezTo>
                      <a:pt x="836" y="340"/>
                      <a:pt x="837" y="339"/>
                      <a:pt x="836" y="338"/>
                    </a:cubicBezTo>
                    <a:cubicBezTo>
                      <a:pt x="836" y="339"/>
                      <a:pt x="836" y="340"/>
                      <a:pt x="836" y="340"/>
                    </a:cubicBezTo>
                    <a:cubicBezTo>
                      <a:pt x="835" y="339"/>
                      <a:pt x="835" y="338"/>
                      <a:pt x="835" y="337"/>
                    </a:cubicBezTo>
                    <a:cubicBezTo>
                      <a:pt x="835" y="338"/>
                      <a:pt x="834" y="338"/>
                      <a:pt x="834" y="338"/>
                    </a:cubicBezTo>
                    <a:cubicBezTo>
                      <a:pt x="834" y="338"/>
                      <a:pt x="834" y="338"/>
                      <a:pt x="834" y="338"/>
                    </a:cubicBezTo>
                    <a:cubicBezTo>
                      <a:pt x="834" y="338"/>
                      <a:pt x="833" y="340"/>
                      <a:pt x="833" y="338"/>
                    </a:cubicBezTo>
                    <a:cubicBezTo>
                      <a:pt x="833" y="338"/>
                      <a:pt x="833" y="337"/>
                      <a:pt x="834" y="336"/>
                    </a:cubicBezTo>
                    <a:cubicBezTo>
                      <a:pt x="834" y="336"/>
                      <a:pt x="836" y="335"/>
                      <a:pt x="836" y="335"/>
                    </a:cubicBezTo>
                    <a:cubicBezTo>
                      <a:pt x="836" y="335"/>
                      <a:pt x="837" y="333"/>
                      <a:pt x="836" y="333"/>
                    </a:cubicBezTo>
                    <a:cubicBezTo>
                      <a:pt x="836" y="333"/>
                      <a:pt x="836" y="334"/>
                      <a:pt x="836" y="335"/>
                    </a:cubicBezTo>
                    <a:cubicBezTo>
                      <a:pt x="836" y="335"/>
                      <a:pt x="835" y="335"/>
                      <a:pt x="835" y="335"/>
                    </a:cubicBezTo>
                    <a:cubicBezTo>
                      <a:pt x="835" y="335"/>
                      <a:pt x="835" y="335"/>
                      <a:pt x="835" y="336"/>
                    </a:cubicBezTo>
                    <a:cubicBezTo>
                      <a:pt x="834" y="336"/>
                      <a:pt x="834" y="336"/>
                      <a:pt x="834" y="336"/>
                    </a:cubicBezTo>
                    <a:cubicBezTo>
                      <a:pt x="833" y="336"/>
                      <a:pt x="832" y="338"/>
                      <a:pt x="832" y="338"/>
                    </a:cubicBezTo>
                    <a:cubicBezTo>
                      <a:pt x="832" y="338"/>
                      <a:pt x="832" y="338"/>
                      <a:pt x="832" y="339"/>
                    </a:cubicBezTo>
                    <a:cubicBezTo>
                      <a:pt x="832" y="339"/>
                      <a:pt x="832" y="339"/>
                      <a:pt x="832" y="339"/>
                    </a:cubicBezTo>
                    <a:cubicBezTo>
                      <a:pt x="832" y="339"/>
                      <a:pt x="833" y="339"/>
                      <a:pt x="833" y="339"/>
                    </a:cubicBezTo>
                    <a:cubicBezTo>
                      <a:pt x="834" y="339"/>
                      <a:pt x="834" y="339"/>
                      <a:pt x="834" y="339"/>
                    </a:cubicBezTo>
                    <a:cubicBezTo>
                      <a:pt x="835" y="338"/>
                      <a:pt x="835" y="339"/>
                      <a:pt x="835" y="339"/>
                    </a:cubicBezTo>
                    <a:cubicBezTo>
                      <a:pt x="834" y="339"/>
                      <a:pt x="834" y="339"/>
                      <a:pt x="835" y="340"/>
                    </a:cubicBezTo>
                    <a:cubicBezTo>
                      <a:pt x="835" y="340"/>
                      <a:pt x="835" y="340"/>
                      <a:pt x="835" y="341"/>
                    </a:cubicBezTo>
                    <a:cubicBezTo>
                      <a:pt x="836" y="341"/>
                      <a:pt x="836" y="341"/>
                      <a:pt x="836" y="341"/>
                    </a:cubicBezTo>
                    <a:cubicBezTo>
                      <a:pt x="836" y="341"/>
                      <a:pt x="837" y="341"/>
                      <a:pt x="837" y="341"/>
                    </a:cubicBezTo>
                    <a:cubicBezTo>
                      <a:pt x="837" y="341"/>
                      <a:pt x="838" y="341"/>
                      <a:pt x="838" y="341"/>
                    </a:cubicBezTo>
                    <a:cubicBezTo>
                      <a:pt x="838" y="342"/>
                      <a:pt x="838" y="342"/>
                      <a:pt x="838" y="342"/>
                    </a:cubicBezTo>
                    <a:cubicBezTo>
                      <a:pt x="838" y="342"/>
                      <a:pt x="838" y="342"/>
                      <a:pt x="838" y="342"/>
                    </a:cubicBezTo>
                    <a:cubicBezTo>
                      <a:pt x="838" y="343"/>
                      <a:pt x="839" y="342"/>
                      <a:pt x="838" y="343"/>
                    </a:cubicBezTo>
                    <a:cubicBezTo>
                      <a:pt x="839" y="343"/>
                      <a:pt x="840" y="343"/>
                      <a:pt x="840" y="344"/>
                    </a:cubicBezTo>
                    <a:cubicBezTo>
                      <a:pt x="840" y="345"/>
                      <a:pt x="839" y="344"/>
                      <a:pt x="839" y="344"/>
                    </a:cubicBezTo>
                    <a:cubicBezTo>
                      <a:pt x="839" y="345"/>
                      <a:pt x="839" y="345"/>
                      <a:pt x="839" y="345"/>
                    </a:cubicBezTo>
                    <a:cubicBezTo>
                      <a:pt x="839" y="346"/>
                      <a:pt x="839" y="346"/>
                      <a:pt x="839" y="346"/>
                    </a:cubicBezTo>
                    <a:cubicBezTo>
                      <a:pt x="839" y="346"/>
                      <a:pt x="838" y="346"/>
                      <a:pt x="838" y="347"/>
                    </a:cubicBezTo>
                    <a:cubicBezTo>
                      <a:pt x="838" y="347"/>
                      <a:pt x="838" y="346"/>
                      <a:pt x="838" y="346"/>
                    </a:cubicBezTo>
                    <a:cubicBezTo>
                      <a:pt x="837" y="347"/>
                      <a:pt x="837" y="346"/>
                      <a:pt x="837" y="346"/>
                    </a:cubicBezTo>
                    <a:cubicBezTo>
                      <a:pt x="837" y="346"/>
                      <a:pt x="837" y="346"/>
                      <a:pt x="837" y="346"/>
                    </a:cubicBezTo>
                    <a:cubicBezTo>
                      <a:pt x="837" y="346"/>
                      <a:pt x="837" y="346"/>
                      <a:pt x="837" y="346"/>
                    </a:cubicBezTo>
                    <a:cubicBezTo>
                      <a:pt x="837" y="345"/>
                      <a:pt x="837" y="345"/>
                      <a:pt x="836" y="345"/>
                    </a:cubicBezTo>
                    <a:cubicBezTo>
                      <a:pt x="836" y="345"/>
                      <a:pt x="836" y="345"/>
                      <a:pt x="836" y="345"/>
                    </a:cubicBezTo>
                    <a:cubicBezTo>
                      <a:pt x="835" y="345"/>
                      <a:pt x="835" y="344"/>
                      <a:pt x="835" y="344"/>
                    </a:cubicBezTo>
                    <a:cubicBezTo>
                      <a:pt x="835" y="343"/>
                      <a:pt x="835" y="343"/>
                      <a:pt x="835" y="343"/>
                    </a:cubicBezTo>
                    <a:cubicBezTo>
                      <a:pt x="835" y="342"/>
                      <a:pt x="835" y="342"/>
                      <a:pt x="834" y="342"/>
                    </a:cubicBezTo>
                    <a:cubicBezTo>
                      <a:pt x="834" y="341"/>
                      <a:pt x="834" y="342"/>
                      <a:pt x="834" y="341"/>
                    </a:cubicBezTo>
                    <a:cubicBezTo>
                      <a:pt x="834" y="341"/>
                      <a:pt x="834" y="341"/>
                      <a:pt x="833" y="341"/>
                    </a:cubicBezTo>
                    <a:cubicBezTo>
                      <a:pt x="833" y="341"/>
                      <a:pt x="833" y="341"/>
                      <a:pt x="833" y="341"/>
                    </a:cubicBezTo>
                    <a:cubicBezTo>
                      <a:pt x="833" y="341"/>
                      <a:pt x="833" y="341"/>
                      <a:pt x="833" y="341"/>
                    </a:cubicBezTo>
                    <a:cubicBezTo>
                      <a:pt x="834" y="341"/>
                      <a:pt x="833" y="342"/>
                      <a:pt x="834" y="342"/>
                    </a:cubicBezTo>
                    <a:cubicBezTo>
                      <a:pt x="834" y="342"/>
                      <a:pt x="834" y="342"/>
                      <a:pt x="834" y="342"/>
                    </a:cubicBezTo>
                    <a:cubicBezTo>
                      <a:pt x="834" y="342"/>
                      <a:pt x="834" y="343"/>
                      <a:pt x="834" y="343"/>
                    </a:cubicBezTo>
                    <a:cubicBezTo>
                      <a:pt x="835" y="343"/>
                      <a:pt x="835" y="344"/>
                      <a:pt x="835" y="344"/>
                    </a:cubicBezTo>
                    <a:cubicBezTo>
                      <a:pt x="835" y="344"/>
                      <a:pt x="835" y="345"/>
                      <a:pt x="836" y="345"/>
                    </a:cubicBezTo>
                    <a:cubicBezTo>
                      <a:pt x="836" y="345"/>
                      <a:pt x="836" y="346"/>
                      <a:pt x="836" y="346"/>
                    </a:cubicBezTo>
                    <a:cubicBezTo>
                      <a:pt x="836" y="347"/>
                      <a:pt x="837" y="347"/>
                      <a:pt x="837" y="347"/>
                    </a:cubicBezTo>
                    <a:cubicBezTo>
                      <a:pt x="838" y="347"/>
                      <a:pt x="837" y="347"/>
                      <a:pt x="838" y="347"/>
                    </a:cubicBezTo>
                    <a:cubicBezTo>
                      <a:pt x="838" y="347"/>
                      <a:pt x="838" y="347"/>
                      <a:pt x="838" y="347"/>
                    </a:cubicBezTo>
                    <a:cubicBezTo>
                      <a:pt x="838" y="348"/>
                      <a:pt x="837" y="348"/>
                      <a:pt x="837" y="348"/>
                    </a:cubicBezTo>
                    <a:cubicBezTo>
                      <a:pt x="837" y="348"/>
                      <a:pt x="838" y="348"/>
                      <a:pt x="838" y="348"/>
                    </a:cubicBezTo>
                    <a:cubicBezTo>
                      <a:pt x="838" y="348"/>
                      <a:pt x="838" y="348"/>
                      <a:pt x="838" y="348"/>
                    </a:cubicBezTo>
                    <a:cubicBezTo>
                      <a:pt x="839" y="348"/>
                      <a:pt x="838" y="349"/>
                      <a:pt x="838" y="349"/>
                    </a:cubicBezTo>
                    <a:cubicBezTo>
                      <a:pt x="839" y="349"/>
                      <a:pt x="838" y="350"/>
                      <a:pt x="838" y="350"/>
                    </a:cubicBezTo>
                    <a:cubicBezTo>
                      <a:pt x="838" y="350"/>
                      <a:pt x="838" y="350"/>
                      <a:pt x="837" y="349"/>
                    </a:cubicBezTo>
                    <a:cubicBezTo>
                      <a:pt x="837" y="349"/>
                      <a:pt x="837" y="350"/>
                      <a:pt x="837" y="349"/>
                    </a:cubicBezTo>
                    <a:cubicBezTo>
                      <a:pt x="837" y="349"/>
                      <a:pt x="837" y="349"/>
                      <a:pt x="837" y="349"/>
                    </a:cubicBezTo>
                    <a:cubicBezTo>
                      <a:pt x="837" y="349"/>
                      <a:pt x="837" y="349"/>
                      <a:pt x="837" y="349"/>
                    </a:cubicBezTo>
                    <a:cubicBezTo>
                      <a:pt x="836" y="349"/>
                      <a:pt x="837" y="350"/>
                      <a:pt x="836" y="350"/>
                    </a:cubicBezTo>
                    <a:cubicBezTo>
                      <a:pt x="837" y="350"/>
                      <a:pt x="836" y="351"/>
                      <a:pt x="836" y="351"/>
                    </a:cubicBezTo>
                    <a:cubicBezTo>
                      <a:pt x="835" y="351"/>
                      <a:pt x="835" y="350"/>
                      <a:pt x="835" y="349"/>
                    </a:cubicBezTo>
                    <a:cubicBezTo>
                      <a:pt x="834" y="349"/>
                      <a:pt x="834" y="348"/>
                      <a:pt x="834" y="348"/>
                    </a:cubicBezTo>
                    <a:cubicBezTo>
                      <a:pt x="833" y="348"/>
                      <a:pt x="834" y="349"/>
                      <a:pt x="834" y="349"/>
                    </a:cubicBezTo>
                    <a:cubicBezTo>
                      <a:pt x="834" y="350"/>
                      <a:pt x="835" y="350"/>
                      <a:pt x="835" y="351"/>
                    </a:cubicBezTo>
                    <a:cubicBezTo>
                      <a:pt x="835" y="351"/>
                      <a:pt x="836" y="351"/>
                      <a:pt x="836" y="351"/>
                    </a:cubicBezTo>
                    <a:cubicBezTo>
                      <a:pt x="836" y="351"/>
                      <a:pt x="836" y="351"/>
                      <a:pt x="836" y="351"/>
                    </a:cubicBezTo>
                    <a:cubicBezTo>
                      <a:pt x="837" y="351"/>
                      <a:pt x="836" y="352"/>
                      <a:pt x="836" y="352"/>
                    </a:cubicBezTo>
                    <a:cubicBezTo>
                      <a:pt x="837" y="352"/>
                      <a:pt x="836" y="353"/>
                      <a:pt x="836" y="353"/>
                    </a:cubicBezTo>
                    <a:cubicBezTo>
                      <a:pt x="837" y="353"/>
                      <a:pt x="837" y="353"/>
                      <a:pt x="836" y="354"/>
                    </a:cubicBezTo>
                    <a:cubicBezTo>
                      <a:pt x="836" y="354"/>
                      <a:pt x="835" y="354"/>
                      <a:pt x="835" y="354"/>
                    </a:cubicBezTo>
                    <a:cubicBezTo>
                      <a:pt x="835" y="354"/>
                      <a:pt x="835" y="353"/>
                      <a:pt x="835" y="353"/>
                    </a:cubicBezTo>
                    <a:cubicBezTo>
                      <a:pt x="834" y="353"/>
                      <a:pt x="834" y="353"/>
                      <a:pt x="834" y="353"/>
                    </a:cubicBezTo>
                    <a:cubicBezTo>
                      <a:pt x="834" y="352"/>
                      <a:pt x="834" y="352"/>
                      <a:pt x="834" y="352"/>
                    </a:cubicBezTo>
                    <a:cubicBezTo>
                      <a:pt x="834" y="351"/>
                      <a:pt x="834" y="351"/>
                      <a:pt x="833" y="351"/>
                    </a:cubicBezTo>
                    <a:cubicBezTo>
                      <a:pt x="833" y="351"/>
                      <a:pt x="833" y="351"/>
                      <a:pt x="832" y="351"/>
                    </a:cubicBezTo>
                    <a:cubicBezTo>
                      <a:pt x="832" y="351"/>
                      <a:pt x="832" y="351"/>
                      <a:pt x="832" y="350"/>
                    </a:cubicBezTo>
                    <a:cubicBezTo>
                      <a:pt x="832" y="351"/>
                      <a:pt x="832" y="351"/>
                      <a:pt x="831" y="350"/>
                    </a:cubicBezTo>
                    <a:cubicBezTo>
                      <a:pt x="831" y="350"/>
                      <a:pt x="831" y="350"/>
                      <a:pt x="830" y="351"/>
                    </a:cubicBezTo>
                    <a:cubicBezTo>
                      <a:pt x="831" y="350"/>
                      <a:pt x="830" y="350"/>
                      <a:pt x="830" y="350"/>
                    </a:cubicBezTo>
                    <a:cubicBezTo>
                      <a:pt x="829" y="350"/>
                      <a:pt x="829" y="350"/>
                      <a:pt x="829" y="350"/>
                    </a:cubicBezTo>
                    <a:cubicBezTo>
                      <a:pt x="828" y="350"/>
                      <a:pt x="830" y="351"/>
                      <a:pt x="830" y="351"/>
                    </a:cubicBezTo>
                    <a:cubicBezTo>
                      <a:pt x="830" y="351"/>
                      <a:pt x="830" y="351"/>
                      <a:pt x="830" y="351"/>
                    </a:cubicBezTo>
                    <a:cubicBezTo>
                      <a:pt x="831" y="351"/>
                      <a:pt x="831" y="350"/>
                      <a:pt x="831" y="351"/>
                    </a:cubicBezTo>
                    <a:cubicBezTo>
                      <a:pt x="831" y="351"/>
                      <a:pt x="831" y="351"/>
                      <a:pt x="832" y="351"/>
                    </a:cubicBezTo>
                    <a:cubicBezTo>
                      <a:pt x="832" y="351"/>
                      <a:pt x="832" y="351"/>
                      <a:pt x="832" y="351"/>
                    </a:cubicBezTo>
                    <a:cubicBezTo>
                      <a:pt x="833" y="352"/>
                      <a:pt x="833" y="352"/>
                      <a:pt x="833" y="352"/>
                    </a:cubicBezTo>
                    <a:cubicBezTo>
                      <a:pt x="833" y="352"/>
                      <a:pt x="834" y="352"/>
                      <a:pt x="834" y="352"/>
                    </a:cubicBezTo>
                    <a:cubicBezTo>
                      <a:pt x="834" y="352"/>
                      <a:pt x="833" y="353"/>
                      <a:pt x="833" y="353"/>
                    </a:cubicBezTo>
                    <a:cubicBezTo>
                      <a:pt x="833" y="353"/>
                      <a:pt x="834" y="353"/>
                      <a:pt x="834" y="353"/>
                    </a:cubicBezTo>
                    <a:cubicBezTo>
                      <a:pt x="834" y="354"/>
                      <a:pt x="834" y="354"/>
                      <a:pt x="834" y="354"/>
                    </a:cubicBezTo>
                    <a:cubicBezTo>
                      <a:pt x="834" y="355"/>
                      <a:pt x="834" y="355"/>
                      <a:pt x="834" y="355"/>
                    </a:cubicBezTo>
                    <a:cubicBezTo>
                      <a:pt x="834" y="355"/>
                      <a:pt x="835" y="355"/>
                      <a:pt x="835" y="355"/>
                    </a:cubicBezTo>
                    <a:cubicBezTo>
                      <a:pt x="835" y="355"/>
                      <a:pt x="836" y="355"/>
                      <a:pt x="836" y="355"/>
                    </a:cubicBezTo>
                    <a:cubicBezTo>
                      <a:pt x="836" y="355"/>
                      <a:pt x="836" y="354"/>
                      <a:pt x="836" y="354"/>
                    </a:cubicBezTo>
                    <a:cubicBezTo>
                      <a:pt x="837" y="354"/>
                      <a:pt x="837" y="355"/>
                      <a:pt x="838" y="355"/>
                    </a:cubicBezTo>
                    <a:cubicBezTo>
                      <a:pt x="839" y="355"/>
                      <a:pt x="839" y="355"/>
                      <a:pt x="839" y="355"/>
                    </a:cubicBezTo>
                    <a:cubicBezTo>
                      <a:pt x="839" y="356"/>
                      <a:pt x="839" y="357"/>
                      <a:pt x="839" y="358"/>
                    </a:cubicBezTo>
                    <a:cubicBezTo>
                      <a:pt x="839" y="359"/>
                      <a:pt x="839" y="361"/>
                      <a:pt x="839" y="363"/>
                    </a:cubicBezTo>
                    <a:cubicBezTo>
                      <a:pt x="839" y="364"/>
                      <a:pt x="839" y="365"/>
                      <a:pt x="839" y="367"/>
                    </a:cubicBezTo>
                    <a:cubicBezTo>
                      <a:pt x="839" y="367"/>
                      <a:pt x="839" y="366"/>
                      <a:pt x="839" y="365"/>
                    </a:cubicBezTo>
                    <a:cubicBezTo>
                      <a:pt x="839" y="365"/>
                      <a:pt x="838" y="365"/>
                      <a:pt x="838" y="364"/>
                    </a:cubicBezTo>
                    <a:cubicBezTo>
                      <a:pt x="838" y="365"/>
                      <a:pt x="839" y="365"/>
                      <a:pt x="839" y="365"/>
                    </a:cubicBezTo>
                    <a:cubicBezTo>
                      <a:pt x="839" y="364"/>
                      <a:pt x="838" y="364"/>
                      <a:pt x="838" y="364"/>
                    </a:cubicBezTo>
                    <a:cubicBezTo>
                      <a:pt x="838" y="363"/>
                      <a:pt x="839" y="363"/>
                      <a:pt x="839" y="362"/>
                    </a:cubicBezTo>
                    <a:cubicBezTo>
                      <a:pt x="838" y="361"/>
                      <a:pt x="838" y="360"/>
                      <a:pt x="839" y="359"/>
                    </a:cubicBezTo>
                    <a:cubicBezTo>
                      <a:pt x="839" y="359"/>
                      <a:pt x="839" y="358"/>
                      <a:pt x="839" y="357"/>
                    </a:cubicBezTo>
                    <a:cubicBezTo>
                      <a:pt x="839" y="357"/>
                      <a:pt x="839" y="357"/>
                      <a:pt x="838" y="357"/>
                    </a:cubicBezTo>
                    <a:cubicBezTo>
                      <a:pt x="838" y="357"/>
                      <a:pt x="838" y="359"/>
                      <a:pt x="838" y="359"/>
                    </a:cubicBezTo>
                    <a:cubicBezTo>
                      <a:pt x="838" y="359"/>
                      <a:pt x="838" y="358"/>
                      <a:pt x="838" y="358"/>
                    </a:cubicBezTo>
                    <a:cubicBezTo>
                      <a:pt x="838" y="359"/>
                      <a:pt x="838" y="359"/>
                      <a:pt x="838" y="359"/>
                    </a:cubicBezTo>
                    <a:cubicBezTo>
                      <a:pt x="837" y="359"/>
                      <a:pt x="837" y="359"/>
                      <a:pt x="837" y="358"/>
                    </a:cubicBezTo>
                    <a:cubicBezTo>
                      <a:pt x="837" y="359"/>
                      <a:pt x="837" y="360"/>
                      <a:pt x="837" y="361"/>
                    </a:cubicBezTo>
                    <a:cubicBezTo>
                      <a:pt x="837" y="360"/>
                      <a:pt x="838" y="360"/>
                      <a:pt x="838" y="360"/>
                    </a:cubicBezTo>
                    <a:cubicBezTo>
                      <a:pt x="838" y="360"/>
                      <a:pt x="838" y="361"/>
                      <a:pt x="838" y="361"/>
                    </a:cubicBezTo>
                    <a:cubicBezTo>
                      <a:pt x="838" y="362"/>
                      <a:pt x="838" y="362"/>
                      <a:pt x="838" y="363"/>
                    </a:cubicBezTo>
                    <a:cubicBezTo>
                      <a:pt x="838" y="363"/>
                      <a:pt x="838" y="364"/>
                      <a:pt x="838" y="364"/>
                    </a:cubicBezTo>
                    <a:cubicBezTo>
                      <a:pt x="837" y="364"/>
                      <a:pt x="838" y="361"/>
                      <a:pt x="837" y="361"/>
                    </a:cubicBezTo>
                    <a:cubicBezTo>
                      <a:pt x="837" y="361"/>
                      <a:pt x="837" y="363"/>
                      <a:pt x="837" y="363"/>
                    </a:cubicBezTo>
                    <a:cubicBezTo>
                      <a:pt x="836" y="363"/>
                      <a:pt x="836" y="361"/>
                      <a:pt x="835" y="361"/>
                    </a:cubicBezTo>
                    <a:cubicBezTo>
                      <a:pt x="835" y="361"/>
                      <a:pt x="835" y="361"/>
                      <a:pt x="835" y="361"/>
                    </a:cubicBezTo>
                    <a:cubicBezTo>
                      <a:pt x="834" y="361"/>
                      <a:pt x="836" y="362"/>
                      <a:pt x="836" y="363"/>
                    </a:cubicBezTo>
                    <a:cubicBezTo>
                      <a:pt x="836" y="363"/>
                      <a:pt x="835" y="363"/>
                      <a:pt x="834" y="363"/>
                    </a:cubicBezTo>
                    <a:cubicBezTo>
                      <a:pt x="834" y="363"/>
                      <a:pt x="834" y="362"/>
                      <a:pt x="834" y="362"/>
                    </a:cubicBezTo>
                    <a:cubicBezTo>
                      <a:pt x="834" y="363"/>
                      <a:pt x="834" y="363"/>
                      <a:pt x="834" y="364"/>
                    </a:cubicBezTo>
                    <a:cubicBezTo>
                      <a:pt x="834" y="364"/>
                      <a:pt x="832" y="363"/>
                      <a:pt x="832" y="362"/>
                    </a:cubicBezTo>
                    <a:cubicBezTo>
                      <a:pt x="832" y="363"/>
                      <a:pt x="833" y="363"/>
                      <a:pt x="833" y="364"/>
                    </a:cubicBezTo>
                    <a:cubicBezTo>
                      <a:pt x="833" y="364"/>
                      <a:pt x="832" y="364"/>
                      <a:pt x="832" y="364"/>
                    </a:cubicBezTo>
                    <a:cubicBezTo>
                      <a:pt x="832" y="364"/>
                      <a:pt x="831" y="365"/>
                      <a:pt x="831" y="365"/>
                    </a:cubicBezTo>
                    <a:cubicBezTo>
                      <a:pt x="830" y="364"/>
                      <a:pt x="830" y="364"/>
                      <a:pt x="830" y="364"/>
                    </a:cubicBezTo>
                    <a:cubicBezTo>
                      <a:pt x="830" y="364"/>
                      <a:pt x="830" y="364"/>
                      <a:pt x="830" y="364"/>
                    </a:cubicBezTo>
                    <a:cubicBezTo>
                      <a:pt x="829" y="364"/>
                      <a:pt x="830" y="363"/>
                      <a:pt x="830" y="362"/>
                    </a:cubicBezTo>
                    <a:cubicBezTo>
                      <a:pt x="830" y="362"/>
                      <a:pt x="831" y="362"/>
                      <a:pt x="830" y="361"/>
                    </a:cubicBezTo>
                    <a:cubicBezTo>
                      <a:pt x="830" y="361"/>
                      <a:pt x="830" y="361"/>
                      <a:pt x="830" y="361"/>
                    </a:cubicBezTo>
                    <a:cubicBezTo>
                      <a:pt x="830" y="361"/>
                      <a:pt x="830" y="362"/>
                      <a:pt x="830" y="362"/>
                    </a:cubicBezTo>
                    <a:cubicBezTo>
                      <a:pt x="830" y="362"/>
                      <a:pt x="829" y="362"/>
                      <a:pt x="829" y="363"/>
                    </a:cubicBezTo>
                    <a:cubicBezTo>
                      <a:pt x="829" y="363"/>
                      <a:pt x="829" y="364"/>
                      <a:pt x="829" y="365"/>
                    </a:cubicBezTo>
                    <a:cubicBezTo>
                      <a:pt x="830" y="365"/>
                      <a:pt x="829" y="365"/>
                      <a:pt x="829" y="365"/>
                    </a:cubicBezTo>
                    <a:cubicBezTo>
                      <a:pt x="830" y="365"/>
                      <a:pt x="830" y="365"/>
                      <a:pt x="831" y="365"/>
                    </a:cubicBezTo>
                    <a:cubicBezTo>
                      <a:pt x="832" y="365"/>
                      <a:pt x="832" y="365"/>
                      <a:pt x="832" y="365"/>
                    </a:cubicBezTo>
                    <a:cubicBezTo>
                      <a:pt x="832" y="365"/>
                      <a:pt x="833" y="366"/>
                      <a:pt x="833" y="365"/>
                    </a:cubicBezTo>
                    <a:cubicBezTo>
                      <a:pt x="833" y="365"/>
                      <a:pt x="833" y="365"/>
                      <a:pt x="833" y="365"/>
                    </a:cubicBezTo>
                    <a:cubicBezTo>
                      <a:pt x="833" y="365"/>
                      <a:pt x="834" y="365"/>
                      <a:pt x="834" y="365"/>
                    </a:cubicBezTo>
                    <a:cubicBezTo>
                      <a:pt x="834" y="365"/>
                      <a:pt x="835" y="365"/>
                      <a:pt x="835" y="365"/>
                    </a:cubicBezTo>
                    <a:cubicBezTo>
                      <a:pt x="835" y="365"/>
                      <a:pt x="835" y="365"/>
                      <a:pt x="835" y="366"/>
                    </a:cubicBezTo>
                    <a:cubicBezTo>
                      <a:pt x="835" y="366"/>
                      <a:pt x="835" y="365"/>
                      <a:pt x="835" y="365"/>
                    </a:cubicBezTo>
                    <a:cubicBezTo>
                      <a:pt x="835" y="366"/>
                      <a:pt x="835" y="366"/>
                      <a:pt x="835" y="366"/>
                    </a:cubicBezTo>
                    <a:cubicBezTo>
                      <a:pt x="835" y="367"/>
                      <a:pt x="835" y="367"/>
                      <a:pt x="834" y="367"/>
                    </a:cubicBezTo>
                    <a:cubicBezTo>
                      <a:pt x="834" y="367"/>
                      <a:pt x="834" y="367"/>
                      <a:pt x="834" y="367"/>
                    </a:cubicBezTo>
                    <a:cubicBezTo>
                      <a:pt x="834" y="367"/>
                      <a:pt x="835" y="368"/>
                      <a:pt x="834" y="368"/>
                    </a:cubicBezTo>
                    <a:cubicBezTo>
                      <a:pt x="834" y="368"/>
                      <a:pt x="833" y="368"/>
                      <a:pt x="833" y="368"/>
                    </a:cubicBezTo>
                    <a:cubicBezTo>
                      <a:pt x="834" y="368"/>
                      <a:pt x="834" y="368"/>
                      <a:pt x="834" y="368"/>
                    </a:cubicBezTo>
                    <a:cubicBezTo>
                      <a:pt x="835" y="368"/>
                      <a:pt x="835" y="367"/>
                      <a:pt x="835" y="366"/>
                    </a:cubicBezTo>
                    <a:cubicBezTo>
                      <a:pt x="835" y="366"/>
                      <a:pt x="836" y="366"/>
                      <a:pt x="836" y="366"/>
                    </a:cubicBezTo>
                    <a:cubicBezTo>
                      <a:pt x="836" y="366"/>
                      <a:pt x="836" y="366"/>
                      <a:pt x="836" y="366"/>
                    </a:cubicBezTo>
                    <a:cubicBezTo>
                      <a:pt x="837" y="366"/>
                      <a:pt x="836" y="366"/>
                      <a:pt x="836" y="365"/>
                    </a:cubicBezTo>
                    <a:cubicBezTo>
                      <a:pt x="836" y="365"/>
                      <a:pt x="837" y="366"/>
                      <a:pt x="837" y="365"/>
                    </a:cubicBezTo>
                    <a:cubicBezTo>
                      <a:pt x="837" y="365"/>
                      <a:pt x="837" y="365"/>
                      <a:pt x="837" y="365"/>
                    </a:cubicBezTo>
                    <a:cubicBezTo>
                      <a:pt x="838" y="366"/>
                      <a:pt x="837" y="367"/>
                      <a:pt x="837" y="367"/>
                    </a:cubicBezTo>
                    <a:cubicBezTo>
                      <a:pt x="837" y="368"/>
                      <a:pt x="837" y="368"/>
                      <a:pt x="837" y="368"/>
                    </a:cubicBezTo>
                    <a:cubicBezTo>
                      <a:pt x="837" y="369"/>
                      <a:pt x="837" y="369"/>
                      <a:pt x="836" y="369"/>
                    </a:cubicBezTo>
                    <a:cubicBezTo>
                      <a:pt x="836" y="369"/>
                      <a:pt x="835" y="370"/>
                      <a:pt x="836" y="369"/>
                    </a:cubicBezTo>
                    <a:cubicBezTo>
                      <a:pt x="836" y="369"/>
                      <a:pt x="835" y="369"/>
                      <a:pt x="836" y="369"/>
                    </a:cubicBezTo>
                    <a:cubicBezTo>
                      <a:pt x="835" y="369"/>
                      <a:pt x="835" y="369"/>
                      <a:pt x="835" y="370"/>
                    </a:cubicBezTo>
                    <a:cubicBezTo>
                      <a:pt x="834" y="370"/>
                      <a:pt x="834" y="370"/>
                      <a:pt x="834" y="371"/>
                    </a:cubicBezTo>
                    <a:cubicBezTo>
                      <a:pt x="834" y="371"/>
                      <a:pt x="834" y="371"/>
                      <a:pt x="833" y="371"/>
                    </a:cubicBezTo>
                    <a:cubicBezTo>
                      <a:pt x="833" y="371"/>
                      <a:pt x="833" y="371"/>
                      <a:pt x="833" y="371"/>
                    </a:cubicBezTo>
                    <a:cubicBezTo>
                      <a:pt x="833" y="372"/>
                      <a:pt x="832" y="372"/>
                      <a:pt x="831" y="372"/>
                    </a:cubicBezTo>
                    <a:cubicBezTo>
                      <a:pt x="831" y="372"/>
                      <a:pt x="831" y="372"/>
                      <a:pt x="831" y="371"/>
                    </a:cubicBezTo>
                    <a:cubicBezTo>
                      <a:pt x="831" y="371"/>
                      <a:pt x="830" y="372"/>
                      <a:pt x="830" y="372"/>
                    </a:cubicBezTo>
                    <a:cubicBezTo>
                      <a:pt x="830" y="372"/>
                      <a:pt x="830" y="371"/>
                      <a:pt x="830" y="371"/>
                    </a:cubicBezTo>
                    <a:cubicBezTo>
                      <a:pt x="830" y="370"/>
                      <a:pt x="829" y="371"/>
                      <a:pt x="829" y="372"/>
                    </a:cubicBezTo>
                    <a:cubicBezTo>
                      <a:pt x="829" y="371"/>
                      <a:pt x="829" y="371"/>
                      <a:pt x="829" y="370"/>
                    </a:cubicBezTo>
                    <a:cubicBezTo>
                      <a:pt x="829" y="370"/>
                      <a:pt x="830" y="370"/>
                      <a:pt x="830" y="370"/>
                    </a:cubicBezTo>
                    <a:cubicBezTo>
                      <a:pt x="829" y="370"/>
                      <a:pt x="829" y="370"/>
                      <a:pt x="828" y="370"/>
                    </a:cubicBezTo>
                    <a:cubicBezTo>
                      <a:pt x="829" y="370"/>
                      <a:pt x="828" y="371"/>
                      <a:pt x="828" y="371"/>
                    </a:cubicBezTo>
                    <a:cubicBezTo>
                      <a:pt x="828" y="372"/>
                      <a:pt x="828" y="371"/>
                      <a:pt x="828" y="371"/>
                    </a:cubicBezTo>
                    <a:cubicBezTo>
                      <a:pt x="827" y="371"/>
                      <a:pt x="826" y="370"/>
                      <a:pt x="825" y="370"/>
                    </a:cubicBezTo>
                    <a:cubicBezTo>
                      <a:pt x="825" y="370"/>
                      <a:pt x="825" y="370"/>
                      <a:pt x="825" y="371"/>
                    </a:cubicBezTo>
                    <a:cubicBezTo>
                      <a:pt x="826" y="370"/>
                      <a:pt x="827" y="372"/>
                      <a:pt x="828" y="372"/>
                    </a:cubicBezTo>
                    <a:cubicBezTo>
                      <a:pt x="828" y="372"/>
                      <a:pt x="829" y="372"/>
                      <a:pt x="829" y="372"/>
                    </a:cubicBezTo>
                    <a:cubicBezTo>
                      <a:pt x="829" y="373"/>
                      <a:pt x="828" y="373"/>
                      <a:pt x="828" y="373"/>
                    </a:cubicBezTo>
                    <a:cubicBezTo>
                      <a:pt x="828" y="373"/>
                      <a:pt x="828" y="373"/>
                      <a:pt x="828" y="373"/>
                    </a:cubicBezTo>
                    <a:cubicBezTo>
                      <a:pt x="828" y="373"/>
                      <a:pt x="828" y="373"/>
                      <a:pt x="828" y="373"/>
                    </a:cubicBezTo>
                    <a:cubicBezTo>
                      <a:pt x="827" y="373"/>
                      <a:pt x="827" y="374"/>
                      <a:pt x="827" y="374"/>
                    </a:cubicBezTo>
                    <a:cubicBezTo>
                      <a:pt x="827" y="374"/>
                      <a:pt x="828" y="374"/>
                      <a:pt x="828" y="374"/>
                    </a:cubicBezTo>
                    <a:cubicBezTo>
                      <a:pt x="828" y="374"/>
                      <a:pt x="826" y="376"/>
                      <a:pt x="825" y="376"/>
                    </a:cubicBezTo>
                    <a:cubicBezTo>
                      <a:pt x="825" y="376"/>
                      <a:pt x="824" y="376"/>
                      <a:pt x="824" y="375"/>
                    </a:cubicBezTo>
                    <a:cubicBezTo>
                      <a:pt x="824" y="375"/>
                      <a:pt x="824" y="375"/>
                      <a:pt x="823" y="374"/>
                    </a:cubicBezTo>
                    <a:cubicBezTo>
                      <a:pt x="823" y="374"/>
                      <a:pt x="823" y="374"/>
                      <a:pt x="823" y="374"/>
                    </a:cubicBezTo>
                    <a:cubicBezTo>
                      <a:pt x="824" y="375"/>
                      <a:pt x="823" y="376"/>
                      <a:pt x="825" y="376"/>
                    </a:cubicBezTo>
                    <a:cubicBezTo>
                      <a:pt x="825" y="376"/>
                      <a:pt x="825" y="377"/>
                      <a:pt x="826" y="376"/>
                    </a:cubicBezTo>
                    <a:cubicBezTo>
                      <a:pt x="826" y="376"/>
                      <a:pt x="826" y="376"/>
                      <a:pt x="827" y="376"/>
                    </a:cubicBezTo>
                    <a:cubicBezTo>
                      <a:pt x="827" y="376"/>
                      <a:pt x="827" y="377"/>
                      <a:pt x="827" y="376"/>
                    </a:cubicBezTo>
                    <a:cubicBezTo>
                      <a:pt x="827" y="376"/>
                      <a:pt x="827" y="376"/>
                      <a:pt x="828" y="376"/>
                    </a:cubicBezTo>
                    <a:cubicBezTo>
                      <a:pt x="828" y="376"/>
                      <a:pt x="828" y="376"/>
                      <a:pt x="828" y="375"/>
                    </a:cubicBezTo>
                    <a:cubicBezTo>
                      <a:pt x="828" y="375"/>
                      <a:pt x="828" y="375"/>
                      <a:pt x="829" y="375"/>
                    </a:cubicBezTo>
                    <a:cubicBezTo>
                      <a:pt x="829" y="375"/>
                      <a:pt x="829" y="376"/>
                      <a:pt x="828" y="376"/>
                    </a:cubicBezTo>
                    <a:cubicBezTo>
                      <a:pt x="828" y="376"/>
                      <a:pt x="828" y="376"/>
                      <a:pt x="828" y="376"/>
                    </a:cubicBezTo>
                    <a:cubicBezTo>
                      <a:pt x="829" y="376"/>
                      <a:pt x="829" y="376"/>
                      <a:pt x="829" y="376"/>
                    </a:cubicBezTo>
                    <a:cubicBezTo>
                      <a:pt x="829" y="376"/>
                      <a:pt x="829" y="375"/>
                      <a:pt x="829" y="375"/>
                    </a:cubicBezTo>
                    <a:cubicBezTo>
                      <a:pt x="830" y="375"/>
                      <a:pt x="830" y="376"/>
                      <a:pt x="830" y="376"/>
                    </a:cubicBezTo>
                    <a:cubicBezTo>
                      <a:pt x="830" y="376"/>
                      <a:pt x="829" y="376"/>
                      <a:pt x="829" y="376"/>
                    </a:cubicBezTo>
                    <a:cubicBezTo>
                      <a:pt x="829" y="377"/>
                      <a:pt x="829" y="377"/>
                      <a:pt x="829" y="377"/>
                    </a:cubicBezTo>
                    <a:cubicBezTo>
                      <a:pt x="828" y="377"/>
                      <a:pt x="828" y="377"/>
                      <a:pt x="828" y="377"/>
                    </a:cubicBezTo>
                    <a:cubicBezTo>
                      <a:pt x="828" y="378"/>
                      <a:pt x="827" y="379"/>
                      <a:pt x="826" y="379"/>
                    </a:cubicBezTo>
                    <a:cubicBezTo>
                      <a:pt x="826" y="379"/>
                      <a:pt x="826" y="377"/>
                      <a:pt x="826" y="378"/>
                    </a:cubicBezTo>
                    <a:cubicBezTo>
                      <a:pt x="826" y="378"/>
                      <a:pt x="826" y="378"/>
                      <a:pt x="826" y="379"/>
                    </a:cubicBezTo>
                    <a:cubicBezTo>
                      <a:pt x="826" y="379"/>
                      <a:pt x="826" y="379"/>
                      <a:pt x="826" y="378"/>
                    </a:cubicBezTo>
                    <a:cubicBezTo>
                      <a:pt x="826" y="378"/>
                      <a:pt x="825" y="378"/>
                      <a:pt x="825" y="378"/>
                    </a:cubicBezTo>
                    <a:cubicBezTo>
                      <a:pt x="825" y="378"/>
                      <a:pt x="825" y="379"/>
                      <a:pt x="825" y="379"/>
                    </a:cubicBezTo>
                    <a:cubicBezTo>
                      <a:pt x="824" y="379"/>
                      <a:pt x="823" y="379"/>
                      <a:pt x="823" y="379"/>
                    </a:cubicBezTo>
                    <a:cubicBezTo>
                      <a:pt x="823" y="379"/>
                      <a:pt x="821" y="379"/>
                      <a:pt x="821" y="379"/>
                    </a:cubicBezTo>
                    <a:cubicBezTo>
                      <a:pt x="821" y="379"/>
                      <a:pt x="822" y="378"/>
                      <a:pt x="821" y="378"/>
                    </a:cubicBezTo>
                    <a:cubicBezTo>
                      <a:pt x="821" y="378"/>
                      <a:pt x="820" y="380"/>
                      <a:pt x="820" y="380"/>
                    </a:cubicBezTo>
                    <a:cubicBezTo>
                      <a:pt x="820" y="380"/>
                      <a:pt x="819" y="380"/>
                      <a:pt x="819" y="380"/>
                    </a:cubicBezTo>
                    <a:cubicBezTo>
                      <a:pt x="819" y="380"/>
                      <a:pt x="818" y="380"/>
                      <a:pt x="818" y="380"/>
                    </a:cubicBezTo>
                    <a:cubicBezTo>
                      <a:pt x="819" y="380"/>
                      <a:pt x="819" y="380"/>
                      <a:pt x="819" y="379"/>
                    </a:cubicBezTo>
                    <a:cubicBezTo>
                      <a:pt x="819" y="379"/>
                      <a:pt x="819" y="379"/>
                      <a:pt x="818" y="378"/>
                    </a:cubicBezTo>
                    <a:cubicBezTo>
                      <a:pt x="818" y="379"/>
                      <a:pt x="819" y="379"/>
                      <a:pt x="819" y="379"/>
                    </a:cubicBezTo>
                    <a:cubicBezTo>
                      <a:pt x="819" y="380"/>
                      <a:pt x="818" y="380"/>
                      <a:pt x="818" y="380"/>
                    </a:cubicBezTo>
                    <a:cubicBezTo>
                      <a:pt x="818" y="380"/>
                      <a:pt x="819" y="380"/>
                      <a:pt x="818" y="381"/>
                    </a:cubicBezTo>
                    <a:cubicBezTo>
                      <a:pt x="818" y="381"/>
                      <a:pt x="817" y="381"/>
                      <a:pt x="817" y="382"/>
                    </a:cubicBezTo>
                    <a:cubicBezTo>
                      <a:pt x="815" y="382"/>
                      <a:pt x="814" y="383"/>
                      <a:pt x="813" y="385"/>
                    </a:cubicBezTo>
                    <a:cubicBezTo>
                      <a:pt x="812" y="385"/>
                      <a:pt x="812" y="387"/>
                      <a:pt x="811" y="387"/>
                    </a:cubicBezTo>
                    <a:cubicBezTo>
                      <a:pt x="812" y="386"/>
                      <a:pt x="812" y="386"/>
                      <a:pt x="812" y="385"/>
                    </a:cubicBezTo>
                    <a:cubicBezTo>
                      <a:pt x="811" y="385"/>
                      <a:pt x="812" y="388"/>
                      <a:pt x="810" y="388"/>
                    </a:cubicBezTo>
                    <a:cubicBezTo>
                      <a:pt x="810" y="388"/>
                      <a:pt x="809" y="387"/>
                      <a:pt x="808" y="388"/>
                    </a:cubicBezTo>
                    <a:cubicBezTo>
                      <a:pt x="808" y="388"/>
                      <a:pt x="807" y="388"/>
                      <a:pt x="807" y="387"/>
                    </a:cubicBezTo>
                    <a:cubicBezTo>
                      <a:pt x="807" y="388"/>
                      <a:pt x="806" y="388"/>
                      <a:pt x="805" y="388"/>
                    </a:cubicBezTo>
                    <a:cubicBezTo>
                      <a:pt x="806" y="388"/>
                      <a:pt x="805" y="388"/>
                      <a:pt x="805" y="388"/>
                    </a:cubicBezTo>
                    <a:cubicBezTo>
                      <a:pt x="805" y="388"/>
                      <a:pt x="804" y="389"/>
                      <a:pt x="804" y="389"/>
                    </a:cubicBezTo>
                    <a:cubicBezTo>
                      <a:pt x="803" y="389"/>
                      <a:pt x="802" y="390"/>
                      <a:pt x="802" y="390"/>
                    </a:cubicBezTo>
                    <a:cubicBezTo>
                      <a:pt x="800" y="392"/>
                      <a:pt x="798" y="393"/>
                      <a:pt x="798" y="395"/>
                    </a:cubicBezTo>
                    <a:cubicBezTo>
                      <a:pt x="797" y="395"/>
                      <a:pt x="798" y="394"/>
                      <a:pt x="797" y="394"/>
                    </a:cubicBezTo>
                    <a:cubicBezTo>
                      <a:pt x="797" y="394"/>
                      <a:pt x="797" y="394"/>
                      <a:pt x="797" y="394"/>
                    </a:cubicBezTo>
                    <a:cubicBezTo>
                      <a:pt x="797" y="394"/>
                      <a:pt x="798" y="393"/>
                      <a:pt x="798" y="393"/>
                    </a:cubicBezTo>
                    <a:cubicBezTo>
                      <a:pt x="798" y="393"/>
                      <a:pt x="797" y="394"/>
                      <a:pt x="797" y="395"/>
                    </a:cubicBezTo>
                    <a:cubicBezTo>
                      <a:pt x="797" y="395"/>
                      <a:pt x="797" y="395"/>
                      <a:pt x="797" y="395"/>
                    </a:cubicBezTo>
                    <a:cubicBezTo>
                      <a:pt x="797" y="396"/>
                      <a:pt x="797" y="396"/>
                      <a:pt x="797" y="396"/>
                    </a:cubicBezTo>
                    <a:cubicBezTo>
                      <a:pt x="797" y="396"/>
                      <a:pt x="797" y="396"/>
                      <a:pt x="797" y="396"/>
                    </a:cubicBezTo>
                    <a:cubicBezTo>
                      <a:pt x="796" y="396"/>
                      <a:pt x="796" y="396"/>
                      <a:pt x="796" y="396"/>
                    </a:cubicBezTo>
                    <a:cubicBezTo>
                      <a:pt x="796" y="396"/>
                      <a:pt x="797" y="396"/>
                      <a:pt x="796" y="397"/>
                    </a:cubicBezTo>
                    <a:cubicBezTo>
                      <a:pt x="796" y="397"/>
                      <a:pt x="796" y="397"/>
                      <a:pt x="795" y="397"/>
                    </a:cubicBezTo>
                    <a:cubicBezTo>
                      <a:pt x="795" y="398"/>
                      <a:pt x="795" y="397"/>
                      <a:pt x="794" y="398"/>
                    </a:cubicBezTo>
                    <a:cubicBezTo>
                      <a:pt x="794" y="397"/>
                      <a:pt x="792" y="398"/>
                      <a:pt x="793" y="398"/>
                    </a:cubicBezTo>
                    <a:cubicBezTo>
                      <a:pt x="793" y="399"/>
                      <a:pt x="793" y="398"/>
                      <a:pt x="793" y="398"/>
                    </a:cubicBezTo>
                    <a:cubicBezTo>
                      <a:pt x="793" y="399"/>
                      <a:pt x="792" y="399"/>
                      <a:pt x="792" y="399"/>
                    </a:cubicBezTo>
                    <a:cubicBezTo>
                      <a:pt x="791" y="400"/>
                      <a:pt x="791" y="400"/>
                      <a:pt x="790" y="400"/>
                    </a:cubicBezTo>
                    <a:cubicBezTo>
                      <a:pt x="789" y="400"/>
                      <a:pt x="790" y="399"/>
                      <a:pt x="790" y="399"/>
                    </a:cubicBezTo>
                    <a:cubicBezTo>
                      <a:pt x="790" y="399"/>
                      <a:pt x="790" y="399"/>
                      <a:pt x="790" y="399"/>
                    </a:cubicBezTo>
                    <a:cubicBezTo>
                      <a:pt x="789" y="399"/>
                      <a:pt x="790" y="400"/>
                      <a:pt x="789" y="400"/>
                    </a:cubicBezTo>
                    <a:cubicBezTo>
                      <a:pt x="789" y="400"/>
                      <a:pt x="790" y="400"/>
                      <a:pt x="790" y="400"/>
                    </a:cubicBezTo>
                    <a:cubicBezTo>
                      <a:pt x="790" y="401"/>
                      <a:pt x="789" y="402"/>
                      <a:pt x="788" y="401"/>
                    </a:cubicBezTo>
                    <a:cubicBezTo>
                      <a:pt x="788" y="401"/>
                      <a:pt x="788" y="402"/>
                      <a:pt x="788" y="402"/>
                    </a:cubicBezTo>
                    <a:cubicBezTo>
                      <a:pt x="788" y="402"/>
                      <a:pt x="787" y="402"/>
                      <a:pt x="787" y="402"/>
                    </a:cubicBezTo>
                    <a:cubicBezTo>
                      <a:pt x="786" y="402"/>
                      <a:pt x="786" y="402"/>
                      <a:pt x="786" y="402"/>
                    </a:cubicBezTo>
                    <a:cubicBezTo>
                      <a:pt x="786" y="402"/>
                      <a:pt x="786" y="402"/>
                      <a:pt x="786" y="402"/>
                    </a:cubicBezTo>
                    <a:cubicBezTo>
                      <a:pt x="786" y="403"/>
                      <a:pt x="785" y="403"/>
                      <a:pt x="785" y="403"/>
                    </a:cubicBezTo>
                    <a:cubicBezTo>
                      <a:pt x="785" y="403"/>
                      <a:pt x="785" y="403"/>
                      <a:pt x="785" y="403"/>
                    </a:cubicBezTo>
                    <a:cubicBezTo>
                      <a:pt x="784" y="403"/>
                      <a:pt x="784" y="403"/>
                      <a:pt x="784" y="403"/>
                    </a:cubicBezTo>
                    <a:cubicBezTo>
                      <a:pt x="784" y="403"/>
                      <a:pt x="783" y="403"/>
                      <a:pt x="783" y="402"/>
                    </a:cubicBezTo>
                    <a:cubicBezTo>
                      <a:pt x="783" y="403"/>
                      <a:pt x="782" y="402"/>
                      <a:pt x="782" y="403"/>
                    </a:cubicBezTo>
                    <a:cubicBezTo>
                      <a:pt x="782" y="403"/>
                      <a:pt x="783" y="403"/>
                      <a:pt x="783" y="403"/>
                    </a:cubicBezTo>
                    <a:cubicBezTo>
                      <a:pt x="783" y="404"/>
                      <a:pt x="783" y="403"/>
                      <a:pt x="782" y="404"/>
                    </a:cubicBezTo>
                    <a:cubicBezTo>
                      <a:pt x="782" y="404"/>
                      <a:pt x="784" y="404"/>
                      <a:pt x="783" y="404"/>
                    </a:cubicBezTo>
                    <a:cubicBezTo>
                      <a:pt x="783" y="404"/>
                      <a:pt x="783" y="404"/>
                      <a:pt x="782" y="405"/>
                    </a:cubicBezTo>
                    <a:cubicBezTo>
                      <a:pt x="782" y="405"/>
                      <a:pt x="783" y="404"/>
                      <a:pt x="784" y="404"/>
                    </a:cubicBezTo>
                    <a:cubicBezTo>
                      <a:pt x="783" y="405"/>
                      <a:pt x="782" y="406"/>
                      <a:pt x="782" y="406"/>
                    </a:cubicBezTo>
                    <a:cubicBezTo>
                      <a:pt x="781" y="406"/>
                      <a:pt x="781" y="405"/>
                      <a:pt x="782" y="404"/>
                    </a:cubicBezTo>
                    <a:cubicBezTo>
                      <a:pt x="782" y="404"/>
                      <a:pt x="781" y="405"/>
                      <a:pt x="781" y="405"/>
                    </a:cubicBezTo>
                    <a:cubicBezTo>
                      <a:pt x="781" y="405"/>
                      <a:pt x="781" y="405"/>
                      <a:pt x="781" y="405"/>
                    </a:cubicBezTo>
                    <a:cubicBezTo>
                      <a:pt x="780" y="404"/>
                      <a:pt x="781" y="403"/>
                      <a:pt x="780" y="403"/>
                    </a:cubicBezTo>
                    <a:cubicBezTo>
                      <a:pt x="781" y="403"/>
                      <a:pt x="779" y="405"/>
                      <a:pt x="780" y="406"/>
                    </a:cubicBezTo>
                    <a:cubicBezTo>
                      <a:pt x="782" y="406"/>
                      <a:pt x="780" y="407"/>
                      <a:pt x="779" y="407"/>
                    </a:cubicBezTo>
                    <a:cubicBezTo>
                      <a:pt x="779" y="407"/>
                      <a:pt x="780" y="407"/>
                      <a:pt x="780" y="406"/>
                    </a:cubicBezTo>
                    <a:cubicBezTo>
                      <a:pt x="780" y="407"/>
                      <a:pt x="779" y="407"/>
                      <a:pt x="778" y="408"/>
                    </a:cubicBezTo>
                    <a:cubicBezTo>
                      <a:pt x="778" y="408"/>
                      <a:pt x="779" y="408"/>
                      <a:pt x="779" y="408"/>
                    </a:cubicBezTo>
                    <a:cubicBezTo>
                      <a:pt x="779" y="409"/>
                      <a:pt x="778" y="409"/>
                      <a:pt x="778" y="409"/>
                    </a:cubicBezTo>
                    <a:cubicBezTo>
                      <a:pt x="778" y="409"/>
                      <a:pt x="777" y="410"/>
                      <a:pt x="777" y="410"/>
                    </a:cubicBezTo>
                    <a:cubicBezTo>
                      <a:pt x="777" y="410"/>
                      <a:pt x="776" y="410"/>
                      <a:pt x="776" y="410"/>
                    </a:cubicBezTo>
                    <a:cubicBezTo>
                      <a:pt x="776" y="409"/>
                      <a:pt x="776" y="410"/>
                      <a:pt x="776" y="410"/>
                    </a:cubicBezTo>
                    <a:cubicBezTo>
                      <a:pt x="776" y="410"/>
                      <a:pt x="776" y="410"/>
                      <a:pt x="775" y="410"/>
                    </a:cubicBezTo>
                    <a:cubicBezTo>
                      <a:pt x="776" y="410"/>
                      <a:pt x="776" y="411"/>
                      <a:pt x="775" y="411"/>
                    </a:cubicBezTo>
                    <a:cubicBezTo>
                      <a:pt x="775" y="412"/>
                      <a:pt x="774" y="411"/>
                      <a:pt x="774" y="411"/>
                    </a:cubicBezTo>
                    <a:cubicBezTo>
                      <a:pt x="774" y="412"/>
                      <a:pt x="774" y="412"/>
                      <a:pt x="774" y="412"/>
                    </a:cubicBezTo>
                    <a:cubicBezTo>
                      <a:pt x="774" y="412"/>
                      <a:pt x="774" y="412"/>
                      <a:pt x="775" y="412"/>
                    </a:cubicBezTo>
                    <a:cubicBezTo>
                      <a:pt x="775" y="412"/>
                      <a:pt x="775" y="411"/>
                      <a:pt x="775" y="412"/>
                    </a:cubicBezTo>
                    <a:cubicBezTo>
                      <a:pt x="775" y="413"/>
                      <a:pt x="775" y="413"/>
                      <a:pt x="774" y="413"/>
                    </a:cubicBezTo>
                    <a:cubicBezTo>
                      <a:pt x="774" y="413"/>
                      <a:pt x="774" y="412"/>
                      <a:pt x="774" y="413"/>
                    </a:cubicBezTo>
                    <a:cubicBezTo>
                      <a:pt x="774" y="413"/>
                      <a:pt x="774" y="413"/>
                      <a:pt x="773" y="413"/>
                    </a:cubicBezTo>
                    <a:cubicBezTo>
                      <a:pt x="773" y="413"/>
                      <a:pt x="773" y="414"/>
                      <a:pt x="773" y="414"/>
                    </a:cubicBezTo>
                    <a:cubicBezTo>
                      <a:pt x="773" y="414"/>
                      <a:pt x="773" y="414"/>
                      <a:pt x="773" y="414"/>
                    </a:cubicBezTo>
                    <a:cubicBezTo>
                      <a:pt x="773" y="414"/>
                      <a:pt x="775" y="413"/>
                      <a:pt x="774" y="414"/>
                    </a:cubicBezTo>
                    <a:cubicBezTo>
                      <a:pt x="774" y="414"/>
                      <a:pt x="773" y="415"/>
                      <a:pt x="773" y="415"/>
                    </a:cubicBezTo>
                    <a:cubicBezTo>
                      <a:pt x="773" y="415"/>
                      <a:pt x="772" y="414"/>
                      <a:pt x="773" y="415"/>
                    </a:cubicBezTo>
                    <a:cubicBezTo>
                      <a:pt x="773" y="416"/>
                      <a:pt x="771" y="416"/>
                      <a:pt x="771" y="416"/>
                    </a:cubicBezTo>
                    <a:cubicBezTo>
                      <a:pt x="771" y="416"/>
                      <a:pt x="771" y="416"/>
                      <a:pt x="772" y="416"/>
                    </a:cubicBezTo>
                    <a:cubicBezTo>
                      <a:pt x="772" y="416"/>
                      <a:pt x="773" y="416"/>
                      <a:pt x="772" y="417"/>
                    </a:cubicBezTo>
                    <a:cubicBezTo>
                      <a:pt x="772" y="417"/>
                      <a:pt x="771" y="418"/>
                      <a:pt x="771" y="418"/>
                    </a:cubicBezTo>
                    <a:cubicBezTo>
                      <a:pt x="770" y="418"/>
                      <a:pt x="771" y="417"/>
                      <a:pt x="771" y="417"/>
                    </a:cubicBezTo>
                    <a:cubicBezTo>
                      <a:pt x="770" y="417"/>
                      <a:pt x="770" y="418"/>
                      <a:pt x="770" y="418"/>
                    </a:cubicBezTo>
                    <a:cubicBezTo>
                      <a:pt x="771" y="419"/>
                      <a:pt x="770" y="418"/>
                      <a:pt x="770" y="418"/>
                    </a:cubicBezTo>
                    <a:cubicBezTo>
                      <a:pt x="770" y="418"/>
                      <a:pt x="770" y="419"/>
                      <a:pt x="770" y="419"/>
                    </a:cubicBezTo>
                    <a:cubicBezTo>
                      <a:pt x="770" y="419"/>
                      <a:pt x="771" y="418"/>
                      <a:pt x="771" y="418"/>
                    </a:cubicBezTo>
                    <a:cubicBezTo>
                      <a:pt x="771" y="419"/>
                      <a:pt x="771" y="419"/>
                      <a:pt x="770" y="419"/>
                    </a:cubicBezTo>
                    <a:cubicBezTo>
                      <a:pt x="770" y="419"/>
                      <a:pt x="770" y="419"/>
                      <a:pt x="770" y="419"/>
                    </a:cubicBezTo>
                    <a:cubicBezTo>
                      <a:pt x="770" y="419"/>
                      <a:pt x="770" y="420"/>
                      <a:pt x="770" y="420"/>
                    </a:cubicBezTo>
                    <a:cubicBezTo>
                      <a:pt x="770" y="420"/>
                      <a:pt x="769" y="420"/>
                      <a:pt x="770" y="420"/>
                    </a:cubicBezTo>
                    <a:cubicBezTo>
                      <a:pt x="770" y="420"/>
                      <a:pt x="769" y="421"/>
                      <a:pt x="769" y="421"/>
                    </a:cubicBezTo>
                    <a:cubicBezTo>
                      <a:pt x="769" y="422"/>
                      <a:pt x="769" y="422"/>
                      <a:pt x="769" y="423"/>
                    </a:cubicBezTo>
                    <a:cubicBezTo>
                      <a:pt x="769" y="423"/>
                      <a:pt x="770" y="423"/>
                      <a:pt x="769" y="423"/>
                    </a:cubicBezTo>
                    <a:cubicBezTo>
                      <a:pt x="769" y="424"/>
                      <a:pt x="769" y="424"/>
                      <a:pt x="769" y="425"/>
                    </a:cubicBezTo>
                    <a:cubicBezTo>
                      <a:pt x="769" y="425"/>
                      <a:pt x="769" y="424"/>
                      <a:pt x="768" y="424"/>
                    </a:cubicBezTo>
                    <a:cubicBezTo>
                      <a:pt x="768" y="424"/>
                      <a:pt x="768" y="424"/>
                      <a:pt x="768" y="425"/>
                    </a:cubicBezTo>
                    <a:cubicBezTo>
                      <a:pt x="769" y="425"/>
                      <a:pt x="769" y="426"/>
                      <a:pt x="769" y="426"/>
                    </a:cubicBezTo>
                    <a:cubicBezTo>
                      <a:pt x="769" y="427"/>
                      <a:pt x="768" y="427"/>
                      <a:pt x="769" y="428"/>
                    </a:cubicBezTo>
                    <a:cubicBezTo>
                      <a:pt x="769" y="430"/>
                      <a:pt x="768" y="431"/>
                      <a:pt x="768" y="433"/>
                    </a:cubicBezTo>
                    <a:cubicBezTo>
                      <a:pt x="769" y="434"/>
                      <a:pt x="769" y="436"/>
                      <a:pt x="769" y="437"/>
                    </a:cubicBezTo>
                    <a:cubicBezTo>
                      <a:pt x="769" y="441"/>
                      <a:pt x="771" y="443"/>
                      <a:pt x="772" y="446"/>
                    </a:cubicBezTo>
                    <a:cubicBezTo>
                      <a:pt x="772" y="447"/>
                      <a:pt x="772" y="448"/>
                      <a:pt x="771" y="448"/>
                    </a:cubicBezTo>
                    <a:cubicBezTo>
                      <a:pt x="771" y="449"/>
                      <a:pt x="771" y="449"/>
                      <a:pt x="771" y="450"/>
                    </a:cubicBezTo>
                    <a:cubicBezTo>
                      <a:pt x="771" y="451"/>
                      <a:pt x="771" y="451"/>
                      <a:pt x="771" y="452"/>
                    </a:cubicBezTo>
                    <a:cubicBezTo>
                      <a:pt x="771" y="453"/>
                      <a:pt x="771" y="453"/>
                      <a:pt x="771" y="454"/>
                    </a:cubicBezTo>
                    <a:cubicBezTo>
                      <a:pt x="771" y="453"/>
                      <a:pt x="770" y="451"/>
                      <a:pt x="771" y="450"/>
                    </a:cubicBezTo>
                    <a:cubicBezTo>
                      <a:pt x="771" y="449"/>
                      <a:pt x="771" y="448"/>
                      <a:pt x="772" y="447"/>
                    </a:cubicBezTo>
                    <a:cubicBezTo>
                      <a:pt x="772" y="445"/>
                      <a:pt x="770" y="447"/>
                      <a:pt x="770" y="446"/>
                    </a:cubicBezTo>
                    <a:cubicBezTo>
                      <a:pt x="770" y="445"/>
                      <a:pt x="770" y="445"/>
                      <a:pt x="770" y="445"/>
                    </a:cubicBezTo>
                    <a:cubicBezTo>
                      <a:pt x="771" y="444"/>
                      <a:pt x="770" y="444"/>
                      <a:pt x="770" y="444"/>
                    </a:cubicBezTo>
                    <a:cubicBezTo>
                      <a:pt x="769" y="447"/>
                      <a:pt x="770" y="450"/>
                      <a:pt x="771" y="453"/>
                    </a:cubicBezTo>
                    <a:cubicBezTo>
                      <a:pt x="771" y="455"/>
                      <a:pt x="771" y="456"/>
                      <a:pt x="771" y="458"/>
                    </a:cubicBezTo>
                    <a:cubicBezTo>
                      <a:pt x="772" y="459"/>
                      <a:pt x="772" y="460"/>
                      <a:pt x="772" y="462"/>
                    </a:cubicBezTo>
                    <a:cubicBezTo>
                      <a:pt x="772" y="461"/>
                      <a:pt x="771" y="461"/>
                      <a:pt x="771" y="461"/>
                    </a:cubicBezTo>
                    <a:cubicBezTo>
                      <a:pt x="771" y="461"/>
                      <a:pt x="772" y="461"/>
                      <a:pt x="772" y="462"/>
                    </a:cubicBezTo>
                    <a:cubicBezTo>
                      <a:pt x="772" y="462"/>
                      <a:pt x="772" y="462"/>
                      <a:pt x="772" y="462"/>
                    </a:cubicBezTo>
                    <a:cubicBezTo>
                      <a:pt x="772" y="463"/>
                      <a:pt x="773" y="463"/>
                      <a:pt x="773" y="464"/>
                    </a:cubicBezTo>
                    <a:cubicBezTo>
                      <a:pt x="772" y="464"/>
                      <a:pt x="772" y="464"/>
                      <a:pt x="772" y="464"/>
                    </a:cubicBezTo>
                    <a:cubicBezTo>
                      <a:pt x="772" y="464"/>
                      <a:pt x="773" y="465"/>
                      <a:pt x="773" y="465"/>
                    </a:cubicBezTo>
                    <a:cubicBezTo>
                      <a:pt x="773" y="465"/>
                      <a:pt x="773" y="466"/>
                      <a:pt x="772" y="467"/>
                    </a:cubicBezTo>
                    <a:cubicBezTo>
                      <a:pt x="772" y="468"/>
                      <a:pt x="772" y="469"/>
                      <a:pt x="772" y="470"/>
                    </a:cubicBezTo>
                    <a:cubicBezTo>
                      <a:pt x="771" y="471"/>
                      <a:pt x="771" y="473"/>
                      <a:pt x="770" y="474"/>
                    </a:cubicBezTo>
                    <a:cubicBezTo>
                      <a:pt x="770" y="475"/>
                      <a:pt x="770" y="476"/>
                      <a:pt x="770" y="477"/>
                    </a:cubicBezTo>
                    <a:cubicBezTo>
                      <a:pt x="770" y="477"/>
                      <a:pt x="770" y="476"/>
                      <a:pt x="770" y="476"/>
                    </a:cubicBezTo>
                    <a:cubicBezTo>
                      <a:pt x="770" y="475"/>
                      <a:pt x="769" y="477"/>
                      <a:pt x="769" y="477"/>
                    </a:cubicBezTo>
                    <a:cubicBezTo>
                      <a:pt x="769" y="477"/>
                      <a:pt x="768" y="478"/>
                      <a:pt x="768" y="478"/>
                    </a:cubicBezTo>
                    <a:cubicBezTo>
                      <a:pt x="768" y="479"/>
                      <a:pt x="768" y="479"/>
                      <a:pt x="767" y="480"/>
                    </a:cubicBezTo>
                    <a:cubicBezTo>
                      <a:pt x="767" y="480"/>
                      <a:pt x="767" y="481"/>
                      <a:pt x="767" y="481"/>
                    </a:cubicBezTo>
                    <a:cubicBezTo>
                      <a:pt x="767" y="481"/>
                      <a:pt x="767" y="481"/>
                      <a:pt x="767" y="482"/>
                    </a:cubicBezTo>
                    <a:cubicBezTo>
                      <a:pt x="766" y="482"/>
                      <a:pt x="765" y="483"/>
                      <a:pt x="766" y="483"/>
                    </a:cubicBezTo>
                    <a:cubicBezTo>
                      <a:pt x="766" y="483"/>
                      <a:pt x="766" y="483"/>
                      <a:pt x="765" y="483"/>
                    </a:cubicBezTo>
                    <a:cubicBezTo>
                      <a:pt x="765" y="483"/>
                      <a:pt x="766" y="483"/>
                      <a:pt x="765" y="484"/>
                    </a:cubicBezTo>
                    <a:cubicBezTo>
                      <a:pt x="765" y="483"/>
                      <a:pt x="765" y="483"/>
                      <a:pt x="765" y="483"/>
                    </a:cubicBezTo>
                    <a:cubicBezTo>
                      <a:pt x="764" y="483"/>
                      <a:pt x="763" y="484"/>
                      <a:pt x="762" y="484"/>
                    </a:cubicBezTo>
                    <a:cubicBezTo>
                      <a:pt x="761" y="483"/>
                      <a:pt x="760" y="485"/>
                      <a:pt x="759" y="484"/>
                    </a:cubicBezTo>
                    <a:cubicBezTo>
                      <a:pt x="758" y="483"/>
                      <a:pt x="759" y="482"/>
                      <a:pt x="759" y="482"/>
                    </a:cubicBezTo>
                    <a:cubicBezTo>
                      <a:pt x="759" y="482"/>
                      <a:pt x="760" y="483"/>
                      <a:pt x="760" y="483"/>
                    </a:cubicBezTo>
                    <a:cubicBezTo>
                      <a:pt x="760" y="483"/>
                      <a:pt x="761" y="483"/>
                      <a:pt x="761" y="483"/>
                    </a:cubicBezTo>
                    <a:cubicBezTo>
                      <a:pt x="761" y="483"/>
                      <a:pt x="761" y="482"/>
                      <a:pt x="761" y="482"/>
                    </a:cubicBezTo>
                    <a:cubicBezTo>
                      <a:pt x="760" y="482"/>
                      <a:pt x="760" y="482"/>
                      <a:pt x="759" y="481"/>
                    </a:cubicBezTo>
                    <a:cubicBezTo>
                      <a:pt x="759" y="480"/>
                      <a:pt x="759" y="480"/>
                      <a:pt x="759" y="479"/>
                    </a:cubicBezTo>
                    <a:cubicBezTo>
                      <a:pt x="759" y="479"/>
                      <a:pt x="759" y="478"/>
                      <a:pt x="758" y="478"/>
                    </a:cubicBezTo>
                    <a:cubicBezTo>
                      <a:pt x="758" y="477"/>
                      <a:pt x="758" y="478"/>
                      <a:pt x="758" y="477"/>
                    </a:cubicBezTo>
                    <a:cubicBezTo>
                      <a:pt x="758" y="477"/>
                      <a:pt x="758" y="477"/>
                      <a:pt x="758" y="476"/>
                    </a:cubicBezTo>
                    <a:cubicBezTo>
                      <a:pt x="758" y="476"/>
                      <a:pt x="756" y="475"/>
                      <a:pt x="756" y="476"/>
                    </a:cubicBezTo>
                    <a:cubicBezTo>
                      <a:pt x="756" y="475"/>
                      <a:pt x="755" y="476"/>
                      <a:pt x="755" y="476"/>
                    </a:cubicBezTo>
                    <a:cubicBezTo>
                      <a:pt x="755" y="476"/>
                      <a:pt x="755" y="475"/>
                      <a:pt x="755" y="475"/>
                    </a:cubicBezTo>
                    <a:cubicBezTo>
                      <a:pt x="755" y="475"/>
                      <a:pt x="756" y="475"/>
                      <a:pt x="756" y="475"/>
                    </a:cubicBezTo>
                    <a:cubicBezTo>
                      <a:pt x="755" y="475"/>
                      <a:pt x="755" y="475"/>
                      <a:pt x="755" y="474"/>
                    </a:cubicBezTo>
                    <a:cubicBezTo>
                      <a:pt x="755" y="474"/>
                      <a:pt x="755" y="474"/>
                      <a:pt x="755" y="473"/>
                    </a:cubicBezTo>
                    <a:cubicBezTo>
                      <a:pt x="754" y="474"/>
                      <a:pt x="755" y="472"/>
                      <a:pt x="755" y="472"/>
                    </a:cubicBezTo>
                    <a:cubicBezTo>
                      <a:pt x="755" y="472"/>
                      <a:pt x="755" y="472"/>
                      <a:pt x="755" y="471"/>
                    </a:cubicBezTo>
                    <a:cubicBezTo>
                      <a:pt x="755" y="471"/>
                      <a:pt x="755" y="471"/>
                      <a:pt x="755" y="471"/>
                    </a:cubicBezTo>
                    <a:cubicBezTo>
                      <a:pt x="755" y="471"/>
                      <a:pt x="755" y="471"/>
                      <a:pt x="755" y="470"/>
                    </a:cubicBezTo>
                    <a:cubicBezTo>
                      <a:pt x="755" y="470"/>
                      <a:pt x="755" y="470"/>
                      <a:pt x="755" y="469"/>
                    </a:cubicBezTo>
                    <a:cubicBezTo>
                      <a:pt x="755" y="470"/>
                      <a:pt x="753" y="469"/>
                      <a:pt x="754" y="469"/>
                    </a:cubicBezTo>
                    <a:cubicBezTo>
                      <a:pt x="754" y="469"/>
                      <a:pt x="754" y="468"/>
                      <a:pt x="755" y="468"/>
                    </a:cubicBezTo>
                    <a:cubicBezTo>
                      <a:pt x="755" y="467"/>
                      <a:pt x="756" y="467"/>
                      <a:pt x="756" y="467"/>
                    </a:cubicBezTo>
                    <a:cubicBezTo>
                      <a:pt x="755" y="467"/>
                      <a:pt x="755" y="468"/>
                      <a:pt x="754" y="468"/>
                    </a:cubicBezTo>
                    <a:cubicBezTo>
                      <a:pt x="754" y="469"/>
                      <a:pt x="753" y="469"/>
                      <a:pt x="753" y="468"/>
                    </a:cubicBezTo>
                    <a:cubicBezTo>
                      <a:pt x="753" y="468"/>
                      <a:pt x="753" y="468"/>
                      <a:pt x="753" y="467"/>
                    </a:cubicBezTo>
                    <a:cubicBezTo>
                      <a:pt x="753" y="467"/>
                      <a:pt x="754" y="465"/>
                      <a:pt x="754" y="465"/>
                    </a:cubicBezTo>
                    <a:cubicBezTo>
                      <a:pt x="753" y="464"/>
                      <a:pt x="755" y="464"/>
                      <a:pt x="755" y="464"/>
                    </a:cubicBezTo>
                    <a:cubicBezTo>
                      <a:pt x="755" y="464"/>
                      <a:pt x="754" y="464"/>
                      <a:pt x="753" y="464"/>
                    </a:cubicBezTo>
                    <a:cubicBezTo>
                      <a:pt x="753" y="464"/>
                      <a:pt x="753" y="464"/>
                      <a:pt x="753" y="464"/>
                    </a:cubicBezTo>
                    <a:cubicBezTo>
                      <a:pt x="753" y="464"/>
                      <a:pt x="752" y="463"/>
                      <a:pt x="752" y="463"/>
                    </a:cubicBezTo>
                    <a:cubicBezTo>
                      <a:pt x="752" y="464"/>
                      <a:pt x="753" y="465"/>
                      <a:pt x="753" y="466"/>
                    </a:cubicBezTo>
                    <a:cubicBezTo>
                      <a:pt x="753" y="466"/>
                      <a:pt x="753" y="466"/>
                      <a:pt x="753" y="466"/>
                    </a:cubicBezTo>
                    <a:cubicBezTo>
                      <a:pt x="751" y="466"/>
                      <a:pt x="752" y="464"/>
                      <a:pt x="751" y="464"/>
                    </a:cubicBezTo>
                    <a:cubicBezTo>
                      <a:pt x="751" y="464"/>
                      <a:pt x="751" y="464"/>
                      <a:pt x="751" y="465"/>
                    </a:cubicBezTo>
                    <a:cubicBezTo>
                      <a:pt x="751" y="464"/>
                      <a:pt x="751" y="463"/>
                      <a:pt x="750" y="462"/>
                    </a:cubicBezTo>
                    <a:cubicBezTo>
                      <a:pt x="750" y="461"/>
                      <a:pt x="750" y="461"/>
                      <a:pt x="750" y="461"/>
                    </a:cubicBezTo>
                    <a:cubicBezTo>
                      <a:pt x="750" y="461"/>
                      <a:pt x="750" y="461"/>
                      <a:pt x="750" y="461"/>
                    </a:cubicBezTo>
                    <a:cubicBezTo>
                      <a:pt x="750" y="460"/>
                      <a:pt x="750" y="460"/>
                      <a:pt x="750" y="460"/>
                    </a:cubicBezTo>
                    <a:cubicBezTo>
                      <a:pt x="750" y="460"/>
                      <a:pt x="750" y="459"/>
                      <a:pt x="750" y="459"/>
                    </a:cubicBezTo>
                    <a:cubicBezTo>
                      <a:pt x="750" y="458"/>
                      <a:pt x="749" y="459"/>
                      <a:pt x="749" y="458"/>
                    </a:cubicBezTo>
                    <a:cubicBezTo>
                      <a:pt x="749" y="458"/>
                      <a:pt x="749" y="458"/>
                      <a:pt x="749" y="458"/>
                    </a:cubicBezTo>
                    <a:cubicBezTo>
                      <a:pt x="749" y="458"/>
                      <a:pt x="750" y="458"/>
                      <a:pt x="750" y="458"/>
                    </a:cubicBezTo>
                    <a:cubicBezTo>
                      <a:pt x="749" y="458"/>
                      <a:pt x="750" y="458"/>
                      <a:pt x="750" y="458"/>
                    </a:cubicBezTo>
                    <a:cubicBezTo>
                      <a:pt x="750" y="458"/>
                      <a:pt x="750" y="458"/>
                      <a:pt x="750" y="458"/>
                    </a:cubicBezTo>
                    <a:cubicBezTo>
                      <a:pt x="750" y="458"/>
                      <a:pt x="751" y="458"/>
                      <a:pt x="750" y="457"/>
                    </a:cubicBezTo>
                    <a:cubicBezTo>
                      <a:pt x="750" y="457"/>
                      <a:pt x="750" y="457"/>
                      <a:pt x="750" y="458"/>
                    </a:cubicBezTo>
                    <a:cubicBezTo>
                      <a:pt x="750" y="457"/>
                      <a:pt x="751" y="457"/>
                      <a:pt x="751" y="457"/>
                    </a:cubicBezTo>
                    <a:cubicBezTo>
                      <a:pt x="751" y="456"/>
                      <a:pt x="752" y="456"/>
                      <a:pt x="752" y="455"/>
                    </a:cubicBezTo>
                    <a:cubicBezTo>
                      <a:pt x="753" y="455"/>
                      <a:pt x="753" y="455"/>
                      <a:pt x="753" y="454"/>
                    </a:cubicBezTo>
                    <a:cubicBezTo>
                      <a:pt x="753" y="454"/>
                      <a:pt x="753" y="453"/>
                      <a:pt x="752" y="453"/>
                    </a:cubicBezTo>
                    <a:cubicBezTo>
                      <a:pt x="752" y="453"/>
                      <a:pt x="752" y="454"/>
                      <a:pt x="752" y="454"/>
                    </a:cubicBezTo>
                    <a:cubicBezTo>
                      <a:pt x="752" y="455"/>
                      <a:pt x="752" y="455"/>
                      <a:pt x="752" y="454"/>
                    </a:cubicBezTo>
                    <a:cubicBezTo>
                      <a:pt x="752" y="454"/>
                      <a:pt x="752" y="453"/>
                      <a:pt x="751" y="453"/>
                    </a:cubicBezTo>
                    <a:cubicBezTo>
                      <a:pt x="752" y="453"/>
                      <a:pt x="751" y="452"/>
                      <a:pt x="751" y="452"/>
                    </a:cubicBezTo>
                    <a:cubicBezTo>
                      <a:pt x="751" y="453"/>
                      <a:pt x="750" y="453"/>
                      <a:pt x="751" y="453"/>
                    </a:cubicBezTo>
                    <a:cubicBezTo>
                      <a:pt x="751" y="453"/>
                      <a:pt x="750" y="453"/>
                      <a:pt x="750" y="453"/>
                    </a:cubicBezTo>
                    <a:cubicBezTo>
                      <a:pt x="750" y="454"/>
                      <a:pt x="751" y="454"/>
                      <a:pt x="751" y="454"/>
                    </a:cubicBezTo>
                    <a:cubicBezTo>
                      <a:pt x="751" y="454"/>
                      <a:pt x="751" y="455"/>
                      <a:pt x="750" y="456"/>
                    </a:cubicBezTo>
                    <a:cubicBezTo>
                      <a:pt x="750" y="456"/>
                      <a:pt x="749" y="455"/>
                      <a:pt x="749" y="455"/>
                    </a:cubicBezTo>
                    <a:cubicBezTo>
                      <a:pt x="749" y="455"/>
                      <a:pt x="750" y="456"/>
                      <a:pt x="749" y="456"/>
                    </a:cubicBezTo>
                    <a:cubicBezTo>
                      <a:pt x="749" y="456"/>
                      <a:pt x="749" y="455"/>
                      <a:pt x="749" y="455"/>
                    </a:cubicBezTo>
                    <a:cubicBezTo>
                      <a:pt x="748" y="454"/>
                      <a:pt x="749" y="454"/>
                      <a:pt x="749" y="453"/>
                    </a:cubicBezTo>
                    <a:cubicBezTo>
                      <a:pt x="749" y="453"/>
                      <a:pt x="749" y="454"/>
                      <a:pt x="749" y="454"/>
                    </a:cubicBezTo>
                    <a:cubicBezTo>
                      <a:pt x="750" y="453"/>
                      <a:pt x="750" y="452"/>
                      <a:pt x="750" y="451"/>
                    </a:cubicBezTo>
                    <a:cubicBezTo>
                      <a:pt x="750" y="451"/>
                      <a:pt x="751" y="449"/>
                      <a:pt x="751" y="449"/>
                    </a:cubicBezTo>
                    <a:cubicBezTo>
                      <a:pt x="751" y="448"/>
                      <a:pt x="752" y="447"/>
                      <a:pt x="752" y="446"/>
                    </a:cubicBezTo>
                    <a:cubicBezTo>
                      <a:pt x="753" y="445"/>
                      <a:pt x="753" y="445"/>
                      <a:pt x="753" y="444"/>
                    </a:cubicBezTo>
                    <a:cubicBezTo>
                      <a:pt x="753" y="444"/>
                      <a:pt x="753" y="443"/>
                      <a:pt x="753" y="444"/>
                    </a:cubicBezTo>
                    <a:cubicBezTo>
                      <a:pt x="753" y="444"/>
                      <a:pt x="753" y="443"/>
                      <a:pt x="753" y="443"/>
                    </a:cubicBezTo>
                    <a:cubicBezTo>
                      <a:pt x="753" y="442"/>
                      <a:pt x="753" y="442"/>
                      <a:pt x="753" y="442"/>
                    </a:cubicBezTo>
                    <a:cubicBezTo>
                      <a:pt x="752" y="442"/>
                      <a:pt x="753" y="441"/>
                      <a:pt x="753" y="441"/>
                    </a:cubicBezTo>
                    <a:cubicBezTo>
                      <a:pt x="752" y="440"/>
                      <a:pt x="752" y="440"/>
                      <a:pt x="752" y="440"/>
                    </a:cubicBezTo>
                    <a:cubicBezTo>
                      <a:pt x="752" y="440"/>
                      <a:pt x="750" y="440"/>
                      <a:pt x="750" y="439"/>
                    </a:cubicBezTo>
                    <a:cubicBezTo>
                      <a:pt x="750" y="439"/>
                      <a:pt x="749" y="438"/>
                      <a:pt x="749" y="438"/>
                    </a:cubicBezTo>
                    <a:cubicBezTo>
                      <a:pt x="749" y="437"/>
                      <a:pt x="749" y="437"/>
                      <a:pt x="749" y="437"/>
                    </a:cubicBezTo>
                    <a:cubicBezTo>
                      <a:pt x="748" y="436"/>
                      <a:pt x="748" y="436"/>
                      <a:pt x="748" y="435"/>
                    </a:cubicBezTo>
                    <a:cubicBezTo>
                      <a:pt x="748" y="434"/>
                      <a:pt x="748" y="434"/>
                      <a:pt x="747" y="434"/>
                    </a:cubicBezTo>
                    <a:cubicBezTo>
                      <a:pt x="747" y="433"/>
                      <a:pt x="747" y="433"/>
                      <a:pt x="747" y="433"/>
                    </a:cubicBezTo>
                    <a:cubicBezTo>
                      <a:pt x="747" y="431"/>
                      <a:pt x="745" y="431"/>
                      <a:pt x="745" y="430"/>
                    </a:cubicBezTo>
                    <a:cubicBezTo>
                      <a:pt x="744" y="430"/>
                      <a:pt x="743" y="429"/>
                      <a:pt x="742" y="430"/>
                    </a:cubicBezTo>
                    <a:cubicBezTo>
                      <a:pt x="742" y="430"/>
                      <a:pt x="742" y="429"/>
                      <a:pt x="741" y="430"/>
                    </a:cubicBezTo>
                    <a:cubicBezTo>
                      <a:pt x="741" y="430"/>
                      <a:pt x="741" y="430"/>
                      <a:pt x="741" y="430"/>
                    </a:cubicBezTo>
                    <a:cubicBezTo>
                      <a:pt x="741" y="430"/>
                      <a:pt x="739" y="430"/>
                      <a:pt x="740" y="431"/>
                    </a:cubicBezTo>
                    <a:cubicBezTo>
                      <a:pt x="740" y="431"/>
                      <a:pt x="739" y="430"/>
                      <a:pt x="739" y="431"/>
                    </a:cubicBezTo>
                    <a:cubicBezTo>
                      <a:pt x="739" y="431"/>
                      <a:pt x="741" y="432"/>
                      <a:pt x="740" y="432"/>
                    </a:cubicBezTo>
                    <a:cubicBezTo>
                      <a:pt x="740" y="431"/>
                      <a:pt x="735" y="434"/>
                      <a:pt x="735" y="433"/>
                    </a:cubicBezTo>
                    <a:cubicBezTo>
                      <a:pt x="734" y="433"/>
                      <a:pt x="735" y="433"/>
                      <a:pt x="735" y="433"/>
                    </a:cubicBezTo>
                    <a:cubicBezTo>
                      <a:pt x="735" y="433"/>
                      <a:pt x="734" y="434"/>
                      <a:pt x="733" y="434"/>
                    </a:cubicBezTo>
                    <a:cubicBezTo>
                      <a:pt x="733" y="434"/>
                      <a:pt x="733" y="434"/>
                      <a:pt x="732" y="434"/>
                    </a:cubicBezTo>
                    <a:cubicBezTo>
                      <a:pt x="732" y="434"/>
                      <a:pt x="732" y="434"/>
                      <a:pt x="731" y="434"/>
                    </a:cubicBezTo>
                    <a:cubicBezTo>
                      <a:pt x="731" y="434"/>
                      <a:pt x="730" y="434"/>
                      <a:pt x="730" y="434"/>
                    </a:cubicBezTo>
                    <a:cubicBezTo>
                      <a:pt x="730" y="433"/>
                      <a:pt x="730" y="432"/>
                      <a:pt x="730" y="432"/>
                    </a:cubicBezTo>
                    <a:cubicBezTo>
                      <a:pt x="730" y="433"/>
                      <a:pt x="729" y="434"/>
                      <a:pt x="730" y="434"/>
                    </a:cubicBezTo>
                    <a:cubicBezTo>
                      <a:pt x="730" y="434"/>
                      <a:pt x="731" y="433"/>
                      <a:pt x="731" y="433"/>
                    </a:cubicBezTo>
                    <a:cubicBezTo>
                      <a:pt x="731" y="432"/>
                      <a:pt x="731" y="432"/>
                      <a:pt x="730" y="431"/>
                    </a:cubicBezTo>
                    <a:cubicBezTo>
                      <a:pt x="730" y="431"/>
                      <a:pt x="729" y="431"/>
                      <a:pt x="729" y="430"/>
                    </a:cubicBezTo>
                    <a:cubicBezTo>
                      <a:pt x="729" y="430"/>
                      <a:pt x="729" y="431"/>
                      <a:pt x="730" y="431"/>
                    </a:cubicBezTo>
                    <a:cubicBezTo>
                      <a:pt x="729" y="431"/>
                      <a:pt x="728" y="429"/>
                      <a:pt x="729" y="429"/>
                    </a:cubicBezTo>
                    <a:cubicBezTo>
                      <a:pt x="729" y="429"/>
                      <a:pt x="730" y="431"/>
                      <a:pt x="731" y="430"/>
                    </a:cubicBezTo>
                    <a:cubicBezTo>
                      <a:pt x="731" y="430"/>
                      <a:pt x="730" y="430"/>
                      <a:pt x="730" y="430"/>
                    </a:cubicBezTo>
                    <a:cubicBezTo>
                      <a:pt x="730" y="430"/>
                      <a:pt x="730" y="430"/>
                      <a:pt x="730" y="429"/>
                    </a:cubicBezTo>
                    <a:cubicBezTo>
                      <a:pt x="730" y="430"/>
                      <a:pt x="730" y="429"/>
                      <a:pt x="730" y="429"/>
                    </a:cubicBezTo>
                    <a:cubicBezTo>
                      <a:pt x="729" y="429"/>
                      <a:pt x="728" y="429"/>
                      <a:pt x="728" y="428"/>
                    </a:cubicBezTo>
                    <a:cubicBezTo>
                      <a:pt x="728" y="428"/>
                      <a:pt x="730" y="427"/>
                      <a:pt x="730" y="427"/>
                    </a:cubicBezTo>
                    <a:cubicBezTo>
                      <a:pt x="729" y="427"/>
                      <a:pt x="729" y="428"/>
                      <a:pt x="729" y="427"/>
                    </a:cubicBezTo>
                    <a:cubicBezTo>
                      <a:pt x="729" y="427"/>
                      <a:pt x="728" y="428"/>
                      <a:pt x="728" y="428"/>
                    </a:cubicBezTo>
                    <a:cubicBezTo>
                      <a:pt x="728" y="428"/>
                      <a:pt x="728" y="427"/>
                      <a:pt x="728" y="427"/>
                    </a:cubicBezTo>
                    <a:cubicBezTo>
                      <a:pt x="728" y="427"/>
                      <a:pt x="727" y="427"/>
                      <a:pt x="727" y="428"/>
                    </a:cubicBezTo>
                    <a:cubicBezTo>
                      <a:pt x="727" y="428"/>
                      <a:pt x="728" y="428"/>
                      <a:pt x="728" y="428"/>
                    </a:cubicBezTo>
                    <a:cubicBezTo>
                      <a:pt x="728" y="428"/>
                      <a:pt x="727" y="429"/>
                      <a:pt x="728" y="429"/>
                    </a:cubicBezTo>
                    <a:cubicBezTo>
                      <a:pt x="728" y="429"/>
                      <a:pt x="728" y="429"/>
                      <a:pt x="727" y="429"/>
                    </a:cubicBezTo>
                    <a:cubicBezTo>
                      <a:pt x="726" y="428"/>
                      <a:pt x="725" y="427"/>
                      <a:pt x="724" y="427"/>
                    </a:cubicBezTo>
                    <a:cubicBezTo>
                      <a:pt x="724" y="427"/>
                      <a:pt x="721" y="426"/>
                      <a:pt x="721" y="426"/>
                    </a:cubicBezTo>
                    <a:cubicBezTo>
                      <a:pt x="721" y="426"/>
                      <a:pt x="723" y="426"/>
                      <a:pt x="723" y="426"/>
                    </a:cubicBezTo>
                    <a:cubicBezTo>
                      <a:pt x="723" y="426"/>
                      <a:pt x="724" y="426"/>
                      <a:pt x="724" y="426"/>
                    </a:cubicBezTo>
                    <a:cubicBezTo>
                      <a:pt x="724" y="426"/>
                      <a:pt x="724" y="426"/>
                      <a:pt x="724" y="426"/>
                    </a:cubicBezTo>
                    <a:cubicBezTo>
                      <a:pt x="724" y="426"/>
                      <a:pt x="724" y="427"/>
                      <a:pt x="725" y="426"/>
                    </a:cubicBezTo>
                    <a:cubicBezTo>
                      <a:pt x="725" y="426"/>
                      <a:pt x="725" y="426"/>
                      <a:pt x="725" y="425"/>
                    </a:cubicBezTo>
                    <a:cubicBezTo>
                      <a:pt x="725" y="425"/>
                      <a:pt x="724" y="426"/>
                      <a:pt x="724" y="425"/>
                    </a:cubicBezTo>
                    <a:cubicBezTo>
                      <a:pt x="724" y="425"/>
                      <a:pt x="723" y="425"/>
                      <a:pt x="722" y="425"/>
                    </a:cubicBezTo>
                    <a:cubicBezTo>
                      <a:pt x="722" y="426"/>
                      <a:pt x="722" y="425"/>
                      <a:pt x="722" y="425"/>
                    </a:cubicBezTo>
                    <a:cubicBezTo>
                      <a:pt x="722" y="425"/>
                      <a:pt x="722" y="425"/>
                      <a:pt x="722" y="425"/>
                    </a:cubicBezTo>
                    <a:cubicBezTo>
                      <a:pt x="722" y="426"/>
                      <a:pt x="720" y="426"/>
                      <a:pt x="719" y="426"/>
                    </a:cubicBezTo>
                    <a:cubicBezTo>
                      <a:pt x="718" y="426"/>
                      <a:pt x="716" y="427"/>
                      <a:pt x="715" y="427"/>
                    </a:cubicBezTo>
                    <a:cubicBezTo>
                      <a:pt x="715" y="426"/>
                      <a:pt x="716" y="426"/>
                      <a:pt x="717" y="426"/>
                    </a:cubicBezTo>
                    <a:cubicBezTo>
                      <a:pt x="717" y="426"/>
                      <a:pt x="718" y="426"/>
                      <a:pt x="718" y="426"/>
                    </a:cubicBezTo>
                    <a:cubicBezTo>
                      <a:pt x="718" y="425"/>
                      <a:pt x="716" y="425"/>
                      <a:pt x="717" y="424"/>
                    </a:cubicBezTo>
                    <a:cubicBezTo>
                      <a:pt x="717" y="424"/>
                      <a:pt x="717" y="424"/>
                      <a:pt x="717" y="424"/>
                    </a:cubicBezTo>
                    <a:cubicBezTo>
                      <a:pt x="717" y="424"/>
                      <a:pt x="716" y="426"/>
                      <a:pt x="716" y="426"/>
                    </a:cubicBezTo>
                    <a:cubicBezTo>
                      <a:pt x="716" y="425"/>
                      <a:pt x="716" y="425"/>
                      <a:pt x="716" y="424"/>
                    </a:cubicBezTo>
                    <a:cubicBezTo>
                      <a:pt x="716" y="424"/>
                      <a:pt x="715" y="426"/>
                      <a:pt x="715" y="426"/>
                    </a:cubicBezTo>
                    <a:cubicBezTo>
                      <a:pt x="714" y="427"/>
                      <a:pt x="713" y="427"/>
                      <a:pt x="711" y="427"/>
                    </a:cubicBezTo>
                    <a:cubicBezTo>
                      <a:pt x="712" y="427"/>
                      <a:pt x="712" y="427"/>
                      <a:pt x="712" y="427"/>
                    </a:cubicBezTo>
                    <a:cubicBezTo>
                      <a:pt x="712" y="427"/>
                      <a:pt x="712" y="427"/>
                      <a:pt x="713" y="427"/>
                    </a:cubicBezTo>
                    <a:cubicBezTo>
                      <a:pt x="713" y="426"/>
                      <a:pt x="713" y="426"/>
                      <a:pt x="713" y="426"/>
                    </a:cubicBezTo>
                    <a:cubicBezTo>
                      <a:pt x="714" y="426"/>
                      <a:pt x="713" y="426"/>
                      <a:pt x="713" y="425"/>
                    </a:cubicBezTo>
                    <a:cubicBezTo>
                      <a:pt x="713" y="426"/>
                      <a:pt x="712" y="426"/>
                      <a:pt x="712" y="427"/>
                    </a:cubicBezTo>
                    <a:cubicBezTo>
                      <a:pt x="712" y="427"/>
                      <a:pt x="711" y="427"/>
                      <a:pt x="711" y="427"/>
                    </a:cubicBezTo>
                    <a:cubicBezTo>
                      <a:pt x="711" y="427"/>
                      <a:pt x="711" y="427"/>
                      <a:pt x="711" y="427"/>
                    </a:cubicBezTo>
                    <a:cubicBezTo>
                      <a:pt x="711" y="427"/>
                      <a:pt x="711" y="427"/>
                      <a:pt x="711" y="427"/>
                    </a:cubicBezTo>
                    <a:cubicBezTo>
                      <a:pt x="711" y="428"/>
                      <a:pt x="709" y="428"/>
                      <a:pt x="708" y="428"/>
                    </a:cubicBezTo>
                    <a:cubicBezTo>
                      <a:pt x="708" y="428"/>
                      <a:pt x="707" y="428"/>
                      <a:pt x="707" y="428"/>
                    </a:cubicBezTo>
                    <a:cubicBezTo>
                      <a:pt x="707" y="428"/>
                      <a:pt x="708" y="428"/>
                      <a:pt x="709" y="428"/>
                    </a:cubicBezTo>
                    <a:cubicBezTo>
                      <a:pt x="709" y="428"/>
                      <a:pt x="709" y="427"/>
                      <a:pt x="709" y="427"/>
                    </a:cubicBezTo>
                    <a:cubicBezTo>
                      <a:pt x="709" y="427"/>
                      <a:pt x="709" y="427"/>
                      <a:pt x="709" y="426"/>
                    </a:cubicBezTo>
                    <a:cubicBezTo>
                      <a:pt x="709" y="426"/>
                      <a:pt x="709" y="426"/>
                      <a:pt x="709" y="426"/>
                    </a:cubicBezTo>
                    <a:cubicBezTo>
                      <a:pt x="709" y="426"/>
                      <a:pt x="708" y="427"/>
                      <a:pt x="708" y="426"/>
                    </a:cubicBezTo>
                    <a:cubicBezTo>
                      <a:pt x="708" y="425"/>
                      <a:pt x="708" y="425"/>
                      <a:pt x="709" y="424"/>
                    </a:cubicBezTo>
                    <a:cubicBezTo>
                      <a:pt x="709" y="424"/>
                      <a:pt x="709" y="423"/>
                      <a:pt x="708" y="423"/>
                    </a:cubicBezTo>
                    <a:cubicBezTo>
                      <a:pt x="708" y="423"/>
                      <a:pt x="708" y="423"/>
                      <a:pt x="708" y="423"/>
                    </a:cubicBezTo>
                    <a:cubicBezTo>
                      <a:pt x="708" y="424"/>
                      <a:pt x="707" y="425"/>
                      <a:pt x="707" y="426"/>
                    </a:cubicBezTo>
                    <a:cubicBezTo>
                      <a:pt x="706" y="426"/>
                      <a:pt x="706" y="427"/>
                      <a:pt x="706" y="427"/>
                    </a:cubicBezTo>
                    <a:cubicBezTo>
                      <a:pt x="706" y="427"/>
                      <a:pt x="705" y="427"/>
                      <a:pt x="705" y="427"/>
                    </a:cubicBezTo>
                    <a:cubicBezTo>
                      <a:pt x="705" y="426"/>
                      <a:pt x="704" y="426"/>
                      <a:pt x="704" y="426"/>
                    </a:cubicBezTo>
                    <a:cubicBezTo>
                      <a:pt x="704" y="426"/>
                      <a:pt x="704" y="426"/>
                      <a:pt x="703" y="427"/>
                    </a:cubicBezTo>
                    <a:cubicBezTo>
                      <a:pt x="703" y="427"/>
                      <a:pt x="702" y="427"/>
                      <a:pt x="702" y="426"/>
                    </a:cubicBezTo>
                    <a:cubicBezTo>
                      <a:pt x="701" y="428"/>
                      <a:pt x="699" y="425"/>
                      <a:pt x="698" y="426"/>
                    </a:cubicBezTo>
                    <a:cubicBezTo>
                      <a:pt x="698" y="426"/>
                      <a:pt x="699" y="426"/>
                      <a:pt x="699" y="426"/>
                    </a:cubicBezTo>
                    <a:cubicBezTo>
                      <a:pt x="699" y="426"/>
                      <a:pt x="698" y="426"/>
                      <a:pt x="697" y="427"/>
                    </a:cubicBezTo>
                    <a:cubicBezTo>
                      <a:pt x="697" y="427"/>
                      <a:pt x="696" y="427"/>
                      <a:pt x="695" y="427"/>
                    </a:cubicBezTo>
                    <a:cubicBezTo>
                      <a:pt x="695" y="427"/>
                      <a:pt x="696" y="426"/>
                      <a:pt x="695" y="426"/>
                    </a:cubicBezTo>
                    <a:cubicBezTo>
                      <a:pt x="695" y="426"/>
                      <a:pt x="695" y="427"/>
                      <a:pt x="695" y="427"/>
                    </a:cubicBezTo>
                    <a:cubicBezTo>
                      <a:pt x="694" y="428"/>
                      <a:pt x="692" y="429"/>
                      <a:pt x="692" y="429"/>
                    </a:cubicBezTo>
                    <a:cubicBezTo>
                      <a:pt x="692" y="429"/>
                      <a:pt x="691" y="429"/>
                      <a:pt x="691" y="429"/>
                    </a:cubicBezTo>
                    <a:cubicBezTo>
                      <a:pt x="691" y="429"/>
                      <a:pt x="690" y="429"/>
                      <a:pt x="690" y="428"/>
                    </a:cubicBezTo>
                    <a:cubicBezTo>
                      <a:pt x="690" y="428"/>
                      <a:pt x="691" y="428"/>
                      <a:pt x="691" y="428"/>
                    </a:cubicBezTo>
                    <a:cubicBezTo>
                      <a:pt x="690" y="428"/>
                      <a:pt x="690" y="428"/>
                      <a:pt x="690" y="428"/>
                    </a:cubicBezTo>
                    <a:cubicBezTo>
                      <a:pt x="690" y="428"/>
                      <a:pt x="689" y="428"/>
                      <a:pt x="689" y="428"/>
                    </a:cubicBezTo>
                    <a:cubicBezTo>
                      <a:pt x="688" y="428"/>
                      <a:pt x="689" y="427"/>
                      <a:pt x="688" y="427"/>
                    </a:cubicBezTo>
                    <a:cubicBezTo>
                      <a:pt x="688" y="427"/>
                      <a:pt x="688" y="426"/>
                      <a:pt x="687" y="426"/>
                    </a:cubicBezTo>
                    <a:cubicBezTo>
                      <a:pt x="686" y="426"/>
                      <a:pt x="686" y="427"/>
                      <a:pt x="685" y="428"/>
                    </a:cubicBezTo>
                    <a:cubicBezTo>
                      <a:pt x="685" y="428"/>
                      <a:pt x="683" y="429"/>
                      <a:pt x="684" y="430"/>
                    </a:cubicBezTo>
                    <a:cubicBezTo>
                      <a:pt x="685" y="430"/>
                      <a:pt x="686" y="430"/>
                      <a:pt x="687" y="430"/>
                    </a:cubicBezTo>
                    <a:cubicBezTo>
                      <a:pt x="687" y="430"/>
                      <a:pt x="688" y="430"/>
                      <a:pt x="688" y="429"/>
                    </a:cubicBezTo>
                    <a:cubicBezTo>
                      <a:pt x="689" y="429"/>
                      <a:pt x="689" y="429"/>
                      <a:pt x="689" y="429"/>
                    </a:cubicBezTo>
                    <a:cubicBezTo>
                      <a:pt x="689" y="429"/>
                      <a:pt x="689" y="430"/>
                      <a:pt x="690" y="429"/>
                    </a:cubicBezTo>
                    <a:cubicBezTo>
                      <a:pt x="690" y="429"/>
                      <a:pt x="690" y="429"/>
                      <a:pt x="690" y="429"/>
                    </a:cubicBezTo>
                    <a:cubicBezTo>
                      <a:pt x="690" y="429"/>
                      <a:pt x="690" y="429"/>
                      <a:pt x="690" y="429"/>
                    </a:cubicBezTo>
                    <a:cubicBezTo>
                      <a:pt x="690" y="429"/>
                      <a:pt x="691" y="429"/>
                      <a:pt x="691" y="429"/>
                    </a:cubicBezTo>
                    <a:cubicBezTo>
                      <a:pt x="691" y="429"/>
                      <a:pt x="691" y="429"/>
                      <a:pt x="691" y="429"/>
                    </a:cubicBezTo>
                    <a:cubicBezTo>
                      <a:pt x="691" y="429"/>
                      <a:pt x="691" y="429"/>
                      <a:pt x="691" y="429"/>
                    </a:cubicBezTo>
                    <a:cubicBezTo>
                      <a:pt x="691" y="430"/>
                      <a:pt x="690" y="430"/>
                      <a:pt x="690" y="430"/>
                    </a:cubicBezTo>
                    <a:cubicBezTo>
                      <a:pt x="690" y="430"/>
                      <a:pt x="690" y="430"/>
                      <a:pt x="690" y="430"/>
                    </a:cubicBezTo>
                    <a:cubicBezTo>
                      <a:pt x="689" y="430"/>
                      <a:pt x="689" y="430"/>
                      <a:pt x="689" y="431"/>
                    </a:cubicBezTo>
                    <a:cubicBezTo>
                      <a:pt x="689" y="431"/>
                      <a:pt x="690" y="431"/>
                      <a:pt x="690" y="431"/>
                    </a:cubicBezTo>
                    <a:cubicBezTo>
                      <a:pt x="690" y="431"/>
                      <a:pt x="690" y="432"/>
                      <a:pt x="690" y="432"/>
                    </a:cubicBezTo>
                    <a:cubicBezTo>
                      <a:pt x="691" y="432"/>
                      <a:pt x="691" y="431"/>
                      <a:pt x="692" y="431"/>
                    </a:cubicBezTo>
                    <a:cubicBezTo>
                      <a:pt x="692" y="430"/>
                      <a:pt x="693" y="430"/>
                      <a:pt x="693" y="430"/>
                    </a:cubicBezTo>
                    <a:cubicBezTo>
                      <a:pt x="693" y="430"/>
                      <a:pt x="693" y="430"/>
                      <a:pt x="693" y="430"/>
                    </a:cubicBezTo>
                    <a:cubicBezTo>
                      <a:pt x="693" y="430"/>
                      <a:pt x="693" y="430"/>
                      <a:pt x="694" y="430"/>
                    </a:cubicBezTo>
                    <a:cubicBezTo>
                      <a:pt x="693" y="430"/>
                      <a:pt x="693" y="431"/>
                      <a:pt x="693" y="431"/>
                    </a:cubicBezTo>
                    <a:cubicBezTo>
                      <a:pt x="693" y="431"/>
                      <a:pt x="693" y="431"/>
                      <a:pt x="693" y="431"/>
                    </a:cubicBezTo>
                    <a:cubicBezTo>
                      <a:pt x="693" y="431"/>
                      <a:pt x="693" y="432"/>
                      <a:pt x="693" y="431"/>
                    </a:cubicBezTo>
                    <a:cubicBezTo>
                      <a:pt x="692" y="432"/>
                      <a:pt x="694" y="431"/>
                      <a:pt x="693" y="432"/>
                    </a:cubicBezTo>
                    <a:cubicBezTo>
                      <a:pt x="693" y="432"/>
                      <a:pt x="693" y="432"/>
                      <a:pt x="693" y="432"/>
                    </a:cubicBezTo>
                    <a:cubicBezTo>
                      <a:pt x="693" y="432"/>
                      <a:pt x="693" y="432"/>
                      <a:pt x="693" y="433"/>
                    </a:cubicBezTo>
                    <a:cubicBezTo>
                      <a:pt x="693" y="433"/>
                      <a:pt x="692" y="433"/>
                      <a:pt x="692" y="433"/>
                    </a:cubicBezTo>
                    <a:cubicBezTo>
                      <a:pt x="692" y="433"/>
                      <a:pt x="692" y="433"/>
                      <a:pt x="692" y="432"/>
                    </a:cubicBezTo>
                    <a:cubicBezTo>
                      <a:pt x="692" y="432"/>
                      <a:pt x="691" y="433"/>
                      <a:pt x="691" y="433"/>
                    </a:cubicBezTo>
                    <a:cubicBezTo>
                      <a:pt x="691" y="433"/>
                      <a:pt x="690" y="433"/>
                      <a:pt x="690" y="434"/>
                    </a:cubicBezTo>
                    <a:cubicBezTo>
                      <a:pt x="690" y="434"/>
                      <a:pt x="691" y="434"/>
                      <a:pt x="691" y="434"/>
                    </a:cubicBezTo>
                    <a:cubicBezTo>
                      <a:pt x="691" y="434"/>
                      <a:pt x="692" y="434"/>
                      <a:pt x="691" y="435"/>
                    </a:cubicBezTo>
                    <a:cubicBezTo>
                      <a:pt x="691" y="435"/>
                      <a:pt x="690" y="434"/>
                      <a:pt x="689" y="434"/>
                    </a:cubicBezTo>
                    <a:cubicBezTo>
                      <a:pt x="690" y="434"/>
                      <a:pt x="690" y="435"/>
                      <a:pt x="690" y="435"/>
                    </a:cubicBezTo>
                    <a:cubicBezTo>
                      <a:pt x="690" y="435"/>
                      <a:pt x="689" y="435"/>
                      <a:pt x="689" y="435"/>
                    </a:cubicBezTo>
                    <a:cubicBezTo>
                      <a:pt x="689" y="435"/>
                      <a:pt x="689" y="436"/>
                      <a:pt x="689" y="436"/>
                    </a:cubicBezTo>
                    <a:cubicBezTo>
                      <a:pt x="690" y="436"/>
                      <a:pt x="690" y="436"/>
                      <a:pt x="690" y="436"/>
                    </a:cubicBezTo>
                    <a:cubicBezTo>
                      <a:pt x="690" y="436"/>
                      <a:pt x="690" y="437"/>
                      <a:pt x="690" y="437"/>
                    </a:cubicBezTo>
                    <a:cubicBezTo>
                      <a:pt x="690" y="437"/>
                      <a:pt x="690" y="437"/>
                      <a:pt x="691" y="437"/>
                    </a:cubicBezTo>
                    <a:cubicBezTo>
                      <a:pt x="691" y="437"/>
                      <a:pt x="692" y="437"/>
                      <a:pt x="692" y="437"/>
                    </a:cubicBezTo>
                    <a:cubicBezTo>
                      <a:pt x="692" y="437"/>
                      <a:pt x="692" y="437"/>
                      <a:pt x="692" y="437"/>
                    </a:cubicBezTo>
                    <a:cubicBezTo>
                      <a:pt x="691" y="438"/>
                      <a:pt x="693" y="437"/>
                      <a:pt x="693" y="438"/>
                    </a:cubicBezTo>
                    <a:cubicBezTo>
                      <a:pt x="693" y="438"/>
                      <a:pt x="693" y="438"/>
                      <a:pt x="693" y="438"/>
                    </a:cubicBezTo>
                    <a:cubicBezTo>
                      <a:pt x="693" y="438"/>
                      <a:pt x="694" y="439"/>
                      <a:pt x="693" y="439"/>
                    </a:cubicBezTo>
                    <a:cubicBezTo>
                      <a:pt x="694" y="439"/>
                      <a:pt x="694" y="439"/>
                      <a:pt x="694" y="439"/>
                    </a:cubicBezTo>
                    <a:cubicBezTo>
                      <a:pt x="694" y="439"/>
                      <a:pt x="694" y="439"/>
                      <a:pt x="694" y="439"/>
                    </a:cubicBezTo>
                    <a:cubicBezTo>
                      <a:pt x="694" y="439"/>
                      <a:pt x="694" y="440"/>
                      <a:pt x="694" y="440"/>
                    </a:cubicBezTo>
                    <a:cubicBezTo>
                      <a:pt x="694" y="440"/>
                      <a:pt x="693" y="439"/>
                      <a:pt x="693" y="440"/>
                    </a:cubicBezTo>
                    <a:cubicBezTo>
                      <a:pt x="693" y="440"/>
                      <a:pt x="694" y="440"/>
                      <a:pt x="694" y="440"/>
                    </a:cubicBezTo>
                    <a:cubicBezTo>
                      <a:pt x="694" y="440"/>
                      <a:pt x="694" y="440"/>
                      <a:pt x="694" y="441"/>
                    </a:cubicBezTo>
                    <a:cubicBezTo>
                      <a:pt x="694" y="441"/>
                      <a:pt x="694" y="440"/>
                      <a:pt x="694" y="440"/>
                    </a:cubicBezTo>
                    <a:cubicBezTo>
                      <a:pt x="694" y="440"/>
                      <a:pt x="693" y="441"/>
                      <a:pt x="693" y="441"/>
                    </a:cubicBezTo>
                    <a:cubicBezTo>
                      <a:pt x="693" y="440"/>
                      <a:pt x="693" y="442"/>
                      <a:pt x="693" y="442"/>
                    </a:cubicBezTo>
                    <a:cubicBezTo>
                      <a:pt x="692" y="442"/>
                      <a:pt x="692" y="441"/>
                      <a:pt x="692" y="440"/>
                    </a:cubicBezTo>
                    <a:cubicBezTo>
                      <a:pt x="692" y="441"/>
                      <a:pt x="691" y="441"/>
                      <a:pt x="691" y="442"/>
                    </a:cubicBezTo>
                    <a:cubicBezTo>
                      <a:pt x="691" y="442"/>
                      <a:pt x="690" y="443"/>
                      <a:pt x="690" y="442"/>
                    </a:cubicBezTo>
                    <a:cubicBezTo>
                      <a:pt x="690" y="441"/>
                      <a:pt x="692" y="441"/>
                      <a:pt x="692" y="440"/>
                    </a:cubicBezTo>
                    <a:cubicBezTo>
                      <a:pt x="692" y="440"/>
                      <a:pt x="692" y="440"/>
                      <a:pt x="692" y="440"/>
                    </a:cubicBezTo>
                    <a:cubicBezTo>
                      <a:pt x="692" y="440"/>
                      <a:pt x="692" y="440"/>
                      <a:pt x="691" y="440"/>
                    </a:cubicBezTo>
                    <a:cubicBezTo>
                      <a:pt x="691" y="440"/>
                      <a:pt x="691" y="440"/>
                      <a:pt x="691" y="441"/>
                    </a:cubicBezTo>
                    <a:cubicBezTo>
                      <a:pt x="691" y="441"/>
                      <a:pt x="691" y="441"/>
                      <a:pt x="691" y="440"/>
                    </a:cubicBezTo>
                    <a:cubicBezTo>
                      <a:pt x="691" y="440"/>
                      <a:pt x="690" y="439"/>
                      <a:pt x="690" y="439"/>
                    </a:cubicBezTo>
                    <a:cubicBezTo>
                      <a:pt x="690" y="439"/>
                      <a:pt x="690" y="439"/>
                      <a:pt x="690" y="439"/>
                    </a:cubicBezTo>
                    <a:cubicBezTo>
                      <a:pt x="690" y="439"/>
                      <a:pt x="689" y="439"/>
                      <a:pt x="689" y="439"/>
                    </a:cubicBezTo>
                    <a:cubicBezTo>
                      <a:pt x="689" y="439"/>
                      <a:pt x="689" y="438"/>
                      <a:pt x="689" y="438"/>
                    </a:cubicBezTo>
                    <a:cubicBezTo>
                      <a:pt x="689" y="438"/>
                      <a:pt x="688" y="438"/>
                      <a:pt x="688" y="438"/>
                    </a:cubicBezTo>
                    <a:cubicBezTo>
                      <a:pt x="688" y="438"/>
                      <a:pt x="688" y="438"/>
                      <a:pt x="687" y="438"/>
                    </a:cubicBezTo>
                    <a:cubicBezTo>
                      <a:pt x="687" y="438"/>
                      <a:pt x="688" y="437"/>
                      <a:pt x="688" y="437"/>
                    </a:cubicBezTo>
                    <a:cubicBezTo>
                      <a:pt x="688" y="437"/>
                      <a:pt x="688" y="437"/>
                      <a:pt x="688" y="437"/>
                    </a:cubicBezTo>
                    <a:cubicBezTo>
                      <a:pt x="688" y="437"/>
                      <a:pt x="688" y="437"/>
                      <a:pt x="687" y="437"/>
                    </a:cubicBezTo>
                    <a:cubicBezTo>
                      <a:pt x="687" y="437"/>
                      <a:pt x="688" y="436"/>
                      <a:pt x="687" y="437"/>
                    </a:cubicBezTo>
                    <a:cubicBezTo>
                      <a:pt x="687" y="437"/>
                      <a:pt x="687" y="437"/>
                      <a:pt x="686" y="436"/>
                    </a:cubicBezTo>
                    <a:cubicBezTo>
                      <a:pt x="686" y="436"/>
                      <a:pt x="685" y="435"/>
                      <a:pt x="685" y="436"/>
                    </a:cubicBezTo>
                    <a:cubicBezTo>
                      <a:pt x="684" y="435"/>
                      <a:pt x="685" y="436"/>
                      <a:pt x="684" y="436"/>
                    </a:cubicBezTo>
                    <a:cubicBezTo>
                      <a:pt x="684" y="436"/>
                      <a:pt x="686" y="437"/>
                      <a:pt x="685" y="437"/>
                    </a:cubicBezTo>
                    <a:cubicBezTo>
                      <a:pt x="685" y="437"/>
                      <a:pt x="685" y="438"/>
                      <a:pt x="685" y="438"/>
                    </a:cubicBezTo>
                    <a:cubicBezTo>
                      <a:pt x="685" y="438"/>
                      <a:pt x="685" y="438"/>
                      <a:pt x="685" y="438"/>
                    </a:cubicBezTo>
                    <a:cubicBezTo>
                      <a:pt x="685" y="438"/>
                      <a:pt x="685" y="438"/>
                      <a:pt x="685" y="438"/>
                    </a:cubicBezTo>
                    <a:cubicBezTo>
                      <a:pt x="685" y="438"/>
                      <a:pt x="684" y="439"/>
                      <a:pt x="685" y="439"/>
                    </a:cubicBezTo>
                    <a:cubicBezTo>
                      <a:pt x="685" y="440"/>
                      <a:pt x="683" y="441"/>
                      <a:pt x="683" y="441"/>
                    </a:cubicBezTo>
                    <a:cubicBezTo>
                      <a:pt x="683" y="440"/>
                      <a:pt x="683" y="439"/>
                      <a:pt x="683" y="439"/>
                    </a:cubicBezTo>
                    <a:cubicBezTo>
                      <a:pt x="683" y="439"/>
                      <a:pt x="682" y="439"/>
                      <a:pt x="682" y="438"/>
                    </a:cubicBezTo>
                    <a:cubicBezTo>
                      <a:pt x="682" y="438"/>
                      <a:pt x="682" y="439"/>
                      <a:pt x="682" y="439"/>
                    </a:cubicBezTo>
                    <a:cubicBezTo>
                      <a:pt x="682" y="439"/>
                      <a:pt x="682" y="437"/>
                      <a:pt x="681" y="438"/>
                    </a:cubicBezTo>
                    <a:cubicBezTo>
                      <a:pt x="681" y="438"/>
                      <a:pt x="680" y="438"/>
                      <a:pt x="680" y="438"/>
                    </a:cubicBezTo>
                    <a:cubicBezTo>
                      <a:pt x="680" y="439"/>
                      <a:pt x="679" y="439"/>
                      <a:pt x="679" y="440"/>
                    </a:cubicBezTo>
                    <a:cubicBezTo>
                      <a:pt x="679" y="440"/>
                      <a:pt x="678" y="440"/>
                      <a:pt x="678" y="440"/>
                    </a:cubicBezTo>
                    <a:cubicBezTo>
                      <a:pt x="678" y="440"/>
                      <a:pt x="678" y="440"/>
                      <a:pt x="678" y="440"/>
                    </a:cubicBezTo>
                    <a:cubicBezTo>
                      <a:pt x="678" y="440"/>
                      <a:pt x="677" y="440"/>
                      <a:pt x="677" y="440"/>
                    </a:cubicBezTo>
                    <a:cubicBezTo>
                      <a:pt x="677" y="440"/>
                      <a:pt x="677" y="440"/>
                      <a:pt x="677" y="440"/>
                    </a:cubicBezTo>
                    <a:cubicBezTo>
                      <a:pt x="676" y="440"/>
                      <a:pt x="676" y="440"/>
                      <a:pt x="676" y="440"/>
                    </a:cubicBezTo>
                    <a:cubicBezTo>
                      <a:pt x="676" y="439"/>
                      <a:pt x="676" y="439"/>
                      <a:pt x="675" y="439"/>
                    </a:cubicBezTo>
                    <a:cubicBezTo>
                      <a:pt x="674" y="440"/>
                      <a:pt x="675" y="438"/>
                      <a:pt x="675" y="438"/>
                    </a:cubicBezTo>
                    <a:cubicBezTo>
                      <a:pt x="675" y="437"/>
                      <a:pt x="674" y="437"/>
                      <a:pt x="674" y="436"/>
                    </a:cubicBezTo>
                    <a:cubicBezTo>
                      <a:pt x="674" y="436"/>
                      <a:pt x="675" y="435"/>
                      <a:pt x="675" y="435"/>
                    </a:cubicBezTo>
                    <a:cubicBezTo>
                      <a:pt x="675" y="435"/>
                      <a:pt x="674" y="436"/>
                      <a:pt x="674" y="436"/>
                    </a:cubicBezTo>
                    <a:cubicBezTo>
                      <a:pt x="674" y="436"/>
                      <a:pt x="673" y="436"/>
                      <a:pt x="673" y="436"/>
                    </a:cubicBezTo>
                    <a:cubicBezTo>
                      <a:pt x="673" y="436"/>
                      <a:pt x="673" y="436"/>
                      <a:pt x="673" y="436"/>
                    </a:cubicBezTo>
                    <a:cubicBezTo>
                      <a:pt x="673" y="435"/>
                      <a:pt x="672" y="436"/>
                      <a:pt x="672" y="436"/>
                    </a:cubicBezTo>
                    <a:cubicBezTo>
                      <a:pt x="672" y="435"/>
                      <a:pt x="672" y="434"/>
                      <a:pt x="671" y="435"/>
                    </a:cubicBezTo>
                    <a:cubicBezTo>
                      <a:pt x="671" y="435"/>
                      <a:pt x="672" y="434"/>
                      <a:pt x="671" y="434"/>
                    </a:cubicBezTo>
                    <a:cubicBezTo>
                      <a:pt x="671" y="433"/>
                      <a:pt x="670" y="434"/>
                      <a:pt x="669" y="434"/>
                    </a:cubicBezTo>
                    <a:cubicBezTo>
                      <a:pt x="669" y="433"/>
                      <a:pt x="671" y="432"/>
                      <a:pt x="670" y="432"/>
                    </a:cubicBezTo>
                    <a:cubicBezTo>
                      <a:pt x="668" y="432"/>
                      <a:pt x="668" y="433"/>
                      <a:pt x="667" y="433"/>
                    </a:cubicBezTo>
                    <a:cubicBezTo>
                      <a:pt x="667" y="433"/>
                      <a:pt x="666" y="433"/>
                      <a:pt x="666" y="433"/>
                    </a:cubicBezTo>
                    <a:cubicBezTo>
                      <a:pt x="666" y="434"/>
                      <a:pt x="667" y="434"/>
                      <a:pt x="667" y="434"/>
                    </a:cubicBezTo>
                    <a:cubicBezTo>
                      <a:pt x="666" y="434"/>
                      <a:pt x="667" y="435"/>
                      <a:pt x="667" y="435"/>
                    </a:cubicBezTo>
                    <a:cubicBezTo>
                      <a:pt x="667" y="435"/>
                      <a:pt x="667" y="435"/>
                      <a:pt x="667" y="435"/>
                    </a:cubicBezTo>
                    <a:cubicBezTo>
                      <a:pt x="667" y="435"/>
                      <a:pt x="666" y="435"/>
                      <a:pt x="666" y="435"/>
                    </a:cubicBezTo>
                    <a:cubicBezTo>
                      <a:pt x="665" y="435"/>
                      <a:pt x="665" y="436"/>
                      <a:pt x="664" y="436"/>
                    </a:cubicBezTo>
                    <a:cubicBezTo>
                      <a:pt x="663" y="435"/>
                      <a:pt x="662" y="435"/>
                      <a:pt x="661" y="435"/>
                    </a:cubicBezTo>
                    <a:cubicBezTo>
                      <a:pt x="660" y="435"/>
                      <a:pt x="660" y="434"/>
                      <a:pt x="659" y="434"/>
                    </a:cubicBezTo>
                    <a:cubicBezTo>
                      <a:pt x="658" y="433"/>
                      <a:pt x="656" y="433"/>
                      <a:pt x="656" y="432"/>
                    </a:cubicBezTo>
                    <a:cubicBezTo>
                      <a:pt x="656" y="432"/>
                      <a:pt x="657" y="432"/>
                      <a:pt x="657" y="432"/>
                    </a:cubicBezTo>
                    <a:cubicBezTo>
                      <a:pt x="657" y="432"/>
                      <a:pt x="657" y="431"/>
                      <a:pt x="657" y="431"/>
                    </a:cubicBezTo>
                    <a:cubicBezTo>
                      <a:pt x="657" y="431"/>
                      <a:pt x="657" y="430"/>
                      <a:pt x="657" y="430"/>
                    </a:cubicBezTo>
                    <a:cubicBezTo>
                      <a:pt x="657" y="430"/>
                      <a:pt x="656" y="432"/>
                      <a:pt x="656" y="432"/>
                    </a:cubicBezTo>
                    <a:cubicBezTo>
                      <a:pt x="655" y="432"/>
                      <a:pt x="655" y="432"/>
                      <a:pt x="656" y="432"/>
                    </a:cubicBezTo>
                    <a:cubicBezTo>
                      <a:pt x="656" y="433"/>
                      <a:pt x="652" y="433"/>
                      <a:pt x="652" y="433"/>
                    </a:cubicBezTo>
                    <a:cubicBezTo>
                      <a:pt x="651" y="434"/>
                      <a:pt x="651" y="434"/>
                      <a:pt x="651" y="433"/>
                    </a:cubicBezTo>
                    <a:cubicBezTo>
                      <a:pt x="651" y="432"/>
                      <a:pt x="651" y="433"/>
                      <a:pt x="652" y="432"/>
                    </a:cubicBezTo>
                    <a:cubicBezTo>
                      <a:pt x="652" y="432"/>
                      <a:pt x="653" y="431"/>
                      <a:pt x="652" y="431"/>
                    </a:cubicBezTo>
                    <a:cubicBezTo>
                      <a:pt x="652" y="430"/>
                      <a:pt x="651" y="431"/>
                      <a:pt x="651" y="432"/>
                    </a:cubicBezTo>
                    <a:cubicBezTo>
                      <a:pt x="651" y="432"/>
                      <a:pt x="650" y="432"/>
                      <a:pt x="650" y="432"/>
                    </a:cubicBezTo>
                    <a:cubicBezTo>
                      <a:pt x="650" y="433"/>
                      <a:pt x="650" y="433"/>
                      <a:pt x="650" y="434"/>
                    </a:cubicBezTo>
                    <a:cubicBezTo>
                      <a:pt x="651" y="434"/>
                      <a:pt x="650" y="434"/>
                      <a:pt x="650" y="434"/>
                    </a:cubicBezTo>
                    <a:cubicBezTo>
                      <a:pt x="647" y="434"/>
                      <a:pt x="645" y="435"/>
                      <a:pt x="643" y="436"/>
                    </a:cubicBezTo>
                    <a:cubicBezTo>
                      <a:pt x="643" y="436"/>
                      <a:pt x="642" y="437"/>
                      <a:pt x="642" y="437"/>
                    </a:cubicBezTo>
                    <a:cubicBezTo>
                      <a:pt x="642" y="437"/>
                      <a:pt x="642" y="438"/>
                      <a:pt x="641" y="438"/>
                    </a:cubicBezTo>
                    <a:cubicBezTo>
                      <a:pt x="641" y="438"/>
                      <a:pt x="642" y="437"/>
                      <a:pt x="642" y="437"/>
                    </a:cubicBezTo>
                    <a:cubicBezTo>
                      <a:pt x="642" y="437"/>
                      <a:pt x="643" y="436"/>
                      <a:pt x="643" y="436"/>
                    </a:cubicBezTo>
                    <a:cubicBezTo>
                      <a:pt x="643" y="436"/>
                      <a:pt x="644" y="436"/>
                      <a:pt x="644" y="435"/>
                    </a:cubicBezTo>
                    <a:cubicBezTo>
                      <a:pt x="644" y="436"/>
                      <a:pt x="643" y="435"/>
                      <a:pt x="643" y="435"/>
                    </a:cubicBezTo>
                    <a:cubicBezTo>
                      <a:pt x="643" y="435"/>
                      <a:pt x="641" y="436"/>
                      <a:pt x="641" y="436"/>
                    </a:cubicBezTo>
                    <a:cubicBezTo>
                      <a:pt x="641" y="435"/>
                      <a:pt x="642" y="435"/>
                      <a:pt x="642" y="435"/>
                    </a:cubicBezTo>
                    <a:cubicBezTo>
                      <a:pt x="643" y="434"/>
                      <a:pt x="643" y="434"/>
                      <a:pt x="643" y="434"/>
                    </a:cubicBezTo>
                    <a:cubicBezTo>
                      <a:pt x="643" y="433"/>
                      <a:pt x="642" y="433"/>
                      <a:pt x="642" y="433"/>
                    </a:cubicBezTo>
                    <a:cubicBezTo>
                      <a:pt x="642" y="434"/>
                      <a:pt x="641" y="434"/>
                      <a:pt x="641" y="434"/>
                    </a:cubicBezTo>
                    <a:cubicBezTo>
                      <a:pt x="641" y="434"/>
                      <a:pt x="639" y="433"/>
                      <a:pt x="639" y="434"/>
                    </a:cubicBezTo>
                    <a:cubicBezTo>
                      <a:pt x="640" y="434"/>
                      <a:pt x="640" y="434"/>
                      <a:pt x="640" y="434"/>
                    </a:cubicBezTo>
                    <a:cubicBezTo>
                      <a:pt x="640" y="434"/>
                      <a:pt x="640" y="434"/>
                      <a:pt x="640" y="435"/>
                    </a:cubicBezTo>
                    <a:cubicBezTo>
                      <a:pt x="640" y="435"/>
                      <a:pt x="640" y="435"/>
                      <a:pt x="640" y="435"/>
                    </a:cubicBezTo>
                    <a:cubicBezTo>
                      <a:pt x="639" y="436"/>
                      <a:pt x="639" y="436"/>
                      <a:pt x="640" y="436"/>
                    </a:cubicBezTo>
                    <a:cubicBezTo>
                      <a:pt x="640" y="436"/>
                      <a:pt x="639" y="437"/>
                      <a:pt x="640" y="437"/>
                    </a:cubicBezTo>
                    <a:cubicBezTo>
                      <a:pt x="640" y="437"/>
                      <a:pt x="640" y="437"/>
                      <a:pt x="640" y="437"/>
                    </a:cubicBezTo>
                    <a:cubicBezTo>
                      <a:pt x="640" y="437"/>
                      <a:pt x="640" y="437"/>
                      <a:pt x="641" y="437"/>
                    </a:cubicBezTo>
                    <a:cubicBezTo>
                      <a:pt x="640" y="437"/>
                      <a:pt x="640" y="438"/>
                      <a:pt x="640" y="438"/>
                    </a:cubicBezTo>
                    <a:cubicBezTo>
                      <a:pt x="639" y="438"/>
                      <a:pt x="639" y="438"/>
                      <a:pt x="639" y="439"/>
                    </a:cubicBezTo>
                    <a:cubicBezTo>
                      <a:pt x="638" y="439"/>
                      <a:pt x="638" y="440"/>
                      <a:pt x="638" y="440"/>
                    </a:cubicBezTo>
                    <a:cubicBezTo>
                      <a:pt x="637" y="440"/>
                      <a:pt x="637" y="439"/>
                      <a:pt x="637" y="439"/>
                    </a:cubicBezTo>
                    <a:cubicBezTo>
                      <a:pt x="637" y="441"/>
                      <a:pt x="636" y="441"/>
                      <a:pt x="635" y="442"/>
                    </a:cubicBezTo>
                    <a:cubicBezTo>
                      <a:pt x="635" y="442"/>
                      <a:pt x="635" y="442"/>
                      <a:pt x="634" y="443"/>
                    </a:cubicBezTo>
                    <a:cubicBezTo>
                      <a:pt x="634" y="443"/>
                      <a:pt x="633" y="444"/>
                      <a:pt x="632" y="444"/>
                    </a:cubicBezTo>
                    <a:cubicBezTo>
                      <a:pt x="631" y="445"/>
                      <a:pt x="629" y="444"/>
                      <a:pt x="628" y="445"/>
                    </a:cubicBezTo>
                    <a:cubicBezTo>
                      <a:pt x="628" y="446"/>
                      <a:pt x="628" y="446"/>
                      <a:pt x="629" y="445"/>
                    </a:cubicBezTo>
                    <a:cubicBezTo>
                      <a:pt x="629" y="445"/>
                      <a:pt x="630" y="445"/>
                      <a:pt x="630" y="445"/>
                    </a:cubicBezTo>
                    <a:cubicBezTo>
                      <a:pt x="630" y="445"/>
                      <a:pt x="629" y="446"/>
                      <a:pt x="628" y="446"/>
                    </a:cubicBezTo>
                    <a:cubicBezTo>
                      <a:pt x="627" y="446"/>
                      <a:pt x="626" y="447"/>
                      <a:pt x="625" y="447"/>
                    </a:cubicBezTo>
                    <a:cubicBezTo>
                      <a:pt x="626" y="446"/>
                      <a:pt x="627" y="446"/>
                      <a:pt x="628" y="446"/>
                    </a:cubicBezTo>
                    <a:cubicBezTo>
                      <a:pt x="628" y="445"/>
                      <a:pt x="626" y="446"/>
                      <a:pt x="625" y="446"/>
                    </a:cubicBezTo>
                    <a:cubicBezTo>
                      <a:pt x="625" y="446"/>
                      <a:pt x="626" y="446"/>
                      <a:pt x="626" y="446"/>
                    </a:cubicBezTo>
                    <a:cubicBezTo>
                      <a:pt x="626" y="446"/>
                      <a:pt x="625" y="446"/>
                      <a:pt x="626" y="445"/>
                    </a:cubicBezTo>
                    <a:cubicBezTo>
                      <a:pt x="626" y="445"/>
                      <a:pt x="626" y="445"/>
                      <a:pt x="626" y="445"/>
                    </a:cubicBezTo>
                    <a:cubicBezTo>
                      <a:pt x="626" y="445"/>
                      <a:pt x="624" y="446"/>
                      <a:pt x="624" y="446"/>
                    </a:cubicBezTo>
                    <a:cubicBezTo>
                      <a:pt x="624" y="445"/>
                      <a:pt x="624" y="445"/>
                      <a:pt x="624" y="445"/>
                    </a:cubicBezTo>
                    <a:cubicBezTo>
                      <a:pt x="624" y="445"/>
                      <a:pt x="624" y="445"/>
                      <a:pt x="624" y="444"/>
                    </a:cubicBezTo>
                    <a:cubicBezTo>
                      <a:pt x="624" y="444"/>
                      <a:pt x="624" y="445"/>
                      <a:pt x="624" y="445"/>
                    </a:cubicBezTo>
                    <a:cubicBezTo>
                      <a:pt x="624" y="445"/>
                      <a:pt x="624" y="445"/>
                      <a:pt x="624" y="446"/>
                    </a:cubicBezTo>
                    <a:cubicBezTo>
                      <a:pt x="624" y="446"/>
                      <a:pt x="624" y="446"/>
                      <a:pt x="624" y="446"/>
                    </a:cubicBezTo>
                    <a:cubicBezTo>
                      <a:pt x="624" y="446"/>
                      <a:pt x="623" y="446"/>
                      <a:pt x="623" y="446"/>
                    </a:cubicBezTo>
                    <a:cubicBezTo>
                      <a:pt x="623" y="446"/>
                      <a:pt x="624" y="446"/>
                      <a:pt x="623" y="446"/>
                    </a:cubicBezTo>
                    <a:cubicBezTo>
                      <a:pt x="623" y="446"/>
                      <a:pt x="623" y="446"/>
                      <a:pt x="623" y="446"/>
                    </a:cubicBezTo>
                    <a:cubicBezTo>
                      <a:pt x="623" y="446"/>
                      <a:pt x="623" y="445"/>
                      <a:pt x="623" y="445"/>
                    </a:cubicBezTo>
                    <a:cubicBezTo>
                      <a:pt x="622" y="445"/>
                      <a:pt x="622" y="444"/>
                      <a:pt x="622" y="445"/>
                    </a:cubicBezTo>
                    <a:cubicBezTo>
                      <a:pt x="621" y="445"/>
                      <a:pt x="622" y="446"/>
                      <a:pt x="622" y="446"/>
                    </a:cubicBezTo>
                    <a:cubicBezTo>
                      <a:pt x="622" y="446"/>
                      <a:pt x="622" y="446"/>
                      <a:pt x="622" y="446"/>
                    </a:cubicBezTo>
                    <a:cubicBezTo>
                      <a:pt x="623" y="447"/>
                      <a:pt x="622" y="447"/>
                      <a:pt x="622" y="447"/>
                    </a:cubicBezTo>
                    <a:cubicBezTo>
                      <a:pt x="622" y="447"/>
                      <a:pt x="624" y="447"/>
                      <a:pt x="623" y="448"/>
                    </a:cubicBezTo>
                    <a:cubicBezTo>
                      <a:pt x="623" y="448"/>
                      <a:pt x="622" y="448"/>
                      <a:pt x="622" y="449"/>
                    </a:cubicBezTo>
                    <a:cubicBezTo>
                      <a:pt x="621" y="449"/>
                      <a:pt x="620" y="449"/>
                      <a:pt x="620" y="449"/>
                    </a:cubicBezTo>
                    <a:cubicBezTo>
                      <a:pt x="620" y="448"/>
                      <a:pt x="620" y="448"/>
                      <a:pt x="620" y="448"/>
                    </a:cubicBezTo>
                    <a:cubicBezTo>
                      <a:pt x="620" y="448"/>
                      <a:pt x="620" y="447"/>
                      <a:pt x="620" y="447"/>
                    </a:cubicBezTo>
                    <a:cubicBezTo>
                      <a:pt x="619" y="448"/>
                      <a:pt x="620" y="448"/>
                      <a:pt x="619" y="448"/>
                    </a:cubicBezTo>
                    <a:cubicBezTo>
                      <a:pt x="619" y="448"/>
                      <a:pt x="619" y="449"/>
                      <a:pt x="619" y="449"/>
                    </a:cubicBezTo>
                    <a:cubicBezTo>
                      <a:pt x="619" y="450"/>
                      <a:pt x="618" y="451"/>
                      <a:pt x="617" y="451"/>
                    </a:cubicBezTo>
                    <a:cubicBezTo>
                      <a:pt x="617" y="451"/>
                      <a:pt x="618" y="450"/>
                      <a:pt x="618" y="450"/>
                    </a:cubicBezTo>
                    <a:cubicBezTo>
                      <a:pt x="618" y="450"/>
                      <a:pt x="617" y="451"/>
                      <a:pt x="617" y="451"/>
                    </a:cubicBezTo>
                    <a:cubicBezTo>
                      <a:pt x="617" y="451"/>
                      <a:pt x="617" y="451"/>
                      <a:pt x="617" y="451"/>
                    </a:cubicBezTo>
                    <a:cubicBezTo>
                      <a:pt x="617" y="451"/>
                      <a:pt x="617" y="451"/>
                      <a:pt x="617" y="450"/>
                    </a:cubicBezTo>
                    <a:cubicBezTo>
                      <a:pt x="617" y="450"/>
                      <a:pt x="616" y="451"/>
                      <a:pt x="616" y="451"/>
                    </a:cubicBezTo>
                    <a:cubicBezTo>
                      <a:pt x="615" y="451"/>
                      <a:pt x="616" y="451"/>
                      <a:pt x="615" y="451"/>
                    </a:cubicBezTo>
                    <a:cubicBezTo>
                      <a:pt x="615" y="451"/>
                      <a:pt x="614" y="452"/>
                      <a:pt x="615" y="452"/>
                    </a:cubicBezTo>
                    <a:cubicBezTo>
                      <a:pt x="615" y="452"/>
                      <a:pt x="615" y="452"/>
                      <a:pt x="615" y="452"/>
                    </a:cubicBezTo>
                    <a:cubicBezTo>
                      <a:pt x="615" y="452"/>
                      <a:pt x="616" y="451"/>
                      <a:pt x="616" y="451"/>
                    </a:cubicBezTo>
                    <a:cubicBezTo>
                      <a:pt x="617" y="452"/>
                      <a:pt x="616" y="452"/>
                      <a:pt x="616" y="453"/>
                    </a:cubicBezTo>
                    <a:cubicBezTo>
                      <a:pt x="615" y="453"/>
                      <a:pt x="614" y="455"/>
                      <a:pt x="614" y="454"/>
                    </a:cubicBezTo>
                    <a:cubicBezTo>
                      <a:pt x="614" y="454"/>
                      <a:pt x="614" y="454"/>
                      <a:pt x="614" y="454"/>
                    </a:cubicBezTo>
                    <a:cubicBezTo>
                      <a:pt x="613" y="454"/>
                      <a:pt x="613" y="454"/>
                      <a:pt x="613" y="454"/>
                    </a:cubicBezTo>
                    <a:cubicBezTo>
                      <a:pt x="613" y="454"/>
                      <a:pt x="612" y="454"/>
                      <a:pt x="612" y="454"/>
                    </a:cubicBezTo>
                    <a:cubicBezTo>
                      <a:pt x="612" y="454"/>
                      <a:pt x="611" y="454"/>
                      <a:pt x="611" y="454"/>
                    </a:cubicBezTo>
                    <a:cubicBezTo>
                      <a:pt x="611" y="455"/>
                      <a:pt x="612" y="454"/>
                      <a:pt x="612" y="454"/>
                    </a:cubicBezTo>
                    <a:cubicBezTo>
                      <a:pt x="612" y="455"/>
                      <a:pt x="612" y="455"/>
                      <a:pt x="613" y="456"/>
                    </a:cubicBezTo>
                    <a:cubicBezTo>
                      <a:pt x="613" y="456"/>
                      <a:pt x="612" y="457"/>
                      <a:pt x="612" y="458"/>
                    </a:cubicBezTo>
                    <a:cubicBezTo>
                      <a:pt x="612" y="458"/>
                      <a:pt x="611" y="459"/>
                      <a:pt x="611" y="460"/>
                    </a:cubicBezTo>
                    <a:cubicBezTo>
                      <a:pt x="610" y="460"/>
                      <a:pt x="609" y="461"/>
                      <a:pt x="609" y="460"/>
                    </a:cubicBezTo>
                    <a:cubicBezTo>
                      <a:pt x="609" y="460"/>
                      <a:pt x="610" y="460"/>
                      <a:pt x="610" y="460"/>
                    </a:cubicBezTo>
                    <a:cubicBezTo>
                      <a:pt x="610" y="460"/>
                      <a:pt x="610" y="459"/>
                      <a:pt x="610" y="459"/>
                    </a:cubicBezTo>
                    <a:cubicBezTo>
                      <a:pt x="610" y="459"/>
                      <a:pt x="609" y="460"/>
                      <a:pt x="609" y="460"/>
                    </a:cubicBezTo>
                    <a:cubicBezTo>
                      <a:pt x="609" y="460"/>
                      <a:pt x="609" y="460"/>
                      <a:pt x="608" y="460"/>
                    </a:cubicBezTo>
                    <a:cubicBezTo>
                      <a:pt x="608" y="460"/>
                      <a:pt x="608" y="459"/>
                      <a:pt x="608" y="459"/>
                    </a:cubicBezTo>
                    <a:cubicBezTo>
                      <a:pt x="608" y="459"/>
                      <a:pt x="608" y="459"/>
                      <a:pt x="608" y="458"/>
                    </a:cubicBezTo>
                    <a:cubicBezTo>
                      <a:pt x="608" y="459"/>
                      <a:pt x="608" y="460"/>
                      <a:pt x="608" y="460"/>
                    </a:cubicBezTo>
                    <a:cubicBezTo>
                      <a:pt x="608" y="460"/>
                      <a:pt x="607" y="460"/>
                      <a:pt x="607" y="460"/>
                    </a:cubicBezTo>
                    <a:cubicBezTo>
                      <a:pt x="607" y="461"/>
                      <a:pt x="608" y="461"/>
                      <a:pt x="608" y="461"/>
                    </a:cubicBezTo>
                    <a:cubicBezTo>
                      <a:pt x="609" y="461"/>
                      <a:pt x="609" y="461"/>
                      <a:pt x="610" y="461"/>
                    </a:cubicBezTo>
                    <a:cubicBezTo>
                      <a:pt x="611" y="460"/>
                      <a:pt x="610" y="462"/>
                      <a:pt x="610" y="462"/>
                    </a:cubicBezTo>
                    <a:cubicBezTo>
                      <a:pt x="610" y="463"/>
                      <a:pt x="609" y="462"/>
                      <a:pt x="609" y="463"/>
                    </a:cubicBezTo>
                    <a:cubicBezTo>
                      <a:pt x="609" y="464"/>
                      <a:pt x="609" y="463"/>
                      <a:pt x="609" y="463"/>
                    </a:cubicBezTo>
                    <a:cubicBezTo>
                      <a:pt x="608" y="464"/>
                      <a:pt x="608" y="464"/>
                      <a:pt x="608" y="465"/>
                    </a:cubicBezTo>
                    <a:cubicBezTo>
                      <a:pt x="608" y="464"/>
                      <a:pt x="609" y="465"/>
                      <a:pt x="609" y="465"/>
                    </a:cubicBezTo>
                    <a:cubicBezTo>
                      <a:pt x="609" y="465"/>
                      <a:pt x="608" y="465"/>
                      <a:pt x="608" y="465"/>
                    </a:cubicBezTo>
                    <a:cubicBezTo>
                      <a:pt x="608" y="465"/>
                      <a:pt x="608" y="465"/>
                      <a:pt x="608" y="465"/>
                    </a:cubicBezTo>
                    <a:cubicBezTo>
                      <a:pt x="609" y="466"/>
                      <a:pt x="608" y="467"/>
                      <a:pt x="608" y="468"/>
                    </a:cubicBezTo>
                    <a:cubicBezTo>
                      <a:pt x="608" y="468"/>
                      <a:pt x="608" y="470"/>
                      <a:pt x="608" y="470"/>
                    </a:cubicBezTo>
                    <a:cubicBezTo>
                      <a:pt x="609" y="470"/>
                      <a:pt x="608" y="471"/>
                      <a:pt x="609" y="471"/>
                    </a:cubicBezTo>
                    <a:cubicBezTo>
                      <a:pt x="609" y="472"/>
                      <a:pt x="609" y="473"/>
                      <a:pt x="609" y="474"/>
                    </a:cubicBezTo>
                    <a:cubicBezTo>
                      <a:pt x="609" y="474"/>
                      <a:pt x="608" y="474"/>
                      <a:pt x="608" y="474"/>
                    </a:cubicBezTo>
                    <a:cubicBezTo>
                      <a:pt x="608" y="474"/>
                      <a:pt x="608" y="474"/>
                      <a:pt x="608" y="475"/>
                    </a:cubicBezTo>
                    <a:cubicBezTo>
                      <a:pt x="608" y="475"/>
                      <a:pt x="609" y="474"/>
                      <a:pt x="609" y="474"/>
                    </a:cubicBezTo>
                    <a:cubicBezTo>
                      <a:pt x="609" y="474"/>
                      <a:pt x="609" y="475"/>
                      <a:pt x="609" y="475"/>
                    </a:cubicBezTo>
                    <a:cubicBezTo>
                      <a:pt x="609" y="474"/>
                      <a:pt x="609" y="474"/>
                      <a:pt x="610" y="474"/>
                    </a:cubicBezTo>
                    <a:cubicBezTo>
                      <a:pt x="610" y="476"/>
                      <a:pt x="608" y="474"/>
                      <a:pt x="608" y="476"/>
                    </a:cubicBezTo>
                    <a:cubicBezTo>
                      <a:pt x="607" y="476"/>
                      <a:pt x="607" y="476"/>
                      <a:pt x="607" y="476"/>
                    </a:cubicBezTo>
                    <a:cubicBezTo>
                      <a:pt x="607" y="476"/>
                      <a:pt x="606" y="475"/>
                      <a:pt x="606" y="475"/>
                    </a:cubicBezTo>
                    <a:cubicBezTo>
                      <a:pt x="605" y="474"/>
                      <a:pt x="605" y="474"/>
                      <a:pt x="604" y="474"/>
                    </a:cubicBezTo>
                    <a:cubicBezTo>
                      <a:pt x="603" y="474"/>
                      <a:pt x="603" y="474"/>
                      <a:pt x="602" y="474"/>
                    </a:cubicBezTo>
                    <a:cubicBezTo>
                      <a:pt x="602" y="474"/>
                      <a:pt x="602" y="474"/>
                      <a:pt x="601" y="474"/>
                    </a:cubicBezTo>
                    <a:cubicBezTo>
                      <a:pt x="601" y="474"/>
                      <a:pt x="601" y="474"/>
                      <a:pt x="601" y="474"/>
                    </a:cubicBezTo>
                    <a:cubicBezTo>
                      <a:pt x="600" y="474"/>
                      <a:pt x="600" y="474"/>
                      <a:pt x="600" y="474"/>
                    </a:cubicBezTo>
                    <a:cubicBezTo>
                      <a:pt x="600" y="474"/>
                      <a:pt x="599" y="473"/>
                      <a:pt x="599" y="473"/>
                    </a:cubicBezTo>
                    <a:cubicBezTo>
                      <a:pt x="599" y="472"/>
                      <a:pt x="596" y="472"/>
                      <a:pt x="596" y="472"/>
                    </a:cubicBezTo>
                    <a:cubicBezTo>
                      <a:pt x="596" y="472"/>
                      <a:pt x="596" y="471"/>
                      <a:pt x="595" y="471"/>
                    </a:cubicBezTo>
                    <a:cubicBezTo>
                      <a:pt x="595" y="470"/>
                      <a:pt x="594" y="471"/>
                      <a:pt x="594" y="470"/>
                    </a:cubicBezTo>
                    <a:cubicBezTo>
                      <a:pt x="593" y="470"/>
                      <a:pt x="594" y="470"/>
                      <a:pt x="593" y="470"/>
                    </a:cubicBezTo>
                    <a:cubicBezTo>
                      <a:pt x="593" y="470"/>
                      <a:pt x="593" y="470"/>
                      <a:pt x="593" y="470"/>
                    </a:cubicBezTo>
                    <a:cubicBezTo>
                      <a:pt x="592" y="470"/>
                      <a:pt x="592" y="469"/>
                      <a:pt x="593" y="469"/>
                    </a:cubicBezTo>
                    <a:cubicBezTo>
                      <a:pt x="593" y="469"/>
                      <a:pt x="592" y="468"/>
                      <a:pt x="592" y="468"/>
                    </a:cubicBezTo>
                    <a:cubicBezTo>
                      <a:pt x="592" y="467"/>
                      <a:pt x="592" y="467"/>
                      <a:pt x="592" y="466"/>
                    </a:cubicBezTo>
                    <a:cubicBezTo>
                      <a:pt x="592" y="465"/>
                      <a:pt x="592" y="465"/>
                      <a:pt x="591" y="464"/>
                    </a:cubicBezTo>
                    <a:cubicBezTo>
                      <a:pt x="591" y="464"/>
                      <a:pt x="591" y="464"/>
                      <a:pt x="591" y="464"/>
                    </a:cubicBezTo>
                    <a:cubicBezTo>
                      <a:pt x="591" y="463"/>
                      <a:pt x="591" y="463"/>
                      <a:pt x="591" y="463"/>
                    </a:cubicBezTo>
                    <a:cubicBezTo>
                      <a:pt x="591" y="462"/>
                      <a:pt x="592" y="461"/>
                      <a:pt x="591" y="460"/>
                    </a:cubicBezTo>
                    <a:cubicBezTo>
                      <a:pt x="591" y="460"/>
                      <a:pt x="591" y="459"/>
                      <a:pt x="592" y="459"/>
                    </a:cubicBezTo>
                    <a:cubicBezTo>
                      <a:pt x="592" y="458"/>
                      <a:pt x="591" y="458"/>
                      <a:pt x="591" y="458"/>
                    </a:cubicBezTo>
                    <a:cubicBezTo>
                      <a:pt x="592" y="457"/>
                      <a:pt x="591" y="457"/>
                      <a:pt x="591" y="456"/>
                    </a:cubicBezTo>
                    <a:cubicBezTo>
                      <a:pt x="591" y="456"/>
                      <a:pt x="591" y="456"/>
                      <a:pt x="590" y="456"/>
                    </a:cubicBezTo>
                    <a:cubicBezTo>
                      <a:pt x="590" y="456"/>
                      <a:pt x="590" y="456"/>
                      <a:pt x="589" y="455"/>
                    </a:cubicBezTo>
                    <a:cubicBezTo>
                      <a:pt x="589" y="455"/>
                      <a:pt x="589" y="455"/>
                      <a:pt x="589" y="454"/>
                    </a:cubicBezTo>
                    <a:cubicBezTo>
                      <a:pt x="589" y="454"/>
                      <a:pt x="589" y="453"/>
                      <a:pt x="588" y="453"/>
                    </a:cubicBezTo>
                    <a:cubicBezTo>
                      <a:pt x="588" y="453"/>
                      <a:pt x="588" y="451"/>
                      <a:pt x="588" y="451"/>
                    </a:cubicBezTo>
                    <a:cubicBezTo>
                      <a:pt x="588" y="450"/>
                      <a:pt x="587" y="450"/>
                      <a:pt x="587" y="450"/>
                    </a:cubicBezTo>
                    <a:cubicBezTo>
                      <a:pt x="586" y="449"/>
                      <a:pt x="586" y="449"/>
                      <a:pt x="586" y="448"/>
                    </a:cubicBezTo>
                    <a:cubicBezTo>
                      <a:pt x="586" y="448"/>
                      <a:pt x="586" y="448"/>
                      <a:pt x="586" y="447"/>
                    </a:cubicBezTo>
                    <a:cubicBezTo>
                      <a:pt x="586" y="447"/>
                      <a:pt x="587" y="447"/>
                      <a:pt x="587" y="447"/>
                    </a:cubicBezTo>
                    <a:cubicBezTo>
                      <a:pt x="586" y="447"/>
                      <a:pt x="586" y="447"/>
                      <a:pt x="586" y="446"/>
                    </a:cubicBezTo>
                    <a:cubicBezTo>
                      <a:pt x="586" y="446"/>
                      <a:pt x="586" y="446"/>
                      <a:pt x="586" y="446"/>
                    </a:cubicBezTo>
                    <a:cubicBezTo>
                      <a:pt x="586" y="445"/>
                      <a:pt x="586" y="445"/>
                      <a:pt x="586" y="444"/>
                    </a:cubicBezTo>
                    <a:cubicBezTo>
                      <a:pt x="586" y="443"/>
                      <a:pt x="585" y="443"/>
                      <a:pt x="585" y="442"/>
                    </a:cubicBezTo>
                    <a:cubicBezTo>
                      <a:pt x="585" y="441"/>
                      <a:pt x="585" y="440"/>
                      <a:pt x="585" y="440"/>
                    </a:cubicBezTo>
                    <a:cubicBezTo>
                      <a:pt x="584" y="440"/>
                      <a:pt x="585" y="439"/>
                      <a:pt x="584" y="438"/>
                    </a:cubicBezTo>
                    <a:cubicBezTo>
                      <a:pt x="584" y="438"/>
                      <a:pt x="584" y="438"/>
                      <a:pt x="583" y="438"/>
                    </a:cubicBezTo>
                    <a:cubicBezTo>
                      <a:pt x="583" y="438"/>
                      <a:pt x="583" y="438"/>
                      <a:pt x="583" y="437"/>
                    </a:cubicBezTo>
                    <a:cubicBezTo>
                      <a:pt x="583" y="437"/>
                      <a:pt x="583" y="437"/>
                      <a:pt x="583" y="436"/>
                    </a:cubicBezTo>
                    <a:cubicBezTo>
                      <a:pt x="583" y="436"/>
                      <a:pt x="582" y="436"/>
                      <a:pt x="582" y="436"/>
                    </a:cubicBezTo>
                    <a:cubicBezTo>
                      <a:pt x="582" y="436"/>
                      <a:pt x="582" y="435"/>
                      <a:pt x="582" y="435"/>
                    </a:cubicBezTo>
                    <a:cubicBezTo>
                      <a:pt x="582" y="434"/>
                      <a:pt x="581" y="435"/>
                      <a:pt x="581" y="435"/>
                    </a:cubicBezTo>
                    <a:cubicBezTo>
                      <a:pt x="581" y="435"/>
                      <a:pt x="581" y="434"/>
                      <a:pt x="581" y="434"/>
                    </a:cubicBezTo>
                    <a:cubicBezTo>
                      <a:pt x="580" y="434"/>
                      <a:pt x="580" y="433"/>
                      <a:pt x="580" y="433"/>
                    </a:cubicBezTo>
                    <a:cubicBezTo>
                      <a:pt x="580" y="433"/>
                      <a:pt x="580" y="433"/>
                      <a:pt x="580" y="433"/>
                    </a:cubicBezTo>
                    <a:cubicBezTo>
                      <a:pt x="579" y="433"/>
                      <a:pt x="580" y="433"/>
                      <a:pt x="579" y="433"/>
                    </a:cubicBezTo>
                    <a:cubicBezTo>
                      <a:pt x="579" y="433"/>
                      <a:pt x="579" y="433"/>
                      <a:pt x="579" y="433"/>
                    </a:cubicBezTo>
                    <a:cubicBezTo>
                      <a:pt x="579" y="433"/>
                      <a:pt x="578" y="433"/>
                      <a:pt x="578" y="433"/>
                    </a:cubicBezTo>
                    <a:cubicBezTo>
                      <a:pt x="577" y="433"/>
                      <a:pt x="577" y="433"/>
                      <a:pt x="576" y="433"/>
                    </a:cubicBezTo>
                    <a:cubicBezTo>
                      <a:pt x="576" y="433"/>
                      <a:pt x="575" y="433"/>
                      <a:pt x="575" y="433"/>
                    </a:cubicBezTo>
                    <a:cubicBezTo>
                      <a:pt x="574" y="433"/>
                      <a:pt x="573" y="432"/>
                      <a:pt x="573" y="432"/>
                    </a:cubicBezTo>
                    <a:cubicBezTo>
                      <a:pt x="572" y="432"/>
                      <a:pt x="572" y="433"/>
                      <a:pt x="571" y="433"/>
                    </a:cubicBezTo>
                    <a:cubicBezTo>
                      <a:pt x="570" y="433"/>
                      <a:pt x="570" y="433"/>
                      <a:pt x="570" y="433"/>
                    </a:cubicBezTo>
                    <a:cubicBezTo>
                      <a:pt x="569" y="433"/>
                      <a:pt x="569" y="433"/>
                      <a:pt x="569" y="434"/>
                    </a:cubicBezTo>
                    <a:cubicBezTo>
                      <a:pt x="568" y="435"/>
                      <a:pt x="567" y="436"/>
                      <a:pt x="566" y="437"/>
                    </a:cubicBezTo>
                    <a:cubicBezTo>
                      <a:pt x="566" y="437"/>
                      <a:pt x="566" y="438"/>
                      <a:pt x="565" y="438"/>
                    </a:cubicBezTo>
                    <a:cubicBezTo>
                      <a:pt x="565" y="438"/>
                      <a:pt x="565" y="439"/>
                      <a:pt x="565" y="439"/>
                    </a:cubicBezTo>
                    <a:cubicBezTo>
                      <a:pt x="565" y="439"/>
                      <a:pt x="564" y="439"/>
                      <a:pt x="564" y="440"/>
                    </a:cubicBezTo>
                    <a:cubicBezTo>
                      <a:pt x="564" y="440"/>
                      <a:pt x="563" y="440"/>
                      <a:pt x="563" y="440"/>
                    </a:cubicBezTo>
                    <a:cubicBezTo>
                      <a:pt x="563" y="441"/>
                      <a:pt x="562" y="441"/>
                      <a:pt x="562" y="442"/>
                    </a:cubicBezTo>
                    <a:cubicBezTo>
                      <a:pt x="562" y="442"/>
                      <a:pt x="561" y="442"/>
                      <a:pt x="561" y="442"/>
                    </a:cubicBezTo>
                    <a:cubicBezTo>
                      <a:pt x="560" y="442"/>
                      <a:pt x="560" y="441"/>
                      <a:pt x="560" y="441"/>
                    </a:cubicBezTo>
                    <a:cubicBezTo>
                      <a:pt x="559" y="441"/>
                      <a:pt x="559" y="441"/>
                      <a:pt x="559" y="440"/>
                    </a:cubicBezTo>
                    <a:cubicBezTo>
                      <a:pt x="558" y="440"/>
                      <a:pt x="558" y="440"/>
                      <a:pt x="557" y="440"/>
                    </a:cubicBezTo>
                    <a:cubicBezTo>
                      <a:pt x="557" y="439"/>
                      <a:pt x="557" y="439"/>
                      <a:pt x="557" y="439"/>
                    </a:cubicBezTo>
                    <a:cubicBezTo>
                      <a:pt x="556" y="438"/>
                      <a:pt x="556" y="438"/>
                      <a:pt x="555" y="438"/>
                    </a:cubicBezTo>
                    <a:cubicBezTo>
                      <a:pt x="555" y="438"/>
                      <a:pt x="554" y="438"/>
                      <a:pt x="554" y="437"/>
                    </a:cubicBezTo>
                    <a:cubicBezTo>
                      <a:pt x="553" y="436"/>
                      <a:pt x="552" y="436"/>
                      <a:pt x="552" y="435"/>
                    </a:cubicBezTo>
                    <a:cubicBezTo>
                      <a:pt x="551" y="434"/>
                      <a:pt x="551" y="433"/>
                      <a:pt x="551" y="432"/>
                    </a:cubicBezTo>
                    <a:cubicBezTo>
                      <a:pt x="551" y="431"/>
                      <a:pt x="551" y="431"/>
                      <a:pt x="551" y="430"/>
                    </a:cubicBezTo>
                    <a:cubicBezTo>
                      <a:pt x="551" y="430"/>
                      <a:pt x="551" y="429"/>
                      <a:pt x="551" y="428"/>
                    </a:cubicBezTo>
                    <a:cubicBezTo>
                      <a:pt x="551" y="428"/>
                      <a:pt x="551" y="428"/>
                      <a:pt x="551" y="427"/>
                    </a:cubicBezTo>
                    <a:cubicBezTo>
                      <a:pt x="551" y="427"/>
                      <a:pt x="551" y="426"/>
                      <a:pt x="551" y="426"/>
                    </a:cubicBezTo>
                    <a:cubicBezTo>
                      <a:pt x="551" y="425"/>
                      <a:pt x="551" y="425"/>
                      <a:pt x="550" y="424"/>
                    </a:cubicBezTo>
                    <a:cubicBezTo>
                      <a:pt x="550" y="424"/>
                      <a:pt x="550" y="424"/>
                      <a:pt x="550" y="423"/>
                    </a:cubicBezTo>
                    <a:cubicBezTo>
                      <a:pt x="550" y="423"/>
                      <a:pt x="549" y="423"/>
                      <a:pt x="549" y="422"/>
                    </a:cubicBezTo>
                    <a:cubicBezTo>
                      <a:pt x="549" y="422"/>
                      <a:pt x="549" y="422"/>
                      <a:pt x="548" y="422"/>
                    </a:cubicBezTo>
                    <a:cubicBezTo>
                      <a:pt x="547" y="421"/>
                      <a:pt x="547" y="421"/>
                      <a:pt x="546" y="420"/>
                    </a:cubicBezTo>
                    <a:cubicBezTo>
                      <a:pt x="546" y="419"/>
                      <a:pt x="546" y="418"/>
                      <a:pt x="545" y="418"/>
                    </a:cubicBezTo>
                    <a:cubicBezTo>
                      <a:pt x="544" y="417"/>
                      <a:pt x="544" y="416"/>
                      <a:pt x="544" y="416"/>
                    </a:cubicBezTo>
                    <a:cubicBezTo>
                      <a:pt x="544" y="415"/>
                      <a:pt x="543" y="415"/>
                      <a:pt x="542" y="415"/>
                    </a:cubicBezTo>
                    <a:cubicBezTo>
                      <a:pt x="542" y="414"/>
                      <a:pt x="542" y="414"/>
                      <a:pt x="541" y="413"/>
                    </a:cubicBezTo>
                    <a:cubicBezTo>
                      <a:pt x="541" y="412"/>
                      <a:pt x="541" y="411"/>
                      <a:pt x="541" y="411"/>
                    </a:cubicBezTo>
                    <a:cubicBezTo>
                      <a:pt x="540" y="411"/>
                      <a:pt x="539" y="411"/>
                      <a:pt x="538" y="411"/>
                    </a:cubicBezTo>
                    <a:cubicBezTo>
                      <a:pt x="537" y="411"/>
                      <a:pt x="535" y="411"/>
                      <a:pt x="533" y="411"/>
                    </a:cubicBezTo>
                    <a:cubicBezTo>
                      <a:pt x="531" y="411"/>
                      <a:pt x="529" y="411"/>
                      <a:pt x="526" y="411"/>
                    </a:cubicBezTo>
                    <a:cubicBezTo>
                      <a:pt x="526" y="411"/>
                      <a:pt x="525" y="411"/>
                      <a:pt x="524" y="411"/>
                    </a:cubicBezTo>
                    <a:cubicBezTo>
                      <a:pt x="524" y="412"/>
                      <a:pt x="524" y="412"/>
                      <a:pt x="524" y="413"/>
                    </a:cubicBezTo>
                    <a:cubicBezTo>
                      <a:pt x="524" y="413"/>
                      <a:pt x="523" y="414"/>
                      <a:pt x="523" y="415"/>
                    </a:cubicBezTo>
                    <a:cubicBezTo>
                      <a:pt x="523" y="416"/>
                      <a:pt x="522" y="416"/>
                      <a:pt x="521" y="416"/>
                    </a:cubicBezTo>
                    <a:cubicBezTo>
                      <a:pt x="520" y="416"/>
                      <a:pt x="519" y="416"/>
                      <a:pt x="518" y="416"/>
                    </a:cubicBezTo>
                    <a:cubicBezTo>
                      <a:pt x="516" y="416"/>
                      <a:pt x="514" y="416"/>
                      <a:pt x="512" y="416"/>
                    </a:cubicBezTo>
                    <a:cubicBezTo>
                      <a:pt x="512" y="416"/>
                      <a:pt x="511" y="416"/>
                      <a:pt x="510" y="416"/>
                    </a:cubicBezTo>
                    <a:cubicBezTo>
                      <a:pt x="507" y="416"/>
                      <a:pt x="503" y="416"/>
                      <a:pt x="500" y="416"/>
                    </a:cubicBezTo>
                    <a:cubicBezTo>
                      <a:pt x="498" y="416"/>
                      <a:pt x="496" y="416"/>
                      <a:pt x="494" y="415"/>
                    </a:cubicBezTo>
                    <a:cubicBezTo>
                      <a:pt x="493" y="414"/>
                      <a:pt x="491" y="413"/>
                      <a:pt x="489" y="413"/>
                    </a:cubicBezTo>
                    <a:cubicBezTo>
                      <a:pt x="481" y="409"/>
                      <a:pt x="474" y="406"/>
                      <a:pt x="466" y="403"/>
                    </a:cubicBezTo>
                    <a:cubicBezTo>
                      <a:pt x="466" y="403"/>
                      <a:pt x="467" y="402"/>
                      <a:pt x="467" y="402"/>
                    </a:cubicBezTo>
                    <a:cubicBezTo>
                      <a:pt x="467" y="401"/>
                      <a:pt x="468" y="401"/>
                      <a:pt x="468" y="401"/>
                    </a:cubicBezTo>
                    <a:cubicBezTo>
                      <a:pt x="460" y="401"/>
                      <a:pt x="453" y="402"/>
                      <a:pt x="445" y="403"/>
                    </a:cubicBezTo>
                    <a:cubicBezTo>
                      <a:pt x="445" y="403"/>
                      <a:pt x="445" y="401"/>
                      <a:pt x="445" y="401"/>
                    </a:cubicBezTo>
                    <a:cubicBezTo>
                      <a:pt x="445" y="401"/>
                      <a:pt x="445" y="402"/>
                      <a:pt x="445" y="402"/>
                    </a:cubicBezTo>
                    <a:cubicBezTo>
                      <a:pt x="445" y="402"/>
                      <a:pt x="445" y="402"/>
                      <a:pt x="445" y="401"/>
                    </a:cubicBezTo>
                    <a:cubicBezTo>
                      <a:pt x="445" y="401"/>
                      <a:pt x="445" y="400"/>
                      <a:pt x="445" y="401"/>
                    </a:cubicBezTo>
                    <a:cubicBezTo>
                      <a:pt x="445" y="401"/>
                      <a:pt x="445" y="401"/>
                      <a:pt x="444" y="401"/>
                    </a:cubicBezTo>
                    <a:cubicBezTo>
                      <a:pt x="444" y="401"/>
                      <a:pt x="445" y="398"/>
                      <a:pt x="446" y="398"/>
                    </a:cubicBezTo>
                    <a:cubicBezTo>
                      <a:pt x="446" y="397"/>
                      <a:pt x="446" y="395"/>
                      <a:pt x="445" y="394"/>
                    </a:cubicBezTo>
                    <a:cubicBezTo>
                      <a:pt x="445" y="393"/>
                      <a:pt x="444" y="393"/>
                      <a:pt x="444" y="392"/>
                    </a:cubicBezTo>
                    <a:cubicBezTo>
                      <a:pt x="443" y="392"/>
                      <a:pt x="443" y="391"/>
                      <a:pt x="443" y="391"/>
                    </a:cubicBezTo>
                    <a:cubicBezTo>
                      <a:pt x="442" y="391"/>
                      <a:pt x="442" y="389"/>
                      <a:pt x="441" y="389"/>
                    </a:cubicBezTo>
                    <a:cubicBezTo>
                      <a:pt x="440" y="389"/>
                      <a:pt x="440" y="390"/>
                      <a:pt x="439" y="390"/>
                    </a:cubicBezTo>
                    <a:cubicBezTo>
                      <a:pt x="439" y="390"/>
                      <a:pt x="439" y="389"/>
                      <a:pt x="439" y="389"/>
                    </a:cubicBezTo>
                    <a:cubicBezTo>
                      <a:pt x="439" y="388"/>
                      <a:pt x="439" y="388"/>
                      <a:pt x="439" y="388"/>
                    </a:cubicBezTo>
                    <a:cubicBezTo>
                      <a:pt x="439" y="387"/>
                      <a:pt x="439" y="387"/>
                      <a:pt x="439" y="386"/>
                    </a:cubicBezTo>
                    <a:cubicBezTo>
                      <a:pt x="438" y="386"/>
                      <a:pt x="437" y="386"/>
                      <a:pt x="436" y="386"/>
                    </a:cubicBezTo>
                    <a:cubicBezTo>
                      <a:pt x="436" y="386"/>
                      <a:pt x="435" y="386"/>
                      <a:pt x="434" y="386"/>
                    </a:cubicBezTo>
                    <a:cubicBezTo>
                      <a:pt x="434" y="386"/>
                      <a:pt x="433" y="385"/>
                      <a:pt x="434" y="385"/>
                    </a:cubicBezTo>
                    <a:cubicBezTo>
                      <a:pt x="433" y="385"/>
                      <a:pt x="433" y="384"/>
                      <a:pt x="433" y="384"/>
                    </a:cubicBezTo>
                    <a:cubicBezTo>
                      <a:pt x="433" y="383"/>
                      <a:pt x="432" y="383"/>
                      <a:pt x="432" y="383"/>
                    </a:cubicBezTo>
                    <a:cubicBezTo>
                      <a:pt x="432" y="382"/>
                      <a:pt x="431" y="382"/>
                      <a:pt x="430" y="382"/>
                    </a:cubicBezTo>
                    <a:cubicBezTo>
                      <a:pt x="430" y="382"/>
                      <a:pt x="429" y="382"/>
                      <a:pt x="429" y="382"/>
                    </a:cubicBezTo>
                    <a:cubicBezTo>
                      <a:pt x="429" y="382"/>
                      <a:pt x="429" y="382"/>
                      <a:pt x="429" y="382"/>
                    </a:cubicBezTo>
                    <a:cubicBezTo>
                      <a:pt x="428" y="382"/>
                      <a:pt x="428" y="382"/>
                      <a:pt x="428" y="382"/>
                    </a:cubicBezTo>
                    <a:cubicBezTo>
                      <a:pt x="427" y="381"/>
                      <a:pt x="426" y="381"/>
                      <a:pt x="426" y="381"/>
                    </a:cubicBezTo>
                    <a:cubicBezTo>
                      <a:pt x="425" y="381"/>
                      <a:pt x="424" y="381"/>
                      <a:pt x="424" y="382"/>
                    </a:cubicBezTo>
                    <a:cubicBezTo>
                      <a:pt x="423" y="382"/>
                      <a:pt x="423" y="381"/>
                      <a:pt x="423" y="381"/>
                    </a:cubicBezTo>
                    <a:cubicBezTo>
                      <a:pt x="423" y="381"/>
                      <a:pt x="422" y="380"/>
                      <a:pt x="422" y="380"/>
                    </a:cubicBezTo>
                    <a:cubicBezTo>
                      <a:pt x="422" y="379"/>
                      <a:pt x="423" y="379"/>
                      <a:pt x="423" y="379"/>
                    </a:cubicBezTo>
                    <a:cubicBezTo>
                      <a:pt x="423" y="379"/>
                      <a:pt x="423" y="378"/>
                      <a:pt x="423" y="378"/>
                    </a:cubicBezTo>
                    <a:cubicBezTo>
                      <a:pt x="423" y="378"/>
                      <a:pt x="424" y="377"/>
                      <a:pt x="424" y="377"/>
                    </a:cubicBezTo>
                    <a:cubicBezTo>
                      <a:pt x="424" y="377"/>
                      <a:pt x="423" y="376"/>
                      <a:pt x="424" y="376"/>
                    </a:cubicBezTo>
                    <a:cubicBezTo>
                      <a:pt x="424" y="376"/>
                      <a:pt x="425" y="375"/>
                      <a:pt x="425" y="374"/>
                    </a:cubicBezTo>
                    <a:cubicBezTo>
                      <a:pt x="425" y="374"/>
                      <a:pt x="424" y="374"/>
                      <a:pt x="424" y="374"/>
                    </a:cubicBezTo>
                    <a:cubicBezTo>
                      <a:pt x="424" y="374"/>
                      <a:pt x="423" y="373"/>
                      <a:pt x="423" y="373"/>
                    </a:cubicBezTo>
                    <a:cubicBezTo>
                      <a:pt x="423" y="372"/>
                      <a:pt x="424" y="372"/>
                      <a:pt x="424" y="372"/>
                    </a:cubicBezTo>
                    <a:cubicBezTo>
                      <a:pt x="424" y="372"/>
                      <a:pt x="424" y="372"/>
                      <a:pt x="424" y="371"/>
                    </a:cubicBezTo>
                    <a:cubicBezTo>
                      <a:pt x="424" y="371"/>
                      <a:pt x="424" y="371"/>
                      <a:pt x="423" y="370"/>
                    </a:cubicBezTo>
                    <a:cubicBezTo>
                      <a:pt x="422" y="370"/>
                      <a:pt x="423" y="369"/>
                      <a:pt x="422" y="369"/>
                    </a:cubicBezTo>
                    <a:cubicBezTo>
                      <a:pt x="421" y="368"/>
                      <a:pt x="422" y="368"/>
                      <a:pt x="422" y="367"/>
                    </a:cubicBezTo>
                    <a:cubicBezTo>
                      <a:pt x="422" y="367"/>
                      <a:pt x="421" y="366"/>
                      <a:pt x="421" y="366"/>
                    </a:cubicBezTo>
                    <a:cubicBezTo>
                      <a:pt x="421" y="365"/>
                      <a:pt x="422" y="365"/>
                      <a:pt x="421" y="364"/>
                    </a:cubicBezTo>
                    <a:cubicBezTo>
                      <a:pt x="420" y="364"/>
                      <a:pt x="421" y="364"/>
                      <a:pt x="421" y="363"/>
                    </a:cubicBezTo>
                    <a:cubicBezTo>
                      <a:pt x="421" y="363"/>
                      <a:pt x="420" y="362"/>
                      <a:pt x="420" y="362"/>
                    </a:cubicBezTo>
                    <a:cubicBezTo>
                      <a:pt x="419" y="362"/>
                      <a:pt x="419" y="361"/>
                      <a:pt x="420" y="360"/>
                    </a:cubicBezTo>
                    <a:cubicBezTo>
                      <a:pt x="420" y="360"/>
                      <a:pt x="420" y="359"/>
                      <a:pt x="420" y="359"/>
                    </a:cubicBezTo>
                    <a:cubicBezTo>
                      <a:pt x="420" y="359"/>
                      <a:pt x="420" y="358"/>
                      <a:pt x="420" y="358"/>
                    </a:cubicBezTo>
                    <a:cubicBezTo>
                      <a:pt x="420" y="358"/>
                      <a:pt x="421" y="358"/>
                      <a:pt x="421" y="358"/>
                    </a:cubicBezTo>
                    <a:cubicBezTo>
                      <a:pt x="422" y="358"/>
                      <a:pt x="422" y="357"/>
                      <a:pt x="422" y="357"/>
                    </a:cubicBezTo>
                    <a:cubicBezTo>
                      <a:pt x="422" y="357"/>
                      <a:pt x="422" y="357"/>
                      <a:pt x="422" y="357"/>
                    </a:cubicBezTo>
                    <a:cubicBezTo>
                      <a:pt x="423" y="357"/>
                      <a:pt x="422" y="356"/>
                      <a:pt x="422" y="356"/>
                    </a:cubicBezTo>
                    <a:cubicBezTo>
                      <a:pt x="423" y="356"/>
                      <a:pt x="423" y="354"/>
                      <a:pt x="422" y="354"/>
                    </a:cubicBezTo>
                    <a:cubicBezTo>
                      <a:pt x="422" y="354"/>
                      <a:pt x="421" y="354"/>
                      <a:pt x="420" y="354"/>
                    </a:cubicBezTo>
                    <a:cubicBezTo>
                      <a:pt x="420" y="353"/>
                      <a:pt x="420" y="353"/>
                      <a:pt x="420" y="352"/>
                    </a:cubicBezTo>
                    <a:cubicBezTo>
                      <a:pt x="419" y="351"/>
                      <a:pt x="420" y="350"/>
                      <a:pt x="420" y="349"/>
                    </a:cubicBezTo>
                    <a:cubicBezTo>
                      <a:pt x="420" y="348"/>
                      <a:pt x="420" y="348"/>
                      <a:pt x="420" y="348"/>
                    </a:cubicBezTo>
                    <a:cubicBezTo>
                      <a:pt x="420" y="347"/>
                      <a:pt x="421" y="347"/>
                      <a:pt x="421" y="346"/>
                    </a:cubicBezTo>
                    <a:cubicBezTo>
                      <a:pt x="421" y="345"/>
                      <a:pt x="422" y="345"/>
                      <a:pt x="422" y="345"/>
                    </a:cubicBezTo>
                    <a:cubicBezTo>
                      <a:pt x="423" y="345"/>
                      <a:pt x="422" y="345"/>
                      <a:pt x="422" y="346"/>
                    </a:cubicBezTo>
                    <a:cubicBezTo>
                      <a:pt x="422" y="346"/>
                      <a:pt x="421" y="347"/>
                      <a:pt x="422" y="347"/>
                    </a:cubicBezTo>
                    <a:cubicBezTo>
                      <a:pt x="422" y="347"/>
                      <a:pt x="423" y="348"/>
                      <a:pt x="423" y="348"/>
                    </a:cubicBezTo>
                    <a:cubicBezTo>
                      <a:pt x="423" y="348"/>
                      <a:pt x="424" y="349"/>
                      <a:pt x="424" y="349"/>
                    </a:cubicBezTo>
                    <a:cubicBezTo>
                      <a:pt x="424" y="348"/>
                      <a:pt x="424" y="348"/>
                      <a:pt x="424" y="348"/>
                    </a:cubicBezTo>
                    <a:cubicBezTo>
                      <a:pt x="423" y="347"/>
                      <a:pt x="424" y="347"/>
                      <a:pt x="424" y="346"/>
                    </a:cubicBezTo>
                    <a:cubicBezTo>
                      <a:pt x="424" y="346"/>
                      <a:pt x="423" y="345"/>
                      <a:pt x="424" y="345"/>
                    </a:cubicBezTo>
                    <a:cubicBezTo>
                      <a:pt x="423" y="345"/>
                      <a:pt x="424" y="344"/>
                      <a:pt x="423" y="344"/>
                    </a:cubicBezTo>
                    <a:cubicBezTo>
                      <a:pt x="423" y="343"/>
                      <a:pt x="425" y="342"/>
                      <a:pt x="425" y="342"/>
                    </a:cubicBezTo>
                    <a:cubicBezTo>
                      <a:pt x="425" y="342"/>
                      <a:pt x="425" y="342"/>
                      <a:pt x="426" y="342"/>
                    </a:cubicBezTo>
                    <a:cubicBezTo>
                      <a:pt x="426" y="342"/>
                      <a:pt x="427" y="342"/>
                      <a:pt x="427" y="342"/>
                    </a:cubicBezTo>
                    <a:cubicBezTo>
                      <a:pt x="428" y="342"/>
                      <a:pt x="429" y="343"/>
                      <a:pt x="430" y="342"/>
                    </a:cubicBezTo>
                    <a:cubicBezTo>
                      <a:pt x="430" y="342"/>
                      <a:pt x="431" y="342"/>
                      <a:pt x="431" y="342"/>
                    </a:cubicBezTo>
                    <a:cubicBezTo>
                      <a:pt x="432" y="342"/>
                      <a:pt x="432" y="343"/>
                      <a:pt x="432" y="343"/>
                    </a:cubicBezTo>
                    <a:cubicBezTo>
                      <a:pt x="432" y="343"/>
                      <a:pt x="432" y="341"/>
                      <a:pt x="431" y="341"/>
                    </a:cubicBezTo>
                    <a:cubicBezTo>
                      <a:pt x="431" y="342"/>
                      <a:pt x="430" y="342"/>
                      <a:pt x="430" y="342"/>
                    </a:cubicBezTo>
                    <a:cubicBezTo>
                      <a:pt x="430" y="342"/>
                      <a:pt x="431" y="341"/>
                      <a:pt x="431" y="341"/>
                    </a:cubicBezTo>
                    <a:cubicBezTo>
                      <a:pt x="430" y="341"/>
                      <a:pt x="430" y="342"/>
                      <a:pt x="429" y="342"/>
                    </a:cubicBezTo>
                    <a:cubicBezTo>
                      <a:pt x="429" y="342"/>
                      <a:pt x="429" y="342"/>
                      <a:pt x="428" y="342"/>
                    </a:cubicBezTo>
                    <a:cubicBezTo>
                      <a:pt x="428" y="342"/>
                      <a:pt x="428" y="342"/>
                      <a:pt x="428" y="342"/>
                    </a:cubicBezTo>
                    <a:cubicBezTo>
                      <a:pt x="428" y="342"/>
                      <a:pt x="428" y="342"/>
                      <a:pt x="428" y="341"/>
                    </a:cubicBezTo>
                    <a:cubicBezTo>
                      <a:pt x="428" y="341"/>
                      <a:pt x="427" y="342"/>
                      <a:pt x="427" y="342"/>
                    </a:cubicBezTo>
                    <a:cubicBezTo>
                      <a:pt x="426" y="342"/>
                      <a:pt x="425" y="342"/>
                      <a:pt x="425" y="341"/>
                    </a:cubicBezTo>
                    <a:cubicBezTo>
                      <a:pt x="425" y="341"/>
                      <a:pt x="424" y="341"/>
                      <a:pt x="424" y="341"/>
                    </a:cubicBezTo>
                    <a:cubicBezTo>
                      <a:pt x="423" y="342"/>
                      <a:pt x="423" y="342"/>
                      <a:pt x="423" y="342"/>
                    </a:cubicBezTo>
                    <a:cubicBezTo>
                      <a:pt x="423" y="343"/>
                      <a:pt x="422" y="343"/>
                      <a:pt x="423" y="344"/>
                    </a:cubicBezTo>
                    <a:cubicBezTo>
                      <a:pt x="423" y="344"/>
                      <a:pt x="422" y="345"/>
                      <a:pt x="422" y="345"/>
                    </a:cubicBezTo>
                    <a:cubicBezTo>
                      <a:pt x="421" y="345"/>
                      <a:pt x="421" y="344"/>
                      <a:pt x="421" y="343"/>
                    </a:cubicBezTo>
                    <a:cubicBezTo>
                      <a:pt x="420" y="344"/>
                      <a:pt x="420" y="343"/>
                      <a:pt x="420" y="343"/>
                    </a:cubicBezTo>
                    <a:cubicBezTo>
                      <a:pt x="420" y="343"/>
                      <a:pt x="419" y="342"/>
                      <a:pt x="419" y="342"/>
                    </a:cubicBezTo>
                    <a:cubicBezTo>
                      <a:pt x="419" y="342"/>
                      <a:pt x="419" y="343"/>
                      <a:pt x="418" y="343"/>
                    </a:cubicBezTo>
                    <a:cubicBezTo>
                      <a:pt x="419" y="342"/>
                      <a:pt x="420" y="341"/>
                      <a:pt x="420" y="340"/>
                    </a:cubicBezTo>
                    <a:cubicBezTo>
                      <a:pt x="420" y="341"/>
                      <a:pt x="420" y="341"/>
                      <a:pt x="420" y="342"/>
                    </a:cubicBezTo>
                    <a:cubicBezTo>
                      <a:pt x="420" y="341"/>
                      <a:pt x="420" y="339"/>
                      <a:pt x="419" y="339"/>
                    </a:cubicBezTo>
                    <a:cubicBezTo>
                      <a:pt x="420" y="338"/>
                      <a:pt x="420" y="338"/>
                      <a:pt x="419" y="337"/>
                    </a:cubicBezTo>
                    <a:cubicBezTo>
                      <a:pt x="418" y="336"/>
                      <a:pt x="418" y="335"/>
                      <a:pt x="418" y="335"/>
                    </a:cubicBezTo>
                    <a:cubicBezTo>
                      <a:pt x="418" y="334"/>
                      <a:pt x="417" y="333"/>
                      <a:pt x="417" y="332"/>
                    </a:cubicBezTo>
                    <a:cubicBezTo>
                      <a:pt x="418" y="332"/>
                      <a:pt x="418" y="331"/>
                      <a:pt x="418" y="330"/>
                    </a:cubicBezTo>
                    <a:cubicBezTo>
                      <a:pt x="418" y="329"/>
                      <a:pt x="418" y="329"/>
                      <a:pt x="419" y="328"/>
                    </a:cubicBezTo>
                    <a:cubicBezTo>
                      <a:pt x="419" y="327"/>
                      <a:pt x="420" y="326"/>
                      <a:pt x="420" y="326"/>
                    </a:cubicBezTo>
                    <a:cubicBezTo>
                      <a:pt x="421" y="325"/>
                      <a:pt x="421" y="324"/>
                      <a:pt x="421" y="323"/>
                    </a:cubicBezTo>
                    <a:cubicBezTo>
                      <a:pt x="421" y="323"/>
                      <a:pt x="421" y="321"/>
                      <a:pt x="421" y="321"/>
                    </a:cubicBezTo>
                    <a:cubicBezTo>
                      <a:pt x="420" y="321"/>
                      <a:pt x="420" y="320"/>
                      <a:pt x="420" y="319"/>
                    </a:cubicBezTo>
                    <a:cubicBezTo>
                      <a:pt x="420" y="318"/>
                      <a:pt x="419" y="318"/>
                      <a:pt x="420" y="317"/>
                    </a:cubicBezTo>
                    <a:cubicBezTo>
                      <a:pt x="420" y="316"/>
                      <a:pt x="420" y="315"/>
                      <a:pt x="421" y="315"/>
                    </a:cubicBezTo>
                    <a:cubicBezTo>
                      <a:pt x="422" y="314"/>
                      <a:pt x="422" y="313"/>
                      <a:pt x="423" y="313"/>
                    </a:cubicBezTo>
                    <a:cubicBezTo>
                      <a:pt x="423" y="313"/>
                      <a:pt x="423" y="313"/>
                      <a:pt x="423" y="313"/>
                    </a:cubicBezTo>
                    <a:cubicBezTo>
                      <a:pt x="423" y="313"/>
                      <a:pt x="423" y="313"/>
                      <a:pt x="424" y="313"/>
                    </a:cubicBezTo>
                    <a:cubicBezTo>
                      <a:pt x="424" y="312"/>
                      <a:pt x="425" y="312"/>
                      <a:pt x="425" y="311"/>
                    </a:cubicBezTo>
                    <a:cubicBezTo>
                      <a:pt x="425" y="311"/>
                      <a:pt x="424" y="312"/>
                      <a:pt x="424" y="312"/>
                    </a:cubicBezTo>
                    <a:cubicBezTo>
                      <a:pt x="424" y="311"/>
                      <a:pt x="425" y="311"/>
                      <a:pt x="426" y="310"/>
                    </a:cubicBezTo>
                    <a:cubicBezTo>
                      <a:pt x="426" y="309"/>
                      <a:pt x="426" y="309"/>
                      <a:pt x="426" y="308"/>
                    </a:cubicBezTo>
                    <a:cubicBezTo>
                      <a:pt x="427" y="308"/>
                      <a:pt x="428" y="307"/>
                      <a:pt x="428" y="307"/>
                    </a:cubicBezTo>
                    <a:cubicBezTo>
                      <a:pt x="429" y="306"/>
                      <a:pt x="430" y="305"/>
                      <a:pt x="430" y="303"/>
                    </a:cubicBezTo>
                    <a:cubicBezTo>
                      <a:pt x="430" y="303"/>
                      <a:pt x="430" y="302"/>
                      <a:pt x="430" y="302"/>
                    </a:cubicBezTo>
                    <a:cubicBezTo>
                      <a:pt x="430" y="302"/>
                      <a:pt x="430" y="302"/>
                      <a:pt x="430" y="301"/>
                    </a:cubicBezTo>
                    <a:cubicBezTo>
                      <a:pt x="430" y="301"/>
                      <a:pt x="431" y="300"/>
                      <a:pt x="431" y="299"/>
                    </a:cubicBezTo>
                    <a:cubicBezTo>
                      <a:pt x="432" y="299"/>
                      <a:pt x="431" y="299"/>
                      <a:pt x="431" y="298"/>
                    </a:cubicBezTo>
                    <a:cubicBezTo>
                      <a:pt x="431" y="298"/>
                      <a:pt x="431" y="297"/>
                      <a:pt x="431" y="297"/>
                    </a:cubicBezTo>
                    <a:cubicBezTo>
                      <a:pt x="432" y="295"/>
                      <a:pt x="432" y="294"/>
                      <a:pt x="433" y="293"/>
                    </a:cubicBezTo>
                    <a:cubicBezTo>
                      <a:pt x="434" y="293"/>
                      <a:pt x="434" y="292"/>
                      <a:pt x="434" y="292"/>
                    </a:cubicBezTo>
                    <a:cubicBezTo>
                      <a:pt x="434" y="292"/>
                      <a:pt x="434" y="291"/>
                      <a:pt x="434" y="291"/>
                    </a:cubicBezTo>
                    <a:cubicBezTo>
                      <a:pt x="434" y="289"/>
                      <a:pt x="436" y="288"/>
                      <a:pt x="437" y="287"/>
                    </a:cubicBezTo>
                    <a:cubicBezTo>
                      <a:pt x="437" y="287"/>
                      <a:pt x="438" y="286"/>
                      <a:pt x="438" y="285"/>
                    </a:cubicBezTo>
                    <a:cubicBezTo>
                      <a:pt x="439" y="285"/>
                      <a:pt x="439" y="284"/>
                      <a:pt x="440" y="284"/>
                    </a:cubicBezTo>
                    <a:cubicBezTo>
                      <a:pt x="439" y="284"/>
                      <a:pt x="439" y="285"/>
                      <a:pt x="439" y="285"/>
                    </a:cubicBezTo>
                    <a:cubicBezTo>
                      <a:pt x="439" y="285"/>
                      <a:pt x="441" y="283"/>
                      <a:pt x="441" y="284"/>
                    </a:cubicBezTo>
                    <a:cubicBezTo>
                      <a:pt x="441" y="284"/>
                      <a:pt x="441" y="284"/>
                      <a:pt x="441" y="284"/>
                    </a:cubicBezTo>
                    <a:cubicBezTo>
                      <a:pt x="441" y="284"/>
                      <a:pt x="441" y="283"/>
                      <a:pt x="442" y="283"/>
                    </a:cubicBezTo>
                    <a:cubicBezTo>
                      <a:pt x="441" y="283"/>
                      <a:pt x="440" y="284"/>
                      <a:pt x="440" y="284"/>
                    </a:cubicBezTo>
                    <a:cubicBezTo>
                      <a:pt x="441" y="283"/>
                      <a:pt x="442" y="281"/>
                      <a:pt x="444" y="280"/>
                    </a:cubicBezTo>
                    <a:cubicBezTo>
                      <a:pt x="444" y="281"/>
                      <a:pt x="445" y="280"/>
                      <a:pt x="444" y="280"/>
                    </a:cubicBezTo>
                    <a:cubicBezTo>
                      <a:pt x="444" y="280"/>
                      <a:pt x="444" y="280"/>
                      <a:pt x="443" y="281"/>
                    </a:cubicBezTo>
                    <a:cubicBezTo>
                      <a:pt x="444" y="279"/>
                      <a:pt x="445" y="279"/>
                      <a:pt x="445" y="278"/>
                    </a:cubicBezTo>
                    <a:cubicBezTo>
                      <a:pt x="446" y="277"/>
                      <a:pt x="446" y="277"/>
                      <a:pt x="446" y="276"/>
                    </a:cubicBezTo>
                    <a:cubicBezTo>
                      <a:pt x="447" y="276"/>
                      <a:pt x="447" y="275"/>
                      <a:pt x="447" y="275"/>
                    </a:cubicBezTo>
                    <a:cubicBezTo>
                      <a:pt x="448" y="274"/>
                      <a:pt x="449" y="273"/>
                      <a:pt x="449" y="273"/>
                    </a:cubicBezTo>
                    <a:cubicBezTo>
                      <a:pt x="450" y="273"/>
                      <a:pt x="450" y="273"/>
                      <a:pt x="450" y="272"/>
                    </a:cubicBezTo>
                    <a:cubicBezTo>
                      <a:pt x="450" y="272"/>
                      <a:pt x="449" y="273"/>
                      <a:pt x="449" y="272"/>
                    </a:cubicBezTo>
                    <a:cubicBezTo>
                      <a:pt x="449" y="272"/>
                      <a:pt x="450" y="271"/>
                      <a:pt x="450" y="271"/>
                    </a:cubicBezTo>
                    <a:cubicBezTo>
                      <a:pt x="450" y="271"/>
                      <a:pt x="451" y="271"/>
                      <a:pt x="451" y="270"/>
                    </a:cubicBezTo>
                    <a:cubicBezTo>
                      <a:pt x="450" y="271"/>
                      <a:pt x="452" y="269"/>
                      <a:pt x="452" y="269"/>
                    </a:cubicBezTo>
                    <a:cubicBezTo>
                      <a:pt x="452" y="268"/>
                      <a:pt x="453" y="267"/>
                      <a:pt x="454" y="267"/>
                    </a:cubicBezTo>
                    <a:cubicBezTo>
                      <a:pt x="454" y="266"/>
                      <a:pt x="455" y="265"/>
                      <a:pt x="456" y="264"/>
                    </a:cubicBezTo>
                    <a:cubicBezTo>
                      <a:pt x="456" y="263"/>
                      <a:pt x="456" y="262"/>
                      <a:pt x="457" y="262"/>
                    </a:cubicBezTo>
                    <a:cubicBezTo>
                      <a:pt x="457" y="262"/>
                      <a:pt x="457" y="262"/>
                      <a:pt x="457" y="262"/>
                    </a:cubicBezTo>
                    <a:cubicBezTo>
                      <a:pt x="457" y="261"/>
                      <a:pt x="458" y="261"/>
                      <a:pt x="458" y="261"/>
                    </a:cubicBezTo>
                    <a:cubicBezTo>
                      <a:pt x="459" y="261"/>
                      <a:pt x="458" y="261"/>
                      <a:pt x="459" y="260"/>
                    </a:cubicBezTo>
                    <a:cubicBezTo>
                      <a:pt x="458" y="260"/>
                      <a:pt x="458" y="261"/>
                      <a:pt x="458" y="261"/>
                    </a:cubicBezTo>
                    <a:cubicBezTo>
                      <a:pt x="459" y="260"/>
                      <a:pt x="459" y="259"/>
                      <a:pt x="460" y="259"/>
                    </a:cubicBezTo>
                    <a:cubicBezTo>
                      <a:pt x="460" y="259"/>
                      <a:pt x="459" y="259"/>
                      <a:pt x="459" y="259"/>
                    </a:cubicBezTo>
                    <a:cubicBezTo>
                      <a:pt x="460" y="258"/>
                      <a:pt x="460" y="258"/>
                      <a:pt x="460" y="257"/>
                    </a:cubicBezTo>
                    <a:cubicBezTo>
                      <a:pt x="460" y="257"/>
                      <a:pt x="461" y="256"/>
                      <a:pt x="461" y="256"/>
                    </a:cubicBezTo>
                    <a:cubicBezTo>
                      <a:pt x="461" y="256"/>
                      <a:pt x="461" y="256"/>
                      <a:pt x="462" y="255"/>
                    </a:cubicBezTo>
                    <a:cubicBezTo>
                      <a:pt x="462" y="255"/>
                      <a:pt x="462" y="254"/>
                      <a:pt x="462" y="253"/>
                    </a:cubicBezTo>
                    <a:cubicBezTo>
                      <a:pt x="463" y="253"/>
                      <a:pt x="463" y="254"/>
                      <a:pt x="463" y="254"/>
                    </a:cubicBezTo>
                    <a:cubicBezTo>
                      <a:pt x="463" y="254"/>
                      <a:pt x="464" y="254"/>
                      <a:pt x="464" y="254"/>
                    </a:cubicBezTo>
                    <a:cubicBezTo>
                      <a:pt x="464" y="254"/>
                      <a:pt x="463" y="254"/>
                      <a:pt x="463" y="254"/>
                    </a:cubicBezTo>
                    <a:cubicBezTo>
                      <a:pt x="463" y="254"/>
                      <a:pt x="464" y="253"/>
                      <a:pt x="464" y="253"/>
                    </a:cubicBezTo>
                    <a:cubicBezTo>
                      <a:pt x="464" y="253"/>
                      <a:pt x="464" y="254"/>
                      <a:pt x="464" y="254"/>
                    </a:cubicBezTo>
                    <a:cubicBezTo>
                      <a:pt x="465" y="254"/>
                      <a:pt x="465" y="254"/>
                      <a:pt x="466" y="253"/>
                    </a:cubicBezTo>
                    <a:cubicBezTo>
                      <a:pt x="466" y="253"/>
                      <a:pt x="467" y="253"/>
                      <a:pt x="467" y="254"/>
                    </a:cubicBezTo>
                    <a:cubicBezTo>
                      <a:pt x="467" y="255"/>
                      <a:pt x="469" y="254"/>
                      <a:pt x="469" y="254"/>
                    </a:cubicBezTo>
                    <a:cubicBezTo>
                      <a:pt x="469" y="254"/>
                      <a:pt x="468" y="254"/>
                      <a:pt x="468" y="253"/>
                    </a:cubicBezTo>
                    <a:cubicBezTo>
                      <a:pt x="468" y="253"/>
                      <a:pt x="468" y="253"/>
                      <a:pt x="467" y="253"/>
                    </a:cubicBezTo>
                    <a:cubicBezTo>
                      <a:pt x="467" y="253"/>
                      <a:pt x="465" y="253"/>
                      <a:pt x="466" y="252"/>
                    </a:cubicBezTo>
                    <a:cubicBezTo>
                      <a:pt x="465" y="252"/>
                      <a:pt x="464" y="253"/>
                      <a:pt x="463" y="253"/>
                    </a:cubicBezTo>
                    <a:cubicBezTo>
                      <a:pt x="463" y="252"/>
                      <a:pt x="463" y="253"/>
                      <a:pt x="462" y="253"/>
                    </a:cubicBezTo>
                    <a:cubicBezTo>
                      <a:pt x="463" y="252"/>
                      <a:pt x="463" y="251"/>
                      <a:pt x="464" y="250"/>
                    </a:cubicBezTo>
                    <a:cubicBezTo>
                      <a:pt x="464" y="250"/>
                      <a:pt x="465" y="249"/>
                      <a:pt x="465" y="249"/>
                    </a:cubicBezTo>
                    <a:cubicBezTo>
                      <a:pt x="465" y="249"/>
                      <a:pt x="465" y="250"/>
                      <a:pt x="464" y="250"/>
                    </a:cubicBezTo>
                    <a:cubicBezTo>
                      <a:pt x="464" y="250"/>
                      <a:pt x="464" y="251"/>
                      <a:pt x="464" y="251"/>
                    </a:cubicBezTo>
                    <a:cubicBezTo>
                      <a:pt x="463" y="252"/>
                      <a:pt x="464" y="251"/>
                      <a:pt x="465" y="251"/>
                    </a:cubicBezTo>
                    <a:cubicBezTo>
                      <a:pt x="465" y="251"/>
                      <a:pt x="465" y="251"/>
                      <a:pt x="465" y="251"/>
                    </a:cubicBezTo>
                    <a:cubicBezTo>
                      <a:pt x="465" y="251"/>
                      <a:pt x="465" y="250"/>
                      <a:pt x="465" y="250"/>
                    </a:cubicBezTo>
                    <a:cubicBezTo>
                      <a:pt x="466" y="250"/>
                      <a:pt x="466" y="249"/>
                      <a:pt x="466" y="249"/>
                    </a:cubicBezTo>
                    <a:cubicBezTo>
                      <a:pt x="466" y="249"/>
                      <a:pt x="466" y="249"/>
                      <a:pt x="466" y="248"/>
                    </a:cubicBezTo>
                    <a:cubicBezTo>
                      <a:pt x="467" y="248"/>
                      <a:pt x="467" y="248"/>
                      <a:pt x="467" y="248"/>
                    </a:cubicBezTo>
                    <a:cubicBezTo>
                      <a:pt x="467" y="248"/>
                      <a:pt x="468" y="248"/>
                      <a:pt x="467" y="248"/>
                    </a:cubicBezTo>
                    <a:cubicBezTo>
                      <a:pt x="467" y="248"/>
                      <a:pt x="467" y="248"/>
                      <a:pt x="467" y="248"/>
                    </a:cubicBezTo>
                    <a:cubicBezTo>
                      <a:pt x="466" y="248"/>
                      <a:pt x="465" y="248"/>
                      <a:pt x="465" y="247"/>
                    </a:cubicBezTo>
                    <a:cubicBezTo>
                      <a:pt x="466" y="247"/>
                      <a:pt x="466" y="246"/>
                      <a:pt x="466" y="246"/>
                    </a:cubicBezTo>
                    <a:cubicBezTo>
                      <a:pt x="466" y="246"/>
                      <a:pt x="466" y="247"/>
                      <a:pt x="467" y="247"/>
                    </a:cubicBezTo>
                    <a:cubicBezTo>
                      <a:pt x="467" y="246"/>
                      <a:pt x="467" y="246"/>
                      <a:pt x="467" y="246"/>
                    </a:cubicBezTo>
                    <a:cubicBezTo>
                      <a:pt x="467" y="246"/>
                      <a:pt x="467" y="246"/>
                      <a:pt x="468" y="246"/>
                    </a:cubicBezTo>
                    <a:cubicBezTo>
                      <a:pt x="468" y="245"/>
                      <a:pt x="469" y="245"/>
                      <a:pt x="469" y="245"/>
                    </a:cubicBezTo>
                    <a:cubicBezTo>
                      <a:pt x="468" y="245"/>
                      <a:pt x="468" y="245"/>
                      <a:pt x="468" y="244"/>
                    </a:cubicBezTo>
                    <a:cubicBezTo>
                      <a:pt x="468" y="244"/>
                      <a:pt x="466" y="245"/>
                      <a:pt x="466" y="246"/>
                    </a:cubicBezTo>
                    <a:cubicBezTo>
                      <a:pt x="467" y="244"/>
                      <a:pt x="468" y="243"/>
                      <a:pt x="468" y="242"/>
                    </a:cubicBezTo>
                    <a:cubicBezTo>
                      <a:pt x="468" y="241"/>
                      <a:pt x="468" y="240"/>
                      <a:pt x="469" y="239"/>
                    </a:cubicBezTo>
                    <a:cubicBezTo>
                      <a:pt x="469" y="239"/>
                      <a:pt x="469" y="238"/>
                      <a:pt x="470" y="237"/>
                    </a:cubicBezTo>
                    <a:cubicBezTo>
                      <a:pt x="470" y="237"/>
                      <a:pt x="470" y="236"/>
                      <a:pt x="470" y="236"/>
                    </a:cubicBezTo>
                    <a:cubicBezTo>
                      <a:pt x="469" y="234"/>
                      <a:pt x="470" y="234"/>
                      <a:pt x="470" y="233"/>
                    </a:cubicBezTo>
                    <a:cubicBezTo>
                      <a:pt x="471" y="232"/>
                      <a:pt x="471" y="232"/>
                      <a:pt x="472" y="231"/>
                    </a:cubicBezTo>
                    <a:cubicBezTo>
                      <a:pt x="472" y="231"/>
                      <a:pt x="472" y="231"/>
                      <a:pt x="472" y="230"/>
                    </a:cubicBezTo>
                    <a:cubicBezTo>
                      <a:pt x="472" y="230"/>
                      <a:pt x="472" y="230"/>
                      <a:pt x="473" y="230"/>
                    </a:cubicBezTo>
                    <a:cubicBezTo>
                      <a:pt x="473" y="230"/>
                      <a:pt x="474" y="231"/>
                      <a:pt x="474" y="231"/>
                    </a:cubicBezTo>
                    <a:cubicBezTo>
                      <a:pt x="475" y="231"/>
                      <a:pt x="476" y="231"/>
                      <a:pt x="476" y="232"/>
                    </a:cubicBezTo>
                    <a:cubicBezTo>
                      <a:pt x="476" y="232"/>
                      <a:pt x="477" y="232"/>
                      <a:pt x="477" y="232"/>
                    </a:cubicBezTo>
                    <a:cubicBezTo>
                      <a:pt x="479" y="232"/>
                      <a:pt x="480" y="233"/>
                      <a:pt x="481" y="233"/>
                    </a:cubicBezTo>
                    <a:cubicBezTo>
                      <a:pt x="481" y="233"/>
                      <a:pt x="482" y="233"/>
                      <a:pt x="482" y="233"/>
                    </a:cubicBezTo>
                    <a:cubicBezTo>
                      <a:pt x="483" y="233"/>
                      <a:pt x="483" y="232"/>
                      <a:pt x="484" y="232"/>
                    </a:cubicBezTo>
                    <a:cubicBezTo>
                      <a:pt x="484" y="232"/>
                      <a:pt x="484" y="232"/>
                      <a:pt x="484" y="232"/>
                    </a:cubicBezTo>
                    <a:cubicBezTo>
                      <a:pt x="484" y="233"/>
                      <a:pt x="484" y="233"/>
                      <a:pt x="484" y="233"/>
                    </a:cubicBezTo>
                    <a:cubicBezTo>
                      <a:pt x="484" y="233"/>
                      <a:pt x="484" y="234"/>
                      <a:pt x="484" y="234"/>
                    </a:cubicBezTo>
                    <a:cubicBezTo>
                      <a:pt x="484" y="234"/>
                      <a:pt x="485" y="232"/>
                      <a:pt x="485" y="233"/>
                    </a:cubicBezTo>
                    <a:cubicBezTo>
                      <a:pt x="485" y="234"/>
                      <a:pt x="485" y="234"/>
                      <a:pt x="485" y="234"/>
                    </a:cubicBezTo>
                    <a:cubicBezTo>
                      <a:pt x="486" y="234"/>
                      <a:pt x="485" y="233"/>
                      <a:pt x="486" y="233"/>
                    </a:cubicBezTo>
                    <a:cubicBezTo>
                      <a:pt x="486" y="233"/>
                      <a:pt x="487" y="232"/>
                      <a:pt x="487" y="233"/>
                    </a:cubicBezTo>
                    <a:cubicBezTo>
                      <a:pt x="487" y="233"/>
                      <a:pt x="486" y="233"/>
                      <a:pt x="486" y="233"/>
                    </a:cubicBezTo>
                    <a:cubicBezTo>
                      <a:pt x="486" y="234"/>
                      <a:pt x="487" y="235"/>
                      <a:pt x="486" y="236"/>
                    </a:cubicBezTo>
                    <a:cubicBezTo>
                      <a:pt x="485" y="236"/>
                      <a:pt x="485" y="236"/>
                      <a:pt x="484" y="237"/>
                    </a:cubicBezTo>
                    <a:cubicBezTo>
                      <a:pt x="484" y="237"/>
                      <a:pt x="484" y="237"/>
                      <a:pt x="483" y="237"/>
                    </a:cubicBezTo>
                    <a:cubicBezTo>
                      <a:pt x="483" y="237"/>
                      <a:pt x="484" y="236"/>
                      <a:pt x="484" y="236"/>
                    </a:cubicBezTo>
                    <a:cubicBezTo>
                      <a:pt x="484" y="236"/>
                      <a:pt x="484" y="236"/>
                      <a:pt x="484" y="236"/>
                    </a:cubicBezTo>
                    <a:cubicBezTo>
                      <a:pt x="484" y="236"/>
                      <a:pt x="484" y="236"/>
                      <a:pt x="484" y="236"/>
                    </a:cubicBezTo>
                    <a:cubicBezTo>
                      <a:pt x="483" y="236"/>
                      <a:pt x="483" y="237"/>
                      <a:pt x="483" y="237"/>
                    </a:cubicBezTo>
                    <a:cubicBezTo>
                      <a:pt x="482" y="238"/>
                      <a:pt x="482" y="238"/>
                      <a:pt x="482" y="238"/>
                    </a:cubicBezTo>
                    <a:cubicBezTo>
                      <a:pt x="481" y="239"/>
                      <a:pt x="480" y="239"/>
                      <a:pt x="479" y="240"/>
                    </a:cubicBezTo>
                    <a:cubicBezTo>
                      <a:pt x="478" y="241"/>
                      <a:pt x="478" y="241"/>
                      <a:pt x="479" y="241"/>
                    </a:cubicBezTo>
                    <a:cubicBezTo>
                      <a:pt x="480" y="241"/>
                      <a:pt x="481" y="241"/>
                      <a:pt x="481" y="240"/>
                    </a:cubicBezTo>
                    <a:cubicBezTo>
                      <a:pt x="480" y="240"/>
                      <a:pt x="480" y="241"/>
                      <a:pt x="479" y="241"/>
                    </a:cubicBezTo>
                    <a:cubicBezTo>
                      <a:pt x="478" y="241"/>
                      <a:pt x="480" y="239"/>
                      <a:pt x="480" y="239"/>
                    </a:cubicBezTo>
                    <a:cubicBezTo>
                      <a:pt x="481" y="239"/>
                      <a:pt x="481" y="238"/>
                      <a:pt x="482" y="238"/>
                    </a:cubicBezTo>
                    <a:cubicBezTo>
                      <a:pt x="483" y="238"/>
                      <a:pt x="483" y="238"/>
                      <a:pt x="484" y="237"/>
                    </a:cubicBezTo>
                    <a:cubicBezTo>
                      <a:pt x="484" y="237"/>
                      <a:pt x="486" y="235"/>
                      <a:pt x="486" y="236"/>
                    </a:cubicBezTo>
                    <a:cubicBezTo>
                      <a:pt x="487" y="236"/>
                      <a:pt x="487" y="235"/>
                      <a:pt x="487" y="235"/>
                    </a:cubicBezTo>
                    <a:cubicBezTo>
                      <a:pt x="488" y="235"/>
                      <a:pt x="487" y="237"/>
                      <a:pt x="486" y="237"/>
                    </a:cubicBezTo>
                    <a:cubicBezTo>
                      <a:pt x="486" y="237"/>
                      <a:pt x="486" y="237"/>
                      <a:pt x="486" y="237"/>
                    </a:cubicBezTo>
                    <a:cubicBezTo>
                      <a:pt x="486" y="237"/>
                      <a:pt x="485" y="237"/>
                      <a:pt x="485" y="237"/>
                    </a:cubicBezTo>
                    <a:cubicBezTo>
                      <a:pt x="485" y="237"/>
                      <a:pt x="485" y="237"/>
                      <a:pt x="485" y="237"/>
                    </a:cubicBezTo>
                    <a:cubicBezTo>
                      <a:pt x="485" y="237"/>
                      <a:pt x="485" y="238"/>
                      <a:pt x="485" y="238"/>
                    </a:cubicBezTo>
                    <a:cubicBezTo>
                      <a:pt x="484" y="239"/>
                      <a:pt x="484" y="238"/>
                      <a:pt x="484" y="238"/>
                    </a:cubicBezTo>
                    <a:cubicBezTo>
                      <a:pt x="484" y="238"/>
                      <a:pt x="484" y="238"/>
                      <a:pt x="484" y="239"/>
                    </a:cubicBezTo>
                    <a:cubicBezTo>
                      <a:pt x="484" y="239"/>
                      <a:pt x="483" y="239"/>
                      <a:pt x="483" y="239"/>
                    </a:cubicBezTo>
                    <a:cubicBezTo>
                      <a:pt x="483" y="239"/>
                      <a:pt x="485" y="239"/>
                      <a:pt x="485" y="239"/>
                    </a:cubicBezTo>
                    <a:cubicBezTo>
                      <a:pt x="484" y="239"/>
                      <a:pt x="484" y="240"/>
                      <a:pt x="484" y="240"/>
                    </a:cubicBezTo>
                    <a:cubicBezTo>
                      <a:pt x="483" y="241"/>
                      <a:pt x="483" y="241"/>
                      <a:pt x="482" y="242"/>
                    </a:cubicBezTo>
                    <a:cubicBezTo>
                      <a:pt x="482" y="242"/>
                      <a:pt x="481" y="242"/>
                      <a:pt x="482" y="241"/>
                    </a:cubicBezTo>
                    <a:cubicBezTo>
                      <a:pt x="482" y="241"/>
                      <a:pt x="483" y="241"/>
                      <a:pt x="483" y="240"/>
                    </a:cubicBezTo>
                    <a:cubicBezTo>
                      <a:pt x="482" y="241"/>
                      <a:pt x="481" y="241"/>
                      <a:pt x="481" y="242"/>
                    </a:cubicBezTo>
                    <a:cubicBezTo>
                      <a:pt x="481" y="242"/>
                      <a:pt x="481" y="243"/>
                      <a:pt x="480" y="243"/>
                    </a:cubicBezTo>
                    <a:cubicBezTo>
                      <a:pt x="480" y="243"/>
                      <a:pt x="480" y="242"/>
                      <a:pt x="480" y="242"/>
                    </a:cubicBezTo>
                    <a:cubicBezTo>
                      <a:pt x="480" y="242"/>
                      <a:pt x="481" y="242"/>
                      <a:pt x="481" y="241"/>
                    </a:cubicBezTo>
                    <a:cubicBezTo>
                      <a:pt x="481" y="241"/>
                      <a:pt x="481" y="241"/>
                      <a:pt x="481" y="241"/>
                    </a:cubicBezTo>
                    <a:cubicBezTo>
                      <a:pt x="481" y="241"/>
                      <a:pt x="481" y="241"/>
                      <a:pt x="480" y="241"/>
                    </a:cubicBezTo>
                    <a:cubicBezTo>
                      <a:pt x="480" y="242"/>
                      <a:pt x="479" y="242"/>
                      <a:pt x="479" y="242"/>
                    </a:cubicBezTo>
                    <a:cubicBezTo>
                      <a:pt x="479" y="243"/>
                      <a:pt x="478" y="243"/>
                      <a:pt x="478" y="243"/>
                    </a:cubicBezTo>
                    <a:cubicBezTo>
                      <a:pt x="478" y="243"/>
                      <a:pt x="477" y="243"/>
                      <a:pt x="477" y="243"/>
                    </a:cubicBezTo>
                    <a:cubicBezTo>
                      <a:pt x="477" y="243"/>
                      <a:pt x="477" y="243"/>
                      <a:pt x="477" y="243"/>
                    </a:cubicBezTo>
                    <a:cubicBezTo>
                      <a:pt x="477" y="244"/>
                      <a:pt x="477" y="244"/>
                      <a:pt x="477" y="244"/>
                    </a:cubicBezTo>
                    <a:cubicBezTo>
                      <a:pt x="477" y="244"/>
                      <a:pt x="478" y="243"/>
                      <a:pt x="478" y="243"/>
                    </a:cubicBezTo>
                    <a:cubicBezTo>
                      <a:pt x="478" y="243"/>
                      <a:pt x="478" y="244"/>
                      <a:pt x="477" y="244"/>
                    </a:cubicBezTo>
                    <a:cubicBezTo>
                      <a:pt x="478" y="244"/>
                      <a:pt x="478" y="244"/>
                      <a:pt x="478" y="243"/>
                    </a:cubicBezTo>
                    <a:cubicBezTo>
                      <a:pt x="478" y="244"/>
                      <a:pt x="478" y="244"/>
                      <a:pt x="478" y="244"/>
                    </a:cubicBezTo>
                    <a:cubicBezTo>
                      <a:pt x="478" y="244"/>
                      <a:pt x="479" y="243"/>
                      <a:pt x="479" y="243"/>
                    </a:cubicBezTo>
                    <a:cubicBezTo>
                      <a:pt x="479" y="243"/>
                      <a:pt x="479" y="243"/>
                      <a:pt x="479" y="243"/>
                    </a:cubicBezTo>
                    <a:cubicBezTo>
                      <a:pt x="479" y="244"/>
                      <a:pt x="479" y="243"/>
                      <a:pt x="480" y="243"/>
                    </a:cubicBezTo>
                    <a:cubicBezTo>
                      <a:pt x="480" y="243"/>
                      <a:pt x="480" y="244"/>
                      <a:pt x="480" y="244"/>
                    </a:cubicBezTo>
                    <a:cubicBezTo>
                      <a:pt x="481" y="244"/>
                      <a:pt x="482" y="243"/>
                      <a:pt x="482" y="242"/>
                    </a:cubicBezTo>
                    <a:cubicBezTo>
                      <a:pt x="483" y="242"/>
                      <a:pt x="483" y="241"/>
                      <a:pt x="483" y="242"/>
                    </a:cubicBezTo>
                    <a:cubicBezTo>
                      <a:pt x="483" y="242"/>
                      <a:pt x="484" y="242"/>
                      <a:pt x="484" y="242"/>
                    </a:cubicBezTo>
                    <a:cubicBezTo>
                      <a:pt x="484" y="241"/>
                      <a:pt x="485" y="241"/>
                      <a:pt x="485" y="241"/>
                    </a:cubicBezTo>
                    <a:cubicBezTo>
                      <a:pt x="485" y="241"/>
                      <a:pt x="485" y="240"/>
                      <a:pt x="485" y="240"/>
                    </a:cubicBezTo>
                    <a:cubicBezTo>
                      <a:pt x="485" y="240"/>
                      <a:pt x="486" y="239"/>
                      <a:pt x="486" y="239"/>
                    </a:cubicBezTo>
                    <a:cubicBezTo>
                      <a:pt x="486" y="239"/>
                      <a:pt x="486" y="238"/>
                      <a:pt x="486" y="239"/>
                    </a:cubicBezTo>
                    <a:cubicBezTo>
                      <a:pt x="487" y="238"/>
                      <a:pt x="486" y="238"/>
                      <a:pt x="487" y="238"/>
                    </a:cubicBezTo>
                    <a:cubicBezTo>
                      <a:pt x="487" y="237"/>
                      <a:pt x="487" y="237"/>
                      <a:pt x="487" y="237"/>
                    </a:cubicBezTo>
                    <a:cubicBezTo>
                      <a:pt x="488" y="237"/>
                      <a:pt x="487" y="236"/>
                      <a:pt x="488" y="236"/>
                    </a:cubicBezTo>
                    <a:cubicBezTo>
                      <a:pt x="489" y="235"/>
                      <a:pt x="489" y="235"/>
                      <a:pt x="490" y="234"/>
                    </a:cubicBezTo>
                    <a:cubicBezTo>
                      <a:pt x="491" y="234"/>
                      <a:pt x="490" y="234"/>
                      <a:pt x="490" y="233"/>
                    </a:cubicBezTo>
                    <a:cubicBezTo>
                      <a:pt x="490" y="232"/>
                      <a:pt x="491" y="232"/>
                      <a:pt x="491" y="231"/>
                    </a:cubicBezTo>
                    <a:cubicBezTo>
                      <a:pt x="491" y="230"/>
                      <a:pt x="490" y="231"/>
                      <a:pt x="491" y="230"/>
                    </a:cubicBezTo>
                    <a:cubicBezTo>
                      <a:pt x="491" y="229"/>
                      <a:pt x="490" y="230"/>
                      <a:pt x="490" y="230"/>
                    </a:cubicBezTo>
                    <a:cubicBezTo>
                      <a:pt x="489" y="230"/>
                      <a:pt x="490" y="229"/>
                      <a:pt x="490" y="229"/>
                    </a:cubicBezTo>
                    <a:cubicBezTo>
                      <a:pt x="490" y="229"/>
                      <a:pt x="491" y="229"/>
                      <a:pt x="491" y="229"/>
                    </a:cubicBezTo>
                    <a:cubicBezTo>
                      <a:pt x="491" y="229"/>
                      <a:pt x="491" y="230"/>
                      <a:pt x="492" y="229"/>
                    </a:cubicBezTo>
                    <a:cubicBezTo>
                      <a:pt x="492" y="229"/>
                      <a:pt x="492" y="228"/>
                      <a:pt x="492" y="228"/>
                    </a:cubicBezTo>
                    <a:cubicBezTo>
                      <a:pt x="492" y="228"/>
                      <a:pt x="493" y="229"/>
                      <a:pt x="493" y="228"/>
                    </a:cubicBezTo>
                    <a:cubicBezTo>
                      <a:pt x="493" y="227"/>
                      <a:pt x="493" y="227"/>
                      <a:pt x="493" y="227"/>
                    </a:cubicBezTo>
                    <a:cubicBezTo>
                      <a:pt x="494" y="225"/>
                      <a:pt x="492" y="226"/>
                      <a:pt x="492" y="227"/>
                    </a:cubicBezTo>
                    <a:cubicBezTo>
                      <a:pt x="492" y="226"/>
                      <a:pt x="493" y="226"/>
                      <a:pt x="492" y="226"/>
                    </a:cubicBezTo>
                    <a:cubicBezTo>
                      <a:pt x="493" y="225"/>
                      <a:pt x="492" y="225"/>
                      <a:pt x="492" y="225"/>
                    </a:cubicBezTo>
                    <a:cubicBezTo>
                      <a:pt x="493" y="224"/>
                      <a:pt x="492" y="224"/>
                      <a:pt x="492" y="224"/>
                    </a:cubicBezTo>
                    <a:cubicBezTo>
                      <a:pt x="493" y="224"/>
                      <a:pt x="493" y="224"/>
                      <a:pt x="493" y="224"/>
                    </a:cubicBezTo>
                    <a:cubicBezTo>
                      <a:pt x="510" y="224"/>
                      <a:pt x="527" y="224"/>
                      <a:pt x="543" y="224"/>
                    </a:cubicBezTo>
                    <a:cubicBezTo>
                      <a:pt x="577" y="224"/>
                      <a:pt x="610" y="224"/>
                      <a:pt x="644" y="224"/>
                    </a:cubicBezTo>
                    <a:cubicBezTo>
                      <a:pt x="644" y="224"/>
                      <a:pt x="644" y="224"/>
                      <a:pt x="644" y="224"/>
                    </a:cubicBezTo>
                    <a:cubicBezTo>
                      <a:pt x="644" y="223"/>
                      <a:pt x="645" y="223"/>
                      <a:pt x="646" y="224"/>
                    </a:cubicBezTo>
                    <a:cubicBezTo>
                      <a:pt x="648" y="224"/>
                      <a:pt x="649" y="224"/>
                      <a:pt x="651" y="224"/>
                    </a:cubicBezTo>
                    <a:cubicBezTo>
                      <a:pt x="655" y="224"/>
                      <a:pt x="659" y="224"/>
                      <a:pt x="663" y="224"/>
                    </a:cubicBezTo>
                    <a:cubicBezTo>
                      <a:pt x="672" y="224"/>
                      <a:pt x="680" y="224"/>
                      <a:pt x="689" y="224"/>
                    </a:cubicBezTo>
                    <a:cubicBezTo>
                      <a:pt x="697" y="224"/>
                      <a:pt x="705" y="224"/>
                      <a:pt x="714" y="224"/>
                    </a:cubicBezTo>
                    <a:cubicBezTo>
                      <a:pt x="718" y="224"/>
                      <a:pt x="722" y="224"/>
                      <a:pt x="726" y="224"/>
                    </a:cubicBezTo>
                    <a:cubicBezTo>
                      <a:pt x="727" y="224"/>
                      <a:pt x="727" y="224"/>
                      <a:pt x="728" y="223"/>
                    </a:cubicBezTo>
                    <a:cubicBezTo>
                      <a:pt x="728" y="223"/>
                      <a:pt x="728" y="222"/>
                      <a:pt x="728" y="222"/>
                    </a:cubicBezTo>
                    <a:cubicBezTo>
                      <a:pt x="729" y="222"/>
                      <a:pt x="729" y="221"/>
                      <a:pt x="729" y="221"/>
                    </a:cubicBezTo>
                    <a:cubicBezTo>
                      <a:pt x="729" y="221"/>
                      <a:pt x="729" y="220"/>
                      <a:pt x="729" y="220"/>
                    </a:cubicBezTo>
                    <a:cubicBezTo>
                      <a:pt x="730" y="219"/>
                      <a:pt x="730" y="220"/>
                      <a:pt x="730" y="220"/>
                    </a:cubicBezTo>
                    <a:cubicBezTo>
                      <a:pt x="731" y="220"/>
                      <a:pt x="732" y="220"/>
                      <a:pt x="732" y="220"/>
                    </a:cubicBezTo>
                    <a:cubicBezTo>
                      <a:pt x="732" y="221"/>
                      <a:pt x="731" y="222"/>
                      <a:pt x="731" y="223"/>
                    </a:cubicBezTo>
                    <a:cubicBezTo>
                      <a:pt x="731" y="223"/>
                      <a:pt x="731" y="224"/>
                      <a:pt x="730" y="225"/>
                    </a:cubicBezTo>
                    <a:cubicBezTo>
                      <a:pt x="730" y="225"/>
                      <a:pt x="730" y="226"/>
                      <a:pt x="730" y="226"/>
                    </a:cubicBezTo>
                    <a:cubicBezTo>
                      <a:pt x="731" y="227"/>
                      <a:pt x="732" y="227"/>
                      <a:pt x="732" y="227"/>
                    </a:cubicBezTo>
                    <a:cubicBezTo>
                      <a:pt x="733" y="227"/>
                      <a:pt x="733" y="227"/>
                      <a:pt x="733" y="227"/>
                    </a:cubicBezTo>
                    <a:cubicBezTo>
                      <a:pt x="734" y="227"/>
                      <a:pt x="736" y="227"/>
                      <a:pt x="736" y="228"/>
                    </a:cubicBezTo>
                    <a:cubicBezTo>
                      <a:pt x="737" y="228"/>
                      <a:pt x="736" y="228"/>
                      <a:pt x="736" y="229"/>
                    </a:cubicBezTo>
                    <a:cubicBezTo>
                      <a:pt x="737" y="229"/>
                      <a:pt x="738" y="229"/>
                      <a:pt x="739" y="228"/>
                    </a:cubicBezTo>
                    <a:cubicBezTo>
                      <a:pt x="739" y="228"/>
                      <a:pt x="739" y="228"/>
                      <a:pt x="740" y="228"/>
                    </a:cubicBezTo>
                    <a:cubicBezTo>
                      <a:pt x="741" y="228"/>
                      <a:pt x="741" y="227"/>
                      <a:pt x="742" y="227"/>
                    </a:cubicBezTo>
                    <a:cubicBezTo>
                      <a:pt x="742" y="227"/>
                      <a:pt x="743" y="228"/>
                      <a:pt x="743" y="228"/>
                    </a:cubicBezTo>
                    <a:cubicBezTo>
                      <a:pt x="744" y="228"/>
                      <a:pt x="745" y="228"/>
                      <a:pt x="746" y="228"/>
                    </a:cubicBezTo>
                    <a:cubicBezTo>
                      <a:pt x="747" y="229"/>
                      <a:pt x="745" y="229"/>
                      <a:pt x="745" y="229"/>
                    </a:cubicBezTo>
                    <a:cubicBezTo>
                      <a:pt x="745" y="230"/>
                      <a:pt x="746" y="229"/>
                      <a:pt x="746" y="229"/>
                    </a:cubicBezTo>
                    <a:cubicBezTo>
                      <a:pt x="747" y="229"/>
                      <a:pt x="747" y="230"/>
                      <a:pt x="747" y="230"/>
                    </a:cubicBezTo>
                    <a:cubicBezTo>
                      <a:pt x="746" y="231"/>
                      <a:pt x="747" y="232"/>
                      <a:pt x="748" y="231"/>
                    </a:cubicBezTo>
                    <a:cubicBezTo>
                      <a:pt x="748" y="231"/>
                      <a:pt x="748" y="230"/>
                      <a:pt x="749" y="230"/>
                    </a:cubicBezTo>
                    <a:cubicBezTo>
                      <a:pt x="749" y="230"/>
                      <a:pt x="750" y="230"/>
                      <a:pt x="750" y="231"/>
                    </a:cubicBezTo>
                    <a:cubicBezTo>
                      <a:pt x="750" y="232"/>
                      <a:pt x="752" y="232"/>
                      <a:pt x="752" y="233"/>
                    </a:cubicBezTo>
                    <a:cubicBezTo>
                      <a:pt x="751" y="234"/>
                      <a:pt x="753" y="233"/>
                      <a:pt x="752" y="233"/>
                    </a:cubicBezTo>
                    <a:cubicBezTo>
                      <a:pt x="752" y="234"/>
                      <a:pt x="753" y="234"/>
                      <a:pt x="753" y="234"/>
                    </a:cubicBezTo>
                    <a:cubicBezTo>
                      <a:pt x="755" y="234"/>
                      <a:pt x="756" y="233"/>
                      <a:pt x="757" y="232"/>
                    </a:cubicBezTo>
                    <a:cubicBezTo>
                      <a:pt x="758" y="232"/>
                      <a:pt x="759" y="232"/>
                      <a:pt x="759" y="232"/>
                    </a:cubicBezTo>
                    <a:cubicBezTo>
                      <a:pt x="760" y="232"/>
                      <a:pt x="759" y="232"/>
                      <a:pt x="760" y="232"/>
                    </a:cubicBezTo>
                    <a:cubicBezTo>
                      <a:pt x="760" y="233"/>
                      <a:pt x="759" y="233"/>
                      <a:pt x="760" y="233"/>
                    </a:cubicBezTo>
                    <a:cubicBezTo>
                      <a:pt x="760" y="233"/>
                      <a:pt x="761" y="233"/>
                      <a:pt x="761" y="233"/>
                    </a:cubicBezTo>
                    <a:cubicBezTo>
                      <a:pt x="761" y="233"/>
                      <a:pt x="761" y="233"/>
                      <a:pt x="762" y="233"/>
                    </a:cubicBezTo>
                    <a:cubicBezTo>
                      <a:pt x="762" y="233"/>
                      <a:pt x="763" y="233"/>
                      <a:pt x="763" y="233"/>
                    </a:cubicBezTo>
                    <a:cubicBezTo>
                      <a:pt x="764" y="233"/>
                      <a:pt x="765" y="233"/>
                      <a:pt x="766" y="233"/>
                    </a:cubicBezTo>
                    <a:cubicBezTo>
                      <a:pt x="766" y="234"/>
                      <a:pt x="766" y="234"/>
                      <a:pt x="767" y="234"/>
                    </a:cubicBezTo>
                    <a:cubicBezTo>
                      <a:pt x="767" y="234"/>
                      <a:pt x="768" y="234"/>
                      <a:pt x="769" y="234"/>
                    </a:cubicBezTo>
                    <a:cubicBezTo>
                      <a:pt x="769" y="234"/>
                      <a:pt x="768" y="234"/>
                      <a:pt x="768" y="235"/>
                    </a:cubicBezTo>
                    <a:cubicBezTo>
                      <a:pt x="768" y="235"/>
                      <a:pt x="767" y="235"/>
                      <a:pt x="767" y="235"/>
                    </a:cubicBezTo>
                    <a:cubicBezTo>
                      <a:pt x="766" y="235"/>
                      <a:pt x="765" y="236"/>
                      <a:pt x="764" y="236"/>
                    </a:cubicBezTo>
                    <a:cubicBezTo>
                      <a:pt x="763" y="237"/>
                      <a:pt x="761" y="237"/>
                      <a:pt x="759" y="238"/>
                    </a:cubicBezTo>
                    <a:cubicBezTo>
                      <a:pt x="757" y="238"/>
                      <a:pt x="756" y="239"/>
                      <a:pt x="754" y="240"/>
                    </a:cubicBezTo>
                    <a:cubicBezTo>
                      <a:pt x="752" y="241"/>
                      <a:pt x="751" y="242"/>
                      <a:pt x="750" y="243"/>
                    </a:cubicBezTo>
                    <a:cubicBezTo>
                      <a:pt x="748" y="244"/>
                      <a:pt x="746" y="244"/>
                      <a:pt x="745" y="245"/>
                    </a:cubicBezTo>
                    <a:cubicBezTo>
                      <a:pt x="744" y="246"/>
                      <a:pt x="743" y="246"/>
                      <a:pt x="742" y="246"/>
                    </a:cubicBezTo>
                    <a:cubicBezTo>
                      <a:pt x="742" y="247"/>
                      <a:pt x="741" y="247"/>
                      <a:pt x="741" y="247"/>
                    </a:cubicBezTo>
                    <a:cubicBezTo>
                      <a:pt x="740" y="249"/>
                      <a:pt x="744" y="248"/>
                      <a:pt x="744" y="248"/>
                    </a:cubicBezTo>
                    <a:cubicBezTo>
                      <a:pt x="745" y="248"/>
                      <a:pt x="746" y="247"/>
                      <a:pt x="747" y="247"/>
                    </a:cubicBezTo>
                    <a:cubicBezTo>
                      <a:pt x="748" y="247"/>
                      <a:pt x="748" y="246"/>
                      <a:pt x="749" y="246"/>
                    </a:cubicBezTo>
                    <a:cubicBezTo>
                      <a:pt x="749" y="247"/>
                      <a:pt x="750" y="246"/>
                      <a:pt x="750" y="246"/>
                    </a:cubicBezTo>
                    <a:cubicBezTo>
                      <a:pt x="751" y="246"/>
                      <a:pt x="751" y="245"/>
                      <a:pt x="752" y="245"/>
                    </a:cubicBezTo>
                    <a:cubicBezTo>
                      <a:pt x="753" y="245"/>
                      <a:pt x="752" y="246"/>
                      <a:pt x="752" y="247"/>
                    </a:cubicBezTo>
                    <a:cubicBezTo>
                      <a:pt x="752" y="247"/>
                      <a:pt x="751" y="247"/>
                      <a:pt x="751" y="248"/>
                    </a:cubicBezTo>
                    <a:cubicBezTo>
                      <a:pt x="751" y="248"/>
                      <a:pt x="751" y="248"/>
                      <a:pt x="751" y="248"/>
                    </a:cubicBezTo>
                    <a:cubicBezTo>
                      <a:pt x="751" y="248"/>
                      <a:pt x="750" y="249"/>
                      <a:pt x="750" y="249"/>
                    </a:cubicBezTo>
                    <a:cubicBezTo>
                      <a:pt x="749" y="249"/>
                      <a:pt x="752" y="249"/>
                      <a:pt x="752" y="248"/>
                    </a:cubicBezTo>
                    <a:cubicBezTo>
                      <a:pt x="752" y="248"/>
                      <a:pt x="752" y="248"/>
                      <a:pt x="752" y="248"/>
                    </a:cubicBezTo>
                    <a:cubicBezTo>
                      <a:pt x="753" y="249"/>
                      <a:pt x="753" y="249"/>
                      <a:pt x="754" y="249"/>
                    </a:cubicBezTo>
                    <a:cubicBezTo>
                      <a:pt x="754" y="250"/>
                      <a:pt x="755" y="249"/>
                      <a:pt x="755" y="249"/>
                    </a:cubicBezTo>
                    <a:cubicBezTo>
                      <a:pt x="757" y="249"/>
                      <a:pt x="758" y="248"/>
                      <a:pt x="760" y="247"/>
                    </a:cubicBezTo>
                    <a:cubicBezTo>
                      <a:pt x="761" y="247"/>
                      <a:pt x="761" y="247"/>
                      <a:pt x="762" y="247"/>
                    </a:cubicBezTo>
                    <a:cubicBezTo>
                      <a:pt x="763" y="247"/>
                      <a:pt x="764" y="246"/>
                      <a:pt x="765" y="246"/>
                    </a:cubicBezTo>
                    <a:cubicBezTo>
                      <a:pt x="766" y="246"/>
                      <a:pt x="766" y="246"/>
                      <a:pt x="767" y="245"/>
                    </a:cubicBezTo>
                    <a:cubicBezTo>
                      <a:pt x="768" y="245"/>
                      <a:pt x="769" y="245"/>
                      <a:pt x="769" y="245"/>
                    </a:cubicBezTo>
                    <a:cubicBezTo>
                      <a:pt x="770" y="244"/>
                      <a:pt x="771" y="244"/>
                      <a:pt x="771" y="243"/>
                    </a:cubicBezTo>
                    <a:cubicBezTo>
                      <a:pt x="772" y="243"/>
                      <a:pt x="774" y="242"/>
                      <a:pt x="773" y="243"/>
                    </a:cubicBezTo>
                    <a:cubicBezTo>
                      <a:pt x="772" y="243"/>
                      <a:pt x="773" y="244"/>
                      <a:pt x="773" y="244"/>
                    </a:cubicBezTo>
                    <a:cubicBezTo>
                      <a:pt x="774" y="244"/>
                      <a:pt x="773" y="244"/>
                      <a:pt x="773" y="244"/>
                    </a:cubicBezTo>
                    <a:cubicBezTo>
                      <a:pt x="774" y="245"/>
                      <a:pt x="772" y="247"/>
                      <a:pt x="772" y="247"/>
                    </a:cubicBezTo>
                    <a:cubicBezTo>
                      <a:pt x="772" y="247"/>
                      <a:pt x="773" y="247"/>
                      <a:pt x="774" y="246"/>
                    </a:cubicBezTo>
                    <a:cubicBezTo>
                      <a:pt x="774" y="246"/>
                      <a:pt x="775" y="245"/>
                      <a:pt x="776" y="245"/>
                    </a:cubicBezTo>
                    <a:cubicBezTo>
                      <a:pt x="775" y="246"/>
                      <a:pt x="774" y="246"/>
                      <a:pt x="774" y="247"/>
                    </a:cubicBezTo>
                    <a:cubicBezTo>
                      <a:pt x="775" y="247"/>
                      <a:pt x="775" y="246"/>
                      <a:pt x="776" y="246"/>
                    </a:cubicBezTo>
                    <a:cubicBezTo>
                      <a:pt x="777" y="246"/>
                      <a:pt x="778" y="246"/>
                      <a:pt x="778" y="246"/>
                    </a:cubicBezTo>
                    <a:cubicBezTo>
                      <a:pt x="778" y="246"/>
                      <a:pt x="779" y="247"/>
                      <a:pt x="779" y="247"/>
                    </a:cubicBezTo>
                    <a:cubicBezTo>
                      <a:pt x="779" y="247"/>
                      <a:pt x="779" y="247"/>
                      <a:pt x="780" y="247"/>
                    </a:cubicBezTo>
                    <a:cubicBezTo>
                      <a:pt x="780" y="248"/>
                      <a:pt x="780" y="248"/>
                      <a:pt x="780" y="248"/>
                    </a:cubicBezTo>
                    <a:cubicBezTo>
                      <a:pt x="780" y="249"/>
                      <a:pt x="780" y="249"/>
                      <a:pt x="780" y="249"/>
                    </a:cubicBezTo>
                    <a:cubicBezTo>
                      <a:pt x="780" y="250"/>
                      <a:pt x="780" y="250"/>
                      <a:pt x="781" y="250"/>
                    </a:cubicBezTo>
                    <a:cubicBezTo>
                      <a:pt x="782" y="250"/>
                      <a:pt x="782" y="250"/>
                      <a:pt x="783" y="250"/>
                    </a:cubicBezTo>
                    <a:cubicBezTo>
                      <a:pt x="784" y="250"/>
                      <a:pt x="784" y="250"/>
                      <a:pt x="784" y="251"/>
                    </a:cubicBezTo>
                    <a:cubicBezTo>
                      <a:pt x="784" y="251"/>
                      <a:pt x="785" y="250"/>
                      <a:pt x="785" y="250"/>
                    </a:cubicBezTo>
                    <a:cubicBezTo>
                      <a:pt x="786" y="251"/>
                      <a:pt x="786" y="251"/>
                      <a:pt x="786" y="251"/>
                    </a:cubicBezTo>
                    <a:cubicBezTo>
                      <a:pt x="787" y="250"/>
                      <a:pt x="788" y="250"/>
                      <a:pt x="789" y="250"/>
                    </a:cubicBezTo>
                    <a:cubicBezTo>
                      <a:pt x="790" y="249"/>
                      <a:pt x="790" y="249"/>
                      <a:pt x="791" y="248"/>
                    </a:cubicBezTo>
                    <a:cubicBezTo>
                      <a:pt x="793" y="248"/>
                      <a:pt x="795" y="248"/>
                      <a:pt x="797" y="248"/>
                    </a:cubicBezTo>
                    <a:cubicBezTo>
                      <a:pt x="798" y="248"/>
                      <a:pt x="799" y="248"/>
                      <a:pt x="800" y="247"/>
                    </a:cubicBezTo>
                    <a:cubicBezTo>
                      <a:pt x="801" y="247"/>
                      <a:pt x="802" y="247"/>
                      <a:pt x="802" y="247"/>
                    </a:cubicBezTo>
                    <a:cubicBezTo>
                      <a:pt x="802" y="248"/>
                      <a:pt x="801" y="248"/>
                      <a:pt x="801" y="249"/>
                    </a:cubicBezTo>
                    <a:cubicBezTo>
                      <a:pt x="801" y="249"/>
                      <a:pt x="800" y="250"/>
                      <a:pt x="800" y="250"/>
                    </a:cubicBezTo>
                    <a:cubicBezTo>
                      <a:pt x="800" y="250"/>
                      <a:pt x="801" y="251"/>
                      <a:pt x="802" y="251"/>
                    </a:cubicBezTo>
                    <a:cubicBezTo>
                      <a:pt x="802" y="251"/>
                      <a:pt x="803" y="251"/>
                      <a:pt x="803" y="250"/>
                    </a:cubicBezTo>
                    <a:cubicBezTo>
                      <a:pt x="804" y="250"/>
                      <a:pt x="804" y="251"/>
                      <a:pt x="804" y="251"/>
                    </a:cubicBezTo>
                    <a:cubicBezTo>
                      <a:pt x="804" y="251"/>
                      <a:pt x="805" y="251"/>
                      <a:pt x="805" y="251"/>
                    </a:cubicBezTo>
                    <a:cubicBezTo>
                      <a:pt x="806" y="250"/>
                      <a:pt x="807" y="250"/>
                      <a:pt x="806" y="252"/>
                    </a:cubicBezTo>
                    <a:cubicBezTo>
                      <a:pt x="806" y="252"/>
                      <a:pt x="806" y="253"/>
                      <a:pt x="806" y="253"/>
                    </a:cubicBezTo>
                    <a:cubicBezTo>
                      <a:pt x="805" y="254"/>
                      <a:pt x="805" y="254"/>
                      <a:pt x="806" y="254"/>
                    </a:cubicBezTo>
                    <a:cubicBezTo>
                      <a:pt x="806" y="254"/>
                      <a:pt x="807" y="254"/>
                      <a:pt x="807" y="254"/>
                    </a:cubicBezTo>
                    <a:cubicBezTo>
                      <a:pt x="807" y="255"/>
                      <a:pt x="807" y="255"/>
                      <a:pt x="807" y="255"/>
                    </a:cubicBezTo>
                    <a:cubicBezTo>
                      <a:pt x="807" y="255"/>
                      <a:pt x="808" y="256"/>
                      <a:pt x="807" y="256"/>
                    </a:cubicBezTo>
                    <a:cubicBezTo>
                      <a:pt x="806" y="256"/>
                      <a:pt x="805" y="256"/>
                      <a:pt x="805" y="256"/>
                    </a:cubicBezTo>
                    <a:cubicBezTo>
                      <a:pt x="804" y="256"/>
                      <a:pt x="803" y="255"/>
                      <a:pt x="802" y="256"/>
                    </a:cubicBezTo>
                    <a:cubicBezTo>
                      <a:pt x="802" y="255"/>
                      <a:pt x="802" y="255"/>
                      <a:pt x="801" y="255"/>
                    </a:cubicBezTo>
                    <a:cubicBezTo>
                      <a:pt x="801" y="255"/>
                      <a:pt x="801" y="255"/>
                      <a:pt x="801" y="256"/>
                    </a:cubicBezTo>
                    <a:cubicBezTo>
                      <a:pt x="800" y="256"/>
                      <a:pt x="800" y="257"/>
                      <a:pt x="800" y="257"/>
                    </a:cubicBezTo>
                    <a:cubicBezTo>
                      <a:pt x="799" y="257"/>
                      <a:pt x="798" y="256"/>
                      <a:pt x="798" y="256"/>
                    </a:cubicBezTo>
                    <a:cubicBezTo>
                      <a:pt x="798" y="255"/>
                      <a:pt x="797" y="255"/>
                      <a:pt x="796" y="255"/>
                    </a:cubicBezTo>
                    <a:cubicBezTo>
                      <a:pt x="795" y="255"/>
                      <a:pt x="794" y="254"/>
                      <a:pt x="793" y="255"/>
                    </a:cubicBezTo>
                    <a:cubicBezTo>
                      <a:pt x="792" y="256"/>
                      <a:pt x="792" y="256"/>
                      <a:pt x="791" y="256"/>
                    </a:cubicBezTo>
                    <a:cubicBezTo>
                      <a:pt x="790" y="256"/>
                      <a:pt x="790" y="256"/>
                      <a:pt x="789" y="256"/>
                    </a:cubicBezTo>
                    <a:cubicBezTo>
                      <a:pt x="788" y="256"/>
                      <a:pt x="787" y="256"/>
                      <a:pt x="787" y="256"/>
                    </a:cubicBezTo>
                    <a:cubicBezTo>
                      <a:pt x="786" y="257"/>
                      <a:pt x="786" y="258"/>
                      <a:pt x="785" y="258"/>
                    </a:cubicBezTo>
                    <a:cubicBezTo>
                      <a:pt x="784" y="258"/>
                      <a:pt x="783" y="259"/>
                      <a:pt x="782" y="259"/>
                    </a:cubicBezTo>
                    <a:cubicBezTo>
                      <a:pt x="782" y="260"/>
                      <a:pt x="781" y="259"/>
                      <a:pt x="782" y="259"/>
                    </a:cubicBezTo>
                    <a:cubicBezTo>
                      <a:pt x="782" y="259"/>
                      <a:pt x="782" y="258"/>
                      <a:pt x="783" y="258"/>
                    </a:cubicBezTo>
                    <a:cubicBezTo>
                      <a:pt x="783" y="258"/>
                      <a:pt x="783" y="258"/>
                      <a:pt x="783" y="258"/>
                    </a:cubicBezTo>
                    <a:cubicBezTo>
                      <a:pt x="783" y="258"/>
                      <a:pt x="784" y="257"/>
                      <a:pt x="784" y="257"/>
                    </a:cubicBezTo>
                    <a:cubicBezTo>
                      <a:pt x="783" y="257"/>
                      <a:pt x="783" y="257"/>
                      <a:pt x="783" y="257"/>
                    </a:cubicBezTo>
                    <a:cubicBezTo>
                      <a:pt x="782" y="257"/>
                      <a:pt x="782" y="257"/>
                      <a:pt x="782" y="257"/>
                    </a:cubicBezTo>
                    <a:cubicBezTo>
                      <a:pt x="782" y="257"/>
                      <a:pt x="780" y="260"/>
                      <a:pt x="779" y="259"/>
                    </a:cubicBezTo>
                    <a:cubicBezTo>
                      <a:pt x="779" y="259"/>
                      <a:pt x="780" y="257"/>
                      <a:pt x="780" y="257"/>
                    </a:cubicBezTo>
                    <a:cubicBezTo>
                      <a:pt x="780" y="256"/>
                      <a:pt x="779" y="258"/>
                      <a:pt x="779" y="258"/>
                    </a:cubicBezTo>
                    <a:cubicBezTo>
                      <a:pt x="778" y="259"/>
                      <a:pt x="777" y="260"/>
                      <a:pt x="776" y="261"/>
                    </a:cubicBezTo>
                    <a:cubicBezTo>
                      <a:pt x="775" y="261"/>
                      <a:pt x="774" y="262"/>
                      <a:pt x="773" y="263"/>
                    </a:cubicBezTo>
                    <a:cubicBezTo>
                      <a:pt x="772" y="264"/>
                      <a:pt x="772" y="264"/>
                      <a:pt x="771" y="265"/>
                    </a:cubicBezTo>
                    <a:cubicBezTo>
                      <a:pt x="771" y="265"/>
                      <a:pt x="771" y="265"/>
                      <a:pt x="771" y="266"/>
                    </a:cubicBezTo>
                    <a:cubicBezTo>
                      <a:pt x="770" y="266"/>
                      <a:pt x="770" y="267"/>
                      <a:pt x="769" y="267"/>
                    </a:cubicBezTo>
                    <a:cubicBezTo>
                      <a:pt x="768" y="267"/>
                      <a:pt x="768" y="267"/>
                      <a:pt x="768" y="268"/>
                    </a:cubicBezTo>
                    <a:cubicBezTo>
                      <a:pt x="767" y="269"/>
                      <a:pt x="766" y="269"/>
                      <a:pt x="765" y="270"/>
                    </a:cubicBezTo>
                    <a:cubicBezTo>
                      <a:pt x="765" y="270"/>
                      <a:pt x="764" y="271"/>
                      <a:pt x="764" y="271"/>
                    </a:cubicBezTo>
                    <a:cubicBezTo>
                      <a:pt x="765" y="272"/>
                      <a:pt x="765" y="271"/>
                      <a:pt x="765" y="271"/>
                    </a:cubicBezTo>
                    <a:cubicBezTo>
                      <a:pt x="766" y="271"/>
                      <a:pt x="766" y="271"/>
                      <a:pt x="767" y="270"/>
                    </a:cubicBezTo>
                    <a:cubicBezTo>
                      <a:pt x="768" y="270"/>
                      <a:pt x="768" y="269"/>
                      <a:pt x="769" y="269"/>
                    </a:cubicBezTo>
                    <a:cubicBezTo>
                      <a:pt x="769" y="268"/>
                      <a:pt x="770" y="268"/>
                      <a:pt x="770" y="268"/>
                    </a:cubicBezTo>
                    <a:cubicBezTo>
                      <a:pt x="771" y="268"/>
                      <a:pt x="771" y="267"/>
                      <a:pt x="771" y="268"/>
                    </a:cubicBezTo>
                    <a:cubicBezTo>
                      <a:pt x="771" y="269"/>
                      <a:pt x="772" y="269"/>
                      <a:pt x="771" y="269"/>
                    </a:cubicBezTo>
                    <a:cubicBezTo>
                      <a:pt x="771" y="270"/>
                      <a:pt x="771" y="270"/>
                      <a:pt x="770" y="271"/>
                    </a:cubicBezTo>
                    <a:cubicBezTo>
                      <a:pt x="769" y="271"/>
                      <a:pt x="769" y="272"/>
                      <a:pt x="768" y="273"/>
                    </a:cubicBezTo>
                    <a:cubicBezTo>
                      <a:pt x="768" y="273"/>
                      <a:pt x="767" y="274"/>
                      <a:pt x="767" y="274"/>
                    </a:cubicBezTo>
                    <a:cubicBezTo>
                      <a:pt x="767" y="276"/>
                      <a:pt x="766" y="276"/>
                      <a:pt x="765" y="277"/>
                    </a:cubicBezTo>
                    <a:cubicBezTo>
                      <a:pt x="764" y="277"/>
                      <a:pt x="764" y="278"/>
                      <a:pt x="764" y="279"/>
                    </a:cubicBezTo>
                    <a:cubicBezTo>
                      <a:pt x="763" y="280"/>
                      <a:pt x="763" y="280"/>
                      <a:pt x="763" y="281"/>
                    </a:cubicBezTo>
                    <a:cubicBezTo>
                      <a:pt x="762" y="281"/>
                      <a:pt x="762" y="282"/>
                      <a:pt x="762" y="282"/>
                    </a:cubicBezTo>
                    <a:cubicBezTo>
                      <a:pt x="761" y="283"/>
                      <a:pt x="760" y="284"/>
                      <a:pt x="760" y="284"/>
                    </a:cubicBezTo>
                    <a:cubicBezTo>
                      <a:pt x="759" y="285"/>
                      <a:pt x="759" y="285"/>
                      <a:pt x="759" y="286"/>
                    </a:cubicBezTo>
                    <a:cubicBezTo>
                      <a:pt x="759" y="286"/>
                      <a:pt x="759" y="286"/>
                      <a:pt x="759" y="287"/>
                    </a:cubicBezTo>
                    <a:cubicBezTo>
                      <a:pt x="758" y="287"/>
                      <a:pt x="758" y="288"/>
                      <a:pt x="758" y="288"/>
                    </a:cubicBezTo>
                    <a:cubicBezTo>
                      <a:pt x="758" y="289"/>
                      <a:pt x="758" y="289"/>
                      <a:pt x="758" y="289"/>
                    </a:cubicBezTo>
                    <a:cubicBezTo>
                      <a:pt x="758" y="290"/>
                      <a:pt x="758" y="290"/>
                      <a:pt x="758" y="290"/>
                    </a:cubicBezTo>
                    <a:cubicBezTo>
                      <a:pt x="758" y="291"/>
                      <a:pt x="758" y="291"/>
                      <a:pt x="757" y="291"/>
                    </a:cubicBezTo>
                    <a:cubicBezTo>
                      <a:pt x="756" y="293"/>
                      <a:pt x="756" y="294"/>
                      <a:pt x="755" y="296"/>
                    </a:cubicBezTo>
                    <a:cubicBezTo>
                      <a:pt x="755" y="296"/>
                      <a:pt x="755" y="297"/>
                      <a:pt x="755" y="298"/>
                    </a:cubicBezTo>
                    <a:cubicBezTo>
                      <a:pt x="755" y="298"/>
                      <a:pt x="755" y="298"/>
                      <a:pt x="755" y="299"/>
                    </a:cubicBezTo>
                    <a:cubicBezTo>
                      <a:pt x="755" y="299"/>
                      <a:pt x="754" y="303"/>
                      <a:pt x="756" y="303"/>
                    </a:cubicBezTo>
                    <a:cubicBezTo>
                      <a:pt x="755" y="304"/>
                      <a:pt x="760" y="302"/>
                      <a:pt x="760" y="302"/>
                    </a:cubicBezTo>
                    <a:cubicBezTo>
                      <a:pt x="761" y="302"/>
                      <a:pt x="762" y="301"/>
                      <a:pt x="763" y="300"/>
                    </a:cubicBezTo>
                    <a:cubicBezTo>
                      <a:pt x="765" y="299"/>
                      <a:pt x="765" y="298"/>
                      <a:pt x="766" y="297"/>
                    </a:cubicBezTo>
                    <a:cubicBezTo>
                      <a:pt x="769" y="295"/>
                      <a:pt x="770" y="293"/>
                      <a:pt x="771" y="291"/>
                    </a:cubicBezTo>
                    <a:cubicBezTo>
                      <a:pt x="772" y="289"/>
                      <a:pt x="772" y="288"/>
                      <a:pt x="772" y="287"/>
                    </a:cubicBezTo>
                    <a:cubicBezTo>
                      <a:pt x="772" y="287"/>
                      <a:pt x="772" y="286"/>
                      <a:pt x="773" y="286"/>
                    </a:cubicBezTo>
                    <a:cubicBezTo>
                      <a:pt x="773" y="286"/>
                      <a:pt x="773" y="286"/>
                      <a:pt x="773" y="285"/>
                    </a:cubicBezTo>
                    <a:cubicBezTo>
                      <a:pt x="773" y="285"/>
                      <a:pt x="773" y="285"/>
                      <a:pt x="773" y="286"/>
                    </a:cubicBezTo>
                    <a:cubicBezTo>
                      <a:pt x="772" y="285"/>
                      <a:pt x="773" y="284"/>
                      <a:pt x="773" y="283"/>
                    </a:cubicBezTo>
                    <a:cubicBezTo>
                      <a:pt x="773" y="282"/>
                      <a:pt x="773" y="281"/>
                      <a:pt x="773" y="280"/>
                    </a:cubicBezTo>
                    <a:cubicBezTo>
                      <a:pt x="774" y="280"/>
                      <a:pt x="774" y="279"/>
                      <a:pt x="775" y="278"/>
                    </a:cubicBezTo>
                    <a:cubicBezTo>
                      <a:pt x="775" y="278"/>
                      <a:pt x="775" y="277"/>
                      <a:pt x="775" y="277"/>
                    </a:cubicBezTo>
                    <a:cubicBezTo>
                      <a:pt x="775" y="276"/>
                      <a:pt x="776" y="276"/>
                      <a:pt x="777" y="275"/>
                    </a:cubicBezTo>
                    <a:cubicBezTo>
                      <a:pt x="778" y="275"/>
                      <a:pt x="778" y="274"/>
                      <a:pt x="779" y="273"/>
                    </a:cubicBezTo>
                    <a:cubicBezTo>
                      <a:pt x="779" y="273"/>
                      <a:pt x="780" y="272"/>
                      <a:pt x="780" y="271"/>
                    </a:cubicBezTo>
                    <a:cubicBezTo>
                      <a:pt x="780" y="270"/>
                      <a:pt x="780" y="269"/>
                      <a:pt x="781" y="269"/>
                    </a:cubicBezTo>
                    <a:cubicBezTo>
                      <a:pt x="782" y="269"/>
                      <a:pt x="782" y="269"/>
                      <a:pt x="783" y="268"/>
                    </a:cubicBezTo>
                    <a:cubicBezTo>
                      <a:pt x="783" y="268"/>
                      <a:pt x="783" y="268"/>
                      <a:pt x="784" y="267"/>
                    </a:cubicBezTo>
                    <a:cubicBezTo>
                      <a:pt x="784" y="267"/>
                      <a:pt x="784" y="267"/>
                      <a:pt x="785" y="267"/>
                    </a:cubicBezTo>
                    <a:cubicBezTo>
                      <a:pt x="785" y="267"/>
                      <a:pt x="785" y="267"/>
                      <a:pt x="785" y="267"/>
                    </a:cubicBezTo>
                    <a:cubicBezTo>
                      <a:pt x="786" y="267"/>
                      <a:pt x="786" y="266"/>
                      <a:pt x="787" y="266"/>
                    </a:cubicBezTo>
                    <a:cubicBezTo>
                      <a:pt x="787" y="265"/>
                      <a:pt x="788" y="265"/>
                      <a:pt x="788" y="264"/>
                    </a:cubicBezTo>
                    <a:cubicBezTo>
                      <a:pt x="789" y="264"/>
                      <a:pt x="790" y="264"/>
                      <a:pt x="789" y="264"/>
                    </a:cubicBezTo>
                    <a:cubicBezTo>
                      <a:pt x="789" y="265"/>
                      <a:pt x="788" y="265"/>
                      <a:pt x="788" y="266"/>
                    </a:cubicBezTo>
                    <a:cubicBezTo>
                      <a:pt x="788" y="266"/>
                      <a:pt x="788" y="266"/>
                      <a:pt x="787" y="267"/>
                    </a:cubicBezTo>
                    <a:cubicBezTo>
                      <a:pt x="788" y="267"/>
                      <a:pt x="787" y="267"/>
                      <a:pt x="787" y="267"/>
                    </a:cubicBezTo>
                    <a:cubicBezTo>
                      <a:pt x="787" y="268"/>
                      <a:pt x="786" y="268"/>
                      <a:pt x="786" y="269"/>
                    </a:cubicBezTo>
                    <a:cubicBezTo>
                      <a:pt x="787" y="269"/>
                      <a:pt x="789" y="266"/>
                      <a:pt x="789" y="267"/>
                    </a:cubicBezTo>
                    <a:cubicBezTo>
                      <a:pt x="789" y="267"/>
                      <a:pt x="787" y="269"/>
                      <a:pt x="787" y="269"/>
                    </a:cubicBezTo>
                    <a:cubicBezTo>
                      <a:pt x="788" y="269"/>
                      <a:pt x="788" y="268"/>
                      <a:pt x="789" y="267"/>
                    </a:cubicBezTo>
                    <a:cubicBezTo>
                      <a:pt x="790" y="267"/>
                      <a:pt x="790" y="266"/>
                      <a:pt x="790" y="265"/>
                    </a:cubicBezTo>
                    <a:cubicBezTo>
                      <a:pt x="791" y="264"/>
                      <a:pt x="792" y="263"/>
                      <a:pt x="793" y="263"/>
                    </a:cubicBezTo>
                    <a:cubicBezTo>
                      <a:pt x="793" y="263"/>
                      <a:pt x="796" y="262"/>
                      <a:pt x="796" y="262"/>
                    </a:cubicBezTo>
                    <a:cubicBezTo>
                      <a:pt x="796" y="262"/>
                      <a:pt x="795" y="262"/>
                      <a:pt x="795" y="261"/>
                    </a:cubicBezTo>
                    <a:cubicBezTo>
                      <a:pt x="794" y="261"/>
                      <a:pt x="795" y="261"/>
                      <a:pt x="795" y="260"/>
                    </a:cubicBezTo>
                    <a:cubicBezTo>
                      <a:pt x="795" y="260"/>
                      <a:pt x="797" y="259"/>
                      <a:pt x="797" y="258"/>
                    </a:cubicBezTo>
                    <a:cubicBezTo>
                      <a:pt x="797" y="259"/>
                      <a:pt x="799" y="258"/>
                      <a:pt x="799" y="258"/>
                    </a:cubicBezTo>
                    <a:cubicBezTo>
                      <a:pt x="800" y="259"/>
                      <a:pt x="801" y="260"/>
                      <a:pt x="802" y="259"/>
                    </a:cubicBezTo>
                    <a:cubicBezTo>
                      <a:pt x="802" y="259"/>
                      <a:pt x="803" y="259"/>
                      <a:pt x="803" y="260"/>
                    </a:cubicBezTo>
                    <a:cubicBezTo>
                      <a:pt x="803" y="260"/>
                      <a:pt x="803" y="261"/>
                      <a:pt x="803" y="261"/>
                    </a:cubicBezTo>
                    <a:cubicBezTo>
                      <a:pt x="804" y="261"/>
                      <a:pt x="804" y="261"/>
                      <a:pt x="805" y="261"/>
                    </a:cubicBezTo>
                    <a:cubicBezTo>
                      <a:pt x="805" y="262"/>
                      <a:pt x="805" y="262"/>
                      <a:pt x="806" y="262"/>
                    </a:cubicBezTo>
                    <a:cubicBezTo>
                      <a:pt x="806" y="262"/>
                      <a:pt x="806" y="262"/>
                      <a:pt x="807" y="262"/>
                    </a:cubicBezTo>
                    <a:cubicBezTo>
                      <a:pt x="807" y="263"/>
                      <a:pt x="807" y="263"/>
                      <a:pt x="808" y="263"/>
                    </a:cubicBezTo>
                    <a:cubicBezTo>
                      <a:pt x="808" y="263"/>
                      <a:pt x="808" y="263"/>
                      <a:pt x="808" y="264"/>
                    </a:cubicBezTo>
                    <a:cubicBezTo>
                      <a:pt x="808" y="264"/>
                      <a:pt x="809" y="265"/>
                      <a:pt x="808" y="265"/>
                    </a:cubicBezTo>
                    <a:cubicBezTo>
                      <a:pt x="808" y="265"/>
                      <a:pt x="808" y="266"/>
                      <a:pt x="808" y="266"/>
                    </a:cubicBezTo>
                    <a:cubicBezTo>
                      <a:pt x="808" y="266"/>
                      <a:pt x="808" y="266"/>
                      <a:pt x="808" y="266"/>
                    </a:cubicBezTo>
                    <a:cubicBezTo>
                      <a:pt x="808" y="266"/>
                      <a:pt x="808" y="266"/>
                      <a:pt x="807" y="266"/>
                    </a:cubicBezTo>
                    <a:cubicBezTo>
                      <a:pt x="807" y="266"/>
                      <a:pt x="806" y="266"/>
                      <a:pt x="806" y="267"/>
                    </a:cubicBezTo>
                    <a:cubicBezTo>
                      <a:pt x="806" y="267"/>
                      <a:pt x="807" y="268"/>
                      <a:pt x="807" y="268"/>
                    </a:cubicBezTo>
                    <a:cubicBezTo>
                      <a:pt x="807" y="268"/>
                      <a:pt x="807" y="269"/>
                      <a:pt x="807" y="269"/>
                    </a:cubicBezTo>
                    <a:cubicBezTo>
                      <a:pt x="806" y="271"/>
                      <a:pt x="805" y="272"/>
                      <a:pt x="805" y="273"/>
                    </a:cubicBezTo>
                    <a:cubicBezTo>
                      <a:pt x="804" y="274"/>
                      <a:pt x="803" y="274"/>
                      <a:pt x="803" y="275"/>
                    </a:cubicBezTo>
                    <a:cubicBezTo>
                      <a:pt x="803" y="274"/>
                      <a:pt x="803" y="274"/>
                      <a:pt x="803" y="274"/>
                    </a:cubicBezTo>
                    <a:cubicBezTo>
                      <a:pt x="802" y="274"/>
                      <a:pt x="802" y="275"/>
                      <a:pt x="801" y="276"/>
                    </a:cubicBezTo>
                    <a:cubicBezTo>
                      <a:pt x="801" y="276"/>
                      <a:pt x="800" y="277"/>
                      <a:pt x="800" y="277"/>
                    </a:cubicBezTo>
                    <a:cubicBezTo>
                      <a:pt x="799" y="277"/>
                      <a:pt x="799" y="277"/>
                      <a:pt x="798" y="277"/>
                    </a:cubicBezTo>
                    <a:cubicBezTo>
                      <a:pt x="798" y="278"/>
                      <a:pt x="797" y="278"/>
                      <a:pt x="797" y="278"/>
                    </a:cubicBezTo>
                    <a:cubicBezTo>
                      <a:pt x="797" y="279"/>
                      <a:pt x="796" y="280"/>
                      <a:pt x="796" y="280"/>
                    </a:cubicBezTo>
                    <a:cubicBezTo>
                      <a:pt x="796" y="281"/>
                      <a:pt x="797" y="282"/>
                      <a:pt x="798" y="282"/>
                    </a:cubicBezTo>
                    <a:cubicBezTo>
                      <a:pt x="798" y="281"/>
                      <a:pt x="799" y="280"/>
                      <a:pt x="800" y="280"/>
                    </a:cubicBezTo>
                    <a:cubicBezTo>
                      <a:pt x="800" y="281"/>
                      <a:pt x="801" y="279"/>
                      <a:pt x="801" y="279"/>
                    </a:cubicBezTo>
                    <a:cubicBezTo>
                      <a:pt x="801" y="279"/>
                      <a:pt x="803" y="278"/>
                      <a:pt x="802" y="278"/>
                    </a:cubicBezTo>
                    <a:cubicBezTo>
                      <a:pt x="803" y="278"/>
                      <a:pt x="803" y="277"/>
                      <a:pt x="804" y="277"/>
                    </a:cubicBezTo>
                    <a:cubicBezTo>
                      <a:pt x="805" y="277"/>
                      <a:pt x="806" y="276"/>
                      <a:pt x="807" y="277"/>
                    </a:cubicBezTo>
                    <a:cubicBezTo>
                      <a:pt x="809" y="278"/>
                      <a:pt x="807" y="281"/>
                      <a:pt x="807" y="282"/>
                    </a:cubicBezTo>
                    <a:cubicBezTo>
                      <a:pt x="807" y="283"/>
                      <a:pt x="806" y="285"/>
                      <a:pt x="806" y="286"/>
                    </a:cubicBezTo>
                    <a:cubicBezTo>
                      <a:pt x="806" y="286"/>
                      <a:pt x="806" y="288"/>
                      <a:pt x="806" y="289"/>
                    </a:cubicBezTo>
                    <a:cubicBezTo>
                      <a:pt x="804" y="290"/>
                      <a:pt x="804" y="293"/>
                      <a:pt x="802" y="293"/>
                    </a:cubicBezTo>
                    <a:cubicBezTo>
                      <a:pt x="803" y="293"/>
                      <a:pt x="803" y="291"/>
                      <a:pt x="801" y="292"/>
                    </a:cubicBezTo>
                    <a:cubicBezTo>
                      <a:pt x="801" y="292"/>
                      <a:pt x="801" y="292"/>
                      <a:pt x="801" y="293"/>
                    </a:cubicBezTo>
                    <a:cubicBezTo>
                      <a:pt x="801" y="293"/>
                      <a:pt x="800" y="293"/>
                      <a:pt x="800" y="293"/>
                    </a:cubicBezTo>
                    <a:cubicBezTo>
                      <a:pt x="799" y="294"/>
                      <a:pt x="799" y="295"/>
                      <a:pt x="799" y="295"/>
                    </a:cubicBezTo>
                    <a:cubicBezTo>
                      <a:pt x="798" y="295"/>
                      <a:pt x="798" y="295"/>
                      <a:pt x="797" y="296"/>
                    </a:cubicBezTo>
                    <a:cubicBezTo>
                      <a:pt x="796" y="296"/>
                      <a:pt x="795" y="298"/>
                      <a:pt x="795" y="299"/>
                    </a:cubicBezTo>
                    <a:cubicBezTo>
                      <a:pt x="794" y="299"/>
                      <a:pt x="794" y="300"/>
                      <a:pt x="793" y="300"/>
                    </a:cubicBezTo>
                    <a:cubicBezTo>
                      <a:pt x="793" y="300"/>
                      <a:pt x="792" y="301"/>
                      <a:pt x="792" y="301"/>
                    </a:cubicBezTo>
                    <a:cubicBezTo>
                      <a:pt x="792" y="301"/>
                      <a:pt x="791" y="302"/>
                      <a:pt x="791" y="302"/>
                    </a:cubicBezTo>
                    <a:cubicBezTo>
                      <a:pt x="792" y="303"/>
                      <a:pt x="792" y="302"/>
                      <a:pt x="793" y="303"/>
                    </a:cubicBezTo>
                    <a:cubicBezTo>
                      <a:pt x="793" y="303"/>
                      <a:pt x="794" y="303"/>
                      <a:pt x="794" y="303"/>
                    </a:cubicBezTo>
                    <a:cubicBezTo>
                      <a:pt x="794" y="304"/>
                      <a:pt x="794" y="304"/>
                      <a:pt x="794" y="304"/>
                    </a:cubicBezTo>
                    <a:cubicBezTo>
                      <a:pt x="795" y="304"/>
                      <a:pt x="796" y="304"/>
                      <a:pt x="796" y="304"/>
                    </a:cubicBezTo>
                    <a:cubicBezTo>
                      <a:pt x="796" y="303"/>
                      <a:pt x="796" y="304"/>
                      <a:pt x="796" y="304"/>
                    </a:cubicBezTo>
                    <a:cubicBezTo>
                      <a:pt x="796" y="304"/>
                      <a:pt x="797" y="304"/>
                      <a:pt x="797" y="304"/>
                    </a:cubicBezTo>
                    <a:cubicBezTo>
                      <a:pt x="797" y="304"/>
                      <a:pt x="796" y="304"/>
                      <a:pt x="796" y="304"/>
                    </a:cubicBezTo>
                    <a:cubicBezTo>
                      <a:pt x="795" y="304"/>
                      <a:pt x="794" y="305"/>
                      <a:pt x="793" y="305"/>
                    </a:cubicBezTo>
                    <a:cubicBezTo>
                      <a:pt x="794" y="305"/>
                      <a:pt x="794" y="305"/>
                      <a:pt x="795" y="305"/>
                    </a:cubicBezTo>
                    <a:cubicBezTo>
                      <a:pt x="796" y="305"/>
                      <a:pt x="797" y="305"/>
                      <a:pt x="797" y="305"/>
                    </a:cubicBezTo>
                    <a:cubicBezTo>
                      <a:pt x="797" y="305"/>
                      <a:pt x="797" y="305"/>
                      <a:pt x="797" y="305"/>
                    </a:cubicBezTo>
                    <a:cubicBezTo>
                      <a:pt x="797" y="306"/>
                      <a:pt x="798" y="305"/>
                      <a:pt x="800" y="305"/>
                    </a:cubicBezTo>
                    <a:cubicBezTo>
                      <a:pt x="801" y="305"/>
                      <a:pt x="802" y="304"/>
                      <a:pt x="803" y="304"/>
                    </a:cubicBezTo>
                    <a:cubicBezTo>
                      <a:pt x="804" y="304"/>
                      <a:pt x="805" y="305"/>
                      <a:pt x="807" y="304"/>
                    </a:cubicBezTo>
                    <a:cubicBezTo>
                      <a:pt x="808" y="303"/>
                      <a:pt x="809" y="303"/>
                      <a:pt x="810" y="302"/>
                    </a:cubicBezTo>
                    <a:cubicBezTo>
                      <a:pt x="812" y="301"/>
                      <a:pt x="814" y="300"/>
                      <a:pt x="817" y="300"/>
                    </a:cubicBezTo>
                    <a:cubicBezTo>
                      <a:pt x="818" y="299"/>
                      <a:pt x="819" y="299"/>
                      <a:pt x="820" y="299"/>
                    </a:cubicBezTo>
                    <a:cubicBezTo>
                      <a:pt x="821" y="298"/>
                      <a:pt x="823" y="297"/>
                      <a:pt x="823" y="297"/>
                    </a:cubicBezTo>
                    <a:cubicBezTo>
                      <a:pt x="823" y="297"/>
                      <a:pt x="822" y="298"/>
                      <a:pt x="822" y="298"/>
                    </a:cubicBezTo>
                    <a:cubicBezTo>
                      <a:pt x="823" y="297"/>
                      <a:pt x="824" y="297"/>
                      <a:pt x="825" y="296"/>
                    </a:cubicBezTo>
                    <a:cubicBezTo>
                      <a:pt x="827" y="296"/>
                      <a:pt x="828" y="295"/>
                      <a:pt x="829" y="295"/>
                    </a:cubicBezTo>
                    <a:cubicBezTo>
                      <a:pt x="829" y="295"/>
                      <a:pt x="830" y="294"/>
                      <a:pt x="831" y="293"/>
                    </a:cubicBezTo>
                    <a:cubicBezTo>
                      <a:pt x="832" y="293"/>
                      <a:pt x="833" y="293"/>
                      <a:pt x="833" y="292"/>
                    </a:cubicBezTo>
                    <a:cubicBezTo>
                      <a:pt x="834" y="292"/>
                      <a:pt x="835" y="291"/>
                      <a:pt x="836" y="291"/>
                    </a:cubicBezTo>
                    <a:cubicBezTo>
                      <a:pt x="836" y="290"/>
                      <a:pt x="837" y="290"/>
                      <a:pt x="837" y="289"/>
                    </a:cubicBezTo>
                    <a:cubicBezTo>
                      <a:pt x="837" y="289"/>
                      <a:pt x="836" y="288"/>
                      <a:pt x="837" y="288"/>
                    </a:cubicBezTo>
                    <a:cubicBezTo>
                      <a:pt x="837" y="288"/>
                      <a:pt x="837" y="288"/>
                      <a:pt x="837" y="288"/>
                    </a:cubicBezTo>
                    <a:cubicBezTo>
                      <a:pt x="837" y="287"/>
                      <a:pt x="836" y="287"/>
                      <a:pt x="836" y="287"/>
                    </a:cubicBezTo>
                    <a:cubicBezTo>
                      <a:pt x="836" y="287"/>
                      <a:pt x="837" y="285"/>
                      <a:pt x="837" y="285"/>
                    </a:cubicBezTo>
                    <a:cubicBezTo>
                      <a:pt x="838" y="285"/>
                      <a:pt x="839" y="285"/>
                      <a:pt x="840" y="284"/>
                    </a:cubicBezTo>
                    <a:cubicBezTo>
                      <a:pt x="841" y="284"/>
                      <a:pt x="843" y="284"/>
                      <a:pt x="844" y="284"/>
                    </a:cubicBezTo>
                    <a:cubicBezTo>
                      <a:pt x="845" y="284"/>
                      <a:pt x="846" y="284"/>
                      <a:pt x="846" y="284"/>
                    </a:cubicBezTo>
                    <a:cubicBezTo>
                      <a:pt x="847" y="284"/>
                      <a:pt x="848" y="284"/>
                      <a:pt x="849" y="285"/>
                    </a:cubicBezTo>
                    <a:cubicBezTo>
                      <a:pt x="850" y="286"/>
                      <a:pt x="850" y="285"/>
                      <a:pt x="851" y="285"/>
                    </a:cubicBezTo>
                    <a:cubicBezTo>
                      <a:pt x="852" y="285"/>
                      <a:pt x="853" y="285"/>
                      <a:pt x="854" y="285"/>
                    </a:cubicBezTo>
                    <a:cubicBezTo>
                      <a:pt x="854" y="285"/>
                      <a:pt x="855" y="285"/>
                      <a:pt x="855" y="285"/>
                    </a:cubicBezTo>
                    <a:cubicBezTo>
                      <a:pt x="855" y="285"/>
                      <a:pt x="855" y="285"/>
                      <a:pt x="855" y="285"/>
                    </a:cubicBezTo>
                    <a:cubicBezTo>
                      <a:pt x="856" y="285"/>
                      <a:pt x="856" y="285"/>
                      <a:pt x="857" y="285"/>
                    </a:cubicBezTo>
                    <a:cubicBezTo>
                      <a:pt x="858" y="285"/>
                      <a:pt x="859" y="284"/>
                      <a:pt x="860" y="283"/>
                    </a:cubicBezTo>
                    <a:cubicBezTo>
                      <a:pt x="860" y="283"/>
                      <a:pt x="861" y="282"/>
                      <a:pt x="861" y="282"/>
                    </a:cubicBezTo>
                    <a:cubicBezTo>
                      <a:pt x="862" y="282"/>
                      <a:pt x="862" y="283"/>
                      <a:pt x="863" y="282"/>
                    </a:cubicBezTo>
                    <a:cubicBezTo>
                      <a:pt x="863" y="282"/>
                      <a:pt x="863" y="281"/>
                      <a:pt x="864" y="281"/>
                    </a:cubicBezTo>
                    <a:cubicBezTo>
                      <a:pt x="864" y="281"/>
                      <a:pt x="864" y="281"/>
                      <a:pt x="863" y="281"/>
                    </a:cubicBezTo>
                    <a:cubicBezTo>
                      <a:pt x="863" y="280"/>
                      <a:pt x="864" y="280"/>
                      <a:pt x="864" y="279"/>
                    </a:cubicBezTo>
                    <a:cubicBezTo>
                      <a:pt x="864" y="279"/>
                      <a:pt x="863" y="279"/>
                      <a:pt x="864" y="279"/>
                    </a:cubicBezTo>
                    <a:cubicBezTo>
                      <a:pt x="864" y="279"/>
                      <a:pt x="864" y="279"/>
                      <a:pt x="864" y="278"/>
                    </a:cubicBezTo>
                    <a:cubicBezTo>
                      <a:pt x="864" y="279"/>
                      <a:pt x="865" y="278"/>
                      <a:pt x="865" y="278"/>
                    </a:cubicBezTo>
                    <a:cubicBezTo>
                      <a:pt x="865" y="278"/>
                      <a:pt x="866" y="277"/>
                      <a:pt x="866" y="277"/>
                    </a:cubicBezTo>
                    <a:cubicBezTo>
                      <a:pt x="866" y="277"/>
                      <a:pt x="865" y="278"/>
                      <a:pt x="865" y="278"/>
                    </a:cubicBezTo>
                    <a:cubicBezTo>
                      <a:pt x="865" y="277"/>
                      <a:pt x="866" y="277"/>
                      <a:pt x="866" y="277"/>
                    </a:cubicBezTo>
                    <a:cubicBezTo>
                      <a:pt x="866" y="277"/>
                      <a:pt x="865" y="276"/>
                      <a:pt x="865" y="277"/>
                    </a:cubicBezTo>
                    <a:cubicBezTo>
                      <a:pt x="865" y="277"/>
                      <a:pt x="864" y="277"/>
                      <a:pt x="865" y="277"/>
                    </a:cubicBezTo>
                    <a:cubicBezTo>
                      <a:pt x="865" y="277"/>
                      <a:pt x="865" y="277"/>
                      <a:pt x="865" y="277"/>
                    </a:cubicBezTo>
                    <a:cubicBezTo>
                      <a:pt x="865" y="277"/>
                      <a:pt x="865" y="277"/>
                      <a:pt x="864" y="278"/>
                    </a:cubicBezTo>
                    <a:cubicBezTo>
                      <a:pt x="865" y="277"/>
                      <a:pt x="864" y="276"/>
                      <a:pt x="865" y="276"/>
                    </a:cubicBezTo>
                    <a:cubicBezTo>
                      <a:pt x="865" y="275"/>
                      <a:pt x="866" y="275"/>
                      <a:pt x="867" y="275"/>
                    </a:cubicBezTo>
                    <a:cubicBezTo>
                      <a:pt x="868" y="274"/>
                      <a:pt x="871" y="273"/>
                      <a:pt x="871" y="272"/>
                    </a:cubicBezTo>
                    <a:cubicBezTo>
                      <a:pt x="871" y="271"/>
                      <a:pt x="873" y="270"/>
                      <a:pt x="874" y="270"/>
                    </a:cubicBezTo>
                    <a:cubicBezTo>
                      <a:pt x="876" y="269"/>
                      <a:pt x="877" y="268"/>
                      <a:pt x="878" y="267"/>
                    </a:cubicBezTo>
                    <a:cubicBezTo>
                      <a:pt x="880" y="267"/>
                      <a:pt x="881" y="266"/>
                      <a:pt x="882" y="266"/>
                    </a:cubicBezTo>
                    <a:cubicBezTo>
                      <a:pt x="884" y="266"/>
                      <a:pt x="886" y="267"/>
                      <a:pt x="887" y="267"/>
                    </a:cubicBezTo>
                    <a:cubicBezTo>
                      <a:pt x="894" y="267"/>
                      <a:pt x="901" y="266"/>
                      <a:pt x="908" y="266"/>
                    </a:cubicBezTo>
                    <a:cubicBezTo>
                      <a:pt x="909" y="266"/>
                      <a:pt x="910" y="266"/>
                      <a:pt x="910" y="266"/>
                    </a:cubicBezTo>
                    <a:cubicBezTo>
                      <a:pt x="911" y="266"/>
                      <a:pt x="911" y="265"/>
                      <a:pt x="911" y="265"/>
                    </a:cubicBezTo>
                    <a:cubicBezTo>
                      <a:pt x="911" y="265"/>
                      <a:pt x="912" y="264"/>
                      <a:pt x="912" y="264"/>
                    </a:cubicBezTo>
                    <a:cubicBezTo>
                      <a:pt x="912" y="264"/>
                      <a:pt x="912" y="264"/>
                      <a:pt x="913" y="264"/>
                    </a:cubicBezTo>
                    <a:cubicBezTo>
                      <a:pt x="913" y="263"/>
                      <a:pt x="913" y="263"/>
                      <a:pt x="914" y="263"/>
                    </a:cubicBezTo>
                    <a:cubicBezTo>
                      <a:pt x="914" y="264"/>
                      <a:pt x="915" y="264"/>
                      <a:pt x="916" y="263"/>
                    </a:cubicBezTo>
                    <a:cubicBezTo>
                      <a:pt x="917" y="262"/>
                      <a:pt x="916" y="263"/>
                      <a:pt x="917" y="264"/>
                    </a:cubicBezTo>
                    <a:cubicBezTo>
                      <a:pt x="917" y="264"/>
                      <a:pt x="918" y="263"/>
                      <a:pt x="918" y="263"/>
                    </a:cubicBezTo>
                    <a:cubicBezTo>
                      <a:pt x="918" y="262"/>
                      <a:pt x="918" y="262"/>
                      <a:pt x="919" y="262"/>
                    </a:cubicBezTo>
                    <a:cubicBezTo>
                      <a:pt x="919" y="262"/>
                      <a:pt x="919" y="262"/>
                      <a:pt x="920" y="262"/>
                    </a:cubicBezTo>
                    <a:cubicBezTo>
                      <a:pt x="920" y="262"/>
                      <a:pt x="919" y="262"/>
                      <a:pt x="919" y="261"/>
                    </a:cubicBezTo>
                    <a:cubicBezTo>
                      <a:pt x="919" y="261"/>
                      <a:pt x="921" y="260"/>
                      <a:pt x="921" y="259"/>
                    </a:cubicBezTo>
                    <a:cubicBezTo>
                      <a:pt x="922" y="259"/>
                      <a:pt x="922" y="259"/>
                      <a:pt x="923" y="259"/>
                    </a:cubicBezTo>
                    <a:cubicBezTo>
                      <a:pt x="923" y="258"/>
                      <a:pt x="923" y="258"/>
                      <a:pt x="923" y="258"/>
                    </a:cubicBezTo>
                    <a:cubicBezTo>
                      <a:pt x="924" y="257"/>
                      <a:pt x="926" y="256"/>
                      <a:pt x="925" y="256"/>
                    </a:cubicBezTo>
                    <a:cubicBezTo>
                      <a:pt x="924" y="256"/>
                      <a:pt x="926" y="254"/>
                      <a:pt x="926" y="254"/>
                    </a:cubicBezTo>
                    <a:cubicBezTo>
                      <a:pt x="926" y="254"/>
                      <a:pt x="926" y="254"/>
                      <a:pt x="926" y="253"/>
                    </a:cubicBezTo>
                    <a:cubicBezTo>
                      <a:pt x="927" y="253"/>
                      <a:pt x="927" y="252"/>
                      <a:pt x="928" y="252"/>
                    </a:cubicBezTo>
                    <a:cubicBezTo>
                      <a:pt x="928" y="251"/>
                      <a:pt x="929" y="251"/>
                      <a:pt x="929" y="251"/>
                    </a:cubicBezTo>
                    <a:cubicBezTo>
                      <a:pt x="929" y="250"/>
                      <a:pt x="930" y="250"/>
                      <a:pt x="930" y="249"/>
                    </a:cubicBezTo>
                    <a:cubicBezTo>
                      <a:pt x="931" y="248"/>
                      <a:pt x="932" y="247"/>
                      <a:pt x="933" y="246"/>
                    </a:cubicBezTo>
                    <a:cubicBezTo>
                      <a:pt x="934" y="245"/>
                      <a:pt x="935" y="244"/>
                      <a:pt x="937" y="243"/>
                    </a:cubicBezTo>
                    <a:cubicBezTo>
                      <a:pt x="937" y="243"/>
                      <a:pt x="938" y="242"/>
                      <a:pt x="938" y="242"/>
                    </a:cubicBezTo>
                    <a:cubicBezTo>
                      <a:pt x="939" y="241"/>
                      <a:pt x="939" y="241"/>
                      <a:pt x="940" y="240"/>
                    </a:cubicBezTo>
                    <a:cubicBezTo>
                      <a:pt x="941" y="240"/>
                      <a:pt x="942" y="240"/>
                      <a:pt x="942" y="241"/>
                    </a:cubicBezTo>
                    <a:cubicBezTo>
                      <a:pt x="941" y="242"/>
                      <a:pt x="941" y="243"/>
                      <a:pt x="943" y="243"/>
                    </a:cubicBezTo>
                    <a:cubicBezTo>
                      <a:pt x="943" y="243"/>
                      <a:pt x="944" y="242"/>
                      <a:pt x="944" y="242"/>
                    </a:cubicBezTo>
                    <a:cubicBezTo>
                      <a:pt x="945" y="242"/>
                      <a:pt x="946" y="242"/>
                      <a:pt x="946" y="242"/>
                    </a:cubicBezTo>
                    <a:cubicBezTo>
                      <a:pt x="947" y="242"/>
                      <a:pt x="948" y="240"/>
                      <a:pt x="949" y="241"/>
                    </a:cubicBezTo>
                    <a:cubicBezTo>
                      <a:pt x="950" y="242"/>
                      <a:pt x="950" y="243"/>
                      <a:pt x="951" y="244"/>
                    </a:cubicBezTo>
                    <a:cubicBezTo>
                      <a:pt x="951" y="244"/>
                      <a:pt x="951" y="244"/>
                      <a:pt x="951" y="244"/>
                    </a:cubicBezTo>
                    <a:close/>
                    <a:moveTo>
                      <a:pt x="781" y="404"/>
                    </a:moveTo>
                    <a:cubicBezTo>
                      <a:pt x="781" y="404"/>
                      <a:pt x="781" y="404"/>
                      <a:pt x="781" y="404"/>
                    </a:cubicBezTo>
                    <a:cubicBezTo>
                      <a:pt x="782" y="404"/>
                      <a:pt x="782" y="404"/>
                      <a:pt x="781" y="404"/>
                    </a:cubicBezTo>
                    <a:close/>
                    <a:moveTo>
                      <a:pt x="874" y="308"/>
                    </a:moveTo>
                    <a:cubicBezTo>
                      <a:pt x="874" y="307"/>
                      <a:pt x="873" y="307"/>
                      <a:pt x="874" y="307"/>
                    </a:cubicBezTo>
                    <a:cubicBezTo>
                      <a:pt x="873" y="307"/>
                      <a:pt x="873" y="308"/>
                      <a:pt x="873" y="309"/>
                    </a:cubicBezTo>
                    <a:cubicBezTo>
                      <a:pt x="873" y="309"/>
                      <a:pt x="873" y="310"/>
                      <a:pt x="872" y="311"/>
                    </a:cubicBezTo>
                    <a:cubicBezTo>
                      <a:pt x="872" y="311"/>
                      <a:pt x="872" y="311"/>
                      <a:pt x="872" y="312"/>
                    </a:cubicBezTo>
                    <a:cubicBezTo>
                      <a:pt x="872" y="311"/>
                      <a:pt x="873" y="310"/>
                      <a:pt x="873" y="310"/>
                    </a:cubicBezTo>
                    <a:cubicBezTo>
                      <a:pt x="873" y="310"/>
                      <a:pt x="874" y="309"/>
                      <a:pt x="874" y="308"/>
                    </a:cubicBezTo>
                    <a:close/>
                    <a:moveTo>
                      <a:pt x="8" y="516"/>
                    </a:moveTo>
                    <a:cubicBezTo>
                      <a:pt x="8" y="517"/>
                      <a:pt x="6" y="517"/>
                      <a:pt x="6" y="518"/>
                    </a:cubicBezTo>
                    <a:cubicBezTo>
                      <a:pt x="7" y="519"/>
                      <a:pt x="7" y="519"/>
                      <a:pt x="8" y="519"/>
                    </a:cubicBezTo>
                    <a:cubicBezTo>
                      <a:pt x="8" y="520"/>
                      <a:pt x="9" y="519"/>
                      <a:pt x="9" y="520"/>
                    </a:cubicBezTo>
                    <a:cubicBezTo>
                      <a:pt x="10" y="519"/>
                      <a:pt x="11" y="518"/>
                      <a:pt x="11" y="517"/>
                    </a:cubicBezTo>
                    <a:cubicBezTo>
                      <a:pt x="11" y="515"/>
                      <a:pt x="9" y="516"/>
                      <a:pt x="8" y="516"/>
                    </a:cubicBezTo>
                    <a:close/>
                    <a:moveTo>
                      <a:pt x="0" y="523"/>
                    </a:moveTo>
                    <a:cubicBezTo>
                      <a:pt x="0" y="524"/>
                      <a:pt x="0" y="524"/>
                      <a:pt x="0" y="524"/>
                    </a:cubicBezTo>
                    <a:cubicBezTo>
                      <a:pt x="0" y="524"/>
                      <a:pt x="0" y="524"/>
                      <a:pt x="0" y="524"/>
                    </a:cubicBezTo>
                    <a:cubicBezTo>
                      <a:pt x="0" y="524"/>
                      <a:pt x="0" y="523"/>
                      <a:pt x="0" y="523"/>
                    </a:cubicBezTo>
                    <a:close/>
                    <a:moveTo>
                      <a:pt x="24" y="524"/>
                    </a:moveTo>
                    <a:cubicBezTo>
                      <a:pt x="24" y="524"/>
                      <a:pt x="23" y="525"/>
                      <a:pt x="23" y="524"/>
                    </a:cubicBezTo>
                    <a:cubicBezTo>
                      <a:pt x="23" y="524"/>
                      <a:pt x="23" y="523"/>
                      <a:pt x="23" y="523"/>
                    </a:cubicBezTo>
                    <a:cubicBezTo>
                      <a:pt x="23" y="521"/>
                      <a:pt x="22" y="523"/>
                      <a:pt x="21" y="523"/>
                    </a:cubicBezTo>
                    <a:cubicBezTo>
                      <a:pt x="20" y="523"/>
                      <a:pt x="20" y="523"/>
                      <a:pt x="20" y="523"/>
                    </a:cubicBezTo>
                    <a:cubicBezTo>
                      <a:pt x="19" y="523"/>
                      <a:pt x="20" y="523"/>
                      <a:pt x="20" y="524"/>
                    </a:cubicBezTo>
                    <a:cubicBezTo>
                      <a:pt x="19" y="524"/>
                      <a:pt x="20" y="525"/>
                      <a:pt x="20" y="525"/>
                    </a:cubicBezTo>
                    <a:cubicBezTo>
                      <a:pt x="20" y="526"/>
                      <a:pt x="20" y="526"/>
                      <a:pt x="21" y="526"/>
                    </a:cubicBezTo>
                    <a:cubicBezTo>
                      <a:pt x="21" y="526"/>
                      <a:pt x="21" y="526"/>
                      <a:pt x="21" y="526"/>
                    </a:cubicBezTo>
                    <a:cubicBezTo>
                      <a:pt x="22" y="526"/>
                      <a:pt x="21" y="525"/>
                      <a:pt x="21" y="525"/>
                    </a:cubicBezTo>
                    <a:cubicBezTo>
                      <a:pt x="21" y="525"/>
                      <a:pt x="22" y="525"/>
                      <a:pt x="22" y="525"/>
                    </a:cubicBezTo>
                    <a:cubicBezTo>
                      <a:pt x="22" y="526"/>
                      <a:pt x="21" y="526"/>
                      <a:pt x="22" y="526"/>
                    </a:cubicBezTo>
                    <a:cubicBezTo>
                      <a:pt x="22" y="526"/>
                      <a:pt x="22" y="526"/>
                      <a:pt x="22" y="526"/>
                    </a:cubicBezTo>
                    <a:cubicBezTo>
                      <a:pt x="23" y="526"/>
                      <a:pt x="23" y="526"/>
                      <a:pt x="23" y="527"/>
                    </a:cubicBezTo>
                    <a:cubicBezTo>
                      <a:pt x="23" y="527"/>
                      <a:pt x="25" y="527"/>
                      <a:pt x="25" y="526"/>
                    </a:cubicBezTo>
                    <a:cubicBezTo>
                      <a:pt x="25" y="526"/>
                      <a:pt x="24" y="526"/>
                      <a:pt x="24" y="525"/>
                    </a:cubicBezTo>
                    <a:cubicBezTo>
                      <a:pt x="24" y="525"/>
                      <a:pt x="24" y="525"/>
                      <a:pt x="24" y="524"/>
                    </a:cubicBezTo>
                    <a:close/>
                    <a:moveTo>
                      <a:pt x="38" y="533"/>
                    </a:moveTo>
                    <a:cubicBezTo>
                      <a:pt x="38" y="533"/>
                      <a:pt x="39" y="533"/>
                      <a:pt x="39" y="532"/>
                    </a:cubicBezTo>
                    <a:cubicBezTo>
                      <a:pt x="39" y="532"/>
                      <a:pt x="38" y="531"/>
                      <a:pt x="38" y="531"/>
                    </a:cubicBezTo>
                    <a:cubicBezTo>
                      <a:pt x="37" y="531"/>
                      <a:pt x="37" y="530"/>
                      <a:pt x="36" y="530"/>
                    </a:cubicBezTo>
                    <a:cubicBezTo>
                      <a:pt x="35" y="531"/>
                      <a:pt x="35" y="531"/>
                      <a:pt x="34" y="530"/>
                    </a:cubicBezTo>
                    <a:cubicBezTo>
                      <a:pt x="34" y="528"/>
                      <a:pt x="32" y="530"/>
                      <a:pt x="33" y="531"/>
                    </a:cubicBezTo>
                    <a:cubicBezTo>
                      <a:pt x="34" y="532"/>
                      <a:pt x="34" y="531"/>
                      <a:pt x="34" y="533"/>
                    </a:cubicBezTo>
                    <a:cubicBezTo>
                      <a:pt x="34" y="533"/>
                      <a:pt x="34" y="534"/>
                      <a:pt x="35" y="534"/>
                    </a:cubicBezTo>
                    <a:cubicBezTo>
                      <a:pt x="35" y="534"/>
                      <a:pt x="36" y="534"/>
                      <a:pt x="36" y="534"/>
                    </a:cubicBezTo>
                    <a:cubicBezTo>
                      <a:pt x="37" y="533"/>
                      <a:pt x="37" y="534"/>
                      <a:pt x="38" y="533"/>
                    </a:cubicBezTo>
                    <a:close/>
                    <a:moveTo>
                      <a:pt x="32" y="535"/>
                    </a:moveTo>
                    <a:cubicBezTo>
                      <a:pt x="32" y="535"/>
                      <a:pt x="33" y="535"/>
                      <a:pt x="33" y="534"/>
                    </a:cubicBezTo>
                    <a:cubicBezTo>
                      <a:pt x="33" y="534"/>
                      <a:pt x="33" y="534"/>
                      <a:pt x="33" y="534"/>
                    </a:cubicBezTo>
                    <a:cubicBezTo>
                      <a:pt x="32" y="534"/>
                      <a:pt x="31" y="534"/>
                      <a:pt x="32" y="535"/>
                    </a:cubicBezTo>
                    <a:close/>
                    <a:moveTo>
                      <a:pt x="46" y="544"/>
                    </a:moveTo>
                    <a:cubicBezTo>
                      <a:pt x="46" y="544"/>
                      <a:pt x="46" y="543"/>
                      <a:pt x="46" y="543"/>
                    </a:cubicBezTo>
                    <a:cubicBezTo>
                      <a:pt x="45" y="544"/>
                      <a:pt x="46" y="542"/>
                      <a:pt x="46" y="542"/>
                    </a:cubicBezTo>
                    <a:cubicBezTo>
                      <a:pt x="46" y="542"/>
                      <a:pt x="46" y="542"/>
                      <a:pt x="45" y="541"/>
                    </a:cubicBezTo>
                    <a:cubicBezTo>
                      <a:pt x="45" y="540"/>
                      <a:pt x="44" y="540"/>
                      <a:pt x="43" y="539"/>
                    </a:cubicBezTo>
                    <a:cubicBezTo>
                      <a:pt x="42" y="539"/>
                      <a:pt x="41" y="539"/>
                      <a:pt x="40" y="538"/>
                    </a:cubicBezTo>
                    <a:cubicBezTo>
                      <a:pt x="40" y="537"/>
                      <a:pt x="39" y="538"/>
                      <a:pt x="39" y="538"/>
                    </a:cubicBezTo>
                    <a:cubicBezTo>
                      <a:pt x="39" y="539"/>
                      <a:pt x="40" y="540"/>
                      <a:pt x="39" y="541"/>
                    </a:cubicBezTo>
                    <a:cubicBezTo>
                      <a:pt x="38" y="541"/>
                      <a:pt x="38" y="542"/>
                      <a:pt x="37" y="543"/>
                    </a:cubicBezTo>
                    <a:cubicBezTo>
                      <a:pt x="36" y="543"/>
                      <a:pt x="36" y="544"/>
                      <a:pt x="36" y="545"/>
                    </a:cubicBezTo>
                    <a:cubicBezTo>
                      <a:pt x="37" y="545"/>
                      <a:pt x="37" y="547"/>
                      <a:pt x="37" y="547"/>
                    </a:cubicBezTo>
                    <a:cubicBezTo>
                      <a:pt x="36" y="548"/>
                      <a:pt x="36" y="549"/>
                      <a:pt x="36" y="550"/>
                    </a:cubicBezTo>
                    <a:cubicBezTo>
                      <a:pt x="36" y="551"/>
                      <a:pt x="37" y="551"/>
                      <a:pt x="37" y="552"/>
                    </a:cubicBezTo>
                    <a:cubicBezTo>
                      <a:pt x="37" y="552"/>
                      <a:pt x="38" y="552"/>
                      <a:pt x="38" y="552"/>
                    </a:cubicBezTo>
                    <a:cubicBezTo>
                      <a:pt x="38" y="552"/>
                      <a:pt x="39" y="552"/>
                      <a:pt x="39" y="551"/>
                    </a:cubicBezTo>
                    <a:cubicBezTo>
                      <a:pt x="39" y="550"/>
                      <a:pt x="40" y="550"/>
                      <a:pt x="41" y="549"/>
                    </a:cubicBezTo>
                    <a:cubicBezTo>
                      <a:pt x="42" y="548"/>
                      <a:pt x="43" y="549"/>
                      <a:pt x="45" y="548"/>
                    </a:cubicBezTo>
                    <a:cubicBezTo>
                      <a:pt x="45" y="548"/>
                      <a:pt x="46" y="547"/>
                      <a:pt x="47" y="546"/>
                    </a:cubicBezTo>
                    <a:cubicBezTo>
                      <a:pt x="48" y="545"/>
                      <a:pt x="46" y="545"/>
                      <a:pt x="46" y="544"/>
                    </a:cubicBezTo>
                    <a:close/>
                    <a:moveTo>
                      <a:pt x="33" y="528"/>
                    </a:moveTo>
                    <a:cubicBezTo>
                      <a:pt x="33" y="527"/>
                      <a:pt x="32" y="528"/>
                      <a:pt x="31" y="528"/>
                    </a:cubicBezTo>
                    <a:cubicBezTo>
                      <a:pt x="31" y="528"/>
                      <a:pt x="31" y="527"/>
                      <a:pt x="31" y="527"/>
                    </a:cubicBezTo>
                    <a:cubicBezTo>
                      <a:pt x="30" y="528"/>
                      <a:pt x="29" y="527"/>
                      <a:pt x="28" y="527"/>
                    </a:cubicBezTo>
                    <a:cubicBezTo>
                      <a:pt x="28" y="527"/>
                      <a:pt x="28" y="528"/>
                      <a:pt x="28" y="528"/>
                    </a:cubicBezTo>
                    <a:cubicBezTo>
                      <a:pt x="28" y="528"/>
                      <a:pt x="27" y="528"/>
                      <a:pt x="27" y="528"/>
                    </a:cubicBezTo>
                    <a:cubicBezTo>
                      <a:pt x="28" y="529"/>
                      <a:pt x="29" y="528"/>
                      <a:pt x="29" y="528"/>
                    </a:cubicBezTo>
                    <a:cubicBezTo>
                      <a:pt x="30" y="528"/>
                      <a:pt x="31" y="529"/>
                      <a:pt x="31" y="529"/>
                    </a:cubicBezTo>
                    <a:cubicBezTo>
                      <a:pt x="32" y="529"/>
                      <a:pt x="33" y="528"/>
                      <a:pt x="33" y="528"/>
                    </a:cubicBezTo>
                    <a:close/>
                    <a:moveTo>
                      <a:pt x="3" y="518"/>
                    </a:moveTo>
                    <a:cubicBezTo>
                      <a:pt x="3" y="519"/>
                      <a:pt x="1" y="520"/>
                      <a:pt x="2" y="521"/>
                    </a:cubicBezTo>
                    <a:cubicBezTo>
                      <a:pt x="2" y="520"/>
                      <a:pt x="2" y="520"/>
                      <a:pt x="3" y="520"/>
                    </a:cubicBezTo>
                    <a:cubicBezTo>
                      <a:pt x="3" y="520"/>
                      <a:pt x="3" y="519"/>
                      <a:pt x="3" y="519"/>
                    </a:cubicBezTo>
                    <a:cubicBezTo>
                      <a:pt x="3" y="519"/>
                      <a:pt x="4" y="518"/>
                      <a:pt x="3" y="518"/>
                    </a:cubicBezTo>
                    <a:close/>
                    <a:moveTo>
                      <a:pt x="30" y="530"/>
                    </a:moveTo>
                    <a:cubicBezTo>
                      <a:pt x="29" y="530"/>
                      <a:pt x="29" y="531"/>
                      <a:pt x="29" y="531"/>
                    </a:cubicBezTo>
                    <a:cubicBezTo>
                      <a:pt x="30" y="532"/>
                      <a:pt x="29" y="532"/>
                      <a:pt x="30" y="532"/>
                    </a:cubicBezTo>
                    <a:cubicBezTo>
                      <a:pt x="30" y="532"/>
                      <a:pt x="32" y="532"/>
                      <a:pt x="31" y="531"/>
                    </a:cubicBezTo>
                    <a:cubicBezTo>
                      <a:pt x="31" y="530"/>
                      <a:pt x="30" y="530"/>
                      <a:pt x="30" y="530"/>
                    </a:cubicBezTo>
                    <a:close/>
                    <a:moveTo>
                      <a:pt x="343" y="126"/>
                    </a:moveTo>
                    <a:cubicBezTo>
                      <a:pt x="343" y="126"/>
                      <a:pt x="342" y="127"/>
                      <a:pt x="342" y="127"/>
                    </a:cubicBezTo>
                    <a:cubicBezTo>
                      <a:pt x="342" y="127"/>
                      <a:pt x="344" y="126"/>
                      <a:pt x="344" y="125"/>
                    </a:cubicBezTo>
                    <a:cubicBezTo>
                      <a:pt x="344" y="125"/>
                      <a:pt x="342" y="126"/>
                      <a:pt x="342" y="126"/>
                    </a:cubicBezTo>
                    <a:cubicBezTo>
                      <a:pt x="343" y="126"/>
                      <a:pt x="343" y="125"/>
                      <a:pt x="343" y="125"/>
                    </a:cubicBezTo>
                    <a:cubicBezTo>
                      <a:pt x="342" y="125"/>
                      <a:pt x="341" y="126"/>
                      <a:pt x="341" y="126"/>
                    </a:cubicBezTo>
                    <a:cubicBezTo>
                      <a:pt x="341" y="126"/>
                      <a:pt x="341" y="126"/>
                      <a:pt x="341" y="126"/>
                    </a:cubicBezTo>
                    <a:cubicBezTo>
                      <a:pt x="341" y="126"/>
                      <a:pt x="340" y="126"/>
                      <a:pt x="340" y="126"/>
                    </a:cubicBezTo>
                    <a:cubicBezTo>
                      <a:pt x="341" y="126"/>
                      <a:pt x="341" y="125"/>
                      <a:pt x="341" y="125"/>
                    </a:cubicBezTo>
                    <a:cubicBezTo>
                      <a:pt x="341" y="125"/>
                      <a:pt x="341" y="125"/>
                      <a:pt x="341" y="125"/>
                    </a:cubicBezTo>
                    <a:cubicBezTo>
                      <a:pt x="341" y="125"/>
                      <a:pt x="341" y="125"/>
                      <a:pt x="341" y="125"/>
                    </a:cubicBezTo>
                    <a:cubicBezTo>
                      <a:pt x="341" y="124"/>
                      <a:pt x="340" y="125"/>
                      <a:pt x="340" y="125"/>
                    </a:cubicBezTo>
                    <a:cubicBezTo>
                      <a:pt x="340" y="125"/>
                      <a:pt x="338" y="125"/>
                      <a:pt x="338" y="125"/>
                    </a:cubicBezTo>
                    <a:cubicBezTo>
                      <a:pt x="338" y="126"/>
                      <a:pt x="338" y="126"/>
                      <a:pt x="338" y="126"/>
                    </a:cubicBezTo>
                    <a:cubicBezTo>
                      <a:pt x="338" y="126"/>
                      <a:pt x="337" y="127"/>
                      <a:pt x="337" y="127"/>
                    </a:cubicBezTo>
                    <a:cubicBezTo>
                      <a:pt x="337" y="127"/>
                      <a:pt x="335" y="126"/>
                      <a:pt x="335" y="126"/>
                    </a:cubicBezTo>
                    <a:cubicBezTo>
                      <a:pt x="334" y="127"/>
                      <a:pt x="335" y="127"/>
                      <a:pt x="335" y="128"/>
                    </a:cubicBezTo>
                    <a:cubicBezTo>
                      <a:pt x="335" y="128"/>
                      <a:pt x="333" y="127"/>
                      <a:pt x="333" y="127"/>
                    </a:cubicBezTo>
                    <a:cubicBezTo>
                      <a:pt x="333" y="127"/>
                      <a:pt x="332" y="128"/>
                      <a:pt x="332" y="128"/>
                    </a:cubicBezTo>
                    <a:cubicBezTo>
                      <a:pt x="332" y="128"/>
                      <a:pt x="333" y="128"/>
                      <a:pt x="333" y="128"/>
                    </a:cubicBezTo>
                    <a:cubicBezTo>
                      <a:pt x="332" y="129"/>
                      <a:pt x="333" y="129"/>
                      <a:pt x="333" y="130"/>
                    </a:cubicBezTo>
                    <a:cubicBezTo>
                      <a:pt x="334" y="129"/>
                      <a:pt x="334" y="129"/>
                      <a:pt x="335" y="129"/>
                    </a:cubicBezTo>
                    <a:cubicBezTo>
                      <a:pt x="335" y="129"/>
                      <a:pt x="338" y="127"/>
                      <a:pt x="338" y="127"/>
                    </a:cubicBezTo>
                    <a:cubicBezTo>
                      <a:pt x="338" y="128"/>
                      <a:pt x="337" y="128"/>
                      <a:pt x="337" y="129"/>
                    </a:cubicBezTo>
                    <a:cubicBezTo>
                      <a:pt x="337" y="128"/>
                      <a:pt x="338" y="128"/>
                      <a:pt x="338" y="128"/>
                    </a:cubicBezTo>
                    <a:cubicBezTo>
                      <a:pt x="339" y="128"/>
                      <a:pt x="338" y="128"/>
                      <a:pt x="339" y="128"/>
                    </a:cubicBezTo>
                    <a:cubicBezTo>
                      <a:pt x="339" y="128"/>
                      <a:pt x="339" y="128"/>
                      <a:pt x="340" y="128"/>
                    </a:cubicBezTo>
                    <a:cubicBezTo>
                      <a:pt x="339" y="128"/>
                      <a:pt x="339" y="128"/>
                      <a:pt x="339" y="128"/>
                    </a:cubicBezTo>
                    <a:cubicBezTo>
                      <a:pt x="340" y="127"/>
                      <a:pt x="340" y="127"/>
                      <a:pt x="341" y="127"/>
                    </a:cubicBezTo>
                    <a:cubicBezTo>
                      <a:pt x="341" y="127"/>
                      <a:pt x="340" y="127"/>
                      <a:pt x="341" y="128"/>
                    </a:cubicBezTo>
                    <a:cubicBezTo>
                      <a:pt x="341" y="128"/>
                      <a:pt x="342" y="128"/>
                      <a:pt x="342" y="128"/>
                    </a:cubicBezTo>
                    <a:cubicBezTo>
                      <a:pt x="342" y="127"/>
                      <a:pt x="344" y="126"/>
                      <a:pt x="344" y="126"/>
                    </a:cubicBezTo>
                    <a:cubicBezTo>
                      <a:pt x="344" y="126"/>
                      <a:pt x="343" y="127"/>
                      <a:pt x="343" y="127"/>
                    </a:cubicBezTo>
                    <a:cubicBezTo>
                      <a:pt x="343" y="127"/>
                      <a:pt x="343" y="126"/>
                      <a:pt x="343" y="126"/>
                    </a:cubicBezTo>
                    <a:close/>
                    <a:moveTo>
                      <a:pt x="247" y="109"/>
                    </a:moveTo>
                    <a:cubicBezTo>
                      <a:pt x="247" y="110"/>
                      <a:pt x="247" y="109"/>
                      <a:pt x="247" y="109"/>
                    </a:cubicBezTo>
                    <a:cubicBezTo>
                      <a:pt x="247" y="109"/>
                      <a:pt x="247" y="109"/>
                      <a:pt x="247" y="109"/>
                    </a:cubicBezTo>
                    <a:cubicBezTo>
                      <a:pt x="248" y="110"/>
                      <a:pt x="248" y="111"/>
                      <a:pt x="249" y="111"/>
                    </a:cubicBezTo>
                    <a:cubicBezTo>
                      <a:pt x="249" y="111"/>
                      <a:pt x="250" y="111"/>
                      <a:pt x="250" y="111"/>
                    </a:cubicBezTo>
                    <a:cubicBezTo>
                      <a:pt x="251" y="111"/>
                      <a:pt x="250" y="112"/>
                      <a:pt x="250" y="112"/>
                    </a:cubicBezTo>
                    <a:cubicBezTo>
                      <a:pt x="251" y="112"/>
                      <a:pt x="252" y="111"/>
                      <a:pt x="251" y="111"/>
                    </a:cubicBezTo>
                    <a:cubicBezTo>
                      <a:pt x="250" y="111"/>
                      <a:pt x="252" y="110"/>
                      <a:pt x="252" y="111"/>
                    </a:cubicBezTo>
                    <a:cubicBezTo>
                      <a:pt x="252" y="111"/>
                      <a:pt x="254" y="110"/>
                      <a:pt x="254" y="110"/>
                    </a:cubicBezTo>
                    <a:cubicBezTo>
                      <a:pt x="255" y="111"/>
                      <a:pt x="255" y="110"/>
                      <a:pt x="256" y="110"/>
                    </a:cubicBezTo>
                    <a:cubicBezTo>
                      <a:pt x="256" y="110"/>
                      <a:pt x="256" y="110"/>
                      <a:pt x="257" y="110"/>
                    </a:cubicBezTo>
                    <a:cubicBezTo>
                      <a:pt x="257" y="110"/>
                      <a:pt x="258" y="110"/>
                      <a:pt x="258" y="109"/>
                    </a:cubicBezTo>
                    <a:cubicBezTo>
                      <a:pt x="258" y="109"/>
                      <a:pt x="258" y="109"/>
                      <a:pt x="258" y="109"/>
                    </a:cubicBezTo>
                    <a:cubicBezTo>
                      <a:pt x="258" y="109"/>
                      <a:pt x="258" y="109"/>
                      <a:pt x="258" y="109"/>
                    </a:cubicBezTo>
                    <a:cubicBezTo>
                      <a:pt x="258" y="108"/>
                      <a:pt x="260" y="108"/>
                      <a:pt x="259" y="108"/>
                    </a:cubicBezTo>
                    <a:cubicBezTo>
                      <a:pt x="260" y="107"/>
                      <a:pt x="261" y="107"/>
                      <a:pt x="261" y="106"/>
                    </a:cubicBezTo>
                    <a:cubicBezTo>
                      <a:pt x="261" y="106"/>
                      <a:pt x="261" y="106"/>
                      <a:pt x="261" y="106"/>
                    </a:cubicBezTo>
                    <a:cubicBezTo>
                      <a:pt x="262" y="106"/>
                      <a:pt x="261" y="106"/>
                      <a:pt x="260" y="106"/>
                    </a:cubicBezTo>
                    <a:cubicBezTo>
                      <a:pt x="260" y="106"/>
                      <a:pt x="259" y="106"/>
                      <a:pt x="259" y="106"/>
                    </a:cubicBezTo>
                    <a:cubicBezTo>
                      <a:pt x="259" y="106"/>
                      <a:pt x="260" y="105"/>
                      <a:pt x="260" y="105"/>
                    </a:cubicBezTo>
                    <a:cubicBezTo>
                      <a:pt x="260" y="105"/>
                      <a:pt x="258" y="106"/>
                      <a:pt x="259" y="105"/>
                    </a:cubicBezTo>
                    <a:cubicBezTo>
                      <a:pt x="258" y="105"/>
                      <a:pt x="257" y="106"/>
                      <a:pt x="257" y="106"/>
                    </a:cubicBezTo>
                    <a:cubicBezTo>
                      <a:pt x="257" y="105"/>
                      <a:pt x="255" y="106"/>
                      <a:pt x="255" y="106"/>
                    </a:cubicBezTo>
                    <a:cubicBezTo>
                      <a:pt x="254" y="106"/>
                      <a:pt x="254" y="106"/>
                      <a:pt x="253" y="106"/>
                    </a:cubicBezTo>
                    <a:cubicBezTo>
                      <a:pt x="253" y="106"/>
                      <a:pt x="252" y="107"/>
                      <a:pt x="251" y="107"/>
                    </a:cubicBezTo>
                    <a:cubicBezTo>
                      <a:pt x="251" y="107"/>
                      <a:pt x="250" y="107"/>
                      <a:pt x="249" y="107"/>
                    </a:cubicBezTo>
                    <a:cubicBezTo>
                      <a:pt x="249" y="107"/>
                      <a:pt x="248" y="107"/>
                      <a:pt x="247" y="107"/>
                    </a:cubicBezTo>
                    <a:cubicBezTo>
                      <a:pt x="247" y="107"/>
                      <a:pt x="247" y="107"/>
                      <a:pt x="246" y="108"/>
                    </a:cubicBezTo>
                    <a:cubicBezTo>
                      <a:pt x="246" y="108"/>
                      <a:pt x="246" y="108"/>
                      <a:pt x="246" y="108"/>
                    </a:cubicBezTo>
                    <a:cubicBezTo>
                      <a:pt x="246" y="108"/>
                      <a:pt x="246" y="108"/>
                      <a:pt x="246" y="108"/>
                    </a:cubicBezTo>
                    <a:cubicBezTo>
                      <a:pt x="246" y="109"/>
                      <a:pt x="246" y="109"/>
                      <a:pt x="247" y="109"/>
                    </a:cubicBezTo>
                    <a:close/>
                    <a:moveTo>
                      <a:pt x="341" y="124"/>
                    </a:moveTo>
                    <a:cubicBezTo>
                      <a:pt x="341" y="125"/>
                      <a:pt x="342" y="125"/>
                      <a:pt x="343" y="124"/>
                    </a:cubicBezTo>
                    <a:cubicBezTo>
                      <a:pt x="343" y="124"/>
                      <a:pt x="344" y="124"/>
                      <a:pt x="344" y="123"/>
                    </a:cubicBezTo>
                    <a:cubicBezTo>
                      <a:pt x="344" y="123"/>
                      <a:pt x="345" y="123"/>
                      <a:pt x="345" y="123"/>
                    </a:cubicBezTo>
                    <a:cubicBezTo>
                      <a:pt x="344" y="123"/>
                      <a:pt x="343" y="123"/>
                      <a:pt x="343" y="123"/>
                    </a:cubicBezTo>
                    <a:cubicBezTo>
                      <a:pt x="342" y="124"/>
                      <a:pt x="341" y="124"/>
                      <a:pt x="341" y="124"/>
                    </a:cubicBezTo>
                    <a:close/>
                    <a:moveTo>
                      <a:pt x="406" y="106"/>
                    </a:moveTo>
                    <a:cubicBezTo>
                      <a:pt x="406" y="106"/>
                      <a:pt x="406" y="106"/>
                      <a:pt x="405" y="106"/>
                    </a:cubicBezTo>
                    <a:cubicBezTo>
                      <a:pt x="406" y="106"/>
                      <a:pt x="406" y="106"/>
                      <a:pt x="406" y="105"/>
                    </a:cubicBezTo>
                    <a:cubicBezTo>
                      <a:pt x="405" y="105"/>
                      <a:pt x="404" y="106"/>
                      <a:pt x="403" y="107"/>
                    </a:cubicBezTo>
                    <a:cubicBezTo>
                      <a:pt x="402" y="107"/>
                      <a:pt x="401" y="108"/>
                      <a:pt x="400" y="108"/>
                    </a:cubicBezTo>
                    <a:cubicBezTo>
                      <a:pt x="399" y="109"/>
                      <a:pt x="398" y="109"/>
                      <a:pt x="397" y="109"/>
                    </a:cubicBezTo>
                    <a:cubicBezTo>
                      <a:pt x="397" y="109"/>
                      <a:pt x="396" y="110"/>
                      <a:pt x="396" y="110"/>
                    </a:cubicBezTo>
                    <a:cubicBezTo>
                      <a:pt x="396" y="110"/>
                      <a:pt x="395" y="110"/>
                      <a:pt x="395" y="110"/>
                    </a:cubicBezTo>
                    <a:cubicBezTo>
                      <a:pt x="395" y="111"/>
                      <a:pt x="393" y="111"/>
                      <a:pt x="393" y="111"/>
                    </a:cubicBezTo>
                    <a:cubicBezTo>
                      <a:pt x="393" y="111"/>
                      <a:pt x="396" y="111"/>
                      <a:pt x="397" y="111"/>
                    </a:cubicBezTo>
                    <a:cubicBezTo>
                      <a:pt x="398" y="111"/>
                      <a:pt x="398" y="110"/>
                      <a:pt x="398" y="110"/>
                    </a:cubicBezTo>
                    <a:cubicBezTo>
                      <a:pt x="399" y="110"/>
                      <a:pt x="399" y="110"/>
                      <a:pt x="399" y="109"/>
                    </a:cubicBezTo>
                    <a:cubicBezTo>
                      <a:pt x="401" y="107"/>
                      <a:pt x="404" y="108"/>
                      <a:pt x="406" y="106"/>
                    </a:cubicBezTo>
                    <a:cubicBezTo>
                      <a:pt x="406" y="106"/>
                      <a:pt x="405" y="106"/>
                      <a:pt x="405" y="106"/>
                    </a:cubicBezTo>
                    <a:cubicBezTo>
                      <a:pt x="405" y="106"/>
                      <a:pt x="406" y="106"/>
                      <a:pt x="406" y="106"/>
                    </a:cubicBezTo>
                    <a:close/>
                    <a:moveTo>
                      <a:pt x="183" y="144"/>
                    </a:moveTo>
                    <a:cubicBezTo>
                      <a:pt x="183" y="144"/>
                      <a:pt x="184" y="144"/>
                      <a:pt x="184" y="144"/>
                    </a:cubicBezTo>
                    <a:cubicBezTo>
                      <a:pt x="184" y="144"/>
                      <a:pt x="182" y="143"/>
                      <a:pt x="182" y="144"/>
                    </a:cubicBezTo>
                    <a:cubicBezTo>
                      <a:pt x="182" y="144"/>
                      <a:pt x="183" y="144"/>
                      <a:pt x="183" y="144"/>
                    </a:cubicBezTo>
                    <a:close/>
                    <a:moveTo>
                      <a:pt x="480" y="145"/>
                    </a:moveTo>
                    <a:cubicBezTo>
                      <a:pt x="480" y="145"/>
                      <a:pt x="479" y="146"/>
                      <a:pt x="479" y="147"/>
                    </a:cubicBezTo>
                    <a:cubicBezTo>
                      <a:pt x="478" y="147"/>
                      <a:pt x="478" y="147"/>
                      <a:pt x="478" y="148"/>
                    </a:cubicBezTo>
                    <a:cubicBezTo>
                      <a:pt x="478" y="148"/>
                      <a:pt x="479" y="148"/>
                      <a:pt x="479" y="148"/>
                    </a:cubicBezTo>
                    <a:cubicBezTo>
                      <a:pt x="479" y="148"/>
                      <a:pt x="479" y="149"/>
                      <a:pt x="479" y="149"/>
                    </a:cubicBezTo>
                    <a:cubicBezTo>
                      <a:pt x="479" y="149"/>
                      <a:pt x="480" y="148"/>
                      <a:pt x="480" y="148"/>
                    </a:cubicBezTo>
                    <a:cubicBezTo>
                      <a:pt x="480" y="148"/>
                      <a:pt x="481" y="148"/>
                      <a:pt x="481" y="148"/>
                    </a:cubicBezTo>
                    <a:cubicBezTo>
                      <a:pt x="481" y="148"/>
                      <a:pt x="481" y="147"/>
                      <a:pt x="481" y="147"/>
                    </a:cubicBezTo>
                    <a:cubicBezTo>
                      <a:pt x="481" y="146"/>
                      <a:pt x="480" y="147"/>
                      <a:pt x="480" y="146"/>
                    </a:cubicBezTo>
                    <a:cubicBezTo>
                      <a:pt x="480" y="146"/>
                      <a:pt x="481" y="145"/>
                      <a:pt x="480" y="145"/>
                    </a:cubicBezTo>
                    <a:close/>
                    <a:moveTo>
                      <a:pt x="239" y="159"/>
                    </a:moveTo>
                    <a:cubicBezTo>
                      <a:pt x="239" y="159"/>
                      <a:pt x="239" y="159"/>
                      <a:pt x="239" y="158"/>
                    </a:cubicBezTo>
                    <a:cubicBezTo>
                      <a:pt x="239" y="158"/>
                      <a:pt x="240" y="158"/>
                      <a:pt x="240" y="158"/>
                    </a:cubicBezTo>
                    <a:cubicBezTo>
                      <a:pt x="240" y="158"/>
                      <a:pt x="240" y="158"/>
                      <a:pt x="240" y="158"/>
                    </a:cubicBezTo>
                    <a:cubicBezTo>
                      <a:pt x="240" y="158"/>
                      <a:pt x="240" y="157"/>
                      <a:pt x="240" y="157"/>
                    </a:cubicBezTo>
                    <a:cubicBezTo>
                      <a:pt x="241" y="157"/>
                      <a:pt x="241" y="157"/>
                      <a:pt x="241" y="156"/>
                    </a:cubicBezTo>
                    <a:cubicBezTo>
                      <a:pt x="241" y="156"/>
                      <a:pt x="240" y="158"/>
                      <a:pt x="239" y="157"/>
                    </a:cubicBezTo>
                    <a:cubicBezTo>
                      <a:pt x="239" y="157"/>
                      <a:pt x="241" y="157"/>
                      <a:pt x="240" y="156"/>
                    </a:cubicBezTo>
                    <a:cubicBezTo>
                      <a:pt x="239" y="156"/>
                      <a:pt x="237" y="158"/>
                      <a:pt x="236" y="159"/>
                    </a:cubicBezTo>
                    <a:cubicBezTo>
                      <a:pt x="237" y="159"/>
                      <a:pt x="237" y="159"/>
                      <a:pt x="237" y="159"/>
                    </a:cubicBezTo>
                    <a:cubicBezTo>
                      <a:pt x="238" y="158"/>
                      <a:pt x="238" y="158"/>
                      <a:pt x="238" y="158"/>
                    </a:cubicBezTo>
                    <a:cubicBezTo>
                      <a:pt x="237" y="159"/>
                      <a:pt x="238" y="159"/>
                      <a:pt x="239" y="159"/>
                    </a:cubicBezTo>
                    <a:cubicBezTo>
                      <a:pt x="239" y="159"/>
                      <a:pt x="239" y="159"/>
                      <a:pt x="239" y="159"/>
                    </a:cubicBezTo>
                    <a:close/>
                    <a:moveTo>
                      <a:pt x="457" y="140"/>
                    </a:moveTo>
                    <a:cubicBezTo>
                      <a:pt x="459" y="140"/>
                      <a:pt x="460" y="139"/>
                      <a:pt x="461" y="138"/>
                    </a:cubicBezTo>
                    <a:cubicBezTo>
                      <a:pt x="461" y="138"/>
                      <a:pt x="463" y="137"/>
                      <a:pt x="462" y="136"/>
                    </a:cubicBezTo>
                    <a:cubicBezTo>
                      <a:pt x="461" y="136"/>
                      <a:pt x="460" y="137"/>
                      <a:pt x="460" y="137"/>
                    </a:cubicBezTo>
                    <a:cubicBezTo>
                      <a:pt x="460" y="137"/>
                      <a:pt x="460" y="137"/>
                      <a:pt x="460" y="137"/>
                    </a:cubicBezTo>
                    <a:cubicBezTo>
                      <a:pt x="460" y="138"/>
                      <a:pt x="459" y="138"/>
                      <a:pt x="460" y="138"/>
                    </a:cubicBezTo>
                    <a:cubicBezTo>
                      <a:pt x="460" y="138"/>
                      <a:pt x="459" y="138"/>
                      <a:pt x="459" y="139"/>
                    </a:cubicBezTo>
                    <a:cubicBezTo>
                      <a:pt x="458" y="139"/>
                      <a:pt x="458" y="139"/>
                      <a:pt x="457" y="140"/>
                    </a:cubicBezTo>
                    <a:close/>
                    <a:moveTo>
                      <a:pt x="335" y="131"/>
                    </a:moveTo>
                    <a:cubicBezTo>
                      <a:pt x="335" y="131"/>
                      <a:pt x="335" y="131"/>
                      <a:pt x="335" y="131"/>
                    </a:cubicBezTo>
                    <a:cubicBezTo>
                      <a:pt x="335" y="132"/>
                      <a:pt x="333" y="132"/>
                      <a:pt x="332" y="133"/>
                    </a:cubicBezTo>
                    <a:cubicBezTo>
                      <a:pt x="333" y="132"/>
                      <a:pt x="333" y="132"/>
                      <a:pt x="333" y="132"/>
                    </a:cubicBezTo>
                    <a:cubicBezTo>
                      <a:pt x="333" y="133"/>
                      <a:pt x="333" y="133"/>
                      <a:pt x="332" y="133"/>
                    </a:cubicBezTo>
                    <a:cubicBezTo>
                      <a:pt x="333" y="133"/>
                      <a:pt x="333" y="133"/>
                      <a:pt x="333" y="133"/>
                    </a:cubicBezTo>
                    <a:cubicBezTo>
                      <a:pt x="333" y="133"/>
                      <a:pt x="333" y="133"/>
                      <a:pt x="332" y="133"/>
                    </a:cubicBezTo>
                    <a:cubicBezTo>
                      <a:pt x="332" y="133"/>
                      <a:pt x="334" y="133"/>
                      <a:pt x="334" y="133"/>
                    </a:cubicBezTo>
                    <a:cubicBezTo>
                      <a:pt x="335" y="133"/>
                      <a:pt x="333" y="134"/>
                      <a:pt x="332" y="134"/>
                    </a:cubicBezTo>
                    <a:cubicBezTo>
                      <a:pt x="332" y="135"/>
                      <a:pt x="332" y="135"/>
                      <a:pt x="331" y="135"/>
                    </a:cubicBezTo>
                    <a:cubicBezTo>
                      <a:pt x="331" y="135"/>
                      <a:pt x="330" y="135"/>
                      <a:pt x="330" y="135"/>
                    </a:cubicBezTo>
                    <a:cubicBezTo>
                      <a:pt x="330" y="135"/>
                      <a:pt x="330" y="135"/>
                      <a:pt x="330" y="135"/>
                    </a:cubicBezTo>
                    <a:cubicBezTo>
                      <a:pt x="330" y="135"/>
                      <a:pt x="329" y="135"/>
                      <a:pt x="329" y="135"/>
                    </a:cubicBezTo>
                    <a:cubicBezTo>
                      <a:pt x="329" y="135"/>
                      <a:pt x="327" y="134"/>
                      <a:pt x="327" y="135"/>
                    </a:cubicBezTo>
                    <a:cubicBezTo>
                      <a:pt x="327" y="135"/>
                      <a:pt x="327" y="135"/>
                      <a:pt x="327" y="135"/>
                    </a:cubicBezTo>
                    <a:cubicBezTo>
                      <a:pt x="326" y="135"/>
                      <a:pt x="326" y="135"/>
                      <a:pt x="325" y="135"/>
                    </a:cubicBezTo>
                    <a:cubicBezTo>
                      <a:pt x="326" y="135"/>
                      <a:pt x="327" y="135"/>
                      <a:pt x="328" y="135"/>
                    </a:cubicBezTo>
                    <a:cubicBezTo>
                      <a:pt x="329" y="136"/>
                      <a:pt x="327" y="137"/>
                      <a:pt x="326" y="137"/>
                    </a:cubicBezTo>
                    <a:cubicBezTo>
                      <a:pt x="326" y="137"/>
                      <a:pt x="326" y="137"/>
                      <a:pt x="326" y="137"/>
                    </a:cubicBezTo>
                    <a:cubicBezTo>
                      <a:pt x="326" y="136"/>
                      <a:pt x="325" y="137"/>
                      <a:pt x="325" y="137"/>
                    </a:cubicBezTo>
                    <a:cubicBezTo>
                      <a:pt x="325" y="137"/>
                      <a:pt x="325" y="137"/>
                      <a:pt x="325" y="137"/>
                    </a:cubicBezTo>
                    <a:cubicBezTo>
                      <a:pt x="325" y="137"/>
                      <a:pt x="325" y="136"/>
                      <a:pt x="326" y="136"/>
                    </a:cubicBezTo>
                    <a:cubicBezTo>
                      <a:pt x="325" y="136"/>
                      <a:pt x="323" y="137"/>
                      <a:pt x="323" y="136"/>
                    </a:cubicBezTo>
                    <a:cubicBezTo>
                      <a:pt x="323" y="136"/>
                      <a:pt x="323" y="136"/>
                      <a:pt x="323" y="136"/>
                    </a:cubicBezTo>
                    <a:cubicBezTo>
                      <a:pt x="323" y="136"/>
                      <a:pt x="323" y="136"/>
                      <a:pt x="323" y="137"/>
                    </a:cubicBezTo>
                    <a:cubicBezTo>
                      <a:pt x="323" y="137"/>
                      <a:pt x="324" y="136"/>
                      <a:pt x="324" y="137"/>
                    </a:cubicBezTo>
                    <a:cubicBezTo>
                      <a:pt x="324" y="137"/>
                      <a:pt x="323" y="137"/>
                      <a:pt x="323" y="137"/>
                    </a:cubicBezTo>
                    <a:cubicBezTo>
                      <a:pt x="323" y="137"/>
                      <a:pt x="322" y="137"/>
                      <a:pt x="321" y="137"/>
                    </a:cubicBezTo>
                    <a:cubicBezTo>
                      <a:pt x="320" y="137"/>
                      <a:pt x="320" y="138"/>
                      <a:pt x="319" y="138"/>
                    </a:cubicBezTo>
                    <a:cubicBezTo>
                      <a:pt x="319" y="138"/>
                      <a:pt x="319" y="138"/>
                      <a:pt x="318" y="139"/>
                    </a:cubicBezTo>
                    <a:cubicBezTo>
                      <a:pt x="318" y="138"/>
                      <a:pt x="319" y="138"/>
                      <a:pt x="319" y="138"/>
                    </a:cubicBezTo>
                    <a:cubicBezTo>
                      <a:pt x="319" y="138"/>
                      <a:pt x="318" y="138"/>
                      <a:pt x="318" y="138"/>
                    </a:cubicBezTo>
                    <a:cubicBezTo>
                      <a:pt x="319" y="138"/>
                      <a:pt x="318" y="138"/>
                      <a:pt x="318" y="139"/>
                    </a:cubicBezTo>
                    <a:cubicBezTo>
                      <a:pt x="318" y="139"/>
                      <a:pt x="318" y="139"/>
                      <a:pt x="317" y="139"/>
                    </a:cubicBezTo>
                    <a:cubicBezTo>
                      <a:pt x="317" y="139"/>
                      <a:pt x="316" y="139"/>
                      <a:pt x="315" y="139"/>
                    </a:cubicBezTo>
                    <a:cubicBezTo>
                      <a:pt x="316" y="139"/>
                      <a:pt x="316" y="139"/>
                      <a:pt x="316" y="139"/>
                    </a:cubicBezTo>
                    <a:cubicBezTo>
                      <a:pt x="316" y="140"/>
                      <a:pt x="316" y="139"/>
                      <a:pt x="315" y="140"/>
                    </a:cubicBezTo>
                    <a:cubicBezTo>
                      <a:pt x="317" y="140"/>
                      <a:pt x="315" y="141"/>
                      <a:pt x="315" y="140"/>
                    </a:cubicBezTo>
                    <a:cubicBezTo>
                      <a:pt x="315" y="140"/>
                      <a:pt x="315" y="140"/>
                      <a:pt x="315" y="140"/>
                    </a:cubicBezTo>
                    <a:cubicBezTo>
                      <a:pt x="315" y="140"/>
                      <a:pt x="314" y="140"/>
                      <a:pt x="314" y="141"/>
                    </a:cubicBezTo>
                    <a:cubicBezTo>
                      <a:pt x="314" y="141"/>
                      <a:pt x="313" y="141"/>
                      <a:pt x="313" y="141"/>
                    </a:cubicBezTo>
                    <a:cubicBezTo>
                      <a:pt x="313" y="141"/>
                      <a:pt x="313" y="141"/>
                      <a:pt x="314" y="141"/>
                    </a:cubicBezTo>
                    <a:cubicBezTo>
                      <a:pt x="313" y="141"/>
                      <a:pt x="313" y="141"/>
                      <a:pt x="312" y="141"/>
                    </a:cubicBezTo>
                    <a:cubicBezTo>
                      <a:pt x="312" y="142"/>
                      <a:pt x="311" y="142"/>
                      <a:pt x="311" y="142"/>
                    </a:cubicBezTo>
                    <a:cubicBezTo>
                      <a:pt x="311" y="142"/>
                      <a:pt x="310" y="143"/>
                      <a:pt x="310" y="142"/>
                    </a:cubicBezTo>
                    <a:cubicBezTo>
                      <a:pt x="309" y="142"/>
                      <a:pt x="309" y="142"/>
                      <a:pt x="309" y="142"/>
                    </a:cubicBezTo>
                    <a:cubicBezTo>
                      <a:pt x="310" y="141"/>
                      <a:pt x="313" y="141"/>
                      <a:pt x="314" y="140"/>
                    </a:cubicBezTo>
                    <a:cubicBezTo>
                      <a:pt x="314" y="140"/>
                      <a:pt x="314" y="140"/>
                      <a:pt x="314" y="140"/>
                    </a:cubicBezTo>
                    <a:cubicBezTo>
                      <a:pt x="314" y="140"/>
                      <a:pt x="314" y="140"/>
                      <a:pt x="314" y="140"/>
                    </a:cubicBezTo>
                    <a:cubicBezTo>
                      <a:pt x="314" y="140"/>
                      <a:pt x="313" y="140"/>
                      <a:pt x="313" y="140"/>
                    </a:cubicBezTo>
                    <a:cubicBezTo>
                      <a:pt x="313" y="139"/>
                      <a:pt x="315" y="139"/>
                      <a:pt x="316" y="138"/>
                    </a:cubicBezTo>
                    <a:cubicBezTo>
                      <a:pt x="316" y="138"/>
                      <a:pt x="312" y="140"/>
                      <a:pt x="312" y="140"/>
                    </a:cubicBezTo>
                    <a:cubicBezTo>
                      <a:pt x="312" y="140"/>
                      <a:pt x="312" y="140"/>
                      <a:pt x="312" y="140"/>
                    </a:cubicBezTo>
                    <a:cubicBezTo>
                      <a:pt x="311" y="140"/>
                      <a:pt x="310" y="141"/>
                      <a:pt x="309" y="141"/>
                    </a:cubicBezTo>
                    <a:cubicBezTo>
                      <a:pt x="310" y="140"/>
                      <a:pt x="309" y="141"/>
                      <a:pt x="309" y="141"/>
                    </a:cubicBezTo>
                    <a:cubicBezTo>
                      <a:pt x="309" y="141"/>
                      <a:pt x="309" y="141"/>
                      <a:pt x="309" y="141"/>
                    </a:cubicBezTo>
                    <a:cubicBezTo>
                      <a:pt x="309" y="141"/>
                      <a:pt x="309" y="141"/>
                      <a:pt x="309" y="141"/>
                    </a:cubicBezTo>
                    <a:cubicBezTo>
                      <a:pt x="309" y="141"/>
                      <a:pt x="310" y="140"/>
                      <a:pt x="308" y="140"/>
                    </a:cubicBezTo>
                    <a:cubicBezTo>
                      <a:pt x="309" y="139"/>
                      <a:pt x="310" y="139"/>
                      <a:pt x="311" y="138"/>
                    </a:cubicBezTo>
                    <a:cubicBezTo>
                      <a:pt x="311" y="137"/>
                      <a:pt x="310" y="137"/>
                      <a:pt x="310" y="137"/>
                    </a:cubicBezTo>
                    <a:cubicBezTo>
                      <a:pt x="310" y="137"/>
                      <a:pt x="310" y="136"/>
                      <a:pt x="310" y="136"/>
                    </a:cubicBezTo>
                    <a:cubicBezTo>
                      <a:pt x="311" y="136"/>
                      <a:pt x="311" y="136"/>
                      <a:pt x="311" y="136"/>
                    </a:cubicBezTo>
                    <a:cubicBezTo>
                      <a:pt x="311" y="136"/>
                      <a:pt x="312" y="136"/>
                      <a:pt x="312" y="135"/>
                    </a:cubicBezTo>
                    <a:cubicBezTo>
                      <a:pt x="312" y="135"/>
                      <a:pt x="315" y="134"/>
                      <a:pt x="315" y="134"/>
                    </a:cubicBezTo>
                    <a:cubicBezTo>
                      <a:pt x="315" y="134"/>
                      <a:pt x="315" y="134"/>
                      <a:pt x="316" y="134"/>
                    </a:cubicBezTo>
                    <a:cubicBezTo>
                      <a:pt x="316" y="133"/>
                      <a:pt x="319" y="133"/>
                      <a:pt x="319" y="133"/>
                    </a:cubicBezTo>
                    <a:cubicBezTo>
                      <a:pt x="320" y="133"/>
                      <a:pt x="320" y="133"/>
                      <a:pt x="320" y="133"/>
                    </a:cubicBezTo>
                    <a:cubicBezTo>
                      <a:pt x="319" y="134"/>
                      <a:pt x="319" y="134"/>
                      <a:pt x="318" y="134"/>
                    </a:cubicBezTo>
                    <a:cubicBezTo>
                      <a:pt x="319" y="134"/>
                      <a:pt x="320" y="134"/>
                      <a:pt x="319" y="135"/>
                    </a:cubicBezTo>
                    <a:cubicBezTo>
                      <a:pt x="318" y="135"/>
                      <a:pt x="318" y="136"/>
                      <a:pt x="319" y="137"/>
                    </a:cubicBezTo>
                    <a:cubicBezTo>
                      <a:pt x="319" y="136"/>
                      <a:pt x="319" y="135"/>
                      <a:pt x="320" y="135"/>
                    </a:cubicBezTo>
                    <a:cubicBezTo>
                      <a:pt x="320" y="135"/>
                      <a:pt x="320" y="134"/>
                      <a:pt x="321" y="134"/>
                    </a:cubicBezTo>
                    <a:cubicBezTo>
                      <a:pt x="321" y="134"/>
                      <a:pt x="321" y="134"/>
                      <a:pt x="321" y="134"/>
                    </a:cubicBezTo>
                    <a:cubicBezTo>
                      <a:pt x="322" y="134"/>
                      <a:pt x="320" y="133"/>
                      <a:pt x="322" y="133"/>
                    </a:cubicBezTo>
                    <a:cubicBezTo>
                      <a:pt x="322" y="133"/>
                      <a:pt x="323" y="133"/>
                      <a:pt x="323" y="133"/>
                    </a:cubicBezTo>
                    <a:cubicBezTo>
                      <a:pt x="323" y="134"/>
                      <a:pt x="323" y="133"/>
                      <a:pt x="323" y="133"/>
                    </a:cubicBezTo>
                    <a:cubicBezTo>
                      <a:pt x="323" y="133"/>
                      <a:pt x="322" y="133"/>
                      <a:pt x="322" y="132"/>
                    </a:cubicBezTo>
                    <a:cubicBezTo>
                      <a:pt x="322" y="132"/>
                      <a:pt x="322" y="132"/>
                      <a:pt x="323" y="131"/>
                    </a:cubicBezTo>
                    <a:cubicBezTo>
                      <a:pt x="323" y="131"/>
                      <a:pt x="324" y="131"/>
                      <a:pt x="324" y="131"/>
                    </a:cubicBezTo>
                    <a:cubicBezTo>
                      <a:pt x="325" y="131"/>
                      <a:pt x="325" y="131"/>
                      <a:pt x="325" y="130"/>
                    </a:cubicBezTo>
                    <a:cubicBezTo>
                      <a:pt x="325" y="130"/>
                      <a:pt x="326" y="131"/>
                      <a:pt x="326" y="131"/>
                    </a:cubicBezTo>
                    <a:cubicBezTo>
                      <a:pt x="325" y="131"/>
                      <a:pt x="326" y="131"/>
                      <a:pt x="325" y="132"/>
                    </a:cubicBezTo>
                    <a:cubicBezTo>
                      <a:pt x="325" y="132"/>
                      <a:pt x="324" y="133"/>
                      <a:pt x="324" y="133"/>
                    </a:cubicBezTo>
                    <a:cubicBezTo>
                      <a:pt x="324" y="133"/>
                      <a:pt x="324" y="133"/>
                      <a:pt x="324" y="133"/>
                    </a:cubicBezTo>
                    <a:cubicBezTo>
                      <a:pt x="325" y="132"/>
                      <a:pt x="325" y="133"/>
                      <a:pt x="325" y="132"/>
                    </a:cubicBezTo>
                    <a:cubicBezTo>
                      <a:pt x="325" y="132"/>
                      <a:pt x="326" y="131"/>
                      <a:pt x="326" y="132"/>
                    </a:cubicBezTo>
                    <a:cubicBezTo>
                      <a:pt x="326" y="132"/>
                      <a:pt x="326" y="132"/>
                      <a:pt x="326" y="132"/>
                    </a:cubicBezTo>
                    <a:cubicBezTo>
                      <a:pt x="326" y="133"/>
                      <a:pt x="327" y="132"/>
                      <a:pt x="327" y="132"/>
                    </a:cubicBezTo>
                    <a:cubicBezTo>
                      <a:pt x="326" y="131"/>
                      <a:pt x="327" y="131"/>
                      <a:pt x="328" y="132"/>
                    </a:cubicBezTo>
                    <a:cubicBezTo>
                      <a:pt x="328" y="132"/>
                      <a:pt x="327" y="132"/>
                      <a:pt x="327" y="132"/>
                    </a:cubicBezTo>
                    <a:cubicBezTo>
                      <a:pt x="328" y="132"/>
                      <a:pt x="328" y="132"/>
                      <a:pt x="328" y="131"/>
                    </a:cubicBezTo>
                    <a:cubicBezTo>
                      <a:pt x="329" y="131"/>
                      <a:pt x="329" y="130"/>
                      <a:pt x="329" y="130"/>
                    </a:cubicBezTo>
                    <a:cubicBezTo>
                      <a:pt x="330" y="131"/>
                      <a:pt x="329" y="131"/>
                      <a:pt x="330" y="131"/>
                    </a:cubicBezTo>
                    <a:cubicBezTo>
                      <a:pt x="330" y="131"/>
                      <a:pt x="330" y="130"/>
                      <a:pt x="330" y="130"/>
                    </a:cubicBezTo>
                    <a:cubicBezTo>
                      <a:pt x="330" y="130"/>
                      <a:pt x="329" y="130"/>
                      <a:pt x="330" y="129"/>
                    </a:cubicBezTo>
                    <a:cubicBezTo>
                      <a:pt x="330" y="129"/>
                      <a:pt x="331" y="130"/>
                      <a:pt x="331" y="130"/>
                    </a:cubicBezTo>
                    <a:cubicBezTo>
                      <a:pt x="331" y="130"/>
                      <a:pt x="332" y="130"/>
                      <a:pt x="332" y="130"/>
                    </a:cubicBezTo>
                    <a:cubicBezTo>
                      <a:pt x="333" y="130"/>
                      <a:pt x="332" y="131"/>
                      <a:pt x="332" y="131"/>
                    </a:cubicBezTo>
                    <a:cubicBezTo>
                      <a:pt x="332" y="131"/>
                      <a:pt x="332" y="131"/>
                      <a:pt x="331" y="131"/>
                    </a:cubicBezTo>
                    <a:cubicBezTo>
                      <a:pt x="331" y="131"/>
                      <a:pt x="331" y="131"/>
                      <a:pt x="331" y="131"/>
                    </a:cubicBezTo>
                    <a:cubicBezTo>
                      <a:pt x="330" y="131"/>
                      <a:pt x="330" y="132"/>
                      <a:pt x="330" y="132"/>
                    </a:cubicBezTo>
                    <a:cubicBezTo>
                      <a:pt x="331" y="132"/>
                      <a:pt x="331" y="131"/>
                      <a:pt x="332" y="131"/>
                    </a:cubicBezTo>
                    <a:cubicBezTo>
                      <a:pt x="332" y="131"/>
                      <a:pt x="332" y="131"/>
                      <a:pt x="332" y="131"/>
                    </a:cubicBezTo>
                    <a:cubicBezTo>
                      <a:pt x="332" y="131"/>
                      <a:pt x="333" y="130"/>
                      <a:pt x="334" y="131"/>
                    </a:cubicBezTo>
                    <a:cubicBezTo>
                      <a:pt x="334" y="131"/>
                      <a:pt x="335" y="130"/>
                      <a:pt x="335" y="130"/>
                    </a:cubicBezTo>
                    <a:cubicBezTo>
                      <a:pt x="335" y="130"/>
                      <a:pt x="335" y="131"/>
                      <a:pt x="335" y="131"/>
                    </a:cubicBezTo>
                    <a:close/>
                    <a:moveTo>
                      <a:pt x="314" y="139"/>
                    </a:moveTo>
                    <a:cubicBezTo>
                      <a:pt x="313" y="138"/>
                      <a:pt x="311" y="138"/>
                      <a:pt x="310" y="139"/>
                    </a:cubicBezTo>
                    <a:cubicBezTo>
                      <a:pt x="310" y="139"/>
                      <a:pt x="311" y="139"/>
                      <a:pt x="311" y="139"/>
                    </a:cubicBezTo>
                    <a:cubicBezTo>
                      <a:pt x="312" y="139"/>
                      <a:pt x="312" y="138"/>
                      <a:pt x="313" y="139"/>
                    </a:cubicBezTo>
                    <a:cubicBezTo>
                      <a:pt x="313" y="139"/>
                      <a:pt x="313" y="139"/>
                      <a:pt x="313" y="139"/>
                    </a:cubicBezTo>
                    <a:cubicBezTo>
                      <a:pt x="313" y="139"/>
                      <a:pt x="314" y="139"/>
                      <a:pt x="314" y="139"/>
                    </a:cubicBezTo>
                    <a:close/>
                    <a:moveTo>
                      <a:pt x="468" y="150"/>
                    </a:moveTo>
                    <a:cubicBezTo>
                      <a:pt x="468" y="149"/>
                      <a:pt x="469" y="149"/>
                      <a:pt x="469" y="149"/>
                    </a:cubicBezTo>
                    <a:cubicBezTo>
                      <a:pt x="469" y="149"/>
                      <a:pt x="469" y="149"/>
                      <a:pt x="469" y="148"/>
                    </a:cubicBezTo>
                    <a:cubicBezTo>
                      <a:pt x="468" y="149"/>
                      <a:pt x="468" y="149"/>
                      <a:pt x="467" y="149"/>
                    </a:cubicBezTo>
                    <a:cubicBezTo>
                      <a:pt x="466" y="149"/>
                      <a:pt x="467" y="149"/>
                      <a:pt x="467" y="149"/>
                    </a:cubicBezTo>
                    <a:cubicBezTo>
                      <a:pt x="467" y="149"/>
                      <a:pt x="466" y="149"/>
                      <a:pt x="466" y="149"/>
                    </a:cubicBezTo>
                    <a:cubicBezTo>
                      <a:pt x="465" y="149"/>
                      <a:pt x="465" y="150"/>
                      <a:pt x="464" y="150"/>
                    </a:cubicBezTo>
                    <a:cubicBezTo>
                      <a:pt x="464" y="150"/>
                      <a:pt x="463" y="150"/>
                      <a:pt x="463" y="151"/>
                    </a:cubicBezTo>
                    <a:cubicBezTo>
                      <a:pt x="463" y="151"/>
                      <a:pt x="465" y="151"/>
                      <a:pt x="465" y="150"/>
                    </a:cubicBezTo>
                    <a:cubicBezTo>
                      <a:pt x="466" y="150"/>
                      <a:pt x="466" y="150"/>
                      <a:pt x="467" y="150"/>
                    </a:cubicBezTo>
                    <a:cubicBezTo>
                      <a:pt x="467" y="150"/>
                      <a:pt x="468" y="150"/>
                      <a:pt x="468" y="150"/>
                    </a:cubicBezTo>
                    <a:close/>
                    <a:moveTo>
                      <a:pt x="461" y="135"/>
                    </a:moveTo>
                    <a:cubicBezTo>
                      <a:pt x="461" y="135"/>
                      <a:pt x="462" y="135"/>
                      <a:pt x="461" y="136"/>
                    </a:cubicBezTo>
                    <a:cubicBezTo>
                      <a:pt x="461" y="136"/>
                      <a:pt x="462" y="136"/>
                      <a:pt x="462" y="136"/>
                    </a:cubicBezTo>
                    <a:cubicBezTo>
                      <a:pt x="463" y="136"/>
                      <a:pt x="464" y="135"/>
                      <a:pt x="465" y="135"/>
                    </a:cubicBezTo>
                    <a:cubicBezTo>
                      <a:pt x="465" y="135"/>
                      <a:pt x="465" y="134"/>
                      <a:pt x="465" y="134"/>
                    </a:cubicBezTo>
                    <a:cubicBezTo>
                      <a:pt x="465" y="134"/>
                      <a:pt x="465" y="134"/>
                      <a:pt x="465" y="134"/>
                    </a:cubicBezTo>
                    <a:cubicBezTo>
                      <a:pt x="465" y="133"/>
                      <a:pt x="465" y="133"/>
                      <a:pt x="464" y="133"/>
                    </a:cubicBezTo>
                    <a:cubicBezTo>
                      <a:pt x="465" y="133"/>
                      <a:pt x="465" y="133"/>
                      <a:pt x="466" y="132"/>
                    </a:cubicBezTo>
                    <a:cubicBezTo>
                      <a:pt x="465" y="132"/>
                      <a:pt x="466" y="132"/>
                      <a:pt x="466" y="132"/>
                    </a:cubicBezTo>
                    <a:cubicBezTo>
                      <a:pt x="467" y="133"/>
                      <a:pt x="467" y="133"/>
                      <a:pt x="467" y="134"/>
                    </a:cubicBezTo>
                    <a:cubicBezTo>
                      <a:pt x="468" y="134"/>
                      <a:pt x="468" y="135"/>
                      <a:pt x="468" y="135"/>
                    </a:cubicBezTo>
                    <a:cubicBezTo>
                      <a:pt x="469" y="135"/>
                      <a:pt x="470" y="135"/>
                      <a:pt x="470" y="135"/>
                    </a:cubicBezTo>
                    <a:cubicBezTo>
                      <a:pt x="471" y="135"/>
                      <a:pt x="471" y="134"/>
                      <a:pt x="471" y="134"/>
                    </a:cubicBezTo>
                    <a:cubicBezTo>
                      <a:pt x="472" y="133"/>
                      <a:pt x="472" y="133"/>
                      <a:pt x="472" y="132"/>
                    </a:cubicBezTo>
                    <a:cubicBezTo>
                      <a:pt x="473" y="132"/>
                      <a:pt x="470" y="132"/>
                      <a:pt x="470" y="133"/>
                    </a:cubicBezTo>
                    <a:cubicBezTo>
                      <a:pt x="470" y="132"/>
                      <a:pt x="469" y="132"/>
                      <a:pt x="469" y="132"/>
                    </a:cubicBezTo>
                    <a:cubicBezTo>
                      <a:pt x="469" y="132"/>
                      <a:pt x="469" y="132"/>
                      <a:pt x="469" y="132"/>
                    </a:cubicBezTo>
                    <a:cubicBezTo>
                      <a:pt x="470" y="132"/>
                      <a:pt x="469" y="131"/>
                      <a:pt x="469" y="131"/>
                    </a:cubicBezTo>
                    <a:cubicBezTo>
                      <a:pt x="469" y="131"/>
                      <a:pt x="469" y="131"/>
                      <a:pt x="469" y="131"/>
                    </a:cubicBezTo>
                    <a:cubicBezTo>
                      <a:pt x="468" y="131"/>
                      <a:pt x="468" y="131"/>
                      <a:pt x="468" y="130"/>
                    </a:cubicBezTo>
                    <a:cubicBezTo>
                      <a:pt x="468" y="130"/>
                      <a:pt x="467" y="130"/>
                      <a:pt x="467" y="130"/>
                    </a:cubicBezTo>
                    <a:cubicBezTo>
                      <a:pt x="467" y="130"/>
                      <a:pt x="468" y="130"/>
                      <a:pt x="468" y="130"/>
                    </a:cubicBezTo>
                    <a:cubicBezTo>
                      <a:pt x="469" y="130"/>
                      <a:pt x="469" y="131"/>
                      <a:pt x="470" y="131"/>
                    </a:cubicBezTo>
                    <a:cubicBezTo>
                      <a:pt x="471" y="132"/>
                      <a:pt x="472" y="132"/>
                      <a:pt x="473" y="131"/>
                    </a:cubicBezTo>
                    <a:cubicBezTo>
                      <a:pt x="473" y="131"/>
                      <a:pt x="472" y="131"/>
                      <a:pt x="472" y="130"/>
                    </a:cubicBezTo>
                    <a:cubicBezTo>
                      <a:pt x="472" y="130"/>
                      <a:pt x="472" y="130"/>
                      <a:pt x="473" y="130"/>
                    </a:cubicBezTo>
                    <a:cubicBezTo>
                      <a:pt x="473" y="130"/>
                      <a:pt x="473" y="131"/>
                      <a:pt x="473" y="131"/>
                    </a:cubicBezTo>
                    <a:cubicBezTo>
                      <a:pt x="473" y="130"/>
                      <a:pt x="476" y="130"/>
                      <a:pt x="474" y="129"/>
                    </a:cubicBezTo>
                    <a:cubicBezTo>
                      <a:pt x="474" y="129"/>
                      <a:pt x="475" y="129"/>
                      <a:pt x="475" y="129"/>
                    </a:cubicBezTo>
                    <a:cubicBezTo>
                      <a:pt x="474" y="128"/>
                      <a:pt x="473" y="129"/>
                      <a:pt x="473" y="128"/>
                    </a:cubicBezTo>
                    <a:cubicBezTo>
                      <a:pt x="473" y="128"/>
                      <a:pt x="473" y="128"/>
                      <a:pt x="473" y="128"/>
                    </a:cubicBezTo>
                    <a:cubicBezTo>
                      <a:pt x="473" y="128"/>
                      <a:pt x="472" y="129"/>
                      <a:pt x="471" y="129"/>
                    </a:cubicBezTo>
                    <a:cubicBezTo>
                      <a:pt x="470" y="129"/>
                      <a:pt x="470" y="130"/>
                      <a:pt x="469" y="130"/>
                    </a:cubicBezTo>
                    <a:cubicBezTo>
                      <a:pt x="469" y="130"/>
                      <a:pt x="468" y="130"/>
                      <a:pt x="468" y="130"/>
                    </a:cubicBezTo>
                    <a:cubicBezTo>
                      <a:pt x="468" y="129"/>
                      <a:pt x="469" y="130"/>
                      <a:pt x="470" y="129"/>
                    </a:cubicBezTo>
                    <a:cubicBezTo>
                      <a:pt x="469" y="129"/>
                      <a:pt x="469" y="129"/>
                      <a:pt x="469" y="129"/>
                    </a:cubicBezTo>
                    <a:cubicBezTo>
                      <a:pt x="469" y="129"/>
                      <a:pt x="470" y="129"/>
                      <a:pt x="470" y="129"/>
                    </a:cubicBezTo>
                    <a:cubicBezTo>
                      <a:pt x="470" y="129"/>
                      <a:pt x="471" y="129"/>
                      <a:pt x="471" y="128"/>
                    </a:cubicBezTo>
                    <a:cubicBezTo>
                      <a:pt x="472" y="128"/>
                      <a:pt x="472" y="128"/>
                      <a:pt x="472" y="128"/>
                    </a:cubicBezTo>
                    <a:cubicBezTo>
                      <a:pt x="472" y="127"/>
                      <a:pt x="471" y="127"/>
                      <a:pt x="471" y="127"/>
                    </a:cubicBezTo>
                    <a:cubicBezTo>
                      <a:pt x="471" y="126"/>
                      <a:pt x="470" y="127"/>
                      <a:pt x="469" y="127"/>
                    </a:cubicBezTo>
                    <a:cubicBezTo>
                      <a:pt x="469" y="127"/>
                      <a:pt x="469" y="128"/>
                      <a:pt x="468" y="128"/>
                    </a:cubicBezTo>
                    <a:cubicBezTo>
                      <a:pt x="468" y="128"/>
                      <a:pt x="468" y="127"/>
                      <a:pt x="468" y="127"/>
                    </a:cubicBezTo>
                    <a:cubicBezTo>
                      <a:pt x="467" y="127"/>
                      <a:pt x="466" y="129"/>
                      <a:pt x="466" y="129"/>
                    </a:cubicBezTo>
                    <a:cubicBezTo>
                      <a:pt x="466" y="129"/>
                      <a:pt x="467" y="127"/>
                      <a:pt x="467" y="127"/>
                    </a:cubicBezTo>
                    <a:cubicBezTo>
                      <a:pt x="466" y="127"/>
                      <a:pt x="466" y="127"/>
                      <a:pt x="466" y="127"/>
                    </a:cubicBezTo>
                    <a:cubicBezTo>
                      <a:pt x="466" y="128"/>
                      <a:pt x="466" y="128"/>
                      <a:pt x="465" y="128"/>
                    </a:cubicBezTo>
                    <a:cubicBezTo>
                      <a:pt x="465" y="128"/>
                      <a:pt x="465" y="128"/>
                      <a:pt x="464" y="128"/>
                    </a:cubicBezTo>
                    <a:cubicBezTo>
                      <a:pt x="463" y="129"/>
                      <a:pt x="465" y="130"/>
                      <a:pt x="465" y="131"/>
                    </a:cubicBezTo>
                    <a:cubicBezTo>
                      <a:pt x="464" y="131"/>
                      <a:pt x="464" y="130"/>
                      <a:pt x="464" y="130"/>
                    </a:cubicBezTo>
                    <a:cubicBezTo>
                      <a:pt x="464" y="130"/>
                      <a:pt x="463" y="130"/>
                      <a:pt x="463" y="130"/>
                    </a:cubicBezTo>
                    <a:cubicBezTo>
                      <a:pt x="463" y="130"/>
                      <a:pt x="463" y="130"/>
                      <a:pt x="463" y="130"/>
                    </a:cubicBezTo>
                    <a:cubicBezTo>
                      <a:pt x="463" y="130"/>
                      <a:pt x="464" y="130"/>
                      <a:pt x="464" y="129"/>
                    </a:cubicBezTo>
                    <a:cubicBezTo>
                      <a:pt x="464" y="129"/>
                      <a:pt x="464" y="129"/>
                      <a:pt x="464" y="129"/>
                    </a:cubicBezTo>
                    <a:cubicBezTo>
                      <a:pt x="463" y="128"/>
                      <a:pt x="463" y="129"/>
                      <a:pt x="463" y="129"/>
                    </a:cubicBezTo>
                    <a:cubicBezTo>
                      <a:pt x="463" y="129"/>
                      <a:pt x="462" y="129"/>
                      <a:pt x="462" y="129"/>
                    </a:cubicBezTo>
                    <a:cubicBezTo>
                      <a:pt x="462" y="130"/>
                      <a:pt x="462" y="130"/>
                      <a:pt x="461" y="130"/>
                    </a:cubicBezTo>
                    <a:cubicBezTo>
                      <a:pt x="462" y="130"/>
                      <a:pt x="462" y="130"/>
                      <a:pt x="462" y="130"/>
                    </a:cubicBezTo>
                    <a:cubicBezTo>
                      <a:pt x="462" y="130"/>
                      <a:pt x="461" y="131"/>
                      <a:pt x="461" y="131"/>
                    </a:cubicBezTo>
                    <a:cubicBezTo>
                      <a:pt x="462" y="131"/>
                      <a:pt x="462" y="131"/>
                      <a:pt x="462" y="131"/>
                    </a:cubicBezTo>
                    <a:cubicBezTo>
                      <a:pt x="462" y="131"/>
                      <a:pt x="461" y="131"/>
                      <a:pt x="461" y="131"/>
                    </a:cubicBezTo>
                    <a:cubicBezTo>
                      <a:pt x="462" y="131"/>
                      <a:pt x="462" y="131"/>
                      <a:pt x="462" y="132"/>
                    </a:cubicBezTo>
                    <a:cubicBezTo>
                      <a:pt x="462" y="132"/>
                      <a:pt x="462" y="132"/>
                      <a:pt x="462" y="132"/>
                    </a:cubicBezTo>
                    <a:cubicBezTo>
                      <a:pt x="462" y="132"/>
                      <a:pt x="463" y="132"/>
                      <a:pt x="462" y="133"/>
                    </a:cubicBezTo>
                    <a:cubicBezTo>
                      <a:pt x="462" y="133"/>
                      <a:pt x="462" y="133"/>
                      <a:pt x="462" y="133"/>
                    </a:cubicBezTo>
                    <a:cubicBezTo>
                      <a:pt x="462" y="133"/>
                      <a:pt x="463" y="133"/>
                      <a:pt x="463" y="133"/>
                    </a:cubicBezTo>
                    <a:cubicBezTo>
                      <a:pt x="463" y="133"/>
                      <a:pt x="462" y="134"/>
                      <a:pt x="462" y="133"/>
                    </a:cubicBezTo>
                    <a:cubicBezTo>
                      <a:pt x="461" y="133"/>
                      <a:pt x="463" y="135"/>
                      <a:pt x="462" y="135"/>
                    </a:cubicBezTo>
                    <a:cubicBezTo>
                      <a:pt x="462" y="135"/>
                      <a:pt x="462" y="134"/>
                      <a:pt x="461" y="135"/>
                    </a:cubicBezTo>
                    <a:close/>
                    <a:moveTo>
                      <a:pt x="459" y="158"/>
                    </a:moveTo>
                    <a:cubicBezTo>
                      <a:pt x="460" y="158"/>
                      <a:pt x="461" y="158"/>
                      <a:pt x="461" y="158"/>
                    </a:cubicBezTo>
                    <a:cubicBezTo>
                      <a:pt x="461" y="157"/>
                      <a:pt x="461" y="157"/>
                      <a:pt x="460" y="158"/>
                    </a:cubicBezTo>
                    <a:cubicBezTo>
                      <a:pt x="461" y="157"/>
                      <a:pt x="461" y="157"/>
                      <a:pt x="461" y="157"/>
                    </a:cubicBezTo>
                    <a:cubicBezTo>
                      <a:pt x="461" y="157"/>
                      <a:pt x="460" y="157"/>
                      <a:pt x="460" y="157"/>
                    </a:cubicBezTo>
                    <a:cubicBezTo>
                      <a:pt x="460" y="157"/>
                      <a:pt x="460" y="157"/>
                      <a:pt x="460" y="158"/>
                    </a:cubicBezTo>
                    <a:cubicBezTo>
                      <a:pt x="459" y="158"/>
                      <a:pt x="459" y="158"/>
                      <a:pt x="459" y="158"/>
                    </a:cubicBezTo>
                    <a:cubicBezTo>
                      <a:pt x="458" y="158"/>
                      <a:pt x="459" y="158"/>
                      <a:pt x="459" y="158"/>
                    </a:cubicBezTo>
                    <a:close/>
                    <a:moveTo>
                      <a:pt x="475" y="157"/>
                    </a:moveTo>
                    <a:cubicBezTo>
                      <a:pt x="475" y="158"/>
                      <a:pt x="476" y="157"/>
                      <a:pt x="476" y="156"/>
                    </a:cubicBezTo>
                    <a:cubicBezTo>
                      <a:pt x="477" y="156"/>
                      <a:pt x="477" y="156"/>
                      <a:pt x="477" y="155"/>
                    </a:cubicBezTo>
                    <a:cubicBezTo>
                      <a:pt x="477" y="155"/>
                      <a:pt x="478" y="155"/>
                      <a:pt x="478" y="155"/>
                    </a:cubicBezTo>
                    <a:cubicBezTo>
                      <a:pt x="478" y="155"/>
                      <a:pt x="477" y="155"/>
                      <a:pt x="477" y="156"/>
                    </a:cubicBezTo>
                    <a:cubicBezTo>
                      <a:pt x="477" y="156"/>
                      <a:pt x="477" y="156"/>
                      <a:pt x="476" y="157"/>
                    </a:cubicBezTo>
                    <a:cubicBezTo>
                      <a:pt x="477" y="157"/>
                      <a:pt x="478" y="156"/>
                      <a:pt x="478" y="156"/>
                    </a:cubicBezTo>
                    <a:cubicBezTo>
                      <a:pt x="479" y="155"/>
                      <a:pt x="479" y="154"/>
                      <a:pt x="480" y="154"/>
                    </a:cubicBezTo>
                    <a:cubicBezTo>
                      <a:pt x="479" y="154"/>
                      <a:pt x="479" y="155"/>
                      <a:pt x="478" y="156"/>
                    </a:cubicBezTo>
                    <a:cubicBezTo>
                      <a:pt x="478" y="156"/>
                      <a:pt x="477" y="157"/>
                      <a:pt x="476" y="157"/>
                    </a:cubicBezTo>
                    <a:cubicBezTo>
                      <a:pt x="475" y="157"/>
                      <a:pt x="476" y="158"/>
                      <a:pt x="477" y="158"/>
                    </a:cubicBezTo>
                    <a:cubicBezTo>
                      <a:pt x="477" y="157"/>
                      <a:pt x="478" y="156"/>
                      <a:pt x="478" y="156"/>
                    </a:cubicBezTo>
                    <a:cubicBezTo>
                      <a:pt x="479" y="156"/>
                      <a:pt x="477" y="157"/>
                      <a:pt x="477" y="157"/>
                    </a:cubicBezTo>
                    <a:cubicBezTo>
                      <a:pt x="477" y="158"/>
                      <a:pt x="476" y="158"/>
                      <a:pt x="477" y="158"/>
                    </a:cubicBezTo>
                    <a:cubicBezTo>
                      <a:pt x="477" y="159"/>
                      <a:pt x="479" y="158"/>
                      <a:pt x="479" y="157"/>
                    </a:cubicBezTo>
                    <a:cubicBezTo>
                      <a:pt x="479" y="157"/>
                      <a:pt x="480" y="157"/>
                      <a:pt x="480" y="156"/>
                    </a:cubicBezTo>
                    <a:cubicBezTo>
                      <a:pt x="480" y="156"/>
                      <a:pt x="480" y="156"/>
                      <a:pt x="480" y="156"/>
                    </a:cubicBezTo>
                    <a:cubicBezTo>
                      <a:pt x="481" y="156"/>
                      <a:pt x="481" y="156"/>
                      <a:pt x="481" y="155"/>
                    </a:cubicBezTo>
                    <a:cubicBezTo>
                      <a:pt x="482" y="155"/>
                      <a:pt x="482" y="155"/>
                      <a:pt x="483" y="154"/>
                    </a:cubicBezTo>
                    <a:cubicBezTo>
                      <a:pt x="483" y="153"/>
                      <a:pt x="484" y="152"/>
                      <a:pt x="484" y="151"/>
                    </a:cubicBezTo>
                    <a:cubicBezTo>
                      <a:pt x="484" y="150"/>
                      <a:pt x="483" y="151"/>
                      <a:pt x="482" y="151"/>
                    </a:cubicBezTo>
                    <a:cubicBezTo>
                      <a:pt x="482" y="151"/>
                      <a:pt x="479" y="151"/>
                      <a:pt x="481" y="152"/>
                    </a:cubicBezTo>
                    <a:cubicBezTo>
                      <a:pt x="480" y="152"/>
                      <a:pt x="479" y="151"/>
                      <a:pt x="479" y="152"/>
                    </a:cubicBezTo>
                    <a:cubicBezTo>
                      <a:pt x="479" y="152"/>
                      <a:pt x="480" y="152"/>
                      <a:pt x="480" y="152"/>
                    </a:cubicBezTo>
                    <a:cubicBezTo>
                      <a:pt x="480" y="153"/>
                      <a:pt x="478" y="152"/>
                      <a:pt x="478" y="153"/>
                    </a:cubicBezTo>
                    <a:cubicBezTo>
                      <a:pt x="478" y="153"/>
                      <a:pt x="479" y="153"/>
                      <a:pt x="479" y="153"/>
                    </a:cubicBezTo>
                    <a:cubicBezTo>
                      <a:pt x="479" y="153"/>
                      <a:pt x="478" y="153"/>
                      <a:pt x="477" y="153"/>
                    </a:cubicBezTo>
                    <a:cubicBezTo>
                      <a:pt x="477" y="154"/>
                      <a:pt x="477" y="154"/>
                      <a:pt x="477" y="154"/>
                    </a:cubicBezTo>
                    <a:cubicBezTo>
                      <a:pt x="476" y="155"/>
                      <a:pt x="473" y="155"/>
                      <a:pt x="475" y="157"/>
                    </a:cubicBezTo>
                    <a:close/>
                    <a:moveTo>
                      <a:pt x="479" y="142"/>
                    </a:moveTo>
                    <a:cubicBezTo>
                      <a:pt x="478" y="142"/>
                      <a:pt x="479" y="142"/>
                      <a:pt x="478" y="142"/>
                    </a:cubicBezTo>
                    <a:cubicBezTo>
                      <a:pt x="478" y="143"/>
                      <a:pt x="478" y="143"/>
                      <a:pt x="477" y="144"/>
                    </a:cubicBezTo>
                    <a:cubicBezTo>
                      <a:pt x="477" y="144"/>
                      <a:pt x="476" y="144"/>
                      <a:pt x="476" y="144"/>
                    </a:cubicBezTo>
                    <a:cubicBezTo>
                      <a:pt x="476" y="144"/>
                      <a:pt x="476" y="145"/>
                      <a:pt x="476" y="145"/>
                    </a:cubicBezTo>
                    <a:cubicBezTo>
                      <a:pt x="477" y="145"/>
                      <a:pt x="477" y="145"/>
                      <a:pt x="477" y="145"/>
                    </a:cubicBezTo>
                    <a:cubicBezTo>
                      <a:pt x="477" y="145"/>
                      <a:pt x="477" y="144"/>
                      <a:pt x="478" y="144"/>
                    </a:cubicBezTo>
                    <a:cubicBezTo>
                      <a:pt x="478" y="144"/>
                      <a:pt x="478" y="145"/>
                      <a:pt x="478" y="144"/>
                    </a:cubicBezTo>
                    <a:cubicBezTo>
                      <a:pt x="479" y="144"/>
                      <a:pt x="479" y="144"/>
                      <a:pt x="480" y="144"/>
                    </a:cubicBezTo>
                    <a:cubicBezTo>
                      <a:pt x="480" y="144"/>
                      <a:pt x="480" y="143"/>
                      <a:pt x="480" y="143"/>
                    </a:cubicBezTo>
                    <a:cubicBezTo>
                      <a:pt x="479" y="143"/>
                      <a:pt x="480" y="142"/>
                      <a:pt x="479" y="142"/>
                    </a:cubicBezTo>
                    <a:close/>
                    <a:moveTo>
                      <a:pt x="479" y="140"/>
                    </a:moveTo>
                    <a:cubicBezTo>
                      <a:pt x="479" y="140"/>
                      <a:pt x="478" y="140"/>
                      <a:pt x="478" y="140"/>
                    </a:cubicBezTo>
                    <a:cubicBezTo>
                      <a:pt x="478" y="140"/>
                      <a:pt x="477" y="140"/>
                      <a:pt x="477" y="140"/>
                    </a:cubicBezTo>
                    <a:cubicBezTo>
                      <a:pt x="477" y="140"/>
                      <a:pt x="477" y="140"/>
                      <a:pt x="477" y="140"/>
                    </a:cubicBezTo>
                    <a:cubicBezTo>
                      <a:pt x="478" y="140"/>
                      <a:pt x="477" y="140"/>
                      <a:pt x="477" y="140"/>
                    </a:cubicBezTo>
                    <a:cubicBezTo>
                      <a:pt x="476" y="139"/>
                      <a:pt x="475" y="139"/>
                      <a:pt x="474" y="139"/>
                    </a:cubicBezTo>
                    <a:cubicBezTo>
                      <a:pt x="474" y="139"/>
                      <a:pt x="473" y="139"/>
                      <a:pt x="472" y="140"/>
                    </a:cubicBezTo>
                    <a:cubicBezTo>
                      <a:pt x="472" y="140"/>
                      <a:pt x="473" y="141"/>
                      <a:pt x="473" y="141"/>
                    </a:cubicBezTo>
                    <a:cubicBezTo>
                      <a:pt x="473" y="141"/>
                      <a:pt x="472" y="141"/>
                      <a:pt x="472" y="141"/>
                    </a:cubicBezTo>
                    <a:cubicBezTo>
                      <a:pt x="472" y="141"/>
                      <a:pt x="472" y="141"/>
                      <a:pt x="472" y="141"/>
                    </a:cubicBezTo>
                    <a:cubicBezTo>
                      <a:pt x="472" y="142"/>
                      <a:pt x="472" y="141"/>
                      <a:pt x="472" y="142"/>
                    </a:cubicBezTo>
                    <a:cubicBezTo>
                      <a:pt x="472" y="142"/>
                      <a:pt x="473" y="141"/>
                      <a:pt x="473" y="141"/>
                    </a:cubicBezTo>
                    <a:cubicBezTo>
                      <a:pt x="473" y="142"/>
                      <a:pt x="472" y="142"/>
                      <a:pt x="471" y="143"/>
                    </a:cubicBezTo>
                    <a:cubicBezTo>
                      <a:pt x="471" y="143"/>
                      <a:pt x="471" y="144"/>
                      <a:pt x="470" y="144"/>
                    </a:cubicBezTo>
                    <a:cubicBezTo>
                      <a:pt x="471" y="144"/>
                      <a:pt x="469" y="146"/>
                      <a:pt x="470" y="146"/>
                    </a:cubicBezTo>
                    <a:cubicBezTo>
                      <a:pt x="470" y="145"/>
                      <a:pt x="471" y="145"/>
                      <a:pt x="471" y="145"/>
                    </a:cubicBezTo>
                    <a:cubicBezTo>
                      <a:pt x="472" y="145"/>
                      <a:pt x="472" y="145"/>
                      <a:pt x="472" y="145"/>
                    </a:cubicBezTo>
                    <a:cubicBezTo>
                      <a:pt x="472" y="145"/>
                      <a:pt x="473" y="145"/>
                      <a:pt x="473" y="145"/>
                    </a:cubicBezTo>
                    <a:cubicBezTo>
                      <a:pt x="473" y="145"/>
                      <a:pt x="476" y="144"/>
                      <a:pt x="475" y="144"/>
                    </a:cubicBezTo>
                    <a:cubicBezTo>
                      <a:pt x="476" y="144"/>
                      <a:pt x="475" y="143"/>
                      <a:pt x="474" y="143"/>
                    </a:cubicBezTo>
                    <a:cubicBezTo>
                      <a:pt x="475" y="143"/>
                      <a:pt x="475" y="143"/>
                      <a:pt x="476" y="142"/>
                    </a:cubicBezTo>
                    <a:cubicBezTo>
                      <a:pt x="475" y="143"/>
                      <a:pt x="475" y="142"/>
                      <a:pt x="476" y="142"/>
                    </a:cubicBezTo>
                    <a:cubicBezTo>
                      <a:pt x="476" y="141"/>
                      <a:pt x="476" y="142"/>
                      <a:pt x="476" y="142"/>
                    </a:cubicBezTo>
                    <a:cubicBezTo>
                      <a:pt x="476" y="142"/>
                      <a:pt x="475" y="144"/>
                      <a:pt x="476" y="144"/>
                    </a:cubicBezTo>
                    <a:cubicBezTo>
                      <a:pt x="477" y="143"/>
                      <a:pt x="477" y="143"/>
                      <a:pt x="478" y="142"/>
                    </a:cubicBezTo>
                    <a:cubicBezTo>
                      <a:pt x="478" y="142"/>
                      <a:pt x="479" y="142"/>
                      <a:pt x="479" y="141"/>
                    </a:cubicBezTo>
                    <a:cubicBezTo>
                      <a:pt x="480" y="141"/>
                      <a:pt x="480" y="140"/>
                      <a:pt x="479" y="140"/>
                    </a:cubicBezTo>
                    <a:close/>
                    <a:moveTo>
                      <a:pt x="459" y="147"/>
                    </a:moveTo>
                    <a:cubicBezTo>
                      <a:pt x="460" y="147"/>
                      <a:pt x="460" y="146"/>
                      <a:pt x="461" y="146"/>
                    </a:cubicBezTo>
                    <a:cubicBezTo>
                      <a:pt x="461" y="145"/>
                      <a:pt x="462" y="145"/>
                      <a:pt x="462" y="145"/>
                    </a:cubicBezTo>
                    <a:cubicBezTo>
                      <a:pt x="462" y="145"/>
                      <a:pt x="462" y="144"/>
                      <a:pt x="463" y="144"/>
                    </a:cubicBezTo>
                    <a:cubicBezTo>
                      <a:pt x="463" y="144"/>
                      <a:pt x="463" y="144"/>
                      <a:pt x="462" y="144"/>
                    </a:cubicBezTo>
                    <a:cubicBezTo>
                      <a:pt x="464" y="144"/>
                      <a:pt x="464" y="143"/>
                      <a:pt x="465" y="141"/>
                    </a:cubicBezTo>
                    <a:cubicBezTo>
                      <a:pt x="466" y="141"/>
                      <a:pt x="466" y="140"/>
                      <a:pt x="467" y="139"/>
                    </a:cubicBezTo>
                    <a:cubicBezTo>
                      <a:pt x="467" y="139"/>
                      <a:pt x="467" y="139"/>
                      <a:pt x="467" y="138"/>
                    </a:cubicBezTo>
                    <a:cubicBezTo>
                      <a:pt x="467" y="138"/>
                      <a:pt x="467" y="138"/>
                      <a:pt x="468" y="138"/>
                    </a:cubicBezTo>
                    <a:cubicBezTo>
                      <a:pt x="468" y="138"/>
                      <a:pt x="468" y="137"/>
                      <a:pt x="468" y="137"/>
                    </a:cubicBezTo>
                    <a:cubicBezTo>
                      <a:pt x="467" y="137"/>
                      <a:pt x="468" y="137"/>
                      <a:pt x="467" y="137"/>
                    </a:cubicBezTo>
                    <a:cubicBezTo>
                      <a:pt x="467" y="137"/>
                      <a:pt x="468" y="136"/>
                      <a:pt x="468" y="136"/>
                    </a:cubicBezTo>
                    <a:cubicBezTo>
                      <a:pt x="468" y="136"/>
                      <a:pt x="468" y="136"/>
                      <a:pt x="468" y="136"/>
                    </a:cubicBezTo>
                    <a:cubicBezTo>
                      <a:pt x="468" y="135"/>
                      <a:pt x="467" y="135"/>
                      <a:pt x="467" y="135"/>
                    </a:cubicBezTo>
                    <a:cubicBezTo>
                      <a:pt x="467" y="135"/>
                      <a:pt x="468" y="135"/>
                      <a:pt x="467" y="135"/>
                    </a:cubicBezTo>
                    <a:cubicBezTo>
                      <a:pt x="467" y="135"/>
                      <a:pt x="466" y="135"/>
                      <a:pt x="465" y="135"/>
                    </a:cubicBezTo>
                    <a:cubicBezTo>
                      <a:pt x="466" y="135"/>
                      <a:pt x="467" y="135"/>
                      <a:pt x="467" y="135"/>
                    </a:cubicBezTo>
                    <a:cubicBezTo>
                      <a:pt x="467" y="134"/>
                      <a:pt x="467" y="134"/>
                      <a:pt x="466" y="134"/>
                    </a:cubicBezTo>
                    <a:cubicBezTo>
                      <a:pt x="466" y="134"/>
                      <a:pt x="465" y="135"/>
                      <a:pt x="465" y="135"/>
                    </a:cubicBezTo>
                    <a:cubicBezTo>
                      <a:pt x="464" y="135"/>
                      <a:pt x="464" y="135"/>
                      <a:pt x="463" y="136"/>
                    </a:cubicBezTo>
                    <a:cubicBezTo>
                      <a:pt x="464" y="136"/>
                      <a:pt x="464" y="136"/>
                      <a:pt x="463" y="136"/>
                    </a:cubicBezTo>
                    <a:cubicBezTo>
                      <a:pt x="462" y="136"/>
                      <a:pt x="462" y="137"/>
                      <a:pt x="462" y="137"/>
                    </a:cubicBezTo>
                    <a:cubicBezTo>
                      <a:pt x="463" y="137"/>
                      <a:pt x="463" y="137"/>
                      <a:pt x="464" y="137"/>
                    </a:cubicBezTo>
                    <a:cubicBezTo>
                      <a:pt x="464" y="138"/>
                      <a:pt x="463" y="138"/>
                      <a:pt x="462" y="138"/>
                    </a:cubicBezTo>
                    <a:cubicBezTo>
                      <a:pt x="462" y="138"/>
                      <a:pt x="464" y="138"/>
                      <a:pt x="464" y="138"/>
                    </a:cubicBezTo>
                    <a:cubicBezTo>
                      <a:pt x="463" y="138"/>
                      <a:pt x="461" y="138"/>
                      <a:pt x="462" y="139"/>
                    </a:cubicBezTo>
                    <a:cubicBezTo>
                      <a:pt x="462" y="139"/>
                      <a:pt x="463" y="139"/>
                      <a:pt x="463" y="139"/>
                    </a:cubicBezTo>
                    <a:cubicBezTo>
                      <a:pt x="463" y="140"/>
                      <a:pt x="461" y="140"/>
                      <a:pt x="461" y="140"/>
                    </a:cubicBezTo>
                    <a:cubicBezTo>
                      <a:pt x="461" y="141"/>
                      <a:pt x="460" y="141"/>
                      <a:pt x="460" y="141"/>
                    </a:cubicBezTo>
                    <a:cubicBezTo>
                      <a:pt x="460" y="141"/>
                      <a:pt x="459" y="142"/>
                      <a:pt x="460" y="142"/>
                    </a:cubicBezTo>
                    <a:cubicBezTo>
                      <a:pt x="460" y="142"/>
                      <a:pt x="460" y="142"/>
                      <a:pt x="460" y="142"/>
                    </a:cubicBezTo>
                    <a:cubicBezTo>
                      <a:pt x="460" y="142"/>
                      <a:pt x="461" y="141"/>
                      <a:pt x="461" y="141"/>
                    </a:cubicBezTo>
                    <a:cubicBezTo>
                      <a:pt x="461" y="142"/>
                      <a:pt x="461" y="142"/>
                      <a:pt x="460" y="142"/>
                    </a:cubicBezTo>
                    <a:cubicBezTo>
                      <a:pt x="460" y="142"/>
                      <a:pt x="460" y="143"/>
                      <a:pt x="459" y="143"/>
                    </a:cubicBezTo>
                    <a:cubicBezTo>
                      <a:pt x="460" y="143"/>
                      <a:pt x="461" y="142"/>
                      <a:pt x="462" y="142"/>
                    </a:cubicBezTo>
                    <a:cubicBezTo>
                      <a:pt x="462" y="142"/>
                      <a:pt x="459" y="144"/>
                      <a:pt x="459" y="144"/>
                    </a:cubicBezTo>
                    <a:cubicBezTo>
                      <a:pt x="460" y="144"/>
                      <a:pt x="461" y="142"/>
                      <a:pt x="462" y="143"/>
                    </a:cubicBezTo>
                    <a:cubicBezTo>
                      <a:pt x="461" y="143"/>
                      <a:pt x="461" y="143"/>
                      <a:pt x="461" y="143"/>
                    </a:cubicBezTo>
                    <a:cubicBezTo>
                      <a:pt x="461" y="144"/>
                      <a:pt x="462" y="143"/>
                      <a:pt x="462" y="143"/>
                    </a:cubicBezTo>
                    <a:cubicBezTo>
                      <a:pt x="462" y="143"/>
                      <a:pt x="461" y="144"/>
                      <a:pt x="461" y="144"/>
                    </a:cubicBezTo>
                    <a:cubicBezTo>
                      <a:pt x="460" y="144"/>
                      <a:pt x="460" y="144"/>
                      <a:pt x="459" y="144"/>
                    </a:cubicBezTo>
                    <a:cubicBezTo>
                      <a:pt x="459" y="145"/>
                      <a:pt x="459" y="146"/>
                      <a:pt x="458" y="147"/>
                    </a:cubicBezTo>
                    <a:cubicBezTo>
                      <a:pt x="458" y="147"/>
                      <a:pt x="458" y="147"/>
                      <a:pt x="459" y="147"/>
                    </a:cubicBezTo>
                    <a:cubicBezTo>
                      <a:pt x="458" y="147"/>
                      <a:pt x="458" y="147"/>
                      <a:pt x="458" y="148"/>
                    </a:cubicBezTo>
                    <a:cubicBezTo>
                      <a:pt x="458" y="148"/>
                      <a:pt x="459" y="148"/>
                      <a:pt x="459" y="148"/>
                    </a:cubicBezTo>
                    <a:cubicBezTo>
                      <a:pt x="459" y="148"/>
                      <a:pt x="458" y="148"/>
                      <a:pt x="458" y="148"/>
                    </a:cubicBezTo>
                    <a:cubicBezTo>
                      <a:pt x="458" y="148"/>
                      <a:pt x="460" y="147"/>
                      <a:pt x="459" y="147"/>
                    </a:cubicBezTo>
                    <a:close/>
                    <a:moveTo>
                      <a:pt x="471" y="141"/>
                    </a:moveTo>
                    <a:cubicBezTo>
                      <a:pt x="471" y="141"/>
                      <a:pt x="471" y="141"/>
                      <a:pt x="471" y="141"/>
                    </a:cubicBezTo>
                    <a:close/>
                    <a:moveTo>
                      <a:pt x="470" y="144"/>
                    </a:moveTo>
                    <a:cubicBezTo>
                      <a:pt x="469" y="144"/>
                      <a:pt x="470" y="144"/>
                      <a:pt x="470" y="144"/>
                    </a:cubicBezTo>
                    <a:cubicBezTo>
                      <a:pt x="471" y="144"/>
                      <a:pt x="471" y="143"/>
                      <a:pt x="471" y="143"/>
                    </a:cubicBezTo>
                    <a:cubicBezTo>
                      <a:pt x="471" y="143"/>
                      <a:pt x="472" y="142"/>
                      <a:pt x="472" y="142"/>
                    </a:cubicBezTo>
                    <a:cubicBezTo>
                      <a:pt x="471" y="142"/>
                      <a:pt x="471" y="142"/>
                      <a:pt x="470" y="142"/>
                    </a:cubicBezTo>
                    <a:cubicBezTo>
                      <a:pt x="470" y="143"/>
                      <a:pt x="469" y="144"/>
                      <a:pt x="468" y="143"/>
                    </a:cubicBezTo>
                    <a:cubicBezTo>
                      <a:pt x="469" y="143"/>
                      <a:pt x="470" y="142"/>
                      <a:pt x="471" y="142"/>
                    </a:cubicBezTo>
                    <a:cubicBezTo>
                      <a:pt x="471" y="142"/>
                      <a:pt x="471" y="142"/>
                      <a:pt x="471" y="142"/>
                    </a:cubicBezTo>
                    <a:cubicBezTo>
                      <a:pt x="471" y="142"/>
                      <a:pt x="471" y="141"/>
                      <a:pt x="471" y="141"/>
                    </a:cubicBezTo>
                    <a:cubicBezTo>
                      <a:pt x="471" y="141"/>
                      <a:pt x="471" y="141"/>
                      <a:pt x="471" y="141"/>
                    </a:cubicBezTo>
                    <a:cubicBezTo>
                      <a:pt x="471" y="141"/>
                      <a:pt x="470" y="140"/>
                      <a:pt x="469" y="140"/>
                    </a:cubicBezTo>
                    <a:cubicBezTo>
                      <a:pt x="470" y="141"/>
                      <a:pt x="469" y="140"/>
                      <a:pt x="469" y="141"/>
                    </a:cubicBezTo>
                    <a:cubicBezTo>
                      <a:pt x="470" y="141"/>
                      <a:pt x="470" y="141"/>
                      <a:pt x="470" y="141"/>
                    </a:cubicBezTo>
                    <a:cubicBezTo>
                      <a:pt x="470" y="141"/>
                      <a:pt x="470" y="141"/>
                      <a:pt x="470" y="141"/>
                    </a:cubicBezTo>
                    <a:cubicBezTo>
                      <a:pt x="469" y="141"/>
                      <a:pt x="469" y="141"/>
                      <a:pt x="469" y="141"/>
                    </a:cubicBezTo>
                    <a:cubicBezTo>
                      <a:pt x="468" y="140"/>
                      <a:pt x="468" y="142"/>
                      <a:pt x="468" y="142"/>
                    </a:cubicBezTo>
                    <a:cubicBezTo>
                      <a:pt x="468" y="141"/>
                      <a:pt x="467" y="141"/>
                      <a:pt x="467" y="142"/>
                    </a:cubicBezTo>
                    <a:cubicBezTo>
                      <a:pt x="466" y="142"/>
                      <a:pt x="466" y="143"/>
                      <a:pt x="466" y="143"/>
                    </a:cubicBezTo>
                    <a:cubicBezTo>
                      <a:pt x="466" y="143"/>
                      <a:pt x="467" y="143"/>
                      <a:pt x="467" y="143"/>
                    </a:cubicBezTo>
                    <a:cubicBezTo>
                      <a:pt x="467" y="143"/>
                      <a:pt x="466" y="143"/>
                      <a:pt x="466" y="144"/>
                    </a:cubicBezTo>
                    <a:cubicBezTo>
                      <a:pt x="466" y="144"/>
                      <a:pt x="467" y="143"/>
                      <a:pt x="468" y="143"/>
                    </a:cubicBezTo>
                    <a:cubicBezTo>
                      <a:pt x="468" y="143"/>
                      <a:pt x="467" y="144"/>
                      <a:pt x="467" y="144"/>
                    </a:cubicBezTo>
                    <a:cubicBezTo>
                      <a:pt x="466" y="144"/>
                      <a:pt x="466" y="144"/>
                      <a:pt x="465" y="144"/>
                    </a:cubicBezTo>
                    <a:cubicBezTo>
                      <a:pt x="466" y="144"/>
                      <a:pt x="466" y="144"/>
                      <a:pt x="466" y="145"/>
                    </a:cubicBezTo>
                    <a:cubicBezTo>
                      <a:pt x="466" y="145"/>
                      <a:pt x="467" y="144"/>
                      <a:pt x="467" y="144"/>
                    </a:cubicBezTo>
                    <a:cubicBezTo>
                      <a:pt x="467" y="145"/>
                      <a:pt x="467" y="145"/>
                      <a:pt x="466" y="145"/>
                    </a:cubicBezTo>
                    <a:cubicBezTo>
                      <a:pt x="466" y="145"/>
                      <a:pt x="466" y="146"/>
                      <a:pt x="465" y="146"/>
                    </a:cubicBezTo>
                    <a:cubicBezTo>
                      <a:pt x="466" y="146"/>
                      <a:pt x="465" y="146"/>
                      <a:pt x="465" y="146"/>
                    </a:cubicBezTo>
                    <a:cubicBezTo>
                      <a:pt x="465" y="146"/>
                      <a:pt x="465" y="146"/>
                      <a:pt x="465" y="146"/>
                    </a:cubicBezTo>
                    <a:cubicBezTo>
                      <a:pt x="465" y="146"/>
                      <a:pt x="464" y="146"/>
                      <a:pt x="464" y="146"/>
                    </a:cubicBezTo>
                    <a:cubicBezTo>
                      <a:pt x="464" y="146"/>
                      <a:pt x="463" y="147"/>
                      <a:pt x="463" y="147"/>
                    </a:cubicBezTo>
                    <a:cubicBezTo>
                      <a:pt x="463" y="147"/>
                      <a:pt x="464" y="147"/>
                      <a:pt x="464" y="147"/>
                    </a:cubicBezTo>
                    <a:cubicBezTo>
                      <a:pt x="464" y="147"/>
                      <a:pt x="463" y="147"/>
                      <a:pt x="463" y="147"/>
                    </a:cubicBezTo>
                    <a:cubicBezTo>
                      <a:pt x="462" y="147"/>
                      <a:pt x="462" y="148"/>
                      <a:pt x="462" y="148"/>
                    </a:cubicBezTo>
                    <a:cubicBezTo>
                      <a:pt x="462" y="148"/>
                      <a:pt x="462" y="148"/>
                      <a:pt x="462" y="148"/>
                    </a:cubicBezTo>
                    <a:cubicBezTo>
                      <a:pt x="462" y="148"/>
                      <a:pt x="461" y="149"/>
                      <a:pt x="461" y="149"/>
                    </a:cubicBezTo>
                    <a:cubicBezTo>
                      <a:pt x="461" y="150"/>
                      <a:pt x="461" y="149"/>
                      <a:pt x="461" y="150"/>
                    </a:cubicBezTo>
                    <a:cubicBezTo>
                      <a:pt x="461" y="150"/>
                      <a:pt x="463" y="149"/>
                      <a:pt x="463" y="148"/>
                    </a:cubicBezTo>
                    <a:cubicBezTo>
                      <a:pt x="462" y="148"/>
                      <a:pt x="462" y="149"/>
                      <a:pt x="462" y="149"/>
                    </a:cubicBezTo>
                    <a:cubicBezTo>
                      <a:pt x="462" y="148"/>
                      <a:pt x="463" y="148"/>
                      <a:pt x="463" y="148"/>
                    </a:cubicBezTo>
                    <a:cubicBezTo>
                      <a:pt x="464" y="148"/>
                      <a:pt x="464" y="147"/>
                      <a:pt x="465" y="147"/>
                    </a:cubicBezTo>
                    <a:cubicBezTo>
                      <a:pt x="465" y="147"/>
                      <a:pt x="464" y="148"/>
                      <a:pt x="464" y="148"/>
                    </a:cubicBezTo>
                    <a:cubicBezTo>
                      <a:pt x="463" y="148"/>
                      <a:pt x="462" y="149"/>
                      <a:pt x="463" y="149"/>
                    </a:cubicBezTo>
                    <a:cubicBezTo>
                      <a:pt x="464" y="149"/>
                      <a:pt x="464" y="148"/>
                      <a:pt x="465" y="148"/>
                    </a:cubicBezTo>
                    <a:cubicBezTo>
                      <a:pt x="465" y="148"/>
                      <a:pt x="465" y="148"/>
                      <a:pt x="465" y="147"/>
                    </a:cubicBezTo>
                    <a:cubicBezTo>
                      <a:pt x="465" y="147"/>
                      <a:pt x="465" y="147"/>
                      <a:pt x="465" y="147"/>
                    </a:cubicBezTo>
                    <a:cubicBezTo>
                      <a:pt x="465" y="147"/>
                      <a:pt x="466" y="146"/>
                      <a:pt x="466" y="146"/>
                    </a:cubicBezTo>
                    <a:cubicBezTo>
                      <a:pt x="466" y="147"/>
                      <a:pt x="466" y="147"/>
                      <a:pt x="466" y="147"/>
                    </a:cubicBezTo>
                    <a:cubicBezTo>
                      <a:pt x="467" y="146"/>
                      <a:pt x="467" y="146"/>
                      <a:pt x="467" y="146"/>
                    </a:cubicBezTo>
                    <a:cubicBezTo>
                      <a:pt x="467" y="146"/>
                      <a:pt x="467" y="146"/>
                      <a:pt x="467" y="146"/>
                    </a:cubicBezTo>
                    <a:cubicBezTo>
                      <a:pt x="467" y="145"/>
                      <a:pt x="468" y="146"/>
                      <a:pt x="468" y="145"/>
                    </a:cubicBezTo>
                    <a:cubicBezTo>
                      <a:pt x="468" y="145"/>
                      <a:pt x="468" y="145"/>
                      <a:pt x="468" y="145"/>
                    </a:cubicBezTo>
                    <a:cubicBezTo>
                      <a:pt x="468" y="144"/>
                      <a:pt x="468" y="144"/>
                      <a:pt x="469" y="144"/>
                    </a:cubicBezTo>
                    <a:cubicBezTo>
                      <a:pt x="469" y="144"/>
                      <a:pt x="469" y="144"/>
                      <a:pt x="469" y="144"/>
                    </a:cubicBezTo>
                    <a:cubicBezTo>
                      <a:pt x="469" y="144"/>
                      <a:pt x="470" y="144"/>
                      <a:pt x="470" y="144"/>
                    </a:cubicBezTo>
                    <a:close/>
                    <a:moveTo>
                      <a:pt x="477" y="149"/>
                    </a:moveTo>
                    <a:cubicBezTo>
                      <a:pt x="477" y="149"/>
                      <a:pt x="478" y="149"/>
                      <a:pt x="478" y="149"/>
                    </a:cubicBezTo>
                    <a:cubicBezTo>
                      <a:pt x="479" y="149"/>
                      <a:pt x="478" y="148"/>
                      <a:pt x="478" y="148"/>
                    </a:cubicBezTo>
                    <a:cubicBezTo>
                      <a:pt x="477" y="148"/>
                      <a:pt x="477" y="148"/>
                      <a:pt x="477" y="148"/>
                    </a:cubicBezTo>
                    <a:cubicBezTo>
                      <a:pt x="477" y="148"/>
                      <a:pt x="477" y="148"/>
                      <a:pt x="476" y="148"/>
                    </a:cubicBezTo>
                    <a:cubicBezTo>
                      <a:pt x="477" y="148"/>
                      <a:pt x="477" y="148"/>
                      <a:pt x="477" y="148"/>
                    </a:cubicBezTo>
                    <a:cubicBezTo>
                      <a:pt x="478" y="147"/>
                      <a:pt x="478" y="147"/>
                      <a:pt x="478" y="147"/>
                    </a:cubicBezTo>
                    <a:cubicBezTo>
                      <a:pt x="478" y="146"/>
                      <a:pt x="476" y="147"/>
                      <a:pt x="476" y="147"/>
                    </a:cubicBezTo>
                    <a:cubicBezTo>
                      <a:pt x="475" y="148"/>
                      <a:pt x="475" y="148"/>
                      <a:pt x="474" y="148"/>
                    </a:cubicBezTo>
                    <a:cubicBezTo>
                      <a:pt x="474" y="148"/>
                      <a:pt x="474" y="149"/>
                      <a:pt x="474" y="149"/>
                    </a:cubicBezTo>
                    <a:cubicBezTo>
                      <a:pt x="474" y="149"/>
                      <a:pt x="475" y="149"/>
                      <a:pt x="475" y="149"/>
                    </a:cubicBezTo>
                    <a:cubicBezTo>
                      <a:pt x="475" y="149"/>
                      <a:pt x="475" y="150"/>
                      <a:pt x="475" y="150"/>
                    </a:cubicBezTo>
                    <a:cubicBezTo>
                      <a:pt x="475" y="150"/>
                      <a:pt x="475" y="150"/>
                      <a:pt x="475" y="150"/>
                    </a:cubicBezTo>
                    <a:cubicBezTo>
                      <a:pt x="475" y="150"/>
                      <a:pt x="475" y="150"/>
                      <a:pt x="474" y="150"/>
                    </a:cubicBezTo>
                    <a:cubicBezTo>
                      <a:pt x="475" y="150"/>
                      <a:pt x="474" y="151"/>
                      <a:pt x="475" y="151"/>
                    </a:cubicBezTo>
                    <a:cubicBezTo>
                      <a:pt x="475" y="151"/>
                      <a:pt x="476" y="151"/>
                      <a:pt x="476" y="150"/>
                    </a:cubicBezTo>
                    <a:cubicBezTo>
                      <a:pt x="476" y="150"/>
                      <a:pt x="476" y="151"/>
                      <a:pt x="476" y="151"/>
                    </a:cubicBezTo>
                    <a:cubicBezTo>
                      <a:pt x="477" y="151"/>
                      <a:pt x="477" y="150"/>
                      <a:pt x="477" y="149"/>
                    </a:cubicBezTo>
                    <a:close/>
                    <a:moveTo>
                      <a:pt x="476" y="129"/>
                    </a:moveTo>
                    <a:cubicBezTo>
                      <a:pt x="476" y="130"/>
                      <a:pt x="476" y="130"/>
                      <a:pt x="475" y="131"/>
                    </a:cubicBezTo>
                    <a:cubicBezTo>
                      <a:pt x="475" y="131"/>
                      <a:pt x="474" y="132"/>
                      <a:pt x="474" y="133"/>
                    </a:cubicBezTo>
                    <a:cubicBezTo>
                      <a:pt x="473" y="133"/>
                      <a:pt x="473" y="134"/>
                      <a:pt x="473" y="134"/>
                    </a:cubicBezTo>
                    <a:cubicBezTo>
                      <a:pt x="473" y="134"/>
                      <a:pt x="474" y="134"/>
                      <a:pt x="475" y="134"/>
                    </a:cubicBezTo>
                    <a:cubicBezTo>
                      <a:pt x="474" y="134"/>
                      <a:pt x="473" y="134"/>
                      <a:pt x="472" y="135"/>
                    </a:cubicBezTo>
                    <a:cubicBezTo>
                      <a:pt x="472" y="136"/>
                      <a:pt x="473" y="136"/>
                      <a:pt x="474" y="136"/>
                    </a:cubicBezTo>
                    <a:cubicBezTo>
                      <a:pt x="473" y="136"/>
                      <a:pt x="473" y="136"/>
                      <a:pt x="473" y="136"/>
                    </a:cubicBezTo>
                    <a:cubicBezTo>
                      <a:pt x="473" y="136"/>
                      <a:pt x="473" y="136"/>
                      <a:pt x="473" y="136"/>
                    </a:cubicBezTo>
                    <a:cubicBezTo>
                      <a:pt x="473" y="136"/>
                      <a:pt x="472" y="136"/>
                      <a:pt x="472" y="136"/>
                    </a:cubicBezTo>
                    <a:cubicBezTo>
                      <a:pt x="472" y="136"/>
                      <a:pt x="471" y="136"/>
                      <a:pt x="471" y="136"/>
                    </a:cubicBezTo>
                    <a:cubicBezTo>
                      <a:pt x="472" y="136"/>
                      <a:pt x="471" y="137"/>
                      <a:pt x="471" y="137"/>
                    </a:cubicBezTo>
                    <a:cubicBezTo>
                      <a:pt x="471" y="137"/>
                      <a:pt x="470" y="137"/>
                      <a:pt x="470" y="137"/>
                    </a:cubicBezTo>
                    <a:cubicBezTo>
                      <a:pt x="470" y="138"/>
                      <a:pt x="469" y="137"/>
                      <a:pt x="469" y="138"/>
                    </a:cubicBezTo>
                    <a:cubicBezTo>
                      <a:pt x="469" y="138"/>
                      <a:pt x="468" y="139"/>
                      <a:pt x="467" y="140"/>
                    </a:cubicBezTo>
                    <a:cubicBezTo>
                      <a:pt x="468" y="139"/>
                      <a:pt x="469" y="139"/>
                      <a:pt x="470" y="139"/>
                    </a:cubicBezTo>
                    <a:cubicBezTo>
                      <a:pt x="470" y="139"/>
                      <a:pt x="471" y="138"/>
                      <a:pt x="472" y="138"/>
                    </a:cubicBezTo>
                    <a:cubicBezTo>
                      <a:pt x="472" y="138"/>
                      <a:pt x="473" y="138"/>
                      <a:pt x="473" y="137"/>
                    </a:cubicBezTo>
                    <a:cubicBezTo>
                      <a:pt x="474" y="137"/>
                      <a:pt x="475" y="137"/>
                      <a:pt x="474" y="137"/>
                    </a:cubicBezTo>
                    <a:cubicBezTo>
                      <a:pt x="474" y="136"/>
                      <a:pt x="474" y="136"/>
                      <a:pt x="475" y="136"/>
                    </a:cubicBezTo>
                    <a:cubicBezTo>
                      <a:pt x="475" y="136"/>
                      <a:pt x="475" y="136"/>
                      <a:pt x="475" y="136"/>
                    </a:cubicBezTo>
                    <a:cubicBezTo>
                      <a:pt x="475" y="136"/>
                      <a:pt x="475" y="136"/>
                      <a:pt x="475" y="136"/>
                    </a:cubicBezTo>
                    <a:cubicBezTo>
                      <a:pt x="475" y="137"/>
                      <a:pt x="476" y="136"/>
                      <a:pt x="476" y="136"/>
                    </a:cubicBezTo>
                    <a:cubicBezTo>
                      <a:pt x="477" y="136"/>
                      <a:pt x="477" y="136"/>
                      <a:pt x="477" y="136"/>
                    </a:cubicBezTo>
                    <a:cubicBezTo>
                      <a:pt x="477" y="135"/>
                      <a:pt x="476" y="135"/>
                      <a:pt x="476" y="135"/>
                    </a:cubicBezTo>
                    <a:cubicBezTo>
                      <a:pt x="477" y="135"/>
                      <a:pt x="477" y="135"/>
                      <a:pt x="476" y="135"/>
                    </a:cubicBezTo>
                    <a:cubicBezTo>
                      <a:pt x="477" y="135"/>
                      <a:pt x="477" y="135"/>
                      <a:pt x="477" y="135"/>
                    </a:cubicBezTo>
                    <a:cubicBezTo>
                      <a:pt x="477" y="135"/>
                      <a:pt x="478" y="135"/>
                      <a:pt x="478" y="135"/>
                    </a:cubicBezTo>
                    <a:cubicBezTo>
                      <a:pt x="478" y="134"/>
                      <a:pt x="479" y="133"/>
                      <a:pt x="478" y="133"/>
                    </a:cubicBezTo>
                    <a:cubicBezTo>
                      <a:pt x="479" y="133"/>
                      <a:pt x="479" y="130"/>
                      <a:pt x="478" y="131"/>
                    </a:cubicBezTo>
                    <a:cubicBezTo>
                      <a:pt x="479" y="131"/>
                      <a:pt x="479" y="130"/>
                      <a:pt x="479" y="130"/>
                    </a:cubicBezTo>
                    <a:cubicBezTo>
                      <a:pt x="480" y="130"/>
                      <a:pt x="480" y="130"/>
                      <a:pt x="480" y="130"/>
                    </a:cubicBezTo>
                    <a:cubicBezTo>
                      <a:pt x="480" y="129"/>
                      <a:pt x="480" y="129"/>
                      <a:pt x="480" y="129"/>
                    </a:cubicBezTo>
                    <a:cubicBezTo>
                      <a:pt x="481" y="129"/>
                      <a:pt x="481" y="129"/>
                      <a:pt x="481" y="129"/>
                    </a:cubicBezTo>
                    <a:cubicBezTo>
                      <a:pt x="481" y="129"/>
                      <a:pt x="481" y="129"/>
                      <a:pt x="481" y="130"/>
                    </a:cubicBezTo>
                    <a:cubicBezTo>
                      <a:pt x="481" y="129"/>
                      <a:pt x="480" y="131"/>
                      <a:pt x="480" y="131"/>
                    </a:cubicBezTo>
                    <a:cubicBezTo>
                      <a:pt x="480" y="132"/>
                      <a:pt x="480" y="132"/>
                      <a:pt x="480" y="132"/>
                    </a:cubicBezTo>
                    <a:cubicBezTo>
                      <a:pt x="479" y="133"/>
                      <a:pt x="480" y="133"/>
                      <a:pt x="479" y="133"/>
                    </a:cubicBezTo>
                    <a:cubicBezTo>
                      <a:pt x="479" y="134"/>
                      <a:pt x="480" y="134"/>
                      <a:pt x="480" y="134"/>
                    </a:cubicBezTo>
                    <a:cubicBezTo>
                      <a:pt x="480" y="133"/>
                      <a:pt x="481" y="132"/>
                      <a:pt x="481" y="131"/>
                    </a:cubicBezTo>
                    <a:cubicBezTo>
                      <a:pt x="481" y="131"/>
                      <a:pt x="482" y="128"/>
                      <a:pt x="482" y="128"/>
                    </a:cubicBezTo>
                    <a:cubicBezTo>
                      <a:pt x="482" y="128"/>
                      <a:pt x="482" y="128"/>
                      <a:pt x="481" y="128"/>
                    </a:cubicBezTo>
                    <a:cubicBezTo>
                      <a:pt x="480" y="128"/>
                      <a:pt x="480" y="128"/>
                      <a:pt x="479" y="128"/>
                    </a:cubicBezTo>
                    <a:cubicBezTo>
                      <a:pt x="478" y="128"/>
                      <a:pt x="480" y="126"/>
                      <a:pt x="479" y="126"/>
                    </a:cubicBezTo>
                    <a:cubicBezTo>
                      <a:pt x="479" y="126"/>
                      <a:pt x="479" y="125"/>
                      <a:pt x="479" y="125"/>
                    </a:cubicBezTo>
                    <a:cubicBezTo>
                      <a:pt x="479" y="125"/>
                      <a:pt x="477" y="127"/>
                      <a:pt x="478" y="127"/>
                    </a:cubicBezTo>
                    <a:cubicBezTo>
                      <a:pt x="478" y="127"/>
                      <a:pt x="477" y="127"/>
                      <a:pt x="477" y="128"/>
                    </a:cubicBezTo>
                    <a:cubicBezTo>
                      <a:pt x="477" y="128"/>
                      <a:pt x="477" y="128"/>
                      <a:pt x="477" y="128"/>
                    </a:cubicBezTo>
                    <a:cubicBezTo>
                      <a:pt x="477" y="128"/>
                      <a:pt x="478" y="128"/>
                      <a:pt x="478" y="128"/>
                    </a:cubicBezTo>
                    <a:cubicBezTo>
                      <a:pt x="478" y="128"/>
                      <a:pt x="478" y="128"/>
                      <a:pt x="477" y="129"/>
                    </a:cubicBezTo>
                    <a:cubicBezTo>
                      <a:pt x="477" y="129"/>
                      <a:pt x="477" y="129"/>
                      <a:pt x="476" y="129"/>
                    </a:cubicBezTo>
                    <a:close/>
                    <a:moveTo>
                      <a:pt x="478" y="135"/>
                    </a:moveTo>
                    <a:cubicBezTo>
                      <a:pt x="478" y="135"/>
                      <a:pt x="478" y="135"/>
                      <a:pt x="478" y="135"/>
                    </a:cubicBezTo>
                    <a:cubicBezTo>
                      <a:pt x="478" y="135"/>
                      <a:pt x="478" y="135"/>
                      <a:pt x="478" y="135"/>
                    </a:cubicBezTo>
                    <a:close/>
                    <a:moveTo>
                      <a:pt x="321" y="138"/>
                    </a:moveTo>
                    <a:cubicBezTo>
                      <a:pt x="321" y="138"/>
                      <a:pt x="321" y="138"/>
                      <a:pt x="321" y="138"/>
                    </a:cubicBezTo>
                    <a:cubicBezTo>
                      <a:pt x="321" y="138"/>
                      <a:pt x="321" y="138"/>
                      <a:pt x="321" y="138"/>
                    </a:cubicBezTo>
                    <a:cubicBezTo>
                      <a:pt x="321" y="138"/>
                      <a:pt x="320" y="138"/>
                      <a:pt x="320" y="138"/>
                    </a:cubicBezTo>
                    <a:cubicBezTo>
                      <a:pt x="320" y="138"/>
                      <a:pt x="319" y="139"/>
                      <a:pt x="319" y="139"/>
                    </a:cubicBezTo>
                    <a:cubicBezTo>
                      <a:pt x="319" y="139"/>
                      <a:pt x="318" y="139"/>
                      <a:pt x="318" y="139"/>
                    </a:cubicBezTo>
                    <a:cubicBezTo>
                      <a:pt x="318" y="139"/>
                      <a:pt x="319" y="139"/>
                      <a:pt x="319" y="139"/>
                    </a:cubicBezTo>
                    <a:cubicBezTo>
                      <a:pt x="319" y="139"/>
                      <a:pt x="318" y="140"/>
                      <a:pt x="318" y="140"/>
                    </a:cubicBezTo>
                    <a:cubicBezTo>
                      <a:pt x="318" y="140"/>
                      <a:pt x="319" y="140"/>
                      <a:pt x="319" y="139"/>
                    </a:cubicBezTo>
                    <a:cubicBezTo>
                      <a:pt x="320" y="139"/>
                      <a:pt x="320" y="139"/>
                      <a:pt x="321" y="139"/>
                    </a:cubicBezTo>
                    <a:cubicBezTo>
                      <a:pt x="321" y="139"/>
                      <a:pt x="322" y="138"/>
                      <a:pt x="322" y="138"/>
                    </a:cubicBezTo>
                    <a:cubicBezTo>
                      <a:pt x="322" y="138"/>
                      <a:pt x="323" y="138"/>
                      <a:pt x="323" y="138"/>
                    </a:cubicBezTo>
                    <a:cubicBezTo>
                      <a:pt x="323" y="138"/>
                      <a:pt x="323" y="138"/>
                      <a:pt x="323" y="138"/>
                    </a:cubicBezTo>
                    <a:cubicBezTo>
                      <a:pt x="322" y="138"/>
                      <a:pt x="322" y="138"/>
                      <a:pt x="321" y="138"/>
                    </a:cubicBezTo>
                    <a:close/>
                    <a:moveTo>
                      <a:pt x="177" y="171"/>
                    </a:moveTo>
                    <a:cubicBezTo>
                      <a:pt x="178" y="171"/>
                      <a:pt x="178" y="171"/>
                      <a:pt x="178" y="171"/>
                    </a:cubicBezTo>
                    <a:cubicBezTo>
                      <a:pt x="177" y="171"/>
                      <a:pt x="177" y="172"/>
                      <a:pt x="176" y="172"/>
                    </a:cubicBezTo>
                    <a:cubicBezTo>
                      <a:pt x="175" y="172"/>
                      <a:pt x="175" y="172"/>
                      <a:pt x="174" y="172"/>
                    </a:cubicBezTo>
                    <a:cubicBezTo>
                      <a:pt x="174" y="172"/>
                      <a:pt x="175" y="172"/>
                      <a:pt x="175" y="172"/>
                    </a:cubicBezTo>
                    <a:cubicBezTo>
                      <a:pt x="175" y="172"/>
                      <a:pt x="174" y="172"/>
                      <a:pt x="174" y="172"/>
                    </a:cubicBezTo>
                    <a:cubicBezTo>
                      <a:pt x="175" y="172"/>
                      <a:pt x="176" y="171"/>
                      <a:pt x="176" y="171"/>
                    </a:cubicBezTo>
                    <a:cubicBezTo>
                      <a:pt x="176" y="170"/>
                      <a:pt x="175" y="171"/>
                      <a:pt x="175" y="171"/>
                    </a:cubicBezTo>
                    <a:cubicBezTo>
                      <a:pt x="175" y="171"/>
                      <a:pt x="175" y="171"/>
                      <a:pt x="175" y="171"/>
                    </a:cubicBezTo>
                    <a:cubicBezTo>
                      <a:pt x="174" y="171"/>
                      <a:pt x="173" y="171"/>
                      <a:pt x="172" y="171"/>
                    </a:cubicBezTo>
                    <a:cubicBezTo>
                      <a:pt x="171" y="172"/>
                      <a:pt x="170" y="172"/>
                      <a:pt x="170" y="173"/>
                    </a:cubicBezTo>
                    <a:cubicBezTo>
                      <a:pt x="170" y="173"/>
                      <a:pt x="169" y="173"/>
                      <a:pt x="170" y="173"/>
                    </a:cubicBezTo>
                    <a:cubicBezTo>
                      <a:pt x="170" y="173"/>
                      <a:pt x="172" y="173"/>
                      <a:pt x="172" y="174"/>
                    </a:cubicBezTo>
                    <a:cubicBezTo>
                      <a:pt x="172" y="174"/>
                      <a:pt x="171" y="174"/>
                      <a:pt x="171" y="174"/>
                    </a:cubicBezTo>
                    <a:cubicBezTo>
                      <a:pt x="171" y="174"/>
                      <a:pt x="171" y="174"/>
                      <a:pt x="171" y="174"/>
                    </a:cubicBezTo>
                    <a:cubicBezTo>
                      <a:pt x="171" y="174"/>
                      <a:pt x="171" y="174"/>
                      <a:pt x="171" y="174"/>
                    </a:cubicBezTo>
                    <a:cubicBezTo>
                      <a:pt x="170" y="174"/>
                      <a:pt x="170" y="174"/>
                      <a:pt x="170" y="175"/>
                    </a:cubicBezTo>
                    <a:cubicBezTo>
                      <a:pt x="170" y="174"/>
                      <a:pt x="170" y="174"/>
                      <a:pt x="170" y="175"/>
                    </a:cubicBezTo>
                    <a:cubicBezTo>
                      <a:pt x="171" y="174"/>
                      <a:pt x="170" y="174"/>
                      <a:pt x="169" y="174"/>
                    </a:cubicBezTo>
                    <a:cubicBezTo>
                      <a:pt x="169" y="174"/>
                      <a:pt x="169" y="174"/>
                      <a:pt x="169" y="174"/>
                    </a:cubicBezTo>
                    <a:cubicBezTo>
                      <a:pt x="169" y="175"/>
                      <a:pt x="168" y="175"/>
                      <a:pt x="168" y="175"/>
                    </a:cubicBezTo>
                    <a:cubicBezTo>
                      <a:pt x="168" y="174"/>
                      <a:pt x="167" y="175"/>
                      <a:pt x="167" y="175"/>
                    </a:cubicBezTo>
                    <a:cubicBezTo>
                      <a:pt x="166" y="176"/>
                      <a:pt x="167" y="176"/>
                      <a:pt x="168" y="176"/>
                    </a:cubicBezTo>
                    <a:cubicBezTo>
                      <a:pt x="167" y="176"/>
                      <a:pt x="167" y="176"/>
                      <a:pt x="166" y="176"/>
                    </a:cubicBezTo>
                    <a:cubicBezTo>
                      <a:pt x="166" y="176"/>
                      <a:pt x="166" y="176"/>
                      <a:pt x="166" y="176"/>
                    </a:cubicBezTo>
                    <a:cubicBezTo>
                      <a:pt x="165" y="176"/>
                      <a:pt x="165" y="176"/>
                      <a:pt x="165" y="176"/>
                    </a:cubicBezTo>
                    <a:cubicBezTo>
                      <a:pt x="164" y="176"/>
                      <a:pt x="164" y="177"/>
                      <a:pt x="163" y="177"/>
                    </a:cubicBezTo>
                    <a:cubicBezTo>
                      <a:pt x="163" y="177"/>
                      <a:pt x="163" y="177"/>
                      <a:pt x="163" y="177"/>
                    </a:cubicBezTo>
                    <a:cubicBezTo>
                      <a:pt x="163" y="177"/>
                      <a:pt x="163" y="177"/>
                      <a:pt x="163" y="177"/>
                    </a:cubicBezTo>
                    <a:cubicBezTo>
                      <a:pt x="162" y="177"/>
                      <a:pt x="162" y="177"/>
                      <a:pt x="162" y="177"/>
                    </a:cubicBezTo>
                    <a:cubicBezTo>
                      <a:pt x="162" y="177"/>
                      <a:pt x="162" y="177"/>
                      <a:pt x="162" y="177"/>
                    </a:cubicBezTo>
                    <a:cubicBezTo>
                      <a:pt x="161" y="177"/>
                      <a:pt x="161" y="177"/>
                      <a:pt x="161" y="177"/>
                    </a:cubicBezTo>
                    <a:cubicBezTo>
                      <a:pt x="161" y="177"/>
                      <a:pt x="160" y="177"/>
                      <a:pt x="160" y="177"/>
                    </a:cubicBezTo>
                    <a:cubicBezTo>
                      <a:pt x="159" y="177"/>
                      <a:pt x="159" y="178"/>
                      <a:pt x="158" y="178"/>
                    </a:cubicBezTo>
                    <a:cubicBezTo>
                      <a:pt x="158" y="178"/>
                      <a:pt x="159" y="178"/>
                      <a:pt x="159" y="179"/>
                    </a:cubicBezTo>
                    <a:cubicBezTo>
                      <a:pt x="159" y="179"/>
                      <a:pt x="159" y="179"/>
                      <a:pt x="159" y="179"/>
                    </a:cubicBezTo>
                    <a:cubicBezTo>
                      <a:pt x="159" y="179"/>
                      <a:pt x="159" y="178"/>
                      <a:pt x="160" y="178"/>
                    </a:cubicBezTo>
                    <a:cubicBezTo>
                      <a:pt x="160" y="178"/>
                      <a:pt x="160" y="179"/>
                      <a:pt x="160" y="178"/>
                    </a:cubicBezTo>
                    <a:cubicBezTo>
                      <a:pt x="161" y="178"/>
                      <a:pt x="161" y="178"/>
                      <a:pt x="162" y="178"/>
                    </a:cubicBezTo>
                    <a:cubicBezTo>
                      <a:pt x="162" y="178"/>
                      <a:pt x="162" y="178"/>
                      <a:pt x="163" y="178"/>
                    </a:cubicBezTo>
                    <a:cubicBezTo>
                      <a:pt x="163" y="177"/>
                      <a:pt x="164" y="177"/>
                      <a:pt x="165" y="177"/>
                    </a:cubicBezTo>
                    <a:cubicBezTo>
                      <a:pt x="165" y="177"/>
                      <a:pt x="167" y="176"/>
                      <a:pt x="166" y="177"/>
                    </a:cubicBezTo>
                    <a:cubicBezTo>
                      <a:pt x="167" y="177"/>
                      <a:pt x="167" y="176"/>
                      <a:pt x="167" y="176"/>
                    </a:cubicBezTo>
                    <a:cubicBezTo>
                      <a:pt x="167" y="177"/>
                      <a:pt x="167" y="176"/>
                      <a:pt x="168" y="176"/>
                    </a:cubicBezTo>
                    <a:cubicBezTo>
                      <a:pt x="168" y="176"/>
                      <a:pt x="168" y="176"/>
                      <a:pt x="168" y="177"/>
                    </a:cubicBezTo>
                    <a:cubicBezTo>
                      <a:pt x="168" y="177"/>
                      <a:pt x="168" y="176"/>
                      <a:pt x="168" y="176"/>
                    </a:cubicBezTo>
                    <a:cubicBezTo>
                      <a:pt x="168" y="177"/>
                      <a:pt x="169" y="175"/>
                      <a:pt x="169" y="175"/>
                    </a:cubicBezTo>
                    <a:cubicBezTo>
                      <a:pt x="169" y="176"/>
                      <a:pt x="169" y="176"/>
                      <a:pt x="170" y="176"/>
                    </a:cubicBezTo>
                    <a:cubicBezTo>
                      <a:pt x="170" y="176"/>
                      <a:pt x="170" y="176"/>
                      <a:pt x="170" y="176"/>
                    </a:cubicBezTo>
                    <a:cubicBezTo>
                      <a:pt x="170" y="175"/>
                      <a:pt x="170" y="176"/>
                      <a:pt x="170" y="175"/>
                    </a:cubicBezTo>
                    <a:cubicBezTo>
                      <a:pt x="170" y="176"/>
                      <a:pt x="171" y="175"/>
                      <a:pt x="171" y="175"/>
                    </a:cubicBezTo>
                    <a:cubicBezTo>
                      <a:pt x="171" y="175"/>
                      <a:pt x="171" y="175"/>
                      <a:pt x="171" y="176"/>
                    </a:cubicBezTo>
                    <a:cubicBezTo>
                      <a:pt x="171" y="175"/>
                      <a:pt x="172" y="175"/>
                      <a:pt x="172" y="175"/>
                    </a:cubicBezTo>
                    <a:cubicBezTo>
                      <a:pt x="172" y="175"/>
                      <a:pt x="173" y="175"/>
                      <a:pt x="173" y="174"/>
                    </a:cubicBezTo>
                    <a:cubicBezTo>
                      <a:pt x="174" y="174"/>
                      <a:pt x="174" y="174"/>
                      <a:pt x="175" y="174"/>
                    </a:cubicBezTo>
                    <a:cubicBezTo>
                      <a:pt x="175" y="174"/>
                      <a:pt x="176" y="174"/>
                      <a:pt x="175" y="174"/>
                    </a:cubicBezTo>
                    <a:cubicBezTo>
                      <a:pt x="175" y="173"/>
                      <a:pt x="176" y="173"/>
                      <a:pt x="176" y="173"/>
                    </a:cubicBezTo>
                    <a:cubicBezTo>
                      <a:pt x="175" y="173"/>
                      <a:pt x="175" y="173"/>
                      <a:pt x="175" y="174"/>
                    </a:cubicBezTo>
                    <a:cubicBezTo>
                      <a:pt x="175" y="173"/>
                      <a:pt x="174" y="174"/>
                      <a:pt x="173" y="174"/>
                    </a:cubicBezTo>
                    <a:cubicBezTo>
                      <a:pt x="174" y="173"/>
                      <a:pt x="173" y="174"/>
                      <a:pt x="173" y="174"/>
                    </a:cubicBezTo>
                    <a:cubicBezTo>
                      <a:pt x="173" y="173"/>
                      <a:pt x="174" y="173"/>
                      <a:pt x="174" y="173"/>
                    </a:cubicBezTo>
                    <a:cubicBezTo>
                      <a:pt x="175" y="173"/>
                      <a:pt x="177" y="172"/>
                      <a:pt x="177" y="172"/>
                    </a:cubicBezTo>
                    <a:cubicBezTo>
                      <a:pt x="177" y="172"/>
                      <a:pt x="178" y="172"/>
                      <a:pt x="178" y="172"/>
                    </a:cubicBezTo>
                    <a:cubicBezTo>
                      <a:pt x="178" y="172"/>
                      <a:pt x="178" y="172"/>
                      <a:pt x="178" y="172"/>
                    </a:cubicBezTo>
                    <a:cubicBezTo>
                      <a:pt x="178" y="172"/>
                      <a:pt x="178" y="171"/>
                      <a:pt x="179" y="171"/>
                    </a:cubicBezTo>
                    <a:cubicBezTo>
                      <a:pt x="178" y="171"/>
                      <a:pt x="178" y="171"/>
                      <a:pt x="177" y="171"/>
                    </a:cubicBezTo>
                    <a:close/>
                    <a:moveTo>
                      <a:pt x="184" y="169"/>
                    </a:moveTo>
                    <a:cubicBezTo>
                      <a:pt x="184" y="169"/>
                      <a:pt x="185" y="169"/>
                      <a:pt x="185" y="169"/>
                    </a:cubicBezTo>
                    <a:cubicBezTo>
                      <a:pt x="185" y="169"/>
                      <a:pt x="184" y="169"/>
                      <a:pt x="184" y="169"/>
                    </a:cubicBezTo>
                    <a:cubicBezTo>
                      <a:pt x="184" y="169"/>
                      <a:pt x="184" y="169"/>
                      <a:pt x="184" y="169"/>
                    </a:cubicBezTo>
                    <a:cubicBezTo>
                      <a:pt x="183" y="168"/>
                      <a:pt x="181" y="169"/>
                      <a:pt x="181" y="170"/>
                    </a:cubicBezTo>
                    <a:cubicBezTo>
                      <a:pt x="181" y="171"/>
                      <a:pt x="183" y="170"/>
                      <a:pt x="182" y="170"/>
                    </a:cubicBezTo>
                    <a:cubicBezTo>
                      <a:pt x="183" y="170"/>
                      <a:pt x="183" y="170"/>
                      <a:pt x="183" y="170"/>
                    </a:cubicBezTo>
                    <a:cubicBezTo>
                      <a:pt x="184" y="170"/>
                      <a:pt x="185" y="170"/>
                      <a:pt x="185" y="169"/>
                    </a:cubicBezTo>
                    <a:cubicBezTo>
                      <a:pt x="185" y="169"/>
                      <a:pt x="184" y="170"/>
                      <a:pt x="184" y="169"/>
                    </a:cubicBezTo>
                    <a:close/>
                    <a:moveTo>
                      <a:pt x="138" y="182"/>
                    </a:moveTo>
                    <a:cubicBezTo>
                      <a:pt x="138" y="182"/>
                      <a:pt x="140" y="181"/>
                      <a:pt x="139" y="181"/>
                    </a:cubicBezTo>
                    <a:cubicBezTo>
                      <a:pt x="139" y="180"/>
                      <a:pt x="138" y="182"/>
                      <a:pt x="138" y="182"/>
                    </a:cubicBezTo>
                    <a:close/>
                    <a:moveTo>
                      <a:pt x="161" y="176"/>
                    </a:moveTo>
                    <a:cubicBezTo>
                      <a:pt x="160" y="176"/>
                      <a:pt x="160" y="176"/>
                      <a:pt x="159" y="175"/>
                    </a:cubicBezTo>
                    <a:cubicBezTo>
                      <a:pt x="159" y="175"/>
                      <a:pt x="157" y="176"/>
                      <a:pt x="157" y="176"/>
                    </a:cubicBezTo>
                    <a:cubicBezTo>
                      <a:pt x="156" y="176"/>
                      <a:pt x="155" y="176"/>
                      <a:pt x="155" y="177"/>
                    </a:cubicBezTo>
                    <a:cubicBezTo>
                      <a:pt x="154" y="177"/>
                      <a:pt x="154" y="177"/>
                      <a:pt x="153" y="178"/>
                    </a:cubicBezTo>
                    <a:cubicBezTo>
                      <a:pt x="154" y="178"/>
                      <a:pt x="153" y="179"/>
                      <a:pt x="152" y="179"/>
                    </a:cubicBezTo>
                    <a:cubicBezTo>
                      <a:pt x="152" y="178"/>
                      <a:pt x="152" y="179"/>
                      <a:pt x="152" y="179"/>
                    </a:cubicBezTo>
                    <a:cubicBezTo>
                      <a:pt x="151" y="179"/>
                      <a:pt x="151" y="178"/>
                      <a:pt x="151" y="178"/>
                    </a:cubicBezTo>
                    <a:cubicBezTo>
                      <a:pt x="150" y="179"/>
                      <a:pt x="150" y="179"/>
                      <a:pt x="149" y="179"/>
                    </a:cubicBezTo>
                    <a:cubicBezTo>
                      <a:pt x="149" y="179"/>
                      <a:pt x="148" y="180"/>
                      <a:pt x="148" y="180"/>
                    </a:cubicBezTo>
                    <a:cubicBezTo>
                      <a:pt x="147" y="181"/>
                      <a:pt x="146" y="181"/>
                      <a:pt x="145" y="182"/>
                    </a:cubicBezTo>
                    <a:cubicBezTo>
                      <a:pt x="144" y="182"/>
                      <a:pt x="143" y="183"/>
                      <a:pt x="142" y="183"/>
                    </a:cubicBezTo>
                    <a:cubicBezTo>
                      <a:pt x="143" y="183"/>
                      <a:pt x="143" y="183"/>
                      <a:pt x="144" y="182"/>
                    </a:cubicBezTo>
                    <a:cubicBezTo>
                      <a:pt x="144" y="182"/>
                      <a:pt x="146" y="182"/>
                      <a:pt x="145" y="182"/>
                    </a:cubicBezTo>
                    <a:cubicBezTo>
                      <a:pt x="146" y="182"/>
                      <a:pt x="146" y="182"/>
                      <a:pt x="146" y="182"/>
                    </a:cubicBezTo>
                    <a:cubicBezTo>
                      <a:pt x="147" y="182"/>
                      <a:pt x="147" y="182"/>
                      <a:pt x="147" y="181"/>
                    </a:cubicBezTo>
                    <a:cubicBezTo>
                      <a:pt x="148" y="181"/>
                      <a:pt x="149" y="181"/>
                      <a:pt x="149" y="181"/>
                    </a:cubicBezTo>
                    <a:cubicBezTo>
                      <a:pt x="150" y="180"/>
                      <a:pt x="152" y="180"/>
                      <a:pt x="153" y="179"/>
                    </a:cubicBezTo>
                    <a:cubicBezTo>
                      <a:pt x="154" y="178"/>
                      <a:pt x="155" y="178"/>
                      <a:pt x="157" y="178"/>
                    </a:cubicBezTo>
                    <a:cubicBezTo>
                      <a:pt x="158" y="177"/>
                      <a:pt x="159" y="177"/>
                      <a:pt x="160" y="176"/>
                    </a:cubicBezTo>
                    <a:cubicBezTo>
                      <a:pt x="160" y="176"/>
                      <a:pt x="161" y="176"/>
                      <a:pt x="161" y="176"/>
                    </a:cubicBezTo>
                    <a:close/>
                    <a:moveTo>
                      <a:pt x="474" y="158"/>
                    </a:moveTo>
                    <a:cubicBezTo>
                      <a:pt x="474" y="159"/>
                      <a:pt x="474" y="159"/>
                      <a:pt x="473" y="159"/>
                    </a:cubicBezTo>
                    <a:cubicBezTo>
                      <a:pt x="473" y="159"/>
                      <a:pt x="473" y="159"/>
                      <a:pt x="473" y="159"/>
                    </a:cubicBezTo>
                    <a:cubicBezTo>
                      <a:pt x="472" y="160"/>
                      <a:pt x="471" y="161"/>
                      <a:pt x="472" y="160"/>
                    </a:cubicBezTo>
                    <a:cubicBezTo>
                      <a:pt x="472" y="160"/>
                      <a:pt x="473" y="160"/>
                      <a:pt x="473" y="159"/>
                    </a:cubicBezTo>
                    <a:cubicBezTo>
                      <a:pt x="473" y="160"/>
                      <a:pt x="473" y="160"/>
                      <a:pt x="473" y="160"/>
                    </a:cubicBezTo>
                    <a:cubicBezTo>
                      <a:pt x="473" y="161"/>
                      <a:pt x="476" y="159"/>
                      <a:pt x="475" y="158"/>
                    </a:cubicBezTo>
                    <a:cubicBezTo>
                      <a:pt x="475" y="157"/>
                      <a:pt x="474" y="158"/>
                      <a:pt x="474" y="158"/>
                    </a:cubicBezTo>
                    <a:close/>
                    <a:moveTo>
                      <a:pt x="472" y="162"/>
                    </a:moveTo>
                    <a:cubicBezTo>
                      <a:pt x="472" y="162"/>
                      <a:pt x="473" y="162"/>
                      <a:pt x="473" y="162"/>
                    </a:cubicBezTo>
                    <a:cubicBezTo>
                      <a:pt x="474" y="161"/>
                      <a:pt x="474" y="161"/>
                      <a:pt x="474" y="160"/>
                    </a:cubicBezTo>
                    <a:cubicBezTo>
                      <a:pt x="474" y="161"/>
                      <a:pt x="472" y="161"/>
                      <a:pt x="472" y="161"/>
                    </a:cubicBezTo>
                    <a:cubicBezTo>
                      <a:pt x="472" y="161"/>
                      <a:pt x="472" y="162"/>
                      <a:pt x="472" y="162"/>
                    </a:cubicBezTo>
                    <a:close/>
                    <a:moveTo>
                      <a:pt x="244" y="159"/>
                    </a:moveTo>
                    <a:cubicBezTo>
                      <a:pt x="244" y="158"/>
                      <a:pt x="245" y="158"/>
                      <a:pt x="246" y="157"/>
                    </a:cubicBezTo>
                    <a:cubicBezTo>
                      <a:pt x="245" y="158"/>
                      <a:pt x="244" y="159"/>
                      <a:pt x="244" y="158"/>
                    </a:cubicBezTo>
                    <a:cubicBezTo>
                      <a:pt x="243" y="158"/>
                      <a:pt x="243" y="159"/>
                      <a:pt x="243" y="159"/>
                    </a:cubicBezTo>
                    <a:cubicBezTo>
                      <a:pt x="242" y="159"/>
                      <a:pt x="242" y="158"/>
                      <a:pt x="242" y="159"/>
                    </a:cubicBezTo>
                    <a:cubicBezTo>
                      <a:pt x="242" y="159"/>
                      <a:pt x="242" y="159"/>
                      <a:pt x="241" y="159"/>
                    </a:cubicBezTo>
                    <a:cubicBezTo>
                      <a:pt x="241" y="159"/>
                      <a:pt x="241" y="160"/>
                      <a:pt x="241" y="160"/>
                    </a:cubicBezTo>
                    <a:cubicBezTo>
                      <a:pt x="241" y="160"/>
                      <a:pt x="241" y="160"/>
                      <a:pt x="241" y="160"/>
                    </a:cubicBezTo>
                    <a:cubicBezTo>
                      <a:pt x="241" y="160"/>
                      <a:pt x="241" y="160"/>
                      <a:pt x="241" y="160"/>
                    </a:cubicBezTo>
                    <a:cubicBezTo>
                      <a:pt x="241" y="160"/>
                      <a:pt x="238" y="161"/>
                      <a:pt x="238" y="162"/>
                    </a:cubicBezTo>
                    <a:cubicBezTo>
                      <a:pt x="240" y="161"/>
                      <a:pt x="241" y="160"/>
                      <a:pt x="243" y="160"/>
                    </a:cubicBezTo>
                    <a:cubicBezTo>
                      <a:pt x="243" y="160"/>
                      <a:pt x="243" y="159"/>
                      <a:pt x="243" y="159"/>
                    </a:cubicBezTo>
                    <a:cubicBezTo>
                      <a:pt x="244" y="159"/>
                      <a:pt x="243" y="159"/>
                      <a:pt x="244" y="159"/>
                    </a:cubicBezTo>
                    <a:cubicBezTo>
                      <a:pt x="244" y="159"/>
                      <a:pt x="245" y="159"/>
                      <a:pt x="245" y="158"/>
                    </a:cubicBezTo>
                    <a:cubicBezTo>
                      <a:pt x="244" y="158"/>
                      <a:pt x="244" y="159"/>
                      <a:pt x="244" y="159"/>
                    </a:cubicBezTo>
                    <a:close/>
                    <a:moveTo>
                      <a:pt x="471" y="155"/>
                    </a:moveTo>
                    <a:cubicBezTo>
                      <a:pt x="471" y="154"/>
                      <a:pt x="472" y="154"/>
                      <a:pt x="472" y="154"/>
                    </a:cubicBezTo>
                    <a:cubicBezTo>
                      <a:pt x="472" y="153"/>
                      <a:pt x="471" y="154"/>
                      <a:pt x="471" y="154"/>
                    </a:cubicBezTo>
                    <a:cubicBezTo>
                      <a:pt x="471" y="153"/>
                      <a:pt x="472" y="152"/>
                      <a:pt x="472" y="151"/>
                    </a:cubicBezTo>
                    <a:cubicBezTo>
                      <a:pt x="472" y="151"/>
                      <a:pt x="472" y="150"/>
                      <a:pt x="472" y="150"/>
                    </a:cubicBezTo>
                    <a:cubicBezTo>
                      <a:pt x="472" y="150"/>
                      <a:pt x="471" y="150"/>
                      <a:pt x="471" y="150"/>
                    </a:cubicBezTo>
                    <a:cubicBezTo>
                      <a:pt x="471" y="150"/>
                      <a:pt x="471" y="149"/>
                      <a:pt x="471" y="149"/>
                    </a:cubicBezTo>
                    <a:cubicBezTo>
                      <a:pt x="471" y="149"/>
                      <a:pt x="470" y="150"/>
                      <a:pt x="470" y="149"/>
                    </a:cubicBezTo>
                    <a:cubicBezTo>
                      <a:pt x="470" y="149"/>
                      <a:pt x="471" y="149"/>
                      <a:pt x="471" y="149"/>
                    </a:cubicBezTo>
                    <a:cubicBezTo>
                      <a:pt x="471" y="148"/>
                      <a:pt x="472" y="148"/>
                      <a:pt x="472" y="147"/>
                    </a:cubicBezTo>
                    <a:cubicBezTo>
                      <a:pt x="471" y="147"/>
                      <a:pt x="472" y="147"/>
                      <a:pt x="472" y="147"/>
                    </a:cubicBezTo>
                    <a:cubicBezTo>
                      <a:pt x="471" y="146"/>
                      <a:pt x="471" y="147"/>
                      <a:pt x="470" y="147"/>
                    </a:cubicBezTo>
                    <a:cubicBezTo>
                      <a:pt x="470" y="147"/>
                      <a:pt x="470" y="147"/>
                      <a:pt x="471" y="147"/>
                    </a:cubicBezTo>
                    <a:cubicBezTo>
                      <a:pt x="470" y="147"/>
                      <a:pt x="470" y="146"/>
                      <a:pt x="469" y="146"/>
                    </a:cubicBezTo>
                    <a:cubicBezTo>
                      <a:pt x="468" y="146"/>
                      <a:pt x="469" y="147"/>
                      <a:pt x="468" y="147"/>
                    </a:cubicBezTo>
                    <a:cubicBezTo>
                      <a:pt x="468" y="147"/>
                      <a:pt x="467" y="147"/>
                      <a:pt x="467" y="148"/>
                    </a:cubicBezTo>
                    <a:cubicBezTo>
                      <a:pt x="467" y="148"/>
                      <a:pt x="468" y="148"/>
                      <a:pt x="468" y="148"/>
                    </a:cubicBezTo>
                    <a:cubicBezTo>
                      <a:pt x="468" y="148"/>
                      <a:pt x="468" y="148"/>
                      <a:pt x="468" y="148"/>
                    </a:cubicBezTo>
                    <a:cubicBezTo>
                      <a:pt x="469" y="148"/>
                      <a:pt x="469" y="148"/>
                      <a:pt x="469" y="148"/>
                    </a:cubicBezTo>
                    <a:cubicBezTo>
                      <a:pt x="470" y="148"/>
                      <a:pt x="469" y="149"/>
                      <a:pt x="469" y="149"/>
                    </a:cubicBezTo>
                    <a:cubicBezTo>
                      <a:pt x="469" y="149"/>
                      <a:pt x="466" y="152"/>
                      <a:pt x="468" y="151"/>
                    </a:cubicBezTo>
                    <a:cubicBezTo>
                      <a:pt x="467" y="152"/>
                      <a:pt x="466" y="153"/>
                      <a:pt x="465" y="153"/>
                    </a:cubicBezTo>
                    <a:cubicBezTo>
                      <a:pt x="465" y="152"/>
                      <a:pt x="464" y="153"/>
                      <a:pt x="464" y="153"/>
                    </a:cubicBezTo>
                    <a:cubicBezTo>
                      <a:pt x="464" y="153"/>
                      <a:pt x="463" y="153"/>
                      <a:pt x="463" y="154"/>
                    </a:cubicBezTo>
                    <a:cubicBezTo>
                      <a:pt x="463" y="154"/>
                      <a:pt x="464" y="154"/>
                      <a:pt x="464" y="154"/>
                    </a:cubicBezTo>
                    <a:cubicBezTo>
                      <a:pt x="465" y="154"/>
                      <a:pt x="467" y="153"/>
                      <a:pt x="467" y="154"/>
                    </a:cubicBezTo>
                    <a:cubicBezTo>
                      <a:pt x="466" y="154"/>
                      <a:pt x="465" y="155"/>
                      <a:pt x="464" y="155"/>
                    </a:cubicBezTo>
                    <a:cubicBezTo>
                      <a:pt x="463" y="155"/>
                      <a:pt x="464" y="156"/>
                      <a:pt x="465" y="156"/>
                    </a:cubicBezTo>
                    <a:cubicBezTo>
                      <a:pt x="465" y="156"/>
                      <a:pt x="464" y="156"/>
                      <a:pt x="464" y="156"/>
                    </a:cubicBezTo>
                    <a:cubicBezTo>
                      <a:pt x="464" y="156"/>
                      <a:pt x="464" y="156"/>
                      <a:pt x="464" y="156"/>
                    </a:cubicBezTo>
                    <a:cubicBezTo>
                      <a:pt x="464" y="157"/>
                      <a:pt x="465" y="157"/>
                      <a:pt x="465" y="157"/>
                    </a:cubicBezTo>
                    <a:cubicBezTo>
                      <a:pt x="464" y="157"/>
                      <a:pt x="462" y="156"/>
                      <a:pt x="462" y="157"/>
                    </a:cubicBezTo>
                    <a:cubicBezTo>
                      <a:pt x="461" y="158"/>
                      <a:pt x="461" y="157"/>
                      <a:pt x="462" y="157"/>
                    </a:cubicBezTo>
                    <a:cubicBezTo>
                      <a:pt x="462" y="157"/>
                      <a:pt x="462" y="158"/>
                      <a:pt x="463" y="158"/>
                    </a:cubicBezTo>
                    <a:cubicBezTo>
                      <a:pt x="463" y="158"/>
                      <a:pt x="463" y="157"/>
                      <a:pt x="464" y="157"/>
                    </a:cubicBezTo>
                    <a:cubicBezTo>
                      <a:pt x="464" y="158"/>
                      <a:pt x="462" y="158"/>
                      <a:pt x="462" y="158"/>
                    </a:cubicBezTo>
                    <a:cubicBezTo>
                      <a:pt x="463" y="159"/>
                      <a:pt x="464" y="157"/>
                      <a:pt x="464" y="158"/>
                    </a:cubicBezTo>
                    <a:cubicBezTo>
                      <a:pt x="464" y="158"/>
                      <a:pt x="463" y="159"/>
                      <a:pt x="465" y="159"/>
                    </a:cubicBezTo>
                    <a:cubicBezTo>
                      <a:pt x="465" y="159"/>
                      <a:pt x="465" y="158"/>
                      <a:pt x="466" y="158"/>
                    </a:cubicBezTo>
                    <a:cubicBezTo>
                      <a:pt x="465" y="158"/>
                      <a:pt x="466" y="159"/>
                      <a:pt x="465" y="159"/>
                    </a:cubicBezTo>
                    <a:cubicBezTo>
                      <a:pt x="465" y="159"/>
                      <a:pt x="464" y="159"/>
                      <a:pt x="464" y="160"/>
                    </a:cubicBezTo>
                    <a:cubicBezTo>
                      <a:pt x="464" y="160"/>
                      <a:pt x="465" y="159"/>
                      <a:pt x="465" y="159"/>
                    </a:cubicBezTo>
                    <a:cubicBezTo>
                      <a:pt x="465" y="159"/>
                      <a:pt x="465" y="160"/>
                      <a:pt x="465" y="160"/>
                    </a:cubicBezTo>
                    <a:cubicBezTo>
                      <a:pt x="465" y="160"/>
                      <a:pt x="465" y="160"/>
                      <a:pt x="465" y="160"/>
                    </a:cubicBezTo>
                    <a:cubicBezTo>
                      <a:pt x="465" y="160"/>
                      <a:pt x="465" y="160"/>
                      <a:pt x="465" y="160"/>
                    </a:cubicBezTo>
                    <a:cubicBezTo>
                      <a:pt x="465" y="160"/>
                      <a:pt x="464" y="160"/>
                      <a:pt x="464" y="160"/>
                    </a:cubicBezTo>
                    <a:cubicBezTo>
                      <a:pt x="464" y="160"/>
                      <a:pt x="463" y="161"/>
                      <a:pt x="463" y="161"/>
                    </a:cubicBezTo>
                    <a:cubicBezTo>
                      <a:pt x="464" y="161"/>
                      <a:pt x="464" y="160"/>
                      <a:pt x="465" y="160"/>
                    </a:cubicBezTo>
                    <a:cubicBezTo>
                      <a:pt x="465" y="160"/>
                      <a:pt x="464" y="161"/>
                      <a:pt x="464" y="161"/>
                    </a:cubicBezTo>
                    <a:cubicBezTo>
                      <a:pt x="464" y="161"/>
                      <a:pt x="465" y="160"/>
                      <a:pt x="465" y="160"/>
                    </a:cubicBezTo>
                    <a:cubicBezTo>
                      <a:pt x="465" y="160"/>
                      <a:pt x="464" y="162"/>
                      <a:pt x="465" y="162"/>
                    </a:cubicBezTo>
                    <a:cubicBezTo>
                      <a:pt x="465" y="162"/>
                      <a:pt x="465" y="162"/>
                      <a:pt x="465" y="162"/>
                    </a:cubicBezTo>
                    <a:cubicBezTo>
                      <a:pt x="465" y="162"/>
                      <a:pt x="465" y="162"/>
                      <a:pt x="465" y="162"/>
                    </a:cubicBezTo>
                    <a:cubicBezTo>
                      <a:pt x="464" y="162"/>
                      <a:pt x="464" y="162"/>
                      <a:pt x="464" y="162"/>
                    </a:cubicBezTo>
                    <a:cubicBezTo>
                      <a:pt x="464" y="162"/>
                      <a:pt x="464" y="162"/>
                      <a:pt x="464" y="162"/>
                    </a:cubicBezTo>
                    <a:cubicBezTo>
                      <a:pt x="464" y="163"/>
                      <a:pt x="464" y="162"/>
                      <a:pt x="465" y="162"/>
                    </a:cubicBezTo>
                    <a:cubicBezTo>
                      <a:pt x="465" y="162"/>
                      <a:pt x="463" y="163"/>
                      <a:pt x="463" y="163"/>
                    </a:cubicBezTo>
                    <a:cubicBezTo>
                      <a:pt x="464" y="163"/>
                      <a:pt x="464" y="163"/>
                      <a:pt x="464" y="164"/>
                    </a:cubicBezTo>
                    <a:cubicBezTo>
                      <a:pt x="465" y="164"/>
                      <a:pt x="465" y="163"/>
                      <a:pt x="465" y="163"/>
                    </a:cubicBezTo>
                    <a:cubicBezTo>
                      <a:pt x="466" y="163"/>
                      <a:pt x="466" y="163"/>
                      <a:pt x="466" y="163"/>
                    </a:cubicBezTo>
                    <a:cubicBezTo>
                      <a:pt x="466" y="162"/>
                      <a:pt x="467" y="163"/>
                      <a:pt x="467" y="162"/>
                    </a:cubicBezTo>
                    <a:cubicBezTo>
                      <a:pt x="467" y="162"/>
                      <a:pt x="467" y="162"/>
                      <a:pt x="468" y="161"/>
                    </a:cubicBezTo>
                    <a:cubicBezTo>
                      <a:pt x="468" y="161"/>
                      <a:pt x="469" y="161"/>
                      <a:pt x="468" y="161"/>
                    </a:cubicBezTo>
                    <a:cubicBezTo>
                      <a:pt x="468" y="160"/>
                      <a:pt x="469" y="160"/>
                      <a:pt x="469" y="160"/>
                    </a:cubicBezTo>
                    <a:cubicBezTo>
                      <a:pt x="468" y="160"/>
                      <a:pt x="468" y="160"/>
                      <a:pt x="467" y="161"/>
                    </a:cubicBezTo>
                    <a:cubicBezTo>
                      <a:pt x="467" y="160"/>
                      <a:pt x="467" y="160"/>
                      <a:pt x="467" y="160"/>
                    </a:cubicBezTo>
                    <a:cubicBezTo>
                      <a:pt x="467" y="160"/>
                      <a:pt x="468" y="160"/>
                      <a:pt x="468" y="160"/>
                    </a:cubicBezTo>
                    <a:cubicBezTo>
                      <a:pt x="469" y="159"/>
                      <a:pt x="469" y="159"/>
                      <a:pt x="470" y="159"/>
                    </a:cubicBezTo>
                    <a:cubicBezTo>
                      <a:pt x="469" y="159"/>
                      <a:pt x="470" y="159"/>
                      <a:pt x="471" y="158"/>
                    </a:cubicBezTo>
                    <a:cubicBezTo>
                      <a:pt x="471" y="158"/>
                      <a:pt x="471" y="157"/>
                      <a:pt x="471" y="158"/>
                    </a:cubicBezTo>
                    <a:cubicBezTo>
                      <a:pt x="470" y="158"/>
                      <a:pt x="470" y="158"/>
                      <a:pt x="469" y="158"/>
                    </a:cubicBezTo>
                    <a:cubicBezTo>
                      <a:pt x="469" y="158"/>
                      <a:pt x="468" y="158"/>
                      <a:pt x="468" y="158"/>
                    </a:cubicBezTo>
                    <a:cubicBezTo>
                      <a:pt x="468" y="158"/>
                      <a:pt x="469" y="158"/>
                      <a:pt x="469" y="158"/>
                    </a:cubicBezTo>
                    <a:cubicBezTo>
                      <a:pt x="470" y="158"/>
                      <a:pt x="470" y="157"/>
                      <a:pt x="471" y="157"/>
                    </a:cubicBezTo>
                    <a:cubicBezTo>
                      <a:pt x="470" y="157"/>
                      <a:pt x="470" y="156"/>
                      <a:pt x="470" y="156"/>
                    </a:cubicBezTo>
                    <a:cubicBezTo>
                      <a:pt x="470" y="156"/>
                      <a:pt x="469" y="156"/>
                      <a:pt x="469" y="156"/>
                    </a:cubicBezTo>
                    <a:cubicBezTo>
                      <a:pt x="469" y="156"/>
                      <a:pt x="469" y="156"/>
                      <a:pt x="468" y="156"/>
                    </a:cubicBezTo>
                    <a:cubicBezTo>
                      <a:pt x="469" y="156"/>
                      <a:pt x="470" y="156"/>
                      <a:pt x="470" y="156"/>
                    </a:cubicBezTo>
                    <a:cubicBezTo>
                      <a:pt x="471" y="156"/>
                      <a:pt x="471" y="155"/>
                      <a:pt x="470" y="155"/>
                    </a:cubicBezTo>
                    <a:cubicBezTo>
                      <a:pt x="470" y="155"/>
                      <a:pt x="470" y="155"/>
                      <a:pt x="470" y="155"/>
                    </a:cubicBezTo>
                    <a:cubicBezTo>
                      <a:pt x="470" y="155"/>
                      <a:pt x="469" y="155"/>
                      <a:pt x="469" y="155"/>
                    </a:cubicBezTo>
                    <a:cubicBezTo>
                      <a:pt x="468" y="155"/>
                      <a:pt x="468" y="156"/>
                      <a:pt x="467" y="156"/>
                    </a:cubicBezTo>
                    <a:cubicBezTo>
                      <a:pt x="468" y="155"/>
                      <a:pt x="468" y="155"/>
                      <a:pt x="469" y="155"/>
                    </a:cubicBezTo>
                    <a:cubicBezTo>
                      <a:pt x="469" y="155"/>
                      <a:pt x="470" y="155"/>
                      <a:pt x="469" y="154"/>
                    </a:cubicBezTo>
                    <a:cubicBezTo>
                      <a:pt x="470" y="154"/>
                      <a:pt x="470" y="154"/>
                      <a:pt x="470" y="154"/>
                    </a:cubicBezTo>
                    <a:cubicBezTo>
                      <a:pt x="470" y="155"/>
                      <a:pt x="471" y="155"/>
                      <a:pt x="471" y="155"/>
                    </a:cubicBezTo>
                    <a:cubicBezTo>
                      <a:pt x="471" y="155"/>
                      <a:pt x="471" y="156"/>
                      <a:pt x="472" y="156"/>
                    </a:cubicBezTo>
                    <a:cubicBezTo>
                      <a:pt x="472" y="155"/>
                      <a:pt x="472" y="155"/>
                      <a:pt x="471" y="155"/>
                    </a:cubicBezTo>
                    <a:close/>
                    <a:moveTo>
                      <a:pt x="461" y="158"/>
                    </a:moveTo>
                    <a:cubicBezTo>
                      <a:pt x="461" y="159"/>
                      <a:pt x="461" y="158"/>
                      <a:pt x="460" y="159"/>
                    </a:cubicBezTo>
                    <a:cubicBezTo>
                      <a:pt x="461" y="159"/>
                      <a:pt x="460" y="159"/>
                      <a:pt x="460" y="159"/>
                    </a:cubicBezTo>
                    <a:cubicBezTo>
                      <a:pt x="460" y="159"/>
                      <a:pt x="460" y="159"/>
                      <a:pt x="460" y="159"/>
                    </a:cubicBezTo>
                    <a:cubicBezTo>
                      <a:pt x="460" y="160"/>
                      <a:pt x="459" y="159"/>
                      <a:pt x="459" y="160"/>
                    </a:cubicBezTo>
                    <a:cubicBezTo>
                      <a:pt x="459" y="160"/>
                      <a:pt x="459" y="161"/>
                      <a:pt x="459" y="161"/>
                    </a:cubicBezTo>
                    <a:cubicBezTo>
                      <a:pt x="459" y="161"/>
                      <a:pt x="459" y="161"/>
                      <a:pt x="459" y="161"/>
                    </a:cubicBezTo>
                    <a:cubicBezTo>
                      <a:pt x="459" y="161"/>
                      <a:pt x="459" y="161"/>
                      <a:pt x="459" y="161"/>
                    </a:cubicBezTo>
                    <a:cubicBezTo>
                      <a:pt x="459" y="161"/>
                      <a:pt x="459" y="162"/>
                      <a:pt x="459" y="162"/>
                    </a:cubicBezTo>
                    <a:cubicBezTo>
                      <a:pt x="459" y="162"/>
                      <a:pt x="459" y="162"/>
                      <a:pt x="459" y="162"/>
                    </a:cubicBezTo>
                    <a:cubicBezTo>
                      <a:pt x="459" y="162"/>
                      <a:pt x="459" y="162"/>
                      <a:pt x="459" y="162"/>
                    </a:cubicBezTo>
                    <a:cubicBezTo>
                      <a:pt x="459" y="163"/>
                      <a:pt x="459" y="163"/>
                      <a:pt x="459" y="163"/>
                    </a:cubicBezTo>
                    <a:cubicBezTo>
                      <a:pt x="459" y="163"/>
                      <a:pt x="459" y="163"/>
                      <a:pt x="459" y="164"/>
                    </a:cubicBezTo>
                    <a:cubicBezTo>
                      <a:pt x="459" y="163"/>
                      <a:pt x="460" y="164"/>
                      <a:pt x="459" y="164"/>
                    </a:cubicBezTo>
                    <a:cubicBezTo>
                      <a:pt x="460" y="164"/>
                      <a:pt x="460" y="163"/>
                      <a:pt x="460" y="163"/>
                    </a:cubicBezTo>
                    <a:cubicBezTo>
                      <a:pt x="460" y="163"/>
                      <a:pt x="461" y="162"/>
                      <a:pt x="460" y="162"/>
                    </a:cubicBezTo>
                    <a:cubicBezTo>
                      <a:pt x="461" y="162"/>
                      <a:pt x="460" y="162"/>
                      <a:pt x="460" y="161"/>
                    </a:cubicBezTo>
                    <a:cubicBezTo>
                      <a:pt x="460" y="161"/>
                      <a:pt x="461" y="161"/>
                      <a:pt x="460" y="161"/>
                    </a:cubicBezTo>
                    <a:cubicBezTo>
                      <a:pt x="460" y="161"/>
                      <a:pt x="461" y="160"/>
                      <a:pt x="461" y="160"/>
                    </a:cubicBezTo>
                    <a:cubicBezTo>
                      <a:pt x="461" y="160"/>
                      <a:pt x="461" y="160"/>
                      <a:pt x="461" y="160"/>
                    </a:cubicBezTo>
                    <a:cubicBezTo>
                      <a:pt x="460" y="160"/>
                      <a:pt x="461" y="160"/>
                      <a:pt x="461" y="159"/>
                    </a:cubicBezTo>
                    <a:cubicBezTo>
                      <a:pt x="461" y="159"/>
                      <a:pt x="461" y="159"/>
                      <a:pt x="461" y="160"/>
                    </a:cubicBezTo>
                    <a:cubicBezTo>
                      <a:pt x="461" y="160"/>
                      <a:pt x="462" y="159"/>
                      <a:pt x="461" y="159"/>
                    </a:cubicBezTo>
                    <a:cubicBezTo>
                      <a:pt x="461" y="159"/>
                      <a:pt x="461" y="159"/>
                      <a:pt x="461" y="159"/>
                    </a:cubicBezTo>
                    <a:cubicBezTo>
                      <a:pt x="461" y="158"/>
                      <a:pt x="462" y="158"/>
                      <a:pt x="462" y="158"/>
                    </a:cubicBezTo>
                    <a:cubicBezTo>
                      <a:pt x="462" y="158"/>
                      <a:pt x="461" y="158"/>
                      <a:pt x="461" y="158"/>
                    </a:cubicBezTo>
                    <a:close/>
                    <a:moveTo>
                      <a:pt x="213" y="163"/>
                    </a:moveTo>
                    <a:cubicBezTo>
                      <a:pt x="213" y="162"/>
                      <a:pt x="212" y="163"/>
                      <a:pt x="212" y="163"/>
                    </a:cubicBezTo>
                    <a:cubicBezTo>
                      <a:pt x="211" y="163"/>
                      <a:pt x="212" y="162"/>
                      <a:pt x="212" y="161"/>
                    </a:cubicBezTo>
                    <a:cubicBezTo>
                      <a:pt x="213" y="161"/>
                      <a:pt x="213" y="160"/>
                      <a:pt x="213" y="160"/>
                    </a:cubicBezTo>
                    <a:cubicBezTo>
                      <a:pt x="212" y="160"/>
                      <a:pt x="211" y="160"/>
                      <a:pt x="209" y="160"/>
                    </a:cubicBezTo>
                    <a:cubicBezTo>
                      <a:pt x="208" y="161"/>
                      <a:pt x="208" y="161"/>
                      <a:pt x="207" y="161"/>
                    </a:cubicBezTo>
                    <a:cubicBezTo>
                      <a:pt x="206" y="161"/>
                      <a:pt x="206" y="162"/>
                      <a:pt x="205" y="161"/>
                    </a:cubicBezTo>
                    <a:cubicBezTo>
                      <a:pt x="204" y="161"/>
                      <a:pt x="203" y="162"/>
                      <a:pt x="202" y="162"/>
                    </a:cubicBezTo>
                    <a:cubicBezTo>
                      <a:pt x="201" y="163"/>
                      <a:pt x="200" y="163"/>
                      <a:pt x="199" y="164"/>
                    </a:cubicBezTo>
                    <a:cubicBezTo>
                      <a:pt x="199" y="164"/>
                      <a:pt x="198" y="164"/>
                      <a:pt x="197" y="164"/>
                    </a:cubicBezTo>
                    <a:cubicBezTo>
                      <a:pt x="197" y="164"/>
                      <a:pt x="195" y="166"/>
                      <a:pt x="196" y="167"/>
                    </a:cubicBezTo>
                    <a:cubicBezTo>
                      <a:pt x="196" y="167"/>
                      <a:pt x="198" y="167"/>
                      <a:pt x="198" y="166"/>
                    </a:cubicBezTo>
                    <a:cubicBezTo>
                      <a:pt x="199" y="166"/>
                      <a:pt x="200" y="166"/>
                      <a:pt x="201" y="165"/>
                    </a:cubicBezTo>
                    <a:cubicBezTo>
                      <a:pt x="202" y="165"/>
                      <a:pt x="204" y="164"/>
                      <a:pt x="206" y="164"/>
                    </a:cubicBezTo>
                    <a:cubicBezTo>
                      <a:pt x="207" y="164"/>
                      <a:pt x="208" y="164"/>
                      <a:pt x="209" y="164"/>
                    </a:cubicBezTo>
                    <a:cubicBezTo>
                      <a:pt x="210" y="164"/>
                      <a:pt x="211" y="163"/>
                      <a:pt x="211" y="163"/>
                    </a:cubicBezTo>
                    <a:cubicBezTo>
                      <a:pt x="211" y="164"/>
                      <a:pt x="212" y="163"/>
                      <a:pt x="213" y="164"/>
                    </a:cubicBezTo>
                    <a:cubicBezTo>
                      <a:pt x="212" y="164"/>
                      <a:pt x="212" y="164"/>
                      <a:pt x="212" y="164"/>
                    </a:cubicBezTo>
                    <a:cubicBezTo>
                      <a:pt x="213" y="164"/>
                      <a:pt x="213" y="164"/>
                      <a:pt x="213" y="163"/>
                    </a:cubicBezTo>
                    <a:close/>
                    <a:moveTo>
                      <a:pt x="213" y="167"/>
                    </a:moveTo>
                    <a:cubicBezTo>
                      <a:pt x="213" y="167"/>
                      <a:pt x="214" y="167"/>
                      <a:pt x="214" y="166"/>
                    </a:cubicBezTo>
                    <a:cubicBezTo>
                      <a:pt x="214" y="166"/>
                      <a:pt x="213" y="166"/>
                      <a:pt x="213" y="166"/>
                    </a:cubicBezTo>
                    <a:cubicBezTo>
                      <a:pt x="212" y="165"/>
                      <a:pt x="211" y="167"/>
                      <a:pt x="213" y="167"/>
                    </a:cubicBezTo>
                    <a:close/>
                    <a:moveTo>
                      <a:pt x="186" y="170"/>
                    </a:moveTo>
                    <a:cubicBezTo>
                      <a:pt x="186" y="170"/>
                      <a:pt x="187" y="170"/>
                      <a:pt x="187" y="170"/>
                    </a:cubicBezTo>
                    <a:cubicBezTo>
                      <a:pt x="187" y="170"/>
                      <a:pt x="188" y="170"/>
                      <a:pt x="188" y="170"/>
                    </a:cubicBezTo>
                    <a:cubicBezTo>
                      <a:pt x="188" y="170"/>
                      <a:pt x="186" y="170"/>
                      <a:pt x="186" y="170"/>
                    </a:cubicBezTo>
                    <a:close/>
                    <a:moveTo>
                      <a:pt x="188" y="170"/>
                    </a:moveTo>
                    <a:cubicBezTo>
                      <a:pt x="189" y="170"/>
                      <a:pt x="191" y="170"/>
                      <a:pt x="191" y="170"/>
                    </a:cubicBezTo>
                    <a:cubicBezTo>
                      <a:pt x="191" y="169"/>
                      <a:pt x="191" y="169"/>
                      <a:pt x="191" y="169"/>
                    </a:cubicBezTo>
                    <a:cubicBezTo>
                      <a:pt x="190" y="170"/>
                      <a:pt x="189" y="169"/>
                      <a:pt x="188" y="170"/>
                    </a:cubicBezTo>
                    <a:close/>
                    <a:moveTo>
                      <a:pt x="474" y="156"/>
                    </a:moveTo>
                    <a:cubicBezTo>
                      <a:pt x="473" y="156"/>
                      <a:pt x="472" y="158"/>
                      <a:pt x="472" y="159"/>
                    </a:cubicBezTo>
                    <a:cubicBezTo>
                      <a:pt x="472" y="159"/>
                      <a:pt x="473" y="158"/>
                      <a:pt x="473" y="158"/>
                    </a:cubicBezTo>
                    <a:cubicBezTo>
                      <a:pt x="473" y="158"/>
                      <a:pt x="473" y="158"/>
                      <a:pt x="474" y="158"/>
                    </a:cubicBezTo>
                    <a:cubicBezTo>
                      <a:pt x="474" y="158"/>
                      <a:pt x="474" y="157"/>
                      <a:pt x="474" y="158"/>
                    </a:cubicBezTo>
                    <a:cubicBezTo>
                      <a:pt x="475" y="157"/>
                      <a:pt x="474" y="156"/>
                      <a:pt x="474" y="156"/>
                    </a:cubicBezTo>
                    <a:close/>
                    <a:moveTo>
                      <a:pt x="281" y="121"/>
                    </a:moveTo>
                    <a:cubicBezTo>
                      <a:pt x="280" y="121"/>
                      <a:pt x="279" y="122"/>
                      <a:pt x="278" y="122"/>
                    </a:cubicBezTo>
                    <a:cubicBezTo>
                      <a:pt x="278" y="122"/>
                      <a:pt x="277" y="123"/>
                      <a:pt x="276" y="123"/>
                    </a:cubicBezTo>
                    <a:cubicBezTo>
                      <a:pt x="276" y="123"/>
                      <a:pt x="276" y="123"/>
                      <a:pt x="276" y="123"/>
                    </a:cubicBezTo>
                    <a:cubicBezTo>
                      <a:pt x="276" y="123"/>
                      <a:pt x="276" y="123"/>
                      <a:pt x="275" y="124"/>
                    </a:cubicBezTo>
                    <a:cubicBezTo>
                      <a:pt x="276" y="124"/>
                      <a:pt x="276" y="124"/>
                      <a:pt x="277" y="123"/>
                    </a:cubicBezTo>
                    <a:cubicBezTo>
                      <a:pt x="277" y="123"/>
                      <a:pt x="278" y="123"/>
                      <a:pt x="278" y="123"/>
                    </a:cubicBezTo>
                    <a:cubicBezTo>
                      <a:pt x="279" y="122"/>
                      <a:pt x="281" y="122"/>
                      <a:pt x="281" y="121"/>
                    </a:cubicBezTo>
                    <a:close/>
                    <a:moveTo>
                      <a:pt x="329" y="131"/>
                    </a:moveTo>
                    <a:cubicBezTo>
                      <a:pt x="329" y="131"/>
                      <a:pt x="329" y="130"/>
                      <a:pt x="328" y="130"/>
                    </a:cubicBezTo>
                    <a:cubicBezTo>
                      <a:pt x="327" y="130"/>
                      <a:pt x="327" y="131"/>
                      <a:pt x="328" y="131"/>
                    </a:cubicBezTo>
                    <a:cubicBezTo>
                      <a:pt x="327" y="131"/>
                      <a:pt x="328" y="132"/>
                      <a:pt x="329" y="131"/>
                    </a:cubicBezTo>
                    <a:close/>
                    <a:moveTo>
                      <a:pt x="221" y="162"/>
                    </a:moveTo>
                    <a:cubicBezTo>
                      <a:pt x="221" y="162"/>
                      <a:pt x="223" y="161"/>
                      <a:pt x="223" y="161"/>
                    </a:cubicBezTo>
                    <a:cubicBezTo>
                      <a:pt x="222" y="160"/>
                      <a:pt x="220" y="162"/>
                      <a:pt x="221" y="162"/>
                    </a:cubicBezTo>
                    <a:close/>
                    <a:moveTo>
                      <a:pt x="476" y="146"/>
                    </a:moveTo>
                    <a:cubicBezTo>
                      <a:pt x="476" y="146"/>
                      <a:pt x="478" y="146"/>
                      <a:pt x="477" y="145"/>
                    </a:cubicBezTo>
                    <a:cubicBezTo>
                      <a:pt x="476" y="145"/>
                      <a:pt x="475" y="145"/>
                      <a:pt x="474" y="146"/>
                    </a:cubicBezTo>
                    <a:cubicBezTo>
                      <a:pt x="473" y="146"/>
                      <a:pt x="473" y="146"/>
                      <a:pt x="473" y="147"/>
                    </a:cubicBezTo>
                    <a:cubicBezTo>
                      <a:pt x="473" y="147"/>
                      <a:pt x="474" y="147"/>
                      <a:pt x="474" y="148"/>
                    </a:cubicBezTo>
                    <a:cubicBezTo>
                      <a:pt x="475" y="148"/>
                      <a:pt x="476" y="147"/>
                      <a:pt x="476" y="146"/>
                    </a:cubicBezTo>
                    <a:close/>
                    <a:moveTo>
                      <a:pt x="189" y="168"/>
                    </a:moveTo>
                    <a:cubicBezTo>
                      <a:pt x="188" y="168"/>
                      <a:pt x="188" y="168"/>
                      <a:pt x="187" y="168"/>
                    </a:cubicBezTo>
                    <a:cubicBezTo>
                      <a:pt x="188" y="167"/>
                      <a:pt x="187" y="168"/>
                      <a:pt x="186" y="168"/>
                    </a:cubicBezTo>
                    <a:cubicBezTo>
                      <a:pt x="187" y="168"/>
                      <a:pt x="187" y="168"/>
                      <a:pt x="187" y="168"/>
                    </a:cubicBezTo>
                    <a:cubicBezTo>
                      <a:pt x="187" y="168"/>
                      <a:pt x="185" y="169"/>
                      <a:pt x="186" y="170"/>
                    </a:cubicBezTo>
                    <a:cubicBezTo>
                      <a:pt x="186" y="170"/>
                      <a:pt x="188" y="169"/>
                      <a:pt x="188" y="169"/>
                    </a:cubicBezTo>
                    <a:cubicBezTo>
                      <a:pt x="188" y="169"/>
                      <a:pt x="187" y="169"/>
                      <a:pt x="187" y="168"/>
                    </a:cubicBezTo>
                    <a:cubicBezTo>
                      <a:pt x="187" y="168"/>
                      <a:pt x="188" y="168"/>
                      <a:pt x="189" y="168"/>
                    </a:cubicBezTo>
                    <a:close/>
                    <a:moveTo>
                      <a:pt x="247" y="159"/>
                    </a:moveTo>
                    <a:cubicBezTo>
                      <a:pt x="246" y="159"/>
                      <a:pt x="246" y="159"/>
                      <a:pt x="246" y="159"/>
                    </a:cubicBezTo>
                    <a:cubicBezTo>
                      <a:pt x="246" y="159"/>
                      <a:pt x="245" y="160"/>
                      <a:pt x="245" y="160"/>
                    </a:cubicBezTo>
                    <a:cubicBezTo>
                      <a:pt x="245" y="160"/>
                      <a:pt x="246" y="160"/>
                      <a:pt x="246" y="159"/>
                    </a:cubicBezTo>
                    <a:cubicBezTo>
                      <a:pt x="246" y="160"/>
                      <a:pt x="246" y="160"/>
                      <a:pt x="246" y="160"/>
                    </a:cubicBezTo>
                    <a:cubicBezTo>
                      <a:pt x="246" y="160"/>
                      <a:pt x="247" y="159"/>
                      <a:pt x="247" y="159"/>
                    </a:cubicBezTo>
                    <a:cubicBezTo>
                      <a:pt x="247" y="159"/>
                      <a:pt x="248" y="158"/>
                      <a:pt x="248" y="158"/>
                    </a:cubicBezTo>
                    <a:cubicBezTo>
                      <a:pt x="248" y="158"/>
                      <a:pt x="247" y="159"/>
                      <a:pt x="247" y="159"/>
                    </a:cubicBezTo>
                    <a:cubicBezTo>
                      <a:pt x="247" y="159"/>
                      <a:pt x="247" y="159"/>
                      <a:pt x="247" y="159"/>
                    </a:cubicBezTo>
                    <a:close/>
                    <a:moveTo>
                      <a:pt x="135" y="183"/>
                    </a:moveTo>
                    <a:cubicBezTo>
                      <a:pt x="135" y="183"/>
                      <a:pt x="135" y="183"/>
                      <a:pt x="134" y="183"/>
                    </a:cubicBezTo>
                    <a:cubicBezTo>
                      <a:pt x="134" y="183"/>
                      <a:pt x="134" y="183"/>
                      <a:pt x="135" y="183"/>
                    </a:cubicBezTo>
                    <a:cubicBezTo>
                      <a:pt x="135" y="183"/>
                      <a:pt x="136" y="183"/>
                      <a:pt x="136" y="184"/>
                    </a:cubicBezTo>
                    <a:cubicBezTo>
                      <a:pt x="136" y="184"/>
                      <a:pt x="138" y="183"/>
                      <a:pt x="137" y="182"/>
                    </a:cubicBezTo>
                    <a:cubicBezTo>
                      <a:pt x="137" y="182"/>
                      <a:pt x="136" y="183"/>
                      <a:pt x="135" y="183"/>
                    </a:cubicBezTo>
                    <a:close/>
                    <a:moveTo>
                      <a:pt x="271" y="142"/>
                    </a:moveTo>
                    <a:cubicBezTo>
                      <a:pt x="271" y="141"/>
                      <a:pt x="272" y="141"/>
                      <a:pt x="273" y="141"/>
                    </a:cubicBezTo>
                    <a:cubicBezTo>
                      <a:pt x="272" y="141"/>
                      <a:pt x="271" y="141"/>
                      <a:pt x="271" y="142"/>
                    </a:cubicBezTo>
                    <a:close/>
                    <a:moveTo>
                      <a:pt x="424" y="109"/>
                    </a:moveTo>
                    <a:cubicBezTo>
                      <a:pt x="425" y="109"/>
                      <a:pt x="425" y="109"/>
                      <a:pt x="425" y="109"/>
                    </a:cubicBezTo>
                    <a:cubicBezTo>
                      <a:pt x="425" y="109"/>
                      <a:pt x="425" y="109"/>
                      <a:pt x="424" y="109"/>
                    </a:cubicBezTo>
                    <a:close/>
                    <a:moveTo>
                      <a:pt x="365" y="27"/>
                    </a:moveTo>
                    <a:cubicBezTo>
                      <a:pt x="365" y="27"/>
                      <a:pt x="364" y="28"/>
                      <a:pt x="364" y="28"/>
                    </a:cubicBezTo>
                    <a:cubicBezTo>
                      <a:pt x="364" y="28"/>
                      <a:pt x="365" y="28"/>
                      <a:pt x="365" y="27"/>
                    </a:cubicBezTo>
                    <a:close/>
                    <a:moveTo>
                      <a:pt x="453" y="106"/>
                    </a:moveTo>
                    <a:cubicBezTo>
                      <a:pt x="452" y="106"/>
                      <a:pt x="453" y="106"/>
                      <a:pt x="454" y="107"/>
                    </a:cubicBezTo>
                    <a:cubicBezTo>
                      <a:pt x="454" y="107"/>
                      <a:pt x="455" y="107"/>
                      <a:pt x="455" y="107"/>
                    </a:cubicBezTo>
                    <a:cubicBezTo>
                      <a:pt x="456" y="107"/>
                      <a:pt x="456" y="106"/>
                      <a:pt x="456" y="106"/>
                    </a:cubicBezTo>
                    <a:cubicBezTo>
                      <a:pt x="458" y="106"/>
                      <a:pt x="458" y="107"/>
                      <a:pt x="459" y="107"/>
                    </a:cubicBezTo>
                    <a:cubicBezTo>
                      <a:pt x="461" y="107"/>
                      <a:pt x="463" y="106"/>
                      <a:pt x="464" y="106"/>
                    </a:cubicBezTo>
                    <a:cubicBezTo>
                      <a:pt x="465" y="106"/>
                      <a:pt x="467" y="105"/>
                      <a:pt x="467" y="106"/>
                    </a:cubicBezTo>
                    <a:cubicBezTo>
                      <a:pt x="468" y="106"/>
                      <a:pt x="464" y="108"/>
                      <a:pt x="464" y="108"/>
                    </a:cubicBezTo>
                    <a:cubicBezTo>
                      <a:pt x="463" y="109"/>
                      <a:pt x="465" y="110"/>
                      <a:pt x="465" y="110"/>
                    </a:cubicBezTo>
                    <a:cubicBezTo>
                      <a:pt x="466" y="110"/>
                      <a:pt x="466" y="110"/>
                      <a:pt x="465" y="111"/>
                    </a:cubicBezTo>
                    <a:cubicBezTo>
                      <a:pt x="465" y="111"/>
                      <a:pt x="465" y="112"/>
                      <a:pt x="465" y="112"/>
                    </a:cubicBezTo>
                    <a:cubicBezTo>
                      <a:pt x="466" y="113"/>
                      <a:pt x="466" y="114"/>
                      <a:pt x="466" y="115"/>
                    </a:cubicBezTo>
                    <a:cubicBezTo>
                      <a:pt x="466" y="115"/>
                      <a:pt x="467" y="116"/>
                      <a:pt x="467" y="117"/>
                    </a:cubicBezTo>
                    <a:cubicBezTo>
                      <a:pt x="467" y="118"/>
                      <a:pt x="465" y="119"/>
                      <a:pt x="464" y="120"/>
                    </a:cubicBezTo>
                    <a:cubicBezTo>
                      <a:pt x="465" y="120"/>
                      <a:pt x="466" y="120"/>
                      <a:pt x="466" y="120"/>
                    </a:cubicBezTo>
                    <a:cubicBezTo>
                      <a:pt x="467" y="119"/>
                      <a:pt x="468" y="119"/>
                      <a:pt x="469" y="119"/>
                    </a:cubicBezTo>
                    <a:cubicBezTo>
                      <a:pt x="471" y="118"/>
                      <a:pt x="472" y="118"/>
                      <a:pt x="473" y="118"/>
                    </a:cubicBezTo>
                    <a:cubicBezTo>
                      <a:pt x="474" y="118"/>
                      <a:pt x="475" y="117"/>
                      <a:pt x="476" y="117"/>
                    </a:cubicBezTo>
                    <a:cubicBezTo>
                      <a:pt x="477" y="116"/>
                      <a:pt x="477" y="115"/>
                      <a:pt x="478" y="115"/>
                    </a:cubicBezTo>
                    <a:cubicBezTo>
                      <a:pt x="479" y="114"/>
                      <a:pt x="480" y="115"/>
                      <a:pt x="481" y="114"/>
                    </a:cubicBezTo>
                    <a:cubicBezTo>
                      <a:pt x="481" y="114"/>
                      <a:pt x="481" y="113"/>
                      <a:pt x="481" y="113"/>
                    </a:cubicBezTo>
                    <a:cubicBezTo>
                      <a:pt x="482" y="113"/>
                      <a:pt x="483" y="113"/>
                      <a:pt x="485" y="112"/>
                    </a:cubicBezTo>
                    <a:cubicBezTo>
                      <a:pt x="486" y="112"/>
                      <a:pt x="489" y="111"/>
                      <a:pt x="490" y="112"/>
                    </a:cubicBezTo>
                    <a:cubicBezTo>
                      <a:pt x="490" y="112"/>
                      <a:pt x="490" y="112"/>
                      <a:pt x="490" y="113"/>
                    </a:cubicBezTo>
                    <a:cubicBezTo>
                      <a:pt x="490" y="113"/>
                      <a:pt x="491" y="113"/>
                      <a:pt x="491" y="113"/>
                    </a:cubicBezTo>
                    <a:cubicBezTo>
                      <a:pt x="491" y="114"/>
                      <a:pt x="490" y="114"/>
                      <a:pt x="489" y="115"/>
                    </a:cubicBezTo>
                    <a:cubicBezTo>
                      <a:pt x="489" y="115"/>
                      <a:pt x="489" y="115"/>
                      <a:pt x="489" y="115"/>
                    </a:cubicBezTo>
                    <a:cubicBezTo>
                      <a:pt x="489" y="115"/>
                      <a:pt x="489" y="115"/>
                      <a:pt x="489" y="116"/>
                    </a:cubicBezTo>
                    <a:cubicBezTo>
                      <a:pt x="488" y="116"/>
                      <a:pt x="489" y="117"/>
                      <a:pt x="489" y="117"/>
                    </a:cubicBezTo>
                    <a:cubicBezTo>
                      <a:pt x="490" y="117"/>
                      <a:pt x="489" y="118"/>
                      <a:pt x="490" y="118"/>
                    </a:cubicBezTo>
                    <a:cubicBezTo>
                      <a:pt x="491" y="118"/>
                      <a:pt x="490" y="119"/>
                      <a:pt x="489" y="119"/>
                    </a:cubicBezTo>
                    <a:cubicBezTo>
                      <a:pt x="490" y="120"/>
                      <a:pt x="489" y="120"/>
                      <a:pt x="489" y="121"/>
                    </a:cubicBezTo>
                    <a:cubicBezTo>
                      <a:pt x="490" y="121"/>
                      <a:pt x="491" y="122"/>
                      <a:pt x="491" y="123"/>
                    </a:cubicBezTo>
                    <a:cubicBezTo>
                      <a:pt x="491" y="123"/>
                      <a:pt x="492" y="124"/>
                      <a:pt x="491" y="125"/>
                    </a:cubicBezTo>
                    <a:cubicBezTo>
                      <a:pt x="491" y="126"/>
                      <a:pt x="490" y="126"/>
                      <a:pt x="490" y="127"/>
                    </a:cubicBezTo>
                    <a:cubicBezTo>
                      <a:pt x="491" y="128"/>
                      <a:pt x="490" y="129"/>
                      <a:pt x="490" y="130"/>
                    </a:cubicBezTo>
                    <a:cubicBezTo>
                      <a:pt x="490" y="130"/>
                      <a:pt x="490" y="131"/>
                      <a:pt x="490" y="131"/>
                    </a:cubicBezTo>
                    <a:cubicBezTo>
                      <a:pt x="489" y="132"/>
                      <a:pt x="489" y="132"/>
                      <a:pt x="489" y="133"/>
                    </a:cubicBezTo>
                    <a:cubicBezTo>
                      <a:pt x="489" y="134"/>
                      <a:pt x="489" y="136"/>
                      <a:pt x="488" y="137"/>
                    </a:cubicBezTo>
                    <a:cubicBezTo>
                      <a:pt x="488" y="138"/>
                      <a:pt x="487" y="138"/>
                      <a:pt x="486" y="139"/>
                    </a:cubicBezTo>
                    <a:cubicBezTo>
                      <a:pt x="487" y="139"/>
                      <a:pt x="488" y="139"/>
                      <a:pt x="488" y="139"/>
                    </a:cubicBezTo>
                    <a:cubicBezTo>
                      <a:pt x="488" y="140"/>
                      <a:pt x="485" y="141"/>
                      <a:pt x="487" y="141"/>
                    </a:cubicBezTo>
                    <a:cubicBezTo>
                      <a:pt x="487" y="141"/>
                      <a:pt x="487" y="142"/>
                      <a:pt x="487" y="142"/>
                    </a:cubicBezTo>
                    <a:cubicBezTo>
                      <a:pt x="486" y="142"/>
                      <a:pt x="486" y="142"/>
                      <a:pt x="486" y="143"/>
                    </a:cubicBezTo>
                    <a:cubicBezTo>
                      <a:pt x="486" y="143"/>
                      <a:pt x="486" y="143"/>
                      <a:pt x="485" y="144"/>
                    </a:cubicBezTo>
                    <a:cubicBezTo>
                      <a:pt x="486" y="144"/>
                      <a:pt x="487" y="144"/>
                      <a:pt x="487" y="144"/>
                    </a:cubicBezTo>
                    <a:cubicBezTo>
                      <a:pt x="488" y="144"/>
                      <a:pt x="489" y="145"/>
                      <a:pt x="489" y="145"/>
                    </a:cubicBezTo>
                    <a:cubicBezTo>
                      <a:pt x="490" y="146"/>
                      <a:pt x="490" y="146"/>
                      <a:pt x="491" y="146"/>
                    </a:cubicBezTo>
                    <a:cubicBezTo>
                      <a:pt x="492" y="146"/>
                      <a:pt x="491" y="147"/>
                      <a:pt x="492" y="147"/>
                    </a:cubicBezTo>
                    <a:cubicBezTo>
                      <a:pt x="493" y="148"/>
                      <a:pt x="493" y="148"/>
                      <a:pt x="492" y="148"/>
                    </a:cubicBezTo>
                    <a:cubicBezTo>
                      <a:pt x="492" y="149"/>
                      <a:pt x="493" y="149"/>
                      <a:pt x="493" y="149"/>
                    </a:cubicBezTo>
                    <a:cubicBezTo>
                      <a:pt x="493" y="149"/>
                      <a:pt x="494" y="149"/>
                      <a:pt x="494" y="149"/>
                    </a:cubicBezTo>
                    <a:cubicBezTo>
                      <a:pt x="495" y="149"/>
                      <a:pt x="494" y="150"/>
                      <a:pt x="494" y="150"/>
                    </a:cubicBezTo>
                    <a:cubicBezTo>
                      <a:pt x="493" y="151"/>
                      <a:pt x="491" y="152"/>
                      <a:pt x="490" y="153"/>
                    </a:cubicBezTo>
                    <a:cubicBezTo>
                      <a:pt x="489" y="154"/>
                      <a:pt x="488" y="155"/>
                      <a:pt x="487" y="157"/>
                    </a:cubicBezTo>
                    <a:cubicBezTo>
                      <a:pt x="487" y="158"/>
                      <a:pt x="486" y="158"/>
                      <a:pt x="486" y="158"/>
                    </a:cubicBezTo>
                    <a:cubicBezTo>
                      <a:pt x="485" y="159"/>
                      <a:pt x="484" y="159"/>
                      <a:pt x="483" y="160"/>
                    </a:cubicBezTo>
                    <a:cubicBezTo>
                      <a:pt x="482" y="161"/>
                      <a:pt x="480" y="162"/>
                      <a:pt x="478" y="162"/>
                    </a:cubicBezTo>
                    <a:cubicBezTo>
                      <a:pt x="478" y="162"/>
                      <a:pt x="478" y="162"/>
                      <a:pt x="479" y="162"/>
                    </a:cubicBezTo>
                    <a:cubicBezTo>
                      <a:pt x="479" y="162"/>
                      <a:pt x="477" y="163"/>
                      <a:pt x="477" y="163"/>
                    </a:cubicBezTo>
                    <a:cubicBezTo>
                      <a:pt x="477" y="162"/>
                      <a:pt x="477" y="163"/>
                      <a:pt x="477" y="162"/>
                    </a:cubicBezTo>
                    <a:cubicBezTo>
                      <a:pt x="478" y="162"/>
                      <a:pt x="478" y="161"/>
                      <a:pt x="478" y="161"/>
                    </a:cubicBezTo>
                    <a:cubicBezTo>
                      <a:pt x="478" y="161"/>
                      <a:pt x="477" y="162"/>
                      <a:pt x="477" y="162"/>
                    </a:cubicBezTo>
                    <a:cubicBezTo>
                      <a:pt x="476" y="163"/>
                      <a:pt x="475" y="163"/>
                      <a:pt x="476" y="162"/>
                    </a:cubicBezTo>
                    <a:cubicBezTo>
                      <a:pt x="476" y="162"/>
                      <a:pt x="476" y="161"/>
                      <a:pt x="476" y="161"/>
                    </a:cubicBezTo>
                    <a:cubicBezTo>
                      <a:pt x="477" y="161"/>
                      <a:pt x="476" y="161"/>
                      <a:pt x="477" y="160"/>
                    </a:cubicBezTo>
                    <a:cubicBezTo>
                      <a:pt x="477" y="160"/>
                      <a:pt x="478" y="159"/>
                      <a:pt x="479" y="159"/>
                    </a:cubicBezTo>
                    <a:cubicBezTo>
                      <a:pt x="479" y="159"/>
                      <a:pt x="479" y="160"/>
                      <a:pt x="479" y="160"/>
                    </a:cubicBezTo>
                    <a:cubicBezTo>
                      <a:pt x="480" y="159"/>
                      <a:pt x="480" y="159"/>
                      <a:pt x="480" y="159"/>
                    </a:cubicBezTo>
                    <a:cubicBezTo>
                      <a:pt x="482" y="158"/>
                      <a:pt x="483" y="158"/>
                      <a:pt x="484" y="157"/>
                    </a:cubicBezTo>
                    <a:cubicBezTo>
                      <a:pt x="483" y="157"/>
                      <a:pt x="482" y="158"/>
                      <a:pt x="481" y="159"/>
                    </a:cubicBezTo>
                    <a:cubicBezTo>
                      <a:pt x="480" y="159"/>
                      <a:pt x="479" y="160"/>
                      <a:pt x="479" y="159"/>
                    </a:cubicBezTo>
                    <a:cubicBezTo>
                      <a:pt x="479" y="159"/>
                      <a:pt x="478" y="160"/>
                      <a:pt x="478" y="160"/>
                    </a:cubicBezTo>
                    <a:cubicBezTo>
                      <a:pt x="477" y="159"/>
                      <a:pt x="478" y="158"/>
                      <a:pt x="478" y="158"/>
                    </a:cubicBezTo>
                    <a:cubicBezTo>
                      <a:pt x="479" y="158"/>
                      <a:pt x="479" y="157"/>
                      <a:pt x="480" y="157"/>
                    </a:cubicBezTo>
                    <a:cubicBezTo>
                      <a:pt x="481" y="157"/>
                      <a:pt x="482" y="158"/>
                      <a:pt x="482" y="157"/>
                    </a:cubicBezTo>
                    <a:cubicBezTo>
                      <a:pt x="482" y="157"/>
                      <a:pt x="482" y="157"/>
                      <a:pt x="483" y="157"/>
                    </a:cubicBezTo>
                    <a:cubicBezTo>
                      <a:pt x="482" y="157"/>
                      <a:pt x="481" y="157"/>
                      <a:pt x="481" y="157"/>
                    </a:cubicBezTo>
                    <a:cubicBezTo>
                      <a:pt x="481" y="156"/>
                      <a:pt x="482" y="156"/>
                      <a:pt x="482" y="155"/>
                    </a:cubicBezTo>
                    <a:cubicBezTo>
                      <a:pt x="483" y="155"/>
                      <a:pt x="483" y="154"/>
                      <a:pt x="484" y="153"/>
                    </a:cubicBezTo>
                    <a:cubicBezTo>
                      <a:pt x="484" y="153"/>
                      <a:pt x="484" y="152"/>
                      <a:pt x="485" y="152"/>
                    </a:cubicBezTo>
                    <a:cubicBezTo>
                      <a:pt x="485" y="152"/>
                      <a:pt x="484" y="152"/>
                      <a:pt x="484" y="152"/>
                    </a:cubicBezTo>
                    <a:cubicBezTo>
                      <a:pt x="484" y="151"/>
                      <a:pt x="484" y="151"/>
                      <a:pt x="484" y="150"/>
                    </a:cubicBezTo>
                    <a:cubicBezTo>
                      <a:pt x="485" y="150"/>
                      <a:pt x="486" y="150"/>
                      <a:pt x="486" y="149"/>
                    </a:cubicBezTo>
                    <a:cubicBezTo>
                      <a:pt x="486" y="149"/>
                      <a:pt x="487" y="149"/>
                      <a:pt x="487" y="149"/>
                    </a:cubicBezTo>
                    <a:cubicBezTo>
                      <a:pt x="486" y="149"/>
                      <a:pt x="485" y="150"/>
                      <a:pt x="484" y="150"/>
                    </a:cubicBezTo>
                    <a:cubicBezTo>
                      <a:pt x="484" y="150"/>
                      <a:pt x="483" y="151"/>
                      <a:pt x="483" y="150"/>
                    </a:cubicBezTo>
                    <a:cubicBezTo>
                      <a:pt x="481" y="150"/>
                      <a:pt x="479" y="151"/>
                      <a:pt x="477" y="151"/>
                    </a:cubicBezTo>
                    <a:cubicBezTo>
                      <a:pt x="478" y="152"/>
                      <a:pt x="478" y="152"/>
                      <a:pt x="478" y="152"/>
                    </a:cubicBezTo>
                    <a:cubicBezTo>
                      <a:pt x="478" y="153"/>
                      <a:pt x="477" y="153"/>
                      <a:pt x="477" y="153"/>
                    </a:cubicBezTo>
                    <a:cubicBezTo>
                      <a:pt x="476" y="153"/>
                      <a:pt x="476" y="154"/>
                      <a:pt x="476" y="154"/>
                    </a:cubicBezTo>
                    <a:cubicBezTo>
                      <a:pt x="476" y="154"/>
                      <a:pt x="475" y="154"/>
                      <a:pt x="475" y="154"/>
                    </a:cubicBezTo>
                    <a:cubicBezTo>
                      <a:pt x="475" y="154"/>
                      <a:pt x="475" y="155"/>
                      <a:pt x="474" y="155"/>
                    </a:cubicBezTo>
                    <a:cubicBezTo>
                      <a:pt x="473" y="155"/>
                      <a:pt x="474" y="155"/>
                      <a:pt x="473" y="155"/>
                    </a:cubicBezTo>
                    <a:cubicBezTo>
                      <a:pt x="472" y="154"/>
                      <a:pt x="473" y="154"/>
                      <a:pt x="473" y="153"/>
                    </a:cubicBezTo>
                    <a:cubicBezTo>
                      <a:pt x="474" y="153"/>
                      <a:pt x="473" y="153"/>
                      <a:pt x="474" y="153"/>
                    </a:cubicBezTo>
                    <a:cubicBezTo>
                      <a:pt x="474" y="152"/>
                      <a:pt x="474" y="153"/>
                      <a:pt x="474" y="153"/>
                    </a:cubicBezTo>
                    <a:cubicBezTo>
                      <a:pt x="474" y="153"/>
                      <a:pt x="475" y="152"/>
                      <a:pt x="475" y="152"/>
                    </a:cubicBezTo>
                    <a:cubicBezTo>
                      <a:pt x="476" y="152"/>
                      <a:pt x="476" y="152"/>
                      <a:pt x="476" y="151"/>
                    </a:cubicBezTo>
                    <a:cubicBezTo>
                      <a:pt x="477" y="151"/>
                      <a:pt x="477" y="151"/>
                      <a:pt x="477" y="151"/>
                    </a:cubicBezTo>
                    <a:cubicBezTo>
                      <a:pt x="478" y="150"/>
                      <a:pt x="478" y="150"/>
                      <a:pt x="479" y="150"/>
                    </a:cubicBezTo>
                    <a:cubicBezTo>
                      <a:pt x="480" y="149"/>
                      <a:pt x="480" y="148"/>
                      <a:pt x="482" y="148"/>
                    </a:cubicBezTo>
                    <a:cubicBezTo>
                      <a:pt x="482" y="148"/>
                      <a:pt x="483" y="148"/>
                      <a:pt x="483" y="148"/>
                    </a:cubicBezTo>
                    <a:cubicBezTo>
                      <a:pt x="483" y="148"/>
                      <a:pt x="484" y="148"/>
                      <a:pt x="484" y="148"/>
                    </a:cubicBezTo>
                    <a:cubicBezTo>
                      <a:pt x="483" y="148"/>
                      <a:pt x="482" y="148"/>
                      <a:pt x="481" y="148"/>
                    </a:cubicBezTo>
                    <a:cubicBezTo>
                      <a:pt x="481" y="147"/>
                      <a:pt x="482" y="147"/>
                      <a:pt x="482" y="146"/>
                    </a:cubicBezTo>
                    <a:cubicBezTo>
                      <a:pt x="482" y="146"/>
                      <a:pt x="481" y="146"/>
                      <a:pt x="481" y="146"/>
                    </a:cubicBezTo>
                    <a:cubicBezTo>
                      <a:pt x="481" y="145"/>
                      <a:pt x="481" y="145"/>
                      <a:pt x="481" y="145"/>
                    </a:cubicBezTo>
                    <a:cubicBezTo>
                      <a:pt x="480" y="144"/>
                      <a:pt x="482" y="144"/>
                      <a:pt x="482" y="143"/>
                    </a:cubicBezTo>
                    <a:cubicBezTo>
                      <a:pt x="481" y="143"/>
                      <a:pt x="481" y="144"/>
                      <a:pt x="480" y="144"/>
                    </a:cubicBezTo>
                    <a:cubicBezTo>
                      <a:pt x="480" y="144"/>
                      <a:pt x="480" y="144"/>
                      <a:pt x="480" y="143"/>
                    </a:cubicBezTo>
                    <a:cubicBezTo>
                      <a:pt x="480" y="143"/>
                      <a:pt x="481" y="143"/>
                      <a:pt x="481" y="143"/>
                    </a:cubicBezTo>
                    <a:cubicBezTo>
                      <a:pt x="481" y="143"/>
                      <a:pt x="481" y="143"/>
                      <a:pt x="481" y="143"/>
                    </a:cubicBezTo>
                    <a:cubicBezTo>
                      <a:pt x="482" y="142"/>
                      <a:pt x="483" y="142"/>
                      <a:pt x="483" y="142"/>
                    </a:cubicBezTo>
                    <a:cubicBezTo>
                      <a:pt x="483" y="142"/>
                      <a:pt x="482" y="142"/>
                      <a:pt x="482" y="142"/>
                    </a:cubicBezTo>
                    <a:cubicBezTo>
                      <a:pt x="481" y="142"/>
                      <a:pt x="480" y="142"/>
                      <a:pt x="480" y="141"/>
                    </a:cubicBezTo>
                    <a:cubicBezTo>
                      <a:pt x="481" y="141"/>
                      <a:pt x="480" y="139"/>
                      <a:pt x="481" y="140"/>
                    </a:cubicBezTo>
                    <a:cubicBezTo>
                      <a:pt x="482" y="140"/>
                      <a:pt x="482" y="139"/>
                      <a:pt x="483" y="139"/>
                    </a:cubicBezTo>
                    <a:cubicBezTo>
                      <a:pt x="482" y="139"/>
                      <a:pt x="482" y="139"/>
                      <a:pt x="482" y="139"/>
                    </a:cubicBezTo>
                    <a:cubicBezTo>
                      <a:pt x="481" y="140"/>
                      <a:pt x="481" y="139"/>
                      <a:pt x="481" y="139"/>
                    </a:cubicBezTo>
                    <a:cubicBezTo>
                      <a:pt x="481" y="139"/>
                      <a:pt x="481" y="140"/>
                      <a:pt x="480" y="139"/>
                    </a:cubicBezTo>
                    <a:cubicBezTo>
                      <a:pt x="480" y="139"/>
                      <a:pt x="480" y="139"/>
                      <a:pt x="480" y="139"/>
                    </a:cubicBezTo>
                    <a:cubicBezTo>
                      <a:pt x="480" y="139"/>
                      <a:pt x="480" y="138"/>
                      <a:pt x="480" y="138"/>
                    </a:cubicBezTo>
                    <a:cubicBezTo>
                      <a:pt x="480" y="138"/>
                      <a:pt x="479" y="139"/>
                      <a:pt x="480" y="138"/>
                    </a:cubicBezTo>
                    <a:cubicBezTo>
                      <a:pt x="479" y="138"/>
                      <a:pt x="479" y="139"/>
                      <a:pt x="479" y="139"/>
                    </a:cubicBezTo>
                    <a:cubicBezTo>
                      <a:pt x="478" y="139"/>
                      <a:pt x="478" y="138"/>
                      <a:pt x="478" y="138"/>
                    </a:cubicBezTo>
                    <a:cubicBezTo>
                      <a:pt x="478" y="138"/>
                      <a:pt x="478" y="137"/>
                      <a:pt x="479" y="137"/>
                    </a:cubicBezTo>
                    <a:cubicBezTo>
                      <a:pt x="479" y="137"/>
                      <a:pt x="480" y="137"/>
                      <a:pt x="481" y="137"/>
                    </a:cubicBezTo>
                    <a:cubicBezTo>
                      <a:pt x="481" y="137"/>
                      <a:pt x="483" y="137"/>
                      <a:pt x="483" y="136"/>
                    </a:cubicBezTo>
                    <a:cubicBezTo>
                      <a:pt x="483" y="136"/>
                      <a:pt x="481" y="137"/>
                      <a:pt x="480" y="136"/>
                    </a:cubicBezTo>
                    <a:cubicBezTo>
                      <a:pt x="480" y="136"/>
                      <a:pt x="482" y="135"/>
                      <a:pt x="482" y="135"/>
                    </a:cubicBezTo>
                    <a:cubicBezTo>
                      <a:pt x="481" y="135"/>
                      <a:pt x="481" y="135"/>
                      <a:pt x="481" y="135"/>
                    </a:cubicBezTo>
                    <a:cubicBezTo>
                      <a:pt x="481" y="134"/>
                      <a:pt x="482" y="134"/>
                      <a:pt x="482" y="134"/>
                    </a:cubicBezTo>
                    <a:cubicBezTo>
                      <a:pt x="483" y="134"/>
                      <a:pt x="483" y="134"/>
                      <a:pt x="483" y="134"/>
                    </a:cubicBezTo>
                    <a:cubicBezTo>
                      <a:pt x="483" y="134"/>
                      <a:pt x="482" y="134"/>
                      <a:pt x="481" y="134"/>
                    </a:cubicBezTo>
                    <a:cubicBezTo>
                      <a:pt x="481" y="133"/>
                      <a:pt x="482" y="133"/>
                      <a:pt x="482" y="133"/>
                    </a:cubicBezTo>
                    <a:cubicBezTo>
                      <a:pt x="483" y="132"/>
                      <a:pt x="483" y="133"/>
                      <a:pt x="484" y="133"/>
                    </a:cubicBezTo>
                    <a:cubicBezTo>
                      <a:pt x="484" y="134"/>
                      <a:pt x="485" y="135"/>
                      <a:pt x="485" y="134"/>
                    </a:cubicBezTo>
                    <a:cubicBezTo>
                      <a:pt x="485" y="134"/>
                      <a:pt x="485" y="134"/>
                      <a:pt x="485" y="134"/>
                    </a:cubicBezTo>
                    <a:cubicBezTo>
                      <a:pt x="485" y="133"/>
                      <a:pt x="485" y="133"/>
                      <a:pt x="484" y="133"/>
                    </a:cubicBezTo>
                    <a:cubicBezTo>
                      <a:pt x="484" y="133"/>
                      <a:pt x="484" y="133"/>
                      <a:pt x="484" y="132"/>
                    </a:cubicBezTo>
                    <a:cubicBezTo>
                      <a:pt x="484" y="132"/>
                      <a:pt x="483" y="132"/>
                      <a:pt x="484" y="132"/>
                    </a:cubicBezTo>
                    <a:cubicBezTo>
                      <a:pt x="484" y="131"/>
                      <a:pt x="485" y="130"/>
                      <a:pt x="486" y="130"/>
                    </a:cubicBezTo>
                    <a:cubicBezTo>
                      <a:pt x="486" y="130"/>
                      <a:pt x="488" y="131"/>
                      <a:pt x="488" y="131"/>
                    </a:cubicBezTo>
                    <a:cubicBezTo>
                      <a:pt x="488" y="130"/>
                      <a:pt x="486" y="131"/>
                      <a:pt x="486" y="130"/>
                    </a:cubicBezTo>
                    <a:cubicBezTo>
                      <a:pt x="486" y="130"/>
                      <a:pt x="485" y="130"/>
                      <a:pt x="485" y="130"/>
                    </a:cubicBezTo>
                    <a:cubicBezTo>
                      <a:pt x="485" y="130"/>
                      <a:pt x="484" y="131"/>
                      <a:pt x="484" y="131"/>
                    </a:cubicBezTo>
                    <a:cubicBezTo>
                      <a:pt x="484" y="131"/>
                      <a:pt x="484" y="131"/>
                      <a:pt x="484" y="131"/>
                    </a:cubicBezTo>
                    <a:cubicBezTo>
                      <a:pt x="484" y="131"/>
                      <a:pt x="483" y="132"/>
                      <a:pt x="483" y="131"/>
                    </a:cubicBezTo>
                    <a:cubicBezTo>
                      <a:pt x="483" y="130"/>
                      <a:pt x="483" y="130"/>
                      <a:pt x="484" y="130"/>
                    </a:cubicBezTo>
                    <a:cubicBezTo>
                      <a:pt x="483" y="131"/>
                      <a:pt x="485" y="129"/>
                      <a:pt x="485" y="129"/>
                    </a:cubicBezTo>
                    <a:cubicBezTo>
                      <a:pt x="485" y="129"/>
                      <a:pt x="485" y="129"/>
                      <a:pt x="485" y="129"/>
                    </a:cubicBezTo>
                    <a:cubicBezTo>
                      <a:pt x="484" y="129"/>
                      <a:pt x="486" y="128"/>
                      <a:pt x="486" y="128"/>
                    </a:cubicBezTo>
                    <a:cubicBezTo>
                      <a:pt x="485" y="128"/>
                      <a:pt x="484" y="130"/>
                      <a:pt x="483" y="130"/>
                    </a:cubicBezTo>
                    <a:cubicBezTo>
                      <a:pt x="482" y="129"/>
                      <a:pt x="483" y="128"/>
                      <a:pt x="483" y="128"/>
                    </a:cubicBezTo>
                    <a:cubicBezTo>
                      <a:pt x="484" y="127"/>
                      <a:pt x="484" y="127"/>
                      <a:pt x="484" y="127"/>
                    </a:cubicBezTo>
                    <a:cubicBezTo>
                      <a:pt x="485" y="126"/>
                      <a:pt x="486" y="126"/>
                      <a:pt x="486" y="126"/>
                    </a:cubicBezTo>
                    <a:cubicBezTo>
                      <a:pt x="486" y="125"/>
                      <a:pt x="487" y="125"/>
                      <a:pt x="487" y="125"/>
                    </a:cubicBezTo>
                    <a:cubicBezTo>
                      <a:pt x="488" y="125"/>
                      <a:pt x="488" y="124"/>
                      <a:pt x="488" y="124"/>
                    </a:cubicBezTo>
                    <a:cubicBezTo>
                      <a:pt x="489" y="124"/>
                      <a:pt x="489" y="124"/>
                      <a:pt x="489" y="124"/>
                    </a:cubicBezTo>
                    <a:cubicBezTo>
                      <a:pt x="488" y="124"/>
                      <a:pt x="487" y="125"/>
                      <a:pt x="486" y="125"/>
                    </a:cubicBezTo>
                    <a:cubicBezTo>
                      <a:pt x="486" y="126"/>
                      <a:pt x="485" y="126"/>
                      <a:pt x="484" y="127"/>
                    </a:cubicBezTo>
                    <a:cubicBezTo>
                      <a:pt x="482" y="129"/>
                      <a:pt x="482" y="125"/>
                      <a:pt x="481" y="126"/>
                    </a:cubicBezTo>
                    <a:cubicBezTo>
                      <a:pt x="481" y="126"/>
                      <a:pt x="481" y="126"/>
                      <a:pt x="480" y="126"/>
                    </a:cubicBezTo>
                    <a:cubicBezTo>
                      <a:pt x="480" y="126"/>
                      <a:pt x="481" y="125"/>
                      <a:pt x="481" y="124"/>
                    </a:cubicBezTo>
                    <a:cubicBezTo>
                      <a:pt x="481" y="124"/>
                      <a:pt x="481" y="123"/>
                      <a:pt x="482" y="123"/>
                    </a:cubicBezTo>
                    <a:cubicBezTo>
                      <a:pt x="482" y="123"/>
                      <a:pt x="483" y="122"/>
                      <a:pt x="483" y="121"/>
                    </a:cubicBezTo>
                    <a:cubicBezTo>
                      <a:pt x="483" y="121"/>
                      <a:pt x="482" y="122"/>
                      <a:pt x="482" y="122"/>
                    </a:cubicBezTo>
                    <a:cubicBezTo>
                      <a:pt x="482" y="121"/>
                      <a:pt x="483" y="120"/>
                      <a:pt x="483" y="119"/>
                    </a:cubicBezTo>
                    <a:cubicBezTo>
                      <a:pt x="484" y="119"/>
                      <a:pt x="484" y="118"/>
                      <a:pt x="484" y="118"/>
                    </a:cubicBezTo>
                    <a:cubicBezTo>
                      <a:pt x="485" y="117"/>
                      <a:pt x="485" y="117"/>
                      <a:pt x="485" y="116"/>
                    </a:cubicBezTo>
                    <a:cubicBezTo>
                      <a:pt x="485" y="116"/>
                      <a:pt x="487" y="115"/>
                      <a:pt x="487" y="115"/>
                    </a:cubicBezTo>
                    <a:cubicBezTo>
                      <a:pt x="487" y="115"/>
                      <a:pt x="484" y="117"/>
                      <a:pt x="484" y="116"/>
                    </a:cubicBezTo>
                    <a:cubicBezTo>
                      <a:pt x="484" y="117"/>
                      <a:pt x="484" y="118"/>
                      <a:pt x="483" y="118"/>
                    </a:cubicBezTo>
                    <a:cubicBezTo>
                      <a:pt x="483" y="118"/>
                      <a:pt x="484" y="117"/>
                      <a:pt x="483" y="117"/>
                    </a:cubicBezTo>
                    <a:cubicBezTo>
                      <a:pt x="483" y="117"/>
                      <a:pt x="483" y="119"/>
                      <a:pt x="482" y="119"/>
                    </a:cubicBezTo>
                    <a:cubicBezTo>
                      <a:pt x="482" y="120"/>
                      <a:pt x="481" y="120"/>
                      <a:pt x="481" y="121"/>
                    </a:cubicBezTo>
                    <a:cubicBezTo>
                      <a:pt x="481" y="122"/>
                      <a:pt x="480" y="122"/>
                      <a:pt x="480" y="122"/>
                    </a:cubicBezTo>
                    <a:cubicBezTo>
                      <a:pt x="480" y="123"/>
                      <a:pt x="480" y="123"/>
                      <a:pt x="479" y="124"/>
                    </a:cubicBezTo>
                    <a:cubicBezTo>
                      <a:pt x="479" y="123"/>
                      <a:pt x="479" y="123"/>
                      <a:pt x="479" y="123"/>
                    </a:cubicBezTo>
                    <a:cubicBezTo>
                      <a:pt x="479" y="123"/>
                      <a:pt x="478" y="125"/>
                      <a:pt x="478" y="125"/>
                    </a:cubicBezTo>
                    <a:cubicBezTo>
                      <a:pt x="478" y="126"/>
                      <a:pt x="477" y="126"/>
                      <a:pt x="476" y="127"/>
                    </a:cubicBezTo>
                    <a:cubicBezTo>
                      <a:pt x="476" y="127"/>
                      <a:pt x="475" y="128"/>
                      <a:pt x="474" y="127"/>
                    </a:cubicBezTo>
                    <a:cubicBezTo>
                      <a:pt x="474" y="126"/>
                      <a:pt x="476" y="125"/>
                      <a:pt x="475" y="125"/>
                    </a:cubicBezTo>
                    <a:cubicBezTo>
                      <a:pt x="475" y="124"/>
                      <a:pt x="475" y="126"/>
                      <a:pt x="474" y="125"/>
                    </a:cubicBezTo>
                    <a:cubicBezTo>
                      <a:pt x="473" y="125"/>
                      <a:pt x="472" y="126"/>
                      <a:pt x="471" y="126"/>
                    </a:cubicBezTo>
                    <a:cubicBezTo>
                      <a:pt x="472" y="125"/>
                      <a:pt x="472" y="125"/>
                      <a:pt x="472" y="125"/>
                    </a:cubicBezTo>
                    <a:cubicBezTo>
                      <a:pt x="472" y="125"/>
                      <a:pt x="472" y="125"/>
                      <a:pt x="472" y="125"/>
                    </a:cubicBezTo>
                    <a:cubicBezTo>
                      <a:pt x="472" y="124"/>
                      <a:pt x="473" y="125"/>
                      <a:pt x="473" y="124"/>
                    </a:cubicBezTo>
                    <a:cubicBezTo>
                      <a:pt x="473" y="124"/>
                      <a:pt x="474" y="124"/>
                      <a:pt x="474" y="123"/>
                    </a:cubicBezTo>
                    <a:cubicBezTo>
                      <a:pt x="473" y="123"/>
                      <a:pt x="474" y="122"/>
                      <a:pt x="474" y="122"/>
                    </a:cubicBezTo>
                    <a:cubicBezTo>
                      <a:pt x="474" y="122"/>
                      <a:pt x="474" y="122"/>
                      <a:pt x="474" y="121"/>
                    </a:cubicBezTo>
                    <a:cubicBezTo>
                      <a:pt x="475" y="121"/>
                      <a:pt x="476" y="121"/>
                      <a:pt x="476" y="121"/>
                    </a:cubicBezTo>
                    <a:cubicBezTo>
                      <a:pt x="476" y="121"/>
                      <a:pt x="478" y="120"/>
                      <a:pt x="478" y="120"/>
                    </a:cubicBezTo>
                    <a:cubicBezTo>
                      <a:pt x="478" y="120"/>
                      <a:pt x="475" y="121"/>
                      <a:pt x="475" y="121"/>
                    </a:cubicBezTo>
                    <a:cubicBezTo>
                      <a:pt x="475" y="121"/>
                      <a:pt x="476" y="119"/>
                      <a:pt x="476" y="119"/>
                    </a:cubicBezTo>
                    <a:cubicBezTo>
                      <a:pt x="476" y="119"/>
                      <a:pt x="476" y="119"/>
                      <a:pt x="476" y="120"/>
                    </a:cubicBezTo>
                    <a:cubicBezTo>
                      <a:pt x="475" y="120"/>
                      <a:pt x="475" y="120"/>
                      <a:pt x="474" y="120"/>
                    </a:cubicBezTo>
                    <a:cubicBezTo>
                      <a:pt x="475" y="120"/>
                      <a:pt x="475" y="120"/>
                      <a:pt x="475" y="120"/>
                    </a:cubicBezTo>
                    <a:cubicBezTo>
                      <a:pt x="474" y="121"/>
                      <a:pt x="474" y="122"/>
                      <a:pt x="473" y="122"/>
                    </a:cubicBezTo>
                    <a:cubicBezTo>
                      <a:pt x="473" y="122"/>
                      <a:pt x="472" y="122"/>
                      <a:pt x="472" y="121"/>
                    </a:cubicBezTo>
                    <a:cubicBezTo>
                      <a:pt x="472" y="121"/>
                      <a:pt x="473" y="121"/>
                      <a:pt x="473" y="121"/>
                    </a:cubicBezTo>
                    <a:cubicBezTo>
                      <a:pt x="473" y="121"/>
                      <a:pt x="471" y="121"/>
                      <a:pt x="472" y="121"/>
                    </a:cubicBezTo>
                    <a:cubicBezTo>
                      <a:pt x="472" y="120"/>
                      <a:pt x="472" y="120"/>
                      <a:pt x="473" y="120"/>
                    </a:cubicBezTo>
                    <a:cubicBezTo>
                      <a:pt x="472" y="120"/>
                      <a:pt x="472" y="120"/>
                      <a:pt x="472" y="120"/>
                    </a:cubicBezTo>
                    <a:cubicBezTo>
                      <a:pt x="472" y="120"/>
                      <a:pt x="472" y="119"/>
                      <a:pt x="472" y="119"/>
                    </a:cubicBezTo>
                    <a:cubicBezTo>
                      <a:pt x="471" y="119"/>
                      <a:pt x="471" y="120"/>
                      <a:pt x="471" y="120"/>
                    </a:cubicBezTo>
                    <a:cubicBezTo>
                      <a:pt x="471" y="121"/>
                      <a:pt x="470" y="119"/>
                      <a:pt x="470" y="119"/>
                    </a:cubicBezTo>
                    <a:cubicBezTo>
                      <a:pt x="470" y="119"/>
                      <a:pt x="469" y="118"/>
                      <a:pt x="469" y="119"/>
                    </a:cubicBezTo>
                    <a:cubicBezTo>
                      <a:pt x="469" y="119"/>
                      <a:pt x="469" y="120"/>
                      <a:pt x="469" y="120"/>
                    </a:cubicBezTo>
                    <a:cubicBezTo>
                      <a:pt x="469" y="120"/>
                      <a:pt x="468" y="120"/>
                      <a:pt x="468" y="120"/>
                    </a:cubicBezTo>
                    <a:cubicBezTo>
                      <a:pt x="467" y="120"/>
                      <a:pt x="467" y="121"/>
                      <a:pt x="466" y="121"/>
                    </a:cubicBezTo>
                    <a:cubicBezTo>
                      <a:pt x="467" y="121"/>
                      <a:pt x="467" y="120"/>
                      <a:pt x="468" y="120"/>
                    </a:cubicBezTo>
                    <a:cubicBezTo>
                      <a:pt x="468" y="120"/>
                      <a:pt x="469" y="120"/>
                      <a:pt x="469" y="121"/>
                    </a:cubicBezTo>
                    <a:cubicBezTo>
                      <a:pt x="469" y="121"/>
                      <a:pt x="470" y="121"/>
                      <a:pt x="471" y="121"/>
                    </a:cubicBezTo>
                    <a:cubicBezTo>
                      <a:pt x="471" y="121"/>
                      <a:pt x="471" y="122"/>
                      <a:pt x="470" y="122"/>
                    </a:cubicBezTo>
                    <a:cubicBezTo>
                      <a:pt x="470" y="121"/>
                      <a:pt x="470" y="121"/>
                      <a:pt x="470" y="121"/>
                    </a:cubicBezTo>
                    <a:cubicBezTo>
                      <a:pt x="470" y="121"/>
                      <a:pt x="470" y="122"/>
                      <a:pt x="470" y="122"/>
                    </a:cubicBezTo>
                    <a:cubicBezTo>
                      <a:pt x="470" y="122"/>
                      <a:pt x="470" y="123"/>
                      <a:pt x="470" y="123"/>
                    </a:cubicBezTo>
                    <a:cubicBezTo>
                      <a:pt x="470" y="123"/>
                      <a:pt x="470" y="122"/>
                      <a:pt x="470" y="122"/>
                    </a:cubicBezTo>
                    <a:cubicBezTo>
                      <a:pt x="471" y="122"/>
                      <a:pt x="471" y="122"/>
                      <a:pt x="471" y="122"/>
                    </a:cubicBezTo>
                    <a:cubicBezTo>
                      <a:pt x="470" y="123"/>
                      <a:pt x="469" y="123"/>
                      <a:pt x="469" y="123"/>
                    </a:cubicBezTo>
                    <a:cubicBezTo>
                      <a:pt x="469" y="124"/>
                      <a:pt x="470" y="123"/>
                      <a:pt x="470" y="123"/>
                    </a:cubicBezTo>
                    <a:cubicBezTo>
                      <a:pt x="470" y="123"/>
                      <a:pt x="470" y="123"/>
                      <a:pt x="471" y="123"/>
                    </a:cubicBezTo>
                    <a:cubicBezTo>
                      <a:pt x="471" y="123"/>
                      <a:pt x="471" y="123"/>
                      <a:pt x="471" y="123"/>
                    </a:cubicBezTo>
                    <a:cubicBezTo>
                      <a:pt x="472" y="123"/>
                      <a:pt x="471" y="124"/>
                      <a:pt x="471" y="124"/>
                    </a:cubicBezTo>
                    <a:cubicBezTo>
                      <a:pt x="471" y="124"/>
                      <a:pt x="471" y="124"/>
                      <a:pt x="470" y="124"/>
                    </a:cubicBezTo>
                    <a:cubicBezTo>
                      <a:pt x="471" y="124"/>
                      <a:pt x="471" y="124"/>
                      <a:pt x="471" y="124"/>
                    </a:cubicBezTo>
                    <a:cubicBezTo>
                      <a:pt x="470" y="125"/>
                      <a:pt x="469" y="126"/>
                      <a:pt x="468" y="126"/>
                    </a:cubicBezTo>
                    <a:cubicBezTo>
                      <a:pt x="468" y="126"/>
                      <a:pt x="468" y="126"/>
                      <a:pt x="468" y="125"/>
                    </a:cubicBezTo>
                    <a:cubicBezTo>
                      <a:pt x="468" y="126"/>
                      <a:pt x="467" y="125"/>
                      <a:pt x="467" y="125"/>
                    </a:cubicBezTo>
                    <a:cubicBezTo>
                      <a:pt x="467" y="125"/>
                      <a:pt x="466" y="126"/>
                      <a:pt x="466" y="126"/>
                    </a:cubicBezTo>
                    <a:cubicBezTo>
                      <a:pt x="466" y="126"/>
                      <a:pt x="467" y="126"/>
                      <a:pt x="467" y="126"/>
                    </a:cubicBezTo>
                    <a:cubicBezTo>
                      <a:pt x="468" y="126"/>
                      <a:pt x="467" y="126"/>
                      <a:pt x="466" y="126"/>
                    </a:cubicBezTo>
                    <a:cubicBezTo>
                      <a:pt x="466" y="126"/>
                      <a:pt x="465" y="126"/>
                      <a:pt x="465" y="126"/>
                    </a:cubicBezTo>
                    <a:cubicBezTo>
                      <a:pt x="465" y="126"/>
                      <a:pt x="465" y="127"/>
                      <a:pt x="465" y="127"/>
                    </a:cubicBezTo>
                    <a:cubicBezTo>
                      <a:pt x="464" y="127"/>
                      <a:pt x="464" y="127"/>
                      <a:pt x="463" y="127"/>
                    </a:cubicBezTo>
                    <a:cubicBezTo>
                      <a:pt x="464" y="127"/>
                      <a:pt x="464" y="127"/>
                      <a:pt x="464" y="126"/>
                    </a:cubicBezTo>
                    <a:cubicBezTo>
                      <a:pt x="464" y="126"/>
                      <a:pt x="464" y="126"/>
                      <a:pt x="463" y="126"/>
                    </a:cubicBezTo>
                    <a:cubicBezTo>
                      <a:pt x="464" y="126"/>
                      <a:pt x="464" y="126"/>
                      <a:pt x="464" y="126"/>
                    </a:cubicBezTo>
                    <a:cubicBezTo>
                      <a:pt x="464" y="126"/>
                      <a:pt x="463" y="126"/>
                      <a:pt x="463" y="126"/>
                    </a:cubicBezTo>
                    <a:cubicBezTo>
                      <a:pt x="463" y="126"/>
                      <a:pt x="463" y="126"/>
                      <a:pt x="464" y="126"/>
                    </a:cubicBezTo>
                    <a:cubicBezTo>
                      <a:pt x="463" y="126"/>
                      <a:pt x="463" y="126"/>
                      <a:pt x="463" y="126"/>
                    </a:cubicBezTo>
                    <a:cubicBezTo>
                      <a:pt x="464" y="125"/>
                      <a:pt x="462" y="126"/>
                      <a:pt x="462" y="125"/>
                    </a:cubicBezTo>
                    <a:cubicBezTo>
                      <a:pt x="462" y="125"/>
                      <a:pt x="461" y="125"/>
                      <a:pt x="461" y="125"/>
                    </a:cubicBezTo>
                    <a:cubicBezTo>
                      <a:pt x="461" y="124"/>
                      <a:pt x="461" y="123"/>
                      <a:pt x="460" y="123"/>
                    </a:cubicBezTo>
                    <a:cubicBezTo>
                      <a:pt x="460" y="123"/>
                      <a:pt x="462" y="123"/>
                      <a:pt x="462" y="123"/>
                    </a:cubicBezTo>
                    <a:cubicBezTo>
                      <a:pt x="462" y="122"/>
                      <a:pt x="460" y="123"/>
                      <a:pt x="460" y="123"/>
                    </a:cubicBezTo>
                    <a:cubicBezTo>
                      <a:pt x="460" y="123"/>
                      <a:pt x="460" y="122"/>
                      <a:pt x="460" y="122"/>
                    </a:cubicBezTo>
                    <a:cubicBezTo>
                      <a:pt x="460" y="121"/>
                      <a:pt x="460" y="121"/>
                      <a:pt x="460" y="121"/>
                    </a:cubicBezTo>
                    <a:cubicBezTo>
                      <a:pt x="461" y="120"/>
                      <a:pt x="460" y="120"/>
                      <a:pt x="460" y="119"/>
                    </a:cubicBezTo>
                    <a:cubicBezTo>
                      <a:pt x="460" y="118"/>
                      <a:pt x="459" y="119"/>
                      <a:pt x="459" y="118"/>
                    </a:cubicBezTo>
                    <a:cubicBezTo>
                      <a:pt x="459" y="118"/>
                      <a:pt x="459" y="118"/>
                      <a:pt x="459" y="118"/>
                    </a:cubicBezTo>
                    <a:cubicBezTo>
                      <a:pt x="459" y="118"/>
                      <a:pt x="458" y="118"/>
                      <a:pt x="458" y="118"/>
                    </a:cubicBezTo>
                    <a:cubicBezTo>
                      <a:pt x="458" y="118"/>
                      <a:pt x="459" y="118"/>
                      <a:pt x="459" y="118"/>
                    </a:cubicBezTo>
                    <a:cubicBezTo>
                      <a:pt x="459" y="118"/>
                      <a:pt x="460" y="118"/>
                      <a:pt x="460" y="117"/>
                    </a:cubicBezTo>
                    <a:cubicBezTo>
                      <a:pt x="459" y="117"/>
                      <a:pt x="458" y="118"/>
                      <a:pt x="457" y="117"/>
                    </a:cubicBezTo>
                    <a:cubicBezTo>
                      <a:pt x="457" y="117"/>
                      <a:pt x="457" y="117"/>
                      <a:pt x="457" y="117"/>
                    </a:cubicBezTo>
                    <a:cubicBezTo>
                      <a:pt x="456" y="116"/>
                      <a:pt x="456" y="116"/>
                      <a:pt x="455" y="116"/>
                    </a:cubicBezTo>
                    <a:cubicBezTo>
                      <a:pt x="455" y="116"/>
                      <a:pt x="456" y="116"/>
                      <a:pt x="456" y="116"/>
                    </a:cubicBezTo>
                    <a:cubicBezTo>
                      <a:pt x="456" y="116"/>
                      <a:pt x="455" y="116"/>
                      <a:pt x="456" y="115"/>
                    </a:cubicBezTo>
                    <a:cubicBezTo>
                      <a:pt x="455" y="115"/>
                      <a:pt x="455" y="116"/>
                      <a:pt x="455" y="116"/>
                    </a:cubicBezTo>
                    <a:cubicBezTo>
                      <a:pt x="454" y="116"/>
                      <a:pt x="454" y="115"/>
                      <a:pt x="454" y="115"/>
                    </a:cubicBezTo>
                    <a:cubicBezTo>
                      <a:pt x="454" y="115"/>
                      <a:pt x="455" y="116"/>
                      <a:pt x="455" y="115"/>
                    </a:cubicBezTo>
                    <a:cubicBezTo>
                      <a:pt x="455" y="115"/>
                      <a:pt x="452" y="114"/>
                      <a:pt x="453" y="114"/>
                    </a:cubicBezTo>
                    <a:cubicBezTo>
                      <a:pt x="453" y="114"/>
                      <a:pt x="454" y="114"/>
                      <a:pt x="454" y="114"/>
                    </a:cubicBezTo>
                    <a:cubicBezTo>
                      <a:pt x="454" y="113"/>
                      <a:pt x="455" y="114"/>
                      <a:pt x="455" y="113"/>
                    </a:cubicBezTo>
                    <a:cubicBezTo>
                      <a:pt x="455" y="113"/>
                      <a:pt x="456" y="113"/>
                      <a:pt x="456" y="113"/>
                    </a:cubicBezTo>
                    <a:cubicBezTo>
                      <a:pt x="456" y="113"/>
                      <a:pt x="457" y="112"/>
                      <a:pt x="457" y="112"/>
                    </a:cubicBezTo>
                    <a:cubicBezTo>
                      <a:pt x="458" y="111"/>
                      <a:pt x="458" y="111"/>
                      <a:pt x="458" y="111"/>
                    </a:cubicBezTo>
                    <a:cubicBezTo>
                      <a:pt x="459" y="110"/>
                      <a:pt x="459" y="110"/>
                      <a:pt x="460" y="110"/>
                    </a:cubicBezTo>
                    <a:cubicBezTo>
                      <a:pt x="460" y="110"/>
                      <a:pt x="461" y="109"/>
                      <a:pt x="461" y="110"/>
                    </a:cubicBezTo>
                    <a:cubicBezTo>
                      <a:pt x="461" y="110"/>
                      <a:pt x="461" y="111"/>
                      <a:pt x="460" y="111"/>
                    </a:cubicBezTo>
                    <a:cubicBezTo>
                      <a:pt x="460" y="111"/>
                      <a:pt x="459" y="111"/>
                      <a:pt x="459" y="112"/>
                    </a:cubicBezTo>
                    <a:cubicBezTo>
                      <a:pt x="458" y="113"/>
                      <a:pt x="458" y="113"/>
                      <a:pt x="458" y="113"/>
                    </a:cubicBezTo>
                    <a:cubicBezTo>
                      <a:pt x="457" y="113"/>
                      <a:pt x="457" y="114"/>
                      <a:pt x="458" y="114"/>
                    </a:cubicBezTo>
                    <a:cubicBezTo>
                      <a:pt x="458" y="113"/>
                      <a:pt x="459" y="112"/>
                      <a:pt x="459" y="112"/>
                    </a:cubicBezTo>
                    <a:cubicBezTo>
                      <a:pt x="460" y="111"/>
                      <a:pt x="460" y="111"/>
                      <a:pt x="461" y="111"/>
                    </a:cubicBezTo>
                    <a:cubicBezTo>
                      <a:pt x="462" y="111"/>
                      <a:pt x="462" y="111"/>
                      <a:pt x="463" y="111"/>
                    </a:cubicBezTo>
                    <a:cubicBezTo>
                      <a:pt x="463" y="111"/>
                      <a:pt x="462" y="111"/>
                      <a:pt x="462" y="111"/>
                    </a:cubicBezTo>
                    <a:cubicBezTo>
                      <a:pt x="462" y="111"/>
                      <a:pt x="461" y="111"/>
                      <a:pt x="461" y="110"/>
                    </a:cubicBezTo>
                    <a:cubicBezTo>
                      <a:pt x="461" y="110"/>
                      <a:pt x="461" y="110"/>
                      <a:pt x="461" y="109"/>
                    </a:cubicBezTo>
                    <a:cubicBezTo>
                      <a:pt x="461" y="109"/>
                      <a:pt x="461" y="109"/>
                      <a:pt x="461" y="109"/>
                    </a:cubicBezTo>
                    <a:cubicBezTo>
                      <a:pt x="460" y="109"/>
                      <a:pt x="460" y="109"/>
                      <a:pt x="459" y="110"/>
                    </a:cubicBezTo>
                    <a:cubicBezTo>
                      <a:pt x="458" y="110"/>
                      <a:pt x="458" y="110"/>
                      <a:pt x="457" y="110"/>
                    </a:cubicBezTo>
                    <a:cubicBezTo>
                      <a:pt x="455" y="111"/>
                      <a:pt x="453" y="112"/>
                      <a:pt x="452" y="112"/>
                    </a:cubicBezTo>
                    <a:cubicBezTo>
                      <a:pt x="450" y="112"/>
                      <a:pt x="448" y="112"/>
                      <a:pt x="447" y="112"/>
                    </a:cubicBezTo>
                    <a:cubicBezTo>
                      <a:pt x="446" y="111"/>
                      <a:pt x="446" y="111"/>
                      <a:pt x="445" y="111"/>
                    </a:cubicBezTo>
                    <a:cubicBezTo>
                      <a:pt x="445" y="111"/>
                      <a:pt x="444" y="111"/>
                      <a:pt x="444" y="110"/>
                    </a:cubicBezTo>
                    <a:cubicBezTo>
                      <a:pt x="444" y="110"/>
                      <a:pt x="445" y="110"/>
                      <a:pt x="445" y="110"/>
                    </a:cubicBezTo>
                    <a:cubicBezTo>
                      <a:pt x="445" y="110"/>
                      <a:pt x="444" y="110"/>
                      <a:pt x="444" y="110"/>
                    </a:cubicBezTo>
                    <a:cubicBezTo>
                      <a:pt x="445" y="110"/>
                      <a:pt x="446" y="110"/>
                      <a:pt x="447" y="109"/>
                    </a:cubicBezTo>
                    <a:cubicBezTo>
                      <a:pt x="447" y="109"/>
                      <a:pt x="447" y="109"/>
                      <a:pt x="447" y="108"/>
                    </a:cubicBezTo>
                    <a:cubicBezTo>
                      <a:pt x="447" y="108"/>
                      <a:pt x="447" y="108"/>
                      <a:pt x="447" y="108"/>
                    </a:cubicBezTo>
                    <a:cubicBezTo>
                      <a:pt x="447" y="108"/>
                      <a:pt x="446" y="108"/>
                      <a:pt x="446" y="108"/>
                    </a:cubicBezTo>
                    <a:cubicBezTo>
                      <a:pt x="446" y="108"/>
                      <a:pt x="446" y="109"/>
                      <a:pt x="446" y="109"/>
                    </a:cubicBezTo>
                    <a:cubicBezTo>
                      <a:pt x="446" y="109"/>
                      <a:pt x="444" y="110"/>
                      <a:pt x="443" y="110"/>
                    </a:cubicBezTo>
                    <a:cubicBezTo>
                      <a:pt x="443" y="110"/>
                      <a:pt x="442" y="109"/>
                      <a:pt x="442" y="109"/>
                    </a:cubicBezTo>
                    <a:cubicBezTo>
                      <a:pt x="442" y="109"/>
                      <a:pt x="441" y="109"/>
                      <a:pt x="441" y="109"/>
                    </a:cubicBezTo>
                    <a:cubicBezTo>
                      <a:pt x="440" y="109"/>
                      <a:pt x="439" y="109"/>
                      <a:pt x="438" y="108"/>
                    </a:cubicBezTo>
                    <a:cubicBezTo>
                      <a:pt x="435" y="108"/>
                      <a:pt x="433" y="109"/>
                      <a:pt x="431" y="109"/>
                    </a:cubicBezTo>
                    <a:cubicBezTo>
                      <a:pt x="429" y="109"/>
                      <a:pt x="428" y="109"/>
                      <a:pt x="427" y="109"/>
                    </a:cubicBezTo>
                    <a:cubicBezTo>
                      <a:pt x="427" y="109"/>
                      <a:pt x="426" y="109"/>
                      <a:pt x="426" y="109"/>
                    </a:cubicBezTo>
                    <a:cubicBezTo>
                      <a:pt x="426" y="109"/>
                      <a:pt x="426" y="109"/>
                      <a:pt x="425" y="109"/>
                    </a:cubicBezTo>
                    <a:cubicBezTo>
                      <a:pt x="426" y="109"/>
                      <a:pt x="426" y="109"/>
                      <a:pt x="426" y="109"/>
                    </a:cubicBezTo>
                    <a:cubicBezTo>
                      <a:pt x="426" y="109"/>
                      <a:pt x="426" y="108"/>
                      <a:pt x="425" y="108"/>
                    </a:cubicBezTo>
                    <a:cubicBezTo>
                      <a:pt x="426" y="107"/>
                      <a:pt x="426" y="107"/>
                      <a:pt x="426" y="107"/>
                    </a:cubicBezTo>
                    <a:cubicBezTo>
                      <a:pt x="426" y="107"/>
                      <a:pt x="425" y="107"/>
                      <a:pt x="425" y="107"/>
                    </a:cubicBezTo>
                    <a:cubicBezTo>
                      <a:pt x="424" y="107"/>
                      <a:pt x="424" y="108"/>
                      <a:pt x="424" y="107"/>
                    </a:cubicBezTo>
                    <a:cubicBezTo>
                      <a:pt x="424" y="107"/>
                      <a:pt x="423" y="108"/>
                      <a:pt x="423" y="107"/>
                    </a:cubicBezTo>
                    <a:cubicBezTo>
                      <a:pt x="423" y="107"/>
                      <a:pt x="423" y="106"/>
                      <a:pt x="423" y="106"/>
                    </a:cubicBezTo>
                    <a:cubicBezTo>
                      <a:pt x="423" y="106"/>
                      <a:pt x="422" y="106"/>
                      <a:pt x="422" y="106"/>
                    </a:cubicBezTo>
                    <a:cubicBezTo>
                      <a:pt x="422" y="106"/>
                      <a:pt x="423" y="105"/>
                      <a:pt x="423" y="105"/>
                    </a:cubicBezTo>
                    <a:cubicBezTo>
                      <a:pt x="424" y="105"/>
                      <a:pt x="425" y="105"/>
                      <a:pt x="425" y="104"/>
                    </a:cubicBezTo>
                    <a:cubicBezTo>
                      <a:pt x="425" y="104"/>
                      <a:pt x="424" y="105"/>
                      <a:pt x="424" y="104"/>
                    </a:cubicBezTo>
                    <a:cubicBezTo>
                      <a:pt x="424" y="104"/>
                      <a:pt x="425" y="104"/>
                      <a:pt x="425" y="104"/>
                    </a:cubicBezTo>
                    <a:cubicBezTo>
                      <a:pt x="426" y="104"/>
                      <a:pt x="426" y="103"/>
                      <a:pt x="426" y="103"/>
                    </a:cubicBezTo>
                    <a:cubicBezTo>
                      <a:pt x="427" y="103"/>
                      <a:pt x="427" y="103"/>
                      <a:pt x="428" y="103"/>
                    </a:cubicBezTo>
                    <a:cubicBezTo>
                      <a:pt x="428" y="102"/>
                      <a:pt x="429" y="102"/>
                      <a:pt x="429" y="102"/>
                    </a:cubicBezTo>
                    <a:cubicBezTo>
                      <a:pt x="428" y="102"/>
                      <a:pt x="426" y="103"/>
                      <a:pt x="425" y="103"/>
                    </a:cubicBezTo>
                    <a:cubicBezTo>
                      <a:pt x="424" y="104"/>
                      <a:pt x="423" y="104"/>
                      <a:pt x="421" y="105"/>
                    </a:cubicBezTo>
                    <a:cubicBezTo>
                      <a:pt x="421" y="106"/>
                      <a:pt x="419" y="106"/>
                      <a:pt x="419" y="105"/>
                    </a:cubicBezTo>
                    <a:cubicBezTo>
                      <a:pt x="418" y="104"/>
                      <a:pt x="416" y="104"/>
                      <a:pt x="416" y="105"/>
                    </a:cubicBezTo>
                    <a:cubicBezTo>
                      <a:pt x="416" y="104"/>
                      <a:pt x="418" y="104"/>
                      <a:pt x="419" y="104"/>
                    </a:cubicBezTo>
                    <a:cubicBezTo>
                      <a:pt x="419" y="103"/>
                      <a:pt x="420" y="103"/>
                      <a:pt x="421" y="102"/>
                    </a:cubicBezTo>
                    <a:cubicBezTo>
                      <a:pt x="420" y="102"/>
                      <a:pt x="419" y="103"/>
                      <a:pt x="418" y="103"/>
                    </a:cubicBezTo>
                    <a:cubicBezTo>
                      <a:pt x="419" y="103"/>
                      <a:pt x="419" y="103"/>
                      <a:pt x="419" y="103"/>
                    </a:cubicBezTo>
                    <a:cubicBezTo>
                      <a:pt x="419" y="103"/>
                      <a:pt x="419" y="103"/>
                      <a:pt x="419" y="103"/>
                    </a:cubicBezTo>
                    <a:cubicBezTo>
                      <a:pt x="419" y="102"/>
                      <a:pt x="419" y="102"/>
                      <a:pt x="419" y="102"/>
                    </a:cubicBezTo>
                    <a:cubicBezTo>
                      <a:pt x="419" y="102"/>
                      <a:pt x="418" y="103"/>
                      <a:pt x="417" y="103"/>
                    </a:cubicBezTo>
                    <a:cubicBezTo>
                      <a:pt x="418" y="102"/>
                      <a:pt x="418" y="102"/>
                      <a:pt x="419" y="102"/>
                    </a:cubicBezTo>
                    <a:cubicBezTo>
                      <a:pt x="418" y="102"/>
                      <a:pt x="416" y="103"/>
                      <a:pt x="416" y="103"/>
                    </a:cubicBezTo>
                    <a:cubicBezTo>
                      <a:pt x="416" y="103"/>
                      <a:pt x="417" y="102"/>
                      <a:pt x="417" y="102"/>
                    </a:cubicBezTo>
                    <a:cubicBezTo>
                      <a:pt x="418" y="102"/>
                      <a:pt x="418" y="102"/>
                      <a:pt x="419" y="101"/>
                    </a:cubicBezTo>
                    <a:cubicBezTo>
                      <a:pt x="419" y="101"/>
                      <a:pt x="418" y="102"/>
                      <a:pt x="418" y="102"/>
                    </a:cubicBezTo>
                    <a:cubicBezTo>
                      <a:pt x="418" y="102"/>
                      <a:pt x="417" y="102"/>
                      <a:pt x="417" y="102"/>
                    </a:cubicBezTo>
                    <a:cubicBezTo>
                      <a:pt x="417" y="102"/>
                      <a:pt x="416" y="102"/>
                      <a:pt x="416" y="102"/>
                    </a:cubicBezTo>
                    <a:cubicBezTo>
                      <a:pt x="416" y="102"/>
                      <a:pt x="417" y="102"/>
                      <a:pt x="417" y="101"/>
                    </a:cubicBezTo>
                    <a:cubicBezTo>
                      <a:pt x="416" y="101"/>
                      <a:pt x="415" y="102"/>
                      <a:pt x="415" y="102"/>
                    </a:cubicBezTo>
                    <a:cubicBezTo>
                      <a:pt x="415" y="102"/>
                      <a:pt x="413" y="102"/>
                      <a:pt x="413" y="102"/>
                    </a:cubicBezTo>
                    <a:cubicBezTo>
                      <a:pt x="413" y="101"/>
                      <a:pt x="415" y="102"/>
                      <a:pt x="415" y="101"/>
                    </a:cubicBezTo>
                    <a:cubicBezTo>
                      <a:pt x="415" y="101"/>
                      <a:pt x="416" y="101"/>
                      <a:pt x="416" y="101"/>
                    </a:cubicBezTo>
                    <a:cubicBezTo>
                      <a:pt x="417" y="101"/>
                      <a:pt x="417" y="101"/>
                      <a:pt x="418" y="101"/>
                    </a:cubicBezTo>
                    <a:cubicBezTo>
                      <a:pt x="417" y="101"/>
                      <a:pt x="419" y="101"/>
                      <a:pt x="419" y="101"/>
                    </a:cubicBezTo>
                    <a:cubicBezTo>
                      <a:pt x="418" y="100"/>
                      <a:pt x="417" y="101"/>
                      <a:pt x="416" y="101"/>
                    </a:cubicBezTo>
                    <a:cubicBezTo>
                      <a:pt x="417" y="101"/>
                      <a:pt x="417" y="101"/>
                      <a:pt x="417" y="101"/>
                    </a:cubicBezTo>
                    <a:cubicBezTo>
                      <a:pt x="416" y="101"/>
                      <a:pt x="415" y="101"/>
                      <a:pt x="415" y="101"/>
                    </a:cubicBezTo>
                    <a:cubicBezTo>
                      <a:pt x="415" y="101"/>
                      <a:pt x="415" y="101"/>
                      <a:pt x="415" y="101"/>
                    </a:cubicBezTo>
                    <a:cubicBezTo>
                      <a:pt x="415" y="101"/>
                      <a:pt x="415" y="101"/>
                      <a:pt x="415" y="100"/>
                    </a:cubicBezTo>
                    <a:cubicBezTo>
                      <a:pt x="415" y="100"/>
                      <a:pt x="415" y="100"/>
                      <a:pt x="415" y="100"/>
                    </a:cubicBezTo>
                    <a:cubicBezTo>
                      <a:pt x="415" y="100"/>
                      <a:pt x="415" y="100"/>
                      <a:pt x="415" y="100"/>
                    </a:cubicBezTo>
                    <a:cubicBezTo>
                      <a:pt x="415" y="100"/>
                      <a:pt x="416" y="100"/>
                      <a:pt x="416" y="100"/>
                    </a:cubicBezTo>
                    <a:cubicBezTo>
                      <a:pt x="416" y="100"/>
                      <a:pt x="416" y="99"/>
                      <a:pt x="416" y="99"/>
                    </a:cubicBezTo>
                    <a:cubicBezTo>
                      <a:pt x="416" y="99"/>
                      <a:pt x="418" y="99"/>
                      <a:pt x="418" y="99"/>
                    </a:cubicBezTo>
                    <a:cubicBezTo>
                      <a:pt x="417" y="98"/>
                      <a:pt x="418" y="98"/>
                      <a:pt x="419" y="98"/>
                    </a:cubicBezTo>
                    <a:cubicBezTo>
                      <a:pt x="419" y="98"/>
                      <a:pt x="420" y="99"/>
                      <a:pt x="421" y="98"/>
                    </a:cubicBezTo>
                    <a:cubicBezTo>
                      <a:pt x="421" y="98"/>
                      <a:pt x="420" y="98"/>
                      <a:pt x="420" y="98"/>
                    </a:cubicBezTo>
                    <a:cubicBezTo>
                      <a:pt x="419" y="98"/>
                      <a:pt x="418" y="98"/>
                      <a:pt x="418" y="98"/>
                    </a:cubicBezTo>
                    <a:cubicBezTo>
                      <a:pt x="417" y="98"/>
                      <a:pt x="416" y="99"/>
                      <a:pt x="416" y="99"/>
                    </a:cubicBezTo>
                    <a:cubicBezTo>
                      <a:pt x="415" y="99"/>
                      <a:pt x="414" y="100"/>
                      <a:pt x="413" y="100"/>
                    </a:cubicBezTo>
                    <a:cubicBezTo>
                      <a:pt x="413" y="99"/>
                      <a:pt x="414" y="99"/>
                      <a:pt x="414" y="99"/>
                    </a:cubicBezTo>
                    <a:cubicBezTo>
                      <a:pt x="414" y="99"/>
                      <a:pt x="414" y="99"/>
                      <a:pt x="413" y="99"/>
                    </a:cubicBezTo>
                    <a:cubicBezTo>
                      <a:pt x="413" y="99"/>
                      <a:pt x="413" y="99"/>
                      <a:pt x="414" y="99"/>
                    </a:cubicBezTo>
                    <a:cubicBezTo>
                      <a:pt x="413" y="99"/>
                      <a:pt x="412" y="100"/>
                      <a:pt x="412" y="100"/>
                    </a:cubicBezTo>
                    <a:cubicBezTo>
                      <a:pt x="412" y="99"/>
                      <a:pt x="413" y="99"/>
                      <a:pt x="412" y="99"/>
                    </a:cubicBezTo>
                    <a:cubicBezTo>
                      <a:pt x="412" y="99"/>
                      <a:pt x="412" y="99"/>
                      <a:pt x="411" y="100"/>
                    </a:cubicBezTo>
                    <a:cubicBezTo>
                      <a:pt x="411" y="100"/>
                      <a:pt x="410" y="100"/>
                      <a:pt x="410" y="100"/>
                    </a:cubicBezTo>
                    <a:cubicBezTo>
                      <a:pt x="410" y="100"/>
                      <a:pt x="410" y="100"/>
                      <a:pt x="409" y="100"/>
                    </a:cubicBezTo>
                    <a:cubicBezTo>
                      <a:pt x="410" y="100"/>
                      <a:pt x="410" y="100"/>
                      <a:pt x="411" y="99"/>
                    </a:cubicBezTo>
                    <a:cubicBezTo>
                      <a:pt x="410" y="99"/>
                      <a:pt x="410" y="99"/>
                      <a:pt x="410" y="100"/>
                    </a:cubicBezTo>
                    <a:cubicBezTo>
                      <a:pt x="410" y="99"/>
                      <a:pt x="410" y="99"/>
                      <a:pt x="411" y="99"/>
                    </a:cubicBezTo>
                    <a:cubicBezTo>
                      <a:pt x="410" y="99"/>
                      <a:pt x="409" y="100"/>
                      <a:pt x="409" y="100"/>
                    </a:cubicBezTo>
                    <a:cubicBezTo>
                      <a:pt x="409" y="100"/>
                      <a:pt x="410" y="99"/>
                      <a:pt x="410" y="99"/>
                    </a:cubicBezTo>
                    <a:cubicBezTo>
                      <a:pt x="411" y="99"/>
                      <a:pt x="411" y="99"/>
                      <a:pt x="411" y="98"/>
                    </a:cubicBezTo>
                    <a:cubicBezTo>
                      <a:pt x="411" y="98"/>
                      <a:pt x="411" y="98"/>
                      <a:pt x="412" y="98"/>
                    </a:cubicBezTo>
                    <a:cubicBezTo>
                      <a:pt x="411" y="98"/>
                      <a:pt x="411" y="98"/>
                      <a:pt x="411" y="98"/>
                    </a:cubicBezTo>
                    <a:cubicBezTo>
                      <a:pt x="410" y="99"/>
                      <a:pt x="410" y="99"/>
                      <a:pt x="409" y="99"/>
                    </a:cubicBezTo>
                    <a:cubicBezTo>
                      <a:pt x="410" y="99"/>
                      <a:pt x="409" y="100"/>
                      <a:pt x="408" y="100"/>
                    </a:cubicBezTo>
                    <a:cubicBezTo>
                      <a:pt x="408" y="100"/>
                      <a:pt x="408" y="101"/>
                      <a:pt x="407" y="101"/>
                    </a:cubicBezTo>
                    <a:cubicBezTo>
                      <a:pt x="407" y="100"/>
                      <a:pt x="407" y="100"/>
                      <a:pt x="408" y="100"/>
                    </a:cubicBezTo>
                    <a:cubicBezTo>
                      <a:pt x="407" y="100"/>
                      <a:pt x="407" y="100"/>
                      <a:pt x="407" y="100"/>
                    </a:cubicBezTo>
                    <a:cubicBezTo>
                      <a:pt x="407" y="100"/>
                      <a:pt x="408" y="100"/>
                      <a:pt x="408" y="100"/>
                    </a:cubicBezTo>
                    <a:cubicBezTo>
                      <a:pt x="407" y="100"/>
                      <a:pt x="407" y="100"/>
                      <a:pt x="406" y="100"/>
                    </a:cubicBezTo>
                    <a:cubicBezTo>
                      <a:pt x="406" y="101"/>
                      <a:pt x="406" y="101"/>
                      <a:pt x="406" y="101"/>
                    </a:cubicBezTo>
                    <a:cubicBezTo>
                      <a:pt x="405" y="101"/>
                      <a:pt x="405" y="101"/>
                      <a:pt x="405" y="100"/>
                    </a:cubicBezTo>
                    <a:cubicBezTo>
                      <a:pt x="406" y="100"/>
                      <a:pt x="405" y="100"/>
                      <a:pt x="405" y="100"/>
                    </a:cubicBezTo>
                    <a:cubicBezTo>
                      <a:pt x="406" y="99"/>
                      <a:pt x="407" y="99"/>
                      <a:pt x="408" y="98"/>
                    </a:cubicBezTo>
                    <a:cubicBezTo>
                      <a:pt x="409" y="98"/>
                      <a:pt x="411" y="98"/>
                      <a:pt x="411" y="97"/>
                    </a:cubicBezTo>
                    <a:cubicBezTo>
                      <a:pt x="411" y="97"/>
                      <a:pt x="411" y="97"/>
                      <a:pt x="411" y="97"/>
                    </a:cubicBezTo>
                    <a:cubicBezTo>
                      <a:pt x="411" y="97"/>
                      <a:pt x="411" y="97"/>
                      <a:pt x="412" y="96"/>
                    </a:cubicBezTo>
                    <a:cubicBezTo>
                      <a:pt x="410" y="97"/>
                      <a:pt x="410" y="97"/>
                      <a:pt x="409" y="98"/>
                    </a:cubicBezTo>
                    <a:cubicBezTo>
                      <a:pt x="408" y="98"/>
                      <a:pt x="407" y="99"/>
                      <a:pt x="406" y="99"/>
                    </a:cubicBezTo>
                    <a:cubicBezTo>
                      <a:pt x="406" y="99"/>
                      <a:pt x="406" y="98"/>
                      <a:pt x="406" y="98"/>
                    </a:cubicBezTo>
                    <a:cubicBezTo>
                      <a:pt x="406" y="98"/>
                      <a:pt x="405" y="98"/>
                      <a:pt x="405" y="98"/>
                    </a:cubicBezTo>
                    <a:cubicBezTo>
                      <a:pt x="405" y="98"/>
                      <a:pt x="404" y="99"/>
                      <a:pt x="404" y="99"/>
                    </a:cubicBezTo>
                    <a:cubicBezTo>
                      <a:pt x="404" y="99"/>
                      <a:pt x="403" y="99"/>
                      <a:pt x="403" y="99"/>
                    </a:cubicBezTo>
                    <a:cubicBezTo>
                      <a:pt x="404" y="99"/>
                      <a:pt x="405" y="98"/>
                      <a:pt x="406" y="99"/>
                    </a:cubicBezTo>
                    <a:cubicBezTo>
                      <a:pt x="405" y="99"/>
                      <a:pt x="404" y="100"/>
                      <a:pt x="403" y="100"/>
                    </a:cubicBezTo>
                    <a:cubicBezTo>
                      <a:pt x="404" y="100"/>
                      <a:pt x="402" y="101"/>
                      <a:pt x="401" y="101"/>
                    </a:cubicBezTo>
                    <a:cubicBezTo>
                      <a:pt x="402" y="101"/>
                      <a:pt x="401" y="101"/>
                      <a:pt x="401" y="101"/>
                    </a:cubicBezTo>
                    <a:cubicBezTo>
                      <a:pt x="400" y="101"/>
                      <a:pt x="399" y="101"/>
                      <a:pt x="398" y="101"/>
                    </a:cubicBezTo>
                    <a:cubicBezTo>
                      <a:pt x="399" y="101"/>
                      <a:pt x="400" y="101"/>
                      <a:pt x="400" y="101"/>
                    </a:cubicBezTo>
                    <a:cubicBezTo>
                      <a:pt x="400" y="101"/>
                      <a:pt x="400" y="101"/>
                      <a:pt x="399" y="101"/>
                    </a:cubicBezTo>
                    <a:cubicBezTo>
                      <a:pt x="398" y="102"/>
                      <a:pt x="398" y="102"/>
                      <a:pt x="397" y="102"/>
                    </a:cubicBezTo>
                    <a:cubicBezTo>
                      <a:pt x="398" y="103"/>
                      <a:pt x="399" y="101"/>
                      <a:pt x="401" y="101"/>
                    </a:cubicBezTo>
                    <a:cubicBezTo>
                      <a:pt x="400" y="102"/>
                      <a:pt x="399" y="102"/>
                      <a:pt x="399" y="103"/>
                    </a:cubicBezTo>
                    <a:cubicBezTo>
                      <a:pt x="400" y="103"/>
                      <a:pt x="401" y="102"/>
                      <a:pt x="402" y="102"/>
                    </a:cubicBezTo>
                    <a:cubicBezTo>
                      <a:pt x="401" y="102"/>
                      <a:pt x="401" y="102"/>
                      <a:pt x="401" y="102"/>
                    </a:cubicBezTo>
                    <a:cubicBezTo>
                      <a:pt x="401" y="103"/>
                      <a:pt x="400" y="103"/>
                      <a:pt x="400" y="103"/>
                    </a:cubicBezTo>
                    <a:cubicBezTo>
                      <a:pt x="400" y="103"/>
                      <a:pt x="399" y="103"/>
                      <a:pt x="399" y="104"/>
                    </a:cubicBezTo>
                    <a:cubicBezTo>
                      <a:pt x="399" y="104"/>
                      <a:pt x="398" y="104"/>
                      <a:pt x="398" y="104"/>
                    </a:cubicBezTo>
                    <a:cubicBezTo>
                      <a:pt x="398" y="104"/>
                      <a:pt x="398" y="104"/>
                      <a:pt x="398" y="103"/>
                    </a:cubicBezTo>
                    <a:cubicBezTo>
                      <a:pt x="397" y="103"/>
                      <a:pt x="395" y="104"/>
                      <a:pt x="395" y="105"/>
                    </a:cubicBezTo>
                    <a:cubicBezTo>
                      <a:pt x="395" y="105"/>
                      <a:pt x="396" y="104"/>
                      <a:pt x="397" y="104"/>
                    </a:cubicBezTo>
                    <a:cubicBezTo>
                      <a:pt x="397" y="104"/>
                      <a:pt x="398" y="104"/>
                      <a:pt x="397" y="104"/>
                    </a:cubicBezTo>
                    <a:cubicBezTo>
                      <a:pt x="398" y="104"/>
                      <a:pt x="398" y="104"/>
                      <a:pt x="398" y="104"/>
                    </a:cubicBezTo>
                    <a:cubicBezTo>
                      <a:pt x="398" y="104"/>
                      <a:pt x="398" y="105"/>
                      <a:pt x="398" y="105"/>
                    </a:cubicBezTo>
                    <a:cubicBezTo>
                      <a:pt x="398" y="105"/>
                      <a:pt x="399" y="104"/>
                      <a:pt x="400" y="104"/>
                    </a:cubicBezTo>
                    <a:cubicBezTo>
                      <a:pt x="399" y="104"/>
                      <a:pt x="399" y="104"/>
                      <a:pt x="399" y="104"/>
                    </a:cubicBezTo>
                    <a:cubicBezTo>
                      <a:pt x="400" y="104"/>
                      <a:pt x="400" y="103"/>
                      <a:pt x="401" y="103"/>
                    </a:cubicBezTo>
                    <a:cubicBezTo>
                      <a:pt x="401" y="103"/>
                      <a:pt x="401" y="104"/>
                      <a:pt x="400" y="104"/>
                    </a:cubicBezTo>
                    <a:cubicBezTo>
                      <a:pt x="401" y="103"/>
                      <a:pt x="400" y="104"/>
                      <a:pt x="400" y="105"/>
                    </a:cubicBezTo>
                    <a:cubicBezTo>
                      <a:pt x="401" y="104"/>
                      <a:pt x="400" y="105"/>
                      <a:pt x="399" y="105"/>
                    </a:cubicBezTo>
                    <a:cubicBezTo>
                      <a:pt x="399" y="105"/>
                      <a:pt x="398" y="105"/>
                      <a:pt x="398" y="105"/>
                    </a:cubicBezTo>
                    <a:cubicBezTo>
                      <a:pt x="398" y="105"/>
                      <a:pt x="398" y="105"/>
                      <a:pt x="398" y="106"/>
                    </a:cubicBezTo>
                    <a:cubicBezTo>
                      <a:pt x="397" y="106"/>
                      <a:pt x="397" y="105"/>
                      <a:pt x="397" y="106"/>
                    </a:cubicBezTo>
                    <a:cubicBezTo>
                      <a:pt x="397" y="106"/>
                      <a:pt x="397" y="106"/>
                      <a:pt x="397" y="106"/>
                    </a:cubicBezTo>
                    <a:cubicBezTo>
                      <a:pt x="396" y="106"/>
                      <a:pt x="396" y="106"/>
                      <a:pt x="395" y="107"/>
                    </a:cubicBezTo>
                    <a:cubicBezTo>
                      <a:pt x="395" y="107"/>
                      <a:pt x="395" y="106"/>
                      <a:pt x="395" y="106"/>
                    </a:cubicBezTo>
                    <a:cubicBezTo>
                      <a:pt x="395" y="106"/>
                      <a:pt x="395" y="107"/>
                      <a:pt x="395" y="107"/>
                    </a:cubicBezTo>
                    <a:cubicBezTo>
                      <a:pt x="394" y="107"/>
                      <a:pt x="394" y="107"/>
                      <a:pt x="393" y="107"/>
                    </a:cubicBezTo>
                    <a:cubicBezTo>
                      <a:pt x="394" y="108"/>
                      <a:pt x="395" y="106"/>
                      <a:pt x="396" y="107"/>
                    </a:cubicBezTo>
                    <a:cubicBezTo>
                      <a:pt x="396" y="107"/>
                      <a:pt x="395" y="107"/>
                      <a:pt x="395" y="107"/>
                    </a:cubicBezTo>
                    <a:cubicBezTo>
                      <a:pt x="396" y="107"/>
                      <a:pt x="395" y="108"/>
                      <a:pt x="395" y="108"/>
                    </a:cubicBezTo>
                    <a:cubicBezTo>
                      <a:pt x="395" y="108"/>
                      <a:pt x="396" y="107"/>
                      <a:pt x="396" y="107"/>
                    </a:cubicBezTo>
                    <a:cubicBezTo>
                      <a:pt x="396" y="107"/>
                      <a:pt x="395" y="108"/>
                      <a:pt x="395" y="108"/>
                    </a:cubicBezTo>
                    <a:cubicBezTo>
                      <a:pt x="395" y="108"/>
                      <a:pt x="394" y="108"/>
                      <a:pt x="394" y="108"/>
                    </a:cubicBezTo>
                    <a:cubicBezTo>
                      <a:pt x="394" y="108"/>
                      <a:pt x="394" y="108"/>
                      <a:pt x="394" y="108"/>
                    </a:cubicBezTo>
                    <a:cubicBezTo>
                      <a:pt x="394" y="107"/>
                      <a:pt x="392" y="109"/>
                      <a:pt x="391" y="109"/>
                    </a:cubicBezTo>
                    <a:cubicBezTo>
                      <a:pt x="392" y="109"/>
                      <a:pt x="391" y="110"/>
                      <a:pt x="391" y="110"/>
                    </a:cubicBezTo>
                    <a:cubicBezTo>
                      <a:pt x="390" y="110"/>
                      <a:pt x="391" y="109"/>
                      <a:pt x="391" y="109"/>
                    </a:cubicBezTo>
                    <a:cubicBezTo>
                      <a:pt x="390" y="109"/>
                      <a:pt x="389" y="110"/>
                      <a:pt x="389" y="110"/>
                    </a:cubicBezTo>
                    <a:cubicBezTo>
                      <a:pt x="389" y="109"/>
                      <a:pt x="387" y="110"/>
                      <a:pt x="387" y="110"/>
                    </a:cubicBezTo>
                    <a:cubicBezTo>
                      <a:pt x="387" y="110"/>
                      <a:pt x="387" y="110"/>
                      <a:pt x="387" y="109"/>
                    </a:cubicBezTo>
                    <a:cubicBezTo>
                      <a:pt x="387" y="109"/>
                      <a:pt x="386" y="110"/>
                      <a:pt x="386" y="109"/>
                    </a:cubicBezTo>
                    <a:cubicBezTo>
                      <a:pt x="386" y="110"/>
                      <a:pt x="386" y="110"/>
                      <a:pt x="386" y="110"/>
                    </a:cubicBezTo>
                    <a:cubicBezTo>
                      <a:pt x="386" y="109"/>
                      <a:pt x="387" y="109"/>
                      <a:pt x="387" y="109"/>
                    </a:cubicBezTo>
                    <a:cubicBezTo>
                      <a:pt x="386" y="108"/>
                      <a:pt x="384" y="110"/>
                      <a:pt x="383" y="110"/>
                    </a:cubicBezTo>
                    <a:cubicBezTo>
                      <a:pt x="384" y="110"/>
                      <a:pt x="384" y="110"/>
                      <a:pt x="385" y="109"/>
                    </a:cubicBezTo>
                    <a:cubicBezTo>
                      <a:pt x="385" y="109"/>
                      <a:pt x="385" y="109"/>
                      <a:pt x="385" y="109"/>
                    </a:cubicBezTo>
                    <a:cubicBezTo>
                      <a:pt x="385" y="109"/>
                      <a:pt x="385" y="108"/>
                      <a:pt x="385" y="108"/>
                    </a:cubicBezTo>
                    <a:cubicBezTo>
                      <a:pt x="385" y="108"/>
                      <a:pt x="383" y="109"/>
                      <a:pt x="383" y="110"/>
                    </a:cubicBezTo>
                    <a:cubicBezTo>
                      <a:pt x="382" y="110"/>
                      <a:pt x="380" y="110"/>
                      <a:pt x="380" y="111"/>
                    </a:cubicBezTo>
                    <a:cubicBezTo>
                      <a:pt x="380" y="111"/>
                      <a:pt x="380" y="111"/>
                      <a:pt x="380" y="111"/>
                    </a:cubicBezTo>
                    <a:cubicBezTo>
                      <a:pt x="380" y="112"/>
                      <a:pt x="380" y="112"/>
                      <a:pt x="379" y="112"/>
                    </a:cubicBezTo>
                    <a:cubicBezTo>
                      <a:pt x="379" y="112"/>
                      <a:pt x="379" y="111"/>
                      <a:pt x="380" y="111"/>
                    </a:cubicBezTo>
                    <a:cubicBezTo>
                      <a:pt x="380" y="111"/>
                      <a:pt x="381" y="110"/>
                      <a:pt x="381" y="110"/>
                    </a:cubicBezTo>
                    <a:cubicBezTo>
                      <a:pt x="381" y="109"/>
                      <a:pt x="380" y="110"/>
                      <a:pt x="379" y="111"/>
                    </a:cubicBezTo>
                    <a:cubicBezTo>
                      <a:pt x="379" y="111"/>
                      <a:pt x="378" y="111"/>
                      <a:pt x="378" y="111"/>
                    </a:cubicBezTo>
                    <a:cubicBezTo>
                      <a:pt x="378" y="111"/>
                      <a:pt x="377" y="113"/>
                      <a:pt x="377" y="113"/>
                    </a:cubicBezTo>
                    <a:cubicBezTo>
                      <a:pt x="377" y="112"/>
                      <a:pt x="377" y="112"/>
                      <a:pt x="377" y="112"/>
                    </a:cubicBezTo>
                    <a:cubicBezTo>
                      <a:pt x="377" y="112"/>
                      <a:pt x="377" y="111"/>
                      <a:pt x="376" y="111"/>
                    </a:cubicBezTo>
                    <a:cubicBezTo>
                      <a:pt x="376" y="112"/>
                      <a:pt x="377" y="112"/>
                      <a:pt x="376" y="112"/>
                    </a:cubicBezTo>
                    <a:cubicBezTo>
                      <a:pt x="376" y="113"/>
                      <a:pt x="375" y="113"/>
                      <a:pt x="374" y="113"/>
                    </a:cubicBezTo>
                    <a:cubicBezTo>
                      <a:pt x="375" y="112"/>
                      <a:pt x="375" y="112"/>
                      <a:pt x="374" y="113"/>
                    </a:cubicBezTo>
                    <a:cubicBezTo>
                      <a:pt x="374" y="113"/>
                      <a:pt x="374" y="113"/>
                      <a:pt x="373" y="113"/>
                    </a:cubicBezTo>
                    <a:cubicBezTo>
                      <a:pt x="373" y="114"/>
                      <a:pt x="373" y="113"/>
                      <a:pt x="373" y="113"/>
                    </a:cubicBezTo>
                    <a:cubicBezTo>
                      <a:pt x="372" y="114"/>
                      <a:pt x="372" y="114"/>
                      <a:pt x="372" y="114"/>
                    </a:cubicBezTo>
                    <a:cubicBezTo>
                      <a:pt x="371" y="114"/>
                      <a:pt x="371" y="115"/>
                      <a:pt x="370" y="115"/>
                    </a:cubicBezTo>
                    <a:cubicBezTo>
                      <a:pt x="371" y="114"/>
                      <a:pt x="373" y="113"/>
                      <a:pt x="374" y="112"/>
                    </a:cubicBezTo>
                    <a:cubicBezTo>
                      <a:pt x="372" y="112"/>
                      <a:pt x="371" y="114"/>
                      <a:pt x="369" y="115"/>
                    </a:cubicBezTo>
                    <a:cubicBezTo>
                      <a:pt x="369" y="114"/>
                      <a:pt x="369" y="114"/>
                      <a:pt x="369" y="114"/>
                    </a:cubicBezTo>
                    <a:cubicBezTo>
                      <a:pt x="369" y="114"/>
                      <a:pt x="370" y="114"/>
                      <a:pt x="370" y="113"/>
                    </a:cubicBezTo>
                    <a:cubicBezTo>
                      <a:pt x="370" y="113"/>
                      <a:pt x="369" y="114"/>
                      <a:pt x="369" y="114"/>
                    </a:cubicBezTo>
                    <a:cubicBezTo>
                      <a:pt x="369" y="115"/>
                      <a:pt x="367" y="115"/>
                      <a:pt x="367" y="115"/>
                    </a:cubicBezTo>
                    <a:cubicBezTo>
                      <a:pt x="366" y="115"/>
                      <a:pt x="364" y="116"/>
                      <a:pt x="364" y="116"/>
                    </a:cubicBezTo>
                    <a:cubicBezTo>
                      <a:pt x="364" y="116"/>
                      <a:pt x="362" y="117"/>
                      <a:pt x="362" y="117"/>
                    </a:cubicBezTo>
                    <a:cubicBezTo>
                      <a:pt x="362" y="117"/>
                      <a:pt x="363" y="117"/>
                      <a:pt x="363" y="116"/>
                    </a:cubicBezTo>
                    <a:cubicBezTo>
                      <a:pt x="362" y="116"/>
                      <a:pt x="361" y="116"/>
                      <a:pt x="361" y="117"/>
                    </a:cubicBezTo>
                    <a:cubicBezTo>
                      <a:pt x="362" y="117"/>
                      <a:pt x="361" y="117"/>
                      <a:pt x="360" y="117"/>
                    </a:cubicBezTo>
                    <a:cubicBezTo>
                      <a:pt x="359" y="117"/>
                      <a:pt x="359" y="117"/>
                      <a:pt x="358" y="117"/>
                    </a:cubicBezTo>
                    <a:cubicBezTo>
                      <a:pt x="359" y="117"/>
                      <a:pt x="357" y="117"/>
                      <a:pt x="357" y="117"/>
                    </a:cubicBezTo>
                    <a:cubicBezTo>
                      <a:pt x="357" y="118"/>
                      <a:pt x="357" y="118"/>
                      <a:pt x="357" y="118"/>
                    </a:cubicBezTo>
                    <a:cubicBezTo>
                      <a:pt x="356" y="118"/>
                      <a:pt x="356" y="118"/>
                      <a:pt x="356" y="118"/>
                    </a:cubicBezTo>
                    <a:cubicBezTo>
                      <a:pt x="356" y="117"/>
                      <a:pt x="356" y="117"/>
                      <a:pt x="356" y="117"/>
                    </a:cubicBezTo>
                    <a:cubicBezTo>
                      <a:pt x="356" y="117"/>
                      <a:pt x="355" y="117"/>
                      <a:pt x="355" y="117"/>
                    </a:cubicBezTo>
                    <a:cubicBezTo>
                      <a:pt x="355" y="117"/>
                      <a:pt x="355" y="117"/>
                      <a:pt x="356" y="117"/>
                    </a:cubicBezTo>
                    <a:cubicBezTo>
                      <a:pt x="354" y="117"/>
                      <a:pt x="357" y="116"/>
                      <a:pt x="357" y="116"/>
                    </a:cubicBezTo>
                    <a:cubicBezTo>
                      <a:pt x="357" y="116"/>
                      <a:pt x="357" y="116"/>
                      <a:pt x="357" y="115"/>
                    </a:cubicBezTo>
                    <a:cubicBezTo>
                      <a:pt x="357" y="115"/>
                      <a:pt x="357" y="115"/>
                      <a:pt x="358" y="115"/>
                    </a:cubicBezTo>
                    <a:cubicBezTo>
                      <a:pt x="358" y="115"/>
                      <a:pt x="359" y="115"/>
                      <a:pt x="360" y="114"/>
                    </a:cubicBezTo>
                    <a:cubicBezTo>
                      <a:pt x="361" y="114"/>
                      <a:pt x="362" y="115"/>
                      <a:pt x="362" y="114"/>
                    </a:cubicBezTo>
                    <a:cubicBezTo>
                      <a:pt x="362" y="113"/>
                      <a:pt x="365" y="114"/>
                      <a:pt x="365" y="113"/>
                    </a:cubicBezTo>
                    <a:cubicBezTo>
                      <a:pt x="366" y="112"/>
                      <a:pt x="368" y="112"/>
                      <a:pt x="369" y="111"/>
                    </a:cubicBezTo>
                    <a:cubicBezTo>
                      <a:pt x="368" y="111"/>
                      <a:pt x="367" y="112"/>
                      <a:pt x="366" y="112"/>
                    </a:cubicBezTo>
                    <a:cubicBezTo>
                      <a:pt x="365" y="112"/>
                      <a:pt x="363" y="112"/>
                      <a:pt x="363" y="113"/>
                    </a:cubicBezTo>
                    <a:cubicBezTo>
                      <a:pt x="363" y="113"/>
                      <a:pt x="362" y="113"/>
                      <a:pt x="361" y="112"/>
                    </a:cubicBezTo>
                    <a:cubicBezTo>
                      <a:pt x="361" y="111"/>
                      <a:pt x="363" y="111"/>
                      <a:pt x="364" y="110"/>
                    </a:cubicBezTo>
                    <a:cubicBezTo>
                      <a:pt x="366" y="109"/>
                      <a:pt x="367" y="108"/>
                      <a:pt x="369" y="108"/>
                    </a:cubicBezTo>
                    <a:cubicBezTo>
                      <a:pt x="370" y="107"/>
                      <a:pt x="370" y="107"/>
                      <a:pt x="371" y="107"/>
                    </a:cubicBezTo>
                    <a:cubicBezTo>
                      <a:pt x="372" y="106"/>
                      <a:pt x="372" y="106"/>
                      <a:pt x="373" y="105"/>
                    </a:cubicBezTo>
                    <a:cubicBezTo>
                      <a:pt x="375" y="105"/>
                      <a:pt x="375" y="103"/>
                      <a:pt x="376" y="102"/>
                    </a:cubicBezTo>
                    <a:cubicBezTo>
                      <a:pt x="377" y="101"/>
                      <a:pt x="379" y="101"/>
                      <a:pt x="380" y="101"/>
                    </a:cubicBezTo>
                    <a:cubicBezTo>
                      <a:pt x="381" y="101"/>
                      <a:pt x="383" y="100"/>
                      <a:pt x="384" y="100"/>
                    </a:cubicBezTo>
                    <a:cubicBezTo>
                      <a:pt x="385" y="99"/>
                      <a:pt x="388" y="98"/>
                      <a:pt x="389" y="99"/>
                    </a:cubicBezTo>
                    <a:cubicBezTo>
                      <a:pt x="388" y="100"/>
                      <a:pt x="389" y="100"/>
                      <a:pt x="390" y="100"/>
                    </a:cubicBezTo>
                    <a:cubicBezTo>
                      <a:pt x="390" y="100"/>
                      <a:pt x="391" y="100"/>
                      <a:pt x="392" y="100"/>
                    </a:cubicBezTo>
                    <a:cubicBezTo>
                      <a:pt x="392" y="99"/>
                      <a:pt x="392" y="99"/>
                      <a:pt x="393" y="100"/>
                    </a:cubicBezTo>
                    <a:cubicBezTo>
                      <a:pt x="393" y="100"/>
                      <a:pt x="393" y="100"/>
                      <a:pt x="393" y="100"/>
                    </a:cubicBezTo>
                    <a:cubicBezTo>
                      <a:pt x="394" y="100"/>
                      <a:pt x="395" y="101"/>
                      <a:pt x="397" y="101"/>
                    </a:cubicBezTo>
                    <a:cubicBezTo>
                      <a:pt x="397" y="101"/>
                      <a:pt x="397" y="100"/>
                      <a:pt x="396" y="100"/>
                    </a:cubicBezTo>
                    <a:cubicBezTo>
                      <a:pt x="396" y="100"/>
                      <a:pt x="395" y="100"/>
                      <a:pt x="395" y="100"/>
                    </a:cubicBezTo>
                    <a:cubicBezTo>
                      <a:pt x="395" y="100"/>
                      <a:pt x="395" y="99"/>
                      <a:pt x="394" y="99"/>
                    </a:cubicBezTo>
                    <a:cubicBezTo>
                      <a:pt x="393" y="99"/>
                      <a:pt x="393" y="98"/>
                      <a:pt x="392" y="98"/>
                    </a:cubicBezTo>
                    <a:cubicBezTo>
                      <a:pt x="392" y="97"/>
                      <a:pt x="394" y="97"/>
                      <a:pt x="394" y="97"/>
                    </a:cubicBezTo>
                    <a:cubicBezTo>
                      <a:pt x="396" y="96"/>
                      <a:pt x="397" y="96"/>
                      <a:pt x="398" y="95"/>
                    </a:cubicBezTo>
                    <a:cubicBezTo>
                      <a:pt x="399" y="95"/>
                      <a:pt x="400" y="95"/>
                      <a:pt x="401" y="95"/>
                    </a:cubicBezTo>
                    <a:cubicBezTo>
                      <a:pt x="401" y="95"/>
                      <a:pt x="402" y="95"/>
                      <a:pt x="402" y="94"/>
                    </a:cubicBezTo>
                    <a:cubicBezTo>
                      <a:pt x="400" y="94"/>
                      <a:pt x="398" y="95"/>
                      <a:pt x="396" y="95"/>
                    </a:cubicBezTo>
                    <a:cubicBezTo>
                      <a:pt x="395" y="96"/>
                      <a:pt x="395" y="97"/>
                      <a:pt x="394" y="97"/>
                    </a:cubicBezTo>
                    <a:cubicBezTo>
                      <a:pt x="393" y="97"/>
                      <a:pt x="392" y="97"/>
                      <a:pt x="392" y="96"/>
                    </a:cubicBezTo>
                    <a:cubicBezTo>
                      <a:pt x="391" y="97"/>
                      <a:pt x="391" y="97"/>
                      <a:pt x="390" y="97"/>
                    </a:cubicBezTo>
                    <a:cubicBezTo>
                      <a:pt x="390" y="96"/>
                      <a:pt x="391" y="96"/>
                      <a:pt x="391" y="96"/>
                    </a:cubicBezTo>
                    <a:cubicBezTo>
                      <a:pt x="391" y="96"/>
                      <a:pt x="390" y="96"/>
                      <a:pt x="390" y="96"/>
                    </a:cubicBezTo>
                    <a:cubicBezTo>
                      <a:pt x="390" y="96"/>
                      <a:pt x="390" y="96"/>
                      <a:pt x="389" y="96"/>
                    </a:cubicBezTo>
                    <a:cubicBezTo>
                      <a:pt x="388" y="97"/>
                      <a:pt x="386" y="97"/>
                      <a:pt x="385" y="97"/>
                    </a:cubicBezTo>
                    <a:cubicBezTo>
                      <a:pt x="384" y="98"/>
                      <a:pt x="384" y="98"/>
                      <a:pt x="383" y="98"/>
                    </a:cubicBezTo>
                    <a:cubicBezTo>
                      <a:pt x="382" y="99"/>
                      <a:pt x="382" y="99"/>
                      <a:pt x="381" y="99"/>
                    </a:cubicBezTo>
                    <a:cubicBezTo>
                      <a:pt x="379" y="99"/>
                      <a:pt x="378" y="100"/>
                      <a:pt x="376" y="100"/>
                    </a:cubicBezTo>
                    <a:cubicBezTo>
                      <a:pt x="376" y="100"/>
                      <a:pt x="375" y="100"/>
                      <a:pt x="375" y="101"/>
                    </a:cubicBezTo>
                    <a:cubicBezTo>
                      <a:pt x="375" y="101"/>
                      <a:pt x="375" y="102"/>
                      <a:pt x="374" y="102"/>
                    </a:cubicBezTo>
                    <a:cubicBezTo>
                      <a:pt x="374" y="102"/>
                      <a:pt x="374" y="102"/>
                      <a:pt x="373" y="102"/>
                    </a:cubicBezTo>
                    <a:cubicBezTo>
                      <a:pt x="373" y="102"/>
                      <a:pt x="372" y="102"/>
                      <a:pt x="371" y="102"/>
                    </a:cubicBezTo>
                    <a:cubicBezTo>
                      <a:pt x="370" y="103"/>
                      <a:pt x="369" y="103"/>
                      <a:pt x="368" y="104"/>
                    </a:cubicBezTo>
                    <a:cubicBezTo>
                      <a:pt x="367" y="104"/>
                      <a:pt x="365" y="105"/>
                      <a:pt x="366" y="105"/>
                    </a:cubicBezTo>
                    <a:cubicBezTo>
                      <a:pt x="366" y="106"/>
                      <a:pt x="365" y="105"/>
                      <a:pt x="365" y="106"/>
                    </a:cubicBezTo>
                    <a:cubicBezTo>
                      <a:pt x="364" y="106"/>
                      <a:pt x="364" y="106"/>
                      <a:pt x="363" y="106"/>
                    </a:cubicBezTo>
                    <a:cubicBezTo>
                      <a:pt x="363" y="107"/>
                      <a:pt x="362" y="107"/>
                      <a:pt x="361" y="107"/>
                    </a:cubicBezTo>
                    <a:cubicBezTo>
                      <a:pt x="361" y="107"/>
                      <a:pt x="360" y="107"/>
                      <a:pt x="360" y="107"/>
                    </a:cubicBezTo>
                    <a:cubicBezTo>
                      <a:pt x="360" y="107"/>
                      <a:pt x="360" y="107"/>
                      <a:pt x="360" y="107"/>
                    </a:cubicBezTo>
                    <a:cubicBezTo>
                      <a:pt x="360" y="106"/>
                      <a:pt x="360" y="106"/>
                      <a:pt x="360" y="107"/>
                    </a:cubicBezTo>
                    <a:cubicBezTo>
                      <a:pt x="361" y="106"/>
                      <a:pt x="359" y="106"/>
                      <a:pt x="358" y="106"/>
                    </a:cubicBezTo>
                    <a:cubicBezTo>
                      <a:pt x="358" y="106"/>
                      <a:pt x="360" y="106"/>
                      <a:pt x="360" y="106"/>
                    </a:cubicBezTo>
                    <a:cubicBezTo>
                      <a:pt x="360" y="107"/>
                      <a:pt x="359" y="107"/>
                      <a:pt x="359" y="107"/>
                    </a:cubicBezTo>
                    <a:cubicBezTo>
                      <a:pt x="359" y="107"/>
                      <a:pt x="360" y="107"/>
                      <a:pt x="360" y="108"/>
                    </a:cubicBezTo>
                    <a:cubicBezTo>
                      <a:pt x="360" y="108"/>
                      <a:pt x="360" y="108"/>
                      <a:pt x="359" y="109"/>
                    </a:cubicBezTo>
                    <a:cubicBezTo>
                      <a:pt x="359" y="109"/>
                      <a:pt x="358" y="110"/>
                      <a:pt x="357" y="110"/>
                    </a:cubicBezTo>
                    <a:cubicBezTo>
                      <a:pt x="355" y="111"/>
                      <a:pt x="353" y="110"/>
                      <a:pt x="351" y="111"/>
                    </a:cubicBezTo>
                    <a:cubicBezTo>
                      <a:pt x="352" y="111"/>
                      <a:pt x="353" y="111"/>
                      <a:pt x="354" y="111"/>
                    </a:cubicBezTo>
                    <a:cubicBezTo>
                      <a:pt x="353" y="112"/>
                      <a:pt x="351" y="113"/>
                      <a:pt x="350" y="113"/>
                    </a:cubicBezTo>
                    <a:cubicBezTo>
                      <a:pt x="350" y="113"/>
                      <a:pt x="350" y="113"/>
                      <a:pt x="350" y="112"/>
                    </a:cubicBezTo>
                    <a:cubicBezTo>
                      <a:pt x="349" y="113"/>
                      <a:pt x="349" y="113"/>
                      <a:pt x="348" y="113"/>
                    </a:cubicBezTo>
                    <a:cubicBezTo>
                      <a:pt x="349" y="113"/>
                      <a:pt x="349" y="112"/>
                      <a:pt x="350" y="112"/>
                    </a:cubicBezTo>
                    <a:cubicBezTo>
                      <a:pt x="350" y="112"/>
                      <a:pt x="350" y="112"/>
                      <a:pt x="350" y="111"/>
                    </a:cubicBezTo>
                    <a:cubicBezTo>
                      <a:pt x="349" y="112"/>
                      <a:pt x="348" y="113"/>
                      <a:pt x="347" y="113"/>
                    </a:cubicBezTo>
                    <a:cubicBezTo>
                      <a:pt x="347" y="113"/>
                      <a:pt x="347" y="113"/>
                      <a:pt x="347" y="112"/>
                    </a:cubicBezTo>
                    <a:cubicBezTo>
                      <a:pt x="347" y="112"/>
                      <a:pt x="346" y="113"/>
                      <a:pt x="346" y="113"/>
                    </a:cubicBezTo>
                    <a:cubicBezTo>
                      <a:pt x="347" y="113"/>
                      <a:pt x="347" y="113"/>
                      <a:pt x="346" y="114"/>
                    </a:cubicBezTo>
                    <a:cubicBezTo>
                      <a:pt x="345" y="114"/>
                      <a:pt x="344" y="113"/>
                      <a:pt x="344" y="114"/>
                    </a:cubicBezTo>
                    <a:cubicBezTo>
                      <a:pt x="344" y="114"/>
                      <a:pt x="344" y="114"/>
                      <a:pt x="344" y="114"/>
                    </a:cubicBezTo>
                    <a:cubicBezTo>
                      <a:pt x="343" y="115"/>
                      <a:pt x="343" y="115"/>
                      <a:pt x="342" y="115"/>
                    </a:cubicBezTo>
                    <a:cubicBezTo>
                      <a:pt x="342" y="115"/>
                      <a:pt x="340" y="116"/>
                      <a:pt x="339" y="116"/>
                    </a:cubicBezTo>
                    <a:cubicBezTo>
                      <a:pt x="340" y="116"/>
                      <a:pt x="340" y="116"/>
                      <a:pt x="341" y="116"/>
                    </a:cubicBezTo>
                    <a:cubicBezTo>
                      <a:pt x="340" y="116"/>
                      <a:pt x="339" y="116"/>
                      <a:pt x="338" y="116"/>
                    </a:cubicBezTo>
                    <a:cubicBezTo>
                      <a:pt x="338" y="117"/>
                      <a:pt x="338" y="117"/>
                      <a:pt x="337" y="117"/>
                    </a:cubicBezTo>
                    <a:cubicBezTo>
                      <a:pt x="337" y="117"/>
                      <a:pt x="336" y="117"/>
                      <a:pt x="336" y="118"/>
                    </a:cubicBezTo>
                    <a:cubicBezTo>
                      <a:pt x="336" y="118"/>
                      <a:pt x="336" y="118"/>
                      <a:pt x="336" y="118"/>
                    </a:cubicBezTo>
                    <a:cubicBezTo>
                      <a:pt x="336" y="118"/>
                      <a:pt x="335" y="119"/>
                      <a:pt x="335" y="119"/>
                    </a:cubicBezTo>
                    <a:cubicBezTo>
                      <a:pt x="335" y="119"/>
                      <a:pt x="336" y="119"/>
                      <a:pt x="336" y="119"/>
                    </a:cubicBezTo>
                    <a:cubicBezTo>
                      <a:pt x="336" y="119"/>
                      <a:pt x="337" y="118"/>
                      <a:pt x="338" y="119"/>
                    </a:cubicBezTo>
                    <a:cubicBezTo>
                      <a:pt x="338" y="119"/>
                      <a:pt x="339" y="118"/>
                      <a:pt x="339" y="119"/>
                    </a:cubicBezTo>
                    <a:cubicBezTo>
                      <a:pt x="339" y="120"/>
                      <a:pt x="340" y="119"/>
                      <a:pt x="340" y="119"/>
                    </a:cubicBezTo>
                    <a:cubicBezTo>
                      <a:pt x="340" y="119"/>
                      <a:pt x="340" y="120"/>
                      <a:pt x="340" y="120"/>
                    </a:cubicBezTo>
                    <a:cubicBezTo>
                      <a:pt x="340" y="120"/>
                      <a:pt x="340" y="121"/>
                      <a:pt x="340" y="121"/>
                    </a:cubicBezTo>
                    <a:cubicBezTo>
                      <a:pt x="340" y="121"/>
                      <a:pt x="340" y="121"/>
                      <a:pt x="340" y="121"/>
                    </a:cubicBezTo>
                    <a:cubicBezTo>
                      <a:pt x="340" y="121"/>
                      <a:pt x="340" y="121"/>
                      <a:pt x="339" y="121"/>
                    </a:cubicBezTo>
                    <a:cubicBezTo>
                      <a:pt x="339" y="121"/>
                      <a:pt x="339" y="121"/>
                      <a:pt x="338" y="122"/>
                    </a:cubicBezTo>
                    <a:cubicBezTo>
                      <a:pt x="337" y="122"/>
                      <a:pt x="336" y="122"/>
                      <a:pt x="336" y="123"/>
                    </a:cubicBezTo>
                    <a:cubicBezTo>
                      <a:pt x="335" y="123"/>
                      <a:pt x="334" y="123"/>
                      <a:pt x="333" y="123"/>
                    </a:cubicBezTo>
                    <a:cubicBezTo>
                      <a:pt x="332" y="123"/>
                      <a:pt x="332" y="124"/>
                      <a:pt x="331" y="124"/>
                    </a:cubicBezTo>
                    <a:cubicBezTo>
                      <a:pt x="331" y="124"/>
                      <a:pt x="330" y="125"/>
                      <a:pt x="330" y="125"/>
                    </a:cubicBezTo>
                    <a:cubicBezTo>
                      <a:pt x="329" y="125"/>
                      <a:pt x="329" y="125"/>
                      <a:pt x="329" y="125"/>
                    </a:cubicBezTo>
                    <a:cubicBezTo>
                      <a:pt x="329" y="125"/>
                      <a:pt x="329" y="125"/>
                      <a:pt x="329" y="125"/>
                    </a:cubicBezTo>
                    <a:cubicBezTo>
                      <a:pt x="329" y="126"/>
                      <a:pt x="327" y="126"/>
                      <a:pt x="327" y="126"/>
                    </a:cubicBezTo>
                    <a:cubicBezTo>
                      <a:pt x="326" y="126"/>
                      <a:pt x="325" y="126"/>
                      <a:pt x="324" y="127"/>
                    </a:cubicBezTo>
                    <a:cubicBezTo>
                      <a:pt x="325" y="127"/>
                      <a:pt x="326" y="126"/>
                      <a:pt x="327" y="126"/>
                    </a:cubicBezTo>
                    <a:cubicBezTo>
                      <a:pt x="327" y="127"/>
                      <a:pt x="326" y="127"/>
                      <a:pt x="325" y="127"/>
                    </a:cubicBezTo>
                    <a:cubicBezTo>
                      <a:pt x="326" y="127"/>
                      <a:pt x="326" y="127"/>
                      <a:pt x="326" y="127"/>
                    </a:cubicBezTo>
                    <a:cubicBezTo>
                      <a:pt x="326" y="127"/>
                      <a:pt x="324" y="128"/>
                      <a:pt x="324" y="128"/>
                    </a:cubicBezTo>
                    <a:cubicBezTo>
                      <a:pt x="324" y="128"/>
                      <a:pt x="324" y="128"/>
                      <a:pt x="324" y="128"/>
                    </a:cubicBezTo>
                    <a:cubicBezTo>
                      <a:pt x="323" y="128"/>
                      <a:pt x="323" y="129"/>
                      <a:pt x="323" y="129"/>
                    </a:cubicBezTo>
                    <a:cubicBezTo>
                      <a:pt x="322" y="129"/>
                      <a:pt x="323" y="128"/>
                      <a:pt x="323" y="128"/>
                    </a:cubicBezTo>
                    <a:cubicBezTo>
                      <a:pt x="323" y="128"/>
                      <a:pt x="322" y="128"/>
                      <a:pt x="322" y="128"/>
                    </a:cubicBezTo>
                    <a:cubicBezTo>
                      <a:pt x="322" y="129"/>
                      <a:pt x="322" y="129"/>
                      <a:pt x="321" y="128"/>
                    </a:cubicBezTo>
                    <a:cubicBezTo>
                      <a:pt x="321" y="128"/>
                      <a:pt x="321" y="129"/>
                      <a:pt x="321" y="129"/>
                    </a:cubicBezTo>
                    <a:cubicBezTo>
                      <a:pt x="321" y="129"/>
                      <a:pt x="320" y="129"/>
                      <a:pt x="320" y="129"/>
                    </a:cubicBezTo>
                    <a:cubicBezTo>
                      <a:pt x="320" y="129"/>
                      <a:pt x="320" y="129"/>
                      <a:pt x="320" y="129"/>
                    </a:cubicBezTo>
                    <a:cubicBezTo>
                      <a:pt x="319" y="129"/>
                      <a:pt x="319" y="129"/>
                      <a:pt x="318" y="129"/>
                    </a:cubicBezTo>
                    <a:cubicBezTo>
                      <a:pt x="318" y="129"/>
                      <a:pt x="317" y="129"/>
                      <a:pt x="317" y="129"/>
                    </a:cubicBezTo>
                    <a:cubicBezTo>
                      <a:pt x="316" y="129"/>
                      <a:pt x="316" y="130"/>
                      <a:pt x="315" y="130"/>
                    </a:cubicBezTo>
                    <a:cubicBezTo>
                      <a:pt x="315" y="130"/>
                      <a:pt x="315" y="130"/>
                      <a:pt x="314" y="131"/>
                    </a:cubicBezTo>
                    <a:cubicBezTo>
                      <a:pt x="314" y="131"/>
                      <a:pt x="313" y="131"/>
                      <a:pt x="313" y="131"/>
                    </a:cubicBezTo>
                    <a:cubicBezTo>
                      <a:pt x="313" y="131"/>
                      <a:pt x="313" y="131"/>
                      <a:pt x="312" y="131"/>
                    </a:cubicBezTo>
                    <a:cubicBezTo>
                      <a:pt x="312" y="131"/>
                      <a:pt x="312" y="131"/>
                      <a:pt x="312" y="131"/>
                    </a:cubicBezTo>
                    <a:cubicBezTo>
                      <a:pt x="312" y="132"/>
                      <a:pt x="311" y="131"/>
                      <a:pt x="311" y="132"/>
                    </a:cubicBezTo>
                    <a:cubicBezTo>
                      <a:pt x="311" y="132"/>
                      <a:pt x="310" y="132"/>
                      <a:pt x="310" y="132"/>
                    </a:cubicBezTo>
                    <a:cubicBezTo>
                      <a:pt x="310" y="132"/>
                      <a:pt x="309" y="132"/>
                      <a:pt x="309" y="132"/>
                    </a:cubicBezTo>
                    <a:cubicBezTo>
                      <a:pt x="309" y="132"/>
                      <a:pt x="308" y="132"/>
                      <a:pt x="308" y="133"/>
                    </a:cubicBezTo>
                    <a:cubicBezTo>
                      <a:pt x="308" y="133"/>
                      <a:pt x="307" y="133"/>
                      <a:pt x="306" y="133"/>
                    </a:cubicBezTo>
                    <a:cubicBezTo>
                      <a:pt x="306" y="133"/>
                      <a:pt x="306" y="134"/>
                      <a:pt x="305" y="134"/>
                    </a:cubicBezTo>
                    <a:cubicBezTo>
                      <a:pt x="305" y="134"/>
                      <a:pt x="305" y="134"/>
                      <a:pt x="305" y="134"/>
                    </a:cubicBezTo>
                    <a:cubicBezTo>
                      <a:pt x="305" y="134"/>
                      <a:pt x="304" y="134"/>
                      <a:pt x="304" y="134"/>
                    </a:cubicBezTo>
                    <a:cubicBezTo>
                      <a:pt x="304" y="134"/>
                      <a:pt x="304" y="134"/>
                      <a:pt x="303" y="134"/>
                    </a:cubicBezTo>
                    <a:cubicBezTo>
                      <a:pt x="303" y="134"/>
                      <a:pt x="303" y="134"/>
                      <a:pt x="303" y="134"/>
                    </a:cubicBezTo>
                    <a:cubicBezTo>
                      <a:pt x="303" y="134"/>
                      <a:pt x="302" y="134"/>
                      <a:pt x="302" y="134"/>
                    </a:cubicBezTo>
                    <a:cubicBezTo>
                      <a:pt x="302" y="134"/>
                      <a:pt x="302" y="134"/>
                      <a:pt x="302" y="134"/>
                    </a:cubicBezTo>
                    <a:cubicBezTo>
                      <a:pt x="302" y="135"/>
                      <a:pt x="301" y="136"/>
                      <a:pt x="301" y="135"/>
                    </a:cubicBezTo>
                    <a:cubicBezTo>
                      <a:pt x="301" y="134"/>
                      <a:pt x="300" y="135"/>
                      <a:pt x="300" y="135"/>
                    </a:cubicBezTo>
                    <a:cubicBezTo>
                      <a:pt x="298" y="136"/>
                      <a:pt x="297" y="136"/>
                      <a:pt x="296" y="137"/>
                    </a:cubicBezTo>
                    <a:cubicBezTo>
                      <a:pt x="296" y="137"/>
                      <a:pt x="297" y="136"/>
                      <a:pt x="298" y="137"/>
                    </a:cubicBezTo>
                    <a:cubicBezTo>
                      <a:pt x="297" y="137"/>
                      <a:pt x="296" y="137"/>
                      <a:pt x="296" y="137"/>
                    </a:cubicBezTo>
                    <a:cubicBezTo>
                      <a:pt x="297" y="138"/>
                      <a:pt x="295" y="138"/>
                      <a:pt x="294" y="139"/>
                    </a:cubicBezTo>
                    <a:cubicBezTo>
                      <a:pt x="294" y="139"/>
                      <a:pt x="293" y="139"/>
                      <a:pt x="293" y="139"/>
                    </a:cubicBezTo>
                    <a:cubicBezTo>
                      <a:pt x="293" y="139"/>
                      <a:pt x="293" y="139"/>
                      <a:pt x="292" y="139"/>
                    </a:cubicBezTo>
                    <a:cubicBezTo>
                      <a:pt x="292" y="139"/>
                      <a:pt x="292" y="140"/>
                      <a:pt x="292" y="140"/>
                    </a:cubicBezTo>
                    <a:cubicBezTo>
                      <a:pt x="291" y="140"/>
                      <a:pt x="292" y="139"/>
                      <a:pt x="291" y="139"/>
                    </a:cubicBezTo>
                    <a:cubicBezTo>
                      <a:pt x="291" y="139"/>
                      <a:pt x="289" y="141"/>
                      <a:pt x="289" y="141"/>
                    </a:cubicBezTo>
                    <a:cubicBezTo>
                      <a:pt x="289" y="139"/>
                      <a:pt x="288" y="141"/>
                      <a:pt x="288" y="141"/>
                    </a:cubicBezTo>
                    <a:cubicBezTo>
                      <a:pt x="287" y="141"/>
                      <a:pt x="287" y="141"/>
                      <a:pt x="286" y="141"/>
                    </a:cubicBezTo>
                    <a:cubicBezTo>
                      <a:pt x="286" y="141"/>
                      <a:pt x="286" y="141"/>
                      <a:pt x="286" y="141"/>
                    </a:cubicBezTo>
                    <a:cubicBezTo>
                      <a:pt x="285" y="142"/>
                      <a:pt x="285" y="142"/>
                      <a:pt x="284" y="142"/>
                    </a:cubicBezTo>
                    <a:cubicBezTo>
                      <a:pt x="284" y="142"/>
                      <a:pt x="285" y="141"/>
                      <a:pt x="284" y="141"/>
                    </a:cubicBezTo>
                    <a:cubicBezTo>
                      <a:pt x="283" y="141"/>
                      <a:pt x="283" y="141"/>
                      <a:pt x="283" y="142"/>
                    </a:cubicBezTo>
                    <a:cubicBezTo>
                      <a:pt x="283" y="142"/>
                      <a:pt x="282" y="142"/>
                      <a:pt x="282" y="142"/>
                    </a:cubicBezTo>
                    <a:cubicBezTo>
                      <a:pt x="282" y="142"/>
                      <a:pt x="281" y="142"/>
                      <a:pt x="281" y="143"/>
                    </a:cubicBezTo>
                    <a:cubicBezTo>
                      <a:pt x="280" y="143"/>
                      <a:pt x="281" y="143"/>
                      <a:pt x="281" y="143"/>
                    </a:cubicBezTo>
                    <a:cubicBezTo>
                      <a:pt x="281" y="144"/>
                      <a:pt x="279" y="144"/>
                      <a:pt x="279" y="144"/>
                    </a:cubicBezTo>
                    <a:cubicBezTo>
                      <a:pt x="279" y="144"/>
                      <a:pt x="279" y="143"/>
                      <a:pt x="279" y="143"/>
                    </a:cubicBezTo>
                    <a:cubicBezTo>
                      <a:pt x="279" y="143"/>
                      <a:pt x="278" y="143"/>
                      <a:pt x="278" y="143"/>
                    </a:cubicBezTo>
                    <a:cubicBezTo>
                      <a:pt x="277" y="144"/>
                      <a:pt x="275" y="144"/>
                      <a:pt x="274" y="145"/>
                    </a:cubicBezTo>
                    <a:cubicBezTo>
                      <a:pt x="275" y="145"/>
                      <a:pt x="276" y="144"/>
                      <a:pt x="277" y="144"/>
                    </a:cubicBezTo>
                    <a:cubicBezTo>
                      <a:pt x="277" y="145"/>
                      <a:pt x="276" y="145"/>
                      <a:pt x="275" y="145"/>
                    </a:cubicBezTo>
                    <a:cubicBezTo>
                      <a:pt x="275" y="145"/>
                      <a:pt x="275" y="145"/>
                      <a:pt x="274" y="145"/>
                    </a:cubicBezTo>
                    <a:cubicBezTo>
                      <a:pt x="274" y="145"/>
                      <a:pt x="273" y="145"/>
                      <a:pt x="274" y="145"/>
                    </a:cubicBezTo>
                    <a:cubicBezTo>
                      <a:pt x="273" y="146"/>
                      <a:pt x="272" y="145"/>
                      <a:pt x="271" y="145"/>
                    </a:cubicBezTo>
                    <a:cubicBezTo>
                      <a:pt x="270" y="146"/>
                      <a:pt x="269" y="146"/>
                      <a:pt x="269" y="147"/>
                    </a:cubicBezTo>
                    <a:cubicBezTo>
                      <a:pt x="268" y="147"/>
                      <a:pt x="267" y="147"/>
                      <a:pt x="267" y="147"/>
                    </a:cubicBezTo>
                    <a:cubicBezTo>
                      <a:pt x="267" y="148"/>
                      <a:pt x="269" y="146"/>
                      <a:pt x="269" y="146"/>
                    </a:cubicBezTo>
                    <a:cubicBezTo>
                      <a:pt x="269" y="147"/>
                      <a:pt x="270" y="146"/>
                      <a:pt x="269" y="147"/>
                    </a:cubicBezTo>
                    <a:cubicBezTo>
                      <a:pt x="270" y="147"/>
                      <a:pt x="270" y="147"/>
                      <a:pt x="271" y="147"/>
                    </a:cubicBezTo>
                    <a:cubicBezTo>
                      <a:pt x="270" y="148"/>
                      <a:pt x="269" y="147"/>
                      <a:pt x="268" y="148"/>
                    </a:cubicBezTo>
                    <a:cubicBezTo>
                      <a:pt x="268" y="148"/>
                      <a:pt x="269" y="148"/>
                      <a:pt x="269" y="148"/>
                    </a:cubicBezTo>
                    <a:cubicBezTo>
                      <a:pt x="269" y="148"/>
                      <a:pt x="269" y="148"/>
                      <a:pt x="269" y="148"/>
                    </a:cubicBezTo>
                    <a:cubicBezTo>
                      <a:pt x="269" y="148"/>
                      <a:pt x="270" y="148"/>
                      <a:pt x="271" y="148"/>
                    </a:cubicBezTo>
                    <a:cubicBezTo>
                      <a:pt x="270" y="148"/>
                      <a:pt x="269" y="148"/>
                      <a:pt x="269" y="148"/>
                    </a:cubicBezTo>
                    <a:cubicBezTo>
                      <a:pt x="268" y="148"/>
                      <a:pt x="267" y="149"/>
                      <a:pt x="268" y="148"/>
                    </a:cubicBezTo>
                    <a:cubicBezTo>
                      <a:pt x="267" y="148"/>
                      <a:pt x="267" y="149"/>
                      <a:pt x="267" y="149"/>
                    </a:cubicBezTo>
                    <a:cubicBezTo>
                      <a:pt x="267" y="149"/>
                      <a:pt x="267" y="149"/>
                      <a:pt x="267" y="149"/>
                    </a:cubicBezTo>
                    <a:cubicBezTo>
                      <a:pt x="266" y="149"/>
                      <a:pt x="265" y="150"/>
                      <a:pt x="266" y="150"/>
                    </a:cubicBezTo>
                    <a:cubicBezTo>
                      <a:pt x="266" y="150"/>
                      <a:pt x="266" y="150"/>
                      <a:pt x="266" y="150"/>
                    </a:cubicBezTo>
                    <a:cubicBezTo>
                      <a:pt x="266" y="150"/>
                      <a:pt x="266" y="150"/>
                      <a:pt x="266" y="150"/>
                    </a:cubicBezTo>
                    <a:cubicBezTo>
                      <a:pt x="266" y="150"/>
                      <a:pt x="266" y="150"/>
                      <a:pt x="266" y="150"/>
                    </a:cubicBezTo>
                    <a:cubicBezTo>
                      <a:pt x="265" y="150"/>
                      <a:pt x="265" y="150"/>
                      <a:pt x="265" y="150"/>
                    </a:cubicBezTo>
                    <a:cubicBezTo>
                      <a:pt x="265" y="150"/>
                      <a:pt x="265" y="150"/>
                      <a:pt x="266" y="149"/>
                    </a:cubicBezTo>
                    <a:cubicBezTo>
                      <a:pt x="265" y="150"/>
                      <a:pt x="265" y="150"/>
                      <a:pt x="265" y="150"/>
                    </a:cubicBezTo>
                    <a:cubicBezTo>
                      <a:pt x="265" y="149"/>
                      <a:pt x="267" y="148"/>
                      <a:pt x="267" y="148"/>
                    </a:cubicBezTo>
                    <a:cubicBezTo>
                      <a:pt x="267" y="148"/>
                      <a:pt x="266" y="148"/>
                      <a:pt x="266" y="148"/>
                    </a:cubicBezTo>
                    <a:cubicBezTo>
                      <a:pt x="266" y="148"/>
                      <a:pt x="266" y="149"/>
                      <a:pt x="265" y="149"/>
                    </a:cubicBezTo>
                    <a:cubicBezTo>
                      <a:pt x="265" y="149"/>
                      <a:pt x="265" y="149"/>
                      <a:pt x="265" y="149"/>
                    </a:cubicBezTo>
                    <a:cubicBezTo>
                      <a:pt x="265" y="149"/>
                      <a:pt x="265" y="149"/>
                      <a:pt x="265" y="149"/>
                    </a:cubicBezTo>
                    <a:cubicBezTo>
                      <a:pt x="264" y="149"/>
                      <a:pt x="264" y="149"/>
                      <a:pt x="264" y="150"/>
                    </a:cubicBezTo>
                    <a:cubicBezTo>
                      <a:pt x="265" y="150"/>
                      <a:pt x="263" y="151"/>
                      <a:pt x="263" y="150"/>
                    </a:cubicBezTo>
                    <a:cubicBezTo>
                      <a:pt x="263" y="150"/>
                      <a:pt x="263" y="150"/>
                      <a:pt x="263" y="150"/>
                    </a:cubicBezTo>
                    <a:cubicBezTo>
                      <a:pt x="263" y="149"/>
                      <a:pt x="260" y="151"/>
                      <a:pt x="260" y="151"/>
                    </a:cubicBezTo>
                    <a:cubicBezTo>
                      <a:pt x="260" y="151"/>
                      <a:pt x="260" y="151"/>
                      <a:pt x="260" y="151"/>
                    </a:cubicBezTo>
                    <a:cubicBezTo>
                      <a:pt x="260" y="151"/>
                      <a:pt x="259" y="151"/>
                      <a:pt x="259" y="151"/>
                    </a:cubicBezTo>
                    <a:cubicBezTo>
                      <a:pt x="258" y="151"/>
                      <a:pt x="258" y="151"/>
                      <a:pt x="257" y="151"/>
                    </a:cubicBezTo>
                    <a:cubicBezTo>
                      <a:pt x="257" y="151"/>
                      <a:pt x="255" y="152"/>
                      <a:pt x="255" y="152"/>
                    </a:cubicBezTo>
                    <a:cubicBezTo>
                      <a:pt x="255" y="152"/>
                      <a:pt x="256" y="151"/>
                      <a:pt x="256" y="151"/>
                    </a:cubicBezTo>
                    <a:cubicBezTo>
                      <a:pt x="255" y="151"/>
                      <a:pt x="254" y="152"/>
                      <a:pt x="254" y="153"/>
                    </a:cubicBezTo>
                    <a:cubicBezTo>
                      <a:pt x="253" y="153"/>
                      <a:pt x="252" y="155"/>
                      <a:pt x="250" y="154"/>
                    </a:cubicBezTo>
                    <a:cubicBezTo>
                      <a:pt x="250" y="154"/>
                      <a:pt x="251" y="154"/>
                      <a:pt x="250" y="154"/>
                    </a:cubicBezTo>
                    <a:cubicBezTo>
                      <a:pt x="251" y="154"/>
                      <a:pt x="251" y="154"/>
                      <a:pt x="252" y="154"/>
                    </a:cubicBezTo>
                    <a:cubicBezTo>
                      <a:pt x="252" y="154"/>
                      <a:pt x="252" y="154"/>
                      <a:pt x="252" y="153"/>
                    </a:cubicBezTo>
                    <a:cubicBezTo>
                      <a:pt x="252" y="153"/>
                      <a:pt x="254" y="152"/>
                      <a:pt x="254" y="152"/>
                    </a:cubicBezTo>
                    <a:cubicBezTo>
                      <a:pt x="253" y="151"/>
                      <a:pt x="252" y="152"/>
                      <a:pt x="252" y="152"/>
                    </a:cubicBezTo>
                    <a:cubicBezTo>
                      <a:pt x="252" y="152"/>
                      <a:pt x="251" y="152"/>
                      <a:pt x="251" y="152"/>
                    </a:cubicBezTo>
                    <a:cubicBezTo>
                      <a:pt x="251" y="152"/>
                      <a:pt x="251" y="152"/>
                      <a:pt x="251" y="152"/>
                    </a:cubicBezTo>
                    <a:cubicBezTo>
                      <a:pt x="250" y="152"/>
                      <a:pt x="250" y="152"/>
                      <a:pt x="250" y="153"/>
                    </a:cubicBezTo>
                    <a:cubicBezTo>
                      <a:pt x="250" y="153"/>
                      <a:pt x="249" y="153"/>
                      <a:pt x="249" y="153"/>
                    </a:cubicBezTo>
                    <a:cubicBezTo>
                      <a:pt x="249" y="153"/>
                      <a:pt x="249" y="153"/>
                      <a:pt x="249" y="153"/>
                    </a:cubicBezTo>
                    <a:cubicBezTo>
                      <a:pt x="248" y="153"/>
                      <a:pt x="248" y="153"/>
                      <a:pt x="248" y="154"/>
                    </a:cubicBezTo>
                    <a:cubicBezTo>
                      <a:pt x="247" y="154"/>
                      <a:pt x="247" y="154"/>
                      <a:pt x="246" y="154"/>
                    </a:cubicBezTo>
                    <a:cubicBezTo>
                      <a:pt x="245" y="154"/>
                      <a:pt x="246" y="154"/>
                      <a:pt x="245" y="154"/>
                    </a:cubicBezTo>
                    <a:cubicBezTo>
                      <a:pt x="244" y="154"/>
                      <a:pt x="243" y="156"/>
                      <a:pt x="243" y="155"/>
                    </a:cubicBezTo>
                    <a:cubicBezTo>
                      <a:pt x="242" y="155"/>
                      <a:pt x="244" y="154"/>
                      <a:pt x="244" y="154"/>
                    </a:cubicBezTo>
                    <a:cubicBezTo>
                      <a:pt x="243" y="154"/>
                      <a:pt x="243" y="154"/>
                      <a:pt x="243" y="154"/>
                    </a:cubicBezTo>
                    <a:cubicBezTo>
                      <a:pt x="242" y="155"/>
                      <a:pt x="242" y="155"/>
                      <a:pt x="242" y="155"/>
                    </a:cubicBezTo>
                    <a:cubicBezTo>
                      <a:pt x="241" y="155"/>
                      <a:pt x="242" y="155"/>
                      <a:pt x="242" y="155"/>
                    </a:cubicBezTo>
                    <a:cubicBezTo>
                      <a:pt x="242" y="155"/>
                      <a:pt x="241" y="155"/>
                      <a:pt x="241" y="156"/>
                    </a:cubicBezTo>
                    <a:cubicBezTo>
                      <a:pt x="241" y="156"/>
                      <a:pt x="241" y="156"/>
                      <a:pt x="241" y="156"/>
                    </a:cubicBezTo>
                    <a:cubicBezTo>
                      <a:pt x="239" y="156"/>
                      <a:pt x="241" y="155"/>
                      <a:pt x="241" y="155"/>
                    </a:cubicBezTo>
                    <a:cubicBezTo>
                      <a:pt x="240" y="155"/>
                      <a:pt x="239" y="155"/>
                      <a:pt x="239" y="155"/>
                    </a:cubicBezTo>
                    <a:cubicBezTo>
                      <a:pt x="238" y="156"/>
                      <a:pt x="237" y="156"/>
                      <a:pt x="236" y="156"/>
                    </a:cubicBezTo>
                    <a:cubicBezTo>
                      <a:pt x="236" y="157"/>
                      <a:pt x="235" y="157"/>
                      <a:pt x="235" y="156"/>
                    </a:cubicBezTo>
                    <a:cubicBezTo>
                      <a:pt x="235" y="156"/>
                      <a:pt x="234" y="157"/>
                      <a:pt x="234" y="157"/>
                    </a:cubicBezTo>
                    <a:cubicBezTo>
                      <a:pt x="233" y="156"/>
                      <a:pt x="237" y="154"/>
                      <a:pt x="237" y="154"/>
                    </a:cubicBezTo>
                    <a:cubicBezTo>
                      <a:pt x="237" y="154"/>
                      <a:pt x="237" y="155"/>
                      <a:pt x="237" y="155"/>
                    </a:cubicBezTo>
                    <a:cubicBezTo>
                      <a:pt x="238" y="155"/>
                      <a:pt x="238" y="155"/>
                      <a:pt x="238" y="155"/>
                    </a:cubicBezTo>
                    <a:cubicBezTo>
                      <a:pt x="238" y="155"/>
                      <a:pt x="237" y="154"/>
                      <a:pt x="237" y="154"/>
                    </a:cubicBezTo>
                    <a:cubicBezTo>
                      <a:pt x="236" y="154"/>
                      <a:pt x="235" y="154"/>
                      <a:pt x="234" y="155"/>
                    </a:cubicBezTo>
                    <a:cubicBezTo>
                      <a:pt x="233" y="155"/>
                      <a:pt x="232" y="156"/>
                      <a:pt x="231" y="157"/>
                    </a:cubicBezTo>
                    <a:cubicBezTo>
                      <a:pt x="231" y="157"/>
                      <a:pt x="229" y="158"/>
                      <a:pt x="228" y="158"/>
                    </a:cubicBezTo>
                    <a:cubicBezTo>
                      <a:pt x="229" y="158"/>
                      <a:pt x="228" y="158"/>
                      <a:pt x="228" y="158"/>
                    </a:cubicBezTo>
                    <a:cubicBezTo>
                      <a:pt x="227" y="158"/>
                      <a:pt x="227" y="158"/>
                      <a:pt x="227" y="159"/>
                    </a:cubicBezTo>
                    <a:cubicBezTo>
                      <a:pt x="228" y="159"/>
                      <a:pt x="224" y="160"/>
                      <a:pt x="226" y="159"/>
                    </a:cubicBezTo>
                    <a:cubicBezTo>
                      <a:pt x="226" y="159"/>
                      <a:pt x="225" y="159"/>
                      <a:pt x="224" y="160"/>
                    </a:cubicBezTo>
                    <a:cubicBezTo>
                      <a:pt x="224" y="160"/>
                      <a:pt x="223" y="160"/>
                      <a:pt x="223" y="160"/>
                    </a:cubicBezTo>
                    <a:cubicBezTo>
                      <a:pt x="223" y="160"/>
                      <a:pt x="222" y="160"/>
                      <a:pt x="222" y="160"/>
                    </a:cubicBezTo>
                    <a:cubicBezTo>
                      <a:pt x="222" y="159"/>
                      <a:pt x="223" y="160"/>
                      <a:pt x="223" y="159"/>
                    </a:cubicBezTo>
                    <a:cubicBezTo>
                      <a:pt x="223" y="159"/>
                      <a:pt x="224" y="158"/>
                      <a:pt x="224" y="158"/>
                    </a:cubicBezTo>
                    <a:cubicBezTo>
                      <a:pt x="224" y="158"/>
                      <a:pt x="224" y="157"/>
                      <a:pt x="224" y="157"/>
                    </a:cubicBezTo>
                    <a:cubicBezTo>
                      <a:pt x="224" y="157"/>
                      <a:pt x="222" y="158"/>
                      <a:pt x="222" y="158"/>
                    </a:cubicBezTo>
                    <a:cubicBezTo>
                      <a:pt x="222" y="158"/>
                      <a:pt x="222" y="159"/>
                      <a:pt x="222" y="159"/>
                    </a:cubicBezTo>
                    <a:cubicBezTo>
                      <a:pt x="222" y="159"/>
                      <a:pt x="221" y="159"/>
                      <a:pt x="221" y="160"/>
                    </a:cubicBezTo>
                    <a:cubicBezTo>
                      <a:pt x="221" y="160"/>
                      <a:pt x="221" y="160"/>
                      <a:pt x="221" y="160"/>
                    </a:cubicBezTo>
                    <a:cubicBezTo>
                      <a:pt x="221" y="160"/>
                      <a:pt x="220" y="161"/>
                      <a:pt x="220" y="161"/>
                    </a:cubicBezTo>
                    <a:cubicBezTo>
                      <a:pt x="220" y="160"/>
                      <a:pt x="221" y="160"/>
                      <a:pt x="221" y="160"/>
                    </a:cubicBezTo>
                    <a:cubicBezTo>
                      <a:pt x="221" y="160"/>
                      <a:pt x="220" y="160"/>
                      <a:pt x="220" y="160"/>
                    </a:cubicBezTo>
                    <a:cubicBezTo>
                      <a:pt x="219" y="161"/>
                      <a:pt x="218" y="161"/>
                      <a:pt x="218" y="161"/>
                    </a:cubicBezTo>
                    <a:cubicBezTo>
                      <a:pt x="217" y="161"/>
                      <a:pt x="218" y="160"/>
                      <a:pt x="218" y="160"/>
                    </a:cubicBezTo>
                    <a:cubicBezTo>
                      <a:pt x="218" y="160"/>
                      <a:pt x="218" y="160"/>
                      <a:pt x="218" y="160"/>
                    </a:cubicBezTo>
                    <a:cubicBezTo>
                      <a:pt x="218" y="159"/>
                      <a:pt x="217" y="159"/>
                      <a:pt x="217" y="159"/>
                    </a:cubicBezTo>
                    <a:cubicBezTo>
                      <a:pt x="217" y="159"/>
                      <a:pt x="217" y="159"/>
                      <a:pt x="218" y="159"/>
                    </a:cubicBezTo>
                    <a:cubicBezTo>
                      <a:pt x="217" y="159"/>
                      <a:pt x="216" y="159"/>
                      <a:pt x="216" y="160"/>
                    </a:cubicBezTo>
                    <a:cubicBezTo>
                      <a:pt x="216" y="160"/>
                      <a:pt x="216" y="160"/>
                      <a:pt x="216" y="160"/>
                    </a:cubicBezTo>
                    <a:cubicBezTo>
                      <a:pt x="216" y="161"/>
                      <a:pt x="216" y="161"/>
                      <a:pt x="216" y="161"/>
                    </a:cubicBezTo>
                    <a:cubicBezTo>
                      <a:pt x="215" y="161"/>
                      <a:pt x="213" y="163"/>
                      <a:pt x="212" y="162"/>
                    </a:cubicBezTo>
                    <a:cubicBezTo>
                      <a:pt x="213" y="162"/>
                      <a:pt x="213" y="161"/>
                      <a:pt x="214" y="161"/>
                    </a:cubicBezTo>
                    <a:cubicBezTo>
                      <a:pt x="214" y="161"/>
                      <a:pt x="214" y="161"/>
                      <a:pt x="213" y="161"/>
                    </a:cubicBezTo>
                    <a:cubicBezTo>
                      <a:pt x="214" y="160"/>
                      <a:pt x="214" y="161"/>
                      <a:pt x="215" y="161"/>
                    </a:cubicBezTo>
                    <a:cubicBezTo>
                      <a:pt x="215" y="161"/>
                      <a:pt x="215" y="160"/>
                      <a:pt x="216" y="159"/>
                    </a:cubicBezTo>
                    <a:cubicBezTo>
                      <a:pt x="216" y="159"/>
                      <a:pt x="217" y="159"/>
                      <a:pt x="218" y="159"/>
                    </a:cubicBezTo>
                    <a:cubicBezTo>
                      <a:pt x="218" y="158"/>
                      <a:pt x="219" y="158"/>
                      <a:pt x="220" y="158"/>
                    </a:cubicBezTo>
                    <a:cubicBezTo>
                      <a:pt x="220" y="158"/>
                      <a:pt x="219" y="158"/>
                      <a:pt x="219" y="159"/>
                    </a:cubicBezTo>
                    <a:cubicBezTo>
                      <a:pt x="219" y="159"/>
                      <a:pt x="220" y="159"/>
                      <a:pt x="220" y="158"/>
                    </a:cubicBezTo>
                    <a:cubicBezTo>
                      <a:pt x="220" y="158"/>
                      <a:pt x="222" y="158"/>
                      <a:pt x="221" y="158"/>
                    </a:cubicBezTo>
                    <a:cubicBezTo>
                      <a:pt x="221" y="157"/>
                      <a:pt x="222" y="157"/>
                      <a:pt x="222" y="157"/>
                    </a:cubicBezTo>
                    <a:cubicBezTo>
                      <a:pt x="223" y="157"/>
                      <a:pt x="224" y="157"/>
                      <a:pt x="224" y="157"/>
                    </a:cubicBezTo>
                    <a:cubicBezTo>
                      <a:pt x="224" y="157"/>
                      <a:pt x="226" y="156"/>
                      <a:pt x="226" y="156"/>
                    </a:cubicBezTo>
                    <a:cubicBezTo>
                      <a:pt x="226" y="156"/>
                      <a:pt x="226" y="156"/>
                      <a:pt x="225" y="156"/>
                    </a:cubicBezTo>
                    <a:cubicBezTo>
                      <a:pt x="228" y="154"/>
                      <a:pt x="231" y="153"/>
                      <a:pt x="234" y="152"/>
                    </a:cubicBezTo>
                    <a:cubicBezTo>
                      <a:pt x="237" y="151"/>
                      <a:pt x="241" y="150"/>
                      <a:pt x="244" y="150"/>
                    </a:cubicBezTo>
                    <a:cubicBezTo>
                      <a:pt x="243" y="150"/>
                      <a:pt x="242" y="150"/>
                      <a:pt x="242" y="150"/>
                    </a:cubicBezTo>
                    <a:cubicBezTo>
                      <a:pt x="242" y="151"/>
                      <a:pt x="243" y="151"/>
                      <a:pt x="244" y="150"/>
                    </a:cubicBezTo>
                    <a:cubicBezTo>
                      <a:pt x="245" y="150"/>
                      <a:pt x="245" y="150"/>
                      <a:pt x="246" y="150"/>
                    </a:cubicBezTo>
                    <a:cubicBezTo>
                      <a:pt x="246" y="150"/>
                      <a:pt x="246" y="150"/>
                      <a:pt x="246" y="150"/>
                    </a:cubicBezTo>
                    <a:cubicBezTo>
                      <a:pt x="245" y="151"/>
                      <a:pt x="245" y="151"/>
                      <a:pt x="245" y="151"/>
                    </a:cubicBezTo>
                    <a:cubicBezTo>
                      <a:pt x="244" y="151"/>
                      <a:pt x="243" y="152"/>
                      <a:pt x="244" y="151"/>
                    </a:cubicBezTo>
                    <a:cubicBezTo>
                      <a:pt x="243" y="152"/>
                      <a:pt x="244" y="152"/>
                      <a:pt x="243" y="153"/>
                    </a:cubicBezTo>
                    <a:cubicBezTo>
                      <a:pt x="243" y="153"/>
                      <a:pt x="244" y="152"/>
                      <a:pt x="244" y="153"/>
                    </a:cubicBezTo>
                    <a:cubicBezTo>
                      <a:pt x="244" y="153"/>
                      <a:pt x="244" y="153"/>
                      <a:pt x="244" y="153"/>
                    </a:cubicBezTo>
                    <a:cubicBezTo>
                      <a:pt x="245" y="153"/>
                      <a:pt x="244" y="152"/>
                      <a:pt x="244" y="152"/>
                    </a:cubicBezTo>
                    <a:cubicBezTo>
                      <a:pt x="245" y="151"/>
                      <a:pt x="247" y="151"/>
                      <a:pt x="247" y="151"/>
                    </a:cubicBezTo>
                    <a:cubicBezTo>
                      <a:pt x="247" y="151"/>
                      <a:pt x="247" y="152"/>
                      <a:pt x="247" y="152"/>
                    </a:cubicBezTo>
                    <a:cubicBezTo>
                      <a:pt x="247" y="152"/>
                      <a:pt x="247" y="152"/>
                      <a:pt x="248" y="152"/>
                    </a:cubicBezTo>
                    <a:cubicBezTo>
                      <a:pt x="247" y="152"/>
                      <a:pt x="248" y="152"/>
                      <a:pt x="248" y="152"/>
                    </a:cubicBezTo>
                    <a:cubicBezTo>
                      <a:pt x="248" y="152"/>
                      <a:pt x="249" y="152"/>
                      <a:pt x="249" y="152"/>
                    </a:cubicBezTo>
                    <a:cubicBezTo>
                      <a:pt x="249" y="151"/>
                      <a:pt x="248" y="150"/>
                      <a:pt x="248" y="151"/>
                    </a:cubicBezTo>
                    <a:cubicBezTo>
                      <a:pt x="248" y="151"/>
                      <a:pt x="249" y="150"/>
                      <a:pt x="248" y="150"/>
                    </a:cubicBezTo>
                    <a:cubicBezTo>
                      <a:pt x="249" y="149"/>
                      <a:pt x="251" y="149"/>
                      <a:pt x="252" y="148"/>
                    </a:cubicBezTo>
                    <a:cubicBezTo>
                      <a:pt x="253" y="147"/>
                      <a:pt x="254" y="147"/>
                      <a:pt x="256" y="146"/>
                    </a:cubicBezTo>
                    <a:cubicBezTo>
                      <a:pt x="259" y="145"/>
                      <a:pt x="261" y="144"/>
                      <a:pt x="264" y="143"/>
                    </a:cubicBezTo>
                    <a:cubicBezTo>
                      <a:pt x="264" y="143"/>
                      <a:pt x="264" y="144"/>
                      <a:pt x="264" y="144"/>
                    </a:cubicBezTo>
                    <a:cubicBezTo>
                      <a:pt x="265" y="143"/>
                      <a:pt x="267" y="143"/>
                      <a:pt x="268" y="143"/>
                    </a:cubicBezTo>
                    <a:cubicBezTo>
                      <a:pt x="267" y="143"/>
                      <a:pt x="268" y="142"/>
                      <a:pt x="268" y="142"/>
                    </a:cubicBezTo>
                    <a:cubicBezTo>
                      <a:pt x="268" y="142"/>
                      <a:pt x="269" y="142"/>
                      <a:pt x="270" y="142"/>
                    </a:cubicBezTo>
                    <a:cubicBezTo>
                      <a:pt x="270" y="142"/>
                      <a:pt x="270" y="142"/>
                      <a:pt x="271" y="142"/>
                    </a:cubicBezTo>
                    <a:cubicBezTo>
                      <a:pt x="271" y="142"/>
                      <a:pt x="270" y="142"/>
                      <a:pt x="270" y="142"/>
                    </a:cubicBezTo>
                    <a:cubicBezTo>
                      <a:pt x="270" y="142"/>
                      <a:pt x="271" y="141"/>
                      <a:pt x="271" y="141"/>
                    </a:cubicBezTo>
                    <a:cubicBezTo>
                      <a:pt x="271" y="141"/>
                      <a:pt x="272" y="142"/>
                      <a:pt x="272" y="142"/>
                    </a:cubicBezTo>
                    <a:cubicBezTo>
                      <a:pt x="273" y="142"/>
                      <a:pt x="273" y="142"/>
                      <a:pt x="273" y="142"/>
                    </a:cubicBezTo>
                    <a:cubicBezTo>
                      <a:pt x="274" y="141"/>
                      <a:pt x="274" y="141"/>
                      <a:pt x="274" y="141"/>
                    </a:cubicBezTo>
                    <a:cubicBezTo>
                      <a:pt x="274" y="141"/>
                      <a:pt x="275" y="140"/>
                      <a:pt x="275" y="140"/>
                    </a:cubicBezTo>
                    <a:cubicBezTo>
                      <a:pt x="276" y="139"/>
                      <a:pt x="278" y="138"/>
                      <a:pt x="280" y="138"/>
                    </a:cubicBezTo>
                    <a:cubicBezTo>
                      <a:pt x="280" y="137"/>
                      <a:pt x="281" y="137"/>
                      <a:pt x="282" y="136"/>
                    </a:cubicBezTo>
                    <a:cubicBezTo>
                      <a:pt x="283" y="136"/>
                      <a:pt x="284" y="136"/>
                      <a:pt x="285" y="136"/>
                    </a:cubicBezTo>
                    <a:cubicBezTo>
                      <a:pt x="284" y="136"/>
                      <a:pt x="285" y="136"/>
                      <a:pt x="285" y="135"/>
                    </a:cubicBezTo>
                    <a:cubicBezTo>
                      <a:pt x="286" y="135"/>
                      <a:pt x="286" y="135"/>
                      <a:pt x="287" y="135"/>
                    </a:cubicBezTo>
                    <a:cubicBezTo>
                      <a:pt x="288" y="134"/>
                      <a:pt x="289" y="134"/>
                      <a:pt x="290" y="134"/>
                    </a:cubicBezTo>
                    <a:cubicBezTo>
                      <a:pt x="290" y="134"/>
                      <a:pt x="290" y="135"/>
                      <a:pt x="289" y="135"/>
                    </a:cubicBezTo>
                    <a:cubicBezTo>
                      <a:pt x="290" y="135"/>
                      <a:pt x="290" y="135"/>
                      <a:pt x="291" y="135"/>
                    </a:cubicBezTo>
                    <a:cubicBezTo>
                      <a:pt x="291" y="135"/>
                      <a:pt x="291" y="135"/>
                      <a:pt x="291" y="135"/>
                    </a:cubicBezTo>
                    <a:cubicBezTo>
                      <a:pt x="291" y="135"/>
                      <a:pt x="290" y="135"/>
                      <a:pt x="290" y="135"/>
                    </a:cubicBezTo>
                    <a:cubicBezTo>
                      <a:pt x="290" y="135"/>
                      <a:pt x="291" y="133"/>
                      <a:pt x="291" y="133"/>
                    </a:cubicBezTo>
                    <a:cubicBezTo>
                      <a:pt x="291" y="133"/>
                      <a:pt x="291" y="133"/>
                      <a:pt x="291" y="133"/>
                    </a:cubicBezTo>
                    <a:cubicBezTo>
                      <a:pt x="290" y="133"/>
                      <a:pt x="291" y="133"/>
                      <a:pt x="291" y="133"/>
                    </a:cubicBezTo>
                    <a:cubicBezTo>
                      <a:pt x="293" y="132"/>
                      <a:pt x="294" y="131"/>
                      <a:pt x="295" y="130"/>
                    </a:cubicBezTo>
                    <a:cubicBezTo>
                      <a:pt x="296" y="129"/>
                      <a:pt x="297" y="128"/>
                      <a:pt x="299" y="128"/>
                    </a:cubicBezTo>
                    <a:cubicBezTo>
                      <a:pt x="299" y="128"/>
                      <a:pt x="300" y="127"/>
                      <a:pt x="301" y="127"/>
                    </a:cubicBezTo>
                    <a:cubicBezTo>
                      <a:pt x="301" y="127"/>
                      <a:pt x="302" y="128"/>
                      <a:pt x="301" y="128"/>
                    </a:cubicBezTo>
                    <a:cubicBezTo>
                      <a:pt x="302" y="128"/>
                      <a:pt x="301" y="127"/>
                      <a:pt x="300" y="127"/>
                    </a:cubicBezTo>
                    <a:cubicBezTo>
                      <a:pt x="299" y="128"/>
                      <a:pt x="300" y="126"/>
                      <a:pt x="301" y="126"/>
                    </a:cubicBezTo>
                    <a:cubicBezTo>
                      <a:pt x="302" y="125"/>
                      <a:pt x="304" y="124"/>
                      <a:pt x="305" y="124"/>
                    </a:cubicBezTo>
                    <a:cubicBezTo>
                      <a:pt x="306" y="123"/>
                      <a:pt x="307" y="123"/>
                      <a:pt x="308" y="123"/>
                    </a:cubicBezTo>
                    <a:cubicBezTo>
                      <a:pt x="308" y="122"/>
                      <a:pt x="309" y="122"/>
                      <a:pt x="310" y="122"/>
                    </a:cubicBezTo>
                    <a:cubicBezTo>
                      <a:pt x="310" y="122"/>
                      <a:pt x="309" y="122"/>
                      <a:pt x="309" y="122"/>
                    </a:cubicBezTo>
                    <a:cubicBezTo>
                      <a:pt x="309" y="122"/>
                      <a:pt x="312" y="120"/>
                      <a:pt x="312" y="120"/>
                    </a:cubicBezTo>
                    <a:cubicBezTo>
                      <a:pt x="313" y="119"/>
                      <a:pt x="315" y="119"/>
                      <a:pt x="316" y="118"/>
                    </a:cubicBezTo>
                    <a:cubicBezTo>
                      <a:pt x="315" y="118"/>
                      <a:pt x="314" y="119"/>
                      <a:pt x="313" y="119"/>
                    </a:cubicBezTo>
                    <a:cubicBezTo>
                      <a:pt x="312" y="120"/>
                      <a:pt x="311" y="120"/>
                      <a:pt x="310" y="121"/>
                    </a:cubicBezTo>
                    <a:cubicBezTo>
                      <a:pt x="307" y="121"/>
                      <a:pt x="304" y="122"/>
                      <a:pt x="302" y="123"/>
                    </a:cubicBezTo>
                    <a:cubicBezTo>
                      <a:pt x="301" y="123"/>
                      <a:pt x="299" y="123"/>
                      <a:pt x="298" y="123"/>
                    </a:cubicBezTo>
                    <a:cubicBezTo>
                      <a:pt x="297" y="123"/>
                      <a:pt x="299" y="122"/>
                      <a:pt x="299" y="122"/>
                    </a:cubicBezTo>
                    <a:cubicBezTo>
                      <a:pt x="299" y="122"/>
                      <a:pt x="298" y="122"/>
                      <a:pt x="298" y="122"/>
                    </a:cubicBezTo>
                    <a:cubicBezTo>
                      <a:pt x="298" y="121"/>
                      <a:pt x="298" y="121"/>
                      <a:pt x="299" y="121"/>
                    </a:cubicBezTo>
                    <a:cubicBezTo>
                      <a:pt x="299" y="121"/>
                      <a:pt x="300" y="120"/>
                      <a:pt x="300" y="120"/>
                    </a:cubicBezTo>
                    <a:cubicBezTo>
                      <a:pt x="300" y="120"/>
                      <a:pt x="301" y="120"/>
                      <a:pt x="301" y="119"/>
                    </a:cubicBezTo>
                    <a:cubicBezTo>
                      <a:pt x="301" y="119"/>
                      <a:pt x="301" y="119"/>
                      <a:pt x="301" y="119"/>
                    </a:cubicBezTo>
                    <a:cubicBezTo>
                      <a:pt x="301" y="119"/>
                      <a:pt x="303" y="119"/>
                      <a:pt x="303" y="119"/>
                    </a:cubicBezTo>
                    <a:cubicBezTo>
                      <a:pt x="304" y="119"/>
                      <a:pt x="303" y="120"/>
                      <a:pt x="303" y="121"/>
                    </a:cubicBezTo>
                    <a:cubicBezTo>
                      <a:pt x="303" y="120"/>
                      <a:pt x="303" y="120"/>
                      <a:pt x="304" y="120"/>
                    </a:cubicBezTo>
                    <a:cubicBezTo>
                      <a:pt x="303" y="120"/>
                      <a:pt x="304" y="120"/>
                      <a:pt x="304" y="120"/>
                    </a:cubicBezTo>
                    <a:cubicBezTo>
                      <a:pt x="304" y="119"/>
                      <a:pt x="304" y="119"/>
                      <a:pt x="304" y="119"/>
                    </a:cubicBezTo>
                    <a:cubicBezTo>
                      <a:pt x="303" y="119"/>
                      <a:pt x="302" y="118"/>
                      <a:pt x="303" y="118"/>
                    </a:cubicBezTo>
                    <a:cubicBezTo>
                      <a:pt x="302" y="118"/>
                      <a:pt x="302" y="118"/>
                      <a:pt x="302" y="118"/>
                    </a:cubicBezTo>
                    <a:cubicBezTo>
                      <a:pt x="302" y="119"/>
                      <a:pt x="301" y="119"/>
                      <a:pt x="301" y="119"/>
                    </a:cubicBezTo>
                    <a:cubicBezTo>
                      <a:pt x="300" y="120"/>
                      <a:pt x="299" y="120"/>
                      <a:pt x="297" y="121"/>
                    </a:cubicBezTo>
                    <a:cubicBezTo>
                      <a:pt x="298" y="120"/>
                      <a:pt x="298" y="120"/>
                      <a:pt x="299" y="119"/>
                    </a:cubicBezTo>
                    <a:cubicBezTo>
                      <a:pt x="298" y="120"/>
                      <a:pt x="297" y="120"/>
                      <a:pt x="297" y="121"/>
                    </a:cubicBezTo>
                    <a:cubicBezTo>
                      <a:pt x="297" y="121"/>
                      <a:pt x="295" y="122"/>
                      <a:pt x="295" y="122"/>
                    </a:cubicBezTo>
                    <a:cubicBezTo>
                      <a:pt x="295" y="122"/>
                      <a:pt x="296" y="121"/>
                      <a:pt x="296" y="121"/>
                    </a:cubicBezTo>
                    <a:cubicBezTo>
                      <a:pt x="295" y="121"/>
                      <a:pt x="294" y="122"/>
                      <a:pt x="294" y="122"/>
                    </a:cubicBezTo>
                    <a:cubicBezTo>
                      <a:pt x="294" y="123"/>
                      <a:pt x="294" y="123"/>
                      <a:pt x="293" y="124"/>
                    </a:cubicBezTo>
                    <a:cubicBezTo>
                      <a:pt x="293" y="124"/>
                      <a:pt x="293" y="124"/>
                      <a:pt x="293" y="124"/>
                    </a:cubicBezTo>
                    <a:cubicBezTo>
                      <a:pt x="293" y="125"/>
                      <a:pt x="292" y="125"/>
                      <a:pt x="291" y="125"/>
                    </a:cubicBezTo>
                    <a:cubicBezTo>
                      <a:pt x="291" y="126"/>
                      <a:pt x="289" y="125"/>
                      <a:pt x="290" y="125"/>
                    </a:cubicBezTo>
                    <a:cubicBezTo>
                      <a:pt x="290" y="125"/>
                      <a:pt x="290" y="125"/>
                      <a:pt x="290" y="125"/>
                    </a:cubicBezTo>
                    <a:cubicBezTo>
                      <a:pt x="290" y="125"/>
                      <a:pt x="291" y="123"/>
                      <a:pt x="291" y="123"/>
                    </a:cubicBezTo>
                    <a:cubicBezTo>
                      <a:pt x="291" y="122"/>
                      <a:pt x="291" y="122"/>
                      <a:pt x="291" y="121"/>
                    </a:cubicBezTo>
                    <a:cubicBezTo>
                      <a:pt x="291" y="121"/>
                      <a:pt x="290" y="121"/>
                      <a:pt x="290" y="121"/>
                    </a:cubicBezTo>
                    <a:cubicBezTo>
                      <a:pt x="290" y="120"/>
                      <a:pt x="291" y="120"/>
                      <a:pt x="291" y="120"/>
                    </a:cubicBezTo>
                    <a:cubicBezTo>
                      <a:pt x="291" y="120"/>
                      <a:pt x="290" y="120"/>
                      <a:pt x="289" y="121"/>
                    </a:cubicBezTo>
                    <a:cubicBezTo>
                      <a:pt x="289" y="121"/>
                      <a:pt x="289" y="121"/>
                      <a:pt x="288" y="121"/>
                    </a:cubicBezTo>
                    <a:cubicBezTo>
                      <a:pt x="288" y="121"/>
                      <a:pt x="287" y="122"/>
                      <a:pt x="287" y="122"/>
                    </a:cubicBezTo>
                    <a:cubicBezTo>
                      <a:pt x="287" y="121"/>
                      <a:pt x="288" y="121"/>
                      <a:pt x="287" y="120"/>
                    </a:cubicBezTo>
                    <a:cubicBezTo>
                      <a:pt x="287" y="120"/>
                      <a:pt x="286" y="121"/>
                      <a:pt x="287" y="120"/>
                    </a:cubicBezTo>
                    <a:cubicBezTo>
                      <a:pt x="287" y="120"/>
                      <a:pt x="286" y="120"/>
                      <a:pt x="286" y="120"/>
                    </a:cubicBezTo>
                    <a:cubicBezTo>
                      <a:pt x="286" y="120"/>
                      <a:pt x="286" y="120"/>
                      <a:pt x="286" y="120"/>
                    </a:cubicBezTo>
                    <a:cubicBezTo>
                      <a:pt x="286" y="120"/>
                      <a:pt x="286" y="120"/>
                      <a:pt x="286" y="120"/>
                    </a:cubicBezTo>
                    <a:cubicBezTo>
                      <a:pt x="286" y="120"/>
                      <a:pt x="287" y="120"/>
                      <a:pt x="287" y="120"/>
                    </a:cubicBezTo>
                    <a:cubicBezTo>
                      <a:pt x="287" y="119"/>
                      <a:pt x="287" y="119"/>
                      <a:pt x="287" y="119"/>
                    </a:cubicBezTo>
                    <a:cubicBezTo>
                      <a:pt x="286" y="118"/>
                      <a:pt x="285" y="119"/>
                      <a:pt x="284" y="119"/>
                    </a:cubicBezTo>
                    <a:cubicBezTo>
                      <a:pt x="283" y="120"/>
                      <a:pt x="282" y="120"/>
                      <a:pt x="281" y="121"/>
                    </a:cubicBezTo>
                    <a:cubicBezTo>
                      <a:pt x="281" y="120"/>
                      <a:pt x="280" y="121"/>
                      <a:pt x="279" y="121"/>
                    </a:cubicBezTo>
                    <a:cubicBezTo>
                      <a:pt x="279" y="121"/>
                      <a:pt x="279" y="121"/>
                      <a:pt x="278" y="121"/>
                    </a:cubicBezTo>
                    <a:cubicBezTo>
                      <a:pt x="278" y="121"/>
                      <a:pt x="276" y="122"/>
                      <a:pt x="277" y="121"/>
                    </a:cubicBezTo>
                    <a:cubicBezTo>
                      <a:pt x="276" y="121"/>
                      <a:pt x="276" y="122"/>
                      <a:pt x="277" y="122"/>
                    </a:cubicBezTo>
                    <a:cubicBezTo>
                      <a:pt x="276" y="122"/>
                      <a:pt x="275" y="122"/>
                      <a:pt x="274" y="123"/>
                    </a:cubicBezTo>
                    <a:cubicBezTo>
                      <a:pt x="274" y="123"/>
                      <a:pt x="275" y="123"/>
                      <a:pt x="275" y="123"/>
                    </a:cubicBezTo>
                    <a:cubicBezTo>
                      <a:pt x="274" y="123"/>
                      <a:pt x="273" y="123"/>
                      <a:pt x="272" y="123"/>
                    </a:cubicBezTo>
                    <a:cubicBezTo>
                      <a:pt x="271" y="124"/>
                      <a:pt x="271" y="124"/>
                      <a:pt x="270" y="124"/>
                    </a:cubicBezTo>
                    <a:cubicBezTo>
                      <a:pt x="270" y="124"/>
                      <a:pt x="271" y="123"/>
                      <a:pt x="271" y="123"/>
                    </a:cubicBezTo>
                    <a:cubicBezTo>
                      <a:pt x="271" y="123"/>
                      <a:pt x="271" y="123"/>
                      <a:pt x="270" y="123"/>
                    </a:cubicBezTo>
                    <a:cubicBezTo>
                      <a:pt x="271" y="123"/>
                      <a:pt x="268" y="123"/>
                      <a:pt x="268" y="123"/>
                    </a:cubicBezTo>
                    <a:cubicBezTo>
                      <a:pt x="268" y="123"/>
                      <a:pt x="270" y="122"/>
                      <a:pt x="270" y="123"/>
                    </a:cubicBezTo>
                    <a:cubicBezTo>
                      <a:pt x="271" y="123"/>
                      <a:pt x="272" y="122"/>
                      <a:pt x="273" y="122"/>
                    </a:cubicBezTo>
                    <a:cubicBezTo>
                      <a:pt x="273" y="122"/>
                      <a:pt x="274" y="121"/>
                      <a:pt x="274" y="121"/>
                    </a:cubicBezTo>
                    <a:cubicBezTo>
                      <a:pt x="273" y="121"/>
                      <a:pt x="273" y="121"/>
                      <a:pt x="273" y="121"/>
                    </a:cubicBezTo>
                    <a:cubicBezTo>
                      <a:pt x="273" y="121"/>
                      <a:pt x="274" y="120"/>
                      <a:pt x="274" y="120"/>
                    </a:cubicBezTo>
                    <a:cubicBezTo>
                      <a:pt x="275" y="120"/>
                      <a:pt x="275" y="119"/>
                      <a:pt x="275" y="119"/>
                    </a:cubicBezTo>
                    <a:cubicBezTo>
                      <a:pt x="275" y="119"/>
                      <a:pt x="276" y="119"/>
                      <a:pt x="277" y="119"/>
                    </a:cubicBezTo>
                    <a:cubicBezTo>
                      <a:pt x="277" y="119"/>
                      <a:pt x="278" y="118"/>
                      <a:pt x="278" y="118"/>
                    </a:cubicBezTo>
                    <a:cubicBezTo>
                      <a:pt x="278" y="118"/>
                      <a:pt x="278" y="118"/>
                      <a:pt x="278" y="118"/>
                    </a:cubicBezTo>
                    <a:cubicBezTo>
                      <a:pt x="278" y="118"/>
                      <a:pt x="278" y="118"/>
                      <a:pt x="278" y="118"/>
                    </a:cubicBezTo>
                    <a:cubicBezTo>
                      <a:pt x="278" y="118"/>
                      <a:pt x="276" y="118"/>
                      <a:pt x="275" y="119"/>
                    </a:cubicBezTo>
                    <a:cubicBezTo>
                      <a:pt x="275" y="119"/>
                      <a:pt x="275" y="118"/>
                      <a:pt x="275" y="118"/>
                    </a:cubicBezTo>
                    <a:cubicBezTo>
                      <a:pt x="275" y="118"/>
                      <a:pt x="276" y="117"/>
                      <a:pt x="276" y="117"/>
                    </a:cubicBezTo>
                    <a:cubicBezTo>
                      <a:pt x="276" y="117"/>
                      <a:pt x="278" y="116"/>
                      <a:pt x="278" y="116"/>
                    </a:cubicBezTo>
                    <a:cubicBezTo>
                      <a:pt x="279" y="116"/>
                      <a:pt x="279" y="115"/>
                      <a:pt x="280" y="115"/>
                    </a:cubicBezTo>
                    <a:cubicBezTo>
                      <a:pt x="281" y="115"/>
                      <a:pt x="281" y="115"/>
                      <a:pt x="281" y="114"/>
                    </a:cubicBezTo>
                    <a:cubicBezTo>
                      <a:pt x="282" y="114"/>
                      <a:pt x="282" y="114"/>
                      <a:pt x="282" y="113"/>
                    </a:cubicBezTo>
                    <a:cubicBezTo>
                      <a:pt x="283" y="113"/>
                      <a:pt x="283" y="112"/>
                      <a:pt x="283" y="112"/>
                    </a:cubicBezTo>
                    <a:cubicBezTo>
                      <a:pt x="284" y="111"/>
                      <a:pt x="284" y="111"/>
                      <a:pt x="284" y="110"/>
                    </a:cubicBezTo>
                    <a:cubicBezTo>
                      <a:pt x="284" y="110"/>
                      <a:pt x="284" y="110"/>
                      <a:pt x="285" y="110"/>
                    </a:cubicBezTo>
                    <a:cubicBezTo>
                      <a:pt x="285" y="109"/>
                      <a:pt x="285" y="109"/>
                      <a:pt x="285" y="109"/>
                    </a:cubicBezTo>
                    <a:cubicBezTo>
                      <a:pt x="286" y="108"/>
                      <a:pt x="287" y="107"/>
                      <a:pt x="288" y="107"/>
                    </a:cubicBezTo>
                    <a:cubicBezTo>
                      <a:pt x="287" y="107"/>
                      <a:pt x="287" y="107"/>
                      <a:pt x="287" y="107"/>
                    </a:cubicBezTo>
                    <a:cubicBezTo>
                      <a:pt x="287" y="107"/>
                      <a:pt x="287" y="107"/>
                      <a:pt x="287" y="107"/>
                    </a:cubicBezTo>
                    <a:cubicBezTo>
                      <a:pt x="287" y="107"/>
                      <a:pt x="285" y="108"/>
                      <a:pt x="285" y="108"/>
                    </a:cubicBezTo>
                    <a:cubicBezTo>
                      <a:pt x="285" y="108"/>
                      <a:pt x="285" y="107"/>
                      <a:pt x="286" y="107"/>
                    </a:cubicBezTo>
                    <a:cubicBezTo>
                      <a:pt x="286" y="107"/>
                      <a:pt x="286" y="107"/>
                      <a:pt x="286" y="107"/>
                    </a:cubicBezTo>
                    <a:cubicBezTo>
                      <a:pt x="286" y="106"/>
                      <a:pt x="288" y="105"/>
                      <a:pt x="289" y="105"/>
                    </a:cubicBezTo>
                    <a:cubicBezTo>
                      <a:pt x="290" y="104"/>
                      <a:pt x="291" y="104"/>
                      <a:pt x="292" y="103"/>
                    </a:cubicBezTo>
                    <a:cubicBezTo>
                      <a:pt x="293" y="103"/>
                      <a:pt x="295" y="103"/>
                      <a:pt x="296" y="102"/>
                    </a:cubicBezTo>
                    <a:cubicBezTo>
                      <a:pt x="295" y="102"/>
                      <a:pt x="294" y="102"/>
                      <a:pt x="294" y="103"/>
                    </a:cubicBezTo>
                    <a:cubicBezTo>
                      <a:pt x="294" y="102"/>
                      <a:pt x="294" y="102"/>
                      <a:pt x="294" y="102"/>
                    </a:cubicBezTo>
                    <a:cubicBezTo>
                      <a:pt x="294" y="102"/>
                      <a:pt x="294" y="102"/>
                      <a:pt x="294" y="102"/>
                    </a:cubicBezTo>
                    <a:cubicBezTo>
                      <a:pt x="294" y="103"/>
                      <a:pt x="293" y="103"/>
                      <a:pt x="293" y="103"/>
                    </a:cubicBezTo>
                    <a:cubicBezTo>
                      <a:pt x="292" y="103"/>
                      <a:pt x="292" y="103"/>
                      <a:pt x="291" y="104"/>
                    </a:cubicBezTo>
                    <a:cubicBezTo>
                      <a:pt x="290" y="104"/>
                      <a:pt x="289" y="104"/>
                      <a:pt x="289" y="105"/>
                    </a:cubicBezTo>
                    <a:cubicBezTo>
                      <a:pt x="288" y="105"/>
                      <a:pt x="288" y="105"/>
                      <a:pt x="287" y="105"/>
                    </a:cubicBezTo>
                    <a:cubicBezTo>
                      <a:pt x="288" y="105"/>
                      <a:pt x="287" y="106"/>
                      <a:pt x="287" y="106"/>
                    </a:cubicBezTo>
                    <a:cubicBezTo>
                      <a:pt x="286" y="106"/>
                      <a:pt x="286" y="106"/>
                      <a:pt x="285" y="106"/>
                    </a:cubicBezTo>
                    <a:cubicBezTo>
                      <a:pt x="286" y="106"/>
                      <a:pt x="286" y="106"/>
                      <a:pt x="286" y="106"/>
                    </a:cubicBezTo>
                    <a:cubicBezTo>
                      <a:pt x="285" y="106"/>
                      <a:pt x="285" y="106"/>
                      <a:pt x="285" y="106"/>
                    </a:cubicBezTo>
                    <a:cubicBezTo>
                      <a:pt x="286" y="107"/>
                      <a:pt x="284" y="107"/>
                      <a:pt x="284" y="107"/>
                    </a:cubicBezTo>
                    <a:cubicBezTo>
                      <a:pt x="284" y="107"/>
                      <a:pt x="286" y="107"/>
                      <a:pt x="285" y="108"/>
                    </a:cubicBezTo>
                    <a:cubicBezTo>
                      <a:pt x="284" y="108"/>
                      <a:pt x="283" y="108"/>
                      <a:pt x="283" y="109"/>
                    </a:cubicBezTo>
                    <a:cubicBezTo>
                      <a:pt x="282" y="109"/>
                      <a:pt x="281" y="109"/>
                      <a:pt x="280" y="109"/>
                    </a:cubicBezTo>
                    <a:cubicBezTo>
                      <a:pt x="280" y="109"/>
                      <a:pt x="279" y="110"/>
                      <a:pt x="279" y="110"/>
                    </a:cubicBezTo>
                    <a:cubicBezTo>
                      <a:pt x="278" y="110"/>
                      <a:pt x="278" y="110"/>
                      <a:pt x="277" y="110"/>
                    </a:cubicBezTo>
                    <a:cubicBezTo>
                      <a:pt x="276" y="111"/>
                      <a:pt x="274" y="111"/>
                      <a:pt x="273" y="111"/>
                    </a:cubicBezTo>
                    <a:cubicBezTo>
                      <a:pt x="272" y="111"/>
                      <a:pt x="271" y="111"/>
                      <a:pt x="270" y="111"/>
                    </a:cubicBezTo>
                    <a:cubicBezTo>
                      <a:pt x="269" y="111"/>
                      <a:pt x="267" y="111"/>
                      <a:pt x="268" y="110"/>
                    </a:cubicBezTo>
                    <a:cubicBezTo>
                      <a:pt x="268" y="110"/>
                      <a:pt x="269" y="110"/>
                      <a:pt x="270" y="109"/>
                    </a:cubicBezTo>
                    <a:cubicBezTo>
                      <a:pt x="269" y="109"/>
                      <a:pt x="268" y="108"/>
                      <a:pt x="269" y="107"/>
                    </a:cubicBezTo>
                    <a:cubicBezTo>
                      <a:pt x="269" y="107"/>
                      <a:pt x="269" y="107"/>
                      <a:pt x="269" y="107"/>
                    </a:cubicBezTo>
                    <a:cubicBezTo>
                      <a:pt x="269" y="106"/>
                      <a:pt x="269" y="106"/>
                      <a:pt x="270" y="106"/>
                    </a:cubicBezTo>
                    <a:cubicBezTo>
                      <a:pt x="269" y="106"/>
                      <a:pt x="268" y="107"/>
                      <a:pt x="267" y="106"/>
                    </a:cubicBezTo>
                    <a:cubicBezTo>
                      <a:pt x="267" y="105"/>
                      <a:pt x="267" y="105"/>
                      <a:pt x="268" y="105"/>
                    </a:cubicBezTo>
                    <a:cubicBezTo>
                      <a:pt x="269" y="104"/>
                      <a:pt x="269" y="104"/>
                      <a:pt x="270" y="104"/>
                    </a:cubicBezTo>
                    <a:cubicBezTo>
                      <a:pt x="270" y="104"/>
                      <a:pt x="269" y="104"/>
                      <a:pt x="268" y="104"/>
                    </a:cubicBezTo>
                    <a:cubicBezTo>
                      <a:pt x="267" y="104"/>
                      <a:pt x="266" y="104"/>
                      <a:pt x="267" y="103"/>
                    </a:cubicBezTo>
                    <a:cubicBezTo>
                      <a:pt x="269" y="103"/>
                      <a:pt x="270" y="103"/>
                      <a:pt x="271" y="102"/>
                    </a:cubicBezTo>
                    <a:cubicBezTo>
                      <a:pt x="272" y="102"/>
                      <a:pt x="272" y="102"/>
                      <a:pt x="272" y="102"/>
                    </a:cubicBezTo>
                    <a:cubicBezTo>
                      <a:pt x="273" y="101"/>
                      <a:pt x="273" y="101"/>
                      <a:pt x="274" y="101"/>
                    </a:cubicBezTo>
                    <a:cubicBezTo>
                      <a:pt x="274" y="101"/>
                      <a:pt x="275" y="101"/>
                      <a:pt x="275" y="100"/>
                    </a:cubicBezTo>
                    <a:cubicBezTo>
                      <a:pt x="275" y="100"/>
                      <a:pt x="275" y="100"/>
                      <a:pt x="275" y="100"/>
                    </a:cubicBezTo>
                    <a:cubicBezTo>
                      <a:pt x="275" y="101"/>
                      <a:pt x="277" y="100"/>
                      <a:pt x="277" y="100"/>
                    </a:cubicBezTo>
                    <a:cubicBezTo>
                      <a:pt x="277" y="100"/>
                      <a:pt x="275" y="101"/>
                      <a:pt x="276" y="101"/>
                    </a:cubicBezTo>
                    <a:cubicBezTo>
                      <a:pt x="277" y="101"/>
                      <a:pt x="278" y="101"/>
                      <a:pt x="278" y="101"/>
                    </a:cubicBezTo>
                    <a:cubicBezTo>
                      <a:pt x="278" y="102"/>
                      <a:pt x="277" y="102"/>
                      <a:pt x="277" y="102"/>
                    </a:cubicBezTo>
                    <a:cubicBezTo>
                      <a:pt x="276" y="103"/>
                      <a:pt x="275" y="103"/>
                      <a:pt x="274" y="104"/>
                    </a:cubicBezTo>
                    <a:cubicBezTo>
                      <a:pt x="275" y="104"/>
                      <a:pt x="276" y="103"/>
                      <a:pt x="276" y="103"/>
                    </a:cubicBezTo>
                    <a:cubicBezTo>
                      <a:pt x="277" y="103"/>
                      <a:pt x="277" y="103"/>
                      <a:pt x="278" y="103"/>
                    </a:cubicBezTo>
                    <a:cubicBezTo>
                      <a:pt x="278" y="102"/>
                      <a:pt x="279" y="102"/>
                      <a:pt x="279" y="102"/>
                    </a:cubicBezTo>
                    <a:cubicBezTo>
                      <a:pt x="279" y="102"/>
                      <a:pt x="280" y="102"/>
                      <a:pt x="281" y="101"/>
                    </a:cubicBezTo>
                    <a:cubicBezTo>
                      <a:pt x="281" y="101"/>
                      <a:pt x="282" y="101"/>
                      <a:pt x="281" y="102"/>
                    </a:cubicBezTo>
                    <a:cubicBezTo>
                      <a:pt x="281" y="102"/>
                      <a:pt x="279" y="104"/>
                      <a:pt x="280" y="103"/>
                    </a:cubicBezTo>
                    <a:cubicBezTo>
                      <a:pt x="281" y="103"/>
                      <a:pt x="282" y="103"/>
                      <a:pt x="283" y="103"/>
                    </a:cubicBezTo>
                    <a:cubicBezTo>
                      <a:pt x="283" y="103"/>
                      <a:pt x="283" y="102"/>
                      <a:pt x="284" y="102"/>
                    </a:cubicBezTo>
                    <a:cubicBezTo>
                      <a:pt x="284" y="102"/>
                      <a:pt x="284" y="102"/>
                      <a:pt x="285" y="102"/>
                    </a:cubicBezTo>
                    <a:cubicBezTo>
                      <a:pt x="284" y="101"/>
                      <a:pt x="284" y="101"/>
                      <a:pt x="284" y="101"/>
                    </a:cubicBezTo>
                    <a:cubicBezTo>
                      <a:pt x="283" y="101"/>
                      <a:pt x="283" y="101"/>
                      <a:pt x="282" y="101"/>
                    </a:cubicBezTo>
                    <a:cubicBezTo>
                      <a:pt x="283" y="100"/>
                      <a:pt x="283" y="100"/>
                      <a:pt x="284" y="100"/>
                    </a:cubicBezTo>
                    <a:cubicBezTo>
                      <a:pt x="284" y="100"/>
                      <a:pt x="286" y="100"/>
                      <a:pt x="285" y="100"/>
                    </a:cubicBezTo>
                    <a:cubicBezTo>
                      <a:pt x="285" y="100"/>
                      <a:pt x="285" y="100"/>
                      <a:pt x="285" y="100"/>
                    </a:cubicBezTo>
                    <a:cubicBezTo>
                      <a:pt x="284" y="100"/>
                      <a:pt x="286" y="99"/>
                      <a:pt x="286" y="99"/>
                    </a:cubicBezTo>
                    <a:cubicBezTo>
                      <a:pt x="284" y="99"/>
                      <a:pt x="283" y="100"/>
                      <a:pt x="282" y="100"/>
                    </a:cubicBezTo>
                    <a:cubicBezTo>
                      <a:pt x="281" y="101"/>
                      <a:pt x="280" y="100"/>
                      <a:pt x="279" y="100"/>
                    </a:cubicBezTo>
                    <a:cubicBezTo>
                      <a:pt x="279" y="100"/>
                      <a:pt x="277" y="101"/>
                      <a:pt x="277" y="101"/>
                    </a:cubicBezTo>
                    <a:cubicBezTo>
                      <a:pt x="277" y="100"/>
                      <a:pt x="278" y="100"/>
                      <a:pt x="277" y="100"/>
                    </a:cubicBezTo>
                    <a:cubicBezTo>
                      <a:pt x="277" y="100"/>
                      <a:pt x="276" y="100"/>
                      <a:pt x="276" y="100"/>
                    </a:cubicBezTo>
                    <a:cubicBezTo>
                      <a:pt x="277" y="99"/>
                      <a:pt x="274" y="100"/>
                      <a:pt x="274" y="100"/>
                    </a:cubicBezTo>
                    <a:cubicBezTo>
                      <a:pt x="273" y="99"/>
                      <a:pt x="276" y="99"/>
                      <a:pt x="276" y="99"/>
                    </a:cubicBezTo>
                    <a:cubicBezTo>
                      <a:pt x="277" y="99"/>
                      <a:pt x="277" y="98"/>
                      <a:pt x="277" y="98"/>
                    </a:cubicBezTo>
                    <a:cubicBezTo>
                      <a:pt x="278" y="98"/>
                      <a:pt x="279" y="98"/>
                      <a:pt x="279" y="98"/>
                    </a:cubicBezTo>
                    <a:cubicBezTo>
                      <a:pt x="278" y="98"/>
                      <a:pt x="277" y="98"/>
                      <a:pt x="277" y="98"/>
                    </a:cubicBezTo>
                    <a:cubicBezTo>
                      <a:pt x="276" y="99"/>
                      <a:pt x="276" y="99"/>
                      <a:pt x="276" y="98"/>
                    </a:cubicBezTo>
                    <a:cubicBezTo>
                      <a:pt x="276" y="98"/>
                      <a:pt x="276" y="98"/>
                      <a:pt x="276" y="98"/>
                    </a:cubicBezTo>
                    <a:cubicBezTo>
                      <a:pt x="276" y="98"/>
                      <a:pt x="276" y="97"/>
                      <a:pt x="275" y="97"/>
                    </a:cubicBezTo>
                    <a:cubicBezTo>
                      <a:pt x="276" y="97"/>
                      <a:pt x="277" y="97"/>
                      <a:pt x="277" y="97"/>
                    </a:cubicBezTo>
                    <a:cubicBezTo>
                      <a:pt x="277" y="97"/>
                      <a:pt x="279" y="96"/>
                      <a:pt x="278" y="96"/>
                    </a:cubicBezTo>
                    <a:cubicBezTo>
                      <a:pt x="279" y="96"/>
                      <a:pt x="279" y="95"/>
                      <a:pt x="280" y="95"/>
                    </a:cubicBezTo>
                    <a:cubicBezTo>
                      <a:pt x="281" y="95"/>
                      <a:pt x="282" y="94"/>
                      <a:pt x="282" y="94"/>
                    </a:cubicBezTo>
                    <a:cubicBezTo>
                      <a:pt x="283" y="94"/>
                      <a:pt x="284" y="94"/>
                      <a:pt x="284" y="94"/>
                    </a:cubicBezTo>
                    <a:cubicBezTo>
                      <a:pt x="285" y="94"/>
                      <a:pt x="286" y="93"/>
                      <a:pt x="286" y="93"/>
                    </a:cubicBezTo>
                    <a:cubicBezTo>
                      <a:pt x="286" y="93"/>
                      <a:pt x="285" y="93"/>
                      <a:pt x="284" y="93"/>
                    </a:cubicBezTo>
                    <a:cubicBezTo>
                      <a:pt x="284" y="94"/>
                      <a:pt x="283" y="94"/>
                      <a:pt x="282" y="94"/>
                    </a:cubicBezTo>
                    <a:cubicBezTo>
                      <a:pt x="281" y="95"/>
                      <a:pt x="281" y="95"/>
                      <a:pt x="281" y="95"/>
                    </a:cubicBezTo>
                    <a:cubicBezTo>
                      <a:pt x="280" y="95"/>
                      <a:pt x="280" y="95"/>
                      <a:pt x="279" y="95"/>
                    </a:cubicBezTo>
                    <a:cubicBezTo>
                      <a:pt x="279" y="95"/>
                      <a:pt x="277" y="96"/>
                      <a:pt x="278" y="96"/>
                    </a:cubicBezTo>
                    <a:cubicBezTo>
                      <a:pt x="277" y="96"/>
                      <a:pt x="276" y="97"/>
                      <a:pt x="275" y="97"/>
                    </a:cubicBezTo>
                    <a:cubicBezTo>
                      <a:pt x="275" y="97"/>
                      <a:pt x="275" y="98"/>
                      <a:pt x="275" y="98"/>
                    </a:cubicBezTo>
                    <a:cubicBezTo>
                      <a:pt x="275" y="98"/>
                      <a:pt x="274" y="98"/>
                      <a:pt x="274" y="98"/>
                    </a:cubicBezTo>
                    <a:cubicBezTo>
                      <a:pt x="274" y="98"/>
                      <a:pt x="272" y="99"/>
                      <a:pt x="273" y="98"/>
                    </a:cubicBezTo>
                    <a:cubicBezTo>
                      <a:pt x="273" y="97"/>
                      <a:pt x="274" y="97"/>
                      <a:pt x="275" y="96"/>
                    </a:cubicBezTo>
                    <a:cubicBezTo>
                      <a:pt x="274" y="96"/>
                      <a:pt x="273" y="96"/>
                      <a:pt x="273" y="96"/>
                    </a:cubicBezTo>
                    <a:cubicBezTo>
                      <a:pt x="273" y="95"/>
                      <a:pt x="275" y="95"/>
                      <a:pt x="276" y="95"/>
                    </a:cubicBezTo>
                    <a:cubicBezTo>
                      <a:pt x="276" y="94"/>
                      <a:pt x="277" y="94"/>
                      <a:pt x="276" y="94"/>
                    </a:cubicBezTo>
                    <a:cubicBezTo>
                      <a:pt x="275" y="94"/>
                      <a:pt x="275" y="94"/>
                      <a:pt x="274" y="94"/>
                    </a:cubicBezTo>
                    <a:cubicBezTo>
                      <a:pt x="274" y="94"/>
                      <a:pt x="274" y="94"/>
                      <a:pt x="274" y="94"/>
                    </a:cubicBezTo>
                    <a:cubicBezTo>
                      <a:pt x="274" y="93"/>
                      <a:pt x="275" y="92"/>
                      <a:pt x="276" y="92"/>
                    </a:cubicBezTo>
                    <a:cubicBezTo>
                      <a:pt x="276" y="92"/>
                      <a:pt x="276" y="92"/>
                      <a:pt x="275" y="93"/>
                    </a:cubicBezTo>
                    <a:cubicBezTo>
                      <a:pt x="276" y="93"/>
                      <a:pt x="278" y="93"/>
                      <a:pt x="279" y="92"/>
                    </a:cubicBezTo>
                    <a:cubicBezTo>
                      <a:pt x="278" y="92"/>
                      <a:pt x="277" y="92"/>
                      <a:pt x="278" y="92"/>
                    </a:cubicBezTo>
                    <a:cubicBezTo>
                      <a:pt x="278" y="91"/>
                      <a:pt x="279" y="91"/>
                      <a:pt x="280" y="91"/>
                    </a:cubicBezTo>
                    <a:cubicBezTo>
                      <a:pt x="280" y="91"/>
                      <a:pt x="282" y="91"/>
                      <a:pt x="282" y="90"/>
                    </a:cubicBezTo>
                    <a:cubicBezTo>
                      <a:pt x="283" y="90"/>
                      <a:pt x="282" y="90"/>
                      <a:pt x="283" y="89"/>
                    </a:cubicBezTo>
                    <a:cubicBezTo>
                      <a:pt x="283" y="89"/>
                      <a:pt x="283" y="89"/>
                      <a:pt x="284" y="89"/>
                    </a:cubicBezTo>
                    <a:cubicBezTo>
                      <a:pt x="286" y="87"/>
                      <a:pt x="288" y="87"/>
                      <a:pt x="290" y="86"/>
                    </a:cubicBezTo>
                    <a:cubicBezTo>
                      <a:pt x="292" y="85"/>
                      <a:pt x="294" y="84"/>
                      <a:pt x="297" y="84"/>
                    </a:cubicBezTo>
                    <a:cubicBezTo>
                      <a:pt x="297" y="84"/>
                      <a:pt x="296" y="84"/>
                      <a:pt x="296" y="85"/>
                    </a:cubicBezTo>
                    <a:cubicBezTo>
                      <a:pt x="296" y="85"/>
                      <a:pt x="297" y="84"/>
                      <a:pt x="297" y="85"/>
                    </a:cubicBezTo>
                    <a:cubicBezTo>
                      <a:pt x="297" y="85"/>
                      <a:pt x="297" y="85"/>
                      <a:pt x="297" y="85"/>
                    </a:cubicBezTo>
                    <a:cubicBezTo>
                      <a:pt x="297" y="85"/>
                      <a:pt x="296" y="85"/>
                      <a:pt x="296" y="86"/>
                    </a:cubicBezTo>
                    <a:cubicBezTo>
                      <a:pt x="296" y="85"/>
                      <a:pt x="298" y="85"/>
                      <a:pt x="298" y="85"/>
                    </a:cubicBezTo>
                    <a:cubicBezTo>
                      <a:pt x="298" y="85"/>
                      <a:pt x="297" y="85"/>
                      <a:pt x="297" y="85"/>
                    </a:cubicBezTo>
                    <a:cubicBezTo>
                      <a:pt x="298" y="84"/>
                      <a:pt x="298" y="84"/>
                      <a:pt x="298" y="84"/>
                    </a:cubicBezTo>
                    <a:cubicBezTo>
                      <a:pt x="298" y="84"/>
                      <a:pt x="298" y="84"/>
                      <a:pt x="297" y="84"/>
                    </a:cubicBezTo>
                    <a:cubicBezTo>
                      <a:pt x="297" y="85"/>
                      <a:pt x="297" y="84"/>
                      <a:pt x="296" y="84"/>
                    </a:cubicBezTo>
                    <a:cubicBezTo>
                      <a:pt x="297" y="84"/>
                      <a:pt x="297" y="84"/>
                      <a:pt x="297" y="84"/>
                    </a:cubicBezTo>
                    <a:cubicBezTo>
                      <a:pt x="297" y="84"/>
                      <a:pt x="299" y="83"/>
                      <a:pt x="299" y="83"/>
                    </a:cubicBezTo>
                    <a:cubicBezTo>
                      <a:pt x="300" y="83"/>
                      <a:pt x="302" y="82"/>
                      <a:pt x="303" y="82"/>
                    </a:cubicBezTo>
                    <a:cubicBezTo>
                      <a:pt x="301" y="82"/>
                      <a:pt x="300" y="83"/>
                      <a:pt x="298" y="83"/>
                    </a:cubicBezTo>
                    <a:cubicBezTo>
                      <a:pt x="299" y="83"/>
                      <a:pt x="299" y="82"/>
                      <a:pt x="299" y="82"/>
                    </a:cubicBezTo>
                    <a:cubicBezTo>
                      <a:pt x="300" y="82"/>
                      <a:pt x="300" y="81"/>
                      <a:pt x="300" y="81"/>
                    </a:cubicBezTo>
                    <a:cubicBezTo>
                      <a:pt x="300" y="81"/>
                      <a:pt x="301" y="82"/>
                      <a:pt x="301" y="81"/>
                    </a:cubicBezTo>
                    <a:cubicBezTo>
                      <a:pt x="300" y="81"/>
                      <a:pt x="301" y="81"/>
                      <a:pt x="301" y="81"/>
                    </a:cubicBezTo>
                    <a:cubicBezTo>
                      <a:pt x="302" y="80"/>
                      <a:pt x="303" y="80"/>
                      <a:pt x="304" y="79"/>
                    </a:cubicBezTo>
                    <a:cubicBezTo>
                      <a:pt x="305" y="79"/>
                      <a:pt x="305" y="79"/>
                      <a:pt x="306" y="79"/>
                    </a:cubicBezTo>
                    <a:cubicBezTo>
                      <a:pt x="307" y="79"/>
                      <a:pt x="308" y="79"/>
                      <a:pt x="308" y="79"/>
                    </a:cubicBezTo>
                    <a:cubicBezTo>
                      <a:pt x="307" y="79"/>
                      <a:pt x="307" y="78"/>
                      <a:pt x="307" y="78"/>
                    </a:cubicBezTo>
                    <a:cubicBezTo>
                      <a:pt x="307" y="78"/>
                      <a:pt x="307" y="78"/>
                      <a:pt x="307" y="78"/>
                    </a:cubicBezTo>
                    <a:cubicBezTo>
                      <a:pt x="307" y="78"/>
                      <a:pt x="307" y="78"/>
                      <a:pt x="308" y="78"/>
                    </a:cubicBezTo>
                    <a:cubicBezTo>
                      <a:pt x="308" y="77"/>
                      <a:pt x="309" y="77"/>
                      <a:pt x="310" y="77"/>
                    </a:cubicBezTo>
                    <a:cubicBezTo>
                      <a:pt x="311" y="77"/>
                      <a:pt x="313" y="77"/>
                      <a:pt x="314" y="77"/>
                    </a:cubicBezTo>
                    <a:cubicBezTo>
                      <a:pt x="314" y="78"/>
                      <a:pt x="314" y="78"/>
                      <a:pt x="314" y="78"/>
                    </a:cubicBezTo>
                    <a:cubicBezTo>
                      <a:pt x="314" y="78"/>
                      <a:pt x="314" y="78"/>
                      <a:pt x="315" y="78"/>
                    </a:cubicBezTo>
                    <a:cubicBezTo>
                      <a:pt x="314" y="78"/>
                      <a:pt x="314" y="78"/>
                      <a:pt x="314" y="78"/>
                    </a:cubicBezTo>
                    <a:cubicBezTo>
                      <a:pt x="314" y="78"/>
                      <a:pt x="314" y="78"/>
                      <a:pt x="314" y="78"/>
                    </a:cubicBezTo>
                    <a:cubicBezTo>
                      <a:pt x="314" y="78"/>
                      <a:pt x="315" y="78"/>
                      <a:pt x="315" y="78"/>
                    </a:cubicBezTo>
                    <a:cubicBezTo>
                      <a:pt x="315" y="79"/>
                      <a:pt x="315" y="79"/>
                      <a:pt x="315" y="79"/>
                    </a:cubicBezTo>
                    <a:cubicBezTo>
                      <a:pt x="315" y="80"/>
                      <a:pt x="319" y="78"/>
                      <a:pt x="319" y="78"/>
                    </a:cubicBezTo>
                    <a:cubicBezTo>
                      <a:pt x="321" y="78"/>
                      <a:pt x="322" y="77"/>
                      <a:pt x="323" y="77"/>
                    </a:cubicBezTo>
                    <a:cubicBezTo>
                      <a:pt x="325" y="76"/>
                      <a:pt x="326" y="75"/>
                      <a:pt x="328" y="75"/>
                    </a:cubicBezTo>
                    <a:cubicBezTo>
                      <a:pt x="328" y="75"/>
                      <a:pt x="331" y="73"/>
                      <a:pt x="331" y="75"/>
                    </a:cubicBezTo>
                    <a:cubicBezTo>
                      <a:pt x="330" y="75"/>
                      <a:pt x="330" y="75"/>
                      <a:pt x="329" y="75"/>
                    </a:cubicBezTo>
                    <a:cubicBezTo>
                      <a:pt x="331" y="75"/>
                      <a:pt x="334" y="75"/>
                      <a:pt x="336" y="75"/>
                    </a:cubicBezTo>
                    <a:cubicBezTo>
                      <a:pt x="338" y="74"/>
                      <a:pt x="340" y="73"/>
                      <a:pt x="342" y="73"/>
                    </a:cubicBezTo>
                    <a:cubicBezTo>
                      <a:pt x="343" y="72"/>
                      <a:pt x="344" y="72"/>
                      <a:pt x="344" y="71"/>
                    </a:cubicBezTo>
                    <a:cubicBezTo>
                      <a:pt x="345" y="71"/>
                      <a:pt x="346" y="70"/>
                      <a:pt x="346" y="69"/>
                    </a:cubicBezTo>
                    <a:cubicBezTo>
                      <a:pt x="347" y="68"/>
                      <a:pt x="348" y="68"/>
                      <a:pt x="348" y="68"/>
                    </a:cubicBezTo>
                    <a:cubicBezTo>
                      <a:pt x="349" y="67"/>
                      <a:pt x="349" y="67"/>
                      <a:pt x="349" y="66"/>
                    </a:cubicBezTo>
                    <a:cubicBezTo>
                      <a:pt x="348" y="66"/>
                      <a:pt x="349" y="66"/>
                      <a:pt x="349" y="66"/>
                    </a:cubicBezTo>
                    <a:cubicBezTo>
                      <a:pt x="349" y="66"/>
                      <a:pt x="349" y="66"/>
                      <a:pt x="349" y="65"/>
                    </a:cubicBezTo>
                    <a:cubicBezTo>
                      <a:pt x="348" y="65"/>
                      <a:pt x="347" y="66"/>
                      <a:pt x="346" y="66"/>
                    </a:cubicBezTo>
                    <a:cubicBezTo>
                      <a:pt x="347" y="65"/>
                      <a:pt x="348" y="65"/>
                      <a:pt x="349" y="64"/>
                    </a:cubicBezTo>
                    <a:cubicBezTo>
                      <a:pt x="350" y="64"/>
                      <a:pt x="351" y="65"/>
                      <a:pt x="352" y="64"/>
                    </a:cubicBezTo>
                    <a:cubicBezTo>
                      <a:pt x="352" y="64"/>
                      <a:pt x="352" y="64"/>
                      <a:pt x="352" y="64"/>
                    </a:cubicBezTo>
                    <a:cubicBezTo>
                      <a:pt x="352" y="64"/>
                      <a:pt x="352" y="64"/>
                      <a:pt x="353" y="64"/>
                    </a:cubicBezTo>
                    <a:cubicBezTo>
                      <a:pt x="353" y="64"/>
                      <a:pt x="354" y="64"/>
                      <a:pt x="354" y="64"/>
                    </a:cubicBezTo>
                    <a:cubicBezTo>
                      <a:pt x="355" y="63"/>
                      <a:pt x="356" y="63"/>
                      <a:pt x="356" y="62"/>
                    </a:cubicBezTo>
                    <a:cubicBezTo>
                      <a:pt x="356" y="62"/>
                      <a:pt x="357" y="62"/>
                      <a:pt x="357" y="62"/>
                    </a:cubicBezTo>
                    <a:cubicBezTo>
                      <a:pt x="357" y="61"/>
                      <a:pt x="356" y="61"/>
                      <a:pt x="356" y="61"/>
                    </a:cubicBezTo>
                    <a:cubicBezTo>
                      <a:pt x="356" y="60"/>
                      <a:pt x="357" y="61"/>
                      <a:pt x="358" y="60"/>
                    </a:cubicBezTo>
                    <a:cubicBezTo>
                      <a:pt x="355" y="60"/>
                      <a:pt x="353" y="62"/>
                      <a:pt x="351" y="62"/>
                    </a:cubicBezTo>
                    <a:cubicBezTo>
                      <a:pt x="351" y="62"/>
                      <a:pt x="350" y="62"/>
                      <a:pt x="350" y="62"/>
                    </a:cubicBezTo>
                    <a:cubicBezTo>
                      <a:pt x="350" y="62"/>
                      <a:pt x="350" y="62"/>
                      <a:pt x="350" y="62"/>
                    </a:cubicBezTo>
                    <a:cubicBezTo>
                      <a:pt x="349" y="62"/>
                      <a:pt x="348" y="62"/>
                      <a:pt x="348" y="63"/>
                    </a:cubicBezTo>
                    <a:cubicBezTo>
                      <a:pt x="348" y="63"/>
                      <a:pt x="349" y="62"/>
                      <a:pt x="349" y="62"/>
                    </a:cubicBezTo>
                    <a:cubicBezTo>
                      <a:pt x="349" y="62"/>
                      <a:pt x="348" y="63"/>
                      <a:pt x="347" y="63"/>
                    </a:cubicBezTo>
                    <a:cubicBezTo>
                      <a:pt x="347" y="63"/>
                      <a:pt x="346" y="62"/>
                      <a:pt x="346" y="63"/>
                    </a:cubicBezTo>
                    <a:cubicBezTo>
                      <a:pt x="346" y="63"/>
                      <a:pt x="345" y="63"/>
                      <a:pt x="344" y="64"/>
                    </a:cubicBezTo>
                    <a:cubicBezTo>
                      <a:pt x="343" y="64"/>
                      <a:pt x="342" y="64"/>
                      <a:pt x="341" y="64"/>
                    </a:cubicBezTo>
                    <a:cubicBezTo>
                      <a:pt x="340" y="65"/>
                      <a:pt x="338" y="66"/>
                      <a:pt x="336" y="66"/>
                    </a:cubicBezTo>
                    <a:cubicBezTo>
                      <a:pt x="337" y="66"/>
                      <a:pt x="338" y="65"/>
                      <a:pt x="338" y="65"/>
                    </a:cubicBezTo>
                    <a:cubicBezTo>
                      <a:pt x="338" y="65"/>
                      <a:pt x="338" y="64"/>
                      <a:pt x="337" y="64"/>
                    </a:cubicBezTo>
                    <a:cubicBezTo>
                      <a:pt x="338" y="64"/>
                      <a:pt x="337" y="63"/>
                      <a:pt x="338" y="63"/>
                    </a:cubicBezTo>
                    <a:cubicBezTo>
                      <a:pt x="337" y="63"/>
                      <a:pt x="336" y="64"/>
                      <a:pt x="335" y="64"/>
                    </a:cubicBezTo>
                    <a:cubicBezTo>
                      <a:pt x="335" y="64"/>
                      <a:pt x="336" y="64"/>
                      <a:pt x="336" y="64"/>
                    </a:cubicBezTo>
                    <a:cubicBezTo>
                      <a:pt x="336" y="64"/>
                      <a:pt x="336" y="64"/>
                      <a:pt x="336" y="64"/>
                    </a:cubicBezTo>
                    <a:cubicBezTo>
                      <a:pt x="336" y="65"/>
                      <a:pt x="337" y="64"/>
                      <a:pt x="337" y="64"/>
                    </a:cubicBezTo>
                    <a:cubicBezTo>
                      <a:pt x="336" y="65"/>
                      <a:pt x="335" y="65"/>
                      <a:pt x="335" y="65"/>
                    </a:cubicBezTo>
                    <a:cubicBezTo>
                      <a:pt x="334" y="66"/>
                      <a:pt x="335" y="65"/>
                      <a:pt x="335" y="65"/>
                    </a:cubicBezTo>
                    <a:cubicBezTo>
                      <a:pt x="335" y="65"/>
                      <a:pt x="334" y="64"/>
                      <a:pt x="334" y="64"/>
                    </a:cubicBezTo>
                    <a:cubicBezTo>
                      <a:pt x="333" y="64"/>
                      <a:pt x="333" y="64"/>
                      <a:pt x="332" y="64"/>
                    </a:cubicBezTo>
                    <a:cubicBezTo>
                      <a:pt x="331" y="64"/>
                      <a:pt x="331" y="64"/>
                      <a:pt x="330" y="64"/>
                    </a:cubicBezTo>
                    <a:cubicBezTo>
                      <a:pt x="329" y="64"/>
                      <a:pt x="328" y="64"/>
                      <a:pt x="328" y="64"/>
                    </a:cubicBezTo>
                    <a:cubicBezTo>
                      <a:pt x="328" y="64"/>
                      <a:pt x="328" y="64"/>
                      <a:pt x="329" y="64"/>
                    </a:cubicBezTo>
                    <a:cubicBezTo>
                      <a:pt x="327" y="64"/>
                      <a:pt x="325" y="65"/>
                      <a:pt x="324" y="65"/>
                    </a:cubicBezTo>
                    <a:cubicBezTo>
                      <a:pt x="324" y="65"/>
                      <a:pt x="325" y="65"/>
                      <a:pt x="325" y="64"/>
                    </a:cubicBezTo>
                    <a:cubicBezTo>
                      <a:pt x="324" y="64"/>
                      <a:pt x="323" y="65"/>
                      <a:pt x="323" y="65"/>
                    </a:cubicBezTo>
                    <a:cubicBezTo>
                      <a:pt x="323" y="65"/>
                      <a:pt x="323" y="65"/>
                      <a:pt x="323" y="64"/>
                    </a:cubicBezTo>
                    <a:cubicBezTo>
                      <a:pt x="323" y="65"/>
                      <a:pt x="322" y="65"/>
                      <a:pt x="322" y="65"/>
                    </a:cubicBezTo>
                    <a:cubicBezTo>
                      <a:pt x="323" y="65"/>
                      <a:pt x="323" y="65"/>
                      <a:pt x="323" y="65"/>
                    </a:cubicBezTo>
                    <a:cubicBezTo>
                      <a:pt x="322" y="66"/>
                      <a:pt x="320" y="65"/>
                      <a:pt x="319" y="65"/>
                    </a:cubicBezTo>
                    <a:cubicBezTo>
                      <a:pt x="317" y="64"/>
                      <a:pt x="315" y="64"/>
                      <a:pt x="314" y="64"/>
                    </a:cubicBezTo>
                    <a:cubicBezTo>
                      <a:pt x="313" y="63"/>
                      <a:pt x="315" y="62"/>
                      <a:pt x="315" y="62"/>
                    </a:cubicBezTo>
                    <a:cubicBezTo>
                      <a:pt x="316" y="62"/>
                      <a:pt x="316" y="61"/>
                      <a:pt x="316" y="61"/>
                    </a:cubicBezTo>
                    <a:cubicBezTo>
                      <a:pt x="317" y="61"/>
                      <a:pt x="317" y="61"/>
                      <a:pt x="317" y="61"/>
                    </a:cubicBezTo>
                    <a:cubicBezTo>
                      <a:pt x="317" y="60"/>
                      <a:pt x="317" y="60"/>
                      <a:pt x="317" y="61"/>
                    </a:cubicBezTo>
                    <a:cubicBezTo>
                      <a:pt x="317" y="60"/>
                      <a:pt x="316" y="60"/>
                      <a:pt x="316" y="60"/>
                    </a:cubicBezTo>
                    <a:cubicBezTo>
                      <a:pt x="317" y="59"/>
                      <a:pt x="316" y="59"/>
                      <a:pt x="316" y="59"/>
                    </a:cubicBezTo>
                    <a:cubicBezTo>
                      <a:pt x="317" y="58"/>
                      <a:pt x="318" y="57"/>
                      <a:pt x="319" y="57"/>
                    </a:cubicBezTo>
                    <a:cubicBezTo>
                      <a:pt x="318" y="58"/>
                      <a:pt x="317" y="58"/>
                      <a:pt x="317" y="58"/>
                    </a:cubicBezTo>
                    <a:cubicBezTo>
                      <a:pt x="318" y="59"/>
                      <a:pt x="319" y="59"/>
                      <a:pt x="321" y="58"/>
                    </a:cubicBezTo>
                    <a:cubicBezTo>
                      <a:pt x="322" y="57"/>
                      <a:pt x="322" y="57"/>
                      <a:pt x="324" y="57"/>
                    </a:cubicBezTo>
                    <a:cubicBezTo>
                      <a:pt x="325" y="58"/>
                      <a:pt x="324" y="57"/>
                      <a:pt x="323" y="57"/>
                    </a:cubicBezTo>
                    <a:cubicBezTo>
                      <a:pt x="323" y="57"/>
                      <a:pt x="322" y="56"/>
                      <a:pt x="322" y="56"/>
                    </a:cubicBezTo>
                    <a:cubicBezTo>
                      <a:pt x="321" y="56"/>
                      <a:pt x="320" y="56"/>
                      <a:pt x="320" y="56"/>
                    </a:cubicBezTo>
                    <a:cubicBezTo>
                      <a:pt x="320" y="56"/>
                      <a:pt x="321" y="56"/>
                      <a:pt x="321" y="57"/>
                    </a:cubicBezTo>
                    <a:cubicBezTo>
                      <a:pt x="320" y="56"/>
                      <a:pt x="319" y="56"/>
                      <a:pt x="317" y="56"/>
                    </a:cubicBezTo>
                    <a:cubicBezTo>
                      <a:pt x="316" y="56"/>
                      <a:pt x="316" y="55"/>
                      <a:pt x="315" y="54"/>
                    </a:cubicBezTo>
                    <a:cubicBezTo>
                      <a:pt x="315" y="54"/>
                      <a:pt x="314" y="54"/>
                      <a:pt x="314" y="54"/>
                    </a:cubicBezTo>
                    <a:cubicBezTo>
                      <a:pt x="314" y="54"/>
                      <a:pt x="315" y="53"/>
                      <a:pt x="315" y="53"/>
                    </a:cubicBezTo>
                    <a:cubicBezTo>
                      <a:pt x="316" y="53"/>
                      <a:pt x="317" y="53"/>
                      <a:pt x="318" y="53"/>
                    </a:cubicBezTo>
                    <a:cubicBezTo>
                      <a:pt x="317" y="53"/>
                      <a:pt x="316" y="53"/>
                      <a:pt x="315" y="54"/>
                    </a:cubicBezTo>
                    <a:cubicBezTo>
                      <a:pt x="316" y="54"/>
                      <a:pt x="317" y="53"/>
                      <a:pt x="317" y="53"/>
                    </a:cubicBezTo>
                    <a:cubicBezTo>
                      <a:pt x="318" y="53"/>
                      <a:pt x="319" y="53"/>
                      <a:pt x="319" y="53"/>
                    </a:cubicBezTo>
                    <a:cubicBezTo>
                      <a:pt x="320" y="53"/>
                      <a:pt x="321" y="53"/>
                      <a:pt x="321" y="52"/>
                    </a:cubicBezTo>
                    <a:cubicBezTo>
                      <a:pt x="321" y="52"/>
                      <a:pt x="322" y="52"/>
                      <a:pt x="322" y="52"/>
                    </a:cubicBezTo>
                    <a:cubicBezTo>
                      <a:pt x="321" y="52"/>
                      <a:pt x="323" y="52"/>
                      <a:pt x="323" y="51"/>
                    </a:cubicBezTo>
                    <a:cubicBezTo>
                      <a:pt x="323" y="51"/>
                      <a:pt x="324" y="51"/>
                      <a:pt x="324" y="51"/>
                    </a:cubicBezTo>
                    <a:cubicBezTo>
                      <a:pt x="324" y="52"/>
                      <a:pt x="326" y="51"/>
                      <a:pt x="326" y="51"/>
                    </a:cubicBezTo>
                    <a:cubicBezTo>
                      <a:pt x="327" y="51"/>
                      <a:pt x="328" y="51"/>
                      <a:pt x="328" y="51"/>
                    </a:cubicBezTo>
                    <a:cubicBezTo>
                      <a:pt x="328" y="50"/>
                      <a:pt x="329" y="50"/>
                      <a:pt x="329" y="50"/>
                    </a:cubicBezTo>
                    <a:cubicBezTo>
                      <a:pt x="329" y="50"/>
                      <a:pt x="329" y="50"/>
                      <a:pt x="329" y="50"/>
                    </a:cubicBezTo>
                    <a:cubicBezTo>
                      <a:pt x="329" y="50"/>
                      <a:pt x="330" y="50"/>
                      <a:pt x="330" y="50"/>
                    </a:cubicBezTo>
                    <a:cubicBezTo>
                      <a:pt x="331" y="50"/>
                      <a:pt x="331" y="49"/>
                      <a:pt x="332" y="49"/>
                    </a:cubicBezTo>
                    <a:cubicBezTo>
                      <a:pt x="333" y="49"/>
                      <a:pt x="333" y="49"/>
                      <a:pt x="334" y="49"/>
                    </a:cubicBezTo>
                    <a:cubicBezTo>
                      <a:pt x="335" y="49"/>
                      <a:pt x="336" y="48"/>
                      <a:pt x="337" y="49"/>
                    </a:cubicBezTo>
                    <a:cubicBezTo>
                      <a:pt x="337" y="49"/>
                      <a:pt x="336" y="49"/>
                      <a:pt x="336" y="49"/>
                    </a:cubicBezTo>
                    <a:cubicBezTo>
                      <a:pt x="336" y="49"/>
                      <a:pt x="338" y="49"/>
                      <a:pt x="338" y="49"/>
                    </a:cubicBezTo>
                    <a:cubicBezTo>
                      <a:pt x="339" y="49"/>
                      <a:pt x="341" y="49"/>
                      <a:pt x="341" y="49"/>
                    </a:cubicBezTo>
                    <a:cubicBezTo>
                      <a:pt x="341" y="48"/>
                      <a:pt x="339" y="48"/>
                      <a:pt x="339" y="48"/>
                    </a:cubicBezTo>
                    <a:cubicBezTo>
                      <a:pt x="339" y="48"/>
                      <a:pt x="342" y="47"/>
                      <a:pt x="342" y="47"/>
                    </a:cubicBezTo>
                    <a:cubicBezTo>
                      <a:pt x="343" y="47"/>
                      <a:pt x="344" y="46"/>
                      <a:pt x="346" y="46"/>
                    </a:cubicBezTo>
                    <a:cubicBezTo>
                      <a:pt x="346" y="46"/>
                      <a:pt x="347" y="46"/>
                      <a:pt x="347" y="46"/>
                    </a:cubicBezTo>
                    <a:cubicBezTo>
                      <a:pt x="348" y="46"/>
                      <a:pt x="348" y="46"/>
                      <a:pt x="348" y="46"/>
                    </a:cubicBezTo>
                    <a:cubicBezTo>
                      <a:pt x="348" y="46"/>
                      <a:pt x="349" y="46"/>
                      <a:pt x="349" y="46"/>
                    </a:cubicBezTo>
                    <a:cubicBezTo>
                      <a:pt x="350" y="46"/>
                      <a:pt x="350" y="45"/>
                      <a:pt x="351" y="45"/>
                    </a:cubicBezTo>
                    <a:cubicBezTo>
                      <a:pt x="352" y="45"/>
                      <a:pt x="353" y="45"/>
                      <a:pt x="355" y="45"/>
                    </a:cubicBezTo>
                    <a:cubicBezTo>
                      <a:pt x="356" y="44"/>
                      <a:pt x="359" y="44"/>
                      <a:pt x="360" y="45"/>
                    </a:cubicBezTo>
                    <a:cubicBezTo>
                      <a:pt x="360" y="45"/>
                      <a:pt x="359" y="44"/>
                      <a:pt x="358" y="45"/>
                    </a:cubicBezTo>
                    <a:cubicBezTo>
                      <a:pt x="358" y="45"/>
                      <a:pt x="359" y="45"/>
                      <a:pt x="359" y="45"/>
                    </a:cubicBezTo>
                    <a:cubicBezTo>
                      <a:pt x="359" y="45"/>
                      <a:pt x="358" y="45"/>
                      <a:pt x="358" y="45"/>
                    </a:cubicBezTo>
                    <a:cubicBezTo>
                      <a:pt x="358" y="46"/>
                      <a:pt x="357" y="46"/>
                      <a:pt x="356" y="47"/>
                    </a:cubicBezTo>
                    <a:cubicBezTo>
                      <a:pt x="355" y="47"/>
                      <a:pt x="354" y="48"/>
                      <a:pt x="353" y="48"/>
                    </a:cubicBezTo>
                    <a:cubicBezTo>
                      <a:pt x="353" y="48"/>
                      <a:pt x="352" y="48"/>
                      <a:pt x="351" y="48"/>
                    </a:cubicBezTo>
                    <a:cubicBezTo>
                      <a:pt x="352" y="48"/>
                      <a:pt x="352" y="48"/>
                      <a:pt x="353" y="48"/>
                    </a:cubicBezTo>
                    <a:cubicBezTo>
                      <a:pt x="352" y="49"/>
                      <a:pt x="353" y="48"/>
                      <a:pt x="353" y="48"/>
                    </a:cubicBezTo>
                    <a:cubicBezTo>
                      <a:pt x="353" y="48"/>
                      <a:pt x="352" y="50"/>
                      <a:pt x="354" y="50"/>
                    </a:cubicBezTo>
                    <a:cubicBezTo>
                      <a:pt x="355" y="49"/>
                      <a:pt x="356" y="50"/>
                      <a:pt x="357" y="50"/>
                    </a:cubicBezTo>
                    <a:cubicBezTo>
                      <a:pt x="358" y="49"/>
                      <a:pt x="359" y="49"/>
                      <a:pt x="360" y="49"/>
                    </a:cubicBezTo>
                    <a:cubicBezTo>
                      <a:pt x="361" y="49"/>
                      <a:pt x="360" y="50"/>
                      <a:pt x="360" y="50"/>
                    </a:cubicBezTo>
                    <a:cubicBezTo>
                      <a:pt x="360" y="50"/>
                      <a:pt x="361" y="50"/>
                      <a:pt x="362" y="50"/>
                    </a:cubicBezTo>
                    <a:cubicBezTo>
                      <a:pt x="363" y="50"/>
                      <a:pt x="364" y="49"/>
                      <a:pt x="365" y="50"/>
                    </a:cubicBezTo>
                    <a:cubicBezTo>
                      <a:pt x="365" y="50"/>
                      <a:pt x="365" y="50"/>
                      <a:pt x="365" y="50"/>
                    </a:cubicBezTo>
                    <a:cubicBezTo>
                      <a:pt x="365" y="50"/>
                      <a:pt x="365" y="50"/>
                      <a:pt x="365" y="50"/>
                    </a:cubicBezTo>
                    <a:cubicBezTo>
                      <a:pt x="365" y="50"/>
                      <a:pt x="365" y="50"/>
                      <a:pt x="365" y="50"/>
                    </a:cubicBezTo>
                    <a:cubicBezTo>
                      <a:pt x="365" y="50"/>
                      <a:pt x="365" y="50"/>
                      <a:pt x="366" y="50"/>
                    </a:cubicBezTo>
                    <a:cubicBezTo>
                      <a:pt x="365" y="50"/>
                      <a:pt x="366" y="50"/>
                      <a:pt x="367" y="50"/>
                    </a:cubicBezTo>
                    <a:cubicBezTo>
                      <a:pt x="367" y="50"/>
                      <a:pt x="368" y="49"/>
                      <a:pt x="367" y="49"/>
                    </a:cubicBezTo>
                    <a:cubicBezTo>
                      <a:pt x="368" y="49"/>
                      <a:pt x="369" y="49"/>
                      <a:pt x="370" y="48"/>
                    </a:cubicBezTo>
                    <a:cubicBezTo>
                      <a:pt x="370" y="48"/>
                      <a:pt x="371" y="47"/>
                      <a:pt x="373" y="48"/>
                    </a:cubicBezTo>
                    <a:cubicBezTo>
                      <a:pt x="372" y="48"/>
                      <a:pt x="374" y="48"/>
                      <a:pt x="374" y="48"/>
                    </a:cubicBezTo>
                    <a:cubicBezTo>
                      <a:pt x="374" y="48"/>
                      <a:pt x="373" y="49"/>
                      <a:pt x="372" y="49"/>
                    </a:cubicBezTo>
                    <a:cubicBezTo>
                      <a:pt x="373" y="50"/>
                      <a:pt x="377" y="47"/>
                      <a:pt x="374" y="47"/>
                    </a:cubicBezTo>
                    <a:cubicBezTo>
                      <a:pt x="373" y="46"/>
                      <a:pt x="372" y="46"/>
                      <a:pt x="371" y="47"/>
                    </a:cubicBezTo>
                    <a:cubicBezTo>
                      <a:pt x="370" y="47"/>
                      <a:pt x="370" y="47"/>
                      <a:pt x="370" y="47"/>
                    </a:cubicBezTo>
                    <a:cubicBezTo>
                      <a:pt x="369" y="47"/>
                      <a:pt x="369" y="48"/>
                      <a:pt x="369" y="48"/>
                    </a:cubicBezTo>
                    <a:cubicBezTo>
                      <a:pt x="370" y="47"/>
                      <a:pt x="371" y="46"/>
                      <a:pt x="372" y="46"/>
                    </a:cubicBezTo>
                    <a:cubicBezTo>
                      <a:pt x="372" y="45"/>
                      <a:pt x="373" y="44"/>
                      <a:pt x="372" y="43"/>
                    </a:cubicBezTo>
                    <a:cubicBezTo>
                      <a:pt x="372" y="43"/>
                      <a:pt x="371" y="43"/>
                      <a:pt x="371" y="43"/>
                    </a:cubicBezTo>
                    <a:cubicBezTo>
                      <a:pt x="371" y="43"/>
                      <a:pt x="371" y="43"/>
                      <a:pt x="371" y="43"/>
                    </a:cubicBezTo>
                    <a:cubicBezTo>
                      <a:pt x="372" y="42"/>
                      <a:pt x="372" y="42"/>
                      <a:pt x="372" y="42"/>
                    </a:cubicBezTo>
                    <a:cubicBezTo>
                      <a:pt x="372" y="42"/>
                      <a:pt x="372" y="41"/>
                      <a:pt x="373" y="41"/>
                    </a:cubicBezTo>
                    <a:cubicBezTo>
                      <a:pt x="373" y="41"/>
                      <a:pt x="373" y="41"/>
                      <a:pt x="374" y="41"/>
                    </a:cubicBezTo>
                    <a:cubicBezTo>
                      <a:pt x="373" y="42"/>
                      <a:pt x="375" y="41"/>
                      <a:pt x="375" y="41"/>
                    </a:cubicBezTo>
                    <a:cubicBezTo>
                      <a:pt x="375" y="42"/>
                      <a:pt x="374" y="43"/>
                      <a:pt x="375" y="43"/>
                    </a:cubicBezTo>
                    <a:cubicBezTo>
                      <a:pt x="374" y="43"/>
                      <a:pt x="373" y="43"/>
                      <a:pt x="373" y="44"/>
                    </a:cubicBezTo>
                    <a:cubicBezTo>
                      <a:pt x="372" y="44"/>
                      <a:pt x="372" y="45"/>
                      <a:pt x="373" y="46"/>
                    </a:cubicBezTo>
                    <a:cubicBezTo>
                      <a:pt x="374" y="47"/>
                      <a:pt x="376" y="45"/>
                      <a:pt x="377" y="45"/>
                    </a:cubicBezTo>
                    <a:cubicBezTo>
                      <a:pt x="377" y="45"/>
                      <a:pt x="378" y="46"/>
                      <a:pt x="378" y="46"/>
                    </a:cubicBezTo>
                    <a:cubicBezTo>
                      <a:pt x="378" y="47"/>
                      <a:pt x="380" y="47"/>
                      <a:pt x="381" y="47"/>
                    </a:cubicBezTo>
                    <a:cubicBezTo>
                      <a:pt x="382" y="47"/>
                      <a:pt x="383" y="46"/>
                      <a:pt x="384" y="46"/>
                    </a:cubicBezTo>
                    <a:cubicBezTo>
                      <a:pt x="385" y="45"/>
                      <a:pt x="385" y="44"/>
                      <a:pt x="386" y="44"/>
                    </a:cubicBezTo>
                    <a:cubicBezTo>
                      <a:pt x="385" y="44"/>
                      <a:pt x="385" y="44"/>
                      <a:pt x="385" y="44"/>
                    </a:cubicBezTo>
                    <a:cubicBezTo>
                      <a:pt x="384" y="44"/>
                      <a:pt x="384" y="44"/>
                      <a:pt x="383" y="45"/>
                    </a:cubicBezTo>
                    <a:cubicBezTo>
                      <a:pt x="383" y="45"/>
                      <a:pt x="382" y="45"/>
                      <a:pt x="382" y="44"/>
                    </a:cubicBezTo>
                    <a:cubicBezTo>
                      <a:pt x="382" y="44"/>
                      <a:pt x="381" y="44"/>
                      <a:pt x="381" y="44"/>
                    </a:cubicBezTo>
                    <a:cubicBezTo>
                      <a:pt x="380" y="44"/>
                      <a:pt x="380" y="44"/>
                      <a:pt x="379" y="44"/>
                    </a:cubicBezTo>
                    <a:cubicBezTo>
                      <a:pt x="378" y="44"/>
                      <a:pt x="378" y="45"/>
                      <a:pt x="377" y="45"/>
                    </a:cubicBezTo>
                    <a:cubicBezTo>
                      <a:pt x="377" y="45"/>
                      <a:pt x="374" y="45"/>
                      <a:pt x="376" y="45"/>
                    </a:cubicBezTo>
                    <a:cubicBezTo>
                      <a:pt x="375" y="44"/>
                      <a:pt x="375" y="44"/>
                      <a:pt x="375" y="44"/>
                    </a:cubicBezTo>
                    <a:cubicBezTo>
                      <a:pt x="375" y="43"/>
                      <a:pt x="376" y="43"/>
                      <a:pt x="376" y="43"/>
                    </a:cubicBezTo>
                    <a:cubicBezTo>
                      <a:pt x="377" y="42"/>
                      <a:pt x="379" y="41"/>
                      <a:pt x="380" y="41"/>
                    </a:cubicBezTo>
                    <a:cubicBezTo>
                      <a:pt x="380" y="41"/>
                      <a:pt x="381" y="41"/>
                      <a:pt x="381" y="41"/>
                    </a:cubicBezTo>
                    <a:cubicBezTo>
                      <a:pt x="381" y="40"/>
                      <a:pt x="380" y="41"/>
                      <a:pt x="380" y="41"/>
                    </a:cubicBezTo>
                    <a:cubicBezTo>
                      <a:pt x="380" y="40"/>
                      <a:pt x="380" y="40"/>
                      <a:pt x="380" y="40"/>
                    </a:cubicBezTo>
                    <a:cubicBezTo>
                      <a:pt x="380" y="40"/>
                      <a:pt x="379" y="40"/>
                      <a:pt x="379" y="40"/>
                    </a:cubicBezTo>
                    <a:cubicBezTo>
                      <a:pt x="378" y="40"/>
                      <a:pt x="377" y="41"/>
                      <a:pt x="376" y="41"/>
                    </a:cubicBezTo>
                    <a:cubicBezTo>
                      <a:pt x="376" y="40"/>
                      <a:pt x="377" y="40"/>
                      <a:pt x="377" y="40"/>
                    </a:cubicBezTo>
                    <a:cubicBezTo>
                      <a:pt x="376" y="40"/>
                      <a:pt x="375" y="41"/>
                      <a:pt x="374" y="41"/>
                    </a:cubicBezTo>
                    <a:cubicBezTo>
                      <a:pt x="375" y="40"/>
                      <a:pt x="377" y="40"/>
                      <a:pt x="378" y="39"/>
                    </a:cubicBezTo>
                    <a:cubicBezTo>
                      <a:pt x="377" y="39"/>
                      <a:pt x="377" y="40"/>
                      <a:pt x="376" y="40"/>
                    </a:cubicBezTo>
                    <a:cubicBezTo>
                      <a:pt x="375" y="40"/>
                      <a:pt x="374" y="41"/>
                      <a:pt x="373" y="41"/>
                    </a:cubicBezTo>
                    <a:cubicBezTo>
                      <a:pt x="373" y="41"/>
                      <a:pt x="373" y="40"/>
                      <a:pt x="373" y="40"/>
                    </a:cubicBezTo>
                    <a:cubicBezTo>
                      <a:pt x="372" y="40"/>
                      <a:pt x="371" y="40"/>
                      <a:pt x="372" y="41"/>
                    </a:cubicBezTo>
                    <a:cubicBezTo>
                      <a:pt x="371" y="41"/>
                      <a:pt x="370" y="40"/>
                      <a:pt x="370" y="40"/>
                    </a:cubicBezTo>
                    <a:cubicBezTo>
                      <a:pt x="369" y="40"/>
                      <a:pt x="368" y="40"/>
                      <a:pt x="368" y="40"/>
                    </a:cubicBezTo>
                    <a:cubicBezTo>
                      <a:pt x="367" y="40"/>
                      <a:pt x="367" y="39"/>
                      <a:pt x="368" y="39"/>
                    </a:cubicBezTo>
                    <a:cubicBezTo>
                      <a:pt x="368" y="38"/>
                      <a:pt x="369" y="38"/>
                      <a:pt x="370" y="37"/>
                    </a:cubicBezTo>
                    <a:cubicBezTo>
                      <a:pt x="370" y="37"/>
                      <a:pt x="371" y="36"/>
                      <a:pt x="371" y="35"/>
                    </a:cubicBezTo>
                    <a:cubicBezTo>
                      <a:pt x="371" y="35"/>
                      <a:pt x="370" y="35"/>
                      <a:pt x="370" y="34"/>
                    </a:cubicBezTo>
                    <a:cubicBezTo>
                      <a:pt x="370" y="34"/>
                      <a:pt x="370" y="34"/>
                      <a:pt x="370" y="33"/>
                    </a:cubicBezTo>
                    <a:cubicBezTo>
                      <a:pt x="370" y="33"/>
                      <a:pt x="369" y="32"/>
                      <a:pt x="369" y="33"/>
                    </a:cubicBezTo>
                    <a:cubicBezTo>
                      <a:pt x="369" y="32"/>
                      <a:pt x="369" y="31"/>
                      <a:pt x="368" y="31"/>
                    </a:cubicBezTo>
                    <a:cubicBezTo>
                      <a:pt x="367" y="30"/>
                      <a:pt x="366" y="31"/>
                      <a:pt x="366" y="30"/>
                    </a:cubicBezTo>
                    <a:cubicBezTo>
                      <a:pt x="365" y="30"/>
                      <a:pt x="365" y="30"/>
                      <a:pt x="366" y="29"/>
                    </a:cubicBezTo>
                    <a:cubicBezTo>
                      <a:pt x="366" y="29"/>
                      <a:pt x="365" y="28"/>
                      <a:pt x="365" y="28"/>
                    </a:cubicBezTo>
                    <a:cubicBezTo>
                      <a:pt x="364" y="28"/>
                      <a:pt x="363" y="28"/>
                      <a:pt x="362" y="28"/>
                    </a:cubicBezTo>
                    <a:cubicBezTo>
                      <a:pt x="363" y="28"/>
                      <a:pt x="363" y="28"/>
                      <a:pt x="364" y="28"/>
                    </a:cubicBezTo>
                    <a:cubicBezTo>
                      <a:pt x="363" y="28"/>
                      <a:pt x="363" y="28"/>
                      <a:pt x="363" y="28"/>
                    </a:cubicBezTo>
                    <a:cubicBezTo>
                      <a:pt x="364" y="28"/>
                      <a:pt x="366" y="28"/>
                      <a:pt x="366" y="27"/>
                    </a:cubicBezTo>
                    <a:cubicBezTo>
                      <a:pt x="368" y="26"/>
                      <a:pt x="370" y="26"/>
                      <a:pt x="371" y="25"/>
                    </a:cubicBezTo>
                    <a:cubicBezTo>
                      <a:pt x="372" y="24"/>
                      <a:pt x="373" y="23"/>
                      <a:pt x="375" y="23"/>
                    </a:cubicBezTo>
                    <a:cubicBezTo>
                      <a:pt x="377" y="23"/>
                      <a:pt x="379" y="23"/>
                      <a:pt x="381" y="23"/>
                    </a:cubicBezTo>
                    <a:cubicBezTo>
                      <a:pt x="385" y="23"/>
                      <a:pt x="389" y="23"/>
                      <a:pt x="393" y="22"/>
                    </a:cubicBezTo>
                    <a:cubicBezTo>
                      <a:pt x="395" y="21"/>
                      <a:pt x="396" y="21"/>
                      <a:pt x="398" y="20"/>
                    </a:cubicBezTo>
                    <a:cubicBezTo>
                      <a:pt x="399" y="20"/>
                      <a:pt x="400" y="19"/>
                      <a:pt x="401" y="19"/>
                    </a:cubicBezTo>
                    <a:cubicBezTo>
                      <a:pt x="401" y="19"/>
                      <a:pt x="402" y="18"/>
                      <a:pt x="403" y="18"/>
                    </a:cubicBezTo>
                    <a:cubicBezTo>
                      <a:pt x="402" y="19"/>
                      <a:pt x="402" y="19"/>
                      <a:pt x="401" y="19"/>
                    </a:cubicBezTo>
                    <a:cubicBezTo>
                      <a:pt x="402" y="19"/>
                      <a:pt x="403" y="19"/>
                      <a:pt x="403" y="18"/>
                    </a:cubicBezTo>
                    <a:cubicBezTo>
                      <a:pt x="404" y="18"/>
                      <a:pt x="405" y="17"/>
                      <a:pt x="406" y="17"/>
                    </a:cubicBezTo>
                    <a:cubicBezTo>
                      <a:pt x="406" y="16"/>
                      <a:pt x="407" y="16"/>
                      <a:pt x="407" y="16"/>
                    </a:cubicBezTo>
                    <a:cubicBezTo>
                      <a:pt x="408" y="16"/>
                      <a:pt x="410" y="15"/>
                      <a:pt x="409" y="15"/>
                    </a:cubicBezTo>
                    <a:cubicBezTo>
                      <a:pt x="410" y="14"/>
                      <a:pt x="411" y="14"/>
                      <a:pt x="412" y="14"/>
                    </a:cubicBezTo>
                    <a:cubicBezTo>
                      <a:pt x="413" y="14"/>
                      <a:pt x="414" y="14"/>
                      <a:pt x="415" y="13"/>
                    </a:cubicBezTo>
                    <a:cubicBezTo>
                      <a:pt x="415" y="13"/>
                      <a:pt x="416" y="13"/>
                      <a:pt x="417" y="12"/>
                    </a:cubicBezTo>
                    <a:cubicBezTo>
                      <a:pt x="418" y="12"/>
                      <a:pt x="420" y="11"/>
                      <a:pt x="421" y="11"/>
                    </a:cubicBezTo>
                    <a:cubicBezTo>
                      <a:pt x="422" y="11"/>
                      <a:pt x="424" y="10"/>
                      <a:pt x="425" y="10"/>
                    </a:cubicBezTo>
                    <a:cubicBezTo>
                      <a:pt x="425" y="10"/>
                      <a:pt x="425" y="10"/>
                      <a:pt x="425" y="10"/>
                    </a:cubicBezTo>
                    <a:cubicBezTo>
                      <a:pt x="425" y="10"/>
                      <a:pt x="425" y="10"/>
                      <a:pt x="425" y="10"/>
                    </a:cubicBezTo>
                    <a:cubicBezTo>
                      <a:pt x="425" y="11"/>
                      <a:pt x="424" y="10"/>
                      <a:pt x="424" y="10"/>
                    </a:cubicBezTo>
                    <a:cubicBezTo>
                      <a:pt x="424" y="11"/>
                      <a:pt x="424" y="11"/>
                      <a:pt x="425" y="11"/>
                    </a:cubicBezTo>
                    <a:cubicBezTo>
                      <a:pt x="423" y="11"/>
                      <a:pt x="422" y="11"/>
                      <a:pt x="421" y="11"/>
                    </a:cubicBezTo>
                    <a:cubicBezTo>
                      <a:pt x="422" y="11"/>
                      <a:pt x="423" y="11"/>
                      <a:pt x="423" y="11"/>
                    </a:cubicBezTo>
                    <a:cubicBezTo>
                      <a:pt x="424" y="11"/>
                      <a:pt x="425" y="11"/>
                      <a:pt x="425" y="10"/>
                    </a:cubicBezTo>
                    <a:cubicBezTo>
                      <a:pt x="426" y="10"/>
                      <a:pt x="427" y="10"/>
                      <a:pt x="428" y="10"/>
                    </a:cubicBezTo>
                    <a:cubicBezTo>
                      <a:pt x="429" y="10"/>
                      <a:pt x="430" y="10"/>
                      <a:pt x="431" y="10"/>
                    </a:cubicBezTo>
                    <a:cubicBezTo>
                      <a:pt x="431" y="10"/>
                      <a:pt x="431" y="10"/>
                      <a:pt x="431" y="10"/>
                    </a:cubicBezTo>
                    <a:cubicBezTo>
                      <a:pt x="432" y="10"/>
                      <a:pt x="432" y="10"/>
                      <a:pt x="433" y="9"/>
                    </a:cubicBezTo>
                    <a:cubicBezTo>
                      <a:pt x="434" y="9"/>
                      <a:pt x="434" y="9"/>
                      <a:pt x="435" y="9"/>
                    </a:cubicBezTo>
                    <a:cubicBezTo>
                      <a:pt x="435" y="9"/>
                      <a:pt x="434" y="9"/>
                      <a:pt x="433" y="9"/>
                    </a:cubicBezTo>
                    <a:cubicBezTo>
                      <a:pt x="436" y="8"/>
                      <a:pt x="438" y="8"/>
                      <a:pt x="441" y="7"/>
                    </a:cubicBezTo>
                    <a:cubicBezTo>
                      <a:pt x="441" y="8"/>
                      <a:pt x="442" y="7"/>
                      <a:pt x="442" y="7"/>
                    </a:cubicBezTo>
                    <a:cubicBezTo>
                      <a:pt x="442" y="8"/>
                      <a:pt x="440" y="8"/>
                      <a:pt x="439" y="8"/>
                    </a:cubicBezTo>
                    <a:cubicBezTo>
                      <a:pt x="440" y="9"/>
                      <a:pt x="440" y="8"/>
                      <a:pt x="441" y="8"/>
                    </a:cubicBezTo>
                    <a:cubicBezTo>
                      <a:pt x="440" y="9"/>
                      <a:pt x="438" y="9"/>
                      <a:pt x="437" y="10"/>
                    </a:cubicBezTo>
                    <a:cubicBezTo>
                      <a:pt x="437" y="10"/>
                      <a:pt x="439" y="9"/>
                      <a:pt x="439" y="10"/>
                    </a:cubicBezTo>
                    <a:cubicBezTo>
                      <a:pt x="439" y="10"/>
                      <a:pt x="439" y="10"/>
                      <a:pt x="438" y="10"/>
                    </a:cubicBezTo>
                    <a:cubicBezTo>
                      <a:pt x="438" y="10"/>
                      <a:pt x="438" y="11"/>
                      <a:pt x="438" y="11"/>
                    </a:cubicBezTo>
                    <a:cubicBezTo>
                      <a:pt x="438" y="11"/>
                      <a:pt x="438" y="11"/>
                      <a:pt x="438" y="10"/>
                    </a:cubicBezTo>
                    <a:cubicBezTo>
                      <a:pt x="439" y="10"/>
                      <a:pt x="439" y="10"/>
                      <a:pt x="439" y="10"/>
                    </a:cubicBezTo>
                    <a:cubicBezTo>
                      <a:pt x="440" y="9"/>
                      <a:pt x="441" y="8"/>
                      <a:pt x="442" y="8"/>
                    </a:cubicBezTo>
                    <a:cubicBezTo>
                      <a:pt x="442" y="9"/>
                      <a:pt x="443" y="8"/>
                      <a:pt x="443" y="8"/>
                    </a:cubicBezTo>
                    <a:cubicBezTo>
                      <a:pt x="444" y="8"/>
                      <a:pt x="445" y="8"/>
                      <a:pt x="446" y="8"/>
                    </a:cubicBezTo>
                    <a:cubicBezTo>
                      <a:pt x="445" y="8"/>
                      <a:pt x="445" y="8"/>
                      <a:pt x="444" y="8"/>
                    </a:cubicBezTo>
                    <a:cubicBezTo>
                      <a:pt x="444" y="8"/>
                      <a:pt x="443" y="8"/>
                      <a:pt x="442" y="8"/>
                    </a:cubicBezTo>
                    <a:cubicBezTo>
                      <a:pt x="442" y="8"/>
                      <a:pt x="443" y="7"/>
                      <a:pt x="443" y="7"/>
                    </a:cubicBezTo>
                    <a:cubicBezTo>
                      <a:pt x="442" y="7"/>
                      <a:pt x="442" y="7"/>
                      <a:pt x="441" y="7"/>
                    </a:cubicBezTo>
                    <a:cubicBezTo>
                      <a:pt x="443" y="6"/>
                      <a:pt x="444" y="6"/>
                      <a:pt x="446" y="6"/>
                    </a:cubicBezTo>
                    <a:cubicBezTo>
                      <a:pt x="447" y="6"/>
                      <a:pt x="448" y="5"/>
                      <a:pt x="449" y="5"/>
                    </a:cubicBezTo>
                    <a:cubicBezTo>
                      <a:pt x="450" y="5"/>
                      <a:pt x="451" y="5"/>
                      <a:pt x="452" y="5"/>
                    </a:cubicBezTo>
                    <a:cubicBezTo>
                      <a:pt x="451" y="5"/>
                      <a:pt x="450" y="5"/>
                      <a:pt x="450" y="5"/>
                    </a:cubicBezTo>
                    <a:cubicBezTo>
                      <a:pt x="450" y="5"/>
                      <a:pt x="451" y="5"/>
                      <a:pt x="451" y="5"/>
                    </a:cubicBezTo>
                    <a:cubicBezTo>
                      <a:pt x="451" y="6"/>
                      <a:pt x="449" y="5"/>
                      <a:pt x="448" y="6"/>
                    </a:cubicBezTo>
                    <a:cubicBezTo>
                      <a:pt x="449" y="6"/>
                      <a:pt x="449" y="6"/>
                      <a:pt x="449" y="6"/>
                    </a:cubicBezTo>
                    <a:cubicBezTo>
                      <a:pt x="449" y="6"/>
                      <a:pt x="449" y="6"/>
                      <a:pt x="449" y="6"/>
                    </a:cubicBezTo>
                    <a:cubicBezTo>
                      <a:pt x="449" y="6"/>
                      <a:pt x="450" y="6"/>
                      <a:pt x="450" y="6"/>
                    </a:cubicBezTo>
                    <a:cubicBezTo>
                      <a:pt x="450" y="6"/>
                      <a:pt x="452" y="6"/>
                      <a:pt x="452" y="5"/>
                    </a:cubicBezTo>
                    <a:cubicBezTo>
                      <a:pt x="452" y="5"/>
                      <a:pt x="451" y="5"/>
                      <a:pt x="451" y="5"/>
                    </a:cubicBezTo>
                    <a:cubicBezTo>
                      <a:pt x="452" y="5"/>
                      <a:pt x="453" y="5"/>
                      <a:pt x="453" y="5"/>
                    </a:cubicBezTo>
                    <a:cubicBezTo>
                      <a:pt x="454" y="6"/>
                      <a:pt x="456" y="5"/>
                      <a:pt x="456" y="5"/>
                    </a:cubicBezTo>
                    <a:cubicBezTo>
                      <a:pt x="456" y="5"/>
                      <a:pt x="456" y="5"/>
                      <a:pt x="456" y="5"/>
                    </a:cubicBezTo>
                    <a:cubicBezTo>
                      <a:pt x="456" y="5"/>
                      <a:pt x="457" y="5"/>
                      <a:pt x="457" y="5"/>
                    </a:cubicBezTo>
                    <a:cubicBezTo>
                      <a:pt x="458" y="5"/>
                      <a:pt x="459" y="5"/>
                      <a:pt x="460" y="5"/>
                    </a:cubicBezTo>
                    <a:cubicBezTo>
                      <a:pt x="462" y="5"/>
                      <a:pt x="464" y="4"/>
                      <a:pt x="466" y="3"/>
                    </a:cubicBezTo>
                    <a:cubicBezTo>
                      <a:pt x="468" y="3"/>
                      <a:pt x="470" y="2"/>
                      <a:pt x="472" y="2"/>
                    </a:cubicBezTo>
                    <a:cubicBezTo>
                      <a:pt x="474" y="1"/>
                      <a:pt x="476" y="1"/>
                      <a:pt x="478" y="0"/>
                    </a:cubicBezTo>
                    <a:cubicBezTo>
                      <a:pt x="478" y="0"/>
                      <a:pt x="478" y="0"/>
                      <a:pt x="478" y="0"/>
                    </a:cubicBezTo>
                    <a:cubicBezTo>
                      <a:pt x="477" y="0"/>
                      <a:pt x="476" y="0"/>
                      <a:pt x="476" y="1"/>
                    </a:cubicBezTo>
                    <a:cubicBezTo>
                      <a:pt x="476" y="1"/>
                      <a:pt x="476" y="1"/>
                      <a:pt x="476" y="1"/>
                    </a:cubicBezTo>
                    <a:cubicBezTo>
                      <a:pt x="477" y="1"/>
                      <a:pt x="477" y="1"/>
                      <a:pt x="478" y="1"/>
                    </a:cubicBezTo>
                    <a:cubicBezTo>
                      <a:pt x="478" y="2"/>
                      <a:pt x="477" y="2"/>
                      <a:pt x="477" y="2"/>
                    </a:cubicBezTo>
                    <a:cubicBezTo>
                      <a:pt x="478" y="2"/>
                      <a:pt x="478" y="2"/>
                      <a:pt x="479" y="2"/>
                    </a:cubicBezTo>
                    <a:cubicBezTo>
                      <a:pt x="479" y="2"/>
                      <a:pt x="479" y="2"/>
                      <a:pt x="479" y="2"/>
                    </a:cubicBezTo>
                    <a:cubicBezTo>
                      <a:pt x="480" y="2"/>
                      <a:pt x="481" y="2"/>
                      <a:pt x="480" y="2"/>
                    </a:cubicBezTo>
                    <a:cubicBezTo>
                      <a:pt x="480" y="3"/>
                      <a:pt x="479" y="3"/>
                      <a:pt x="478" y="3"/>
                    </a:cubicBezTo>
                    <a:cubicBezTo>
                      <a:pt x="477" y="4"/>
                      <a:pt x="475" y="4"/>
                      <a:pt x="474" y="4"/>
                    </a:cubicBezTo>
                    <a:cubicBezTo>
                      <a:pt x="474" y="4"/>
                      <a:pt x="474" y="4"/>
                      <a:pt x="474" y="4"/>
                    </a:cubicBezTo>
                    <a:cubicBezTo>
                      <a:pt x="474" y="4"/>
                      <a:pt x="473" y="4"/>
                      <a:pt x="473" y="4"/>
                    </a:cubicBezTo>
                    <a:cubicBezTo>
                      <a:pt x="473" y="4"/>
                      <a:pt x="474" y="4"/>
                      <a:pt x="473" y="4"/>
                    </a:cubicBezTo>
                    <a:cubicBezTo>
                      <a:pt x="474" y="4"/>
                      <a:pt x="474" y="4"/>
                      <a:pt x="474" y="4"/>
                    </a:cubicBezTo>
                    <a:cubicBezTo>
                      <a:pt x="473" y="5"/>
                      <a:pt x="473" y="5"/>
                      <a:pt x="472" y="6"/>
                    </a:cubicBezTo>
                    <a:cubicBezTo>
                      <a:pt x="473" y="6"/>
                      <a:pt x="473" y="5"/>
                      <a:pt x="474" y="5"/>
                    </a:cubicBezTo>
                    <a:cubicBezTo>
                      <a:pt x="475" y="5"/>
                      <a:pt x="475" y="5"/>
                      <a:pt x="476" y="5"/>
                    </a:cubicBezTo>
                    <a:cubicBezTo>
                      <a:pt x="478" y="5"/>
                      <a:pt x="479" y="3"/>
                      <a:pt x="481" y="3"/>
                    </a:cubicBezTo>
                    <a:cubicBezTo>
                      <a:pt x="481" y="3"/>
                      <a:pt x="481" y="3"/>
                      <a:pt x="481" y="4"/>
                    </a:cubicBezTo>
                    <a:cubicBezTo>
                      <a:pt x="481" y="4"/>
                      <a:pt x="481" y="3"/>
                      <a:pt x="481" y="3"/>
                    </a:cubicBezTo>
                    <a:cubicBezTo>
                      <a:pt x="482" y="3"/>
                      <a:pt x="481" y="3"/>
                      <a:pt x="482" y="3"/>
                    </a:cubicBezTo>
                    <a:cubicBezTo>
                      <a:pt x="482" y="3"/>
                      <a:pt x="482" y="3"/>
                      <a:pt x="482" y="3"/>
                    </a:cubicBezTo>
                    <a:cubicBezTo>
                      <a:pt x="483" y="2"/>
                      <a:pt x="482" y="3"/>
                      <a:pt x="483" y="3"/>
                    </a:cubicBezTo>
                    <a:cubicBezTo>
                      <a:pt x="483" y="3"/>
                      <a:pt x="483" y="2"/>
                      <a:pt x="484" y="2"/>
                    </a:cubicBezTo>
                    <a:cubicBezTo>
                      <a:pt x="483" y="3"/>
                      <a:pt x="482" y="3"/>
                      <a:pt x="482" y="3"/>
                    </a:cubicBezTo>
                    <a:cubicBezTo>
                      <a:pt x="483" y="4"/>
                      <a:pt x="483" y="3"/>
                      <a:pt x="484" y="3"/>
                    </a:cubicBezTo>
                    <a:cubicBezTo>
                      <a:pt x="484" y="3"/>
                      <a:pt x="485" y="3"/>
                      <a:pt x="485" y="4"/>
                    </a:cubicBezTo>
                    <a:cubicBezTo>
                      <a:pt x="484" y="4"/>
                      <a:pt x="483" y="4"/>
                      <a:pt x="482" y="5"/>
                    </a:cubicBezTo>
                    <a:cubicBezTo>
                      <a:pt x="482" y="5"/>
                      <a:pt x="483" y="5"/>
                      <a:pt x="483" y="5"/>
                    </a:cubicBezTo>
                    <a:cubicBezTo>
                      <a:pt x="483" y="5"/>
                      <a:pt x="483" y="5"/>
                      <a:pt x="482" y="5"/>
                    </a:cubicBezTo>
                    <a:cubicBezTo>
                      <a:pt x="483" y="5"/>
                      <a:pt x="485" y="5"/>
                      <a:pt x="484" y="6"/>
                    </a:cubicBezTo>
                    <a:cubicBezTo>
                      <a:pt x="486" y="6"/>
                      <a:pt x="488" y="5"/>
                      <a:pt x="489" y="5"/>
                    </a:cubicBezTo>
                    <a:cubicBezTo>
                      <a:pt x="490" y="4"/>
                      <a:pt x="491" y="5"/>
                      <a:pt x="492" y="4"/>
                    </a:cubicBezTo>
                    <a:cubicBezTo>
                      <a:pt x="493" y="4"/>
                      <a:pt x="494" y="4"/>
                      <a:pt x="495" y="4"/>
                    </a:cubicBezTo>
                    <a:cubicBezTo>
                      <a:pt x="494" y="5"/>
                      <a:pt x="495" y="5"/>
                      <a:pt x="496" y="5"/>
                    </a:cubicBezTo>
                    <a:cubicBezTo>
                      <a:pt x="496" y="5"/>
                      <a:pt x="496" y="5"/>
                      <a:pt x="495" y="5"/>
                    </a:cubicBezTo>
                    <a:cubicBezTo>
                      <a:pt x="496" y="5"/>
                      <a:pt x="497" y="5"/>
                      <a:pt x="496" y="5"/>
                    </a:cubicBezTo>
                    <a:cubicBezTo>
                      <a:pt x="497" y="4"/>
                      <a:pt x="498" y="5"/>
                      <a:pt x="499" y="5"/>
                    </a:cubicBezTo>
                    <a:cubicBezTo>
                      <a:pt x="499" y="5"/>
                      <a:pt x="497" y="6"/>
                      <a:pt x="497" y="6"/>
                    </a:cubicBezTo>
                    <a:cubicBezTo>
                      <a:pt x="497" y="6"/>
                      <a:pt x="494" y="6"/>
                      <a:pt x="495" y="7"/>
                    </a:cubicBezTo>
                    <a:cubicBezTo>
                      <a:pt x="495" y="7"/>
                      <a:pt x="496" y="7"/>
                      <a:pt x="497" y="7"/>
                    </a:cubicBezTo>
                    <a:cubicBezTo>
                      <a:pt x="497" y="7"/>
                      <a:pt x="496" y="8"/>
                      <a:pt x="496" y="8"/>
                    </a:cubicBezTo>
                    <a:cubicBezTo>
                      <a:pt x="497" y="7"/>
                      <a:pt x="498" y="7"/>
                      <a:pt x="499" y="8"/>
                    </a:cubicBezTo>
                    <a:cubicBezTo>
                      <a:pt x="498" y="8"/>
                      <a:pt x="498" y="8"/>
                      <a:pt x="497" y="8"/>
                    </a:cubicBezTo>
                    <a:cubicBezTo>
                      <a:pt x="498" y="8"/>
                      <a:pt x="497" y="8"/>
                      <a:pt x="497" y="8"/>
                    </a:cubicBezTo>
                    <a:cubicBezTo>
                      <a:pt x="496" y="8"/>
                      <a:pt x="496" y="8"/>
                      <a:pt x="496" y="9"/>
                    </a:cubicBezTo>
                    <a:cubicBezTo>
                      <a:pt x="497" y="9"/>
                      <a:pt x="498" y="9"/>
                      <a:pt x="499" y="9"/>
                    </a:cubicBezTo>
                    <a:cubicBezTo>
                      <a:pt x="499" y="9"/>
                      <a:pt x="500" y="9"/>
                      <a:pt x="500" y="9"/>
                    </a:cubicBezTo>
                    <a:cubicBezTo>
                      <a:pt x="500" y="9"/>
                      <a:pt x="501" y="9"/>
                      <a:pt x="501" y="9"/>
                    </a:cubicBezTo>
                    <a:cubicBezTo>
                      <a:pt x="502" y="8"/>
                      <a:pt x="503" y="9"/>
                      <a:pt x="504" y="8"/>
                    </a:cubicBezTo>
                    <a:cubicBezTo>
                      <a:pt x="505" y="8"/>
                      <a:pt x="505" y="8"/>
                      <a:pt x="505" y="8"/>
                    </a:cubicBezTo>
                    <a:cubicBezTo>
                      <a:pt x="505" y="8"/>
                      <a:pt x="507" y="8"/>
                      <a:pt x="506" y="8"/>
                    </a:cubicBezTo>
                    <a:cubicBezTo>
                      <a:pt x="507" y="8"/>
                      <a:pt x="507" y="8"/>
                      <a:pt x="507" y="8"/>
                    </a:cubicBezTo>
                    <a:cubicBezTo>
                      <a:pt x="507" y="9"/>
                      <a:pt x="506" y="9"/>
                      <a:pt x="506" y="9"/>
                    </a:cubicBezTo>
                    <a:cubicBezTo>
                      <a:pt x="508" y="9"/>
                      <a:pt x="509" y="8"/>
                      <a:pt x="510" y="8"/>
                    </a:cubicBezTo>
                    <a:cubicBezTo>
                      <a:pt x="511" y="8"/>
                      <a:pt x="512" y="8"/>
                      <a:pt x="512" y="8"/>
                    </a:cubicBezTo>
                    <a:cubicBezTo>
                      <a:pt x="512" y="8"/>
                      <a:pt x="513" y="8"/>
                      <a:pt x="513" y="8"/>
                    </a:cubicBezTo>
                    <a:cubicBezTo>
                      <a:pt x="513" y="8"/>
                      <a:pt x="514" y="8"/>
                      <a:pt x="514" y="8"/>
                    </a:cubicBezTo>
                    <a:cubicBezTo>
                      <a:pt x="514" y="8"/>
                      <a:pt x="516" y="8"/>
                      <a:pt x="516" y="9"/>
                    </a:cubicBezTo>
                    <a:cubicBezTo>
                      <a:pt x="517" y="9"/>
                      <a:pt x="519" y="9"/>
                      <a:pt x="518" y="10"/>
                    </a:cubicBezTo>
                    <a:cubicBezTo>
                      <a:pt x="518" y="10"/>
                      <a:pt x="521" y="9"/>
                      <a:pt x="521" y="10"/>
                    </a:cubicBezTo>
                    <a:cubicBezTo>
                      <a:pt x="521" y="10"/>
                      <a:pt x="522" y="10"/>
                      <a:pt x="521" y="10"/>
                    </a:cubicBezTo>
                    <a:cubicBezTo>
                      <a:pt x="522" y="10"/>
                      <a:pt x="522" y="10"/>
                      <a:pt x="522" y="10"/>
                    </a:cubicBezTo>
                    <a:cubicBezTo>
                      <a:pt x="522" y="10"/>
                      <a:pt x="522" y="10"/>
                      <a:pt x="522" y="11"/>
                    </a:cubicBezTo>
                    <a:cubicBezTo>
                      <a:pt x="522" y="11"/>
                      <a:pt x="524" y="11"/>
                      <a:pt x="525" y="11"/>
                    </a:cubicBezTo>
                    <a:cubicBezTo>
                      <a:pt x="526" y="11"/>
                      <a:pt x="528" y="11"/>
                      <a:pt x="529" y="11"/>
                    </a:cubicBezTo>
                    <a:cubicBezTo>
                      <a:pt x="531" y="11"/>
                      <a:pt x="532" y="11"/>
                      <a:pt x="533" y="11"/>
                    </a:cubicBezTo>
                    <a:cubicBezTo>
                      <a:pt x="533" y="11"/>
                      <a:pt x="534" y="11"/>
                      <a:pt x="534" y="11"/>
                    </a:cubicBezTo>
                    <a:cubicBezTo>
                      <a:pt x="535" y="11"/>
                      <a:pt x="535" y="12"/>
                      <a:pt x="535" y="12"/>
                    </a:cubicBezTo>
                    <a:cubicBezTo>
                      <a:pt x="535" y="12"/>
                      <a:pt x="536" y="12"/>
                      <a:pt x="536" y="12"/>
                    </a:cubicBezTo>
                    <a:cubicBezTo>
                      <a:pt x="536" y="12"/>
                      <a:pt x="537" y="12"/>
                      <a:pt x="537" y="12"/>
                    </a:cubicBezTo>
                    <a:cubicBezTo>
                      <a:pt x="537" y="12"/>
                      <a:pt x="536" y="13"/>
                      <a:pt x="536" y="13"/>
                    </a:cubicBezTo>
                    <a:cubicBezTo>
                      <a:pt x="538" y="13"/>
                      <a:pt x="540" y="13"/>
                      <a:pt x="541" y="13"/>
                    </a:cubicBezTo>
                    <a:cubicBezTo>
                      <a:pt x="542" y="13"/>
                      <a:pt x="543" y="12"/>
                      <a:pt x="543" y="12"/>
                    </a:cubicBezTo>
                    <a:cubicBezTo>
                      <a:pt x="544" y="12"/>
                      <a:pt x="545" y="12"/>
                      <a:pt x="545" y="12"/>
                    </a:cubicBezTo>
                    <a:cubicBezTo>
                      <a:pt x="545" y="12"/>
                      <a:pt x="545" y="13"/>
                      <a:pt x="545" y="13"/>
                    </a:cubicBezTo>
                    <a:cubicBezTo>
                      <a:pt x="545" y="13"/>
                      <a:pt x="545" y="12"/>
                      <a:pt x="546" y="12"/>
                    </a:cubicBezTo>
                    <a:cubicBezTo>
                      <a:pt x="546" y="12"/>
                      <a:pt x="547" y="12"/>
                      <a:pt x="548" y="12"/>
                    </a:cubicBezTo>
                    <a:cubicBezTo>
                      <a:pt x="548" y="12"/>
                      <a:pt x="549" y="12"/>
                      <a:pt x="550" y="12"/>
                    </a:cubicBezTo>
                    <a:cubicBezTo>
                      <a:pt x="550" y="12"/>
                      <a:pt x="551" y="12"/>
                      <a:pt x="551" y="12"/>
                    </a:cubicBezTo>
                    <a:cubicBezTo>
                      <a:pt x="551" y="12"/>
                      <a:pt x="551" y="12"/>
                      <a:pt x="551" y="12"/>
                    </a:cubicBezTo>
                    <a:cubicBezTo>
                      <a:pt x="551" y="12"/>
                      <a:pt x="551" y="12"/>
                      <a:pt x="551" y="12"/>
                    </a:cubicBezTo>
                    <a:cubicBezTo>
                      <a:pt x="552" y="11"/>
                      <a:pt x="552" y="12"/>
                      <a:pt x="552" y="12"/>
                    </a:cubicBezTo>
                    <a:cubicBezTo>
                      <a:pt x="553" y="12"/>
                      <a:pt x="553" y="12"/>
                      <a:pt x="553" y="12"/>
                    </a:cubicBezTo>
                    <a:cubicBezTo>
                      <a:pt x="553" y="12"/>
                      <a:pt x="554" y="12"/>
                      <a:pt x="554" y="12"/>
                    </a:cubicBezTo>
                    <a:cubicBezTo>
                      <a:pt x="554" y="12"/>
                      <a:pt x="555" y="12"/>
                      <a:pt x="555" y="13"/>
                    </a:cubicBezTo>
                    <a:cubicBezTo>
                      <a:pt x="555" y="13"/>
                      <a:pt x="555" y="13"/>
                      <a:pt x="555" y="13"/>
                    </a:cubicBezTo>
                    <a:cubicBezTo>
                      <a:pt x="555" y="13"/>
                      <a:pt x="555" y="13"/>
                      <a:pt x="555" y="13"/>
                    </a:cubicBezTo>
                    <a:cubicBezTo>
                      <a:pt x="555" y="13"/>
                      <a:pt x="555" y="13"/>
                      <a:pt x="555" y="13"/>
                    </a:cubicBezTo>
                    <a:cubicBezTo>
                      <a:pt x="555" y="14"/>
                      <a:pt x="555" y="14"/>
                      <a:pt x="556" y="14"/>
                    </a:cubicBezTo>
                    <a:cubicBezTo>
                      <a:pt x="556" y="14"/>
                      <a:pt x="556" y="14"/>
                      <a:pt x="556" y="14"/>
                    </a:cubicBezTo>
                    <a:cubicBezTo>
                      <a:pt x="557" y="14"/>
                      <a:pt x="556" y="14"/>
                      <a:pt x="556" y="14"/>
                    </a:cubicBezTo>
                    <a:cubicBezTo>
                      <a:pt x="557" y="15"/>
                      <a:pt x="557" y="14"/>
                      <a:pt x="557" y="14"/>
                    </a:cubicBezTo>
                    <a:cubicBezTo>
                      <a:pt x="558" y="15"/>
                      <a:pt x="558" y="15"/>
                      <a:pt x="559" y="15"/>
                    </a:cubicBezTo>
                    <a:cubicBezTo>
                      <a:pt x="559" y="15"/>
                      <a:pt x="559" y="16"/>
                      <a:pt x="559" y="16"/>
                    </a:cubicBezTo>
                    <a:cubicBezTo>
                      <a:pt x="559" y="16"/>
                      <a:pt x="560" y="16"/>
                      <a:pt x="560" y="16"/>
                    </a:cubicBezTo>
                    <a:cubicBezTo>
                      <a:pt x="560" y="16"/>
                      <a:pt x="560" y="16"/>
                      <a:pt x="560" y="16"/>
                    </a:cubicBezTo>
                    <a:cubicBezTo>
                      <a:pt x="561" y="15"/>
                      <a:pt x="561" y="16"/>
                      <a:pt x="562" y="16"/>
                    </a:cubicBezTo>
                    <a:cubicBezTo>
                      <a:pt x="535" y="36"/>
                      <a:pt x="509" y="57"/>
                      <a:pt x="484" y="78"/>
                    </a:cubicBezTo>
                    <a:cubicBezTo>
                      <a:pt x="478" y="84"/>
                      <a:pt x="472" y="89"/>
                      <a:pt x="465" y="94"/>
                    </a:cubicBezTo>
                    <a:cubicBezTo>
                      <a:pt x="462" y="97"/>
                      <a:pt x="460" y="100"/>
                      <a:pt x="457" y="102"/>
                    </a:cubicBezTo>
                    <a:cubicBezTo>
                      <a:pt x="456" y="103"/>
                      <a:pt x="455" y="103"/>
                      <a:pt x="454" y="104"/>
                    </a:cubicBezTo>
                    <a:cubicBezTo>
                      <a:pt x="454" y="105"/>
                      <a:pt x="453" y="105"/>
                      <a:pt x="453" y="106"/>
                    </a:cubicBezTo>
                    <a:close/>
                    <a:moveTo>
                      <a:pt x="493" y="8"/>
                    </a:moveTo>
                    <a:cubicBezTo>
                      <a:pt x="493" y="8"/>
                      <a:pt x="494" y="8"/>
                      <a:pt x="495" y="8"/>
                    </a:cubicBezTo>
                    <a:cubicBezTo>
                      <a:pt x="495" y="8"/>
                      <a:pt x="496" y="8"/>
                      <a:pt x="496" y="8"/>
                    </a:cubicBezTo>
                    <a:cubicBezTo>
                      <a:pt x="495" y="8"/>
                      <a:pt x="493" y="7"/>
                      <a:pt x="493" y="8"/>
                    </a:cubicBezTo>
                    <a:close/>
                    <a:moveTo>
                      <a:pt x="278" y="97"/>
                    </a:moveTo>
                    <a:cubicBezTo>
                      <a:pt x="278" y="97"/>
                      <a:pt x="277" y="97"/>
                      <a:pt x="277" y="98"/>
                    </a:cubicBezTo>
                    <a:cubicBezTo>
                      <a:pt x="277" y="97"/>
                      <a:pt x="278" y="97"/>
                      <a:pt x="278" y="97"/>
                    </a:cubicBezTo>
                    <a:close/>
                    <a:moveTo>
                      <a:pt x="314" y="79"/>
                    </a:moveTo>
                    <a:cubicBezTo>
                      <a:pt x="313" y="79"/>
                      <a:pt x="312" y="79"/>
                      <a:pt x="311" y="79"/>
                    </a:cubicBezTo>
                    <a:cubicBezTo>
                      <a:pt x="312" y="79"/>
                      <a:pt x="313" y="79"/>
                      <a:pt x="314" y="79"/>
                    </a:cubicBezTo>
                    <a:close/>
                    <a:moveTo>
                      <a:pt x="292" y="134"/>
                    </a:moveTo>
                    <a:cubicBezTo>
                      <a:pt x="292" y="134"/>
                      <a:pt x="292" y="134"/>
                      <a:pt x="291" y="135"/>
                    </a:cubicBezTo>
                    <a:cubicBezTo>
                      <a:pt x="292" y="134"/>
                      <a:pt x="292" y="134"/>
                      <a:pt x="292" y="13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6" name="United Kingdom">
                <a:extLst>
                  <a:ext uri="{FF2B5EF4-FFF2-40B4-BE49-F238E27FC236}">
                    <a16:creationId xmlns:a16="http://schemas.microsoft.com/office/drawing/2014/main" id="{B841AA3C-87C4-90F7-52D0-58E6E8AF7CC4}"/>
                  </a:ext>
                </a:extLst>
              </p:cNvPr>
              <p:cNvSpPr>
                <a:spLocks noEditPoints="1"/>
              </p:cNvSpPr>
              <p:nvPr/>
            </p:nvSpPr>
            <p:spPr bwMode="auto">
              <a:xfrm>
                <a:off x="5375189" y="1704698"/>
                <a:ext cx="425391" cy="432252"/>
              </a:xfrm>
              <a:custGeom>
                <a:avLst/>
                <a:gdLst/>
                <a:ahLst/>
                <a:cxnLst>
                  <a:cxn ang="0">
                    <a:pos x="88" y="21"/>
                  </a:cxn>
                  <a:cxn ang="0">
                    <a:pos x="59" y="40"/>
                  </a:cxn>
                  <a:cxn ang="0">
                    <a:pos x="102" y="9"/>
                  </a:cxn>
                  <a:cxn ang="0">
                    <a:pos x="103" y="5"/>
                  </a:cxn>
                  <a:cxn ang="0">
                    <a:pos x="101" y="4"/>
                  </a:cxn>
                  <a:cxn ang="0">
                    <a:pos x="93" y="105"/>
                  </a:cxn>
                  <a:cxn ang="0">
                    <a:pos x="115" y="93"/>
                  </a:cxn>
                  <a:cxn ang="0">
                    <a:pos x="111" y="98"/>
                  </a:cxn>
                  <a:cxn ang="0">
                    <a:pos x="98" y="105"/>
                  </a:cxn>
                  <a:cxn ang="0">
                    <a:pos x="87" y="106"/>
                  </a:cxn>
                  <a:cxn ang="0">
                    <a:pos x="74" y="110"/>
                  </a:cxn>
                  <a:cxn ang="0">
                    <a:pos x="63" y="111"/>
                  </a:cxn>
                  <a:cxn ang="0">
                    <a:pos x="62" y="108"/>
                  </a:cxn>
                  <a:cxn ang="0">
                    <a:pos x="80" y="100"/>
                  </a:cxn>
                  <a:cxn ang="0">
                    <a:pos x="70" y="96"/>
                  </a:cxn>
                  <a:cxn ang="0">
                    <a:pos x="63" y="95"/>
                  </a:cxn>
                  <a:cxn ang="0">
                    <a:pos x="72" y="86"/>
                  </a:cxn>
                  <a:cxn ang="0">
                    <a:pos x="74" y="79"/>
                  </a:cxn>
                  <a:cxn ang="0">
                    <a:pos x="82" y="72"/>
                  </a:cxn>
                  <a:cxn ang="0">
                    <a:pos x="79" y="63"/>
                  </a:cxn>
                  <a:cxn ang="0">
                    <a:pos x="75" y="63"/>
                  </a:cxn>
                  <a:cxn ang="0">
                    <a:pos x="67" y="60"/>
                  </a:cxn>
                  <a:cxn ang="0">
                    <a:pos x="69" y="48"/>
                  </a:cxn>
                  <a:cxn ang="0">
                    <a:pos x="64" y="50"/>
                  </a:cxn>
                  <a:cxn ang="0">
                    <a:pos x="62" y="51"/>
                  </a:cxn>
                  <a:cxn ang="0">
                    <a:pos x="65" y="45"/>
                  </a:cxn>
                  <a:cxn ang="0">
                    <a:pos x="62" y="43"/>
                  </a:cxn>
                  <a:cxn ang="0">
                    <a:pos x="63" y="40"/>
                  </a:cxn>
                  <a:cxn ang="0">
                    <a:pos x="65" y="36"/>
                  </a:cxn>
                  <a:cxn ang="0">
                    <a:pos x="66" y="31"/>
                  </a:cxn>
                  <a:cxn ang="0">
                    <a:pos x="70" y="27"/>
                  </a:cxn>
                  <a:cxn ang="0">
                    <a:pos x="75" y="24"/>
                  </a:cxn>
                  <a:cxn ang="0">
                    <a:pos x="77" y="30"/>
                  </a:cxn>
                  <a:cxn ang="0">
                    <a:pos x="76" y="34"/>
                  </a:cxn>
                  <a:cxn ang="0">
                    <a:pos x="93" y="33"/>
                  </a:cxn>
                  <a:cxn ang="0">
                    <a:pos x="86" y="45"/>
                  </a:cxn>
                  <a:cxn ang="0">
                    <a:pos x="87" y="50"/>
                  </a:cxn>
                  <a:cxn ang="0">
                    <a:pos x="104" y="68"/>
                  </a:cxn>
                  <a:cxn ang="0">
                    <a:pos x="106" y="75"/>
                  </a:cxn>
                  <a:cxn ang="0">
                    <a:pos x="120" y="88"/>
                  </a:cxn>
                  <a:cxn ang="0">
                    <a:pos x="61" y="65"/>
                  </a:cxn>
                  <a:cxn ang="0">
                    <a:pos x="59" y="60"/>
                  </a:cxn>
                  <a:cxn ang="0">
                    <a:pos x="43" y="65"/>
                  </a:cxn>
                  <a:cxn ang="0">
                    <a:pos x="51" y="67"/>
                  </a:cxn>
                  <a:cxn ang="0">
                    <a:pos x="65" y="56"/>
                  </a:cxn>
                  <a:cxn ang="0">
                    <a:pos x="51" y="36"/>
                  </a:cxn>
                  <a:cxn ang="0">
                    <a:pos x="60" y="36"/>
                  </a:cxn>
                  <a:cxn ang="0">
                    <a:pos x="57" y="36"/>
                  </a:cxn>
                  <a:cxn ang="0">
                    <a:pos x="58" y="44"/>
                  </a:cxn>
                  <a:cxn ang="0">
                    <a:pos x="62" y="46"/>
                  </a:cxn>
                  <a:cxn ang="0">
                    <a:pos x="57" y="29"/>
                  </a:cxn>
                  <a:cxn ang="0">
                    <a:pos x="60" y="27"/>
                  </a:cxn>
                  <a:cxn ang="0">
                    <a:pos x="54" y="29"/>
                  </a:cxn>
                  <a:cxn ang="0">
                    <a:pos x="59" y="53"/>
                  </a:cxn>
                  <a:cxn ang="0">
                    <a:pos x="56" y="31"/>
                  </a:cxn>
                  <a:cxn ang="0">
                    <a:pos x="53" y="33"/>
                  </a:cxn>
                  <a:cxn ang="0">
                    <a:pos x="105" y="2"/>
                  </a:cxn>
                  <a:cxn ang="0">
                    <a:pos x="52" y="35"/>
                  </a:cxn>
                  <a:cxn ang="0">
                    <a:pos x="54" y="44"/>
                  </a:cxn>
                  <a:cxn ang="0">
                    <a:pos x="70" y="67"/>
                  </a:cxn>
                </a:cxnLst>
                <a:rect l="0" t="0" r="r" b="b"/>
                <a:pathLst>
                  <a:path w="120" h="122">
                    <a:moveTo>
                      <a:pt x="1" y="34"/>
                    </a:moveTo>
                    <a:cubicBezTo>
                      <a:pt x="1" y="34"/>
                      <a:pt x="1" y="34"/>
                      <a:pt x="1" y="34"/>
                    </a:cubicBezTo>
                    <a:cubicBezTo>
                      <a:pt x="1" y="34"/>
                      <a:pt x="0" y="33"/>
                      <a:pt x="1" y="34"/>
                    </a:cubicBezTo>
                    <a:close/>
                    <a:moveTo>
                      <a:pt x="103" y="4"/>
                    </a:moveTo>
                    <a:cubicBezTo>
                      <a:pt x="103" y="4"/>
                      <a:pt x="103" y="4"/>
                      <a:pt x="103" y="4"/>
                    </a:cubicBezTo>
                    <a:cubicBezTo>
                      <a:pt x="103" y="5"/>
                      <a:pt x="104" y="3"/>
                      <a:pt x="103" y="3"/>
                    </a:cubicBezTo>
                    <a:cubicBezTo>
                      <a:pt x="104" y="3"/>
                      <a:pt x="103" y="3"/>
                      <a:pt x="103" y="3"/>
                    </a:cubicBezTo>
                    <a:cubicBezTo>
                      <a:pt x="104" y="3"/>
                      <a:pt x="104" y="2"/>
                      <a:pt x="104" y="2"/>
                    </a:cubicBezTo>
                    <a:cubicBezTo>
                      <a:pt x="103" y="1"/>
                      <a:pt x="103" y="3"/>
                      <a:pt x="103" y="3"/>
                    </a:cubicBezTo>
                    <a:cubicBezTo>
                      <a:pt x="102" y="2"/>
                      <a:pt x="102" y="4"/>
                      <a:pt x="103" y="4"/>
                    </a:cubicBezTo>
                    <a:close/>
                    <a:moveTo>
                      <a:pt x="85" y="19"/>
                    </a:moveTo>
                    <a:cubicBezTo>
                      <a:pt x="85" y="19"/>
                      <a:pt x="85" y="20"/>
                      <a:pt x="85" y="20"/>
                    </a:cubicBezTo>
                    <a:cubicBezTo>
                      <a:pt x="85" y="20"/>
                      <a:pt x="86" y="20"/>
                      <a:pt x="87" y="20"/>
                    </a:cubicBezTo>
                    <a:cubicBezTo>
                      <a:pt x="87" y="20"/>
                      <a:pt x="88" y="20"/>
                      <a:pt x="88" y="21"/>
                    </a:cubicBezTo>
                    <a:cubicBezTo>
                      <a:pt x="88" y="20"/>
                      <a:pt x="89" y="20"/>
                      <a:pt x="89" y="20"/>
                    </a:cubicBezTo>
                    <a:cubicBezTo>
                      <a:pt x="89" y="19"/>
                      <a:pt x="89" y="20"/>
                      <a:pt x="89" y="20"/>
                    </a:cubicBezTo>
                    <a:cubicBezTo>
                      <a:pt x="88" y="20"/>
                      <a:pt x="88" y="20"/>
                      <a:pt x="88" y="20"/>
                    </a:cubicBezTo>
                    <a:cubicBezTo>
                      <a:pt x="89" y="19"/>
                      <a:pt x="88" y="19"/>
                      <a:pt x="88" y="19"/>
                    </a:cubicBezTo>
                    <a:cubicBezTo>
                      <a:pt x="88" y="20"/>
                      <a:pt x="88" y="19"/>
                      <a:pt x="87" y="19"/>
                    </a:cubicBezTo>
                    <a:cubicBezTo>
                      <a:pt x="87" y="19"/>
                      <a:pt x="86" y="20"/>
                      <a:pt x="86" y="19"/>
                    </a:cubicBezTo>
                    <a:cubicBezTo>
                      <a:pt x="86" y="19"/>
                      <a:pt x="87" y="19"/>
                      <a:pt x="87" y="19"/>
                    </a:cubicBezTo>
                    <a:cubicBezTo>
                      <a:pt x="87" y="18"/>
                      <a:pt x="86" y="18"/>
                      <a:pt x="85" y="18"/>
                    </a:cubicBezTo>
                    <a:cubicBezTo>
                      <a:pt x="84" y="18"/>
                      <a:pt x="84" y="20"/>
                      <a:pt x="84" y="20"/>
                    </a:cubicBezTo>
                    <a:cubicBezTo>
                      <a:pt x="85" y="20"/>
                      <a:pt x="85" y="19"/>
                      <a:pt x="85" y="19"/>
                    </a:cubicBezTo>
                    <a:close/>
                    <a:moveTo>
                      <a:pt x="59" y="40"/>
                    </a:moveTo>
                    <a:cubicBezTo>
                      <a:pt x="59" y="39"/>
                      <a:pt x="58" y="39"/>
                      <a:pt x="58" y="39"/>
                    </a:cubicBezTo>
                    <a:cubicBezTo>
                      <a:pt x="57" y="39"/>
                      <a:pt x="58" y="40"/>
                      <a:pt x="58" y="40"/>
                    </a:cubicBezTo>
                    <a:cubicBezTo>
                      <a:pt x="59" y="40"/>
                      <a:pt x="59" y="40"/>
                      <a:pt x="59" y="40"/>
                    </a:cubicBezTo>
                    <a:close/>
                    <a:moveTo>
                      <a:pt x="100" y="7"/>
                    </a:moveTo>
                    <a:cubicBezTo>
                      <a:pt x="100" y="7"/>
                      <a:pt x="99" y="7"/>
                      <a:pt x="99" y="7"/>
                    </a:cubicBezTo>
                    <a:cubicBezTo>
                      <a:pt x="100" y="8"/>
                      <a:pt x="100" y="7"/>
                      <a:pt x="101" y="7"/>
                    </a:cubicBezTo>
                    <a:cubicBezTo>
                      <a:pt x="101" y="7"/>
                      <a:pt x="100" y="7"/>
                      <a:pt x="100" y="7"/>
                    </a:cubicBezTo>
                    <a:cubicBezTo>
                      <a:pt x="101" y="7"/>
                      <a:pt x="101" y="7"/>
                      <a:pt x="101" y="7"/>
                    </a:cubicBezTo>
                    <a:cubicBezTo>
                      <a:pt x="101" y="7"/>
                      <a:pt x="101" y="7"/>
                      <a:pt x="101" y="7"/>
                    </a:cubicBezTo>
                    <a:cubicBezTo>
                      <a:pt x="101" y="7"/>
                      <a:pt x="101" y="8"/>
                      <a:pt x="101" y="7"/>
                    </a:cubicBezTo>
                    <a:cubicBezTo>
                      <a:pt x="101" y="8"/>
                      <a:pt x="101" y="8"/>
                      <a:pt x="101" y="9"/>
                    </a:cubicBezTo>
                    <a:cubicBezTo>
                      <a:pt x="101" y="9"/>
                      <a:pt x="101" y="10"/>
                      <a:pt x="100" y="10"/>
                    </a:cubicBezTo>
                    <a:cubicBezTo>
                      <a:pt x="100" y="10"/>
                      <a:pt x="101" y="10"/>
                      <a:pt x="101" y="11"/>
                    </a:cubicBezTo>
                    <a:cubicBezTo>
                      <a:pt x="101" y="10"/>
                      <a:pt x="101" y="11"/>
                      <a:pt x="101" y="11"/>
                    </a:cubicBezTo>
                    <a:cubicBezTo>
                      <a:pt x="101" y="10"/>
                      <a:pt x="101" y="10"/>
                      <a:pt x="101" y="9"/>
                    </a:cubicBezTo>
                    <a:cubicBezTo>
                      <a:pt x="102" y="9"/>
                      <a:pt x="102" y="9"/>
                      <a:pt x="102" y="9"/>
                    </a:cubicBezTo>
                    <a:cubicBezTo>
                      <a:pt x="101" y="9"/>
                      <a:pt x="102" y="9"/>
                      <a:pt x="102" y="9"/>
                    </a:cubicBezTo>
                    <a:cubicBezTo>
                      <a:pt x="102" y="9"/>
                      <a:pt x="102" y="8"/>
                      <a:pt x="102" y="8"/>
                    </a:cubicBezTo>
                    <a:cubicBezTo>
                      <a:pt x="102" y="8"/>
                      <a:pt x="102" y="8"/>
                      <a:pt x="102" y="8"/>
                    </a:cubicBezTo>
                    <a:cubicBezTo>
                      <a:pt x="102" y="8"/>
                      <a:pt x="102" y="7"/>
                      <a:pt x="102" y="7"/>
                    </a:cubicBezTo>
                    <a:cubicBezTo>
                      <a:pt x="102" y="7"/>
                      <a:pt x="102" y="7"/>
                      <a:pt x="102" y="7"/>
                    </a:cubicBezTo>
                    <a:cubicBezTo>
                      <a:pt x="102" y="7"/>
                      <a:pt x="102" y="7"/>
                      <a:pt x="102" y="7"/>
                    </a:cubicBezTo>
                    <a:cubicBezTo>
                      <a:pt x="102" y="7"/>
                      <a:pt x="102" y="7"/>
                      <a:pt x="102" y="7"/>
                    </a:cubicBezTo>
                    <a:cubicBezTo>
                      <a:pt x="102" y="7"/>
                      <a:pt x="102" y="7"/>
                      <a:pt x="102" y="7"/>
                    </a:cubicBezTo>
                    <a:cubicBezTo>
                      <a:pt x="102" y="7"/>
                      <a:pt x="102" y="7"/>
                      <a:pt x="102" y="6"/>
                    </a:cubicBezTo>
                    <a:cubicBezTo>
                      <a:pt x="102" y="7"/>
                      <a:pt x="103" y="7"/>
                      <a:pt x="103" y="6"/>
                    </a:cubicBezTo>
                    <a:cubicBezTo>
                      <a:pt x="102" y="6"/>
                      <a:pt x="102" y="6"/>
                      <a:pt x="103" y="6"/>
                    </a:cubicBezTo>
                    <a:cubicBezTo>
                      <a:pt x="103" y="6"/>
                      <a:pt x="102" y="6"/>
                      <a:pt x="102" y="6"/>
                    </a:cubicBezTo>
                    <a:cubicBezTo>
                      <a:pt x="102" y="6"/>
                      <a:pt x="103" y="6"/>
                      <a:pt x="103" y="5"/>
                    </a:cubicBezTo>
                    <a:cubicBezTo>
                      <a:pt x="103" y="5"/>
                      <a:pt x="103" y="5"/>
                      <a:pt x="103" y="5"/>
                    </a:cubicBezTo>
                    <a:cubicBezTo>
                      <a:pt x="103" y="5"/>
                      <a:pt x="103" y="5"/>
                      <a:pt x="103" y="5"/>
                    </a:cubicBezTo>
                    <a:cubicBezTo>
                      <a:pt x="103" y="5"/>
                      <a:pt x="103" y="5"/>
                      <a:pt x="102" y="5"/>
                    </a:cubicBezTo>
                    <a:cubicBezTo>
                      <a:pt x="102" y="5"/>
                      <a:pt x="102" y="5"/>
                      <a:pt x="102" y="5"/>
                    </a:cubicBezTo>
                    <a:cubicBezTo>
                      <a:pt x="102" y="5"/>
                      <a:pt x="102" y="5"/>
                      <a:pt x="102" y="5"/>
                    </a:cubicBezTo>
                    <a:cubicBezTo>
                      <a:pt x="102" y="5"/>
                      <a:pt x="102" y="5"/>
                      <a:pt x="102" y="5"/>
                    </a:cubicBezTo>
                    <a:cubicBezTo>
                      <a:pt x="102" y="5"/>
                      <a:pt x="103" y="5"/>
                      <a:pt x="102" y="4"/>
                    </a:cubicBezTo>
                    <a:cubicBezTo>
                      <a:pt x="102" y="4"/>
                      <a:pt x="101" y="5"/>
                      <a:pt x="101" y="4"/>
                    </a:cubicBezTo>
                    <a:cubicBezTo>
                      <a:pt x="101" y="5"/>
                      <a:pt x="101" y="5"/>
                      <a:pt x="102" y="5"/>
                    </a:cubicBezTo>
                    <a:cubicBezTo>
                      <a:pt x="101" y="5"/>
                      <a:pt x="101" y="5"/>
                      <a:pt x="101" y="5"/>
                    </a:cubicBezTo>
                    <a:cubicBezTo>
                      <a:pt x="101" y="5"/>
                      <a:pt x="101" y="5"/>
                      <a:pt x="101" y="4"/>
                    </a:cubicBezTo>
                    <a:cubicBezTo>
                      <a:pt x="101" y="4"/>
                      <a:pt x="101" y="4"/>
                      <a:pt x="101" y="4"/>
                    </a:cubicBezTo>
                    <a:cubicBezTo>
                      <a:pt x="101" y="4"/>
                      <a:pt x="101" y="3"/>
                      <a:pt x="101" y="3"/>
                    </a:cubicBezTo>
                    <a:cubicBezTo>
                      <a:pt x="101" y="3"/>
                      <a:pt x="101" y="3"/>
                      <a:pt x="101" y="3"/>
                    </a:cubicBezTo>
                    <a:cubicBezTo>
                      <a:pt x="101" y="3"/>
                      <a:pt x="100" y="3"/>
                      <a:pt x="100" y="4"/>
                    </a:cubicBezTo>
                    <a:cubicBezTo>
                      <a:pt x="100" y="4"/>
                      <a:pt x="100" y="4"/>
                      <a:pt x="101" y="4"/>
                    </a:cubicBezTo>
                    <a:cubicBezTo>
                      <a:pt x="100" y="4"/>
                      <a:pt x="100" y="4"/>
                      <a:pt x="99" y="4"/>
                    </a:cubicBezTo>
                    <a:cubicBezTo>
                      <a:pt x="100" y="4"/>
                      <a:pt x="99" y="4"/>
                      <a:pt x="99" y="4"/>
                    </a:cubicBezTo>
                    <a:cubicBezTo>
                      <a:pt x="99" y="5"/>
                      <a:pt x="100" y="4"/>
                      <a:pt x="100" y="4"/>
                    </a:cubicBezTo>
                    <a:cubicBezTo>
                      <a:pt x="100" y="5"/>
                      <a:pt x="100" y="4"/>
                      <a:pt x="100" y="4"/>
                    </a:cubicBezTo>
                    <a:cubicBezTo>
                      <a:pt x="100" y="5"/>
                      <a:pt x="100" y="5"/>
                      <a:pt x="101" y="5"/>
                    </a:cubicBezTo>
                    <a:cubicBezTo>
                      <a:pt x="100" y="5"/>
                      <a:pt x="101" y="5"/>
                      <a:pt x="101" y="6"/>
                    </a:cubicBezTo>
                    <a:cubicBezTo>
                      <a:pt x="101" y="5"/>
                      <a:pt x="101" y="6"/>
                      <a:pt x="101" y="6"/>
                    </a:cubicBezTo>
                    <a:cubicBezTo>
                      <a:pt x="100" y="6"/>
                      <a:pt x="100" y="6"/>
                      <a:pt x="100" y="6"/>
                    </a:cubicBezTo>
                    <a:cubicBezTo>
                      <a:pt x="100" y="6"/>
                      <a:pt x="99" y="6"/>
                      <a:pt x="99" y="6"/>
                    </a:cubicBezTo>
                    <a:cubicBezTo>
                      <a:pt x="99" y="6"/>
                      <a:pt x="98" y="6"/>
                      <a:pt x="98" y="6"/>
                    </a:cubicBezTo>
                    <a:cubicBezTo>
                      <a:pt x="98" y="7"/>
                      <a:pt x="99" y="8"/>
                      <a:pt x="100" y="7"/>
                    </a:cubicBezTo>
                    <a:close/>
                    <a:moveTo>
                      <a:pt x="95" y="105"/>
                    </a:moveTo>
                    <a:cubicBezTo>
                      <a:pt x="94" y="105"/>
                      <a:pt x="94" y="105"/>
                      <a:pt x="94" y="105"/>
                    </a:cubicBezTo>
                    <a:cubicBezTo>
                      <a:pt x="93" y="105"/>
                      <a:pt x="93" y="105"/>
                      <a:pt x="93" y="105"/>
                    </a:cubicBezTo>
                    <a:cubicBezTo>
                      <a:pt x="93" y="105"/>
                      <a:pt x="92" y="105"/>
                      <a:pt x="92" y="106"/>
                    </a:cubicBezTo>
                    <a:cubicBezTo>
                      <a:pt x="92" y="106"/>
                      <a:pt x="93" y="107"/>
                      <a:pt x="94" y="107"/>
                    </a:cubicBezTo>
                    <a:cubicBezTo>
                      <a:pt x="95" y="107"/>
                      <a:pt x="95" y="106"/>
                      <a:pt x="95" y="106"/>
                    </a:cubicBezTo>
                    <a:cubicBezTo>
                      <a:pt x="96" y="105"/>
                      <a:pt x="95" y="105"/>
                      <a:pt x="95" y="105"/>
                    </a:cubicBezTo>
                    <a:close/>
                    <a:moveTo>
                      <a:pt x="120" y="88"/>
                    </a:moveTo>
                    <a:cubicBezTo>
                      <a:pt x="119" y="89"/>
                      <a:pt x="119" y="89"/>
                      <a:pt x="119" y="90"/>
                    </a:cubicBezTo>
                    <a:cubicBezTo>
                      <a:pt x="119" y="91"/>
                      <a:pt x="118" y="91"/>
                      <a:pt x="118" y="91"/>
                    </a:cubicBezTo>
                    <a:cubicBezTo>
                      <a:pt x="117" y="92"/>
                      <a:pt x="117" y="92"/>
                      <a:pt x="117" y="92"/>
                    </a:cubicBezTo>
                    <a:cubicBezTo>
                      <a:pt x="116" y="92"/>
                      <a:pt x="116" y="92"/>
                      <a:pt x="116" y="92"/>
                    </a:cubicBezTo>
                    <a:cubicBezTo>
                      <a:pt x="116" y="92"/>
                      <a:pt x="115" y="92"/>
                      <a:pt x="115" y="92"/>
                    </a:cubicBezTo>
                    <a:cubicBezTo>
                      <a:pt x="115" y="92"/>
                      <a:pt x="116" y="92"/>
                      <a:pt x="116" y="92"/>
                    </a:cubicBezTo>
                    <a:cubicBezTo>
                      <a:pt x="116" y="92"/>
                      <a:pt x="115" y="92"/>
                      <a:pt x="114" y="92"/>
                    </a:cubicBezTo>
                    <a:cubicBezTo>
                      <a:pt x="115" y="93"/>
                      <a:pt x="116" y="92"/>
                      <a:pt x="116" y="92"/>
                    </a:cubicBezTo>
                    <a:cubicBezTo>
                      <a:pt x="116" y="93"/>
                      <a:pt x="115" y="93"/>
                      <a:pt x="115" y="93"/>
                    </a:cubicBezTo>
                    <a:cubicBezTo>
                      <a:pt x="116" y="93"/>
                      <a:pt x="116" y="93"/>
                      <a:pt x="116" y="93"/>
                    </a:cubicBezTo>
                    <a:cubicBezTo>
                      <a:pt x="116" y="93"/>
                      <a:pt x="115" y="94"/>
                      <a:pt x="115" y="94"/>
                    </a:cubicBezTo>
                    <a:cubicBezTo>
                      <a:pt x="114" y="94"/>
                      <a:pt x="114" y="94"/>
                      <a:pt x="113" y="93"/>
                    </a:cubicBezTo>
                    <a:cubicBezTo>
                      <a:pt x="113" y="94"/>
                      <a:pt x="113" y="94"/>
                      <a:pt x="113" y="94"/>
                    </a:cubicBezTo>
                    <a:cubicBezTo>
                      <a:pt x="112" y="95"/>
                      <a:pt x="112" y="94"/>
                      <a:pt x="111" y="95"/>
                    </a:cubicBezTo>
                    <a:cubicBezTo>
                      <a:pt x="112" y="95"/>
                      <a:pt x="112" y="95"/>
                      <a:pt x="113" y="95"/>
                    </a:cubicBezTo>
                    <a:cubicBezTo>
                      <a:pt x="113" y="95"/>
                      <a:pt x="113" y="95"/>
                      <a:pt x="113" y="96"/>
                    </a:cubicBezTo>
                    <a:cubicBezTo>
                      <a:pt x="113" y="96"/>
                      <a:pt x="112" y="97"/>
                      <a:pt x="111" y="97"/>
                    </a:cubicBezTo>
                    <a:cubicBezTo>
                      <a:pt x="111" y="97"/>
                      <a:pt x="110" y="97"/>
                      <a:pt x="110" y="97"/>
                    </a:cubicBezTo>
                    <a:cubicBezTo>
                      <a:pt x="109" y="97"/>
                      <a:pt x="109" y="97"/>
                      <a:pt x="108" y="98"/>
                    </a:cubicBezTo>
                    <a:cubicBezTo>
                      <a:pt x="109" y="98"/>
                      <a:pt x="110" y="97"/>
                      <a:pt x="111" y="97"/>
                    </a:cubicBezTo>
                    <a:cubicBezTo>
                      <a:pt x="112" y="97"/>
                      <a:pt x="110" y="98"/>
                      <a:pt x="110" y="98"/>
                    </a:cubicBezTo>
                    <a:cubicBezTo>
                      <a:pt x="110" y="98"/>
                      <a:pt x="110" y="98"/>
                      <a:pt x="110" y="98"/>
                    </a:cubicBezTo>
                    <a:cubicBezTo>
                      <a:pt x="111" y="98"/>
                      <a:pt x="111" y="98"/>
                      <a:pt x="111" y="98"/>
                    </a:cubicBezTo>
                    <a:cubicBezTo>
                      <a:pt x="111" y="98"/>
                      <a:pt x="112" y="99"/>
                      <a:pt x="112" y="99"/>
                    </a:cubicBezTo>
                    <a:cubicBezTo>
                      <a:pt x="113" y="99"/>
                      <a:pt x="114" y="98"/>
                      <a:pt x="115" y="98"/>
                    </a:cubicBezTo>
                    <a:cubicBezTo>
                      <a:pt x="116" y="98"/>
                      <a:pt x="116" y="98"/>
                      <a:pt x="117" y="98"/>
                    </a:cubicBezTo>
                    <a:cubicBezTo>
                      <a:pt x="118" y="98"/>
                      <a:pt x="117" y="99"/>
                      <a:pt x="117" y="99"/>
                    </a:cubicBezTo>
                    <a:cubicBezTo>
                      <a:pt x="116" y="99"/>
                      <a:pt x="117" y="100"/>
                      <a:pt x="117" y="101"/>
                    </a:cubicBezTo>
                    <a:cubicBezTo>
                      <a:pt x="116" y="101"/>
                      <a:pt x="115" y="101"/>
                      <a:pt x="115" y="101"/>
                    </a:cubicBezTo>
                    <a:cubicBezTo>
                      <a:pt x="114" y="102"/>
                      <a:pt x="113" y="102"/>
                      <a:pt x="113" y="103"/>
                    </a:cubicBezTo>
                    <a:cubicBezTo>
                      <a:pt x="113" y="104"/>
                      <a:pt x="112" y="103"/>
                      <a:pt x="111" y="103"/>
                    </a:cubicBezTo>
                    <a:cubicBezTo>
                      <a:pt x="111" y="103"/>
                      <a:pt x="110" y="104"/>
                      <a:pt x="109" y="104"/>
                    </a:cubicBezTo>
                    <a:cubicBezTo>
                      <a:pt x="108" y="104"/>
                      <a:pt x="108" y="104"/>
                      <a:pt x="107" y="105"/>
                    </a:cubicBezTo>
                    <a:cubicBezTo>
                      <a:pt x="106" y="105"/>
                      <a:pt x="105" y="105"/>
                      <a:pt x="105" y="105"/>
                    </a:cubicBezTo>
                    <a:cubicBezTo>
                      <a:pt x="104" y="104"/>
                      <a:pt x="103" y="104"/>
                      <a:pt x="102" y="104"/>
                    </a:cubicBezTo>
                    <a:cubicBezTo>
                      <a:pt x="101" y="104"/>
                      <a:pt x="100" y="104"/>
                      <a:pt x="99" y="105"/>
                    </a:cubicBezTo>
                    <a:cubicBezTo>
                      <a:pt x="99" y="105"/>
                      <a:pt x="99" y="105"/>
                      <a:pt x="98" y="105"/>
                    </a:cubicBezTo>
                    <a:cubicBezTo>
                      <a:pt x="98" y="105"/>
                      <a:pt x="98" y="105"/>
                      <a:pt x="98" y="105"/>
                    </a:cubicBezTo>
                    <a:cubicBezTo>
                      <a:pt x="98" y="105"/>
                      <a:pt x="97" y="105"/>
                      <a:pt x="97" y="105"/>
                    </a:cubicBezTo>
                    <a:cubicBezTo>
                      <a:pt x="97" y="104"/>
                      <a:pt x="97" y="105"/>
                      <a:pt x="97" y="104"/>
                    </a:cubicBezTo>
                    <a:cubicBezTo>
                      <a:pt x="97" y="104"/>
                      <a:pt x="97" y="104"/>
                      <a:pt x="97" y="104"/>
                    </a:cubicBezTo>
                    <a:cubicBezTo>
                      <a:pt x="97" y="103"/>
                      <a:pt x="96" y="105"/>
                      <a:pt x="95" y="105"/>
                    </a:cubicBezTo>
                    <a:cubicBezTo>
                      <a:pt x="95" y="104"/>
                      <a:pt x="96" y="104"/>
                      <a:pt x="96" y="104"/>
                    </a:cubicBezTo>
                    <a:cubicBezTo>
                      <a:pt x="96" y="104"/>
                      <a:pt x="95" y="104"/>
                      <a:pt x="95" y="104"/>
                    </a:cubicBezTo>
                    <a:cubicBezTo>
                      <a:pt x="96" y="104"/>
                      <a:pt x="95" y="105"/>
                      <a:pt x="95" y="104"/>
                    </a:cubicBezTo>
                    <a:cubicBezTo>
                      <a:pt x="94" y="104"/>
                      <a:pt x="93" y="103"/>
                      <a:pt x="93" y="103"/>
                    </a:cubicBezTo>
                    <a:cubicBezTo>
                      <a:pt x="93" y="103"/>
                      <a:pt x="94" y="104"/>
                      <a:pt x="94" y="104"/>
                    </a:cubicBezTo>
                    <a:cubicBezTo>
                      <a:pt x="93" y="105"/>
                      <a:pt x="92" y="105"/>
                      <a:pt x="92" y="105"/>
                    </a:cubicBezTo>
                    <a:cubicBezTo>
                      <a:pt x="92" y="105"/>
                      <a:pt x="90" y="105"/>
                      <a:pt x="89" y="105"/>
                    </a:cubicBezTo>
                    <a:cubicBezTo>
                      <a:pt x="89" y="105"/>
                      <a:pt x="89" y="106"/>
                      <a:pt x="88" y="105"/>
                    </a:cubicBezTo>
                    <a:cubicBezTo>
                      <a:pt x="88" y="105"/>
                      <a:pt x="87" y="105"/>
                      <a:pt x="87" y="106"/>
                    </a:cubicBezTo>
                    <a:cubicBezTo>
                      <a:pt x="88" y="105"/>
                      <a:pt x="89" y="106"/>
                      <a:pt x="88" y="106"/>
                    </a:cubicBezTo>
                    <a:cubicBezTo>
                      <a:pt x="88" y="107"/>
                      <a:pt x="87" y="107"/>
                      <a:pt x="87" y="106"/>
                    </a:cubicBezTo>
                    <a:cubicBezTo>
                      <a:pt x="86" y="106"/>
                      <a:pt x="85" y="106"/>
                      <a:pt x="84" y="106"/>
                    </a:cubicBezTo>
                    <a:cubicBezTo>
                      <a:pt x="84" y="106"/>
                      <a:pt x="85" y="107"/>
                      <a:pt x="84" y="107"/>
                    </a:cubicBezTo>
                    <a:cubicBezTo>
                      <a:pt x="84" y="107"/>
                      <a:pt x="84" y="106"/>
                      <a:pt x="83" y="106"/>
                    </a:cubicBezTo>
                    <a:cubicBezTo>
                      <a:pt x="82" y="106"/>
                      <a:pt x="81" y="105"/>
                      <a:pt x="81" y="105"/>
                    </a:cubicBezTo>
                    <a:cubicBezTo>
                      <a:pt x="80" y="105"/>
                      <a:pt x="79" y="106"/>
                      <a:pt x="78" y="106"/>
                    </a:cubicBezTo>
                    <a:cubicBezTo>
                      <a:pt x="77" y="106"/>
                      <a:pt x="77" y="106"/>
                      <a:pt x="77" y="106"/>
                    </a:cubicBezTo>
                    <a:cubicBezTo>
                      <a:pt x="76" y="107"/>
                      <a:pt x="76" y="106"/>
                      <a:pt x="76" y="106"/>
                    </a:cubicBezTo>
                    <a:cubicBezTo>
                      <a:pt x="76" y="106"/>
                      <a:pt x="75" y="107"/>
                      <a:pt x="75" y="107"/>
                    </a:cubicBezTo>
                    <a:cubicBezTo>
                      <a:pt x="75" y="108"/>
                      <a:pt x="75" y="108"/>
                      <a:pt x="75" y="108"/>
                    </a:cubicBezTo>
                    <a:cubicBezTo>
                      <a:pt x="75" y="108"/>
                      <a:pt x="75" y="108"/>
                      <a:pt x="75" y="108"/>
                    </a:cubicBezTo>
                    <a:cubicBezTo>
                      <a:pt x="74" y="109"/>
                      <a:pt x="75" y="109"/>
                      <a:pt x="75" y="109"/>
                    </a:cubicBezTo>
                    <a:cubicBezTo>
                      <a:pt x="75" y="109"/>
                      <a:pt x="74" y="109"/>
                      <a:pt x="74" y="110"/>
                    </a:cubicBezTo>
                    <a:cubicBezTo>
                      <a:pt x="73" y="110"/>
                      <a:pt x="73" y="111"/>
                      <a:pt x="73" y="111"/>
                    </a:cubicBezTo>
                    <a:cubicBezTo>
                      <a:pt x="72" y="110"/>
                      <a:pt x="72" y="110"/>
                      <a:pt x="71" y="110"/>
                    </a:cubicBezTo>
                    <a:cubicBezTo>
                      <a:pt x="71" y="110"/>
                      <a:pt x="69" y="110"/>
                      <a:pt x="70" y="109"/>
                    </a:cubicBezTo>
                    <a:cubicBezTo>
                      <a:pt x="69" y="109"/>
                      <a:pt x="69" y="108"/>
                      <a:pt x="70" y="108"/>
                    </a:cubicBezTo>
                    <a:cubicBezTo>
                      <a:pt x="69" y="108"/>
                      <a:pt x="69" y="108"/>
                      <a:pt x="69" y="108"/>
                    </a:cubicBezTo>
                    <a:cubicBezTo>
                      <a:pt x="69" y="109"/>
                      <a:pt x="69" y="109"/>
                      <a:pt x="69" y="109"/>
                    </a:cubicBezTo>
                    <a:cubicBezTo>
                      <a:pt x="69" y="109"/>
                      <a:pt x="69" y="109"/>
                      <a:pt x="69" y="109"/>
                    </a:cubicBezTo>
                    <a:cubicBezTo>
                      <a:pt x="69" y="109"/>
                      <a:pt x="69" y="109"/>
                      <a:pt x="69" y="109"/>
                    </a:cubicBezTo>
                    <a:cubicBezTo>
                      <a:pt x="69" y="109"/>
                      <a:pt x="69" y="110"/>
                      <a:pt x="69" y="109"/>
                    </a:cubicBezTo>
                    <a:cubicBezTo>
                      <a:pt x="69" y="109"/>
                      <a:pt x="68" y="109"/>
                      <a:pt x="68" y="109"/>
                    </a:cubicBezTo>
                    <a:cubicBezTo>
                      <a:pt x="67" y="109"/>
                      <a:pt x="67" y="109"/>
                      <a:pt x="66" y="109"/>
                    </a:cubicBezTo>
                    <a:cubicBezTo>
                      <a:pt x="66" y="109"/>
                      <a:pt x="65" y="109"/>
                      <a:pt x="65" y="109"/>
                    </a:cubicBezTo>
                    <a:cubicBezTo>
                      <a:pt x="64" y="109"/>
                      <a:pt x="64" y="110"/>
                      <a:pt x="64" y="110"/>
                    </a:cubicBezTo>
                    <a:cubicBezTo>
                      <a:pt x="64" y="110"/>
                      <a:pt x="64" y="110"/>
                      <a:pt x="63" y="111"/>
                    </a:cubicBezTo>
                    <a:cubicBezTo>
                      <a:pt x="63" y="111"/>
                      <a:pt x="63" y="111"/>
                      <a:pt x="62" y="111"/>
                    </a:cubicBezTo>
                    <a:cubicBezTo>
                      <a:pt x="62" y="111"/>
                      <a:pt x="62" y="111"/>
                      <a:pt x="62" y="111"/>
                    </a:cubicBezTo>
                    <a:cubicBezTo>
                      <a:pt x="62" y="111"/>
                      <a:pt x="61" y="112"/>
                      <a:pt x="61" y="112"/>
                    </a:cubicBezTo>
                    <a:cubicBezTo>
                      <a:pt x="62" y="112"/>
                      <a:pt x="61" y="113"/>
                      <a:pt x="61" y="113"/>
                    </a:cubicBezTo>
                    <a:cubicBezTo>
                      <a:pt x="61" y="113"/>
                      <a:pt x="61" y="113"/>
                      <a:pt x="60" y="113"/>
                    </a:cubicBezTo>
                    <a:cubicBezTo>
                      <a:pt x="60" y="113"/>
                      <a:pt x="60" y="113"/>
                      <a:pt x="60" y="112"/>
                    </a:cubicBezTo>
                    <a:cubicBezTo>
                      <a:pt x="60" y="112"/>
                      <a:pt x="58" y="111"/>
                      <a:pt x="58" y="112"/>
                    </a:cubicBezTo>
                    <a:cubicBezTo>
                      <a:pt x="57" y="112"/>
                      <a:pt x="56" y="113"/>
                      <a:pt x="56" y="112"/>
                    </a:cubicBezTo>
                    <a:cubicBezTo>
                      <a:pt x="56" y="112"/>
                      <a:pt x="57" y="111"/>
                      <a:pt x="57" y="111"/>
                    </a:cubicBezTo>
                    <a:cubicBezTo>
                      <a:pt x="58" y="111"/>
                      <a:pt x="58" y="111"/>
                      <a:pt x="58" y="111"/>
                    </a:cubicBezTo>
                    <a:cubicBezTo>
                      <a:pt x="58" y="111"/>
                      <a:pt x="58" y="111"/>
                      <a:pt x="59" y="111"/>
                    </a:cubicBezTo>
                    <a:cubicBezTo>
                      <a:pt x="59" y="110"/>
                      <a:pt x="60" y="110"/>
                      <a:pt x="61" y="109"/>
                    </a:cubicBezTo>
                    <a:cubicBezTo>
                      <a:pt x="61" y="109"/>
                      <a:pt x="61" y="109"/>
                      <a:pt x="61" y="109"/>
                    </a:cubicBezTo>
                    <a:cubicBezTo>
                      <a:pt x="61" y="108"/>
                      <a:pt x="62" y="108"/>
                      <a:pt x="62" y="108"/>
                    </a:cubicBezTo>
                    <a:cubicBezTo>
                      <a:pt x="63" y="107"/>
                      <a:pt x="63" y="107"/>
                      <a:pt x="64" y="107"/>
                    </a:cubicBezTo>
                    <a:cubicBezTo>
                      <a:pt x="63" y="107"/>
                      <a:pt x="63" y="107"/>
                      <a:pt x="63" y="107"/>
                    </a:cubicBezTo>
                    <a:cubicBezTo>
                      <a:pt x="64" y="107"/>
                      <a:pt x="64" y="106"/>
                      <a:pt x="65" y="106"/>
                    </a:cubicBezTo>
                    <a:cubicBezTo>
                      <a:pt x="65" y="105"/>
                      <a:pt x="67" y="105"/>
                      <a:pt x="67" y="104"/>
                    </a:cubicBezTo>
                    <a:cubicBezTo>
                      <a:pt x="67" y="103"/>
                      <a:pt x="67" y="102"/>
                      <a:pt x="67" y="102"/>
                    </a:cubicBezTo>
                    <a:cubicBezTo>
                      <a:pt x="68" y="102"/>
                      <a:pt x="68" y="102"/>
                      <a:pt x="69" y="102"/>
                    </a:cubicBezTo>
                    <a:cubicBezTo>
                      <a:pt x="69" y="102"/>
                      <a:pt x="70" y="102"/>
                      <a:pt x="70" y="101"/>
                    </a:cubicBezTo>
                    <a:cubicBezTo>
                      <a:pt x="70" y="101"/>
                      <a:pt x="69" y="101"/>
                      <a:pt x="69" y="101"/>
                    </a:cubicBezTo>
                    <a:cubicBezTo>
                      <a:pt x="70" y="101"/>
                      <a:pt x="70" y="101"/>
                      <a:pt x="70" y="100"/>
                    </a:cubicBezTo>
                    <a:cubicBezTo>
                      <a:pt x="70" y="100"/>
                      <a:pt x="72" y="100"/>
                      <a:pt x="73" y="100"/>
                    </a:cubicBezTo>
                    <a:cubicBezTo>
                      <a:pt x="74" y="100"/>
                      <a:pt x="75" y="100"/>
                      <a:pt x="76" y="100"/>
                    </a:cubicBezTo>
                    <a:cubicBezTo>
                      <a:pt x="77" y="101"/>
                      <a:pt x="79" y="100"/>
                      <a:pt x="80" y="100"/>
                    </a:cubicBezTo>
                    <a:cubicBezTo>
                      <a:pt x="80" y="100"/>
                      <a:pt x="80" y="100"/>
                      <a:pt x="80" y="100"/>
                    </a:cubicBezTo>
                    <a:cubicBezTo>
                      <a:pt x="80" y="100"/>
                      <a:pt x="80" y="100"/>
                      <a:pt x="80" y="100"/>
                    </a:cubicBezTo>
                    <a:cubicBezTo>
                      <a:pt x="80" y="99"/>
                      <a:pt x="80" y="99"/>
                      <a:pt x="80" y="99"/>
                    </a:cubicBezTo>
                    <a:cubicBezTo>
                      <a:pt x="81" y="98"/>
                      <a:pt x="81" y="98"/>
                      <a:pt x="82" y="97"/>
                    </a:cubicBezTo>
                    <a:cubicBezTo>
                      <a:pt x="83" y="97"/>
                      <a:pt x="83" y="96"/>
                      <a:pt x="84" y="96"/>
                    </a:cubicBezTo>
                    <a:cubicBezTo>
                      <a:pt x="84" y="96"/>
                      <a:pt x="85" y="94"/>
                      <a:pt x="86" y="94"/>
                    </a:cubicBezTo>
                    <a:cubicBezTo>
                      <a:pt x="85" y="94"/>
                      <a:pt x="85" y="94"/>
                      <a:pt x="85" y="94"/>
                    </a:cubicBezTo>
                    <a:cubicBezTo>
                      <a:pt x="84" y="94"/>
                      <a:pt x="83" y="96"/>
                      <a:pt x="82" y="96"/>
                    </a:cubicBezTo>
                    <a:cubicBezTo>
                      <a:pt x="81" y="97"/>
                      <a:pt x="80" y="96"/>
                      <a:pt x="80" y="97"/>
                    </a:cubicBezTo>
                    <a:cubicBezTo>
                      <a:pt x="79" y="97"/>
                      <a:pt x="79" y="97"/>
                      <a:pt x="79" y="97"/>
                    </a:cubicBezTo>
                    <a:cubicBezTo>
                      <a:pt x="79" y="98"/>
                      <a:pt x="79" y="98"/>
                      <a:pt x="78" y="98"/>
                    </a:cubicBezTo>
                    <a:cubicBezTo>
                      <a:pt x="77" y="98"/>
                      <a:pt x="77" y="98"/>
                      <a:pt x="76" y="98"/>
                    </a:cubicBezTo>
                    <a:cubicBezTo>
                      <a:pt x="75" y="98"/>
                      <a:pt x="75" y="97"/>
                      <a:pt x="74" y="97"/>
                    </a:cubicBezTo>
                    <a:cubicBezTo>
                      <a:pt x="74" y="97"/>
                      <a:pt x="74" y="96"/>
                      <a:pt x="73" y="96"/>
                    </a:cubicBezTo>
                    <a:cubicBezTo>
                      <a:pt x="73" y="96"/>
                      <a:pt x="71" y="96"/>
                      <a:pt x="72" y="96"/>
                    </a:cubicBezTo>
                    <a:cubicBezTo>
                      <a:pt x="72" y="97"/>
                      <a:pt x="69" y="97"/>
                      <a:pt x="70" y="96"/>
                    </a:cubicBezTo>
                    <a:cubicBezTo>
                      <a:pt x="70" y="95"/>
                      <a:pt x="71" y="96"/>
                      <a:pt x="71" y="95"/>
                    </a:cubicBezTo>
                    <a:cubicBezTo>
                      <a:pt x="71" y="95"/>
                      <a:pt x="69" y="95"/>
                      <a:pt x="69" y="95"/>
                    </a:cubicBezTo>
                    <a:cubicBezTo>
                      <a:pt x="69" y="95"/>
                      <a:pt x="69" y="95"/>
                      <a:pt x="69" y="95"/>
                    </a:cubicBezTo>
                    <a:cubicBezTo>
                      <a:pt x="69" y="95"/>
                      <a:pt x="69" y="94"/>
                      <a:pt x="69" y="94"/>
                    </a:cubicBezTo>
                    <a:cubicBezTo>
                      <a:pt x="69" y="94"/>
                      <a:pt x="68" y="94"/>
                      <a:pt x="68" y="95"/>
                    </a:cubicBezTo>
                    <a:cubicBezTo>
                      <a:pt x="67" y="95"/>
                      <a:pt x="67" y="94"/>
                      <a:pt x="66" y="95"/>
                    </a:cubicBezTo>
                    <a:cubicBezTo>
                      <a:pt x="66" y="96"/>
                      <a:pt x="66" y="95"/>
                      <a:pt x="65" y="95"/>
                    </a:cubicBezTo>
                    <a:cubicBezTo>
                      <a:pt x="65" y="95"/>
                      <a:pt x="65" y="96"/>
                      <a:pt x="64" y="96"/>
                    </a:cubicBezTo>
                    <a:cubicBezTo>
                      <a:pt x="64" y="96"/>
                      <a:pt x="63" y="95"/>
                      <a:pt x="63" y="95"/>
                    </a:cubicBezTo>
                    <a:cubicBezTo>
                      <a:pt x="63" y="95"/>
                      <a:pt x="65" y="95"/>
                      <a:pt x="65" y="95"/>
                    </a:cubicBezTo>
                    <a:cubicBezTo>
                      <a:pt x="64" y="94"/>
                      <a:pt x="65" y="94"/>
                      <a:pt x="65" y="94"/>
                    </a:cubicBezTo>
                    <a:cubicBezTo>
                      <a:pt x="65" y="94"/>
                      <a:pt x="65" y="94"/>
                      <a:pt x="64" y="94"/>
                    </a:cubicBezTo>
                    <a:cubicBezTo>
                      <a:pt x="65" y="95"/>
                      <a:pt x="64" y="95"/>
                      <a:pt x="64" y="95"/>
                    </a:cubicBezTo>
                    <a:cubicBezTo>
                      <a:pt x="63" y="95"/>
                      <a:pt x="63" y="95"/>
                      <a:pt x="63" y="95"/>
                    </a:cubicBezTo>
                    <a:cubicBezTo>
                      <a:pt x="63" y="95"/>
                      <a:pt x="62" y="95"/>
                      <a:pt x="62" y="95"/>
                    </a:cubicBezTo>
                    <a:cubicBezTo>
                      <a:pt x="62" y="95"/>
                      <a:pt x="62" y="95"/>
                      <a:pt x="62" y="95"/>
                    </a:cubicBezTo>
                    <a:cubicBezTo>
                      <a:pt x="62" y="95"/>
                      <a:pt x="63" y="94"/>
                      <a:pt x="63" y="94"/>
                    </a:cubicBezTo>
                    <a:cubicBezTo>
                      <a:pt x="63" y="93"/>
                      <a:pt x="62" y="93"/>
                      <a:pt x="61" y="93"/>
                    </a:cubicBezTo>
                    <a:cubicBezTo>
                      <a:pt x="61" y="93"/>
                      <a:pt x="62" y="93"/>
                      <a:pt x="62" y="92"/>
                    </a:cubicBezTo>
                    <a:cubicBezTo>
                      <a:pt x="63" y="92"/>
                      <a:pt x="63" y="92"/>
                      <a:pt x="63" y="92"/>
                    </a:cubicBezTo>
                    <a:cubicBezTo>
                      <a:pt x="63" y="92"/>
                      <a:pt x="63" y="91"/>
                      <a:pt x="64" y="91"/>
                    </a:cubicBezTo>
                    <a:cubicBezTo>
                      <a:pt x="64" y="92"/>
                      <a:pt x="64" y="92"/>
                      <a:pt x="64" y="92"/>
                    </a:cubicBezTo>
                    <a:cubicBezTo>
                      <a:pt x="65" y="92"/>
                      <a:pt x="65" y="92"/>
                      <a:pt x="65" y="91"/>
                    </a:cubicBezTo>
                    <a:cubicBezTo>
                      <a:pt x="66" y="91"/>
                      <a:pt x="66" y="90"/>
                      <a:pt x="67" y="91"/>
                    </a:cubicBezTo>
                    <a:cubicBezTo>
                      <a:pt x="67" y="90"/>
                      <a:pt x="68" y="90"/>
                      <a:pt x="68" y="90"/>
                    </a:cubicBezTo>
                    <a:cubicBezTo>
                      <a:pt x="69" y="90"/>
                      <a:pt x="69" y="90"/>
                      <a:pt x="70" y="89"/>
                    </a:cubicBezTo>
                    <a:cubicBezTo>
                      <a:pt x="71" y="89"/>
                      <a:pt x="71" y="88"/>
                      <a:pt x="72" y="87"/>
                    </a:cubicBezTo>
                    <a:cubicBezTo>
                      <a:pt x="72" y="87"/>
                      <a:pt x="72" y="87"/>
                      <a:pt x="72" y="86"/>
                    </a:cubicBezTo>
                    <a:cubicBezTo>
                      <a:pt x="72" y="86"/>
                      <a:pt x="73" y="86"/>
                      <a:pt x="73" y="86"/>
                    </a:cubicBezTo>
                    <a:cubicBezTo>
                      <a:pt x="73" y="86"/>
                      <a:pt x="72" y="86"/>
                      <a:pt x="72" y="85"/>
                    </a:cubicBezTo>
                    <a:cubicBezTo>
                      <a:pt x="72" y="85"/>
                      <a:pt x="73" y="85"/>
                      <a:pt x="73" y="84"/>
                    </a:cubicBezTo>
                    <a:cubicBezTo>
                      <a:pt x="72" y="84"/>
                      <a:pt x="72" y="84"/>
                      <a:pt x="72" y="83"/>
                    </a:cubicBezTo>
                    <a:cubicBezTo>
                      <a:pt x="72" y="83"/>
                      <a:pt x="72" y="83"/>
                      <a:pt x="72" y="83"/>
                    </a:cubicBezTo>
                    <a:cubicBezTo>
                      <a:pt x="72" y="82"/>
                      <a:pt x="72" y="82"/>
                      <a:pt x="72" y="82"/>
                    </a:cubicBezTo>
                    <a:cubicBezTo>
                      <a:pt x="72" y="82"/>
                      <a:pt x="71" y="82"/>
                      <a:pt x="70" y="82"/>
                    </a:cubicBezTo>
                    <a:cubicBezTo>
                      <a:pt x="69" y="83"/>
                      <a:pt x="69" y="84"/>
                      <a:pt x="68" y="83"/>
                    </a:cubicBezTo>
                    <a:cubicBezTo>
                      <a:pt x="68" y="83"/>
                      <a:pt x="67" y="84"/>
                      <a:pt x="67" y="83"/>
                    </a:cubicBezTo>
                    <a:cubicBezTo>
                      <a:pt x="67" y="83"/>
                      <a:pt x="68" y="82"/>
                      <a:pt x="68" y="82"/>
                    </a:cubicBezTo>
                    <a:cubicBezTo>
                      <a:pt x="69" y="82"/>
                      <a:pt x="70" y="81"/>
                      <a:pt x="70" y="81"/>
                    </a:cubicBezTo>
                    <a:cubicBezTo>
                      <a:pt x="70" y="80"/>
                      <a:pt x="71" y="80"/>
                      <a:pt x="71" y="79"/>
                    </a:cubicBezTo>
                    <a:cubicBezTo>
                      <a:pt x="72" y="79"/>
                      <a:pt x="72" y="79"/>
                      <a:pt x="72" y="79"/>
                    </a:cubicBezTo>
                    <a:cubicBezTo>
                      <a:pt x="73" y="79"/>
                      <a:pt x="73" y="79"/>
                      <a:pt x="74" y="79"/>
                    </a:cubicBezTo>
                    <a:cubicBezTo>
                      <a:pt x="74" y="78"/>
                      <a:pt x="74" y="78"/>
                      <a:pt x="75" y="78"/>
                    </a:cubicBezTo>
                    <a:cubicBezTo>
                      <a:pt x="75" y="78"/>
                      <a:pt x="74" y="78"/>
                      <a:pt x="74" y="78"/>
                    </a:cubicBezTo>
                    <a:cubicBezTo>
                      <a:pt x="75" y="78"/>
                      <a:pt x="76" y="78"/>
                      <a:pt x="76" y="78"/>
                    </a:cubicBezTo>
                    <a:cubicBezTo>
                      <a:pt x="77" y="78"/>
                      <a:pt x="77" y="78"/>
                      <a:pt x="78" y="78"/>
                    </a:cubicBezTo>
                    <a:cubicBezTo>
                      <a:pt x="79" y="78"/>
                      <a:pt x="80" y="78"/>
                      <a:pt x="81" y="79"/>
                    </a:cubicBezTo>
                    <a:cubicBezTo>
                      <a:pt x="81" y="78"/>
                      <a:pt x="79" y="76"/>
                      <a:pt x="81" y="77"/>
                    </a:cubicBezTo>
                    <a:cubicBezTo>
                      <a:pt x="82" y="77"/>
                      <a:pt x="82" y="78"/>
                      <a:pt x="82" y="78"/>
                    </a:cubicBezTo>
                    <a:cubicBezTo>
                      <a:pt x="83" y="78"/>
                      <a:pt x="84" y="78"/>
                      <a:pt x="84" y="78"/>
                    </a:cubicBezTo>
                    <a:cubicBezTo>
                      <a:pt x="84" y="78"/>
                      <a:pt x="83" y="78"/>
                      <a:pt x="83" y="78"/>
                    </a:cubicBezTo>
                    <a:cubicBezTo>
                      <a:pt x="82" y="78"/>
                      <a:pt x="82" y="77"/>
                      <a:pt x="82" y="77"/>
                    </a:cubicBezTo>
                    <a:cubicBezTo>
                      <a:pt x="81" y="76"/>
                      <a:pt x="81" y="76"/>
                      <a:pt x="81" y="75"/>
                    </a:cubicBezTo>
                    <a:cubicBezTo>
                      <a:pt x="82" y="74"/>
                      <a:pt x="82" y="74"/>
                      <a:pt x="83" y="74"/>
                    </a:cubicBezTo>
                    <a:cubicBezTo>
                      <a:pt x="82" y="73"/>
                      <a:pt x="82" y="74"/>
                      <a:pt x="82" y="73"/>
                    </a:cubicBezTo>
                    <a:cubicBezTo>
                      <a:pt x="81" y="73"/>
                      <a:pt x="82" y="72"/>
                      <a:pt x="82" y="72"/>
                    </a:cubicBezTo>
                    <a:cubicBezTo>
                      <a:pt x="82" y="71"/>
                      <a:pt x="83" y="71"/>
                      <a:pt x="84" y="71"/>
                    </a:cubicBezTo>
                    <a:cubicBezTo>
                      <a:pt x="83" y="71"/>
                      <a:pt x="83" y="71"/>
                      <a:pt x="83" y="70"/>
                    </a:cubicBezTo>
                    <a:cubicBezTo>
                      <a:pt x="83" y="70"/>
                      <a:pt x="84" y="70"/>
                      <a:pt x="84" y="70"/>
                    </a:cubicBezTo>
                    <a:cubicBezTo>
                      <a:pt x="84" y="69"/>
                      <a:pt x="84" y="69"/>
                      <a:pt x="84" y="69"/>
                    </a:cubicBezTo>
                    <a:cubicBezTo>
                      <a:pt x="84" y="69"/>
                      <a:pt x="84" y="69"/>
                      <a:pt x="84" y="68"/>
                    </a:cubicBezTo>
                    <a:cubicBezTo>
                      <a:pt x="84" y="69"/>
                      <a:pt x="83" y="69"/>
                      <a:pt x="83" y="69"/>
                    </a:cubicBezTo>
                    <a:cubicBezTo>
                      <a:pt x="83" y="69"/>
                      <a:pt x="82" y="69"/>
                      <a:pt x="82" y="69"/>
                    </a:cubicBezTo>
                    <a:cubicBezTo>
                      <a:pt x="82" y="69"/>
                      <a:pt x="82" y="70"/>
                      <a:pt x="81" y="70"/>
                    </a:cubicBezTo>
                    <a:cubicBezTo>
                      <a:pt x="80" y="70"/>
                      <a:pt x="81" y="69"/>
                      <a:pt x="81" y="68"/>
                    </a:cubicBezTo>
                    <a:cubicBezTo>
                      <a:pt x="80" y="68"/>
                      <a:pt x="80" y="69"/>
                      <a:pt x="79" y="68"/>
                    </a:cubicBezTo>
                    <a:cubicBezTo>
                      <a:pt x="79" y="68"/>
                      <a:pt x="79" y="67"/>
                      <a:pt x="79" y="67"/>
                    </a:cubicBezTo>
                    <a:cubicBezTo>
                      <a:pt x="79" y="67"/>
                      <a:pt x="78" y="66"/>
                      <a:pt x="78" y="65"/>
                    </a:cubicBezTo>
                    <a:cubicBezTo>
                      <a:pt x="78" y="65"/>
                      <a:pt x="78" y="64"/>
                      <a:pt x="78" y="64"/>
                    </a:cubicBezTo>
                    <a:cubicBezTo>
                      <a:pt x="79" y="63"/>
                      <a:pt x="79" y="63"/>
                      <a:pt x="79" y="63"/>
                    </a:cubicBezTo>
                    <a:cubicBezTo>
                      <a:pt x="79" y="63"/>
                      <a:pt x="79" y="62"/>
                      <a:pt x="79" y="62"/>
                    </a:cubicBezTo>
                    <a:cubicBezTo>
                      <a:pt x="80" y="62"/>
                      <a:pt x="80" y="61"/>
                      <a:pt x="80" y="62"/>
                    </a:cubicBezTo>
                    <a:cubicBezTo>
                      <a:pt x="81" y="62"/>
                      <a:pt x="81" y="61"/>
                      <a:pt x="81" y="61"/>
                    </a:cubicBezTo>
                    <a:cubicBezTo>
                      <a:pt x="81" y="61"/>
                      <a:pt x="82" y="61"/>
                      <a:pt x="83" y="61"/>
                    </a:cubicBezTo>
                    <a:cubicBezTo>
                      <a:pt x="83" y="61"/>
                      <a:pt x="82" y="61"/>
                      <a:pt x="82" y="61"/>
                    </a:cubicBezTo>
                    <a:cubicBezTo>
                      <a:pt x="82" y="61"/>
                      <a:pt x="83" y="61"/>
                      <a:pt x="83" y="61"/>
                    </a:cubicBezTo>
                    <a:cubicBezTo>
                      <a:pt x="82" y="60"/>
                      <a:pt x="81" y="61"/>
                      <a:pt x="81" y="61"/>
                    </a:cubicBezTo>
                    <a:cubicBezTo>
                      <a:pt x="80" y="61"/>
                      <a:pt x="79" y="60"/>
                      <a:pt x="78" y="61"/>
                    </a:cubicBezTo>
                    <a:cubicBezTo>
                      <a:pt x="78" y="61"/>
                      <a:pt x="79" y="61"/>
                      <a:pt x="78" y="61"/>
                    </a:cubicBezTo>
                    <a:cubicBezTo>
                      <a:pt x="78" y="62"/>
                      <a:pt x="78" y="62"/>
                      <a:pt x="77" y="62"/>
                    </a:cubicBezTo>
                    <a:cubicBezTo>
                      <a:pt x="77" y="62"/>
                      <a:pt x="76" y="62"/>
                      <a:pt x="76" y="62"/>
                    </a:cubicBezTo>
                    <a:cubicBezTo>
                      <a:pt x="76" y="62"/>
                      <a:pt x="76" y="62"/>
                      <a:pt x="76" y="62"/>
                    </a:cubicBezTo>
                    <a:cubicBezTo>
                      <a:pt x="76" y="62"/>
                      <a:pt x="76" y="62"/>
                      <a:pt x="75" y="63"/>
                    </a:cubicBezTo>
                    <a:cubicBezTo>
                      <a:pt x="75" y="63"/>
                      <a:pt x="75" y="63"/>
                      <a:pt x="75" y="63"/>
                    </a:cubicBezTo>
                    <a:cubicBezTo>
                      <a:pt x="74" y="63"/>
                      <a:pt x="75" y="62"/>
                      <a:pt x="74" y="62"/>
                    </a:cubicBezTo>
                    <a:cubicBezTo>
                      <a:pt x="74" y="62"/>
                      <a:pt x="74" y="63"/>
                      <a:pt x="74" y="63"/>
                    </a:cubicBezTo>
                    <a:cubicBezTo>
                      <a:pt x="73" y="63"/>
                      <a:pt x="73" y="62"/>
                      <a:pt x="73" y="62"/>
                    </a:cubicBezTo>
                    <a:cubicBezTo>
                      <a:pt x="72" y="62"/>
                      <a:pt x="72" y="62"/>
                      <a:pt x="72" y="61"/>
                    </a:cubicBezTo>
                    <a:cubicBezTo>
                      <a:pt x="71" y="61"/>
                      <a:pt x="71" y="62"/>
                      <a:pt x="71" y="62"/>
                    </a:cubicBezTo>
                    <a:cubicBezTo>
                      <a:pt x="71" y="62"/>
                      <a:pt x="72" y="62"/>
                      <a:pt x="72" y="62"/>
                    </a:cubicBezTo>
                    <a:cubicBezTo>
                      <a:pt x="72" y="63"/>
                      <a:pt x="72" y="64"/>
                      <a:pt x="71" y="64"/>
                    </a:cubicBezTo>
                    <a:cubicBezTo>
                      <a:pt x="70" y="64"/>
                      <a:pt x="70" y="63"/>
                      <a:pt x="70" y="62"/>
                    </a:cubicBezTo>
                    <a:cubicBezTo>
                      <a:pt x="69" y="62"/>
                      <a:pt x="67" y="61"/>
                      <a:pt x="67" y="62"/>
                    </a:cubicBezTo>
                    <a:cubicBezTo>
                      <a:pt x="67" y="63"/>
                      <a:pt x="68" y="64"/>
                      <a:pt x="68" y="64"/>
                    </a:cubicBezTo>
                    <a:cubicBezTo>
                      <a:pt x="67" y="65"/>
                      <a:pt x="67" y="63"/>
                      <a:pt x="67" y="63"/>
                    </a:cubicBezTo>
                    <a:cubicBezTo>
                      <a:pt x="66" y="62"/>
                      <a:pt x="65" y="61"/>
                      <a:pt x="66" y="60"/>
                    </a:cubicBezTo>
                    <a:cubicBezTo>
                      <a:pt x="66" y="60"/>
                      <a:pt x="66" y="61"/>
                      <a:pt x="66" y="61"/>
                    </a:cubicBezTo>
                    <a:cubicBezTo>
                      <a:pt x="67" y="62"/>
                      <a:pt x="67" y="60"/>
                      <a:pt x="67" y="60"/>
                    </a:cubicBezTo>
                    <a:cubicBezTo>
                      <a:pt x="67" y="59"/>
                      <a:pt x="67" y="59"/>
                      <a:pt x="67" y="59"/>
                    </a:cubicBezTo>
                    <a:cubicBezTo>
                      <a:pt x="68" y="58"/>
                      <a:pt x="69" y="57"/>
                      <a:pt x="69" y="56"/>
                    </a:cubicBezTo>
                    <a:cubicBezTo>
                      <a:pt x="69" y="56"/>
                      <a:pt x="71" y="55"/>
                      <a:pt x="70" y="55"/>
                    </a:cubicBezTo>
                    <a:cubicBezTo>
                      <a:pt x="71" y="54"/>
                      <a:pt x="69" y="54"/>
                      <a:pt x="69" y="53"/>
                    </a:cubicBezTo>
                    <a:cubicBezTo>
                      <a:pt x="68" y="53"/>
                      <a:pt x="68" y="53"/>
                      <a:pt x="69" y="53"/>
                    </a:cubicBezTo>
                    <a:cubicBezTo>
                      <a:pt x="69" y="52"/>
                      <a:pt x="69" y="52"/>
                      <a:pt x="69" y="51"/>
                    </a:cubicBezTo>
                    <a:cubicBezTo>
                      <a:pt x="69" y="50"/>
                      <a:pt x="71" y="51"/>
                      <a:pt x="72" y="51"/>
                    </a:cubicBezTo>
                    <a:cubicBezTo>
                      <a:pt x="71" y="50"/>
                      <a:pt x="71" y="50"/>
                      <a:pt x="70" y="50"/>
                    </a:cubicBezTo>
                    <a:cubicBezTo>
                      <a:pt x="70" y="50"/>
                      <a:pt x="69" y="49"/>
                      <a:pt x="69" y="49"/>
                    </a:cubicBezTo>
                    <a:cubicBezTo>
                      <a:pt x="69" y="49"/>
                      <a:pt x="69" y="50"/>
                      <a:pt x="69" y="50"/>
                    </a:cubicBezTo>
                    <a:cubicBezTo>
                      <a:pt x="70" y="50"/>
                      <a:pt x="69" y="51"/>
                      <a:pt x="69" y="50"/>
                    </a:cubicBezTo>
                    <a:cubicBezTo>
                      <a:pt x="69" y="49"/>
                      <a:pt x="70" y="49"/>
                      <a:pt x="70" y="48"/>
                    </a:cubicBezTo>
                    <a:cubicBezTo>
                      <a:pt x="70" y="48"/>
                      <a:pt x="70" y="49"/>
                      <a:pt x="69" y="49"/>
                    </a:cubicBezTo>
                    <a:cubicBezTo>
                      <a:pt x="69" y="49"/>
                      <a:pt x="69" y="48"/>
                      <a:pt x="69" y="48"/>
                    </a:cubicBezTo>
                    <a:cubicBezTo>
                      <a:pt x="68" y="48"/>
                      <a:pt x="69" y="51"/>
                      <a:pt x="68" y="50"/>
                    </a:cubicBezTo>
                    <a:cubicBezTo>
                      <a:pt x="69" y="50"/>
                      <a:pt x="68" y="52"/>
                      <a:pt x="68" y="51"/>
                    </a:cubicBezTo>
                    <a:cubicBezTo>
                      <a:pt x="67" y="51"/>
                      <a:pt x="67" y="50"/>
                      <a:pt x="67" y="50"/>
                    </a:cubicBezTo>
                    <a:cubicBezTo>
                      <a:pt x="67" y="50"/>
                      <a:pt x="67" y="51"/>
                      <a:pt x="67" y="51"/>
                    </a:cubicBezTo>
                    <a:cubicBezTo>
                      <a:pt x="67" y="51"/>
                      <a:pt x="66" y="51"/>
                      <a:pt x="66" y="50"/>
                    </a:cubicBezTo>
                    <a:cubicBezTo>
                      <a:pt x="66" y="50"/>
                      <a:pt x="66" y="52"/>
                      <a:pt x="66" y="52"/>
                    </a:cubicBezTo>
                    <a:cubicBezTo>
                      <a:pt x="66" y="52"/>
                      <a:pt x="65" y="51"/>
                      <a:pt x="65" y="51"/>
                    </a:cubicBezTo>
                    <a:cubicBezTo>
                      <a:pt x="65" y="50"/>
                      <a:pt x="65" y="50"/>
                      <a:pt x="66" y="49"/>
                    </a:cubicBezTo>
                    <a:cubicBezTo>
                      <a:pt x="66" y="49"/>
                      <a:pt x="67" y="49"/>
                      <a:pt x="67" y="48"/>
                    </a:cubicBezTo>
                    <a:cubicBezTo>
                      <a:pt x="68" y="48"/>
                      <a:pt x="68" y="48"/>
                      <a:pt x="68" y="48"/>
                    </a:cubicBezTo>
                    <a:cubicBezTo>
                      <a:pt x="68" y="48"/>
                      <a:pt x="69" y="47"/>
                      <a:pt x="69" y="47"/>
                    </a:cubicBezTo>
                    <a:cubicBezTo>
                      <a:pt x="68" y="47"/>
                      <a:pt x="68" y="47"/>
                      <a:pt x="67" y="48"/>
                    </a:cubicBezTo>
                    <a:cubicBezTo>
                      <a:pt x="67" y="49"/>
                      <a:pt x="66" y="49"/>
                      <a:pt x="66" y="49"/>
                    </a:cubicBezTo>
                    <a:cubicBezTo>
                      <a:pt x="65" y="49"/>
                      <a:pt x="65" y="50"/>
                      <a:pt x="64" y="50"/>
                    </a:cubicBezTo>
                    <a:cubicBezTo>
                      <a:pt x="64" y="50"/>
                      <a:pt x="64" y="51"/>
                      <a:pt x="64" y="51"/>
                    </a:cubicBezTo>
                    <a:cubicBezTo>
                      <a:pt x="65" y="51"/>
                      <a:pt x="65" y="52"/>
                      <a:pt x="65" y="52"/>
                    </a:cubicBezTo>
                    <a:cubicBezTo>
                      <a:pt x="65" y="53"/>
                      <a:pt x="64" y="53"/>
                      <a:pt x="64" y="53"/>
                    </a:cubicBezTo>
                    <a:cubicBezTo>
                      <a:pt x="64" y="54"/>
                      <a:pt x="64" y="54"/>
                      <a:pt x="64" y="54"/>
                    </a:cubicBezTo>
                    <a:cubicBezTo>
                      <a:pt x="64" y="55"/>
                      <a:pt x="63" y="56"/>
                      <a:pt x="63" y="56"/>
                    </a:cubicBezTo>
                    <a:cubicBezTo>
                      <a:pt x="64" y="56"/>
                      <a:pt x="63" y="57"/>
                      <a:pt x="62" y="57"/>
                    </a:cubicBezTo>
                    <a:cubicBezTo>
                      <a:pt x="62" y="57"/>
                      <a:pt x="60" y="57"/>
                      <a:pt x="61" y="56"/>
                    </a:cubicBezTo>
                    <a:cubicBezTo>
                      <a:pt x="61" y="56"/>
                      <a:pt x="62" y="55"/>
                      <a:pt x="62" y="54"/>
                    </a:cubicBezTo>
                    <a:cubicBezTo>
                      <a:pt x="63" y="53"/>
                      <a:pt x="64" y="52"/>
                      <a:pt x="64" y="52"/>
                    </a:cubicBezTo>
                    <a:cubicBezTo>
                      <a:pt x="64" y="52"/>
                      <a:pt x="63" y="53"/>
                      <a:pt x="62" y="52"/>
                    </a:cubicBezTo>
                    <a:cubicBezTo>
                      <a:pt x="62" y="52"/>
                      <a:pt x="63" y="51"/>
                      <a:pt x="63" y="51"/>
                    </a:cubicBezTo>
                    <a:cubicBezTo>
                      <a:pt x="63" y="51"/>
                      <a:pt x="62" y="51"/>
                      <a:pt x="62" y="51"/>
                    </a:cubicBezTo>
                    <a:cubicBezTo>
                      <a:pt x="62" y="50"/>
                      <a:pt x="63" y="50"/>
                      <a:pt x="63" y="50"/>
                    </a:cubicBezTo>
                    <a:cubicBezTo>
                      <a:pt x="63" y="50"/>
                      <a:pt x="62" y="51"/>
                      <a:pt x="62" y="51"/>
                    </a:cubicBezTo>
                    <a:cubicBezTo>
                      <a:pt x="62" y="50"/>
                      <a:pt x="64" y="49"/>
                      <a:pt x="64" y="49"/>
                    </a:cubicBezTo>
                    <a:cubicBezTo>
                      <a:pt x="64" y="49"/>
                      <a:pt x="64" y="48"/>
                      <a:pt x="64" y="48"/>
                    </a:cubicBezTo>
                    <a:cubicBezTo>
                      <a:pt x="64" y="48"/>
                      <a:pt x="63" y="48"/>
                      <a:pt x="63" y="49"/>
                    </a:cubicBezTo>
                    <a:cubicBezTo>
                      <a:pt x="63" y="48"/>
                      <a:pt x="63" y="48"/>
                      <a:pt x="64" y="48"/>
                    </a:cubicBezTo>
                    <a:cubicBezTo>
                      <a:pt x="64" y="48"/>
                      <a:pt x="64" y="47"/>
                      <a:pt x="64" y="47"/>
                    </a:cubicBezTo>
                    <a:cubicBezTo>
                      <a:pt x="64" y="47"/>
                      <a:pt x="64" y="48"/>
                      <a:pt x="63" y="47"/>
                    </a:cubicBezTo>
                    <a:cubicBezTo>
                      <a:pt x="63" y="46"/>
                      <a:pt x="64" y="47"/>
                      <a:pt x="65" y="46"/>
                    </a:cubicBezTo>
                    <a:cubicBezTo>
                      <a:pt x="65" y="46"/>
                      <a:pt x="64" y="46"/>
                      <a:pt x="64" y="46"/>
                    </a:cubicBezTo>
                    <a:cubicBezTo>
                      <a:pt x="64" y="46"/>
                      <a:pt x="66" y="45"/>
                      <a:pt x="66" y="45"/>
                    </a:cubicBezTo>
                    <a:cubicBezTo>
                      <a:pt x="67" y="45"/>
                      <a:pt x="67" y="45"/>
                      <a:pt x="68" y="44"/>
                    </a:cubicBezTo>
                    <a:cubicBezTo>
                      <a:pt x="67" y="45"/>
                      <a:pt x="67" y="45"/>
                      <a:pt x="66" y="45"/>
                    </a:cubicBezTo>
                    <a:cubicBezTo>
                      <a:pt x="66" y="45"/>
                      <a:pt x="66" y="45"/>
                      <a:pt x="65" y="45"/>
                    </a:cubicBezTo>
                    <a:cubicBezTo>
                      <a:pt x="65" y="45"/>
                      <a:pt x="65" y="45"/>
                      <a:pt x="65" y="45"/>
                    </a:cubicBezTo>
                    <a:cubicBezTo>
                      <a:pt x="65" y="45"/>
                      <a:pt x="65" y="45"/>
                      <a:pt x="65" y="45"/>
                    </a:cubicBezTo>
                    <a:cubicBezTo>
                      <a:pt x="65" y="45"/>
                      <a:pt x="65" y="45"/>
                      <a:pt x="65" y="45"/>
                    </a:cubicBezTo>
                    <a:cubicBezTo>
                      <a:pt x="66" y="45"/>
                      <a:pt x="66" y="44"/>
                      <a:pt x="66" y="44"/>
                    </a:cubicBezTo>
                    <a:cubicBezTo>
                      <a:pt x="66" y="44"/>
                      <a:pt x="65" y="45"/>
                      <a:pt x="65" y="44"/>
                    </a:cubicBezTo>
                    <a:cubicBezTo>
                      <a:pt x="65" y="44"/>
                      <a:pt x="66" y="44"/>
                      <a:pt x="66" y="43"/>
                    </a:cubicBezTo>
                    <a:cubicBezTo>
                      <a:pt x="66" y="43"/>
                      <a:pt x="67" y="43"/>
                      <a:pt x="67" y="43"/>
                    </a:cubicBezTo>
                    <a:cubicBezTo>
                      <a:pt x="67" y="43"/>
                      <a:pt x="67" y="43"/>
                      <a:pt x="67" y="43"/>
                    </a:cubicBezTo>
                    <a:cubicBezTo>
                      <a:pt x="67" y="42"/>
                      <a:pt x="68" y="42"/>
                      <a:pt x="68" y="42"/>
                    </a:cubicBezTo>
                    <a:cubicBezTo>
                      <a:pt x="67" y="42"/>
                      <a:pt x="67" y="42"/>
                      <a:pt x="66" y="43"/>
                    </a:cubicBezTo>
                    <a:cubicBezTo>
                      <a:pt x="66" y="43"/>
                      <a:pt x="65" y="43"/>
                      <a:pt x="65" y="44"/>
                    </a:cubicBezTo>
                    <a:cubicBezTo>
                      <a:pt x="64" y="44"/>
                      <a:pt x="64" y="45"/>
                      <a:pt x="63" y="45"/>
                    </a:cubicBezTo>
                    <a:cubicBezTo>
                      <a:pt x="63" y="45"/>
                      <a:pt x="62" y="45"/>
                      <a:pt x="62" y="44"/>
                    </a:cubicBezTo>
                    <a:cubicBezTo>
                      <a:pt x="62" y="45"/>
                      <a:pt x="59" y="43"/>
                      <a:pt x="62" y="44"/>
                    </a:cubicBezTo>
                    <a:cubicBezTo>
                      <a:pt x="62" y="43"/>
                      <a:pt x="62" y="43"/>
                      <a:pt x="62" y="43"/>
                    </a:cubicBezTo>
                    <a:cubicBezTo>
                      <a:pt x="62" y="43"/>
                      <a:pt x="62" y="43"/>
                      <a:pt x="62" y="43"/>
                    </a:cubicBezTo>
                    <a:cubicBezTo>
                      <a:pt x="61" y="43"/>
                      <a:pt x="60" y="43"/>
                      <a:pt x="59" y="43"/>
                    </a:cubicBezTo>
                    <a:cubicBezTo>
                      <a:pt x="58" y="43"/>
                      <a:pt x="60" y="42"/>
                      <a:pt x="60" y="42"/>
                    </a:cubicBezTo>
                    <a:cubicBezTo>
                      <a:pt x="60" y="42"/>
                      <a:pt x="61" y="42"/>
                      <a:pt x="61" y="42"/>
                    </a:cubicBezTo>
                    <a:cubicBezTo>
                      <a:pt x="61" y="42"/>
                      <a:pt x="62" y="42"/>
                      <a:pt x="62" y="42"/>
                    </a:cubicBezTo>
                    <a:cubicBezTo>
                      <a:pt x="62" y="42"/>
                      <a:pt x="62" y="42"/>
                      <a:pt x="62" y="42"/>
                    </a:cubicBezTo>
                    <a:cubicBezTo>
                      <a:pt x="62" y="42"/>
                      <a:pt x="62" y="42"/>
                      <a:pt x="62" y="42"/>
                    </a:cubicBezTo>
                    <a:cubicBezTo>
                      <a:pt x="62" y="42"/>
                      <a:pt x="62" y="42"/>
                      <a:pt x="62" y="41"/>
                    </a:cubicBezTo>
                    <a:cubicBezTo>
                      <a:pt x="63" y="41"/>
                      <a:pt x="63" y="41"/>
                      <a:pt x="63" y="41"/>
                    </a:cubicBezTo>
                    <a:cubicBezTo>
                      <a:pt x="63" y="41"/>
                      <a:pt x="63" y="41"/>
                      <a:pt x="63" y="41"/>
                    </a:cubicBezTo>
                    <a:cubicBezTo>
                      <a:pt x="63" y="41"/>
                      <a:pt x="63" y="41"/>
                      <a:pt x="63" y="41"/>
                    </a:cubicBezTo>
                    <a:cubicBezTo>
                      <a:pt x="62" y="41"/>
                      <a:pt x="62" y="41"/>
                      <a:pt x="62" y="41"/>
                    </a:cubicBezTo>
                    <a:cubicBezTo>
                      <a:pt x="62" y="41"/>
                      <a:pt x="62" y="40"/>
                      <a:pt x="63" y="40"/>
                    </a:cubicBezTo>
                    <a:cubicBezTo>
                      <a:pt x="63" y="39"/>
                      <a:pt x="64" y="40"/>
                      <a:pt x="65" y="40"/>
                    </a:cubicBezTo>
                    <a:cubicBezTo>
                      <a:pt x="64" y="40"/>
                      <a:pt x="64" y="40"/>
                      <a:pt x="63" y="40"/>
                    </a:cubicBezTo>
                    <a:cubicBezTo>
                      <a:pt x="64" y="39"/>
                      <a:pt x="64" y="39"/>
                      <a:pt x="63" y="39"/>
                    </a:cubicBezTo>
                    <a:cubicBezTo>
                      <a:pt x="63" y="39"/>
                      <a:pt x="63" y="40"/>
                      <a:pt x="63" y="39"/>
                    </a:cubicBezTo>
                    <a:cubicBezTo>
                      <a:pt x="63" y="39"/>
                      <a:pt x="64" y="38"/>
                      <a:pt x="64" y="39"/>
                    </a:cubicBezTo>
                    <a:cubicBezTo>
                      <a:pt x="65" y="39"/>
                      <a:pt x="65" y="39"/>
                      <a:pt x="66" y="39"/>
                    </a:cubicBezTo>
                    <a:cubicBezTo>
                      <a:pt x="66" y="38"/>
                      <a:pt x="63" y="38"/>
                      <a:pt x="64" y="38"/>
                    </a:cubicBezTo>
                    <a:cubicBezTo>
                      <a:pt x="64" y="38"/>
                      <a:pt x="64" y="37"/>
                      <a:pt x="65" y="37"/>
                    </a:cubicBezTo>
                    <a:cubicBezTo>
                      <a:pt x="65" y="37"/>
                      <a:pt x="65" y="38"/>
                      <a:pt x="66" y="37"/>
                    </a:cubicBezTo>
                    <a:cubicBezTo>
                      <a:pt x="65" y="37"/>
                      <a:pt x="65" y="37"/>
                      <a:pt x="66" y="36"/>
                    </a:cubicBezTo>
                    <a:cubicBezTo>
                      <a:pt x="66" y="37"/>
                      <a:pt x="63" y="37"/>
                      <a:pt x="64" y="36"/>
                    </a:cubicBezTo>
                    <a:cubicBezTo>
                      <a:pt x="64" y="36"/>
                      <a:pt x="65" y="36"/>
                      <a:pt x="65" y="36"/>
                    </a:cubicBezTo>
                    <a:cubicBezTo>
                      <a:pt x="65" y="36"/>
                      <a:pt x="66" y="36"/>
                      <a:pt x="66" y="35"/>
                    </a:cubicBezTo>
                    <a:cubicBezTo>
                      <a:pt x="66" y="35"/>
                      <a:pt x="65" y="36"/>
                      <a:pt x="65" y="36"/>
                    </a:cubicBezTo>
                    <a:cubicBezTo>
                      <a:pt x="65" y="36"/>
                      <a:pt x="65" y="36"/>
                      <a:pt x="65" y="36"/>
                    </a:cubicBezTo>
                    <a:cubicBezTo>
                      <a:pt x="64" y="36"/>
                      <a:pt x="64" y="36"/>
                      <a:pt x="65" y="36"/>
                    </a:cubicBezTo>
                    <a:cubicBezTo>
                      <a:pt x="65" y="35"/>
                      <a:pt x="64" y="36"/>
                      <a:pt x="64" y="36"/>
                    </a:cubicBezTo>
                    <a:cubicBezTo>
                      <a:pt x="63" y="36"/>
                      <a:pt x="63" y="36"/>
                      <a:pt x="63" y="35"/>
                    </a:cubicBezTo>
                    <a:cubicBezTo>
                      <a:pt x="62" y="35"/>
                      <a:pt x="63" y="34"/>
                      <a:pt x="63" y="34"/>
                    </a:cubicBezTo>
                    <a:cubicBezTo>
                      <a:pt x="64" y="34"/>
                      <a:pt x="64" y="34"/>
                      <a:pt x="65" y="34"/>
                    </a:cubicBezTo>
                    <a:cubicBezTo>
                      <a:pt x="65" y="34"/>
                      <a:pt x="65" y="34"/>
                      <a:pt x="65" y="34"/>
                    </a:cubicBezTo>
                    <a:cubicBezTo>
                      <a:pt x="65" y="34"/>
                      <a:pt x="65" y="34"/>
                      <a:pt x="64" y="34"/>
                    </a:cubicBezTo>
                    <a:cubicBezTo>
                      <a:pt x="64" y="34"/>
                      <a:pt x="64" y="34"/>
                      <a:pt x="64" y="33"/>
                    </a:cubicBezTo>
                    <a:cubicBezTo>
                      <a:pt x="63" y="33"/>
                      <a:pt x="63" y="33"/>
                      <a:pt x="63" y="33"/>
                    </a:cubicBezTo>
                    <a:cubicBezTo>
                      <a:pt x="64" y="32"/>
                      <a:pt x="64" y="33"/>
                      <a:pt x="64" y="33"/>
                    </a:cubicBezTo>
                    <a:cubicBezTo>
                      <a:pt x="64" y="32"/>
                      <a:pt x="63" y="32"/>
                      <a:pt x="64" y="31"/>
                    </a:cubicBezTo>
                    <a:cubicBezTo>
                      <a:pt x="64" y="30"/>
                      <a:pt x="64" y="32"/>
                      <a:pt x="65" y="32"/>
                    </a:cubicBezTo>
                    <a:cubicBezTo>
                      <a:pt x="65" y="32"/>
                      <a:pt x="65" y="31"/>
                      <a:pt x="65" y="31"/>
                    </a:cubicBezTo>
                    <a:cubicBezTo>
                      <a:pt x="65" y="31"/>
                      <a:pt x="65" y="30"/>
                      <a:pt x="65" y="31"/>
                    </a:cubicBezTo>
                    <a:cubicBezTo>
                      <a:pt x="66" y="31"/>
                      <a:pt x="66" y="31"/>
                      <a:pt x="66" y="31"/>
                    </a:cubicBezTo>
                    <a:cubicBezTo>
                      <a:pt x="67" y="30"/>
                      <a:pt x="68" y="31"/>
                      <a:pt x="68" y="31"/>
                    </a:cubicBezTo>
                    <a:cubicBezTo>
                      <a:pt x="68" y="31"/>
                      <a:pt x="67" y="31"/>
                      <a:pt x="67" y="30"/>
                    </a:cubicBezTo>
                    <a:cubicBezTo>
                      <a:pt x="67" y="30"/>
                      <a:pt x="66" y="30"/>
                      <a:pt x="67" y="30"/>
                    </a:cubicBezTo>
                    <a:cubicBezTo>
                      <a:pt x="68" y="30"/>
                      <a:pt x="69" y="31"/>
                      <a:pt x="69" y="31"/>
                    </a:cubicBezTo>
                    <a:cubicBezTo>
                      <a:pt x="69" y="31"/>
                      <a:pt x="69" y="31"/>
                      <a:pt x="68" y="30"/>
                    </a:cubicBezTo>
                    <a:cubicBezTo>
                      <a:pt x="69" y="30"/>
                      <a:pt x="67" y="29"/>
                      <a:pt x="67" y="29"/>
                    </a:cubicBezTo>
                    <a:cubicBezTo>
                      <a:pt x="66" y="29"/>
                      <a:pt x="67" y="28"/>
                      <a:pt x="67" y="29"/>
                    </a:cubicBezTo>
                    <a:cubicBezTo>
                      <a:pt x="67" y="29"/>
                      <a:pt x="67" y="29"/>
                      <a:pt x="67" y="29"/>
                    </a:cubicBezTo>
                    <a:cubicBezTo>
                      <a:pt x="68" y="29"/>
                      <a:pt x="68" y="28"/>
                      <a:pt x="68" y="28"/>
                    </a:cubicBezTo>
                    <a:cubicBezTo>
                      <a:pt x="68" y="28"/>
                      <a:pt x="67" y="27"/>
                      <a:pt x="67" y="27"/>
                    </a:cubicBezTo>
                    <a:cubicBezTo>
                      <a:pt x="67" y="27"/>
                      <a:pt x="68" y="27"/>
                      <a:pt x="68" y="27"/>
                    </a:cubicBezTo>
                    <a:cubicBezTo>
                      <a:pt x="69" y="27"/>
                      <a:pt x="69" y="27"/>
                      <a:pt x="70" y="27"/>
                    </a:cubicBezTo>
                    <a:cubicBezTo>
                      <a:pt x="70" y="27"/>
                      <a:pt x="70" y="27"/>
                      <a:pt x="71" y="27"/>
                    </a:cubicBezTo>
                    <a:cubicBezTo>
                      <a:pt x="71" y="27"/>
                      <a:pt x="71" y="27"/>
                      <a:pt x="70" y="27"/>
                    </a:cubicBezTo>
                    <a:cubicBezTo>
                      <a:pt x="71" y="27"/>
                      <a:pt x="71" y="27"/>
                      <a:pt x="71" y="27"/>
                    </a:cubicBezTo>
                    <a:cubicBezTo>
                      <a:pt x="70" y="27"/>
                      <a:pt x="69" y="27"/>
                      <a:pt x="69" y="26"/>
                    </a:cubicBezTo>
                    <a:cubicBezTo>
                      <a:pt x="69" y="25"/>
                      <a:pt x="70" y="26"/>
                      <a:pt x="70" y="26"/>
                    </a:cubicBezTo>
                    <a:cubicBezTo>
                      <a:pt x="70" y="25"/>
                      <a:pt x="70" y="25"/>
                      <a:pt x="70" y="25"/>
                    </a:cubicBezTo>
                    <a:cubicBezTo>
                      <a:pt x="70" y="25"/>
                      <a:pt x="70" y="25"/>
                      <a:pt x="70" y="25"/>
                    </a:cubicBezTo>
                    <a:cubicBezTo>
                      <a:pt x="70" y="25"/>
                      <a:pt x="69" y="24"/>
                      <a:pt x="70" y="24"/>
                    </a:cubicBezTo>
                    <a:cubicBezTo>
                      <a:pt x="70" y="24"/>
                      <a:pt x="70" y="24"/>
                      <a:pt x="71" y="23"/>
                    </a:cubicBezTo>
                    <a:cubicBezTo>
                      <a:pt x="71" y="23"/>
                      <a:pt x="72" y="23"/>
                      <a:pt x="72" y="24"/>
                    </a:cubicBezTo>
                    <a:cubicBezTo>
                      <a:pt x="72" y="24"/>
                      <a:pt x="72" y="24"/>
                      <a:pt x="72" y="23"/>
                    </a:cubicBezTo>
                    <a:cubicBezTo>
                      <a:pt x="73" y="24"/>
                      <a:pt x="73" y="24"/>
                      <a:pt x="73" y="24"/>
                    </a:cubicBezTo>
                    <a:cubicBezTo>
                      <a:pt x="73" y="24"/>
                      <a:pt x="73" y="25"/>
                      <a:pt x="72" y="25"/>
                    </a:cubicBezTo>
                    <a:cubicBezTo>
                      <a:pt x="73" y="25"/>
                      <a:pt x="74" y="24"/>
                      <a:pt x="74" y="24"/>
                    </a:cubicBezTo>
                    <a:cubicBezTo>
                      <a:pt x="75" y="24"/>
                      <a:pt x="75" y="24"/>
                      <a:pt x="74" y="25"/>
                    </a:cubicBezTo>
                    <a:cubicBezTo>
                      <a:pt x="75" y="25"/>
                      <a:pt x="75" y="24"/>
                      <a:pt x="75" y="24"/>
                    </a:cubicBezTo>
                    <a:cubicBezTo>
                      <a:pt x="76" y="24"/>
                      <a:pt x="76" y="24"/>
                      <a:pt x="76" y="24"/>
                    </a:cubicBezTo>
                    <a:cubicBezTo>
                      <a:pt x="77" y="24"/>
                      <a:pt x="78" y="24"/>
                      <a:pt x="78" y="23"/>
                    </a:cubicBezTo>
                    <a:cubicBezTo>
                      <a:pt x="78" y="24"/>
                      <a:pt x="80" y="24"/>
                      <a:pt x="81" y="23"/>
                    </a:cubicBezTo>
                    <a:cubicBezTo>
                      <a:pt x="81" y="23"/>
                      <a:pt x="82" y="23"/>
                      <a:pt x="82" y="23"/>
                    </a:cubicBezTo>
                    <a:cubicBezTo>
                      <a:pt x="83" y="23"/>
                      <a:pt x="83" y="23"/>
                      <a:pt x="84" y="23"/>
                    </a:cubicBezTo>
                    <a:cubicBezTo>
                      <a:pt x="84" y="23"/>
                      <a:pt x="83" y="23"/>
                      <a:pt x="83" y="23"/>
                    </a:cubicBezTo>
                    <a:cubicBezTo>
                      <a:pt x="83" y="23"/>
                      <a:pt x="84" y="23"/>
                      <a:pt x="84" y="23"/>
                    </a:cubicBezTo>
                    <a:cubicBezTo>
                      <a:pt x="85" y="23"/>
                      <a:pt x="86" y="23"/>
                      <a:pt x="86" y="23"/>
                    </a:cubicBezTo>
                    <a:cubicBezTo>
                      <a:pt x="86" y="23"/>
                      <a:pt x="85" y="24"/>
                      <a:pt x="85" y="25"/>
                    </a:cubicBezTo>
                    <a:cubicBezTo>
                      <a:pt x="86" y="25"/>
                      <a:pt x="85" y="25"/>
                      <a:pt x="85" y="26"/>
                    </a:cubicBezTo>
                    <a:cubicBezTo>
                      <a:pt x="84" y="26"/>
                      <a:pt x="84" y="26"/>
                      <a:pt x="83" y="27"/>
                    </a:cubicBezTo>
                    <a:cubicBezTo>
                      <a:pt x="82" y="27"/>
                      <a:pt x="81" y="28"/>
                      <a:pt x="81" y="28"/>
                    </a:cubicBezTo>
                    <a:cubicBezTo>
                      <a:pt x="80" y="29"/>
                      <a:pt x="79" y="29"/>
                      <a:pt x="78" y="30"/>
                    </a:cubicBezTo>
                    <a:cubicBezTo>
                      <a:pt x="78" y="30"/>
                      <a:pt x="77" y="30"/>
                      <a:pt x="77" y="30"/>
                    </a:cubicBezTo>
                    <a:cubicBezTo>
                      <a:pt x="77" y="30"/>
                      <a:pt x="78" y="30"/>
                      <a:pt x="78" y="30"/>
                    </a:cubicBezTo>
                    <a:cubicBezTo>
                      <a:pt x="78" y="31"/>
                      <a:pt x="77" y="31"/>
                      <a:pt x="77" y="31"/>
                    </a:cubicBezTo>
                    <a:cubicBezTo>
                      <a:pt x="77" y="31"/>
                      <a:pt x="76" y="31"/>
                      <a:pt x="76" y="31"/>
                    </a:cubicBezTo>
                    <a:cubicBezTo>
                      <a:pt x="75" y="31"/>
                      <a:pt x="75" y="31"/>
                      <a:pt x="75" y="30"/>
                    </a:cubicBezTo>
                    <a:cubicBezTo>
                      <a:pt x="75" y="31"/>
                      <a:pt x="77" y="31"/>
                      <a:pt x="78" y="31"/>
                    </a:cubicBezTo>
                    <a:cubicBezTo>
                      <a:pt x="78" y="31"/>
                      <a:pt x="78" y="31"/>
                      <a:pt x="79" y="31"/>
                    </a:cubicBezTo>
                    <a:cubicBezTo>
                      <a:pt x="79" y="31"/>
                      <a:pt x="79" y="31"/>
                      <a:pt x="79" y="31"/>
                    </a:cubicBezTo>
                    <a:cubicBezTo>
                      <a:pt x="80" y="31"/>
                      <a:pt x="78" y="33"/>
                      <a:pt x="77" y="32"/>
                    </a:cubicBezTo>
                    <a:cubicBezTo>
                      <a:pt x="77" y="32"/>
                      <a:pt x="74" y="33"/>
                      <a:pt x="74" y="34"/>
                    </a:cubicBezTo>
                    <a:cubicBezTo>
                      <a:pt x="75" y="34"/>
                      <a:pt x="75" y="33"/>
                      <a:pt x="76" y="33"/>
                    </a:cubicBezTo>
                    <a:cubicBezTo>
                      <a:pt x="76" y="33"/>
                      <a:pt x="76" y="33"/>
                      <a:pt x="77" y="33"/>
                    </a:cubicBezTo>
                    <a:cubicBezTo>
                      <a:pt x="77" y="33"/>
                      <a:pt x="77" y="33"/>
                      <a:pt x="77" y="33"/>
                    </a:cubicBezTo>
                    <a:cubicBezTo>
                      <a:pt x="78" y="33"/>
                      <a:pt x="77" y="33"/>
                      <a:pt x="77" y="34"/>
                    </a:cubicBezTo>
                    <a:cubicBezTo>
                      <a:pt x="76" y="34"/>
                      <a:pt x="77" y="34"/>
                      <a:pt x="76" y="34"/>
                    </a:cubicBezTo>
                    <a:cubicBezTo>
                      <a:pt x="76" y="34"/>
                      <a:pt x="76" y="34"/>
                      <a:pt x="75" y="34"/>
                    </a:cubicBezTo>
                    <a:cubicBezTo>
                      <a:pt x="76" y="34"/>
                      <a:pt x="75" y="35"/>
                      <a:pt x="76" y="34"/>
                    </a:cubicBezTo>
                    <a:cubicBezTo>
                      <a:pt x="76" y="34"/>
                      <a:pt x="78" y="34"/>
                      <a:pt x="77" y="34"/>
                    </a:cubicBezTo>
                    <a:cubicBezTo>
                      <a:pt x="78" y="33"/>
                      <a:pt x="78" y="34"/>
                      <a:pt x="79" y="33"/>
                    </a:cubicBezTo>
                    <a:cubicBezTo>
                      <a:pt x="80" y="33"/>
                      <a:pt x="80" y="33"/>
                      <a:pt x="80" y="33"/>
                    </a:cubicBezTo>
                    <a:cubicBezTo>
                      <a:pt x="81" y="33"/>
                      <a:pt x="80" y="33"/>
                      <a:pt x="81" y="33"/>
                    </a:cubicBezTo>
                    <a:cubicBezTo>
                      <a:pt x="81" y="33"/>
                      <a:pt x="81" y="33"/>
                      <a:pt x="82" y="33"/>
                    </a:cubicBezTo>
                    <a:cubicBezTo>
                      <a:pt x="82" y="32"/>
                      <a:pt x="82" y="32"/>
                      <a:pt x="83" y="32"/>
                    </a:cubicBezTo>
                    <a:cubicBezTo>
                      <a:pt x="83" y="32"/>
                      <a:pt x="84" y="32"/>
                      <a:pt x="84" y="33"/>
                    </a:cubicBezTo>
                    <a:cubicBezTo>
                      <a:pt x="85" y="33"/>
                      <a:pt x="85" y="33"/>
                      <a:pt x="86" y="33"/>
                    </a:cubicBezTo>
                    <a:cubicBezTo>
                      <a:pt x="87" y="33"/>
                      <a:pt x="87" y="33"/>
                      <a:pt x="88" y="33"/>
                    </a:cubicBezTo>
                    <a:cubicBezTo>
                      <a:pt x="88" y="33"/>
                      <a:pt x="89" y="33"/>
                      <a:pt x="90" y="33"/>
                    </a:cubicBezTo>
                    <a:cubicBezTo>
                      <a:pt x="90" y="33"/>
                      <a:pt x="91" y="33"/>
                      <a:pt x="92" y="33"/>
                    </a:cubicBezTo>
                    <a:cubicBezTo>
                      <a:pt x="92" y="33"/>
                      <a:pt x="93" y="33"/>
                      <a:pt x="93" y="33"/>
                    </a:cubicBezTo>
                    <a:cubicBezTo>
                      <a:pt x="94" y="33"/>
                      <a:pt x="95" y="34"/>
                      <a:pt x="95" y="34"/>
                    </a:cubicBezTo>
                    <a:cubicBezTo>
                      <a:pt x="95" y="35"/>
                      <a:pt x="93" y="36"/>
                      <a:pt x="93" y="37"/>
                    </a:cubicBezTo>
                    <a:cubicBezTo>
                      <a:pt x="92" y="38"/>
                      <a:pt x="93" y="38"/>
                      <a:pt x="92" y="39"/>
                    </a:cubicBezTo>
                    <a:cubicBezTo>
                      <a:pt x="92" y="39"/>
                      <a:pt x="92" y="39"/>
                      <a:pt x="91" y="40"/>
                    </a:cubicBezTo>
                    <a:cubicBezTo>
                      <a:pt x="91" y="41"/>
                      <a:pt x="91" y="41"/>
                      <a:pt x="91" y="41"/>
                    </a:cubicBezTo>
                    <a:cubicBezTo>
                      <a:pt x="90" y="42"/>
                      <a:pt x="90" y="42"/>
                      <a:pt x="90" y="42"/>
                    </a:cubicBezTo>
                    <a:cubicBezTo>
                      <a:pt x="89" y="42"/>
                      <a:pt x="89" y="43"/>
                      <a:pt x="89" y="43"/>
                    </a:cubicBezTo>
                    <a:cubicBezTo>
                      <a:pt x="89" y="43"/>
                      <a:pt x="89" y="43"/>
                      <a:pt x="89" y="43"/>
                    </a:cubicBezTo>
                    <a:cubicBezTo>
                      <a:pt x="89" y="43"/>
                      <a:pt x="89" y="44"/>
                      <a:pt x="88" y="44"/>
                    </a:cubicBezTo>
                    <a:cubicBezTo>
                      <a:pt x="88" y="44"/>
                      <a:pt x="87" y="45"/>
                      <a:pt x="86" y="45"/>
                    </a:cubicBezTo>
                    <a:cubicBezTo>
                      <a:pt x="86" y="45"/>
                      <a:pt x="85" y="45"/>
                      <a:pt x="84" y="45"/>
                    </a:cubicBezTo>
                    <a:cubicBezTo>
                      <a:pt x="83" y="45"/>
                      <a:pt x="83" y="46"/>
                      <a:pt x="82" y="46"/>
                    </a:cubicBezTo>
                    <a:cubicBezTo>
                      <a:pt x="82" y="47"/>
                      <a:pt x="83" y="46"/>
                      <a:pt x="83" y="46"/>
                    </a:cubicBezTo>
                    <a:cubicBezTo>
                      <a:pt x="84" y="46"/>
                      <a:pt x="85" y="45"/>
                      <a:pt x="86" y="45"/>
                    </a:cubicBezTo>
                    <a:cubicBezTo>
                      <a:pt x="86" y="45"/>
                      <a:pt x="86" y="46"/>
                      <a:pt x="86" y="46"/>
                    </a:cubicBezTo>
                    <a:cubicBezTo>
                      <a:pt x="86" y="46"/>
                      <a:pt x="86" y="46"/>
                      <a:pt x="87" y="47"/>
                    </a:cubicBezTo>
                    <a:cubicBezTo>
                      <a:pt x="88" y="47"/>
                      <a:pt x="88" y="47"/>
                      <a:pt x="87" y="48"/>
                    </a:cubicBezTo>
                    <a:cubicBezTo>
                      <a:pt x="86" y="48"/>
                      <a:pt x="85" y="48"/>
                      <a:pt x="84" y="48"/>
                    </a:cubicBezTo>
                    <a:cubicBezTo>
                      <a:pt x="84" y="48"/>
                      <a:pt x="83" y="49"/>
                      <a:pt x="82" y="49"/>
                    </a:cubicBezTo>
                    <a:cubicBezTo>
                      <a:pt x="82" y="50"/>
                      <a:pt x="81" y="50"/>
                      <a:pt x="81" y="50"/>
                    </a:cubicBezTo>
                    <a:cubicBezTo>
                      <a:pt x="80" y="50"/>
                      <a:pt x="80" y="50"/>
                      <a:pt x="80" y="49"/>
                    </a:cubicBezTo>
                    <a:cubicBezTo>
                      <a:pt x="79" y="49"/>
                      <a:pt x="79" y="50"/>
                      <a:pt x="78" y="49"/>
                    </a:cubicBezTo>
                    <a:cubicBezTo>
                      <a:pt x="78" y="49"/>
                      <a:pt x="78" y="49"/>
                      <a:pt x="77" y="49"/>
                    </a:cubicBezTo>
                    <a:cubicBezTo>
                      <a:pt x="78" y="49"/>
                      <a:pt x="78" y="50"/>
                      <a:pt x="79" y="50"/>
                    </a:cubicBezTo>
                    <a:cubicBezTo>
                      <a:pt x="79" y="50"/>
                      <a:pt x="80" y="50"/>
                      <a:pt x="81" y="50"/>
                    </a:cubicBezTo>
                    <a:cubicBezTo>
                      <a:pt x="82" y="50"/>
                      <a:pt x="83" y="51"/>
                      <a:pt x="84" y="50"/>
                    </a:cubicBezTo>
                    <a:cubicBezTo>
                      <a:pt x="85" y="50"/>
                      <a:pt x="85" y="50"/>
                      <a:pt x="86" y="49"/>
                    </a:cubicBezTo>
                    <a:cubicBezTo>
                      <a:pt x="86" y="49"/>
                      <a:pt x="88" y="49"/>
                      <a:pt x="87" y="50"/>
                    </a:cubicBezTo>
                    <a:cubicBezTo>
                      <a:pt x="88" y="50"/>
                      <a:pt x="90" y="51"/>
                      <a:pt x="91" y="51"/>
                    </a:cubicBezTo>
                    <a:cubicBezTo>
                      <a:pt x="92" y="52"/>
                      <a:pt x="92" y="53"/>
                      <a:pt x="93" y="53"/>
                    </a:cubicBezTo>
                    <a:cubicBezTo>
                      <a:pt x="93" y="53"/>
                      <a:pt x="94" y="54"/>
                      <a:pt x="94" y="54"/>
                    </a:cubicBezTo>
                    <a:cubicBezTo>
                      <a:pt x="95" y="54"/>
                      <a:pt x="95" y="55"/>
                      <a:pt x="95" y="56"/>
                    </a:cubicBezTo>
                    <a:cubicBezTo>
                      <a:pt x="95" y="56"/>
                      <a:pt x="95" y="56"/>
                      <a:pt x="95" y="56"/>
                    </a:cubicBezTo>
                    <a:cubicBezTo>
                      <a:pt x="95" y="57"/>
                      <a:pt x="95" y="57"/>
                      <a:pt x="95" y="57"/>
                    </a:cubicBezTo>
                    <a:cubicBezTo>
                      <a:pt x="95" y="58"/>
                      <a:pt x="95" y="58"/>
                      <a:pt x="95" y="59"/>
                    </a:cubicBezTo>
                    <a:cubicBezTo>
                      <a:pt x="96" y="60"/>
                      <a:pt x="96" y="61"/>
                      <a:pt x="97" y="62"/>
                    </a:cubicBezTo>
                    <a:cubicBezTo>
                      <a:pt x="97" y="63"/>
                      <a:pt x="97" y="63"/>
                      <a:pt x="97" y="63"/>
                    </a:cubicBezTo>
                    <a:cubicBezTo>
                      <a:pt x="98" y="64"/>
                      <a:pt x="98" y="64"/>
                      <a:pt x="97" y="64"/>
                    </a:cubicBezTo>
                    <a:cubicBezTo>
                      <a:pt x="98" y="64"/>
                      <a:pt x="98" y="64"/>
                      <a:pt x="98" y="64"/>
                    </a:cubicBezTo>
                    <a:cubicBezTo>
                      <a:pt x="99" y="64"/>
                      <a:pt x="99" y="65"/>
                      <a:pt x="100" y="65"/>
                    </a:cubicBezTo>
                    <a:cubicBezTo>
                      <a:pt x="101" y="65"/>
                      <a:pt x="102" y="65"/>
                      <a:pt x="103" y="66"/>
                    </a:cubicBezTo>
                    <a:cubicBezTo>
                      <a:pt x="103" y="67"/>
                      <a:pt x="103" y="68"/>
                      <a:pt x="104" y="68"/>
                    </a:cubicBezTo>
                    <a:cubicBezTo>
                      <a:pt x="104" y="68"/>
                      <a:pt x="104" y="68"/>
                      <a:pt x="105" y="68"/>
                    </a:cubicBezTo>
                    <a:cubicBezTo>
                      <a:pt x="105" y="69"/>
                      <a:pt x="105" y="69"/>
                      <a:pt x="105" y="69"/>
                    </a:cubicBezTo>
                    <a:cubicBezTo>
                      <a:pt x="105" y="69"/>
                      <a:pt x="106" y="69"/>
                      <a:pt x="106" y="70"/>
                    </a:cubicBezTo>
                    <a:cubicBezTo>
                      <a:pt x="106" y="69"/>
                      <a:pt x="105" y="70"/>
                      <a:pt x="105" y="71"/>
                    </a:cubicBezTo>
                    <a:cubicBezTo>
                      <a:pt x="105" y="71"/>
                      <a:pt x="106" y="72"/>
                      <a:pt x="106" y="73"/>
                    </a:cubicBezTo>
                    <a:cubicBezTo>
                      <a:pt x="106" y="73"/>
                      <a:pt x="108" y="75"/>
                      <a:pt x="107" y="75"/>
                    </a:cubicBezTo>
                    <a:cubicBezTo>
                      <a:pt x="108" y="75"/>
                      <a:pt x="107" y="75"/>
                      <a:pt x="106" y="75"/>
                    </a:cubicBezTo>
                    <a:cubicBezTo>
                      <a:pt x="106" y="75"/>
                      <a:pt x="105" y="74"/>
                      <a:pt x="105" y="74"/>
                    </a:cubicBezTo>
                    <a:cubicBezTo>
                      <a:pt x="104" y="73"/>
                      <a:pt x="103" y="74"/>
                      <a:pt x="103" y="74"/>
                    </a:cubicBezTo>
                    <a:cubicBezTo>
                      <a:pt x="102" y="74"/>
                      <a:pt x="101" y="73"/>
                      <a:pt x="101" y="74"/>
                    </a:cubicBezTo>
                    <a:cubicBezTo>
                      <a:pt x="101" y="74"/>
                      <a:pt x="101" y="74"/>
                      <a:pt x="101" y="74"/>
                    </a:cubicBezTo>
                    <a:cubicBezTo>
                      <a:pt x="102" y="74"/>
                      <a:pt x="102" y="74"/>
                      <a:pt x="102" y="74"/>
                    </a:cubicBezTo>
                    <a:cubicBezTo>
                      <a:pt x="103" y="74"/>
                      <a:pt x="103" y="74"/>
                      <a:pt x="104" y="74"/>
                    </a:cubicBezTo>
                    <a:cubicBezTo>
                      <a:pt x="105" y="74"/>
                      <a:pt x="105" y="75"/>
                      <a:pt x="106" y="75"/>
                    </a:cubicBezTo>
                    <a:cubicBezTo>
                      <a:pt x="106" y="75"/>
                      <a:pt x="107" y="76"/>
                      <a:pt x="107" y="76"/>
                    </a:cubicBezTo>
                    <a:cubicBezTo>
                      <a:pt x="108" y="77"/>
                      <a:pt x="109" y="78"/>
                      <a:pt x="109" y="79"/>
                    </a:cubicBezTo>
                    <a:cubicBezTo>
                      <a:pt x="109" y="81"/>
                      <a:pt x="107" y="81"/>
                      <a:pt x="106" y="82"/>
                    </a:cubicBezTo>
                    <a:cubicBezTo>
                      <a:pt x="107" y="82"/>
                      <a:pt x="107" y="82"/>
                      <a:pt x="108" y="83"/>
                    </a:cubicBezTo>
                    <a:cubicBezTo>
                      <a:pt x="108" y="84"/>
                      <a:pt x="109" y="83"/>
                      <a:pt x="109" y="84"/>
                    </a:cubicBezTo>
                    <a:cubicBezTo>
                      <a:pt x="109" y="83"/>
                      <a:pt x="110" y="82"/>
                      <a:pt x="111" y="82"/>
                    </a:cubicBezTo>
                    <a:cubicBezTo>
                      <a:pt x="111" y="81"/>
                      <a:pt x="112" y="82"/>
                      <a:pt x="113" y="82"/>
                    </a:cubicBezTo>
                    <a:cubicBezTo>
                      <a:pt x="113" y="82"/>
                      <a:pt x="113" y="82"/>
                      <a:pt x="114" y="82"/>
                    </a:cubicBezTo>
                    <a:cubicBezTo>
                      <a:pt x="114" y="82"/>
                      <a:pt x="115" y="82"/>
                      <a:pt x="114" y="82"/>
                    </a:cubicBezTo>
                    <a:cubicBezTo>
                      <a:pt x="115" y="81"/>
                      <a:pt x="116" y="82"/>
                      <a:pt x="116" y="82"/>
                    </a:cubicBezTo>
                    <a:cubicBezTo>
                      <a:pt x="117" y="82"/>
                      <a:pt x="117" y="82"/>
                      <a:pt x="118" y="82"/>
                    </a:cubicBezTo>
                    <a:cubicBezTo>
                      <a:pt x="118" y="83"/>
                      <a:pt x="118" y="83"/>
                      <a:pt x="119" y="83"/>
                    </a:cubicBezTo>
                    <a:cubicBezTo>
                      <a:pt x="120" y="84"/>
                      <a:pt x="120" y="84"/>
                      <a:pt x="120" y="85"/>
                    </a:cubicBezTo>
                    <a:cubicBezTo>
                      <a:pt x="120" y="86"/>
                      <a:pt x="120" y="87"/>
                      <a:pt x="120" y="88"/>
                    </a:cubicBezTo>
                    <a:close/>
                    <a:moveTo>
                      <a:pt x="64" y="43"/>
                    </a:moveTo>
                    <a:cubicBezTo>
                      <a:pt x="64" y="43"/>
                      <a:pt x="63" y="43"/>
                      <a:pt x="62" y="43"/>
                    </a:cubicBezTo>
                    <a:cubicBezTo>
                      <a:pt x="63" y="43"/>
                      <a:pt x="64" y="43"/>
                      <a:pt x="64" y="43"/>
                    </a:cubicBezTo>
                    <a:close/>
                    <a:moveTo>
                      <a:pt x="51" y="114"/>
                    </a:moveTo>
                    <a:cubicBezTo>
                      <a:pt x="51" y="114"/>
                      <a:pt x="51" y="114"/>
                      <a:pt x="51" y="114"/>
                    </a:cubicBezTo>
                    <a:cubicBezTo>
                      <a:pt x="51" y="114"/>
                      <a:pt x="51" y="114"/>
                      <a:pt x="51" y="114"/>
                    </a:cubicBezTo>
                    <a:close/>
                    <a:moveTo>
                      <a:pt x="57" y="70"/>
                    </a:moveTo>
                    <a:cubicBezTo>
                      <a:pt x="58" y="71"/>
                      <a:pt x="58" y="70"/>
                      <a:pt x="59" y="69"/>
                    </a:cubicBezTo>
                    <a:cubicBezTo>
                      <a:pt x="59" y="69"/>
                      <a:pt x="59" y="68"/>
                      <a:pt x="60" y="68"/>
                    </a:cubicBezTo>
                    <a:cubicBezTo>
                      <a:pt x="61" y="68"/>
                      <a:pt x="62" y="68"/>
                      <a:pt x="62" y="67"/>
                    </a:cubicBezTo>
                    <a:cubicBezTo>
                      <a:pt x="62" y="67"/>
                      <a:pt x="61" y="67"/>
                      <a:pt x="60" y="67"/>
                    </a:cubicBezTo>
                    <a:cubicBezTo>
                      <a:pt x="61" y="67"/>
                      <a:pt x="62" y="66"/>
                      <a:pt x="61" y="66"/>
                    </a:cubicBezTo>
                    <a:cubicBezTo>
                      <a:pt x="61" y="65"/>
                      <a:pt x="61" y="65"/>
                      <a:pt x="61" y="65"/>
                    </a:cubicBezTo>
                    <a:cubicBezTo>
                      <a:pt x="61" y="65"/>
                      <a:pt x="61" y="65"/>
                      <a:pt x="61" y="65"/>
                    </a:cubicBezTo>
                    <a:cubicBezTo>
                      <a:pt x="61" y="64"/>
                      <a:pt x="62" y="65"/>
                      <a:pt x="62" y="66"/>
                    </a:cubicBezTo>
                    <a:cubicBezTo>
                      <a:pt x="62" y="66"/>
                      <a:pt x="61" y="67"/>
                      <a:pt x="62" y="67"/>
                    </a:cubicBezTo>
                    <a:cubicBezTo>
                      <a:pt x="62" y="67"/>
                      <a:pt x="63" y="66"/>
                      <a:pt x="63" y="66"/>
                    </a:cubicBezTo>
                    <a:cubicBezTo>
                      <a:pt x="62" y="65"/>
                      <a:pt x="63" y="64"/>
                      <a:pt x="62" y="64"/>
                    </a:cubicBezTo>
                    <a:cubicBezTo>
                      <a:pt x="61" y="63"/>
                      <a:pt x="60" y="64"/>
                      <a:pt x="59" y="64"/>
                    </a:cubicBezTo>
                    <a:cubicBezTo>
                      <a:pt x="59" y="65"/>
                      <a:pt x="59" y="64"/>
                      <a:pt x="59" y="64"/>
                    </a:cubicBezTo>
                    <a:cubicBezTo>
                      <a:pt x="59" y="64"/>
                      <a:pt x="59" y="64"/>
                      <a:pt x="60" y="63"/>
                    </a:cubicBezTo>
                    <a:cubicBezTo>
                      <a:pt x="60" y="63"/>
                      <a:pt x="61" y="63"/>
                      <a:pt x="61" y="62"/>
                    </a:cubicBezTo>
                    <a:cubicBezTo>
                      <a:pt x="61" y="62"/>
                      <a:pt x="60" y="62"/>
                      <a:pt x="60" y="62"/>
                    </a:cubicBezTo>
                    <a:cubicBezTo>
                      <a:pt x="60" y="62"/>
                      <a:pt x="61" y="62"/>
                      <a:pt x="61" y="63"/>
                    </a:cubicBezTo>
                    <a:cubicBezTo>
                      <a:pt x="61" y="62"/>
                      <a:pt x="60" y="62"/>
                      <a:pt x="60" y="62"/>
                    </a:cubicBezTo>
                    <a:cubicBezTo>
                      <a:pt x="60" y="62"/>
                      <a:pt x="60" y="62"/>
                      <a:pt x="60" y="62"/>
                    </a:cubicBezTo>
                    <a:cubicBezTo>
                      <a:pt x="60" y="61"/>
                      <a:pt x="59" y="61"/>
                      <a:pt x="59" y="61"/>
                    </a:cubicBezTo>
                    <a:cubicBezTo>
                      <a:pt x="59" y="60"/>
                      <a:pt x="59" y="60"/>
                      <a:pt x="59" y="60"/>
                    </a:cubicBezTo>
                    <a:cubicBezTo>
                      <a:pt x="59" y="60"/>
                      <a:pt x="58" y="60"/>
                      <a:pt x="58" y="60"/>
                    </a:cubicBezTo>
                    <a:cubicBezTo>
                      <a:pt x="58" y="59"/>
                      <a:pt x="59" y="59"/>
                      <a:pt x="58" y="58"/>
                    </a:cubicBezTo>
                    <a:cubicBezTo>
                      <a:pt x="58" y="58"/>
                      <a:pt x="58" y="58"/>
                      <a:pt x="57" y="58"/>
                    </a:cubicBezTo>
                    <a:cubicBezTo>
                      <a:pt x="56" y="58"/>
                      <a:pt x="55" y="57"/>
                      <a:pt x="55" y="58"/>
                    </a:cubicBezTo>
                    <a:cubicBezTo>
                      <a:pt x="54" y="58"/>
                      <a:pt x="53" y="59"/>
                      <a:pt x="52" y="59"/>
                    </a:cubicBezTo>
                    <a:cubicBezTo>
                      <a:pt x="51" y="58"/>
                      <a:pt x="51" y="59"/>
                      <a:pt x="51" y="60"/>
                    </a:cubicBezTo>
                    <a:cubicBezTo>
                      <a:pt x="50" y="60"/>
                      <a:pt x="49" y="60"/>
                      <a:pt x="49" y="60"/>
                    </a:cubicBezTo>
                    <a:cubicBezTo>
                      <a:pt x="48" y="59"/>
                      <a:pt x="48" y="60"/>
                      <a:pt x="47" y="61"/>
                    </a:cubicBezTo>
                    <a:cubicBezTo>
                      <a:pt x="47" y="61"/>
                      <a:pt x="47" y="62"/>
                      <a:pt x="47" y="62"/>
                    </a:cubicBezTo>
                    <a:cubicBezTo>
                      <a:pt x="46" y="62"/>
                      <a:pt x="46" y="62"/>
                      <a:pt x="46" y="63"/>
                    </a:cubicBezTo>
                    <a:cubicBezTo>
                      <a:pt x="46" y="63"/>
                      <a:pt x="45" y="63"/>
                      <a:pt x="44" y="63"/>
                    </a:cubicBezTo>
                    <a:cubicBezTo>
                      <a:pt x="44" y="63"/>
                      <a:pt x="43" y="63"/>
                      <a:pt x="43" y="64"/>
                    </a:cubicBezTo>
                    <a:cubicBezTo>
                      <a:pt x="43" y="64"/>
                      <a:pt x="44" y="65"/>
                      <a:pt x="44" y="64"/>
                    </a:cubicBezTo>
                    <a:cubicBezTo>
                      <a:pt x="45" y="65"/>
                      <a:pt x="43" y="65"/>
                      <a:pt x="43" y="65"/>
                    </a:cubicBezTo>
                    <a:cubicBezTo>
                      <a:pt x="42" y="65"/>
                      <a:pt x="42" y="65"/>
                      <a:pt x="42" y="65"/>
                    </a:cubicBezTo>
                    <a:cubicBezTo>
                      <a:pt x="41" y="66"/>
                      <a:pt x="41" y="66"/>
                      <a:pt x="41" y="66"/>
                    </a:cubicBezTo>
                    <a:cubicBezTo>
                      <a:pt x="41" y="67"/>
                      <a:pt x="42" y="67"/>
                      <a:pt x="43" y="68"/>
                    </a:cubicBezTo>
                    <a:cubicBezTo>
                      <a:pt x="43" y="68"/>
                      <a:pt x="43" y="68"/>
                      <a:pt x="43" y="68"/>
                    </a:cubicBezTo>
                    <a:cubicBezTo>
                      <a:pt x="43" y="69"/>
                      <a:pt x="44" y="69"/>
                      <a:pt x="44" y="69"/>
                    </a:cubicBezTo>
                    <a:cubicBezTo>
                      <a:pt x="44" y="69"/>
                      <a:pt x="45" y="69"/>
                      <a:pt x="45" y="69"/>
                    </a:cubicBezTo>
                    <a:cubicBezTo>
                      <a:pt x="46" y="69"/>
                      <a:pt x="46" y="69"/>
                      <a:pt x="46" y="69"/>
                    </a:cubicBezTo>
                    <a:cubicBezTo>
                      <a:pt x="46" y="69"/>
                      <a:pt x="47" y="70"/>
                      <a:pt x="47" y="69"/>
                    </a:cubicBezTo>
                    <a:cubicBezTo>
                      <a:pt x="47" y="69"/>
                      <a:pt x="47" y="69"/>
                      <a:pt x="47" y="69"/>
                    </a:cubicBezTo>
                    <a:cubicBezTo>
                      <a:pt x="47" y="69"/>
                      <a:pt x="47" y="69"/>
                      <a:pt x="47" y="69"/>
                    </a:cubicBezTo>
                    <a:cubicBezTo>
                      <a:pt x="48" y="69"/>
                      <a:pt x="48" y="69"/>
                      <a:pt x="48" y="69"/>
                    </a:cubicBezTo>
                    <a:cubicBezTo>
                      <a:pt x="48" y="69"/>
                      <a:pt x="49" y="68"/>
                      <a:pt x="49" y="68"/>
                    </a:cubicBezTo>
                    <a:cubicBezTo>
                      <a:pt x="48" y="67"/>
                      <a:pt x="48" y="67"/>
                      <a:pt x="49" y="67"/>
                    </a:cubicBezTo>
                    <a:cubicBezTo>
                      <a:pt x="49" y="67"/>
                      <a:pt x="50" y="66"/>
                      <a:pt x="51" y="67"/>
                    </a:cubicBezTo>
                    <a:cubicBezTo>
                      <a:pt x="51" y="67"/>
                      <a:pt x="51" y="67"/>
                      <a:pt x="51" y="68"/>
                    </a:cubicBezTo>
                    <a:cubicBezTo>
                      <a:pt x="51" y="68"/>
                      <a:pt x="51" y="68"/>
                      <a:pt x="51" y="69"/>
                    </a:cubicBezTo>
                    <a:cubicBezTo>
                      <a:pt x="52" y="69"/>
                      <a:pt x="53" y="69"/>
                      <a:pt x="53" y="69"/>
                    </a:cubicBezTo>
                    <a:cubicBezTo>
                      <a:pt x="52" y="70"/>
                      <a:pt x="53" y="70"/>
                      <a:pt x="54" y="70"/>
                    </a:cubicBezTo>
                    <a:cubicBezTo>
                      <a:pt x="54" y="70"/>
                      <a:pt x="54" y="70"/>
                      <a:pt x="55" y="70"/>
                    </a:cubicBezTo>
                    <a:cubicBezTo>
                      <a:pt x="55" y="70"/>
                      <a:pt x="55" y="69"/>
                      <a:pt x="55" y="70"/>
                    </a:cubicBezTo>
                    <a:cubicBezTo>
                      <a:pt x="56" y="70"/>
                      <a:pt x="56" y="70"/>
                      <a:pt x="57" y="70"/>
                    </a:cubicBezTo>
                    <a:cubicBezTo>
                      <a:pt x="57" y="70"/>
                      <a:pt x="57" y="70"/>
                      <a:pt x="57" y="70"/>
                    </a:cubicBezTo>
                    <a:close/>
                    <a:moveTo>
                      <a:pt x="67" y="55"/>
                    </a:moveTo>
                    <a:cubicBezTo>
                      <a:pt x="67" y="55"/>
                      <a:pt x="67" y="54"/>
                      <a:pt x="66" y="54"/>
                    </a:cubicBezTo>
                    <a:cubicBezTo>
                      <a:pt x="66" y="54"/>
                      <a:pt x="66" y="54"/>
                      <a:pt x="66" y="54"/>
                    </a:cubicBezTo>
                    <a:cubicBezTo>
                      <a:pt x="66" y="53"/>
                      <a:pt x="66" y="53"/>
                      <a:pt x="65" y="53"/>
                    </a:cubicBezTo>
                    <a:cubicBezTo>
                      <a:pt x="64" y="53"/>
                      <a:pt x="64" y="54"/>
                      <a:pt x="65" y="55"/>
                    </a:cubicBezTo>
                    <a:cubicBezTo>
                      <a:pt x="65" y="55"/>
                      <a:pt x="64" y="55"/>
                      <a:pt x="65" y="56"/>
                    </a:cubicBezTo>
                    <a:cubicBezTo>
                      <a:pt x="65" y="56"/>
                      <a:pt x="66" y="56"/>
                      <a:pt x="66" y="56"/>
                    </a:cubicBezTo>
                    <a:cubicBezTo>
                      <a:pt x="66" y="56"/>
                      <a:pt x="67" y="56"/>
                      <a:pt x="67" y="55"/>
                    </a:cubicBezTo>
                    <a:cubicBezTo>
                      <a:pt x="67" y="55"/>
                      <a:pt x="67" y="55"/>
                      <a:pt x="67" y="55"/>
                    </a:cubicBezTo>
                    <a:cubicBezTo>
                      <a:pt x="67" y="55"/>
                      <a:pt x="67" y="54"/>
                      <a:pt x="67" y="55"/>
                    </a:cubicBezTo>
                    <a:close/>
                    <a:moveTo>
                      <a:pt x="51" y="37"/>
                    </a:moveTo>
                    <a:cubicBezTo>
                      <a:pt x="51" y="37"/>
                      <a:pt x="51" y="37"/>
                      <a:pt x="51" y="38"/>
                    </a:cubicBezTo>
                    <a:cubicBezTo>
                      <a:pt x="51" y="38"/>
                      <a:pt x="51" y="38"/>
                      <a:pt x="50" y="38"/>
                    </a:cubicBezTo>
                    <a:cubicBezTo>
                      <a:pt x="51" y="38"/>
                      <a:pt x="52" y="38"/>
                      <a:pt x="51" y="39"/>
                    </a:cubicBezTo>
                    <a:cubicBezTo>
                      <a:pt x="51" y="38"/>
                      <a:pt x="50" y="38"/>
                      <a:pt x="50" y="37"/>
                    </a:cubicBezTo>
                    <a:cubicBezTo>
                      <a:pt x="50" y="37"/>
                      <a:pt x="50" y="37"/>
                      <a:pt x="50" y="36"/>
                    </a:cubicBezTo>
                    <a:cubicBezTo>
                      <a:pt x="50" y="35"/>
                      <a:pt x="51" y="36"/>
                      <a:pt x="51" y="36"/>
                    </a:cubicBezTo>
                    <a:cubicBezTo>
                      <a:pt x="51" y="36"/>
                      <a:pt x="51" y="36"/>
                      <a:pt x="51" y="36"/>
                    </a:cubicBezTo>
                    <a:cubicBezTo>
                      <a:pt x="51" y="36"/>
                      <a:pt x="51" y="36"/>
                      <a:pt x="52" y="36"/>
                    </a:cubicBezTo>
                    <a:cubicBezTo>
                      <a:pt x="52" y="36"/>
                      <a:pt x="51" y="36"/>
                      <a:pt x="51" y="36"/>
                    </a:cubicBezTo>
                    <a:cubicBezTo>
                      <a:pt x="51" y="36"/>
                      <a:pt x="52" y="36"/>
                      <a:pt x="52" y="37"/>
                    </a:cubicBezTo>
                    <a:cubicBezTo>
                      <a:pt x="52" y="37"/>
                      <a:pt x="51" y="37"/>
                      <a:pt x="51" y="37"/>
                    </a:cubicBezTo>
                    <a:close/>
                    <a:moveTo>
                      <a:pt x="51" y="36"/>
                    </a:moveTo>
                    <a:cubicBezTo>
                      <a:pt x="51" y="36"/>
                      <a:pt x="51" y="36"/>
                      <a:pt x="50" y="36"/>
                    </a:cubicBezTo>
                    <a:cubicBezTo>
                      <a:pt x="50" y="36"/>
                      <a:pt x="51" y="36"/>
                      <a:pt x="51" y="36"/>
                    </a:cubicBezTo>
                    <a:close/>
                    <a:moveTo>
                      <a:pt x="61" y="39"/>
                    </a:moveTo>
                    <a:cubicBezTo>
                      <a:pt x="61" y="39"/>
                      <a:pt x="62" y="39"/>
                      <a:pt x="62" y="39"/>
                    </a:cubicBezTo>
                    <a:cubicBezTo>
                      <a:pt x="63" y="39"/>
                      <a:pt x="63" y="38"/>
                      <a:pt x="63" y="38"/>
                    </a:cubicBezTo>
                    <a:cubicBezTo>
                      <a:pt x="63" y="38"/>
                      <a:pt x="64" y="38"/>
                      <a:pt x="64" y="37"/>
                    </a:cubicBezTo>
                    <a:cubicBezTo>
                      <a:pt x="64" y="37"/>
                      <a:pt x="63" y="37"/>
                      <a:pt x="62" y="37"/>
                    </a:cubicBezTo>
                    <a:cubicBezTo>
                      <a:pt x="62" y="37"/>
                      <a:pt x="61" y="37"/>
                      <a:pt x="61" y="37"/>
                    </a:cubicBezTo>
                    <a:cubicBezTo>
                      <a:pt x="61" y="37"/>
                      <a:pt x="61" y="37"/>
                      <a:pt x="61" y="37"/>
                    </a:cubicBezTo>
                    <a:cubicBezTo>
                      <a:pt x="61" y="36"/>
                      <a:pt x="60" y="37"/>
                      <a:pt x="60" y="37"/>
                    </a:cubicBezTo>
                    <a:cubicBezTo>
                      <a:pt x="60" y="36"/>
                      <a:pt x="61" y="35"/>
                      <a:pt x="60" y="36"/>
                    </a:cubicBezTo>
                    <a:cubicBezTo>
                      <a:pt x="61" y="35"/>
                      <a:pt x="60" y="32"/>
                      <a:pt x="59" y="33"/>
                    </a:cubicBezTo>
                    <a:cubicBezTo>
                      <a:pt x="58" y="33"/>
                      <a:pt x="59" y="34"/>
                      <a:pt x="59" y="34"/>
                    </a:cubicBezTo>
                    <a:cubicBezTo>
                      <a:pt x="58" y="34"/>
                      <a:pt x="59" y="35"/>
                      <a:pt x="59" y="35"/>
                    </a:cubicBezTo>
                    <a:cubicBezTo>
                      <a:pt x="59" y="35"/>
                      <a:pt x="58" y="34"/>
                      <a:pt x="58" y="35"/>
                    </a:cubicBezTo>
                    <a:cubicBezTo>
                      <a:pt x="58" y="34"/>
                      <a:pt x="58" y="35"/>
                      <a:pt x="58" y="34"/>
                    </a:cubicBezTo>
                    <a:cubicBezTo>
                      <a:pt x="58" y="34"/>
                      <a:pt x="57" y="34"/>
                      <a:pt x="57" y="34"/>
                    </a:cubicBezTo>
                    <a:cubicBezTo>
                      <a:pt x="57" y="33"/>
                      <a:pt x="57" y="34"/>
                      <a:pt x="56" y="34"/>
                    </a:cubicBezTo>
                    <a:cubicBezTo>
                      <a:pt x="57" y="34"/>
                      <a:pt x="57" y="34"/>
                      <a:pt x="57" y="35"/>
                    </a:cubicBezTo>
                    <a:cubicBezTo>
                      <a:pt x="56" y="34"/>
                      <a:pt x="57" y="35"/>
                      <a:pt x="57" y="35"/>
                    </a:cubicBezTo>
                    <a:cubicBezTo>
                      <a:pt x="56" y="35"/>
                      <a:pt x="56" y="34"/>
                      <a:pt x="56" y="34"/>
                    </a:cubicBezTo>
                    <a:cubicBezTo>
                      <a:pt x="56" y="34"/>
                      <a:pt x="56" y="35"/>
                      <a:pt x="56" y="35"/>
                    </a:cubicBezTo>
                    <a:cubicBezTo>
                      <a:pt x="55" y="35"/>
                      <a:pt x="56" y="36"/>
                      <a:pt x="56" y="36"/>
                    </a:cubicBezTo>
                    <a:cubicBezTo>
                      <a:pt x="57" y="36"/>
                      <a:pt x="57" y="36"/>
                      <a:pt x="57" y="36"/>
                    </a:cubicBezTo>
                    <a:cubicBezTo>
                      <a:pt x="57" y="36"/>
                      <a:pt x="57" y="35"/>
                      <a:pt x="57" y="36"/>
                    </a:cubicBezTo>
                    <a:cubicBezTo>
                      <a:pt x="57" y="36"/>
                      <a:pt x="57" y="36"/>
                      <a:pt x="58" y="36"/>
                    </a:cubicBezTo>
                    <a:cubicBezTo>
                      <a:pt x="58" y="36"/>
                      <a:pt x="58" y="36"/>
                      <a:pt x="59" y="37"/>
                    </a:cubicBezTo>
                    <a:cubicBezTo>
                      <a:pt x="58" y="37"/>
                      <a:pt x="58" y="36"/>
                      <a:pt x="58" y="37"/>
                    </a:cubicBezTo>
                    <a:cubicBezTo>
                      <a:pt x="57" y="37"/>
                      <a:pt x="58" y="37"/>
                      <a:pt x="58" y="37"/>
                    </a:cubicBezTo>
                    <a:cubicBezTo>
                      <a:pt x="58" y="38"/>
                      <a:pt x="59" y="37"/>
                      <a:pt x="59" y="38"/>
                    </a:cubicBezTo>
                    <a:cubicBezTo>
                      <a:pt x="59" y="38"/>
                      <a:pt x="60" y="37"/>
                      <a:pt x="60" y="38"/>
                    </a:cubicBezTo>
                    <a:cubicBezTo>
                      <a:pt x="60" y="39"/>
                      <a:pt x="61" y="38"/>
                      <a:pt x="61" y="37"/>
                    </a:cubicBezTo>
                    <a:cubicBezTo>
                      <a:pt x="61" y="38"/>
                      <a:pt x="61" y="38"/>
                      <a:pt x="62" y="38"/>
                    </a:cubicBezTo>
                    <a:cubicBezTo>
                      <a:pt x="62" y="38"/>
                      <a:pt x="62" y="38"/>
                      <a:pt x="62" y="38"/>
                    </a:cubicBezTo>
                    <a:cubicBezTo>
                      <a:pt x="62" y="38"/>
                      <a:pt x="60" y="39"/>
                      <a:pt x="61" y="39"/>
                    </a:cubicBezTo>
                    <a:close/>
                    <a:moveTo>
                      <a:pt x="62" y="45"/>
                    </a:moveTo>
                    <a:cubicBezTo>
                      <a:pt x="61" y="45"/>
                      <a:pt x="61" y="45"/>
                      <a:pt x="61" y="44"/>
                    </a:cubicBezTo>
                    <a:cubicBezTo>
                      <a:pt x="60" y="44"/>
                      <a:pt x="60" y="43"/>
                      <a:pt x="59" y="43"/>
                    </a:cubicBezTo>
                    <a:cubicBezTo>
                      <a:pt x="59" y="43"/>
                      <a:pt x="58" y="44"/>
                      <a:pt x="58" y="44"/>
                    </a:cubicBezTo>
                    <a:cubicBezTo>
                      <a:pt x="58" y="44"/>
                      <a:pt x="58" y="44"/>
                      <a:pt x="58" y="44"/>
                    </a:cubicBezTo>
                    <a:cubicBezTo>
                      <a:pt x="58" y="44"/>
                      <a:pt x="58" y="44"/>
                      <a:pt x="58" y="45"/>
                    </a:cubicBezTo>
                    <a:cubicBezTo>
                      <a:pt x="59" y="45"/>
                      <a:pt x="59" y="45"/>
                      <a:pt x="59" y="45"/>
                    </a:cubicBezTo>
                    <a:cubicBezTo>
                      <a:pt x="60" y="45"/>
                      <a:pt x="61" y="45"/>
                      <a:pt x="60" y="45"/>
                    </a:cubicBezTo>
                    <a:cubicBezTo>
                      <a:pt x="60" y="45"/>
                      <a:pt x="59" y="45"/>
                      <a:pt x="59" y="46"/>
                    </a:cubicBezTo>
                    <a:cubicBezTo>
                      <a:pt x="58" y="46"/>
                      <a:pt x="60" y="46"/>
                      <a:pt x="60" y="46"/>
                    </a:cubicBezTo>
                    <a:cubicBezTo>
                      <a:pt x="60" y="46"/>
                      <a:pt x="59" y="46"/>
                      <a:pt x="59" y="47"/>
                    </a:cubicBezTo>
                    <a:cubicBezTo>
                      <a:pt x="58" y="47"/>
                      <a:pt x="58" y="47"/>
                      <a:pt x="58" y="47"/>
                    </a:cubicBezTo>
                    <a:cubicBezTo>
                      <a:pt x="58" y="47"/>
                      <a:pt x="57" y="46"/>
                      <a:pt x="57" y="47"/>
                    </a:cubicBezTo>
                    <a:cubicBezTo>
                      <a:pt x="57" y="47"/>
                      <a:pt x="58" y="47"/>
                      <a:pt x="58" y="47"/>
                    </a:cubicBezTo>
                    <a:cubicBezTo>
                      <a:pt x="58" y="47"/>
                      <a:pt x="59" y="47"/>
                      <a:pt x="60" y="47"/>
                    </a:cubicBezTo>
                    <a:cubicBezTo>
                      <a:pt x="60" y="47"/>
                      <a:pt x="61" y="46"/>
                      <a:pt x="61" y="47"/>
                    </a:cubicBezTo>
                    <a:cubicBezTo>
                      <a:pt x="61" y="47"/>
                      <a:pt x="61" y="47"/>
                      <a:pt x="61" y="47"/>
                    </a:cubicBezTo>
                    <a:cubicBezTo>
                      <a:pt x="62" y="47"/>
                      <a:pt x="63" y="46"/>
                      <a:pt x="62" y="46"/>
                    </a:cubicBezTo>
                    <a:cubicBezTo>
                      <a:pt x="62" y="46"/>
                      <a:pt x="63" y="46"/>
                      <a:pt x="63" y="46"/>
                    </a:cubicBezTo>
                    <a:cubicBezTo>
                      <a:pt x="64" y="45"/>
                      <a:pt x="62" y="45"/>
                      <a:pt x="62" y="45"/>
                    </a:cubicBezTo>
                    <a:close/>
                    <a:moveTo>
                      <a:pt x="62" y="50"/>
                    </a:moveTo>
                    <a:cubicBezTo>
                      <a:pt x="62" y="50"/>
                      <a:pt x="63" y="49"/>
                      <a:pt x="62" y="49"/>
                    </a:cubicBezTo>
                    <a:cubicBezTo>
                      <a:pt x="62" y="49"/>
                      <a:pt x="61" y="49"/>
                      <a:pt x="61" y="49"/>
                    </a:cubicBezTo>
                    <a:cubicBezTo>
                      <a:pt x="60" y="50"/>
                      <a:pt x="60" y="50"/>
                      <a:pt x="61" y="50"/>
                    </a:cubicBezTo>
                    <a:cubicBezTo>
                      <a:pt x="60" y="51"/>
                      <a:pt x="59" y="50"/>
                      <a:pt x="59" y="51"/>
                    </a:cubicBezTo>
                    <a:cubicBezTo>
                      <a:pt x="59" y="52"/>
                      <a:pt x="59" y="52"/>
                      <a:pt x="60" y="52"/>
                    </a:cubicBezTo>
                    <a:cubicBezTo>
                      <a:pt x="60" y="51"/>
                      <a:pt x="61" y="51"/>
                      <a:pt x="62" y="50"/>
                    </a:cubicBezTo>
                    <a:close/>
                    <a:moveTo>
                      <a:pt x="55" y="30"/>
                    </a:moveTo>
                    <a:cubicBezTo>
                      <a:pt x="55" y="30"/>
                      <a:pt x="55" y="30"/>
                      <a:pt x="56" y="30"/>
                    </a:cubicBezTo>
                    <a:cubicBezTo>
                      <a:pt x="56" y="31"/>
                      <a:pt x="56" y="31"/>
                      <a:pt x="57" y="31"/>
                    </a:cubicBezTo>
                    <a:cubicBezTo>
                      <a:pt x="57" y="30"/>
                      <a:pt x="56" y="30"/>
                      <a:pt x="56" y="30"/>
                    </a:cubicBezTo>
                    <a:cubicBezTo>
                      <a:pt x="56" y="29"/>
                      <a:pt x="57" y="29"/>
                      <a:pt x="57" y="29"/>
                    </a:cubicBezTo>
                    <a:cubicBezTo>
                      <a:pt x="57" y="29"/>
                      <a:pt x="56" y="29"/>
                      <a:pt x="57" y="30"/>
                    </a:cubicBezTo>
                    <a:cubicBezTo>
                      <a:pt x="57" y="30"/>
                      <a:pt x="57" y="31"/>
                      <a:pt x="57" y="30"/>
                    </a:cubicBezTo>
                    <a:cubicBezTo>
                      <a:pt x="57" y="30"/>
                      <a:pt x="58" y="31"/>
                      <a:pt x="58" y="30"/>
                    </a:cubicBezTo>
                    <a:cubicBezTo>
                      <a:pt x="58" y="30"/>
                      <a:pt x="58" y="30"/>
                      <a:pt x="58" y="30"/>
                    </a:cubicBezTo>
                    <a:cubicBezTo>
                      <a:pt x="58" y="29"/>
                      <a:pt x="58" y="29"/>
                      <a:pt x="58" y="29"/>
                    </a:cubicBezTo>
                    <a:cubicBezTo>
                      <a:pt x="58" y="29"/>
                      <a:pt x="59" y="29"/>
                      <a:pt x="59" y="29"/>
                    </a:cubicBezTo>
                    <a:cubicBezTo>
                      <a:pt x="59" y="29"/>
                      <a:pt x="60" y="29"/>
                      <a:pt x="59" y="29"/>
                    </a:cubicBezTo>
                    <a:cubicBezTo>
                      <a:pt x="60" y="29"/>
                      <a:pt x="59" y="28"/>
                      <a:pt x="59" y="28"/>
                    </a:cubicBezTo>
                    <a:cubicBezTo>
                      <a:pt x="58" y="29"/>
                      <a:pt x="58" y="29"/>
                      <a:pt x="57" y="29"/>
                    </a:cubicBezTo>
                    <a:cubicBezTo>
                      <a:pt x="58" y="29"/>
                      <a:pt x="59" y="28"/>
                      <a:pt x="59" y="28"/>
                    </a:cubicBezTo>
                    <a:cubicBezTo>
                      <a:pt x="59" y="27"/>
                      <a:pt x="59" y="27"/>
                      <a:pt x="60" y="28"/>
                    </a:cubicBezTo>
                    <a:cubicBezTo>
                      <a:pt x="60" y="28"/>
                      <a:pt x="61" y="28"/>
                      <a:pt x="61" y="27"/>
                    </a:cubicBezTo>
                    <a:cubicBezTo>
                      <a:pt x="61" y="27"/>
                      <a:pt x="61" y="27"/>
                      <a:pt x="61" y="27"/>
                    </a:cubicBezTo>
                    <a:cubicBezTo>
                      <a:pt x="61" y="27"/>
                      <a:pt x="61" y="27"/>
                      <a:pt x="60" y="27"/>
                    </a:cubicBezTo>
                    <a:cubicBezTo>
                      <a:pt x="60" y="27"/>
                      <a:pt x="60" y="27"/>
                      <a:pt x="60" y="27"/>
                    </a:cubicBezTo>
                    <a:cubicBezTo>
                      <a:pt x="60" y="27"/>
                      <a:pt x="61" y="26"/>
                      <a:pt x="61" y="26"/>
                    </a:cubicBezTo>
                    <a:cubicBezTo>
                      <a:pt x="61" y="26"/>
                      <a:pt x="61" y="25"/>
                      <a:pt x="61" y="25"/>
                    </a:cubicBezTo>
                    <a:cubicBezTo>
                      <a:pt x="61" y="24"/>
                      <a:pt x="60" y="25"/>
                      <a:pt x="59" y="25"/>
                    </a:cubicBezTo>
                    <a:cubicBezTo>
                      <a:pt x="59" y="25"/>
                      <a:pt x="58" y="26"/>
                      <a:pt x="57" y="26"/>
                    </a:cubicBezTo>
                    <a:cubicBezTo>
                      <a:pt x="57" y="26"/>
                      <a:pt x="56" y="26"/>
                      <a:pt x="56" y="27"/>
                    </a:cubicBezTo>
                    <a:cubicBezTo>
                      <a:pt x="56" y="27"/>
                      <a:pt x="57" y="28"/>
                      <a:pt x="57" y="28"/>
                    </a:cubicBezTo>
                    <a:cubicBezTo>
                      <a:pt x="56" y="28"/>
                      <a:pt x="56" y="27"/>
                      <a:pt x="56" y="27"/>
                    </a:cubicBezTo>
                    <a:cubicBezTo>
                      <a:pt x="55" y="27"/>
                      <a:pt x="55" y="28"/>
                      <a:pt x="55" y="28"/>
                    </a:cubicBezTo>
                    <a:cubicBezTo>
                      <a:pt x="55" y="28"/>
                      <a:pt x="55" y="27"/>
                      <a:pt x="55" y="27"/>
                    </a:cubicBezTo>
                    <a:cubicBezTo>
                      <a:pt x="55" y="27"/>
                      <a:pt x="54" y="27"/>
                      <a:pt x="54" y="28"/>
                    </a:cubicBezTo>
                    <a:cubicBezTo>
                      <a:pt x="54" y="28"/>
                      <a:pt x="53" y="28"/>
                      <a:pt x="53" y="28"/>
                    </a:cubicBezTo>
                    <a:cubicBezTo>
                      <a:pt x="53" y="28"/>
                      <a:pt x="54" y="29"/>
                      <a:pt x="54" y="29"/>
                    </a:cubicBezTo>
                    <a:cubicBezTo>
                      <a:pt x="54" y="29"/>
                      <a:pt x="54" y="29"/>
                      <a:pt x="54" y="29"/>
                    </a:cubicBezTo>
                    <a:cubicBezTo>
                      <a:pt x="54" y="29"/>
                      <a:pt x="54" y="29"/>
                      <a:pt x="55" y="29"/>
                    </a:cubicBezTo>
                    <a:cubicBezTo>
                      <a:pt x="54" y="29"/>
                      <a:pt x="54" y="29"/>
                      <a:pt x="53" y="30"/>
                    </a:cubicBezTo>
                    <a:cubicBezTo>
                      <a:pt x="54" y="30"/>
                      <a:pt x="55" y="30"/>
                      <a:pt x="55" y="30"/>
                    </a:cubicBezTo>
                    <a:close/>
                    <a:moveTo>
                      <a:pt x="70" y="80"/>
                    </a:moveTo>
                    <a:cubicBezTo>
                      <a:pt x="70" y="80"/>
                      <a:pt x="71" y="79"/>
                      <a:pt x="72" y="79"/>
                    </a:cubicBezTo>
                    <a:cubicBezTo>
                      <a:pt x="72" y="79"/>
                      <a:pt x="72" y="79"/>
                      <a:pt x="73" y="79"/>
                    </a:cubicBezTo>
                    <a:cubicBezTo>
                      <a:pt x="73" y="78"/>
                      <a:pt x="73" y="78"/>
                      <a:pt x="73" y="78"/>
                    </a:cubicBezTo>
                    <a:cubicBezTo>
                      <a:pt x="72" y="78"/>
                      <a:pt x="72" y="79"/>
                      <a:pt x="71" y="78"/>
                    </a:cubicBezTo>
                    <a:cubicBezTo>
                      <a:pt x="71" y="77"/>
                      <a:pt x="70" y="77"/>
                      <a:pt x="70" y="77"/>
                    </a:cubicBezTo>
                    <a:cubicBezTo>
                      <a:pt x="68" y="77"/>
                      <a:pt x="69" y="80"/>
                      <a:pt x="70" y="79"/>
                    </a:cubicBezTo>
                    <a:cubicBezTo>
                      <a:pt x="70" y="80"/>
                      <a:pt x="70" y="80"/>
                      <a:pt x="70" y="80"/>
                    </a:cubicBezTo>
                    <a:close/>
                    <a:moveTo>
                      <a:pt x="57" y="54"/>
                    </a:moveTo>
                    <a:cubicBezTo>
                      <a:pt x="58" y="54"/>
                      <a:pt x="58" y="54"/>
                      <a:pt x="58" y="54"/>
                    </a:cubicBezTo>
                    <a:cubicBezTo>
                      <a:pt x="59" y="54"/>
                      <a:pt x="59" y="54"/>
                      <a:pt x="59" y="53"/>
                    </a:cubicBezTo>
                    <a:cubicBezTo>
                      <a:pt x="60" y="53"/>
                      <a:pt x="59" y="52"/>
                      <a:pt x="59" y="52"/>
                    </a:cubicBezTo>
                    <a:cubicBezTo>
                      <a:pt x="59" y="51"/>
                      <a:pt x="59" y="50"/>
                      <a:pt x="58" y="51"/>
                    </a:cubicBezTo>
                    <a:cubicBezTo>
                      <a:pt x="58" y="51"/>
                      <a:pt x="57" y="51"/>
                      <a:pt x="57" y="52"/>
                    </a:cubicBezTo>
                    <a:cubicBezTo>
                      <a:pt x="57" y="52"/>
                      <a:pt x="57" y="51"/>
                      <a:pt x="57" y="51"/>
                    </a:cubicBezTo>
                    <a:cubicBezTo>
                      <a:pt x="57" y="51"/>
                      <a:pt x="56" y="51"/>
                      <a:pt x="56" y="52"/>
                    </a:cubicBezTo>
                    <a:cubicBezTo>
                      <a:pt x="56" y="53"/>
                      <a:pt x="56" y="53"/>
                      <a:pt x="55" y="53"/>
                    </a:cubicBezTo>
                    <a:cubicBezTo>
                      <a:pt x="55" y="54"/>
                      <a:pt x="56" y="53"/>
                      <a:pt x="56" y="53"/>
                    </a:cubicBezTo>
                    <a:cubicBezTo>
                      <a:pt x="56" y="53"/>
                      <a:pt x="58" y="52"/>
                      <a:pt x="58" y="52"/>
                    </a:cubicBezTo>
                    <a:cubicBezTo>
                      <a:pt x="57" y="53"/>
                      <a:pt x="57" y="53"/>
                      <a:pt x="57" y="53"/>
                    </a:cubicBezTo>
                    <a:cubicBezTo>
                      <a:pt x="57" y="53"/>
                      <a:pt x="57" y="53"/>
                      <a:pt x="57" y="53"/>
                    </a:cubicBezTo>
                    <a:cubicBezTo>
                      <a:pt x="57" y="54"/>
                      <a:pt x="56" y="54"/>
                      <a:pt x="57" y="54"/>
                    </a:cubicBezTo>
                    <a:close/>
                    <a:moveTo>
                      <a:pt x="54" y="32"/>
                    </a:moveTo>
                    <a:cubicBezTo>
                      <a:pt x="54" y="32"/>
                      <a:pt x="55" y="32"/>
                      <a:pt x="55" y="31"/>
                    </a:cubicBezTo>
                    <a:cubicBezTo>
                      <a:pt x="55" y="31"/>
                      <a:pt x="56" y="31"/>
                      <a:pt x="56" y="31"/>
                    </a:cubicBezTo>
                    <a:cubicBezTo>
                      <a:pt x="56" y="31"/>
                      <a:pt x="56" y="31"/>
                      <a:pt x="56" y="31"/>
                    </a:cubicBezTo>
                    <a:cubicBezTo>
                      <a:pt x="55" y="30"/>
                      <a:pt x="54" y="30"/>
                      <a:pt x="54" y="31"/>
                    </a:cubicBezTo>
                    <a:cubicBezTo>
                      <a:pt x="54" y="31"/>
                      <a:pt x="55" y="31"/>
                      <a:pt x="55" y="31"/>
                    </a:cubicBezTo>
                    <a:cubicBezTo>
                      <a:pt x="54" y="31"/>
                      <a:pt x="54" y="31"/>
                      <a:pt x="53" y="31"/>
                    </a:cubicBezTo>
                    <a:cubicBezTo>
                      <a:pt x="53" y="31"/>
                      <a:pt x="53" y="31"/>
                      <a:pt x="53" y="31"/>
                    </a:cubicBezTo>
                    <a:cubicBezTo>
                      <a:pt x="53" y="31"/>
                      <a:pt x="54" y="32"/>
                      <a:pt x="54" y="32"/>
                    </a:cubicBezTo>
                    <a:close/>
                    <a:moveTo>
                      <a:pt x="42" y="31"/>
                    </a:moveTo>
                    <a:cubicBezTo>
                      <a:pt x="42" y="31"/>
                      <a:pt x="41" y="31"/>
                      <a:pt x="41" y="31"/>
                    </a:cubicBezTo>
                    <a:cubicBezTo>
                      <a:pt x="41" y="31"/>
                      <a:pt x="41" y="31"/>
                      <a:pt x="42" y="32"/>
                    </a:cubicBezTo>
                    <a:cubicBezTo>
                      <a:pt x="42" y="31"/>
                      <a:pt x="42" y="31"/>
                      <a:pt x="42" y="31"/>
                    </a:cubicBezTo>
                    <a:close/>
                    <a:moveTo>
                      <a:pt x="52" y="34"/>
                    </a:moveTo>
                    <a:cubicBezTo>
                      <a:pt x="53" y="34"/>
                      <a:pt x="51" y="34"/>
                      <a:pt x="51" y="34"/>
                    </a:cubicBezTo>
                    <a:cubicBezTo>
                      <a:pt x="52" y="34"/>
                      <a:pt x="54" y="34"/>
                      <a:pt x="52" y="33"/>
                    </a:cubicBezTo>
                    <a:cubicBezTo>
                      <a:pt x="52" y="33"/>
                      <a:pt x="53" y="34"/>
                      <a:pt x="53" y="33"/>
                    </a:cubicBezTo>
                    <a:cubicBezTo>
                      <a:pt x="53" y="33"/>
                      <a:pt x="52" y="33"/>
                      <a:pt x="52" y="33"/>
                    </a:cubicBezTo>
                    <a:cubicBezTo>
                      <a:pt x="53" y="32"/>
                      <a:pt x="51" y="33"/>
                      <a:pt x="51" y="33"/>
                    </a:cubicBezTo>
                    <a:cubicBezTo>
                      <a:pt x="51" y="33"/>
                      <a:pt x="51" y="33"/>
                      <a:pt x="51" y="33"/>
                    </a:cubicBezTo>
                    <a:cubicBezTo>
                      <a:pt x="51" y="33"/>
                      <a:pt x="50" y="33"/>
                      <a:pt x="50" y="33"/>
                    </a:cubicBezTo>
                    <a:cubicBezTo>
                      <a:pt x="49" y="34"/>
                      <a:pt x="50" y="34"/>
                      <a:pt x="51" y="34"/>
                    </a:cubicBezTo>
                    <a:cubicBezTo>
                      <a:pt x="51" y="35"/>
                      <a:pt x="52" y="35"/>
                      <a:pt x="52" y="34"/>
                    </a:cubicBezTo>
                    <a:close/>
                    <a:moveTo>
                      <a:pt x="111" y="98"/>
                    </a:moveTo>
                    <a:cubicBezTo>
                      <a:pt x="111" y="98"/>
                      <a:pt x="112" y="98"/>
                      <a:pt x="113" y="98"/>
                    </a:cubicBezTo>
                    <a:cubicBezTo>
                      <a:pt x="113" y="98"/>
                      <a:pt x="112" y="97"/>
                      <a:pt x="111" y="98"/>
                    </a:cubicBezTo>
                    <a:close/>
                    <a:moveTo>
                      <a:pt x="106" y="1"/>
                    </a:moveTo>
                    <a:cubicBezTo>
                      <a:pt x="106" y="0"/>
                      <a:pt x="105" y="1"/>
                      <a:pt x="105" y="1"/>
                    </a:cubicBezTo>
                    <a:cubicBezTo>
                      <a:pt x="105" y="1"/>
                      <a:pt x="105" y="1"/>
                      <a:pt x="105" y="1"/>
                    </a:cubicBezTo>
                    <a:cubicBezTo>
                      <a:pt x="105" y="0"/>
                      <a:pt x="104" y="2"/>
                      <a:pt x="104" y="2"/>
                    </a:cubicBezTo>
                    <a:cubicBezTo>
                      <a:pt x="104" y="3"/>
                      <a:pt x="105" y="2"/>
                      <a:pt x="105" y="2"/>
                    </a:cubicBezTo>
                    <a:cubicBezTo>
                      <a:pt x="105" y="2"/>
                      <a:pt x="106" y="1"/>
                      <a:pt x="106" y="1"/>
                    </a:cubicBezTo>
                    <a:close/>
                    <a:moveTo>
                      <a:pt x="57" y="43"/>
                    </a:moveTo>
                    <a:cubicBezTo>
                      <a:pt x="57" y="43"/>
                      <a:pt x="55" y="44"/>
                      <a:pt x="55" y="44"/>
                    </a:cubicBezTo>
                    <a:cubicBezTo>
                      <a:pt x="55" y="44"/>
                      <a:pt x="57" y="44"/>
                      <a:pt x="57" y="43"/>
                    </a:cubicBezTo>
                    <a:close/>
                    <a:moveTo>
                      <a:pt x="85" y="22"/>
                    </a:moveTo>
                    <a:cubicBezTo>
                      <a:pt x="85" y="22"/>
                      <a:pt x="85" y="22"/>
                      <a:pt x="85" y="21"/>
                    </a:cubicBezTo>
                    <a:cubicBezTo>
                      <a:pt x="85" y="21"/>
                      <a:pt x="85" y="21"/>
                      <a:pt x="85" y="21"/>
                    </a:cubicBezTo>
                    <a:cubicBezTo>
                      <a:pt x="85" y="21"/>
                      <a:pt x="85" y="21"/>
                      <a:pt x="85" y="21"/>
                    </a:cubicBezTo>
                    <a:cubicBezTo>
                      <a:pt x="85" y="21"/>
                      <a:pt x="84" y="19"/>
                      <a:pt x="83" y="20"/>
                    </a:cubicBezTo>
                    <a:cubicBezTo>
                      <a:pt x="83" y="21"/>
                      <a:pt x="84" y="21"/>
                      <a:pt x="84" y="21"/>
                    </a:cubicBezTo>
                    <a:cubicBezTo>
                      <a:pt x="84" y="21"/>
                      <a:pt x="84" y="22"/>
                      <a:pt x="85" y="22"/>
                    </a:cubicBezTo>
                    <a:close/>
                    <a:moveTo>
                      <a:pt x="51" y="36"/>
                    </a:moveTo>
                    <a:cubicBezTo>
                      <a:pt x="51" y="36"/>
                      <a:pt x="52" y="36"/>
                      <a:pt x="52" y="35"/>
                    </a:cubicBezTo>
                    <a:cubicBezTo>
                      <a:pt x="52" y="35"/>
                      <a:pt x="52" y="35"/>
                      <a:pt x="52" y="35"/>
                    </a:cubicBezTo>
                    <a:cubicBezTo>
                      <a:pt x="52" y="35"/>
                      <a:pt x="52" y="35"/>
                      <a:pt x="52" y="35"/>
                    </a:cubicBezTo>
                    <a:cubicBezTo>
                      <a:pt x="51" y="34"/>
                      <a:pt x="50" y="35"/>
                      <a:pt x="51" y="36"/>
                    </a:cubicBezTo>
                    <a:close/>
                    <a:moveTo>
                      <a:pt x="59" y="49"/>
                    </a:moveTo>
                    <a:cubicBezTo>
                      <a:pt x="58" y="49"/>
                      <a:pt x="58" y="49"/>
                      <a:pt x="58" y="50"/>
                    </a:cubicBezTo>
                    <a:cubicBezTo>
                      <a:pt x="58" y="50"/>
                      <a:pt x="58" y="50"/>
                      <a:pt x="58" y="50"/>
                    </a:cubicBezTo>
                    <a:cubicBezTo>
                      <a:pt x="59" y="49"/>
                      <a:pt x="59" y="49"/>
                      <a:pt x="59" y="49"/>
                    </a:cubicBezTo>
                    <a:close/>
                    <a:moveTo>
                      <a:pt x="50" y="40"/>
                    </a:moveTo>
                    <a:cubicBezTo>
                      <a:pt x="50" y="39"/>
                      <a:pt x="50" y="39"/>
                      <a:pt x="49" y="40"/>
                    </a:cubicBezTo>
                    <a:cubicBezTo>
                      <a:pt x="49" y="40"/>
                      <a:pt x="48" y="40"/>
                      <a:pt x="49" y="40"/>
                    </a:cubicBezTo>
                    <a:cubicBezTo>
                      <a:pt x="49" y="40"/>
                      <a:pt x="50" y="40"/>
                      <a:pt x="50" y="40"/>
                    </a:cubicBezTo>
                    <a:close/>
                    <a:moveTo>
                      <a:pt x="53" y="45"/>
                    </a:moveTo>
                    <a:cubicBezTo>
                      <a:pt x="52" y="45"/>
                      <a:pt x="53" y="45"/>
                      <a:pt x="53" y="45"/>
                    </a:cubicBezTo>
                    <a:cubicBezTo>
                      <a:pt x="53" y="45"/>
                      <a:pt x="54" y="45"/>
                      <a:pt x="54" y="45"/>
                    </a:cubicBezTo>
                    <a:cubicBezTo>
                      <a:pt x="55" y="45"/>
                      <a:pt x="55" y="44"/>
                      <a:pt x="54" y="44"/>
                    </a:cubicBezTo>
                    <a:cubicBezTo>
                      <a:pt x="54" y="45"/>
                      <a:pt x="53" y="44"/>
                      <a:pt x="53" y="45"/>
                    </a:cubicBezTo>
                    <a:close/>
                    <a:moveTo>
                      <a:pt x="86" y="121"/>
                    </a:moveTo>
                    <a:cubicBezTo>
                      <a:pt x="86" y="121"/>
                      <a:pt x="85" y="121"/>
                      <a:pt x="85" y="121"/>
                    </a:cubicBezTo>
                    <a:cubicBezTo>
                      <a:pt x="85" y="121"/>
                      <a:pt x="85" y="121"/>
                      <a:pt x="85" y="122"/>
                    </a:cubicBezTo>
                    <a:cubicBezTo>
                      <a:pt x="85" y="121"/>
                      <a:pt x="86" y="122"/>
                      <a:pt x="86" y="122"/>
                    </a:cubicBezTo>
                    <a:cubicBezTo>
                      <a:pt x="87" y="122"/>
                      <a:pt x="87" y="121"/>
                      <a:pt x="86" y="121"/>
                    </a:cubicBezTo>
                    <a:close/>
                    <a:moveTo>
                      <a:pt x="70" y="67"/>
                    </a:moveTo>
                    <a:cubicBezTo>
                      <a:pt x="70" y="67"/>
                      <a:pt x="70" y="68"/>
                      <a:pt x="69" y="68"/>
                    </a:cubicBezTo>
                    <a:cubicBezTo>
                      <a:pt x="69" y="68"/>
                      <a:pt x="69" y="68"/>
                      <a:pt x="68" y="69"/>
                    </a:cubicBezTo>
                    <a:cubicBezTo>
                      <a:pt x="68" y="69"/>
                      <a:pt x="68" y="70"/>
                      <a:pt x="68" y="70"/>
                    </a:cubicBezTo>
                    <a:cubicBezTo>
                      <a:pt x="68" y="70"/>
                      <a:pt x="69" y="70"/>
                      <a:pt x="69" y="70"/>
                    </a:cubicBezTo>
                    <a:cubicBezTo>
                      <a:pt x="70" y="69"/>
                      <a:pt x="71" y="69"/>
                      <a:pt x="71" y="68"/>
                    </a:cubicBezTo>
                    <a:cubicBezTo>
                      <a:pt x="72" y="68"/>
                      <a:pt x="71" y="67"/>
                      <a:pt x="72" y="67"/>
                    </a:cubicBezTo>
                    <a:cubicBezTo>
                      <a:pt x="72" y="66"/>
                      <a:pt x="70" y="67"/>
                      <a:pt x="70" y="67"/>
                    </a:cubicBezTo>
                    <a:close/>
                    <a:moveTo>
                      <a:pt x="81" y="119"/>
                    </a:moveTo>
                    <a:cubicBezTo>
                      <a:pt x="82" y="119"/>
                      <a:pt x="82" y="119"/>
                      <a:pt x="82" y="119"/>
                    </a:cubicBezTo>
                    <a:cubicBezTo>
                      <a:pt x="82" y="119"/>
                      <a:pt x="83" y="118"/>
                      <a:pt x="83" y="118"/>
                    </a:cubicBezTo>
                    <a:cubicBezTo>
                      <a:pt x="82" y="118"/>
                      <a:pt x="81" y="119"/>
                      <a:pt x="81" y="11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7" name="United Arab Emirates">
                <a:extLst>
                  <a:ext uri="{FF2B5EF4-FFF2-40B4-BE49-F238E27FC236}">
                    <a16:creationId xmlns:a16="http://schemas.microsoft.com/office/drawing/2014/main" id="{9E1EBA92-C7A2-5800-61E9-08642B3F814E}"/>
                  </a:ext>
                </a:extLst>
              </p:cNvPr>
              <p:cNvSpPr>
                <a:spLocks noEditPoints="1"/>
              </p:cNvSpPr>
              <p:nvPr/>
            </p:nvSpPr>
            <p:spPr bwMode="auto">
              <a:xfrm>
                <a:off x="7432555" y="3026938"/>
                <a:ext cx="155847" cy="134283"/>
              </a:xfrm>
              <a:custGeom>
                <a:avLst/>
                <a:gdLst/>
                <a:ahLst/>
                <a:cxnLst>
                  <a:cxn ang="0">
                    <a:pos x="44" y="9"/>
                  </a:cxn>
                  <a:cxn ang="0">
                    <a:pos x="42" y="5"/>
                  </a:cxn>
                  <a:cxn ang="0">
                    <a:pos x="42" y="3"/>
                  </a:cxn>
                  <a:cxn ang="0">
                    <a:pos x="42" y="1"/>
                  </a:cxn>
                  <a:cxn ang="0">
                    <a:pos x="40" y="4"/>
                  </a:cxn>
                  <a:cxn ang="0">
                    <a:pos x="39" y="5"/>
                  </a:cxn>
                  <a:cxn ang="0">
                    <a:pos x="37" y="7"/>
                  </a:cxn>
                  <a:cxn ang="0">
                    <a:pos x="36" y="8"/>
                  </a:cxn>
                  <a:cxn ang="0">
                    <a:pos x="34" y="9"/>
                  </a:cxn>
                  <a:cxn ang="0">
                    <a:pos x="34" y="10"/>
                  </a:cxn>
                  <a:cxn ang="0">
                    <a:pos x="31" y="13"/>
                  </a:cxn>
                  <a:cxn ang="0">
                    <a:pos x="29" y="15"/>
                  </a:cxn>
                  <a:cxn ang="0">
                    <a:pos x="28" y="16"/>
                  </a:cxn>
                  <a:cxn ang="0">
                    <a:pos x="28" y="18"/>
                  </a:cxn>
                  <a:cxn ang="0">
                    <a:pos x="26" y="21"/>
                  </a:cxn>
                  <a:cxn ang="0">
                    <a:pos x="23" y="20"/>
                  </a:cxn>
                  <a:cxn ang="0">
                    <a:pos x="23" y="22"/>
                  </a:cxn>
                  <a:cxn ang="0">
                    <a:pos x="16" y="22"/>
                  </a:cxn>
                  <a:cxn ang="0">
                    <a:pos x="13" y="22"/>
                  </a:cxn>
                  <a:cxn ang="0">
                    <a:pos x="10" y="22"/>
                  </a:cxn>
                  <a:cxn ang="0">
                    <a:pos x="9" y="22"/>
                  </a:cxn>
                  <a:cxn ang="0">
                    <a:pos x="3" y="24"/>
                  </a:cxn>
                  <a:cxn ang="0">
                    <a:pos x="2" y="22"/>
                  </a:cxn>
                  <a:cxn ang="0">
                    <a:pos x="1" y="21"/>
                  </a:cxn>
                  <a:cxn ang="0">
                    <a:pos x="0" y="20"/>
                  </a:cxn>
                  <a:cxn ang="0">
                    <a:pos x="0" y="21"/>
                  </a:cxn>
                  <a:cxn ang="0">
                    <a:pos x="4" y="27"/>
                  </a:cxn>
                  <a:cxn ang="0">
                    <a:pos x="11" y="35"/>
                  </a:cxn>
                  <a:cxn ang="0">
                    <a:pos x="21" y="37"/>
                  </a:cxn>
                  <a:cxn ang="0">
                    <a:pos x="33" y="38"/>
                  </a:cxn>
                  <a:cxn ang="0">
                    <a:pos x="35" y="36"/>
                  </a:cxn>
                  <a:cxn ang="0">
                    <a:pos x="36" y="32"/>
                  </a:cxn>
                  <a:cxn ang="0">
                    <a:pos x="37" y="28"/>
                  </a:cxn>
                  <a:cxn ang="0">
                    <a:pos x="38" y="25"/>
                  </a:cxn>
                  <a:cxn ang="0">
                    <a:pos x="40" y="23"/>
                  </a:cxn>
                  <a:cxn ang="0">
                    <a:pos x="41" y="21"/>
                  </a:cxn>
                  <a:cxn ang="0">
                    <a:pos x="40" y="20"/>
                  </a:cxn>
                  <a:cxn ang="0">
                    <a:pos x="39" y="15"/>
                  </a:cxn>
                  <a:cxn ang="0">
                    <a:pos x="41" y="13"/>
                  </a:cxn>
                  <a:cxn ang="0">
                    <a:pos x="41" y="14"/>
                  </a:cxn>
                  <a:cxn ang="0">
                    <a:pos x="43" y="14"/>
                  </a:cxn>
                  <a:cxn ang="0">
                    <a:pos x="44" y="12"/>
                  </a:cxn>
                  <a:cxn ang="0">
                    <a:pos x="43" y="10"/>
                  </a:cxn>
                  <a:cxn ang="0">
                    <a:pos x="27" y="18"/>
                  </a:cxn>
                  <a:cxn ang="0">
                    <a:pos x="27" y="18"/>
                  </a:cxn>
                  <a:cxn ang="0">
                    <a:pos x="27" y="17"/>
                  </a:cxn>
                  <a:cxn ang="0">
                    <a:pos x="16" y="21"/>
                  </a:cxn>
                  <a:cxn ang="0">
                    <a:pos x="16" y="20"/>
                  </a:cxn>
                  <a:cxn ang="0">
                    <a:pos x="21" y="22"/>
                  </a:cxn>
                  <a:cxn ang="0">
                    <a:pos x="20" y="21"/>
                  </a:cxn>
                  <a:cxn ang="0">
                    <a:pos x="22" y="22"/>
                  </a:cxn>
                  <a:cxn ang="0">
                    <a:pos x="21" y="22"/>
                  </a:cxn>
                </a:cxnLst>
                <a:rect l="0" t="0" r="r" b="b"/>
                <a:pathLst>
                  <a:path w="44" h="38">
                    <a:moveTo>
                      <a:pt x="44" y="12"/>
                    </a:moveTo>
                    <a:cubicBezTo>
                      <a:pt x="44" y="11"/>
                      <a:pt x="44" y="10"/>
                      <a:pt x="44" y="9"/>
                    </a:cubicBezTo>
                    <a:cubicBezTo>
                      <a:pt x="44" y="8"/>
                      <a:pt x="44" y="7"/>
                      <a:pt x="44" y="6"/>
                    </a:cubicBezTo>
                    <a:cubicBezTo>
                      <a:pt x="43" y="6"/>
                      <a:pt x="42" y="6"/>
                      <a:pt x="42" y="5"/>
                    </a:cubicBezTo>
                    <a:cubicBezTo>
                      <a:pt x="42" y="5"/>
                      <a:pt x="42" y="5"/>
                      <a:pt x="42" y="5"/>
                    </a:cubicBezTo>
                    <a:cubicBezTo>
                      <a:pt x="42" y="4"/>
                      <a:pt x="42" y="4"/>
                      <a:pt x="42" y="3"/>
                    </a:cubicBezTo>
                    <a:cubicBezTo>
                      <a:pt x="41" y="3"/>
                      <a:pt x="42" y="3"/>
                      <a:pt x="42" y="2"/>
                    </a:cubicBezTo>
                    <a:cubicBezTo>
                      <a:pt x="42" y="2"/>
                      <a:pt x="42" y="1"/>
                      <a:pt x="42" y="1"/>
                    </a:cubicBezTo>
                    <a:cubicBezTo>
                      <a:pt x="41" y="0"/>
                      <a:pt x="41" y="1"/>
                      <a:pt x="41" y="1"/>
                    </a:cubicBezTo>
                    <a:cubicBezTo>
                      <a:pt x="41" y="2"/>
                      <a:pt x="40" y="3"/>
                      <a:pt x="40" y="4"/>
                    </a:cubicBezTo>
                    <a:cubicBezTo>
                      <a:pt x="40" y="3"/>
                      <a:pt x="39" y="4"/>
                      <a:pt x="39" y="4"/>
                    </a:cubicBezTo>
                    <a:cubicBezTo>
                      <a:pt x="39" y="4"/>
                      <a:pt x="39" y="5"/>
                      <a:pt x="39" y="5"/>
                    </a:cubicBezTo>
                    <a:cubicBezTo>
                      <a:pt x="38" y="5"/>
                      <a:pt x="38" y="5"/>
                      <a:pt x="37" y="6"/>
                    </a:cubicBezTo>
                    <a:cubicBezTo>
                      <a:pt x="37" y="6"/>
                      <a:pt x="37" y="7"/>
                      <a:pt x="37" y="7"/>
                    </a:cubicBezTo>
                    <a:cubicBezTo>
                      <a:pt x="36" y="7"/>
                      <a:pt x="36" y="7"/>
                      <a:pt x="36" y="6"/>
                    </a:cubicBezTo>
                    <a:cubicBezTo>
                      <a:pt x="36" y="6"/>
                      <a:pt x="36" y="7"/>
                      <a:pt x="36" y="8"/>
                    </a:cubicBezTo>
                    <a:cubicBezTo>
                      <a:pt x="35" y="8"/>
                      <a:pt x="35" y="8"/>
                      <a:pt x="35" y="8"/>
                    </a:cubicBezTo>
                    <a:cubicBezTo>
                      <a:pt x="35" y="9"/>
                      <a:pt x="34" y="9"/>
                      <a:pt x="34" y="9"/>
                    </a:cubicBezTo>
                    <a:cubicBezTo>
                      <a:pt x="34" y="10"/>
                      <a:pt x="35" y="10"/>
                      <a:pt x="34" y="10"/>
                    </a:cubicBezTo>
                    <a:cubicBezTo>
                      <a:pt x="34" y="10"/>
                      <a:pt x="34" y="10"/>
                      <a:pt x="34" y="10"/>
                    </a:cubicBezTo>
                    <a:cubicBezTo>
                      <a:pt x="34" y="10"/>
                      <a:pt x="34" y="10"/>
                      <a:pt x="33" y="11"/>
                    </a:cubicBezTo>
                    <a:cubicBezTo>
                      <a:pt x="33" y="12"/>
                      <a:pt x="32" y="12"/>
                      <a:pt x="31" y="13"/>
                    </a:cubicBezTo>
                    <a:cubicBezTo>
                      <a:pt x="30" y="13"/>
                      <a:pt x="30" y="14"/>
                      <a:pt x="29" y="15"/>
                    </a:cubicBezTo>
                    <a:cubicBezTo>
                      <a:pt x="29" y="15"/>
                      <a:pt x="29" y="15"/>
                      <a:pt x="29" y="15"/>
                    </a:cubicBezTo>
                    <a:cubicBezTo>
                      <a:pt x="29" y="15"/>
                      <a:pt x="28" y="15"/>
                      <a:pt x="28" y="16"/>
                    </a:cubicBezTo>
                    <a:cubicBezTo>
                      <a:pt x="28" y="16"/>
                      <a:pt x="29" y="16"/>
                      <a:pt x="28" y="16"/>
                    </a:cubicBezTo>
                    <a:cubicBezTo>
                      <a:pt x="28" y="17"/>
                      <a:pt x="28" y="17"/>
                      <a:pt x="28" y="17"/>
                    </a:cubicBezTo>
                    <a:cubicBezTo>
                      <a:pt x="28" y="18"/>
                      <a:pt x="27" y="18"/>
                      <a:pt x="28" y="18"/>
                    </a:cubicBezTo>
                    <a:cubicBezTo>
                      <a:pt x="28" y="19"/>
                      <a:pt x="27" y="19"/>
                      <a:pt x="27" y="19"/>
                    </a:cubicBezTo>
                    <a:cubicBezTo>
                      <a:pt x="27" y="19"/>
                      <a:pt x="27" y="21"/>
                      <a:pt x="26" y="21"/>
                    </a:cubicBezTo>
                    <a:cubicBezTo>
                      <a:pt x="26" y="21"/>
                      <a:pt x="25" y="21"/>
                      <a:pt x="25" y="21"/>
                    </a:cubicBezTo>
                    <a:cubicBezTo>
                      <a:pt x="24" y="21"/>
                      <a:pt x="24" y="19"/>
                      <a:pt x="23" y="20"/>
                    </a:cubicBezTo>
                    <a:cubicBezTo>
                      <a:pt x="23" y="21"/>
                      <a:pt x="24" y="21"/>
                      <a:pt x="24" y="21"/>
                    </a:cubicBezTo>
                    <a:cubicBezTo>
                      <a:pt x="25" y="22"/>
                      <a:pt x="24" y="22"/>
                      <a:pt x="23" y="22"/>
                    </a:cubicBezTo>
                    <a:cubicBezTo>
                      <a:pt x="22" y="23"/>
                      <a:pt x="20" y="23"/>
                      <a:pt x="18" y="22"/>
                    </a:cubicBezTo>
                    <a:cubicBezTo>
                      <a:pt x="17" y="22"/>
                      <a:pt x="16" y="23"/>
                      <a:pt x="16" y="22"/>
                    </a:cubicBezTo>
                    <a:cubicBezTo>
                      <a:pt x="15" y="22"/>
                      <a:pt x="15" y="21"/>
                      <a:pt x="15" y="22"/>
                    </a:cubicBezTo>
                    <a:cubicBezTo>
                      <a:pt x="14" y="22"/>
                      <a:pt x="14" y="22"/>
                      <a:pt x="13" y="22"/>
                    </a:cubicBezTo>
                    <a:cubicBezTo>
                      <a:pt x="13" y="22"/>
                      <a:pt x="12" y="22"/>
                      <a:pt x="11" y="22"/>
                    </a:cubicBezTo>
                    <a:cubicBezTo>
                      <a:pt x="11" y="22"/>
                      <a:pt x="11" y="22"/>
                      <a:pt x="10" y="22"/>
                    </a:cubicBezTo>
                    <a:cubicBezTo>
                      <a:pt x="10" y="22"/>
                      <a:pt x="10" y="21"/>
                      <a:pt x="10" y="21"/>
                    </a:cubicBezTo>
                    <a:cubicBezTo>
                      <a:pt x="9" y="21"/>
                      <a:pt x="9" y="22"/>
                      <a:pt x="9" y="22"/>
                    </a:cubicBezTo>
                    <a:cubicBezTo>
                      <a:pt x="8" y="23"/>
                      <a:pt x="7" y="24"/>
                      <a:pt x="6" y="24"/>
                    </a:cubicBezTo>
                    <a:cubicBezTo>
                      <a:pt x="5" y="24"/>
                      <a:pt x="3" y="23"/>
                      <a:pt x="3" y="24"/>
                    </a:cubicBezTo>
                    <a:cubicBezTo>
                      <a:pt x="3" y="23"/>
                      <a:pt x="2" y="24"/>
                      <a:pt x="2" y="23"/>
                    </a:cubicBezTo>
                    <a:cubicBezTo>
                      <a:pt x="2" y="22"/>
                      <a:pt x="2" y="22"/>
                      <a:pt x="2" y="22"/>
                    </a:cubicBezTo>
                    <a:cubicBezTo>
                      <a:pt x="2" y="21"/>
                      <a:pt x="2" y="21"/>
                      <a:pt x="2" y="20"/>
                    </a:cubicBezTo>
                    <a:cubicBezTo>
                      <a:pt x="1" y="20"/>
                      <a:pt x="1" y="21"/>
                      <a:pt x="1" y="21"/>
                    </a:cubicBezTo>
                    <a:cubicBezTo>
                      <a:pt x="1" y="21"/>
                      <a:pt x="1" y="21"/>
                      <a:pt x="1" y="21"/>
                    </a:cubicBezTo>
                    <a:cubicBezTo>
                      <a:pt x="1" y="21"/>
                      <a:pt x="0" y="21"/>
                      <a:pt x="0" y="20"/>
                    </a:cubicBezTo>
                    <a:cubicBezTo>
                      <a:pt x="0" y="20"/>
                      <a:pt x="0" y="19"/>
                      <a:pt x="0" y="19"/>
                    </a:cubicBezTo>
                    <a:cubicBezTo>
                      <a:pt x="0" y="20"/>
                      <a:pt x="0" y="21"/>
                      <a:pt x="0" y="21"/>
                    </a:cubicBezTo>
                    <a:cubicBezTo>
                      <a:pt x="0" y="22"/>
                      <a:pt x="0" y="23"/>
                      <a:pt x="1" y="23"/>
                    </a:cubicBezTo>
                    <a:cubicBezTo>
                      <a:pt x="2" y="24"/>
                      <a:pt x="3" y="26"/>
                      <a:pt x="4" y="27"/>
                    </a:cubicBezTo>
                    <a:cubicBezTo>
                      <a:pt x="5" y="28"/>
                      <a:pt x="6" y="30"/>
                      <a:pt x="8" y="32"/>
                    </a:cubicBezTo>
                    <a:cubicBezTo>
                      <a:pt x="9" y="33"/>
                      <a:pt x="10" y="34"/>
                      <a:pt x="11" y="35"/>
                    </a:cubicBezTo>
                    <a:cubicBezTo>
                      <a:pt x="12" y="36"/>
                      <a:pt x="14" y="36"/>
                      <a:pt x="16" y="36"/>
                    </a:cubicBezTo>
                    <a:cubicBezTo>
                      <a:pt x="17" y="36"/>
                      <a:pt x="19" y="36"/>
                      <a:pt x="21" y="37"/>
                    </a:cubicBezTo>
                    <a:cubicBezTo>
                      <a:pt x="22" y="37"/>
                      <a:pt x="24" y="37"/>
                      <a:pt x="25" y="37"/>
                    </a:cubicBezTo>
                    <a:cubicBezTo>
                      <a:pt x="28" y="37"/>
                      <a:pt x="30" y="38"/>
                      <a:pt x="33" y="38"/>
                    </a:cubicBezTo>
                    <a:cubicBezTo>
                      <a:pt x="34" y="38"/>
                      <a:pt x="35" y="38"/>
                      <a:pt x="35" y="38"/>
                    </a:cubicBezTo>
                    <a:cubicBezTo>
                      <a:pt x="36" y="37"/>
                      <a:pt x="35" y="37"/>
                      <a:pt x="35" y="36"/>
                    </a:cubicBezTo>
                    <a:cubicBezTo>
                      <a:pt x="35" y="36"/>
                      <a:pt x="35" y="35"/>
                      <a:pt x="35" y="34"/>
                    </a:cubicBezTo>
                    <a:cubicBezTo>
                      <a:pt x="35" y="33"/>
                      <a:pt x="36" y="33"/>
                      <a:pt x="36" y="32"/>
                    </a:cubicBezTo>
                    <a:cubicBezTo>
                      <a:pt x="36" y="31"/>
                      <a:pt x="36" y="30"/>
                      <a:pt x="37" y="29"/>
                    </a:cubicBezTo>
                    <a:cubicBezTo>
                      <a:pt x="37" y="29"/>
                      <a:pt x="37" y="28"/>
                      <a:pt x="37" y="28"/>
                    </a:cubicBezTo>
                    <a:cubicBezTo>
                      <a:pt x="37" y="27"/>
                      <a:pt x="38" y="26"/>
                      <a:pt x="38" y="25"/>
                    </a:cubicBezTo>
                    <a:cubicBezTo>
                      <a:pt x="38" y="25"/>
                      <a:pt x="38" y="25"/>
                      <a:pt x="38" y="25"/>
                    </a:cubicBezTo>
                    <a:cubicBezTo>
                      <a:pt x="37" y="24"/>
                      <a:pt x="37" y="24"/>
                      <a:pt x="37" y="24"/>
                    </a:cubicBezTo>
                    <a:cubicBezTo>
                      <a:pt x="37" y="23"/>
                      <a:pt x="40" y="23"/>
                      <a:pt x="40" y="23"/>
                    </a:cubicBezTo>
                    <a:cubicBezTo>
                      <a:pt x="41" y="24"/>
                      <a:pt x="42" y="23"/>
                      <a:pt x="42" y="22"/>
                    </a:cubicBezTo>
                    <a:cubicBezTo>
                      <a:pt x="41" y="22"/>
                      <a:pt x="41" y="21"/>
                      <a:pt x="41" y="21"/>
                    </a:cubicBezTo>
                    <a:cubicBezTo>
                      <a:pt x="41" y="21"/>
                      <a:pt x="40" y="21"/>
                      <a:pt x="40" y="21"/>
                    </a:cubicBezTo>
                    <a:cubicBezTo>
                      <a:pt x="39" y="21"/>
                      <a:pt x="40" y="20"/>
                      <a:pt x="40" y="20"/>
                    </a:cubicBezTo>
                    <a:cubicBezTo>
                      <a:pt x="40" y="19"/>
                      <a:pt x="39" y="18"/>
                      <a:pt x="39" y="18"/>
                    </a:cubicBezTo>
                    <a:cubicBezTo>
                      <a:pt x="39" y="17"/>
                      <a:pt x="40" y="16"/>
                      <a:pt x="39" y="15"/>
                    </a:cubicBezTo>
                    <a:cubicBezTo>
                      <a:pt x="39" y="15"/>
                      <a:pt x="39" y="14"/>
                      <a:pt x="39" y="14"/>
                    </a:cubicBezTo>
                    <a:cubicBezTo>
                      <a:pt x="40" y="13"/>
                      <a:pt x="40" y="12"/>
                      <a:pt x="41" y="13"/>
                    </a:cubicBezTo>
                    <a:cubicBezTo>
                      <a:pt x="41" y="13"/>
                      <a:pt x="41" y="14"/>
                      <a:pt x="42" y="14"/>
                    </a:cubicBezTo>
                    <a:cubicBezTo>
                      <a:pt x="42" y="14"/>
                      <a:pt x="41" y="14"/>
                      <a:pt x="41" y="14"/>
                    </a:cubicBezTo>
                    <a:cubicBezTo>
                      <a:pt x="41" y="14"/>
                      <a:pt x="42" y="16"/>
                      <a:pt x="42" y="15"/>
                    </a:cubicBezTo>
                    <a:cubicBezTo>
                      <a:pt x="43" y="15"/>
                      <a:pt x="43" y="15"/>
                      <a:pt x="43" y="14"/>
                    </a:cubicBezTo>
                    <a:cubicBezTo>
                      <a:pt x="43" y="14"/>
                      <a:pt x="44" y="14"/>
                      <a:pt x="44" y="14"/>
                    </a:cubicBezTo>
                    <a:cubicBezTo>
                      <a:pt x="44" y="13"/>
                      <a:pt x="44" y="12"/>
                      <a:pt x="44" y="12"/>
                    </a:cubicBezTo>
                    <a:close/>
                    <a:moveTo>
                      <a:pt x="43" y="10"/>
                    </a:moveTo>
                    <a:cubicBezTo>
                      <a:pt x="43" y="8"/>
                      <a:pt x="44" y="10"/>
                      <a:pt x="43" y="10"/>
                    </a:cubicBezTo>
                    <a:close/>
                    <a:moveTo>
                      <a:pt x="27" y="18"/>
                    </a:moveTo>
                    <a:cubicBezTo>
                      <a:pt x="28" y="18"/>
                      <a:pt x="27" y="18"/>
                      <a:pt x="27" y="18"/>
                    </a:cubicBezTo>
                    <a:cubicBezTo>
                      <a:pt x="27" y="18"/>
                      <a:pt x="27" y="18"/>
                      <a:pt x="27" y="18"/>
                    </a:cubicBezTo>
                    <a:cubicBezTo>
                      <a:pt x="27" y="18"/>
                      <a:pt x="27" y="18"/>
                      <a:pt x="27" y="18"/>
                    </a:cubicBezTo>
                    <a:close/>
                    <a:moveTo>
                      <a:pt x="27" y="18"/>
                    </a:moveTo>
                    <a:cubicBezTo>
                      <a:pt x="26" y="18"/>
                      <a:pt x="27" y="17"/>
                      <a:pt x="27" y="17"/>
                    </a:cubicBezTo>
                    <a:cubicBezTo>
                      <a:pt x="27" y="17"/>
                      <a:pt x="27" y="18"/>
                      <a:pt x="27" y="18"/>
                    </a:cubicBezTo>
                    <a:close/>
                    <a:moveTo>
                      <a:pt x="16" y="21"/>
                    </a:moveTo>
                    <a:cubicBezTo>
                      <a:pt x="16" y="21"/>
                      <a:pt x="15" y="20"/>
                      <a:pt x="15" y="20"/>
                    </a:cubicBezTo>
                    <a:cubicBezTo>
                      <a:pt x="16" y="20"/>
                      <a:pt x="16" y="20"/>
                      <a:pt x="16" y="20"/>
                    </a:cubicBezTo>
                    <a:cubicBezTo>
                      <a:pt x="17" y="20"/>
                      <a:pt x="16" y="21"/>
                      <a:pt x="16" y="21"/>
                    </a:cubicBezTo>
                    <a:close/>
                    <a:moveTo>
                      <a:pt x="21" y="22"/>
                    </a:moveTo>
                    <a:cubicBezTo>
                      <a:pt x="21" y="22"/>
                      <a:pt x="19" y="22"/>
                      <a:pt x="19" y="22"/>
                    </a:cubicBezTo>
                    <a:cubicBezTo>
                      <a:pt x="19" y="22"/>
                      <a:pt x="20" y="21"/>
                      <a:pt x="20" y="21"/>
                    </a:cubicBezTo>
                    <a:cubicBezTo>
                      <a:pt x="21" y="21"/>
                      <a:pt x="21" y="21"/>
                      <a:pt x="21" y="21"/>
                    </a:cubicBezTo>
                    <a:cubicBezTo>
                      <a:pt x="21" y="21"/>
                      <a:pt x="23" y="21"/>
                      <a:pt x="22" y="22"/>
                    </a:cubicBezTo>
                    <a:cubicBezTo>
                      <a:pt x="22" y="22"/>
                      <a:pt x="22" y="22"/>
                      <a:pt x="21" y="22"/>
                    </a:cubicBezTo>
                    <a:cubicBezTo>
                      <a:pt x="21" y="21"/>
                      <a:pt x="21" y="22"/>
                      <a:pt x="21" y="2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8" name="Ukraine">
                <a:extLst>
                  <a:ext uri="{FF2B5EF4-FFF2-40B4-BE49-F238E27FC236}">
                    <a16:creationId xmlns:a16="http://schemas.microsoft.com/office/drawing/2014/main" id="{14782CC6-EC3C-147E-F300-BCE9B6E18328}"/>
                  </a:ext>
                </a:extLst>
              </p:cNvPr>
              <p:cNvSpPr/>
              <p:nvPr/>
            </p:nvSpPr>
            <p:spPr>
              <a:xfrm>
                <a:off x="6405341" y="2015220"/>
                <a:ext cx="542922" cy="271138"/>
              </a:xfrm>
              <a:custGeom>
                <a:avLst/>
                <a:gdLst>
                  <a:gd name="connsiteX0" fmla="*/ 707695 w 1492886"/>
                  <a:gd name="connsiteY0" fmla="*/ 635314 h 745554"/>
                  <a:gd name="connsiteX1" fmla="*/ 688002 w 1492886"/>
                  <a:gd name="connsiteY1" fmla="*/ 625595 h 745554"/>
                  <a:gd name="connsiteX2" fmla="*/ 678027 w 1492886"/>
                  <a:gd name="connsiteY2" fmla="*/ 625595 h 745554"/>
                  <a:gd name="connsiteX3" fmla="*/ 668308 w 1492886"/>
                  <a:gd name="connsiteY3" fmla="*/ 625595 h 745554"/>
                  <a:gd name="connsiteX4" fmla="*/ 658589 w 1492886"/>
                  <a:gd name="connsiteY4" fmla="*/ 615876 h 745554"/>
                  <a:gd name="connsiteX5" fmla="*/ 648870 w 1492886"/>
                  <a:gd name="connsiteY5" fmla="*/ 615876 h 745554"/>
                  <a:gd name="connsiteX6" fmla="*/ 648870 w 1492886"/>
                  <a:gd name="connsiteY6" fmla="*/ 625595 h 745554"/>
                  <a:gd name="connsiteX7" fmla="*/ 639151 w 1492886"/>
                  <a:gd name="connsiteY7" fmla="*/ 615876 h 745554"/>
                  <a:gd name="connsiteX8" fmla="*/ 629432 w 1492886"/>
                  <a:gd name="connsiteY8" fmla="*/ 615876 h 745554"/>
                  <a:gd name="connsiteX9" fmla="*/ 619457 w 1492886"/>
                  <a:gd name="connsiteY9" fmla="*/ 615876 h 745554"/>
                  <a:gd name="connsiteX10" fmla="*/ 609738 w 1492886"/>
                  <a:gd name="connsiteY10" fmla="*/ 625595 h 745554"/>
                  <a:gd name="connsiteX11" fmla="*/ 609738 w 1492886"/>
                  <a:gd name="connsiteY11" fmla="*/ 605902 h 745554"/>
                  <a:gd name="connsiteX12" fmla="*/ 600019 w 1492886"/>
                  <a:gd name="connsiteY12" fmla="*/ 605902 h 745554"/>
                  <a:gd name="connsiteX13" fmla="*/ 600019 w 1492886"/>
                  <a:gd name="connsiteY13" fmla="*/ 635314 h 745554"/>
                  <a:gd name="connsiteX14" fmla="*/ 590300 w 1492886"/>
                  <a:gd name="connsiteY14" fmla="*/ 655008 h 745554"/>
                  <a:gd name="connsiteX15" fmla="*/ 590300 w 1492886"/>
                  <a:gd name="connsiteY15" fmla="*/ 664727 h 745554"/>
                  <a:gd name="connsiteX16" fmla="*/ 576489 w 1492886"/>
                  <a:gd name="connsiteY16" fmla="*/ 668308 h 745554"/>
                  <a:gd name="connsiteX17" fmla="*/ 580581 w 1492886"/>
                  <a:gd name="connsiteY17" fmla="*/ 674702 h 745554"/>
                  <a:gd name="connsiteX18" fmla="*/ 570862 w 1492886"/>
                  <a:gd name="connsiteY18" fmla="*/ 684421 h 745554"/>
                  <a:gd name="connsiteX19" fmla="*/ 561143 w 1492886"/>
                  <a:gd name="connsiteY19" fmla="*/ 684421 h 745554"/>
                  <a:gd name="connsiteX20" fmla="*/ 561143 w 1492886"/>
                  <a:gd name="connsiteY20" fmla="*/ 694140 h 745554"/>
                  <a:gd name="connsiteX21" fmla="*/ 561143 w 1492886"/>
                  <a:gd name="connsiteY21" fmla="*/ 703859 h 745554"/>
                  <a:gd name="connsiteX22" fmla="*/ 551424 w 1492886"/>
                  <a:gd name="connsiteY22" fmla="*/ 713578 h 745554"/>
                  <a:gd name="connsiteX23" fmla="*/ 541705 w 1492886"/>
                  <a:gd name="connsiteY23" fmla="*/ 713578 h 745554"/>
                  <a:gd name="connsiteX24" fmla="*/ 541705 w 1492886"/>
                  <a:gd name="connsiteY24" fmla="*/ 723297 h 745554"/>
                  <a:gd name="connsiteX25" fmla="*/ 551424 w 1492886"/>
                  <a:gd name="connsiteY25" fmla="*/ 733016 h 745554"/>
                  <a:gd name="connsiteX26" fmla="*/ 590812 w 1492886"/>
                  <a:gd name="connsiteY26" fmla="*/ 742735 h 745554"/>
                  <a:gd name="connsiteX27" fmla="*/ 590812 w 1492886"/>
                  <a:gd name="connsiteY27" fmla="*/ 733016 h 745554"/>
                  <a:gd name="connsiteX28" fmla="*/ 597973 w 1492886"/>
                  <a:gd name="connsiteY28" fmla="*/ 737364 h 745554"/>
                  <a:gd name="connsiteX29" fmla="*/ 600531 w 1492886"/>
                  <a:gd name="connsiteY29" fmla="*/ 733016 h 745554"/>
                  <a:gd name="connsiteX30" fmla="*/ 620225 w 1492886"/>
                  <a:gd name="connsiteY30" fmla="*/ 733016 h 745554"/>
                  <a:gd name="connsiteX31" fmla="*/ 630199 w 1492886"/>
                  <a:gd name="connsiteY31" fmla="*/ 723297 h 745554"/>
                  <a:gd name="connsiteX32" fmla="*/ 639918 w 1492886"/>
                  <a:gd name="connsiteY32" fmla="*/ 723297 h 745554"/>
                  <a:gd name="connsiteX33" fmla="*/ 659612 w 1492886"/>
                  <a:gd name="connsiteY33" fmla="*/ 742990 h 745554"/>
                  <a:gd name="connsiteX34" fmla="*/ 669331 w 1492886"/>
                  <a:gd name="connsiteY34" fmla="*/ 723297 h 745554"/>
                  <a:gd name="connsiteX35" fmla="*/ 659612 w 1492886"/>
                  <a:gd name="connsiteY35" fmla="*/ 723297 h 745554"/>
                  <a:gd name="connsiteX36" fmla="*/ 659612 w 1492886"/>
                  <a:gd name="connsiteY36" fmla="*/ 713578 h 745554"/>
                  <a:gd name="connsiteX37" fmla="*/ 659612 w 1492886"/>
                  <a:gd name="connsiteY37" fmla="*/ 703859 h 745554"/>
                  <a:gd name="connsiteX38" fmla="*/ 649893 w 1492886"/>
                  <a:gd name="connsiteY38" fmla="*/ 694140 h 745554"/>
                  <a:gd name="connsiteX39" fmla="*/ 653985 w 1492886"/>
                  <a:gd name="connsiteY39" fmla="*/ 685700 h 745554"/>
                  <a:gd name="connsiteX40" fmla="*/ 669587 w 1492886"/>
                  <a:gd name="connsiteY40" fmla="*/ 704114 h 745554"/>
                  <a:gd name="connsiteX41" fmla="*/ 698999 w 1492886"/>
                  <a:gd name="connsiteY41" fmla="*/ 684421 h 745554"/>
                  <a:gd name="connsiteX42" fmla="*/ 688002 w 1492886"/>
                  <a:gd name="connsiteY42" fmla="*/ 684421 h 745554"/>
                  <a:gd name="connsiteX43" fmla="*/ 678027 w 1492886"/>
                  <a:gd name="connsiteY43" fmla="*/ 694140 h 745554"/>
                  <a:gd name="connsiteX44" fmla="*/ 678027 w 1492886"/>
                  <a:gd name="connsiteY44" fmla="*/ 684421 h 745554"/>
                  <a:gd name="connsiteX45" fmla="*/ 682886 w 1492886"/>
                  <a:gd name="connsiteY45" fmla="*/ 680840 h 745554"/>
                  <a:gd name="connsiteX46" fmla="*/ 687746 w 1492886"/>
                  <a:gd name="connsiteY46" fmla="*/ 684421 h 745554"/>
                  <a:gd name="connsiteX47" fmla="*/ 697465 w 1492886"/>
                  <a:gd name="connsiteY47" fmla="*/ 674702 h 745554"/>
                  <a:gd name="connsiteX48" fmla="*/ 697465 w 1492886"/>
                  <a:gd name="connsiteY48" fmla="*/ 684421 h 745554"/>
                  <a:gd name="connsiteX49" fmla="*/ 707184 w 1492886"/>
                  <a:gd name="connsiteY49" fmla="*/ 664727 h 745554"/>
                  <a:gd name="connsiteX50" fmla="*/ 716903 w 1492886"/>
                  <a:gd name="connsiteY50" fmla="*/ 655008 h 745554"/>
                  <a:gd name="connsiteX51" fmla="*/ 707695 w 1492886"/>
                  <a:gd name="connsiteY51" fmla="*/ 635314 h 745554"/>
                  <a:gd name="connsiteX52" fmla="*/ 669075 w 1492886"/>
                  <a:gd name="connsiteY52" fmla="*/ 703091 h 745554"/>
                  <a:gd name="connsiteX53" fmla="*/ 668308 w 1492886"/>
                  <a:gd name="connsiteY53" fmla="*/ 693884 h 745554"/>
                  <a:gd name="connsiteX54" fmla="*/ 678027 w 1492886"/>
                  <a:gd name="connsiteY54" fmla="*/ 693884 h 745554"/>
                  <a:gd name="connsiteX55" fmla="*/ 669075 w 1492886"/>
                  <a:gd name="connsiteY55" fmla="*/ 703091 h 745554"/>
                  <a:gd name="connsiteX56" fmla="*/ 726366 w 1492886"/>
                  <a:gd name="connsiteY56" fmla="*/ 650148 h 745554"/>
                  <a:gd name="connsiteX57" fmla="*/ 717414 w 1492886"/>
                  <a:gd name="connsiteY57" fmla="*/ 654752 h 745554"/>
                  <a:gd name="connsiteX58" fmla="*/ 727389 w 1492886"/>
                  <a:gd name="connsiteY58" fmla="*/ 654752 h 745554"/>
                  <a:gd name="connsiteX59" fmla="*/ 726366 w 1492886"/>
                  <a:gd name="connsiteY59" fmla="*/ 650148 h 745554"/>
                  <a:gd name="connsiteX60" fmla="*/ 835321 w 1492886"/>
                  <a:gd name="connsiteY60" fmla="*/ 625340 h 745554"/>
                  <a:gd name="connsiteX61" fmla="*/ 825602 w 1492886"/>
                  <a:gd name="connsiteY61" fmla="*/ 625340 h 745554"/>
                  <a:gd name="connsiteX62" fmla="*/ 835321 w 1492886"/>
                  <a:gd name="connsiteY62" fmla="*/ 625340 h 745554"/>
                  <a:gd name="connsiteX63" fmla="*/ 1110522 w 1492886"/>
                  <a:gd name="connsiteY63" fmla="*/ 654752 h 745554"/>
                  <a:gd name="connsiteX64" fmla="*/ 1110777 w 1492886"/>
                  <a:gd name="connsiteY64" fmla="*/ 652195 h 745554"/>
                  <a:gd name="connsiteX65" fmla="*/ 1110522 w 1492886"/>
                  <a:gd name="connsiteY65" fmla="*/ 654752 h 745554"/>
                  <a:gd name="connsiteX66" fmla="*/ 1110777 w 1492886"/>
                  <a:gd name="connsiteY66" fmla="*/ 652195 h 745554"/>
                  <a:gd name="connsiteX67" fmla="*/ 1120241 w 1492886"/>
                  <a:gd name="connsiteY67" fmla="*/ 645033 h 745554"/>
                  <a:gd name="connsiteX68" fmla="*/ 1110777 w 1492886"/>
                  <a:gd name="connsiteY68" fmla="*/ 652195 h 745554"/>
                  <a:gd name="connsiteX69" fmla="*/ 1357588 w 1492886"/>
                  <a:gd name="connsiteY69" fmla="*/ 551424 h 745554"/>
                  <a:gd name="connsiteX70" fmla="*/ 1356309 w 1492886"/>
                  <a:gd name="connsiteY70" fmla="*/ 556795 h 745554"/>
                  <a:gd name="connsiteX71" fmla="*/ 1357588 w 1492886"/>
                  <a:gd name="connsiteY71" fmla="*/ 551424 h 745554"/>
                  <a:gd name="connsiteX72" fmla="*/ 992615 w 1492886"/>
                  <a:gd name="connsiteY72" fmla="*/ 635314 h 745554"/>
                  <a:gd name="connsiteX73" fmla="*/ 1012309 w 1492886"/>
                  <a:gd name="connsiteY73" fmla="*/ 635314 h 745554"/>
                  <a:gd name="connsiteX74" fmla="*/ 1032002 w 1492886"/>
                  <a:gd name="connsiteY74" fmla="*/ 645033 h 745554"/>
                  <a:gd name="connsiteX75" fmla="*/ 1032002 w 1492886"/>
                  <a:gd name="connsiteY75" fmla="*/ 635314 h 745554"/>
                  <a:gd name="connsiteX76" fmla="*/ 1051696 w 1492886"/>
                  <a:gd name="connsiteY76" fmla="*/ 655008 h 745554"/>
                  <a:gd name="connsiteX77" fmla="*/ 1051696 w 1492886"/>
                  <a:gd name="connsiteY77" fmla="*/ 635314 h 745554"/>
                  <a:gd name="connsiteX78" fmla="*/ 1061671 w 1492886"/>
                  <a:gd name="connsiteY78" fmla="*/ 645033 h 745554"/>
                  <a:gd name="connsiteX79" fmla="*/ 1070623 w 1492886"/>
                  <a:gd name="connsiteY79" fmla="*/ 644522 h 745554"/>
                  <a:gd name="connsiteX80" fmla="*/ 1061927 w 1492886"/>
                  <a:gd name="connsiteY80" fmla="*/ 650916 h 745554"/>
                  <a:gd name="connsiteX81" fmla="*/ 1061927 w 1492886"/>
                  <a:gd name="connsiteY81" fmla="*/ 654752 h 745554"/>
                  <a:gd name="connsiteX82" fmla="*/ 1061927 w 1492886"/>
                  <a:gd name="connsiteY82" fmla="*/ 664471 h 745554"/>
                  <a:gd name="connsiteX83" fmla="*/ 1071646 w 1492886"/>
                  <a:gd name="connsiteY83" fmla="*/ 654752 h 745554"/>
                  <a:gd name="connsiteX84" fmla="*/ 1071646 w 1492886"/>
                  <a:gd name="connsiteY84" fmla="*/ 644522 h 745554"/>
                  <a:gd name="connsiteX85" fmla="*/ 1081365 w 1492886"/>
                  <a:gd name="connsiteY85" fmla="*/ 645033 h 745554"/>
                  <a:gd name="connsiteX86" fmla="*/ 1091339 w 1492886"/>
                  <a:gd name="connsiteY86" fmla="*/ 653985 h 745554"/>
                  <a:gd name="connsiteX87" fmla="*/ 1081365 w 1492886"/>
                  <a:gd name="connsiteY87" fmla="*/ 655008 h 745554"/>
                  <a:gd name="connsiteX88" fmla="*/ 1091084 w 1492886"/>
                  <a:gd name="connsiteY88" fmla="*/ 655519 h 745554"/>
                  <a:gd name="connsiteX89" fmla="*/ 1091084 w 1492886"/>
                  <a:gd name="connsiteY89" fmla="*/ 672400 h 745554"/>
                  <a:gd name="connsiteX90" fmla="*/ 1091595 w 1492886"/>
                  <a:gd name="connsiteY90" fmla="*/ 682375 h 745554"/>
                  <a:gd name="connsiteX91" fmla="*/ 1100803 w 1492886"/>
                  <a:gd name="connsiteY91" fmla="*/ 684421 h 745554"/>
                  <a:gd name="connsiteX92" fmla="*/ 1102337 w 1492886"/>
                  <a:gd name="connsiteY92" fmla="*/ 685188 h 745554"/>
                  <a:gd name="connsiteX93" fmla="*/ 1109498 w 1492886"/>
                  <a:gd name="connsiteY93" fmla="*/ 685188 h 745554"/>
                  <a:gd name="connsiteX94" fmla="*/ 1100803 w 1492886"/>
                  <a:gd name="connsiteY94" fmla="*/ 674702 h 745554"/>
                  <a:gd name="connsiteX95" fmla="*/ 1090828 w 1492886"/>
                  <a:gd name="connsiteY95" fmla="*/ 645289 h 745554"/>
                  <a:gd name="connsiteX96" fmla="*/ 1090828 w 1492886"/>
                  <a:gd name="connsiteY96" fmla="*/ 635570 h 745554"/>
                  <a:gd name="connsiteX97" fmla="*/ 1100803 w 1492886"/>
                  <a:gd name="connsiteY97" fmla="*/ 635570 h 745554"/>
                  <a:gd name="connsiteX98" fmla="*/ 1110522 w 1492886"/>
                  <a:gd name="connsiteY98" fmla="*/ 625851 h 745554"/>
                  <a:gd name="connsiteX99" fmla="*/ 1120241 w 1492886"/>
                  <a:gd name="connsiteY99" fmla="*/ 616132 h 745554"/>
                  <a:gd name="connsiteX100" fmla="*/ 1120241 w 1492886"/>
                  <a:gd name="connsiteY100" fmla="*/ 606413 h 745554"/>
                  <a:gd name="connsiteX101" fmla="*/ 1129960 w 1492886"/>
                  <a:gd name="connsiteY101" fmla="*/ 626107 h 745554"/>
                  <a:gd name="connsiteX102" fmla="*/ 1125100 w 1492886"/>
                  <a:gd name="connsiteY102" fmla="*/ 632245 h 745554"/>
                  <a:gd name="connsiteX103" fmla="*/ 1120241 w 1492886"/>
                  <a:gd name="connsiteY103" fmla="*/ 645801 h 745554"/>
                  <a:gd name="connsiteX104" fmla="*/ 1129960 w 1492886"/>
                  <a:gd name="connsiteY104" fmla="*/ 636082 h 745554"/>
                  <a:gd name="connsiteX105" fmla="*/ 1149653 w 1492886"/>
                  <a:gd name="connsiteY105" fmla="*/ 616388 h 745554"/>
                  <a:gd name="connsiteX106" fmla="*/ 1169347 w 1492886"/>
                  <a:gd name="connsiteY106" fmla="*/ 596694 h 745554"/>
                  <a:gd name="connsiteX107" fmla="*/ 1208734 w 1492886"/>
                  <a:gd name="connsiteY107" fmla="*/ 596694 h 745554"/>
                  <a:gd name="connsiteX108" fmla="*/ 1214873 w 1492886"/>
                  <a:gd name="connsiteY108" fmla="*/ 586975 h 745554"/>
                  <a:gd name="connsiteX109" fmla="*/ 1228428 w 1492886"/>
                  <a:gd name="connsiteY109" fmla="*/ 577256 h 745554"/>
                  <a:gd name="connsiteX110" fmla="*/ 1248122 w 1492886"/>
                  <a:gd name="connsiteY110" fmla="*/ 586975 h 745554"/>
                  <a:gd name="connsiteX111" fmla="*/ 1267816 w 1492886"/>
                  <a:gd name="connsiteY111" fmla="*/ 577256 h 745554"/>
                  <a:gd name="connsiteX112" fmla="*/ 1287509 w 1492886"/>
                  <a:gd name="connsiteY112" fmla="*/ 567537 h 745554"/>
                  <a:gd name="connsiteX113" fmla="*/ 1297228 w 1492886"/>
                  <a:gd name="connsiteY113" fmla="*/ 567537 h 745554"/>
                  <a:gd name="connsiteX114" fmla="*/ 1306947 w 1492886"/>
                  <a:gd name="connsiteY114" fmla="*/ 547843 h 745554"/>
                  <a:gd name="connsiteX115" fmla="*/ 1316666 w 1492886"/>
                  <a:gd name="connsiteY115" fmla="*/ 547843 h 745554"/>
                  <a:gd name="connsiteX116" fmla="*/ 1326385 w 1492886"/>
                  <a:gd name="connsiteY116" fmla="*/ 547843 h 745554"/>
                  <a:gd name="connsiteX117" fmla="*/ 1357077 w 1492886"/>
                  <a:gd name="connsiteY117" fmla="*/ 552447 h 745554"/>
                  <a:gd name="connsiteX118" fmla="*/ 1365517 w 1492886"/>
                  <a:gd name="connsiteY118" fmla="*/ 547843 h 745554"/>
                  <a:gd name="connsiteX119" fmla="*/ 1365517 w 1492886"/>
                  <a:gd name="connsiteY119" fmla="*/ 538124 h 745554"/>
                  <a:gd name="connsiteX120" fmla="*/ 1365517 w 1492886"/>
                  <a:gd name="connsiteY120" fmla="*/ 518431 h 745554"/>
                  <a:gd name="connsiteX121" fmla="*/ 1365517 w 1492886"/>
                  <a:gd name="connsiteY121" fmla="*/ 498737 h 745554"/>
                  <a:gd name="connsiteX122" fmla="*/ 1375236 w 1492886"/>
                  <a:gd name="connsiteY122" fmla="*/ 489018 h 745554"/>
                  <a:gd name="connsiteX123" fmla="*/ 1384955 w 1492886"/>
                  <a:gd name="connsiteY123" fmla="*/ 489018 h 745554"/>
                  <a:gd name="connsiteX124" fmla="*/ 1404649 w 1492886"/>
                  <a:gd name="connsiteY124" fmla="*/ 489018 h 745554"/>
                  <a:gd name="connsiteX125" fmla="*/ 1404649 w 1492886"/>
                  <a:gd name="connsiteY125" fmla="*/ 469324 h 745554"/>
                  <a:gd name="connsiteX126" fmla="*/ 1414368 w 1492886"/>
                  <a:gd name="connsiteY126" fmla="*/ 469324 h 745554"/>
                  <a:gd name="connsiteX127" fmla="*/ 1434061 w 1492886"/>
                  <a:gd name="connsiteY127" fmla="*/ 469324 h 745554"/>
                  <a:gd name="connsiteX128" fmla="*/ 1453755 w 1492886"/>
                  <a:gd name="connsiteY128" fmla="*/ 469324 h 745554"/>
                  <a:gd name="connsiteX129" fmla="*/ 1473449 w 1492886"/>
                  <a:gd name="connsiteY129" fmla="*/ 469324 h 745554"/>
                  <a:gd name="connsiteX130" fmla="*/ 1483168 w 1492886"/>
                  <a:gd name="connsiteY130" fmla="*/ 459605 h 745554"/>
                  <a:gd name="connsiteX131" fmla="*/ 1483168 w 1492886"/>
                  <a:gd name="connsiteY131" fmla="*/ 449886 h 745554"/>
                  <a:gd name="connsiteX132" fmla="*/ 1492887 w 1492886"/>
                  <a:gd name="connsiteY132" fmla="*/ 430193 h 745554"/>
                  <a:gd name="connsiteX133" fmla="*/ 1492887 w 1492886"/>
                  <a:gd name="connsiteY133" fmla="*/ 420474 h 745554"/>
                  <a:gd name="connsiteX134" fmla="*/ 1483168 w 1492886"/>
                  <a:gd name="connsiteY134" fmla="*/ 420474 h 745554"/>
                  <a:gd name="connsiteX135" fmla="*/ 1483168 w 1492886"/>
                  <a:gd name="connsiteY135" fmla="*/ 400780 h 745554"/>
                  <a:gd name="connsiteX136" fmla="*/ 1473449 w 1492886"/>
                  <a:gd name="connsiteY136" fmla="*/ 391061 h 745554"/>
                  <a:gd name="connsiteX137" fmla="*/ 1463474 w 1492886"/>
                  <a:gd name="connsiteY137" fmla="*/ 391061 h 745554"/>
                  <a:gd name="connsiteX138" fmla="*/ 1463474 w 1492886"/>
                  <a:gd name="connsiteY138" fmla="*/ 371367 h 745554"/>
                  <a:gd name="connsiteX139" fmla="*/ 1483168 w 1492886"/>
                  <a:gd name="connsiteY139" fmla="*/ 371367 h 745554"/>
                  <a:gd name="connsiteX140" fmla="*/ 1492887 w 1492886"/>
                  <a:gd name="connsiteY140" fmla="*/ 361648 h 745554"/>
                  <a:gd name="connsiteX141" fmla="*/ 1483168 w 1492886"/>
                  <a:gd name="connsiteY141" fmla="*/ 361648 h 745554"/>
                  <a:gd name="connsiteX142" fmla="*/ 1453755 w 1492886"/>
                  <a:gd name="connsiteY142" fmla="*/ 351929 h 745554"/>
                  <a:gd name="connsiteX143" fmla="*/ 1473449 w 1492886"/>
                  <a:gd name="connsiteY143" fmla="*/ 342210 h 745554"/>
                  <a:gd name="connsiteX144" fmla="*/ 1483168 w 1492886"/>
                  <a:gd name="connsiteY144" fmla="*/ 332491 h 745554"/>
                  <a:gd name="connsiteX145" fmla="*/ 1483168 w 1492886"/>
                  <a:gd name="connsiteY145" fmla="*/ 322772 h 745554"/>
                  <a:gd name="connsiteX146" fmla="*/ 1483168 w 1492886"/>
                  <a:gd name="connsiteY146" fmla="*/ 303079 h 745554"/>
                  <a:gd name="connsiteX147" fmla="*/ 1483168 w 1492886"/>
                  <a:gd name="connsiteY147" fmla="*/ 283385 h 745554"/>
                  <a:gd name="connsiteX148" fmla="*/ 1463474 w 1492886"/>
                  <a:gd name="connsiteY148" fmla="*/ 293104 h 745554"/>
                  <a:gd name="connsiteX149" fmla="*/ 1443780 w 1492886"/>
                  <a:gd name="connsiteY149" fmla="*/ 273410 h 745554"/>
                  <a:gd name="connsiteX150" fmla="*/ 1414368 w 1492886"/>
                  <a:gd name="connsiteY150" fmla="*/ 273410 h 745554"/>
                  <a:gd name="connsiteX151" fmla="*/ 1394674 w 1492886"/>
                  <a:gd name="connsiteY151" fmla="*/ 253716 h 745554"/>
                  <a:gd name="connsiteX152" fmla="*/ 1374980 w 1492886"/>
                  <a:gd name="connsiteY152" fmla="*/ 263435 h 745554"/>
                  <a:gd name="connsiteX153" fmla="*/ 1365261 w 1492886"/>
                  <a:gd name="connsiteY153" fmla="*/ 253716 h 745554"/>
                  <a:gd name="connsiteX154" fmla="*/ 1355542 w 1492886"/>
                  <a:gd name="connsiteY154" fmla="*/ 243998 h 745554"/>
                  <a:gd name="connsiteX155" fmla="*/ 1335848 w 1492886"/>
                  <a:gd name="connsiteY155" fmla="*/ 243998 h 745554"/>
                  <a:gd name="connsiteX156" fmla="*/ 1325874 w 1492886"/>
                  <a:gd name="connsiteY156" fmla="*/ 234279 h 745554"/>
                  <a:gd name="connsiteX157" fmla="*/ 1316155 w 1492886"/>
                  <a:gd name="connsiteY157" fmla="*/ 243998 h 745554"/>
                  <a:gd name="connsiteX158" fmla="*/ 1306436 w 1492886"/>
                  <a:gd name="connsiteY158" fmla="*/ 253716 h 745554"/>
                  <a:gd name="connsiteX159" fmla="*/ 1296717 w 1492886"/>
                  <a:gd name="connsiteY159" fmla="*/ 243998 h 745554"/>
                  <a:gd name="connsiteX160" fmla="*/ 1277023 w 1492886"/>
                  <a:gd name="connsiteY160" fmla="*/ 234279 h 745554"/>
                  <a:gd name="connsiteX161" fmla="*/ 1267304 w 1492886"/>
                  <a:gd name="connsiteY161" fmla="*/ 214585 h 745554"/>
                  <a:gd name="connsiteX162" fmla="*/ 1257585 w 1492886"/>
                  <a:gd name="connsiteY162" fmla="*/ 204866 h 745554"/>
                  <a:gd name="connsiteX163" fmla="*/ 1247866 w 1492886"/>
                  <a:gd name="connsiteY163" fmla="*/ 195147 h 745554"/>
                  <a:gd name="connsiteX164" fmla="*/ 1228172 w 1492886"/>
                  <a:gd name="connsiteY164" fmla="*/ 204866 h 745554"/>
                  <a:gd name="connsiteX165" fmla="*/ 1208479 w 1492886"/>
                  <a:gd name="connsiteY165" fmla="*/ 204866 h 745554"/>
                  <a:gd name="connsiteX166" fmla="*/ 1188785 w 1492886"/>
                  <a:gd name="connsiteY166" fmla="*/ 224560 h 745554"/>
                  <a:gd name="connsiteX167" fmla="*/ 1178810 w 1492886"/>
                  <a:gd name="connsiteY167" fmla="*/ 214841 h 745554"/>
                  <a:gd name="connsiteX168" fmla="*/ 1149397 w 1492886"/>
                  <a:gd name="connsiteY168" fmla="*/ 205122 h 745554"/>
                  <a:gd name="connsiteX169" fmla="*/ 1110010 w 1492886"/>
                  <a:gd name="connsiteY169" fmla="*/ 205122 h 745554"/>
                  <a:gd name="connsiteX170" fmla="*/ 1090316 w 1492886"/>
                  <a:gd name="connsiteY170" fmla="*/ 195403 h 745554"/>
                  <a:gd name="connsiteX171" fmla="*/ 1080597 w 1492886"/>
                  <a:gd name="connsiteY171" fmla="*/ 175709 h 745554"/>
                  <a:gd name="connsiteX172" fmla="*/ 1080597 w 1492886"/>
                  <a:gd name="connsiteY172" fmla="*/ 165990 h 745554"/>
                  <a:gd name="connsiteX173" fmla="*/ 1070878 w 1492886"/>
                  <a:gd name="connsiteY173" fmla="*/ 156271 h 745554"/>
                  <a:gd name="connsiteX174" fmla="*/ 1061159 w 1492886"/>
                  <a:gd name="connsiteY174" fmla="*/ 146552 h 745554"/>
                  <a:gd name="connsiteX175" fmla="*/ 1061159 w 1492886"/>
                  <a:gd name="connsiteY175" fmla="*/ 136833 h 745554"/>
                  <a:gd name="connsiteX176" fmla="*/ 1051185 w 1492886"/>
                  <a:gd name="connsiteY176" fmla="*/ 136833 h 745554"/>
                  <a:gd name="connsiteX177" fmla="*/ 1031491 w 1492886"/>
                  <a:gd name="connsiteY177" fmla="*/ 117139 h 745554"/>
                  <a:gd name="connsiteX178" fmla="*/ 1011797 w 1492886"/>
                  <a:gd name="connsiteY178" fmla="*/ 117139 h 745554"/>
                  <a:gd name="connsiteX179" fmla="*/ 1002078 w 1492886"/>
                  <a:gd name="connsiteY179" fmla="*/ 117139 h 745554"/>
                  <a:gd name="connsiteX180" fmla="*/ 982384 w 1492886"/>
                  <a:gd name="connsiteY180" fmla="*/ 117139 h 745554"/>
                  <a:gd name="connsiteX181" fmla="*/ 972665 w 1492886"/>
                  <a:gd name="connsiteY181" fmla="*/ 117139 h 745554"/>
                  <a:gd name="connsiteX182" fmla="*/ 972665 w 1492886"/>
                  <a:gd name="connsiteY182" fmla="*/ 97446 h 745554"/>
                  <a:gd name="connsiteX183" fmla="*/ 962946 w 1492886"/>
                  <a:gd name="connsiteY183" fmla="*/ 87727 h 745554"/>
                  <a:gd name="connsiteX184" fmla="*/ 962946 w 1492886"/>
                  <a:gd name="connsiteY184" fmla="*/ 78008 h 745554"/>
                  <a:gd name="connsiteX185" fmla="*/ 952972 w 1492886"/>
                  <a:gd name="connsiteY185" fmla="*/ 68289 h 745554"/>
                  <a:gd name="connsiteX186" fmla="*/ 972665 w 1492886"/>
                  <a:gd name="connsiteY186" fmla="*/ 58570 h 745554"/>
                  <a:gd name="connsiteX187" fmla="*/ 962946 w 1492886"/>
                  <a:gd name="connsiteY187" fmla="*/ 48851 h 745554"/>
                  <a:gd name="connsiteX188" fmla="*/ 952972 w 1492886"/>
                  <a:gd name="connsiteY188" fmla="*/ 39132 h 745554"/>
                  <a:gd name="connsiteX189" fmla="*/ 943253 w 1492886"/>
                  <a:gd name="connsiteY189" fmla="*/ 29413 h 745554"/>
                  <a:gd name="connsiteX190" fmla="*/ 943253 w 1492886"/>
                  <a:gd name="connsiteY190" fmla="*/ 9719 h 745554"/>
                  <a:gd name="connsiteX191" fmla="*/ 913840 w 1492886"/>
                  <a:gd name="connsiteY191" fmla="*/ 0 h 745554"/>
                  <a:gd name="connsiteX192" fmla="*/ 894146 w 1492886"/>
                  <a:gd name="connsiteY192" fmla="*/ 9719 h 745554"/>
                  <a:gd name="connsiteX193" fmla="*/ 894146 w 1492886"/>
                  <a:gd name="connsiteY193" fmla="*/ 0 h 745554"/>
                  <a:gd name="connsiteX194" fmla="*/ 884427 w 1492886"/>
                  <a:gd name="connsiteY194" fmla="*/ 0 h 745554"/>
                  <a:gd name="connsiteX195" fmla="*/ 864734 w 1492886"/>
                  <a:gd name="connsiteY195" fmla="*/ 0 h 745554"/>
                  <a:gd name="connsiteX196" fmla="*/ 855015 w 1492886"/>
                  <a:gd name="connsiteY196" fmla="*/ 9719 h 745554"/>
                  <a:gd name="connsiteX197" fmla="*/ 825602 w 1492886"/>
                  <a:gd name="connsiteY197" fmla="*/ 0 h 745554"/>
                  <a:gd name="connsiteX198" fmla="*/ 805908 w 1492886"/>
                  <a:gd name="connsiteY198" fmla="*/ 9719 h 745554"/>
                  <a:gd name="connsiteX199" fmla="*/ 796189 w 1492886"/>
                  <a:gd name="connsiteY199" fmla="*/ 29413 h 745554"/>
                  <a:gd name="connsiteX200" fmla="*/ 776496 w 1492886"/>
                  <a:gd name="connsiteY200" fmla="*/ 29413 h 745554"/>
                  <a:gd name="connsiteX201" fmla="*/ 766521 w 1492886"/>
                  <a:gd name="connsiteY201" fmla="*/ 29413 h 745554"/>
                  <a:gd name="connsiteX202" fmla="*/ 756802 w 1492886"/>
                  <a:gd name="connsiteY202" fmla="*/ 29413 h 745554"/>
                  <a:gd name="connsiteX203" fmla="*/ 717414 w 1492886"/>
                  <a:gd name="connsiteY203" fmla="*/ 29413 h 745554"/>
                  <a:gd name="connsiteX204" fmla="*/ 688002 w 1492886"/>
                  <a:gd name="connsiteY204" fmla="*/ 29413 h 745554"/>
                  <a:gd name="connsiteX205" fmla="*/ 688002 w 1492886"/>
                  <a:gd name="connsiteY205" fmla="*/ 39132 h 745554"/>
                  <a:gd name="connsiteX206" fmla="*/ 678027 w 1492886"/>
                  <a:gd name="connsiteY206" fmla="*/ 48851 h 745554"/>
                  <a:gd name="connsiteX207" fmla="*/ 668308 w 1492886"/>
                  <a:gd name="connsiteY207" fmla="*/ 58570 h 745554"/>
                  <a:gd name="connsiteX208" fmla="*/ 668308 w 1492886"/>
                  <a:gd name="connsiteY208" fmla="*/ 68289 h 745554"/>
                  <a:gd name="connsiteX209" fmla="*/ 659612 w 1492886"/>
                  <a:gd name="connsiteY209" fmla="*/ 76985 h 745554"/>
                  <a:gd name="connsiteX210" fmla="*/ 658333 w 1492886"/>
                  <a:gd name="connsiteY210" fmla="*/ 78263 h 745554"/>
                  <a:gd name="connsiteX211" fmla="*/ 668052 w 1492886"/>
                  <a:gd name="connsiteY211" fmla="*/ 87982 h 745554"/>
                  <a:gd name="connsiteX212" fmla="*/ 668052 w 1492886"/>
                  <a:gd name="connsiteY212" fmla="*/ 97701 h 745554"/>
                  <a:gd name="connsiteX213" fmla="*/ 677771 w 1492886"/>
                  <a:gd name="connsiteY213" fmla="*/ 107420 h 745554"/>
                  <a:gd name="connsiteX214" fmla="*/ 668052 w 1492886"/>
                  <a:gd name="connsiteY214" fmla="*/ 117139 h 745554"/>
                  <a:gd name="connsiteX215" fmla="*/ 648358 w 1492886"/>
                  <a:gd name="connsiteY215" fmla="*/ 97446 h 745554"/>
                  <a:gd name="connsiteX216" fmla="*/ 638639 w 1492886"/>
                  <a:gd name="connsiteY216" fmla="*/ 87727 h 745554"/>
                  <a:gd name="connsiteX217" fmla="*/ 609227 w 1492886"/>
                  <a:gd name="connsiteY217" fmla="*/ 87727 h 745554"/>
                  <a:gd name="connsiteX218" fmla="*/ 599508 w 1492886"/>
                  <a:gd name="connsiteY218" fmla="*/ 97446 h 745554"/>
                  <a:gd name="connsiteX219" fmla="*/ 599508 w 1492886"/>
                  <a:gd name="connsiteY219" fmla="*/ 87727 h 745554"/>
                  <a:gd name="connsiteX220" fmla="*/ 579814 w 1492886"/>
                  <a:gd name="connsiteY220" fmla="*/ 97446 h 745554"/>
                  <a:gd name="connsiteX221" fmla="*/ 570095 w 1492886"/>
                  <a:gd name="connsiteY221" fmla="*/ 97446 h 745554"/>
                  <a:gd name="connsiteX222" fmla="*/ 560376 w 1492886"/>
                  <a:gd name="connsiteY222" fmla="*/ 87727 h 745554"/>
                  <a:gd name="connsiteX223" fmla="*/ 560376 w 1492886"/>
                  <a:gd name="connsiteY223" fmla="*/ 78008 h 745554"/>
                  <a:gd name="connsiteX224" fmla="*/ 550657 w 1492886"/>
                  <a:gd name="connsiteY224" fmla="*/ 78008 h 745554"/>
                  <a:gd name="connsiteX225" fmla="*/ 540938 w 1492886"/>
                  <a:gd name="connsiteY225" fmla="*/ 78008 h 745554"/>
                  <a:gd name="connsiteX226" fmla="*/ 527383 w 1492886"/>
                  <a:gd name="connsiteY226" fmla="*/ 79286 h 745554"/>
                  <a:gd name="connsiteX227" fmla="*/ 521244 w 1492886"/>
                  <a:gd name="connsiteY227" fmla="*/ 87982 h 745554"/>
                  <a:gd name="connsiteX228" fmla="*/ 521244 w 1492886"/>
                  <a:gd name="connsiteY228" fmla="*/ 97701 h 745554"/>
                  <a:gd name="connsiteX229" fmla="*/ 511525 w 1492886"/>
                  <a:gd name="connsiteY229" fmla="*/ 87982 h 745554"/>
                  <a:gd name="connsiteX230" fmla="*/ 501806 w 1492886"/>
                  <a:gd name="connsiteY230" fmla="*/ 78263 h 745554"/>
                  <a:gd name="connsiteX231" fmla="*/ 482113 w 1492886"/>
                  <a:gd name="connsiteY231" fmla="*/ 78263 h 745554"/>
                  <a:gd name="connsiteX232" fmla="*/ 472394 w 1492886"/>
                  <a:gd name="connsiteY232" fmla="*/ 68544 h 745554"/>
                  <a:gd name="connsiteX233" fmla="*/ 472394 w 1492886"/>
                  <a:gd name="connsiteY233" fmla="*/ 78263 h 745554"/>
                  <a:gd name="connsiteX234" fmla="*/ 452700 w 1492886"/>
                  <a:gd name="connsiteY234" fmla="*/ 78263 h 745554"/>
                  <a:gd name="connsiteX235" fmla="*/ 442981 w 1492886"/>
                  <a:gd name="connsiteY235" fmla="*/ 87982 h 745554"/>
                  <a:gd name="connsiteX236" fmla="*/ 433006 w 1492886"/>
                  <a:gd name="connsiteY236" fmla="*/ 87982 h 745554"/>
                  <a:gd name="connsiteX237" fmla="*/ 433006 w 1492886"/>
                  <a:gd name="connsiteY237" fmla="*/ 78263 h 745554"/>
                  <a:gd name="connsiteX238" fmla="*/ 413313 w 1492886"/>
                  <a:gd name="connsiteY238" fmla="*/ 78263 h 745554"/>
                  <a:gd name="connsiteX239" fmla="*/ 393619 w 1492886"/>
                  <a:gd name="connsiteY239" fmla="*/ 78263 h 745554"/>
                  <a:gd name="connsiteX240" fmla="*/ 393619 w 1492886"/>
                  <a:gd name="connsiteY240" fmla="*/ 68544 h 745554"/>
                  <a:gd name="connsiteX241" fmla="*/ 388759 w 1492886"/>
                  <a:gd name="connsiteY241" fmla="*/ 63685 h 745554"/>
                  <a:gd name="connsiteX242" fmla="*/ 383900 w 1492886"/>
                  <a:gd name="connsiteY242" fmla="*/ 58825 h 745554"/>
                  <a:gd name="connsiteX243" fmla="*/ 364206 w 1492886"/>
                  <a:gd name="connsiteY243" fmla="*/ 58825 h 745554"/>
                  <a:gd name="connsiteX244" fmla="*/ 344512 w 1492886"/>
                  <a:gd name="connsiteY244" fmla="*/ 58825 h 745554"/>
                  <a:gd name="connsiteX245" fmla="*/ 324819 w 1492886"/>
                  <a:gd name="connsiteY245" fmla="*/ 49106 h 745554"/>
                  <a:gd name="connsiteX246" fmla="*/ 305125 w 1492886"/>
                  <a:gd name="connsiteY246" fmla="*/ 49106 h 745554"/>
                  <a:gd name="connsiteX247" fmla="*/ 285431 w 1492886"/>
                  <a:gd name="connsiteY247" fmla="*/ 49106 h 745554"/>
                  <a:gd name="connsiteX248" fmla="*/ 265737 w 1492886"/>
                  <a:gd name="connsiteY248" fmla="*/ 39387 h 745554"/>
                  <a:gd name="connsiteX249" fmla="*/ 236325 w 1492886"/>
                  <a:gd name="connsiteY249" fmla="*/ 39387 h 745554"/>
                  <a:gd name="connsiteX250" fmla="*/ 216631 w 1492886"/>
                  <a:gd name="connsiteY250" fmla="*/ 39387 h 745554"/>
                  <a:gd name="connsiteX251" fmla="*/ 187218 w 1492886"/>
                  <a:gd name="connsiteY251" fmla="*/ 49106 h 745554"/>
                  <a:gd name="connsiteX252" fmla="*/ 167525 w 1492886"/>
                  <a:gd name="connsiteY252" fmla="*/ 49106 h 745554"/>
                  <a:gd name="connsiteX253" fmla="*/ 157550 w 1492886"/>
                  <a:gd name="connsiteY253" fmla="*/ 58825 h 745554"/>
                  <a:gd name="connsiteX254" fmla="*/ 137856 w 1492886"/>
                  <a:gd name="connsiteY254" fmla="*/ 68544 h 745554"/>
                  <a:gd name="connsiteX255" fmla="*/ 118162 w 1492886"/>
                  <a:gd name="connsiteY255" fmla="*/ 78263 h 745554"/>
                  <a:gd name="connsiteX256" fmla="*/ 108443 w 1492886"/>
                  <a:gd name="connsiteY256" fmla="*/ 68544 h 745554"/>
                  <a:gd name="connsiteX257" fmla="*/ 98724 w 1492886"/>
                  <a:gd name="connsiteY257" fmla="*/ 78263 h 745554"/>
                  <a:gd name="connsiteX258" fmla="*/ 98724 w 1492886"/>
                  <a:gd name="connsiteY258" fmla="*/ 87982 h 745554"/>
                  <a:gd name="connsiteX259" fmla="*/ 98724 w 1492886"/>
                  <a:gd name="connsiteY259" fmla="*/ 97701 h 745554"/>
                  <a:gd name="connsiteX260" fmla="*/ 108443 w 1492886"/>
                  <a:gd name="connsiteY260" fmla="*/ 117395 h 745554"/>
                  <a:gd name="connsiteX261" fmla="*/ 118162 w 1492886"/>
                  <a:gd name="connsiteY261" fmla="*/ 127114 h 745554"/>
                  <a:gd name="connsiteX262" fmla="*/ 128137 w 1492886"/>
                  <a:gd name="connsiteY262" fmla="*/ 136833 h 745554"/>
                  <a:gd name="connsiteX263" fmla="*/ 137856 w 1492886"/>
                  <a:gd name="connsiteY263" fmla="*/ 146552 h 745554"/>
                  <a:gd name="connsiteX264" fmla="*/ 137856 w 1492886"/>
                  <a:gd name="connsiteY264" fmla="*/ 156271 h 745554"/>
                  <a:gd name="connsiteX265" fmla="*/ 137856 w 1492886"/>
                  <a:gd name="connsiteY265" fmla="*/ 165990 h 745554"/>
                  <a:gd name="connsiteX266" fmla="*/ 147575 w 1492886"/>
                  <a:gd name="connsiteY266" fmla="*/ 185684 h 745554"/>
                  <a:gd name="connsiteX267" fmla="*/ 127881 w 1492886"/>
                  <a:gd name="connsiteY267" fmla="*/ 205377 h 745554"/>
                  <a:gd name="connsiteX268" fmla="*/ 108188 w 1492886"/>
                  <a:gd name="connsiteY268" fmla="*/ 215096 h 745554"/>
                  <a:gd name="connsiteX269" fmla="*/ 88494 w 1492886"/>
                  <a:gd name="connsiteY269" fmla="*/ 234790 h 745554"/>
                  <a:gd name="connsiteX270" fmla="*/ 59081 w 1492886"/>
                  <a:gd name="connsiteY270" fmla="*/ 254484 h 745554"/>
                  <a:gd name="connsiteX271" fmla="*/ 39387 w 1492886"/>
                  <a:gd name="connsiteY271" fmla="*/ 283896 h 745554"/>
                  <a:gd name="connsiteX272" fmla="*/ 39387 w 1492886"/>
                  <a:gd name="connsiteY272" fmla="*/ 303590 h 745554"/>
                  <a:gd name="connsiteX273" fmla="*/ 39387 w 1492886"/>
                  <a:gd name="connsiteY273" fmla="*/ 323284 h 745554"/>
                  <a:gd name="connsiteX274" fmla="*/ 49106 w 1492886"/>
                  <a:gd name="connsiteY274" fmla="*/ 333003 h 745554"/>
                  <a:gd name="connsiteX275" fmla="*/ 58825 w 1492886"/>
                  <a:gd name="connsiteY275" fmla="*/ 342722 h 745554"/>
                  <a:gd name="connsiteX276" fmla="*/ 39132 w 1492886"/>
                  <a:gd name="connsiteY276" fmla="*/ 342722 h 745554"/>
                  <a:gd name="connsiteX277" fmla="*/ 29413 w 1492886"/>
                  <a:gd name="connsiteY277" fmla="*/ 342722 h 745554"/>
                  <a:gd name="connsiteX278" fmla="*/ 29413 w 1492886"/>
                  <a:gd name="connsiteY278" fmla="*/ 352441 h 745554"/>
                  <a:gd name="connsiteX279" fmla="*/ 19438 w 1492886"/>
                  <a:gd name="connsiteY279" fmla="*/ 362160 h 745554"/>
                  <a:gd name="connsiteX280" fmla="*/ 9719 w 1492886"/>
                  <a:gd name="connsiteY280" fmla="*/ 381854 h 745554"/>
                  <a:gd name="connsiteX281" fmla="*/ 0 w 1492886"/>
                  <a:gd name="connsiteY281" fmla="*/ 391573 h 745554"/>
                  <a:gd name="connsiteX282" fmla="*/ 0 w 1492886"/>
                  <a:gd name="connsiteY282" fmla="*/ 411266 h 745554"/>
                  <a:gd name="connsiteX283" fmla="*/ 9719 w 1492886"/>
                  <a:gd name="connsiteY283" fmla="*/ 411266 h 745554"/>
                  <a:gd name="connsiteX284" fmla="*/ 9719 w 1492886"/>
                  <a:gd name="connsiteY284" fmla="*/ 420985 h 745554"/>
                  <a:gd name="connsiteX285" fmla="*/ 29413 w 1492886"/>
                  <a:gd name="connsiteY285" fmla="*/ 430704 h 745554"/>
                  <a:gd name="connsiteX286" fmla="*/ 39132 w 1492886"/>
                  <a:gd name="connsiteY286" fmla="*/ 440423 h 745554"/>
                  <a:gd name="connsiteX287" fmla="*/ 58825 w 1492886"/>
                  <a:gd name="connsiteY287" fmla="*/ 440423 h 745554"/>
                  <a:gd name="connsiteX288" fmla="*/ 58825 w 1492886"/>
                  <a:gd name="connsiteY288" fmla="*/ 460117 h 745554"/>
                  <a:gd name="connsiteX289" fmla="*/ 68800 w 1492886"/>
                  <a:gd name="connsiteY289" fmla="*/ 450398 h 745554"/>
                  <a:gd name="connsiteX290" fmla="*/ 78519 w 1492886"/>
                  <a:gd name="connsiteY290" fmla="*/ 450398 h 745554"/>
                  <a:gd name="connsiteX291" fmla="*/ 98213 w 1492886"/>
                  <a:gd name="connsiteY291" fmla="*/ 440679 h 745554"/>
                  <a:gd name="connsiteX292" fmla="*/ 107932 w 1492886"/>
                  <a:gd name="connsiteY292" fmla="*/ 450398 h 745554"/>
                  <a:gd name="connsiteX293" fmla="*/ 127626 w 1492886"/>
                  <a:gd name="connsiteY293" fmla="*/ 450398 h 745554"/>
                  <a:gd name="connsiteX294" fmla="*/ 147319 w 1492886"/>
                  <a:gd name="connsiteY294" fmla="*/ 460117 h 745554"/>
                  <a:gd name="connsiteX295" fmla="*/ 157038 w 1492886"/>
                  <a:gd name="connsiteY295" fmla="*/ 460117 h 745554"/>
                  <a:gd name="connsiteX296" fmla="*/ 176732 w 1492886"/>
                  <a:gd name="connsiteY296" fmla="*/ 460117 h 745554"/>
                  <a:gd name="connsiteX297" fmla="*/ 196426 w 1492886"/>
                  <a:gd name="connsiteY297" fmla="*/ 460117 h 745554"/>
                  <a:gd name="connsiteX298" fmla="*/ 216119 w 1492886"/>
                  <a:gd name="connsiteY298" fmla="*/ 460117 h 745554"/>
                  <a:gd name="connsiteX299" fmla="*/ 225838 w 1492886"/>
                  <a:gd name="connsiteY299" fmla="*/ 469836 h 745554"/>
                  <a:gd name="connsiteX300" fmla="*/ 245532 w 1492886"/>
                  <a:gd name="connsiteY300" fmla="*/ 479555 h 745554"/>
                  <a:gd name="connsiteX301" fmla="*/ 255507 w 1492886"/>
                  <a:gd name="connsiteY301" fmla="*/ 469836 h 745554"/>
                  <a:gd name="connsiteX302" fmla="*/ 284920 w 1492886"/>
                  <a:gd name="connsiteY302" fmla="*/ 460117 h 745554"/>
                  <a:gd name="connsiteX303" fmla="*/ 304613 w 1492886"/>
                  <a:gd name="connsiteY303" fmla="*/ 460117 h 745554"/>
                  <a:gd name="connsiteX304" fmla="*/ 324307 w 1492886"/>
                  <a:gd name="connsiteY304" fmla="*/ 450398 h 745554"/>
                  <a:gd name="connsiteX305" fmla="*/ 344001 w 1492886"/>
                  <a:gd name="connsiteY305" fmla="*/ 450398 h 745554"/>
                  <a:gd name="connsiteX306" fmla="*/ 353976 w 1492886"/>
                  <a:gd name="connsiteY306" fmla="*/ 430704 h 745554"/>
                  <a:gd name="connsiteX307" fmla="*/ 363695 w 1492886"/>
                  <a:gd name="connsiteY307" fmla="*/ 430704 h 745554"/>
                  <a:gd name="connsiteX308" fmla="*/ 383388 w 1492886"/>
                  <a:gd name="connsiteY308" fmla="*/ 420985 h 745554"/>
                  <a:gd name="connsiteX309" fmla="*/ 393107 w 1492886"/>
                  <a:gd name="connsiteY309" fmla="*/ 420985 h 745554"/>
                  <a:gd name="connsiteX310" fmla="*/ 393107 w 1492886"/>
                  <a:gd name="connsiteY310" fmla="*/ 411266 h 745554"/>
                  <a:gd name="connsiteX311" fmla="*/ 412801 w 1492886"/>
                  <a:gd name="connsiteY311" fmla="*/ 411266 h 745554"/>
                  <a:gd name="connsiteX312" fmla="*/ 422520 w 1492886"/>
                  <a:gd name="connsiteY312" fmla="*/ 411266 h 745554"/>
                  <a:gd name="connsiteX313" fmla="*/ 432239 w 1492886"/>
                  <a:gd name="connsiteY313" fmla="*/ 411266 h 745554"/>
                  <a:gd name="connsiteX314" fmla="*/ 442214 w 1492886"/>
                  <a:gd name="connsiteY314" fmla="*/ 401547 h 745554"/>
                  <a:gd name="connsiteX315" fmla="*/ 451933 w 1492886"/>
                  <a:gd name="connsiteY315" fmla="*/ 401547 h 745554"/>
                  <a:gd name="connsiteX316" fmla="*/ 471626 w 1492886"/>
                  <a:gd name="connsiteY316" fmla="*/ 411266 h 745554"/>
                  <a:gd name="connsiteX317" fmla="*/ 481345 w 1492886"/>
                  <a:gd name="connsiteY317" fmla="*/ 411266 h 745554"/>
                  <a:gd name="connsiteX318" fmla="*/ 501039 w 1492886"/>
                  <a:gd name="connsiteY318" fmla="*/ 430960 h 745554"/>
                  <a:gd name="connsiteX319" fmla="*/ 510758 w 1492886"/>
                  <a:gd name="connsiteY319" fmla="*/ 430960 h 745554"/>
                  <a:gd name="connsiteX320" fmla="*/ 520477 w 1492886"/>
                  <a:gd name="connsiteY320" fmla="*/ 430960 h 745554"/>
                  <a:gd name="connsiteX321" fmla="*/ 520477 w 1492886"/>
                  <a:gd name="connsiteY321" fmla="*/ 440679 h 745554"/>
                  <a:gd name="connsiteX322" fmla="*/ 530196 w 1492886"/>
                  <a:gd name="connsiteY322" fmla="*/ 440679 h 745554"/>
                  <a:gd name="connsiteX323" fmla="*/ 535056 w 1492886"/>
                  <a:gd name="connsiteY323" fmla="*/ 439400 h 745554"/>
                  <a:gd name="connsiteX324" fmla="*/ 539915 w 1492886"/>
                  <a:gd name="connsiteY324" fmla="*/ 430704 h 745554"/>
                  <a:gd name="connsiteX325" fmla="*/ 559609 w 1492886"/>
                  <a:gd name="connsiteY325" fmla="*/ 440423 h 745554"/>
                  <a:gd name="connsiteX326" fmla="*/ 579302 w 1492886"/>
                  <a:gd name="connsiteY326" fmla="*/ 460117 h 745554"/>
                  <a:gd name="connsiteX327" fmla="*/ 598996 w 1492886"/>
                  <a:gd name="connsiteY327" fmla="*/ 469836 h 745554"/>
                  <a:gd name="connsiteX328" fmla="*/ 598996 w 1492886"/>
                  <a:gd name="connsiteY328" fmla="*/ 479555 h 745554"/>
                  <a:gd name="connsiteX329" fmla="*/ 598996 w 1492886"/>
                  <a:gd name="connsiteY329" fmla="*/ 489274 h 745554"/>
                  <a:gd name="connsiteX330" fmla="*/ 589277 w 1492886"/>
                  <a:gd name="connsiteY330" fmla="*/ 498993 h 745554"/>
                  <a:gd name="connsiteX331" fmla="*/ 598996 w 1492886"/>
                  <a:gd name="connsiteY331" fmla="*/ 508712 h 745554"/>
                  <a:gd name="connsiteX332" fmla="*/ 618690 w 1492886"/>
                  <a:gd name="connsiteY332" fmla="*/ 528406 h 745554"/>
                  <a:gd name="connsiteX333" fmla="*/ 628665 w 1492886"/>
                  <a:gd name="connsiteY333" fmla="*/ 518687 h 745554"/>
                  <a:gd name="connsiteX334" fmla="*/ 638384 w 1492886"/>
                  <a:gd name="connsiteY334" fmla="*/ 528406 h 745554"/>
                  <a:gd name="connsiteX335" fmla="*/ 628665 w 1492886"/>
                  <a:gd name="connsiteY335" fmla="*/ 538124 h 745554"/>
                  <a:gd name="connsiteX336" fmla="*/ 628665 w 1492886"/>
                  <a:gd name="connsiteY336" fmla="*/ 547843 h 745554"/>
                  <a:gd name="connsiteX337" fmla="*/ 638384 w 1492886"/>
                  <a:gd name="connsiteY337" fmla="*/ 547843 h 745554"/>
                  <a:gd name="connsiteX338" fmla="*/ 638384 w 1492886"/>
                  <a:gd name="connsiteY338" fmla="*/ 557562 h 745554"/>
                  <a:gd name="connsiteX339" fmla="*/ 648103 w 1492886"/>
                  <a:gd name="connsiteY339" fmla="*/ 567281 h 745554"/>
                  <a:gd name="connsiteX340" fmla="*/ 657822 w 1492886"/>
                  <a:gd name="connsiteY340" fmla="*/ 567281 h 745554"/>
                  <a:gd name="connsiteX341" fmla="*/ 667541 w 1492886"/>
                  <a:gd name="connsiteY341" fmla="*/ 577000 h 745554"/>
                  <a:gd name="connsiteX342" fmla="*/ 677260 w 1492886"/>
                  <a:gd name="connsiteY342" fmla="*/ 606413 h 745554"/>
                  <a:gd name="connsiteX343" fmla="*/ 687234 w 1492886"/>
                  <a:gd name="connsiteY343" fmla="*/ 616132 h 745554"/>
                  <a:gd name="connsiteX344" fmla="*/ 687234 w 1492886"/>
                  <a:gd name="connsiteY344" fmla="*/ 625851 h 745554"/>
                  <a:gd name="connsiteX345" fmla="*/ 696953 w 1492886"/>
                  <a:gd name="connsiteY345" fmla="*/ 625851 h 745554"/>
                  <a:gd name="connsiteX346" fmla="*/ 706672 w 1492886"/>
                  <a:gd name="connsiteY346" fmla="*/ 625851 h 745554"/>
                  <a:gd name="connsiteX347" fmla="*/ 716391 w 1492886"/>
                  <a:gd name="connsiteY347" fmla="*/ 635570 h 745554"/>
                  <a:gd name="connsiteX348" fmla="*/ 716391 w 1492886"/>
                  <a:gd name="connsiteY348" fmla="*/ 645289 h 745554"/>
                  <a:gd name="connsiteX349" fmla="*/ 725343 w 1492886"/>
                  <a:gd name="connsiteY349" fmla="*/ 650404 h 745554"/>
                  <a:gd name="connsiteX350" fmla="*/ 736085 w 1492886"/>
                  <a:gd name="connsiteY350" fmla="*/ 635314 h 745554"/>
                  <a:gd name="connsiteX351" fmla="*/ 736085 w 1492886"/>
                  <a:gd name="connsiteY351" fmla="*/ 625595 h 745554"/>
                  <a:gd name="connsiteX352" fmla="*/ 744781 w 1492886"/>
                  <a:gd name="connsiteY352" fmla="*/ 620736 h 745554"/>
                  <a:gd name="connsiteX353" fmla="*/ 746060 w 1492886"/>
                  <a:gd name="connsiteY353" fmla="*/ 615876 h 745554"/>
                  <a:gd name="connsiteX354" fmla="*/ 755779 w 1492886"/>
                  <a:gd name="connsiteY354" fmla="*/ 596183 h 745554"/>
                  <a:gd name="connsiteX355" fmla="*/ 795166 w 1492886"/>
                  <a:gd name="connsiteY355" fmla="*/ 596183 h 745554"/>
                  <a:gd name="connsiteX356" fmla="*/ 804885 w 1492886"/>
                  <a:gd name="connsiteY356" fmla="*/ 596183 h 745554"/>
                  <a:gd name="connsiteX357" fmla="*/ 814860 w 1492886"/>
                  <a:gd name="connsiteY357" fmla="*/ 596183 h 745554"/>
                  <a:gd name="connsiteX358" fmla="*/ 834554 w 1492886"/>
                  <a:gd name="connsiteY358" fmla="*/ 586464 h 745554"/>
                  <a:gd name="connsiteX359" fmla="*/ 834554 w 1492886"/>
                  <a:gd name="connsiteY359" fmla="*/ 576745 h 745554"/>
                  <a:gd name="connsiteX360" fmla="*/ 844273 w 1492886"/>
                  <a:gd name="connsiteY360" fmla="*/ 596438 h 745554"/>
                  <a:gd name="connsiteX361" fmla="*/ 853992 w 1492886"/>
                  <a:gd name="connsiteY361" fmla="*/ 606157 h 745554"/>
                  <a:gd name="connsiteX362" fmla="*/ 883404 w 1492886"/>
                  <a:gd name="connsiteY362" fmla="*/ 606157 h 745554"/>
                  <a:gd name="connsiteX363" fmla="*/ 863711 w 1492886"/>
                  <a:gd name="connsiteY363" fmla="*/ 606157 h 745554"/>
                  <a:gd name="connsiteX364" fmla="*/ 804885 w 1492886"/>
                  <a:gd name="connsiteY364" fmla="*/ 606157 h 745554"/>
                  <a:gd name="connsiteX365" fmla="*/ 814860 w 1492886"/>
                  <a:gd name="connsiteY365" fmla="*/ 615876 h 745554"/>
                  <a:gd name="connsiteX366" fmla="*/ 834554 w 1492886"/>
                  <a:gd name="connsiteY366" fmla="*/ 615876 h 745554"/>
                  <a:gd name="connsiteX367" fmla="*/ 844273 w 1492886"/>
                  <a:gd name="connsiteY367" fmla="*/ 615876 h 745554"/>
                  <a:gd name="connsiteX368" fmla="*/ 853992 w 1492886"/>
                  <a:gd name="connsiteY368" fmla="*/ 625595 h 745554"/>
                  <a:gd name="connsiteX369" fmla="*/ 834298 w 1492886"/>
                  <a:gd name="connsiteY369" fmla="*/ 625595 h 745554"/>
                  <a:gd name="connsiteX370" fmla="*/ 844017 w 1492886"/>
                  <a:gd name="connsiteY370" fmla="*/ 635314 h 745554"/>
                  <a:gd name="connsiteX371" fmla="*/ 853736 w 1492886"/>
                  <a:gd name="connsiteY371" fmla="*/ 635314 h 745554"/>
                  <a:gd name="connsiteX372" fmla="*/ 873430 w 1492886"/>
                  <a:gd name="connsiteY372" fmla="*/ 645033 h 745554"/>
                  <a:gd name="connsiteX373" fmla="*/ 883149 w 1492886"/>
                  <a:gd name="connsiteY373" fmla="*/ 654752 h 745554"/>
                  <a:gd name="connsiteX374" fmla="*/ 902842 w 1492886"/>
                  <a:gd name="connsiteY374" fmla="*/ 645033 h 745554"/>
                  <a:gd name="connsiteX375" fmla="*/ 932255 w 1492886"/>
                  <a:gd name="connsiteY375" fmla="*/ 645033 h 745554"/>
                  <a:gd name="connsiteX376" fmla="*/ 941974 w 1492886"/>
                  <a:gd name="connsiteY376" fmla="*/ 645033 h 745554"/>
                  <a:gd name="connsiteX377" fmla="*/ 951693 w 1492886"/>
                  <a:gd name="connsiteY377" fmla="*/ 635314 h 745554"/>
                  <a:gd name="connsiteX378" fmla="*/ 951693 w 1492886"/>
                  <a:gd name="connsiteY378" fmla="*/ 645033 h 745554"/>
                  <a:gd name="connsiteX379" fmla="*/ 961668 w 1492886"/>
                  <a:gd name="connsiteY379" fmla="*/ 654752 h 745554"/>
                  <a:gd name="connsiteX380" fmla="*/ 971387 w 1492886"/>
                  <a:gd name="connsiteY380" fmla="*/ 654752 h 745554"/>
                  <a:gd name="connsiteX381" fmla="*/ 981106 w 1492886"/>
                  <a:gd name="connsiteY381" fmla="*/ 654752 h 745554"/>
                  <a:gd name="connsiteX382" fmla="*/ 981873 w 1492886"/>
                  <a:gd name="connsiteY382" fmla="*/ 643754 h 745554"/>
                  <a:gd name="connsiteX383" fmla="*/ 984431 w 1492886"/>
                  <a:gd name="connsiteY383" fmla="*/ 630966 h 745554"/>
                  <a:gd name="connsiteX384" fmla="*/ 992615 w 1492886"/>
                  <a:gd name="connsiteY384" fmla="*/ 635314 h 745554"/>
                  <a:gd name="connsiteX385" fmla="*/ 801816 w 1492886"/>
                  <a:gd name="connsiteY385" fmla="*/ 585441 h 745554"/>
                  <a:gd name="connsiteX386" fmla="*/ 796189 w 1492886"/>
                  <a:gd name="connsiteY386" fmla="*/ 577512 h 745554"/>
                  <a:gd name="connsiteX387" fmla="*/ 805908 w 1492886"/>
                  <a:gd name="connsiteY387" fmla="*/ 576489 h 745554"/>
                  <a:gd name="connsiteX388" fmla="*/ 808722 w 1492886"/>
                  <a:gd name="connsiteY388" fmla="*/ 577512 h 745554"/>
                  <a:gd name="connsiteX389" fmla="*/ 801816 w 1492886"/>
                  <a:gd name="connsiteY389" fmla="*/ 585441 h 745554"/>
                  <a:gd name="connsiteX390" fmla="*/ 825602 w 1492886"/>
                  <a:gd name="connsiteY390" fmla="*/ 556795 h 745554"/>
                  <a:gd name="connsiteX391" fmla="*/ 825602 w 1492886"/>
                  <a:gd name="connsiteY391" fmla="*/ 547076 h 745554"/>
                  <a:gd name="connsiteX392" fmla="*/ 824323 w 1492886"/>
                  <a:gd name="connsiteY392" fmla="*/ 538380 h 745554"/>
                  <a:gd name="connsiteX393" fmla="*/ 815627 w 1492886"/>
                  <a:gd name="connsiteY393" fmla="*/ 537101 h 745554"/>
                  <a:gd name="connsiteX394" fmla="*/ 825346 w 1492886"/>
                  <a:gd name="connsiteY394" fmla="*/ 537101 h 745554"/>
                  <a:gd name="connsiteX395" fmla="*/ 835065 w 1492886"/>
                  <a:gd name="connsiteY395" fmla="*/ 546820 h 745554"/>
                  <a:gd name="connsiteX396" fmla="*/ 833786 w 1492886"/>
                  <a:gd name="connsiteY396" fmla="*/ 556539 h 745554"/>
                  <a:gd name="connsiteX397" fmla="*/ 825602 w 1492886"/>
                  <a:gd name="connsiteY397" fmla="*/ 556539 h 745554"/>
                  <a:gd name="connsiteX398" fmla="*/ 835832 w 1492886"/>
                  <a:gd name="connsiteY398" fmla="*/ 575977 h 745554"/>
                  <a:gd name="connsiteX399" fmla="*/ 835321 w 1492886"/>
                  <a:gd name="connsiteY399" fmla="*/ 566514 h 745554"/>
                  <a:gd name="connsiteX400" fmla="*/ 830973 w 1492886"/>
                  <a:gd name="connsiteY400" fmla="*/ 563957 h 745554"/>
                  <a:gd name="connsiteX401" fmla="*/ 835321 w 1492886"/>
                  <a:gd name="connsiteY401" fmla="*/ 556795 h 745554"/>
                  <a:gd name="connsiteX402" fmla="*/ 835321 w 1492886"/>
                  <a:gd name="connsiteY402" fmla="*/ 566514 h 745554"/>
                  <a:gd name="connsiteX403" fmla="*/ 835832 w 1492886"/>
                  <a:gd name="connsiteY403" fmla="*/ 575977 h 7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1492886" h="745554">
                    <a:moveTo>
                      <a:pt x="707695" y="635314"/>
                    </a:moveTo>
                    <a:cubicBezTo>
                      <a:pt x="697976" y="635314"/>
                      <a:pt x="688002" y="635314"/>
                      <a:pt x="688002" y="625595"/>
                    </a:cubicBezTo>
                    <a:lnTo>
                      <a:pt x="678027" y="625595"/>
                    </a:lnTo>
                    <a:cubicBezTo>
                      <a:pt x="668308" y="625595"/>
                      <a:pt x="668308" y="625595"/>
                      <a:pt x="668308" y="625595"/>
                    </a:cubicBezTo>
                    <a:lnTo>
                      <a:pt x="658589" y="615876"/>
                    </a:lnTo>
                    <a:lnTo>
                      <a:pt x="648870" y="615876"/>
                    </a:lnTo>
                    <a:lnTo>
                      <a:pt x="648870" y="625595"/>
                    </a:lnTo>
                    <a:cubicBezTo>
                      <a:pt x="639151" y="615876"/>
                      <a:pt x="639151" y="615876"/>
                      <a:pt x="639151" y="615876"/>
                    </a:cubicBezTo>
                    <a:cubicBezTo>
                      <a:pt x="629432" y="606157"/>
                      <a:pt x="629432" y="615876"/>
                      <a:pt x="629432" y="615876"/>
                    </a:cubicBezTo>
                    <a:cubicBezTo>
                      <a:pt x="619457" y="615876"/>
                      <a:pt x="619457" y="615876"/>
                      <a:pt x="619457" y="615876"/>
                    </a:cubicBezTo>
                    <a:lnTo>
                      <a:pt x="609738" y="625595"/>
                    </a:lnTo>
                    <a:lnTo>
                      <a:pt x="609738" y="605902"/>
                    </a:lnTo>
                    <a:lnTo>
                      <a:pt x="600019" y="605902"/>
                    </a:lnTo>
                    <a:cubicBezTo>
                      <a:pt x="590300" y="615621"/>
                      <a:pt x="590300" y="635314"/>
                      <a:pt x="600019" y="635314"/>
                    </a:cubicBezTo>
                    <a:cubicBezTo>
                      <a:pt x="600019" y="645033"/>
                      <a:pt x="590300" y="645033"/>
                      <a:pt x="590300" y="655008"/>
                    </a:cubicBezTo>
                    <a:cubicBezTo>
                      <a:pt x="590300" y="655008"/>
                      <a:pt x="600019" y="655008"/>
                      <a:pt x="590300" y="664727"/>
                    </a:cubicBezTo>
                    <a:cubicBezTo>
                      <a:pt x="583395" y="664727"/>
                      <a:pt x="576489" y="664727"/>
                      <a:pt x="576489" y="668308"/>
                    </a:cubicBezTo>
                    <a:cubicBezTo>
                      <a:pt x="576489" y="669842"/>
                      <a:pt x="577768" y="671888"/>
                      <a:pt x="580581" y="674702"/>
                    </a:cubicBezTo>
                    <a:lnTo>
                      <a:pt x="570862" y="684421"/>
                    </a:lnTo>
                    <a:lnTo>
                      <a:pt x="561143" y="684421"/>
                    </a:lnTo>
                    <a:cubicBezTo>
                      <a:pt x="570862" y="694140"/>
                      <a:pt x="561143" y="694140"/>
                      <a:pt x="561143" y="694140"/>
                    </a:cubicBezTo>
                    <a:cubicBezTo>
                      <a:pt x="551424" y="694140"/>
                      <a:pt x="570862" y="703859"/>
                      <a:pt x="561143" y="703859"/>
                    </a:cubicBezTo>
                    <a:cubicBezTo>
                      <a:pt x="561143" y="703859"/>
                      <a:pt x="561143" y="713578"/>
                      <a:pt x="551424" y="713578"/>
                    </a:cubicBezTo>
                    <a:cubicBezTo>
                      <a:pt x="551424" y="713578"/>
                      <a:pt x="551424" y="713578"/>
                      <a:pt x="541705" y="713578"/>
                    </a:cubicBezTo>
                    <a:cubicBezTo>
                      <a:pt x="541705" y="713578"/>
                      <a:pt x="531731" y="723297"/>
                      <a:pt x="541705" y="723297"/>
                    </a:cubicBezTo>
                    <a:cubicBezTo>
                      <a:pt x="541705" y="723297"/>
                      <a:pt x="541705" y="733016"/>
                      <a:pt x="551424" y="733016"/>
                    </a:cubicBezTo>
                    <a:cubicBezTo>
                      <a:pt x="551424" y="733016"/>
                      <a:pt x="580837" y="752709"/>
                      <a:pt x="590812" y="742735"/>
                    </a:cubicBezTo>
                    <a:cubicBezTo>
                      <a:pt x="590812" y="742735"/>
                      <a:pt x="590812" y="742735"/>
                      <a:pt x="590812" y="733016"/>
                    </a:cubicBezTo>
                    <a:cubicBezTo>
                      <a:pt x="590812" y="733016"/>
                      <a:pt x="595160" y="737364"/>
                      <a:pt x="597973" y="737364"/>
                    </a:cubicBezTo>
                    <a:cubicBezTo>
                      <a:pt x="599508" y="737364"/>
                      <a:pt x="600531" y="736340"/>
                      <a:pt x="600531" y="733016"/>
                    </a:cubicBezTo>
                    <a:cubicBezTo>
                      <a:pt x="600531" y="733016"/>
                      <a:pt x="610250" y="733016"/>
                      <a:pt x="620225" y="733016"/>
                    </a:cubicBezTo>
                    <a:cubicBezTo>
                      <a:pt x="620225" y="723297"/>
                      <a:pt x="620225" y="723297"/>
                      <a:pt x="630199" y="723297"/>
                    </a:cubicBezTo>
                    <a:lnTo>
                      <a:pt x="639918" y="723297"/>
                    </a:lnTo>
                    <a:cubicBezTo>
                      <a:pt x="659612" y="723297"/>
                      <a:pt x="659612" y="733016"/>
                      <a:pt x="659612" y="742990"/>
                    </a:cubicBezTo>
                    <a:cubicBezTo>
                      <a:pt x="669331" y="742990"/>
                      <a:pt x="669331" y="723297"/>
                      <a:pt x="669331" y="723297"/>
                    </a:cubicBezTo>
                    <a:cubicBezTo>
                      <a:pt x="669331" y="713578"/>
                      <a:pt x="659612" y="713578"/>
                      <a:pt x="659612" y="723297"/>
                    </a:cubicBezTo>
                    <a:lnTo>
                      <a:pt x="659612" y="713578"/>
                    </a:lnTo>
                    <a:cubicBezTo>
                      <a:pt x="659612" y="713578"/>
                      <a:pt x="659612" y="713578"/>
                      <a:pt x="659612" y="703859"/>
                    </a:cubicBezTo>
                    <a:cubicBezTo>
                      <a:pt x="659612" y="713578"/>
                      <a:pt x="649893" y="703859"/>
                      <a:pt x="649893" y="694140"/>
                    </a:cubicBezTo>
                    <a:cubicBezTo>
                      <a:pt x="649893" y="694140"/>
                      <a:pt x="655776" y="688257"/>
                      <a:pt x="653985" y="685700"/>
                    </a:cubicBezTo>
                    <a:cubicBezTo>
                      <a:pt x="660124" y="690047"/>
                      <a:pt x="661402" y="704114"/>
                      <a:pt x="669587" y="704114"/>
                    </a:cubicBezTo>
                    <a:cubicBezTo>
                      <a:pt x="679306" y="704114"/>
                      <a:pt x="689280" y="684421"/>
                      <a:pt x="698999" y="684421"/>
                    </a:cubicBezTo>
                    <a:lnTo>
                      <a:pt x="688002" y="684421"/>
                    </a:lnTo>
                    <a:cubicBezTo>
                      <a:pt x="684677" y="687746"/>
                      <a:pt x="681096" y="691326"/>
                      <a:pt x="678027" y="694140"/>
                    </a:cubicBezTo>
                    <a:cubicBezTo>
                      <a:pt x="678027" y="684421"/>
                      <a:pt x="678027" y="684421"/>
                      <a:pt x="678027" y="684421"/>
                    </a:cubicBezTo>
                    <a:cubicBezTo>
                      <a:pt x="682886" y="684421"/>
                      <a:pt x="682886" y="681863"/>
                      <a:pt x="682886" y="680840"/>
                    </a:cubicBezTo>
                    <a:cubicBezTo>
                      <a:pt x="682886" y="679561"/>
                      <a:pt x="682886" y="679561"/>
                      <a:pt x="687746" y="684421"/>
                    </a:cubicBezTo>
                    <a:cubicBezTo>
                      <a:pt x="687746" y="684421"/>
                      <a:pt x="687746" y="674702"/>
                      <a:pt x="697465" y="674702"/>
                    </a:cubicBezTo>
                    <a:lnTo>
                      <a:pt x="697465" y="684421"/>
                    </a:lnTo>
                    <a:cubicBezTo>
                      <a:pt x="697465" y="674702"/>
                      <a:pt x="707184" y="674702"/>
                      <a:pt x="707184" y="664727"/>
                    </a:cubicBezTo>
                    <a:lnTo>
                      <a:pt x="716903" y="655008"/>
                    </a:lnTo>
                    <a:cubicBezTo>
                      <a:pt x="717414" y="645033"/>
                      <a:pt x="707695" y="645033"/>
                      <a:pt x="707695" y="635314"/>
                    </a:cubicBezTo>
                    <a:close/>
                    <a:moveTo>
                      <a:pt x="669075" y="703091"/>
                    </a:moveTo>
                    <a:cubicBezTo>
                      <a:pt x="677771" y="693884"/>
                      <a:pt x="668308" y="693884"/>
                      <a:pt x="668308" y="693884"/>
                    </a:cubicBezTo>
                    <a:cubicBezTo>
                      <a:pt x="668308" y="684165"/>
                      <a:pt x="678027" y="693884"/>
                      <a:pt x="678027" y="693884"/>
                    </a:cubicBezTo>
                    <a:cubicBezTo>
                      <a:pt x="673935" y="698232"/>
                      <a:pt x="670610" y="701813"/>
                      <a:pt x="669075" y="703091"/>
                    </a:cubicBezTo>
                    <a:close/>
                    <a:moveTo>
                      <a:pt x="726366" y="650148"/>
                    </a:moveTo>
                    <a:cubicBezTo>
                      <a:pt x="723553" y="652706"/>
                      <a:pt x="720484" y="654752"/>
                      <a:pt x="717414" y="654752"/>
                    </a:cubicBezTo>
                    <a:lnTo>
                      <a:pt x="727389" y="654752"/>
                    </a:lnTo>
                    <a:cubicBezTo>
                      <a:pt x="727389" y="652962"/>
                      <a:pt x="726878" y="651427"/>
                      <a:pt x="726366" y="650148"/>
                    </a:cubicBezTo>
                    <a:close/>
                    <a:moveTo>
                      <a:pt x="835321" y="625340"/>
                    </a:moveTo>
                    <a:cubicBezTo>
                      <a:pt x="829694" y="625340"/>
                      <a:pt x="825602" y="625340"/>
                      <a:pt x="825602" y="625340"/>
                    </a:cubicBezTo>
                    <a:cubicBezTo>
                      <a:pt x="835321" y="635314"/>
                      <a:pt x="845296" y="635314"/>
                      <a:pt x="835321" y="625340"/>
                    </a:cubicBezTo>
                    <a:close/>
                    <a:moveTo>
                      <a:pt x="1110522" y="654752"/>
                    </a:moveTo>
                    <a:cubicBezTo>
                      <a:pt x="1110522" y="653729"/>
                      <a:pt x="1110522" y="652962"/>
                      <a:pt x="1110777" y="652195"/>
                    </a:cubicBezTo>
                    <a:cubicBezTo>
                      <a:pt x="1106174" y="654752"/>
                      <a:pt x="1104128" y="654752"/>
                      <a:pt x="1110522" y="654752"/>
                    </a:cubicBezTo>
                    <a:close/>
                    <a:moveTo>
                      <a:pt x="1110777" y="652195"/>
                    </a:moveTo>
                    <a:cubicBezTo>
                      <a:pt x="1113335" y="650660"/>
                      <a:pt x="1116916" y="648614"/>
                      <a:pt x="1120241" y="645033"/>
                    </a:cubicBezTo>
                    <a:cubicBezTo>
                      <a:pt x="1120496" y="645033"/>
                      <a:pt x="1112568" y="645033"/>
                      <a:pt x="1110777" y="652195"/>
                    </a:cubicBezTo>
                    <a:close/>
                    <a:moveTo>
                      <a:pt x="1357588" y="551424"/>
                    </a:moveTo>
                    <a:cubicBezTo>
                      <a:pt x="1356821" y="552703"/>
                      <a:pt x="1356309" y="554493"/>
                      <a:pt x="1356309" y="556795"/>
                    </a:cubicBezTo>
                    <a:cubicBezTo>
                      <a:pt x="1358356" y="554493"/>
                      <a:pt x="1358611" y="552703"/>
                      <a:pt x="1357588" y="551424"/>
                    </a:cubicBezTo>
                    <a:close/>
                    <a:moveTo>
                      <a:pt x="992615" y="635314"/>
                    </a:moveTo>
                    <a:lnTo>
                      <a:pt x="1012309" y="635314"/>
                    </a:lnTo>
                    <a:cubicBezTo>
                      <a:pt x="1022028" y="645033"/>
                      <a:pt x="1022028" y="655008"/>
                      <a:pt x="1032002" y="645033"/>
                    </a:cubicBezTo>
                    <a:lnTo>
                      <a:pt x="1032002" y="635314"/>
                    </a:lnTo>
                    <a:cubicBezTo>
                      <a:pt x="1041721" y="635314"/>
                      <a:pt x="1051696" y="655008"/>
                      <a:pt x="1051696" y="655008"/>
                    </a:cubicBezTo>
                    <a:cubicBezTo>
                      <a:pt x="1051696" y="645289"/>
                      <a:pt x="1041977" y="645289"/>
                      <a:pt x="1051696" y="635314"/>
                    </a:cubicBezTo>
                    <a:lnTo>
                      <a:pt x="1061671" y="645033"/>
                    </a:lnTo>
                    <a:cubicBezTo>
                      <a:pt x="1061671" y="645033"/>
                      <a:pt x="1070623" y="634803"/>
                      <a:pt x="1070623" y="644522"/>
                    </a:cubicBezTo>
                    <a:cubicBezTo>
                      <a:pt x="1070623" y="654241"/>
                      <a:pt x="1065252" y="650660"/>
                      <a:pt x="1061927" y="650916"/>
                    </a:cubicBezTo>
                    <a:cubicBezTo>
                      <a:pt x="1060648" y="650916"/>
                      <a:pt x="1061927" y="654752"/>
                      <a:pt x="1061927" y="654752"/>
                    </a:cubicBezTo>
                    <a:cubicBezTo>
                      <a:pt x="1061927" y="654752"/>
                      <a:pt x="1051952" y="654752"/>
                      <a:pt x="1061927" y="664471"/>
                    </a:cubicBezTo>
                    <a:cubicBezTo>
                      <a:pt x="1071646" y="664471"/>
                      <a:pt x="1071646" y="664471"/>
                      <a:pt x="1071646" y="654752"/>
                    </a:cubicBezTo>
                    <a:lnTo>
                      <a:pt x="1071646" y="644522"/>
                    </a:lnTo>
                    <a:cubicBezTo>
                      <a:pt x="1081365" y="644522"/>
                      <a:pt x="1081365" y="645033"/>
                      <a:pt x="1081365" y="645033"/>
                    </a:cubicBezTo>
                    <a:cubicBezTo>
                      <a:pt x="1081365" y="645033"/>
                      <a:pt x="1091339" y="644010"/>
                      <a:pt x="1091339" y="653985"/>
                    </a:cubicBezTo>
                    <a:lnTo>
                      <a:pt x="1081365" y="655008"/>
                    </a:lnTo>
                    <a:cubicBezTo>
                      <a:pt x="1091084" y="665494"/>
                      <a:pt x="1081365" y="655519"/>
                      <a:pt x="1091084" y="655519"/>
                    </a:cubicBezTo>
                    <a:lnTo>
                      <a:pt x="1091084" y="672400"/>
                    </a:lnTo>
                    <a:lnTo>
                      <a:pt x="1091595" y="682375"/>
                    </a:lnTo>
                    <a:cubicBezTo>
                      <a:pt x="1099268" y="682630"/>
                      <a:pt x="1091084" y="674702"/>
                      <a:pt x="1100803" y="684421"/>
                    </a:cubicBezTo>
                    <a:cubicBezTo>
                      <a:pt x="1100803" y="684421"/>
                      <a:pt x="1100803" y="684165"/>
                      <a:pt x="1102337" y="685188"/>
                    </a:cubicBezTo>
                    <a:lnTo>
                      <a:pt x="1109498" y="685188"/>
                    </a:lnTo>
                    <a:cubicBezTo>
                      <a:pt x="1106685" y="681096"/>
                      <a:pt x="1103872" y="677515"/>
                      <a:pt x="1100803" y="674702"/>
                    </a:cubicBezTo>
                    <a:cubicBezTo>
                      <a:pt x="1090828" y="664983"/>
                      <a:pt x="1090828" y="655008"/>
                      <a:pt x="1090828" y="645289"/>
                    </a:cubicBezTo>
                    <a:lnTo>
                      <a:pt x="1090828" y="635570"/>
                    </a:lnTo>
                    <a:lnTo>
                      <a:pt x="1100803" y="635570"/>
                    </a:lnTo>
                    <a:cubicBezTo>
                      <a:pt x="1100803" y="635570"/>
                      <a:pt x="1110522" y="635570"/>
                      <a:pt x="1110522" y="625851"/>
                    </a:cubicBezTo>
                    <a:cubicBezTo>
                      <a:pt x="1120241" y="625851"/>
                      <a:pt x="1120241" y="625851"/>
                      <a:pt x="1120241" y="616132"/>
                    </a:cubicBezTo>
                    <a:cubicBezTo>
                      <a:pt x="1120241" y="616132"/>
                      <a:pt x="1110522" y="616132"/>
                      <a:pt x="1120241" y="606413"/>
                    </a:cubicBezTo>
                    <a:cubicBezTo>
                      <a:pt x="1120241" y="616132"/>
                      <a:pt x="1120241" y="616132"/>
                      <a:pt x="1129960" y="626107"/>
                    </a:cubicBezTo>
                    <a:cubicBezTo>
                      <a:pt x="1129960" y="626107"/>
                      <a:pt x="1127402" y="628664"/>
                      <a:pt x="1125100" y="632245"/>
                    </a:cubicBezTo>
                    <a:cubicBezTo>
                      <a:pt x="1122542" y="635826"/>
                      <a:pt x="1120241" y="640941"/>
                      <a:pt x="1120241" y="645801"/>
                    </a:cubicBezTo>
                    <a:lnTo>
                      <a:pt x="1129960" y="636082"/>
                    </a:lnTo>
                    <a:cubicBezTo>
                      <a:pt x="1129960" y="626363"/>
                      <a:pt x="1139679" y="616388"/>
                      <a:pt x="1149653" y="616388"/>
                    </a:cubicBezTo>
                    <a:cubicBezTo>
                      <a:pt x="1159372" y="606669"/>
                      <a:pt x="1159372" y="606669"/>
                      <a:pt x="1169347" y="596694"/>
                    </a:cubicBezTo>
                    <a:cubicBezTo>
                      <a:pt x="1169347" y="596694"/>
                      <a:pt x="1198760" y="586975"/>
                      <a:pt x="1208734" y="596694"/>
                    </a:cubicBezTo>
                    <a:cubicBezTo>
                      <a:pt x="1208734" y="591835"/>
                      <a:pt x="1211292" y="589277"/>
                      <a:pt x="1214873" y="586975"/>
                    </a:cubicBezTo>
                    <a:cubicBezTo>
                      <a:pt x="1218453" y="584673"/>
                      <a:pt x="1223569" y="582116"/>
                      <a:pt x="1228428" y="577256"/>
                    </a:cubicBezTo>
                    <a:cubicBezTo>
                      <a:pt x="1238147" y="577256"/>
                      <a:pt x="1248122" y="577256"/>
                      <a:pt x="1248122" y="586975"/>
                    </a:cubicBezTo>
                    <a:cubicBezTo>
                      <a:pt x="1257841" y="577256"/>
                      <a:pt x="1257841" y="577256"/>
                      <a:pt x="1267816" y="577256"/>
                    </a:cubicBezTo>
                    <a:cubicBezTo>
                      <a:pt x="1267816" y="567537"/>
                      <a:pt x="1277535" y="567537"/>
                      <a:pt x="1287509" y="567537"/>
                    </a:cubicBezTo>
                    <a:cubicBezTo>
                      <a:pt x="1287509" y="567537"/>
                      <a:pt x="1287509" y="577256"/>
                      <a:pt x="1297228" y="567537"/>
                    </a:cubicBezTo>
                    <a:cubicBezTo>
                      <a:pt x="1297228" y="557818"/>
                      <a:pt x="1306947" y="547843"/>
                      <a:pt x="1306947" y="547843"/>
                    </a:cubicBezTo>
                    <a:cubicBezTo>
                      <a:pt x="1316666" y="547843"/>
                      <a:pt x="1316666" y="547843"/>
                      <a:pt x="1316666" y="547843"/>
                    </a:cubicBezTo>
                    <a:cubicBezTo>
                      <a:pt x="1326385" y="547843"/>
                      <a:pt x="1326385" y="547843"/>
                      <a:pt x="1326385" y="547843"/>
                    </a:cubicBezTo>
                    <a:cubicBezTo>
                      <a:pt x="1334058" y="547843"/>
                      <a:pt x="1353240" y="547843"/>
                      <a:pt x="1357077" y="552447"/>
                    </a:cubicBezTo>
                    <a:cubicBezTo>
                      <a:pt x="1359634" y="547843"/>
                      <a:pt x="1365517" y="547843"/>
                      <a:pt x="1365517" y="547843"/>
                    </a:cubicBezTo>
                    <a:cubicBezTo>
                      <a:pt x="1365517" y="538124"/>
                      <a:pt x="1365517" y="538124"/>
                      <a:pt x="1365517" y="538124"/>
                    </a:cubicBezTo>
                    <a:cubicBezTo>
                      <a:pt x="1375236" y="528406"/>
                      <a:pt x="1355798" y="528406"/>
                      <a:pt x="1365517" y="518431"/>
                    </a:cubicBezTo>
                    <a:cubicBezTo>
                      <a:pt x="1365517" y="518431"/>
                      <a:pt x="1365517" y="508712"/>
                      <a:pt x="1365517" y="498737"/>
                    </a:cubicBezTo>
                    <a:cubicBezTo>
                      <a:pt x="1365517" y="498737"/>
                      <a:pt x="1365517" y="498737"/>
                      <a:pt x="1375236" y="489018"/>
                    </a:cubicBezTo>
                    <a:lnTo>
                      <a:pt x="1384955" y="489018"/>
                    </a:lnTo>
                    <a:cubicBezTo>
                      <a:pt x="1394674" y="489018"/>
                      <a:pt x="1394674" y="489018"/>
                      <a:pt x="1404649" y="489018"/>
                    </a:cubicBezTo>
                    <a:cubicBezTo>
                      <a:pt x="1404649" y="479299"/>
                      <a:pt x="1404649" y="469324"/>
                      <a:pt x="1404649" y="469324"/>
                    </a:cubicBezTo>
                    <a:lnTo>
                      <a:pt x="1414368" y="469324"/>
                    </a:lnTo>
                    <a:cubicBezTo>
                      <a:pt x="1424087" y="469324"/>
                      <a:pt x="1424087" y="469324"/>
                      <a:pt x="1434061" y="469324"/>
                    </a:cubicBezTo>
                    <a:cubicBezTo>
                      <a:pt x="1443780" y="469324"/>
                      <a:pt x="1443780" y="469324"/>
                      <a:pt x="1453755" y="469324"/>
                    </a:cubicBezTo>
                    <a:cubicBezTo>
                      <a:pt x="1463474" y="469324"/>
                      <a:pt x="1473449" y="469324"/>
                      <a:pt x="1473449" y="469324"/>
                    </a:cubicBezTo>
                    <a:cubicBezTo>
                      <a:pt x="1483168" y="469324"/>
                      <a:pt x="1483168" y="469324"/>
                      <a:pt x="1483168" y="459605"/>
                    </a:cubicBezTo>
                    <a:cubicBezTo>
                      <a:pt x="1483168" y="459605"/>
                      <a:pt x="1473449" y="449886"/>
                      <a:pt x="1483168" y="449886"/>
                    </a:cubicBezTo>
                    <a:cubicBezTo>
                      <a:pt x="1483168" y="440167"/>
                      <a:pt x="1483168" y="440167"/>
                      <a:pt x="1492887" y="430193"/>
                    </a:cubicBezTo>
                    <a:cubicBezTo>
                      <a:pt x="1492887" y="430193"/>
                      <a:pt x="1492887" y="430193"/>
                      <a:pt x="1492887" y="420474"/>
                    </a:cubicBezTo>
                    <a:cubicBezTo>
                      <a:pt x="1492887" y="420474"/>
                      <a:pt x="1492887" y="420474"/>
                      <a:pt x="1483168" y="420474"/>
                    </a:cubicBezTo>
                    <a:lnTo>
                      <a:pt x="1483168" y="400780"/>
                    </a:lnTo>
                    <a:cubicBezTo>
                      <a:pt x="1473449" y="400780"/>
                      <a:pt x="1483168" y="391061"/>
                      <a:pt x="1473449" y="391061"/>
                    </a:cubicBezTo>
                    <a:cubicBezTo>
                      <a:pt x="1473449" y="391061"/>
                      <a:pt x="1473449" y="391061"/>
                      <a:pt x="1463474" y="391061"/>
                    </a:cubicBezTo>
                    <a:cubicBezTo>
                      <a:pt x="1453755" y="391061"/>
                      <a:pt x="1463474" y="381342"/>
                      <a:pt x="1463474" y="371367"/>
                    </a:cubicBezTo>
                    <a:cubicBezTo>
                      <a:pt x="1473449" y="361648"/>
                      <a:pt x="1473449" y="371367"/>
                      <a:pt x="1483168" y="371367"/>
                    </a:cubicBezTo>
                    <a:cubicBezTo>
                      <a:pt x="1492887" y="371367"/>
                      <a:pt x="1492887" y="361648"/>
                      <a:pt x="1492887" y="361648"/>
                    </a:cubicBezTo>
                    <a:cubicBezTo>
                      <a:pt x="1483168" y="351929"/>
                      <a:pt x="1483168" y="361648"/>
                      <a:pt x="1483168" y="361648"/>
                    </a:cubicBezTo>
                    <a:cubicBezTo>
                      <a:pt x="1473449" y="361648"/>
                      <a:pt x="1463474" y="361648"/>
                      <a:pt x="1453755" y="351929"/>
                    </a:cubicBezTo>
                    <a:cubicBezTo>
                      <a:pt x="1453755" y="342210"/>
                      <a:pt x="1473449" y="342210"/>
                      <a:pt x="1473449" y="342210"/>
                    </a:cubicBezTo>
                    <a:cubicBezTo>
                      <a:pt x="1473449" y="342210"/>
                      <a:pt x="1473449" y="332491"/>
                      <a:pt x="1483168" y="332491"/>
                    </a:cubicBezTo>
                    <a:cubicBezTo>
                      <a:pt x="1483168" y="332491"/>
                      <a:pt x="1483168" y="332491"/>
                      <a:pt x="1483168" y="322772"/>
                    </a:cubicBezTo>
                    <a:cubicBezTo>
                      <a:pt x="1492887" y="313053"/>
                      <a:pt x="1492887" y="313053"/>
                      <a:pt x="1483168" y="303079"/>
                    </a:cubicBezTo>
                    <a:cubicBezTo>
                      <a:pt x="1473449" y="293360"/>
                      <a:pt x="1492887" y="293360"/>
                      <a:pt x="1483168" y="283385"/>
                    </a:cubicBezTo>
                    <a:cubicBezTo>
                      <a:pt x="1473449" y="273666"/>
                      <a:pt x="1463474" y="293104"/>
                      <a:pt x="1463474" y="293104"/>
                    </a:cubicBezTo>
                    <a:cubicBezTo>
                      <a:pt x="1453755" y="293104"/>
                      <a:pt x="1443780" y="283385"/>
                      <a:pt x="1443780" y="273410"/>
                    </a:cubicBezTo>
                    <a:cubicBezTo>
                      <a:pt x="1434061" y="263691"/>
                      <a:pt x="1424087" y="273410"/>
                      <a:pt x="1414368" y="273410"/>
                    </a:cubicBezTo>
                    <a:cubicBezTo>
                      <a:pt x="1404649" y="273410"/>
                      <a:pt x="1404649" y="253716"/>
                      <a:pt x="1394674" y="253716"/>
                    </a:cubicBezTo>
                    <a:cubicBezTo>
                      <a:pt x="1394674" y="253716"/>
                      <a:pt x="1384955" y="273410"/>
                      <a:pt x="1374980" y="263435"/>
                    </a:cubicBezTo>
                    <a:cubicBezTo>
                      <a:pt x="1374980" y="253716"/>
                      <a:pt x="1365261" y="253716"/>
                      <a:pt x="1365261" y="253716"/>
                    </a:cubicBezTo>
                    <a:cubicBezTo>
                      <a:pt x="1365261" y="253716"/>
                      <a:pt x="1365261" y="253716"/>
                      <a:pt x="1355542" y="243998"/>
                    </a:cubicBezTo>
                    <a:lnTo>
                      <a:pt x="1335848" y="243998"/>
                    </a:lnTo>
                    <a:cubicBezTo>
                      <a:pt x="1325874" y="243998"/>
                      <a:pt x="1325874" y="234279"/>
                      <a:pt x="1325874" y="234279"/>
                    </a:cubicBezTo>
                    <a:cubicBezTo>
                      <a:pt x="1316155" y="234279"/>
                      <a:pt x="1316155" y="234279"/>
                      <a:pt x="1316155" y="243998"/>
                    </a:cubicBezTo>
                    <a:cubicBezTo>
                      <a:pt x="1316155" y="253716"/>
                      <a:pt x="1306436" y="243998"/>
                      <a:pt x="1306436" y="253716"/>
                    </a:cubicBezTo>
                    <a:lnTo>
                      <a:pt x="1296717" y="243998"/>
                    </a:lnTo>
                    <a:cubicBezTo>
                      <a:pt x="1286998" y="234279"/>
                      <a:pt x="1286998" y="234279"/>
                      <a:pt x="1277023" y="234279"/>
                    </a:cubicBezTo>
                    <a:cubicBezTo>
                      <a:pt x="1277023" y="234279"/>
                      <a:pt x="1267304" y="224560"/>
                      <a:pt x="1267304" y="214585"/>
                    </a:cubicBezTo>
                    <a:cubicBezTo>
                      <a:pt x="1267304" y="214585"/>
                      <a:pt x="1267304" y="214585"/>
                      <a:pt x="1257585" y="204866"/>
                    </a:cubicBezTo>
                    <a:lnTo>
                      <a:pt x="1247866" y="195147"/>
                    </a:lnTo>
                    <a:cubicBezTo>
                      <a:pt x="1237891" y="195147"/>
                      <a:pt x="1228172" y="204866"/>
                      <a:pt x="1228172" y="204866"/>
                    </a:cubicBezTo>
                    <a:cubicBezTo>
                      <a:pt x="1218453" y="204866"/>
                      <a:pt x="1208479" y="204866"/>
                      <a:pt x="1208479" y="204866"/>
                    </a:cubicBezTo>
                    <a:cubicBezTo>
                      <a:pt x="1198760" y="214585"/>
                      <a:pt x="1188785" y="214585"/>
                      <a:pt x="1188785" y="224560"/>
                    </a:cubicBezTo>
                    <a:cubicBezTo>
                      <a:pt x="1178810" y="224560"/>
                      <a:pt x="1178810" y="214841"/>
                      <a:pt x="1178810" y="214841"/>
                    </a:cubicBezTo>
                    <a:cubicBezTo>
                      <a:pt x="1169091" y="205122"/>
                      <a:pt x="1159117" y="214841"/>
                      <a:pt x="1149397" y="205122"/>
                    </a:cubicBezTo>
                    <a:cubicBezTo>
                      <a:pt x="1139423" y="195403"/>
                      <a:pt x="1119985" y="195403"/>
                      <a:pt x="1110010" y="205122"/>
                    </a:cubicBezTo>
                    <a:cubicBezTo>
                      <a:pt x="1100291" y="214841"/>
                      <a:pt x="1100291" y="195403"/>
                      <a:pt x="1090316" y="195403"/>
                    </a:cubicBezTo>
                    <a:cubicBezTo>
                      <a:pt x="1080597" y="195403"/>
                      <a:pt x="1080597" y="185684"/>
                      <a:pt x="1080597" y="175709"/>
                    </a:cubicBezTo>
                    <a:cubicBezTo>
                      <a:pt x="1080597" y="165990"/>
                      <a:pt x="1080597" y="165990"/>
                      <a:pt x="1080597" y="165990"/>
                    </a:cubicBezTo>
                    <a:cubicBezTo>
                      <a:pt x="1080597" y="156271"/>
                      <a:pt x="1070878" y="165990"/>
                      <a:pt x="1070878" y="156271"/>
                    </a:cubicBezTo>
                    <a:cubicBezTo>
                      <a:pt x="1070878" y="156271"/>
                      <a:pt x="1070878" y="146552"/>
                      <a:pt x="1061159" y="146552"/>
                    </a:cubicBezTo>
                    <a:lnTo>
                      <a:pt x="1061159" y="136833"/>
                    </a:lnTo>
                    <a:lnTo>
                      <a:pt x="1051185" y="136833"/>
                    </a:lnTo>
                    <a:cubicBezTo>
                      <a:pt x="1041466" y="127114"/>
                      <a:pt x="1051185" y="117139"/>
                      <a:pt x="1031491" y="117139"/>
                    </a:cubicBezTo>
                    <a:cubicBezTo>
                      <a:pt x="1031491" y="117139"/>
                      <a:pt x="1021772" y="117139"/>
                      <a:pt x="1011797" y="117139"/>
                    </a:cubicBezTo>
                    <a:cubicBezTo>
                      <a:pt x="1011797" y="126858"/>
                      <a:pt x="1011797" y="117139"/>
                      <a:pt x="1002078" y="117139"/>
                    </a:cubicBezTo>
                    <a:cubicBezTo>
                      <a:pt x="1002078" y="117139"/>
                      <a:pt x="992103" y="117139"/>
                      <a:pt x="982384" y="117139"/>
                    </a:cubicBezTo>
                    <a:lnTo>
                      <a:pt x="972665" y="117139"/>
                    </a:lnTo>
                    <a:cubicBezTo>
                      <a:pt x="972665" y="107420"/>
                      <a:pt x="982384" y="107420"/>
                      <a:pt x="972665" y="97446"/>
                    </a:cubicBezTo>
                    <a:cubicBezTo>
                      <a:pt x="962946" y="97446"/>
                      <a:pt x="962946" y="97446"/>
                      <a:pt x="962946" y="87727"/>
                    </a:cubicBezTo>
                    <a:cubicBezTo>
                      <a:pt x="972665" y="87727"/>
                      <a:pt x="962946" y="78008"/>
                      <a:pt x="962946" y="78008"/>
                    </a:cubicBezTo>
                    <a:lnTo>
                      <a:pt x="952972" y="68289"/>
                    </a:lnTo>
                    <a:cubicBezTo>
                      <a:pt x="962946" y="68289"/>
                      <a:pt x="992359" y="68289"/>
                      <a:pt x="972665" y="58570"/>
                    </a:cubicBezTo>
                    <a:cubicBezTo>
                      <a:pt x="972665" y="48851"/>
                      <a:pt x="972665" y="48851"/>
                      <a:pt x="962946" y="48851"/>
                    </a:cubicBezTo>
                    <a:cubicBezTo>
                      <a:pt x="962946" y="48851"/>
                      <a:pt x="962946" y="39132"/>
                      <a:pt x="952972" y="39132"/>
                    </a:cubicBezTo>
                    <a:lnTo>
                      <a:pt x="943253" y="29413"/>
                    </a:lnTo>
                    <a:cubicBezTo>
                      <a:pt x="943253" y="19694"/>
                      <a:pt x="943253" y="19694"/>
                      <a:pt x="943253" y="9719"/>
                    </a:cubicBezTo>
                    <a:cubicBezTo>
                      <a:pt x="923559" y="9719"/>
                      <a:pt x="923559" y="0"/>
                      <a:pt x="913840" y="0"/>
                    </a:cubicBezTo>
                    <a:cubicBezTo>
                      <a:pt x="903865" y="0"/>
                      <a:pt x="903865" y="9719"/>
                      <a:pt x="894146" y="9719"/>
                    </a:cubicBezTo>
                    <a:cubicBezTo>
                      <a:pt x="894146" y="0"/>
                      <a:pt x="894146" y="0"/>
                      <a:pt x="894146" y="0"/>
                    </a:cubicBezTo>
                    <a:cubicBezTo>
                      <a:pt x="894146" y="0"/>
                      <a:pt x="894146" y="0"/>
                      <a:pt x="884427" y="0"/>
                    </a:cubicBezTo>
                    <a:cubicBezTo>
                      <a:pt x="884427" y="0"/>
                      <a:pt x="874708" y="0"/>
                      <a:pt x="864734" y="0"/>
                    </a:cubicBezTo>
                    <a:cubicBezTo>
                      <a:pt x="864734" y="0"/>
                      <a:pt x="855015" y="0"/>
                      <a:pt x="855015" y="9719"/>
                    </a:cubicBezTo>
                    <a:cubicBezTo>
                      <a:pt x="845296" y="9719"/>
                      <a:pt x="835321" y="9719"/>
                      <a:pt x="825602" y="0"/>
                    </a:cubicBezTo>
                    <a:cubicBezTo>
                      <a:pt x="815883" y="0"/>
                      <a:pt x="805908" y="0"/>
                      <a:pt x="805908" y="9719"/>
                    </a:cubicBezTo>
                    <a:cubicBezTo>
                      <a:pt x="805908" y="9719"/>
                      <a:pt x="805908" y="29413"/>
                      <a:pt x="796189" y="29413"/>
                    </a:cubicBezTo>
                    <a:cubicBezTo>
                      <a:pt x="786470" y="29413"/>
                      <a:pt x="776496" y="29413"/>
                      <a:pt x="776496" y="29413"/>
                    </a:cubicBezTo>
                    <a:cubicBezTo>
                      <a:pt x="766521" y="29413"/>
                      <a:pt x="766521" y="29413"/>
                      <a:pt x="766521" y="29413"/>
                    </a:cubicBezTo>
                    <a:cubicBezTo>
                      <a:pt x="766521" y="19694"/>
                      <a:pt x="756802" y="29413"/>
                      <a:pt x="756802" y="29413"/>
                    </a:cubicBezTo>
                    <a:cubicBezTo>
                      <a:pt x="747083" y="29413"/>
                      <a:pt x="727389" y="19694"/>
                      <a:pt x="717414" y="29413"/>
                    </a:cubicBezTo>
                    <a:lnTo>
                      <a:pt x="688002" y="29413"/>
                    </a:lnTo>
                    <a:cubicBezTo>
                      <a:pt x="688002" y="29413"/>
                      <a:pt x="697721" y="29413"/>
                      <a:pt x="688002" y="39132"/>
                    </a:cubicBezTo>
                    <a:cubicBezTo>
                      <a:pt x="678027" y="39132"/>
                      <a:pt x="678027" y="39132"/>
                      <a:pt x="678027" y="48851"/>
                    </a:cubicBezTo>
                    <a:cubicBezTo>
                      <a:pt x="678027" y="48851"/>
                      <a:pt x="678027" y="48851"/>
                      <a:pt x="668308" y="58570"/>
                    </a:cubicBezTo>
                    <a:lnTo>
                      <a:pt x="668308" y="68289"/>
                    </a:lnTo>
                    <a:cubicBezTo>
                      <a:pt x="663448" y="73148"/>
                      <a:pt x="660891" y="75706"/>
                      <a:pt x="659612" y="76985"/>
                    </a:cubicBezTo>
                    <a:cubicBezTo>
                      <a:pt x="658333" y="78263"/>
                      <a:pt x="658333" y="78263"/>
                      <a:pt x="658333" y="78263"/>
                    </a:cubicBezTo>
                    <a:cubicBezTo>
                      <a:pt x="668052" y="87982"/>
                      <a:pt x="668052" y="78263"/>
                      <a:pt x="668052" y="87982"/>
                    </a:cubicBezTo>
                    <a:lnTo>
                      <a:pt x="668052" y="97701"/>
                    </a:lnTo>
                    <a:cubicBezTo>
                      <a:pt x="677771" y="97701"/>
                      <a:pt x="677771" y="107420"/>
                      <a:pt x="677771" y="107420"/>
                    </a:cubicBezTo>
                    <a:cubicBezTo>
                      <a:pt x="668052" y="107420"/>
                      <a:pt x="668052" y="107420"/>
                      <a:pt x="668052" y="117139"/>
                    </a:cubicBezTo>
                    <a:cubicBezTo>
                      <a:pt x="658333" y="107420"/>
                      <a:pt x="648358" y="107420"/>
                      <a:pt x="648358" y="97446"/>
                    </a:cubicBezTo>
                    <a:lnTo>
                      <a:pt x="638639" y="87727"/>
                    </a:lnTo>
                    <a:lnTo>
                      <a:pt x="609227" y="87727"/>
                    </a:lnTo>
                    <a:cubicBezTo>
                      <a:pt x="609227" y="87727"/>
                      <a:pt x="609227" y="97446"/>
                      <a:pt x="599508" y="97446"/>
                    </a:cubicBezTo>
                    <a:cubicBezTo>
                      <a:pt x="599508" y="87727"/>
                      <a:pt x="599508" y="87727"/>
                      <a:pt x="599508" y="87727"/>
                    </a:cubicBezTo>
                    <a:cubicBezTo>
                      <a:pt x="589789" y="87727"/>
                      <a:pt x="579814" y="97446"/>
                      <a:pt x="579814" y="97446"/>
                    </a:cubicBezTo>
                    <a:lnTo>
                      <a:pt x="570095" y="97446"/>
                    </a:lnTo>
                    <a:cubicBezTo>
                      <a:pt x="570095" y="97446"/>
                      <a:pt x="560376" y="97446"/>
                      <a:pt x="560376" y="87727"/>
                    </a:cubicBezTo>
                    <a:cubicBezTo>
                      <a:pt x="560376" y="87727"/>
                      <a:pt x="560376" y="87727"/>
                      <a:pt x="560376" y="78008"/>
                    </a:cubicBezTo>
                    <a:cubicBezTo>
                      <a:pt x="550657" y="78008"/>
                      <a:pt x="550657" y="78008"/>
                      <a:pt x="550657" y="78008"/>
                    </a:cubicBezTo>
                    <a:cubicBezTo>
                      <a:pt x="550657" y="68289"/>
                      <a:pt x="540938" y="68289"/>
                      <a:pt x="540938" y="78008"/>
                    </a:cubicBezTo>
                    <a:cubicBezTo>
                      <a:pt x="536079" y="78008"/>
                      <a:pt x="530963" y="78008"/>
                      <a:pt x="527383" y="79286"/>
                    </a:cubicBezTo>
                    <a:cubicBezTo>
                      <a:pt x="523802" y="80565"/>
                      <a:pt x="521244" y="82867"/>
                      <a:pt x="521244" y="87982"/>
                    </a:cubicBezTo>
                    <a:lnTo>
                      <a:pt x="521244" y="97701"/>
                    </a:lnTo>
                    <a:cubicBezTo>
                      <a:pt x="521244" y="87982"/>
                      <a:pt x="511525" y="97701"/>
                      <a:pt x="511525" y="87982"/>
                    </a:cubicBezTo>
                    <a:cubicBezTo>
                      <a:pt x="511525" y="78263"/>
                      <a:pt x="501806" y="78263"/>
                      <a:pt x="501806" y="78263"/>
                    </a:cubicBezTo>
                    <a:cubicBezTo>
                      <a:pt x="491832" y="78263"/>
                      <a:pt x="482113" y="87982"/>
                      <a:pt x="482113" y="78263"/>
                    </a:cubicBezTo>
                    <a:cubicBezTo>
                      <a:pt x="482113" y="78263"/>
                      <a:pt x="472394" y="78263"/>
                      <a:pt x="472394" y="68544"/>
                    </a:cubicBezTo>
                    <a:lnTo>
                      <a:pt x="472394" y="78263"/>
                    </a:lnTo>
                    <a:cubicBezTo>
                      <a:pt x="462675" y="87982"/>
                      <a:pt x="452700" y="78263"/>
                      <a:pt x="452700" y="78263"/>
                    </a:cubicBezTo>
                    <a:cubicBezTo>
                      <a:pt x="442981" y="68544"/>
                      <a:pt x="442981" y="78263"/>
                      <a:pt x="442981" y="87982"/>
                    </a:cubicBezTo>
                    <a:cubicBezTo>
                      <a:pt x="442981" y="87982"/>
                      <a:pt x="433006" y="97701"/>
                      <a:pt x="433006" y="87982"/>
                    </a:cubicBezTo>
                    <a:lnTo>
                      <a:pt x="433006" y="78263"/>
                    </a:lnTo>
                    <a:cubicBezTo>
                      <a:pt x="423287" y="78263"/>
                      <a:pt x="413313" y="68544"/>
                      <a:pt x="413313" y="78263"/>
                    </a:cubicBezTo>
                    <a:cubicBezTo>
                      <a:pt x="413313" y="78263"/>
                      <a:pt x="403594" y="78263"/>
                      <a:pt x="393619" y="78263"/>
                    </a:cubicBezTo>
                    <a:cubicBezTo>
                      <a:pt x="393619" y="78263"/>
                      <a:pt x="403594" y="78263"/>
                      <a:pt x="393619" y="68544"/>
                    </a:cubicBezTo>
                    <a:cubicBezTo>
                      <a:pt x="388759" y="68544"/>
                      <a:pt x="388759" y="65987"/>
                      <a:pt x="388759" y="63685"/>
                    </a:cubicBezTo>
                    <a:cubicBezTo>
                      <a:pt x="388759" y="61383"/>
                      <a:pt x="388759" y="58825"/>
                      <a:pt x="383900" y="58825"/>
                    </a:cubicBezTo>
                    <a:cubicBezTo>
                      <a:pt x="383900" y="58825"/>
                      <a:pt x="374181" y="58825"/>
                      <a:pt x="364206" y="58825"/>
                    </a:cubicBezTo>
                    <a:cubicBezTo>
                      <a:pt x="364206" y="58825"/>
                      <a:pt x="354487" y="58825"/>
                      <a:pt x="344512" y="58825"/>
                    </a:cubicBezTo>
                    <a:cubicBezTo>
                      <a:pt x="344512" y="58825"/>
                      <a:pt x="324819" y="58825"/>
                      <a:pt x="324819" y="49106"/>
                    </a:cubicBezTo>
                    <a:cubicBezTo>
                      <a:pt x="324819" y="49106"/>
                      <a:pt x="315100" y="49106"/>
                      <a:pt x="305125" y="49106"/>
                    </a:cubicBezTo>
                    <a:cubicBezTo>
                      <a:pt x="305125" y="49106"/>
                      <a:pt x="295406" y="49106"/>
                      <a:pt x="285431" y="49106"/>
                    </a:cubicBezTo>
                    <a:cubicBezTo>
                      <a:pt x="285431" y="49106"/>
                      <a:pt x="275712" y="39387"/>
                      <a:pt x="265737" y="39387"/>
                    </a:cubicBezTo>
                    <a:cubicBezTo>
                      <a:pt x="256018" y="39387"/>
                      <a:pt x="246044" y="49106"/>
                      <a:pt x="236325" y="39387"/>
                    </a:cubicBezTo>
                    <a:cubicBezTo>
                      <a:pt x="226606" y="39387"/>
                      <a:pt x="226606" y="39387"/>
                      <a:pt x="216631" y="39387"/>
                    </a:cubicBezTo>
                    <a:cubicBezTo>
                      <a:pt x="206656" y="49106"/>
                      <a:pt x="196937" y="49106"/>
                      <a:pt x="187218" y="49106"/>
                    </a:cubicBezTo>
                    <a:cubicBezTo>
                      <a:pt x="177499" y="49106"/>
                      <a:pt x="177499" y="49106"/>
                      <a:pt x="167525" y="49106"/>
                    </a:cubicBezTo>
                    <a:cubicBezTo>
                      <a:pt x="157550" y="49106"/>
                      <a:pt x="157550" y="49106"/>
                      <a:pt x="157550" y="58825"/>
                    </a:cubicBezTo>
                    <a:cubicBezTo>
                      <a:pt x="147831" y="58825"/>
                      <a:pt x="147831" y="68544"/>
                      <a:pt x="137856" y="68544"/>
                    </a:cubicBezTo>
                    <a:cubicBezTo>
                      <a:pt x="137856" y="78263"/>
                      <a:pt x="128137" y="78263"/>
                      <a:pt x="118162" y="78263"/>
                    </a:cubicBezTo>
                    <a:cubicBezTo>
                      <a:pt x="118162" y="68544"/>
                      <a:pt x="108443" y="68544"/>
                      <a:pt x="108443" y="68544"/>
                    </a:cubicBezTo>
                    <a:cubicBezTo>
                      <a:pt x="108443" y="68544"/>
                      <a:pt x="98724" y="68544"/>
                      <a:pt x="98724" y="78263"/>
                    </a:cubicBezTo>
                    <a:lnTo>
                      <a:pt x="98724" y="87982"/>
                    </a:lnTo>
                    <a:cubicBezTo>
                      <a:pt x="98724" y="87982"/>
                      <a:pt x="108443" y="97701"/>
                      <a:pt x="98724" y="97701"/>
                    </a:cubicBezTo>
                    <a:cubicBezTo>
                      <a:pt x="98724" y="107420"/>
                      <a:pt x="108443" y="107420"/>
                      <a:pt x="108443" y="117395"/>
                    </a:cubicBezTo>
                    <a:cubicBezTo>
                      <a:pt x="108443" y="117395"/>
                      <a:pt x="118162" y="117395"/>
                      <a:pt x="118162" y="127114"/>
                    </a:cubicBezTo>
                    <a:cubicBezTo>
                      <a:pt x="118162" y="127114"/>
                      <a:pt x="128137" y="127114"/>
                      <a:pt x="128137" y="136833"/>
                    </a:cubicBezTo>
                    <a:cubicBezTo>
                      <a:pt x="128137" y="146552"/>
                      <a:pt x="137856" y="146552"/>
                      <a:pt x="137856" y="146552"/>
                    </a:cubicBezTo>
                    <a:cubicBezTo>
                      <a:pt x="147575" y="156271"/>
                      <a:pt x="147575" y="156271"/>
                      <a:pt x="137856" y="156271"/>
                    </a:cubicBezTo>
                    <a:cubicBezTo>
                      <a:pt x="128137" y="156271"/>
                      <a:pt x="137856" y="165990"/>
                      <a:pt x="137856" y="165990"/>
                    </a:cubicBezTo>
                    <a:cubicBezTo>
                      <a:pt x="147575" y="175709"/>
                      <a:pt x="147575" y="185684"/>
                      <a:pt x="147575" y="185684"/>
                    </a:cubicBezTo>
                    <a:cubicBezTo>
                      <a:pt x="137856" y="195403"/>
                      <a:pt x="147575" y="205377"/>
                      <a:pt x="127881" y="205377"/>
                    </a:cubicBezTo>
                    <a:cubicBezTo>
                      <a:pt x="117907" y="205377"/>
                      <a:pt x="117907" y="205377"/>
                      <a:pt x="108188" y="215096"/>
                    </a:cubicBezTo>
                    <a:cubicBezTo>
                      <a:pt x="98469" y="215096"/>
                      <a:pt x="88494" y="224815"/>
                      <a:pt x="88494" y="234790"/>
                    </a:cubicBezTo>
                    <a:cubicBezTo>
                      <a:pt x="78775" y="244509"/>
                      <a:pt x="68800" y="244509"/>
                      <a:pt x="59081" y="254484"/>
                    </a:cubicBezTo>
                    <a:cubicBezTo>
                      <a:pt x="59081" y="264203"/>
                      <a:pt x="49362" y="274177"/>
                      <a:pt x="39387" y="283896"/>
                    </a:cubicBezTo>
                    <a:cubicBezTo>
                      <a:pt x="29668" y="283896"/>
                      <a:pt x="39387" y="293615"/>
                      <a:pt x="39387" y="303590"/>
                    </a:cubicBezTo>
                    <a:cubicBezTo>
                      <a:pt x="39387" y="313309"/>
                      <a:pt x="39387" y="313309"/>
                      <a:pt x="39387" y="323284"/>
                    </a:cubicBezTo>
                    <a:cubicBezTo>
                      <a:pt x="39387" y="333003"/>
                      <a:pt x="49106" y="333003"/>
                      <a:pt x="49106" y="333003"/>
                    </a:cubicBezTo>
                    <a:lnTo>
                      <a:pt x="58825" y="342722"/>
                    </a:lnTo>
                    <a:cubicBezTo>
                      <a:pt x="49106" y="352441"/>
                      <a:pt x="49106" y="342722"/>
                      <a:pt x="39132" y="342722"/>
                    </a:cubicBezTo>
                    <a:cubicBezTo>
                      <a:pt x="39132" y="342722"/>
                      <a:pt x="39132" y="342722"/>
                      <a:pt x="29413" y="342722"/>
                    </a:cubicBezTo>
                    <a:cubicBezTo>
                      <a:pt x="29413" y="342722"/>
                      <a:pt x="29413" y="342722"/>
                      <a:pt x="29413" y="352441"/>
                    </a:cubicBezTo>
                    <a:cubicBezTo>
                      <a:pt x="19438" y="352441"/>
                      <a:pt x="19438" y="362160"/>
                      <a:pt x="19438" y="362160"/>
                    </a:cubicBezTo>
                    <a:cubicBezTo>
                      <a:pt x="9719" y="371879"/>
                      <a:pt x="19438" y="371879"/>
                      <a:pt x="9719" y="381854"/>
                    </a:cubicBezTo>
                    <a:cubicBezTo>
                      <a:pt x="9719" y="381854"/>
                      <a:pt x="0" y="381854"/>
                      <a:pt x="0" y="391573"/>
                    </a:cubicBezTo>
                    <a:cubicBezTo>
                      <a:pt x="0" y="391573"/>
                      <a:pt x="0" y="401291"/>
                      <a:pt x="0" y="411266"/>
                    </a:cubicBezTo>
                    <a:cubicBezTo>
                      <a:pt x="0" y="411266"/>
                      <a:pt x="0" y="401547"/>
                      <a:pt x="9719" y="411266"/>
                    </a:cubicBezTo>
                    <a:cubicBezTo>
                      <a:pt x="9719" y="411266"/>
                      <a:pt x="9719" y="411266"/>
                      <a:pt x="9719" y="420985"/>
                    </a:cubicBezTo>
                    <a:cubicBezTo>
                      <a:pt x="19438" y="420985"/>
                      <a:pt x="19438" y="430704"/>
                      <a:pt x="29413" y="430704"/>
                    </a:cubicBezTo>
                    <a:cubicBezTo>
                      <a:pt x="29413" y="430704"/>
                      <a:pt x="39132" y="430704"/>
                      <a:pt x="39132" y="440423"/>
                    </a:cubicBezTo>
                    <a:cubicBezTo>
                      <a:pt x="39132" y="440423"/>
                      <a:pt x="48851" y="440423"/>
                      <a:pt x="58825" y="440423"/>
                    </a:cubicBezTo>
                    <a:cubicBezTo>
                      <a:pt x="68800" y="440423"/>
                      <a:pt x="58825" y="450142"/>
                      <a:pt x="58825" y="460117"/>
                    </a:cubicBezTo>
                    <a:cubicBezTo>
                      <a:pt x="68800" y="460117"/>
                      <a:pt x="68800" y="450398"/>
                      <a:pt x="68800" y="450398"/>
                    </a:cubicBezTo>
                    <a:cubicBezTo>
                      <a:pt x="78519" y="450398"/>
                      <a:pt x="78519" y="460117"/>
                      <a:pt x="78519" y="450398"/>
                    </a:cubicBezTo>
                    <a:cubicBezTo>
                      <a:pt x="88238" y="440679"/>
                      <a:pt x="88238" y="440679"/>
                      <a:pt x="98213" y="440679"/>
                    </a:cubicBezTo>
                    <a:cubicBezTo>
                      <a:pt x="98213" y="450398"/>
                      <a:pt x="98213" y="450398"/>
                      <a:pt x="107932" y="450398"/>
                    </a:cubicBezTo>
                    <a:cubicBezTo>
                      <a:pt x="117651" y="450398"/>
                      <a:pt x="117651" y="450398"/>
                      <a:pt x="127626" y="450398"/>
                    </a:cubicBezTo>
                    <a:cubicBezTo>
                      <a:pt x="127626" y="450398"/>
                      <a:pt x="137345" y="450398"/>
                      <a:pt x="147319" y="460117"/>
                    </a:cubicBezTo>
                    <a:lnTo>
                      <a:pt x="157038" y="460117"/>
                    </a:lnTo>
                    <a:cubicBezTo>
                      <a:pt x="167013" y="460117"/>
                      <a:pt x="167013" y="460117"/>
                      <a:pt x="176732" y="460117"/>
                    </a:cubicBezTo>
                    <a:cubicBezTo>
                      <a:pt x="186451" y="460117"/>
                      <a:pt x="186451" y="460117"/>
                      <a:pt x="196426" y="460117"/>
                    </a:cubicBezTo>
                    <a:cubicBezTo>
                      <a:pt x="206145" y="460117"/>
                      <a:pt x="206145" y="460117"/>
                      <a:pt x="216119" y="460117"/>
                    </a:cubicBezTo>
                    <a:cubicBezTo>
                      <a:pt x="216119" y="469836"/>
                      <a:pt x="225838" y="469836"/>
                      <a:pt x="225838" y="469836"/>
                    </a:cubicBezTo>
                    <a:cubicBezTo>
                      <a:pt x="235557" y="479555"/>
                      <a:pt x="235557" y="479555"/>
                      <a:pt x="245532" y="479555"/>
                    </a:cubicBezTo>
                    <a:cubicBezTo>
                      <a:pt x="255507" y="479555"/>
                      <a:pt x="255507" y="469836"/>
                      <a:pt x="255507" y="469836"/>
                    </a:cubicBezTo>
                    <a:cubicBezTo>
                      <a:pt x="265226" y="460117"/>
                      <a:pt x="275201" y="460117"/>
                      <a:pt x="284920" y="460117"/>
                    </a:cubicBezTo>
                    <a:cubicBezTo>
                      <a:pt x="284920" y="460117"/>
                      <a:pt x="294639" y="460117"/>
                      <a:pt x="304613" y="460117"/>
                    </a:cubicBezTo>
                    <a:cubicBezTo>
                      <a:pt x="304613" y="460117"/>
                      <a:pt x="314588" y="450398"/>
                      <a:pt x="324307" y="450398"/>
                    </a:cubicBezTo>
                    <a:cubicBezTo>
                      <a:pt x="334026" y="450398"/>
                      <a:pt x="344001" y="450398"/>
                      <a:pt x="344001" y="450398"/>
                    </a:cubicBezTo>
                    <a:cubicBezTo>
                      <a:pt x="344001" y="440679"/>
                      <a:pt x="344001" y="430704"/>
                      <a:pt x="353976" y="430704"/>
                    </a:cubicBezTo>
                    <a:lnTo>
                      <a:pt x="363695" y="430704"/>
                    </a:lnTo>
                    <a:cubicBezTo>
                      <a:pt x="373414" y="430704"/>
                      <a:pt x="373414" y="420985"/>
                      <a:pt x="383388" y="420985"/>
                    </a:cubicBezTo>
                    <a:cubicBezTo>
                      <a:pt x="383388" y="411266"/>
                      <a:pt x="393107" y="430704"/>
                      <a:pt x="393107" y="420985"/>
                    </a:cubicBezTo>
                    <a:cubicBezTo>
                      <a:pt x="393107" y="411266"/>
                      <a:pt x="383388" y="411266"/>
                      <a:pt x="393107" y="411266"/>
                    </a:cubicBezTo>
                    <a:cubicBezTo>
                      <a:pt x="393107" y="411266"/>
                      <a:pt x="412801" y="420985"/>
                      <a:pt x="412801" y="411266"/>
                    </a:cubicBezTo>
                    <a:lnTo>
                      <a:pt x="422520" y="411266"/>
                    </a:lnTo>
                    <a:cubicBezTo>
                      <a:pt x="432239" y="411266"/>
                      <a:pt x="432239" y="411266"/>
                      <a:pt x="432239" y="411266"/>
                    </a:cubicBezTo>
                    <a:cubicBezTo>
                      <a:pt x="442214" y="401547"/>
                      <a:pt x="442214" y="411266"/>
                      <a:pt x="442214" y="401547"/>
                    </a:cubicBezTo>
                    <a:cubicBezTo>
                      <a:pt x="451933" y="401547"/>
                      <a:pt x="451933" y="401547"/>
                      <a:pt x="451933" y="401547"/>
                    </a:cubicBezTo>
                    <a:cubicBezTo>
                      <a:pt x="461652" y="411266"/>
                      <a:pt x="461652" y="401547"/>
                      <a:pt x="471626" y="411266"/>
                    </a:cubicBezTo>
                    <a:lnTo>
                      <a:pt x="481345" y="411266"/>
                    </a:lnTo>
                    <a:cubicBezTo>
                      <a:pt x="491064" y="420985"/>
                      <a:pt x="501039" y="420985"/>
                      <a:pt x="501039" y="430960"/>
                    </a:cubicBezTo>
                    <a:cubicBezTo>
                      <a:pt x="510758" y="430960"/>
                      <a:pt x="510758" y="430960"/>
                      <a:pt x="510758" y="430960"/>
                    </a:cubicBezTo>
                    <a:cubicBezTo>
                      <a:pt x="510758" y="430960"/>
                      <a:pt x="520477" y="421241"/>
                      <a:pt x="520477" y="430960"/>
                    </a:cubicBezTo>
                    <a:cubicBezTo>
                      <a:pt x="520477" y="440679"/>
                      <a:pt x="520477" y="440679"/>
                      <a:pt x="520477" y="440679"/>
                    </a:cubicBezTo>
                    <a:cubicBezTo>
                      <a:pt x="530196" y="430960"/>
                      <a:pt x="530196" y="450398"/>
                      <a:pt x="530196" y="440679"/>
                    </a:cubicBezTo>
                    <a:cubicBezTo>
                      <a:pt x="530196" y="440679"/>
                      <a:pt x="532754" y="440679"/>
                      <a:pt x="535056" y="439400"/>
                    </a:cubicBezTo>
                    <a:cubicBezTo>
                      <a:pt x="537613" y="438121"/>
                      <a:pt x="539915" y="435819"/>
                      <a:pt x="539915" y="430704"/>
                    </a:cubicBezTo>
                    <a:cubicBezTo>
                      <a:pt x="539915" y="430704"/>
                      <a:pt x="549634" y="440423"/>
                      <a:pt x="559609" y="440423"/>
                    </a:cubicBezTo>
                    <a:cubicBezTo>
                      <a:pt x="559609" y="440423"/>
                      <a:pt x="579302" y="469836"/>
                      <a:pt x="579302" y="460117"/>
                    </a:cubicBezTo>
                    <a:cubicBezTo>
                      <a:pt x="589277" y="450398"/>
                      <a:pt x="598996" y="469836"/>
                      <a:pt x="598996" y="469836"/>
                    </a:cubicBezTo>
                    <a:cubicBezTo>
                      <a:pt x="589277" y="469836"/>
                      <a:pt x="598996" y="479555"/>
                      <a:pt x="598996" y="479555"/>
                    </a:cubicBezTo>
                    <a:lnTo>
                      <a:pt x="598996" y="489274"/>
                    </a:lnTo>
                    <a:cubicBezTo>
                      <a:pt x="598996" y="498993"/>
                      <a:pt x="589277" y="498993"/>
                      <a:pt x="589277" y="498993"/>
                    </a:cubicBezTo>
                    <a:cubicBezTo>
                      <a:pt x="598996" y="508712"/>
                      <a:pt x="598996" y="508712"/>
                      <a:pt x="598996" y="508712"/>
                    </a:cubicBezTo>
                    <a:cubicBezTo>
                      <a:pt x="608715" y="508712"/>
                      <a:pt x="618690" y="528406"/>
                      <a:pt x="618690" y="528406"/>
                    </a:cubicBezTo>
                    <a:cubicBezTo>
                      <a:pt x="628665" y="528406"/>
                      <a:pt x="628665" y="518687"/>
                      <a:pt x="628665" y="518687"/>
                    </a:cubicBezTo>
                    <a:lnTo>
                      <a:pt x="638384" y="528406"/>
                    </a:lnTo>
                    <a:cubicBezTo>
                      <a:pt x="638384" y="528406"/>
                      <a:pt x="628665" y="528406"/>
                      <a:pt x="628665" y="538124"/>
                    </a:cubicBezTo>
                    <a:cubicBezTo>
                      <a:pt x="628665" y="538124"/>
                      <a:pt x="638384" y="547843"/>
                      <a:pt x="628665" y="547843"/>
                    </a:cubicBezTo>
                    <a:lnTo>
                      <a:pt x="638384" y="547843"/>
                    </a:lnTo>
                    <a:cubicBezTo>
                      <a:pt x="638384" y="557562"/>
                      <a:pt x="638384" y="557562"/>
                      <a:pt x="638384" y="557562"/>
                    </a:cubicBezTo>
                    <a:cubicBezTo>
                      <a:pt x="638384" y="567281"/>
                      <a:pt x="648103" y="567281"/>
                      <a:pt x="648103" y="567281"/>
                    </a:cubicBezTo>
                    <a:cubicBezTo>
                      <a:pt x="648103" y="567281"/>
                      <a:pt x="648103" y="567281"/>
                      <a:pt x="657822" y="567281"/>
                    </a:cubicBezTo>
                    <a:lnTo>
                      <a:pt x="667541" y="577000"/>
                    </a:lnTo>
                    <a:cubicBezTo>
                      <a:pt x="667541" y="586719"/>
                      <a:pt x="677260" y="596694"/>
                      <a:pt x="677260" y="606413"/>
                    </a:cubicBezTo>
                    <a:cubicBezTo>
                      <a:pt x="677260" y="616132"/>
                      <a:pt x="677260" y="616132"/>
                      <a:pt x="687234" y="616132"/>
                    </a:cubicBezTo>
                    <a:cubicBezTo>
                      <a:pt x="687234" y="616132"/>
                      <a:pt x="687234" y="616132"/>
                      <a:pt x="687234" y="625851"/>
                    </a:cubicBezTo>
                    <a:cubicBezTo>
                      <a:pt x="687234" y="625851"/>
                      <a:pt x="696953" y="616132"/>
                      <a:pt x="696953" y="625851"/>
                    </a:cubicBezTo>
                    <a:cubicBezTo>
                      <a:pt x="696953" y="625851"/>
                      <a:pt x="706672" y="635570"/>
                      <a:pt x="706672" y="625851"/>
                    </a:cubicBezTo>
                    <a:cubicBezTo>
                      <a:pt x="706672" y="625851"/>
                      <a:pt x="706672" y="635570"/>
                      <a:pt x="716391" y="635570"/>
                    </a:cubicBezTo>
                    <a:lnTo>
                      <a:pt x="716391" y="645289"/>
                    </a:lnTo>
                    <a:cubicBezTo>
                      <a:pt x="716391" y="645289"/>
                      <a:pt x="722785" y="645289"/>
                      <a:pt x="725343" y="650404"/>
                    </a:cubicBezTo>
                    <a:cubicBezTo>
                      <a:pt x="731481" y="644522"/>
                      <a:pt x="736085" y="635314"/>
                      <a:pt x="736085" y="635314"/>
                    </a:cubicBezTo>
                    <a:lnTo>
                      <a:pt x="736085" y="625595"/>
                    </a:lnTo>
                    <a:cubicBezTo>
                      <a:pt x="740945" y="625595"/>
                      <a:pt x="743502" y="623038"/>
                      <a:pt x="744781" y="620736"/>
                    </a:cubicBezTo>
                    <a:cubicBezTo>
                      <a:pt x="746060" y="618178"/>
                      <a:pt x="746060" y="615876"/>
                      <a:pt x="746060" y="615876"/>
                    </a:cubicBezTo>
                    <a:cubicBezTo>
                      <a:pt x="736341" y="606157"/>
                      <a:pt x="746060" y="606157"/>
                      <a:pt x="755779" y="596183"/>
                    </a:cubicBezTo>
                    <a:lnTo>
                      <a:pt x="795166" y="596183"/>
                    </a:lnTo>
                    <a:cubicBezTo>
                      <a:pt x="804885" y="596183"/>
                      <a:pt x="804885" y="596183"/>
                      <a:pt x="804885" y="596183"/>
                    </a:cubicBezTo>
                    <a:cubicBezTo>
                      <a:pt x="814860" y="596183"/>
                      <a:pt x="814860" y="596183"/>
                      <a:pt x="814860" y="596183"/>
                    </a:cubicBezTo>
                    <a:cubicBezTo>
                      <a:pt x="814860" y="596183"/>
                      <a:pt x="834554" y="605902"/>
                      <a:pt x="834554" y="586464"/>
                    </a:cubicBezTo>
                    <a:cubicBezTo>
                      <a:pt x="834554" y="586464"/>
                      <a:pt x="824835" y="576745"/>
                      <a:pt x="834554" y="576745"/>
                    </a:cubicBezTo>
                    <a:cubicBezTo>
                      <a:pt x="834554" y="586464"/>
                      <a:pt x="844273" y="596438"/>
                      <a:pt x="844273" y="596438"/>
                    </a:cubicBezTo>
                    <a:cubicBezTo>
                      <a:pt x="853992" y="596438"/>
                      <a:pt x="853992" y="606157"/>
                      <a:pt x="853992" y="606157"/>
                    </a:cubicBezTo>
                    <a:cubicBezTo>
                      <a:pt x="863711" y="596438"/>
                      <a:pt x="873685" y="606157"/>
                      <a:pt x="883404" y="606157"/>
                    </a:cubicBezTo>
                    <a:cubicBezTo>
                      <a:pt x="883404" y="615876"/>
                      <a:pt x="863711" y="615876"/>
                      <a:pt x="863711" y="606157"/>
                    </a:cubicBezTo>
                    <a:lnTo>
                      <a:pt x="804885" y="606157"/>
                    </a:lnTo>
                    <a:cubicBezTo>
                      <a:pt x="804885" y="606157"/>
                      <a:pt x="814860" y="606157"/>
                      <a:pt x="814860" y="615876"/>
                    </a:cubicBezTo>
                    <a:cubicBezTo>
                      <a:pt x="814860" y="606157"/>
                      <a:pt x="824579" y="606157"/>
                      <a:pt x="834554" y="615876"/>
                    </a:cubicBezTo>
                    <a:lnTo>
                      <a:pt x="844273" y="615876"/>
                    </a:lnTo>
                    <a:cubicBezTo>
                      <a:pt x="844273" y="615876"/>
                      <a:pt x="853992" y="615876"/>
                      <a:pt x="853992" y="625595"/>
                    </a:cubicBezTo>
                    <a:lnTo>
                      <a:pt x="834298" y="625595"/>
                    </a:lnTo>
                    <a:cubicBezTo>
                      <a:pt x="844017" y="625595"/>
                      <a:pt x="844017" y="635314"/>
                      <a:pt x="844017" y="635314"/>
                    </a:cubicBezTo>
                    <a:lnTo>
                      <a:pt x="853736" y="635314"/>
                    </a:lnTo>
                    <a:cubicBezTo>
                      <a:pt x="863455" y="635314"/>
                      <a:pt x="863455" y="645033"/>
                      <a:pt x="873430" y="645033"/>
                    </a:cubicBezTo>
                    <a:cubicBezTo>
                      <a:pt x="863455" y="645033"/>
                      <a:pt x="873430" y="654752"/>
                      <a:pt x="883149" y="654752"/>
                    </a:cubicBezTo>
                    <a:cubicBezTo>
                      <a:pt x="892868" y="654752"/>
                      <a:pt x="892868" y="654752"/>
                      <a:pt x="902842" y="645033"/>
                    </a:cubicBezTo>
                    <a:cubicBezTo>
                      <a:pt x="912817" y="645033"/>
                      <a:pt x="942230" y="654752"/>
                      <a:pt x="932255" y="645033"/>
                    </a:cubicBezTo>
                    <a:cubicBezTo>
                      <a:pt x="941974" y="645033"/>
                      <a:pt x="941974" y="645033"/>
                      <a:pt x="941974" y="645033"/>
                    </a:cubicBezTo>
                    <a:cubicBezTo>
                      <a:pt x="951693" y="645033"/>
                      <a:pt x="951693" y="645033"/>
                      <a:pt x="951693" y="635314"/>
                    </a:cubicBezTo>
                    <a:cubicBezTo>
                      <a:pt x="951693" y="645033"/>
                      <a:pt x="951693" y="645033"/>
                      <a:pt x="951693" y="645033"/>
                    </a:cubicBezTo>
                    <a:cubicBezTo>
                      <a:pt x="951693" y="645033"/>
                      <a:pt x="961668" y="645033"/>
                      <a:pt x="961668" y="654752"/>
                    </a:cubicBezTo>
                    <a:cubicBezTo>
                      <a:pt x="961668" y="645033"/>
                      <a:pt x="961668" y="654752"/>
                      <a:pt x="971387" y="654752"/>
                    </a:cubicBezTo>
                    <a:cubicBezTo>
                      <a:pt x="971387" y="654752"/>
                      <a:pt x="971387" y="654752"/>
                      <a:pt x="981106" y="654752"/>
                    </a:cubicBezTo>
                    <a:cubicBezTo>
                      <a:pt x="976246" y="650148"/>
                      <a:pt x="978548" y="645289"/>
                      <a:pt x="981873" y="643754"/>
                    </a:cubicBezTo>
                    <a:lnTo>
                      <a:pt x="984431" y="630966"/>
                    </a:lnTo>
                    <a:lnTo>
                      <a:pt x="992615" y="635314"/>
                    </a:lnTo>
                    <a:close/>
                    <a:moveTo>
                      <a:pt x="801816" y="585441"/>
                    </a:moveTo>
                    <a:cubicBezTo>
                      <a:pt x="799258" y="584418"/>
                      <a:pt x="796445" y="582116"/>
                      <a:pt x="796189" y="577512"/>
                    </a:cubicBezTo>
                    <a:cubicBezTo>
                      <a:pt x="796445" y="579814"/>
                      <a:pt x="797980" y="584418"/>
                      <a:pt x="805908" y="576489"/>
                    </a:cubicBezTo>
                    <a:cubicBezTo>
                      <a:pt x="807954" y="576489"/>
                      <a:pt x="808722" y="576745"/>
                      <a:pt x="808722" y="577512"/>
                    </a:cubicBezTo>
                    <a:cubicBezTo>
                      <a:pt x="808722" y="579046"/>
                      <a:pt x="805141" y="581860"/>
                      <a:pt x="801816" y="585441"/>
                    </a:cubicBezTo>
                    <a:close/>
                    <a:moveTo>
                      <a:pt x="825602" y="556795"/>
                    </a:moveTo>
                    <a:lnTo>
                      <a:pt x="825602" y="547076"/>
                    </a:lnTo>
                    <a:cubicBezTo>
                      <a:pt x="825602" y="542217"/>
                      <a:pt x="825602" y="539659"/>
                      <a:pt x="824323" y="538380"/>
                    </a:cubicBezTo>
                    <a:cubicBezTo>
                      <a:pt x="823044" y="537101"/>
                      <a:pt x="820742" y="537101"/>
                      <a:pt x="815627" y="537101"/>
                    </a:cubicBezTo>
                    <a:cubicBezTo>
                      <a:pt x="825346" y="537101"/>
                      <a:pt x="825346" y="537101"/>
                      <a:pt x="825346" y="537101"/>
                    </a:cubicBezTo>
                    <a:cubicBezTo>
                      <a:pt x="825346" y="546820"/>
                      <a:pt x="835065" y="546820"/>
                      <a:pt x="835065" y="546820"/>
                    </a:cubicBezTo>
                    <a:cubicBezTo>
                      <a:pt x="825602" y="556284"/>
                      <a:pt x="825346" y="556539"/>
                      <a:pt x="833786" y="556539"/>
                    </a:cubicBezTo>
                    <a:lnTo>
                      <a:pt x="825602" y="556539"/>
                    </a:lnTo>
                    <a:close/>
                    <a:moveTo>
                      <a:pt x="835832" y="575977"/>
                    </a:moveTo>
                    <a:cubicBezTo>
                      <a:pt x="837623" y="574187"/>
                      <a:pt x="844017" y="566514"/>
                      <a:pt x="835321" y="566514"/>
                    </a:cubicBezTo>
                    <a:cubicBezTo>
                      <a:pt x="831996" y="566514"/>
                      <a:pt x="830973" y="565491"/>
                      <a:pt x="830973" y="563957"/>
                    </a:cubicBezTo>
                    <a:cubicBezTo>
                      <a:pt x="830973" y="561143"/>
                      <a:pt x="835321" y="556795"/>
                      <a:pt x="835321" y="556795"/>
                    </a:cubicBezTo>
                    <a:cubicBezTo>
                      <a:pt x="845040" y="556795"/>
                      <a:pt x="835321" y="566514"/>
                      <a:pt x="835321" y="566514"/>
                    </a:cubicBezTo>
                    <a:cubicBezTo>
                      <a:pt x="845040" y="566514"/>
                      <a:pt x="845296" y="566514"/>
                      <a:pt x="835832" y="57597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79" name="Uganda">
                <a:extLst>
                  <a:ext uri="{FF2B5EF4-FFF2-40B4-BE49-F238E27FC236}">
                    <a16:creationId xmlns:a16="http://schemas.microsoft.com/office/drawing/2014/main" id="{99DCC455-780E-46F4-82CE-624505E1CBBA}"/>
                  </a:ext>
                </a:extLst>
              </p:cNvPr>
              <p:cNvSpPr>
                <a:spLocks/>
              </p:cNvSpPr>
              <p:nvPr/>
            </p:nvSpPr>
            <p:spPr bwMode="auto">
              <a:xfrm>
                <a:off x="6710173" y="3880664"/>
                <a:ext cx="187211" cy="220537"/>
              </a:xfrm>
              <a:custGeom>
                <a:avLst/>
                <a:gdLst/>
                <a:ahLst/>
                <a:cxnLst>
                  <a:cxn ang="0">
                    <a:pos x="52" y="22"/>
                  </a:cxn>
                  <a:cxn ang="0">
                    <a:pos x="52" y="18"/>
                  </a:cxn>
                  <a:cxn ang="0">
                    <a:pos x="50" y="15"/>
                  </a:cxn>
                  <a:cxn ang="0">
                    <a:pos x="47" y="10"/>
                  </a:cxn>
                  <a:cxn ang="0">
                    <a:pos x="47" y="5"/>
                  </a:cxn>
                  <a:cxn ang="0">
                    <a:pos x="45" y="4"/>
                  </a:cxn>
                  <a:cxn ang="0">
                    <a:pos x="44" y="2"/>
                  </a:cxn>
                  <a:cxn ang="0">
                    <a:pos x="39" y="5"/>
                  </a:cxn>
                  <a:cxn ang="0">
                    <a:pos x="32" y="4"/>
                  </a:cxn>
                  <a:cxn ang="0">
                    <a:pos x="25" y="7"/>
                  </a:cxn>
                  <a:cxn ang="0">
                    <a:pos x="21" y="5"/>
                  </a:cxn>
                  <a:cxn ang="0">
                    <a:pos x="13" y="8"/>
                  </a:cxn>
                  <a:cxn ang="0">
                    <a:pos x="12" y="13"/>
                  </a:cxn>
                  <a:cxn ang="0">
                    <a:pos x="12" y="19"/>
                  </a:cxn>
                  <a:cxn ang="0">
                    <a:pos x="14" y="20"/>
                  </a:cxn>
                  <a:cxn ang="0">
                    <a:pos x="17" y="23"/>
                  </a:cxn>
                  <a:cxn ang="0">
                    <a:pos x="8" y="33"/>
                  </a:cxn>
                  <a:cxn ang="0">
                    <a:pos x="7" y="35"/>
                  </a:cxn>
                  <a:cxn ang="0">
                    <a:pos x="3" y="43"/>
                  </a:cxn>
                  <a:cxn ang="0">
                    <a:pos x="1" y="50"/>
                  </a:cxn>
                  <a:cxn ang="0">
                    <a:pos x="1" y="55"/>
                  </a:cxn>
                  <a:cxn ang="0">
                    <a:pos x="1" y="61"/>
                  </a:cxn>
                  <a:cxn ang="0">
                    <a:pos x="4" y="62"/>
                  </a:cxn>
                  <a:cxn ang="0">
                    <a:pos x="7" y="60"/>
                  </a:cxn>
                  <a:cxn ang="0">
                    <a:pos x="9" y="58"/>
                  </a:cxn>
                  <a:cxn ang="0">
                    <a:pos x="22" y="57"/>
                  </a:cxn>
                  <a:cxn ang="0">
                    <a:pos x="22" y="53"/>
                  </a:cxn>
                  <a:cxn ang="0">
                    <a:pos x="24" y="50"/>
                  </a:cxn>
                  <a:cxn ang="0">
                    <a:pos x="24" y="47"/>
                  </a:cxn>
                  <a:cxn ang="0">
                    <a:pos x="27" y="47"/>
                  </a:cxn>
                  <a:cxn ang="0">
                    <a:pos x="28" y="47"/>
                  </a:cxn>
                  <a:cxn ang="0">
                    <a:pos x="28" y="46"/>
                  </a:cxn>
                  <a:cxn ang="0">
                    <a:pos x="30" y="46"/>
                  </a:cxn>
                  <a:cxn ang="0">
                    <a:pos x="30" y="44"/>
                  </a:cxn>
                  <a:cxn ang="0">
                    <a:pos x="31" y="44"/>
                  </a:cxn>
                  <a:cxn ang="0">
                    <a:pos x="31" y="45"/>
                  </a:cxn>
                  <a:cxn ang="0">
                    <a:pos x="33" y="44"/>
                  </a:cxn>
                  <a:cxn ang="0">
                    <a:pos x="34" y="44"/>
                  </a:cxn>
                  <a:cxn ang="0">
                    <a:pos x="36" y="42"/>
                  </a:cxn>
                  <a:cxn ang="0">
                    <a:pos x="37" y="41"/>
                  </a:cxn>
                  <a:cxn ang="0">
                    <a:pos x="37" y="42"/>
                  </a:cxn>
                  <a:cxn ang="0">
                    <a:pos x="38" y="43"/>
                  </a:cxn>
                  <a:cxn ang="0">
                    <a:pos x="39" y="44"/>
                  </a:cxn>
                  <a:cxn ang="0">
                    <a:pos x="40" y="43"/>
                  </a:cxn>
                  <a:cxn ang="0">
                    <a:pos x="41" y="44"/>
                  </a:cxn>
                  <a:cxn ang="0">
                    <a:pos x="42" y="44"/>
                  </a:cxn>
                  <a:cxn ang="0">
                    <a:pos x="45" y="41"/>
                  </a:cxn>
                  <a:cxn ang="0">
                    <a:pos x="46" y="38"/>
                  </a:cxn>
                  <a:cxn ang="0">
                    <a:pos x="50" y="33"/>
                  </a:cxn>
                  <a:cxn ang="0">
                    <a:pos x="52" y="31"/>
                  </a:cxn>
                  <a:cxn ang="0">
                    <a:pos x="53" y="27"/>
                  </a:cxn>
                </a:cxnLst>
                <a:rect l="0" t="0" r="r" b="b"/>
                <a:pathLst>
                  <a:path w="53" h="62">
                    <a:moveTo>
                      <a:pt x="53" y="25"/>
                    </a:moveTo>
                    <a:cubicBezTo>
                      <a:pt x="53" y="24"/>
                      <a:pt x="53" y="24"/>
                      <a:pt x="53" y="23"/>
                    </a:cubicBezTo>
                    <a:cubicBezTo>
                      <a:pt x="53" y="23"/>
                      <a:pt x="53" y="22"/>
                      <a:pt x="52" y="22"/>
                    </a:cubicBezTo>
                    <a:cubicBezTo>
                      <a:pt x="52" y="21"/>
                      <a:pt x="52" y="20"/>
                      <a:pt x="52" y="19"/>
                    </a:cubicBezTo>
                    <a:cubicBezTo>
                      <a:pt x="53" y="19"/>
                      <a:pt x="52" y="19"/>
                      <a:pt x="52" y="19"/>
                    </a:cubicBezTo>
                    <a:cubicBezTo>
                      <a:pt x="52" y="18"/>
                      <a:pt x="52" y="18"/>
                      <a:pt x="52" y="18"/>
                    </a:cubicBezTo>
                    <a:cubicBezTo>
                      <a:pt x="52" y="18"/>
                      <a:pt x="52" y="18"/>
                      <a:pt x="52" y="18"/>
                    </a:cubicBezTo>
                    <a:cubicBezTo>
                      <a:pt x="51" y="17"/>
                      <a:pt x="51" y="16"/>
                      <a:pt x="51" y="15"/>
                    </a:cubicBezTo>
                    <a:cubicBezTo>
                      <a:pt x="51" y="15"/>
                      <a:pt x="50" y="15"/>
                      <a:pt x="50" y="15"/>
                    </a:cubicBezTo>
                    <a:cubicBezTo>
                      <a:pt x="50" y="15"/>
                      <a:pt x="49" y="14"/>
                      <a:pt x="49" y="14"/>
                    </a:cubicBezTo>
                    <a:cubicBezTo>
                      <a:pt x="49" y="13"/>
                      <a:pt x="49" y="12"/>
                      <a:pt x="48" y="12"/>
                    </a:cubicBezTo>
                    <a:cubicBezTo>
                      <a:pt x="48" y="11"/>
                      <a:pt x="48" y="11"/>
                      <a:pt x="47" y="10"/>
                    </a:cubicBezTo>
                    <a:cubicBezTo>
                      <a:pt x="47" y="9"/>
                      <a:pt x="47" y="8"/>
                      <a:pt x="48" y="8"/>
                    </a:cubicBezTo>
                    <a:cubicBezTo>
                      <a:pt x="48" y="7"/>
                      <a:pt x="48" y="6"/>
                      <a:pt x="47" y="6"/>
                    </a:cubicBezTo>
                    <a:cubicBezTo>
                      <a:pt x="47" y="6"/>
                      <a:pt x="47" y="5"/>
                      <a:pt x="47" y="5"/>
                    </a:cubicBezTo>
                    <a:cubicBezTo>
                      <a:pt x="47" y="5"/>
                      <a:pt x="46" y="6"/>
                      <a:pt x="46" y="5"/>
                    </a:cubicBezTo>
                    <a:cubicBezTo>
                      <a:pt x="46" y="5"/>
                      <a:pt x="45" y="4"/>
                      <a:pt x="45" y="5"/>
                    </a:cubicBezTo>
                    <a:cubicBezTo>
                      <a:pt x="45" y="5"/>
                      <a:pt x="45" y="4"/>
                      <a:pt x="45" y="4"/>
                    </a:cubicBezTo>
                    <a:cubicBezTo>
                      <a:pt x="45" y="4"/>
                      <a:pt x="46" y="4"/>
                      <a:pt x="45" y="4"/>
                    </a:cubicBezTo>
                    <a:cubicBezTo>
                      <a:pt x="45" y="4"/>
                      <a:pt x="44" y="4"/>
                      <a:pt x="44" y="3"/>
                    </a:cubicBezTo>
                    <a:cubicBezTo>
                      <a:pt x="44" y="3"/>
                      <a:pt x="44" y="2"/>
                      <a:pt x="44" y="2"/>
                    </a:cubicBezTo>
                    <a:cubicBezTo>
                      <a:pt x="44" y="1"/>
                      <a:pt x="44" y="0"/>
                      <a:pt x="43" y="0"/>
                    </a:cubicBezTo>
                    <a:cubicBezTo>
                      <a:pt x="42" y="1"/>
                      <a:pt x="41" y="2"/>
                      <a:pt x="41" y="3"/>
                    </a:cubicBezTo>
                    <a:cubicBezTo>
                      <a:pt x="40" y="3"/>
                      <a:pt x="39" y="4"/>
                      <a:pt x="39" y="5"/>
                    </a:cubicBezTo>
                    <a:cubicBezTo>
                      <a:pt x="38" y="5"/>
                      <a:pt x="37" y="5"/>
                      <a:pt x="37" y="5"/>
                    </a:cubicBezTo>
                    <a:cubicBezTo>
                      <a:pt x="36" y="5"/>
                      <a:pt x="35" y="5"/>
                      <a:pt x="34" y="4"/>
                    </a:cubicBezTo>
                    <a:cubicBezTo>
                      <a:pt x="34" y="3"/>
                      <a:pt x="33" y="4"/>
                      <a:pt x="32" y="4"/>
                    </a:cubicBezTo>
                    <a:cubicBezTo>
                      <a:pt x="31" y="5"/>
                      <a:pt x="30" y="5"/>
                      <a:pt x="29" y="5"/>
                    </a:cubicBezTo>
                    <a:cubicBezTo>
                      <a:pt x="28" y="5"/>
                      <a:pt x="26" y="6"/>
                      <a:pt x="26" y="7"/>
                    </a:cubicBezTo>
                    <a:cubicBezTo>
                      <a:pt x="26" y="8"/>
                      <a:pt x="25" y="7"/>
                      <a:pt x="25" y="7"/>
                    </a:cubicBezTo>
                    <a:cubicBezTo>
                      <a:pt x="24" y="6"/>
                      <a:pt x="23" y="7"/>
                      <a:pt x="23" y="6"/>
                    </a:cubicBezTo>
                    <a:cubicBezTo>
                      <a:pt x="23" y="6"/>
                      <a:pt x="23" y="5"/>
                      <a:pt x="22" y="4"/>
                    </a:cubicBezTo>
                    <a:cubicBezTo>
                      <a:pt x="22" y="4"/>
                      <a:pt x="21" y="5"/>
                      <a:pt x="21" y="5"/>
                    </a:cubicBezTo>
                    <a:cubicBezTo>
                      <a:pt x="20" y="6"/>
                      <a:pt x="20" y="6"/>
                      <a:pt x="19" y="6"/>
                    </a:cubicBezTo>
                    <a:cubicBezTo>
                      <a:pt x="18" y="5"/>
                      <a:pt x="17" y="5"/>
                      <a:pt x="17" y="5"/>
                    </a:cubicBezTo>
                    <a:cubicBezTo>
                      <a:pt x="15" y="4"/>
                      <a:pt x="13" y="6"/>
                      <a:pt x="13" y="8"/>
                    </a:cubicBezTo>
                    <a:cubicBezTo>
                      <a:pt x="13" y="8"/>
                      <a:pt x="13" y="8"/>
                      <a:pt x="13" y="8"/>
                    </a:cubicBezTo>
                    <a:cubicBezTo>
                      <a:pt x="14" y="8"/>
                      <a:pt x="13" y="10"/>
                      <a:pt x="13" y="10"/>
                    </a:cubicBezTo>
                    <a:cubicBezTo>
                      <a:pt x="12" y="11"/>
                      <a:pt x="12" y="12"/>
                      <a:pt x="12" y="13"/>
                    </a:cubicBezTo>
                    <a:cubicBezTo>
                      <a:pt x="12" y="13"/>
                      <a:pt x="13" y="14"/>
                      <a:pt x="13" y="14"/>
                    </a:cubicBezTo>
                    <a:cubicBezTo>
                      <a:pt x="13" y="15"/>
                      <a:pt x="13" y="16"/>
                      <a:pt x="12" y="17"/>
                    </a:cubicBezTo>
                    <a:cubicBezTo>
                      <a:pt x="12" y="17"/>
                      <a:pt x="12" y="18"/>
                      <a:pt x="12" y="19"/>
                    </a:cubicBezTo>
                    <a:cubicBezTo>
                      <a:pt x="11" y="20"/>
                      <a:pt x="12" y="19"/>
                      <a:pt x="13" y="20"/>
                    </a:cubicBezTo>
                    <a:cubicBezTo>
                      <a:pt x="13" y="20"/>
                      <a:pt x="13" y="21"/>
                      <a:pt x="13" y="21"/>
                    </a:cubicBezTo>
                    <a:cubicBezTo>
                      <a:pt x="14" y="20"/>
                      <a:pt x="14" y="20"/>
                      <a:pt x="14" y="20"/>
                    </a:cubicBezTo>
                    <a:cubicBezTo>
                      <a:pt x="15" y="20"/>
                      <a:pt x="15" y="21"/>
                      <a:pt x="16" y="21"/>
                    </a:cubicBezTo>
                    <a:cubicBezTo>
                      <a:pt x="16" y="21"/>
                      <a:pt x="16" y="22"/>
                      <a:pt x="17" y="22"/>
                    </a:cubicBezTo>
                    <a:cubicBezTo>
                      <a:pt x="17" y="22"/>
                      <a:pt x="17" y="22"/>
                      <a:pt x="17" y="23"/>
                    </a:cubicBezTo>
                    <a:cubicBezTo>
                      <a:pt x="17" y="24"/>
                      <a:pt x="16" y="25"/>
                      <a:pt x="15" y="26"/>
                    </a:cubicBezTo>
                    <a:cubicBezTo>
                      <a:pt x="14" y="28"/>
                      <a:pt x="12" y="29"/>
                      <a:pt x="11" y="30"/>
                    </a:cubicBezTo>
                    <a:cubicBezTo>
                      <a:pt x="10" y="31"/>
                      <a:pt x="10" y="33"/>
                      <a:pt x="8" y="33"/>
                    </a:cubicBezTo>
                    <a:cubicBezTo>
                      <a:pt x="8" y="33"/>
                      <a:pt x="8" y="33"/>
                      <a:pt x="8" y="34"/>
                    </a:cubicBezTo>
                    <a:cubicBezTo>
                      <a:pt x="8" y="34"/>
                      <a:pt x="7" y="33"/>
                      <a:pt x="7" y="33"/>
                    </a:cubicBezTo>
                    <a:cubicBezTo>
                      <a:pt x="7" y="34"/>
                      <a:pt x="7" y="35"/>
                      <a:pt x="7" y="35"/>
                    </a:cubicBezTo>
                    <a:cubicBezTo>
                      <a:pt x="7" y="37"/>
                      <a:pt x="5" y="36"/>
                      <a:pt x="4" y="37"/>
                    </a:cubicBezTo>
                    <a:cubicBezTo>
                      <a:pt x="4" y="39"/>
                      <a:pt x="5" y="40"/>
                      <a:pt x="4" y="42"/>
                    </a:cubicBezTo>
                    <a:cubicBezTo>
                      <a:pt x="3" y="42"/>
                      <a:pt x="3" y="43"/>
                      <a:pt x="3" y="43"/>
                    </a:cubicBezTo>
                    <a:cubicBezTo>
                      <a:pt x="3" y="44"/>
                      <a:pt x="3" y="44"/>
                      <a:pt x="2" y="45"/>
                    </a:cubicBezTo>
                    <a:cubicBezTo>
                      <a:pt x="2" y="45"/>
                      <a:pt x="2" y="46"/>
                      <a:pt x="2" y="47"/>
                    </a:cubicBezTo>
                    <a:cubicBezTo>
                      <a:pt x="2" y="48"/>
                      <a:pt x="1" y="49"/>
                      <a:pt x="1" y="50"/>
                    </a:cubicBezTo>
                    <a:cubicBezTo>
                      <a:pt x="1" y="50"/>
                      <a:pt x="1" y="51"/>
                      <a:pt x="1" y="52"/>
                    </a:cubicBezTo>
                    <a:cubicBezTo>
                      <a:pt x="1" y="52"/>
                      <a:pt x="1" y="53"/>
                      <a:pt x="1" y="53"/>
                    </a:cubicBezTo>
                    <a:cubicBezTo>
                      <a:pt x="1" y="54"/>
                      <a:pt x="1" y="55"/>
                      <a:pt x="1" y="55"/>
                    </a:cubicBezTo>
                    <a:cubicBezTo>
                      <a:pt x="1" y="55"/>
                      <a:pt x="1" y="56"/>
                      <a:pt x="1" y="56"/>
                    </a:cubicBezTo>
                    <a:cubicBezTo>
                      <a:pt x="1" y="56"/>
                      <a:pt x="1" y="56"/>
                      <a:pt x="0" y="56"/>
                    </a:cubicBezTo>
                    <a:cubicBezTo>
                      <a:pt x="0" y="58"/>
                      <a:pt x="1" y="60"/>
                      <a:pt x="1" y="61"/>
                    </a:cubicBezTo>
                    <a:cubicBezTo>
                      <a:pt x="1" y="61"/>
                      <a:pt x="2" y="61"/>
                      <a:pt x="2" y="61"/>
                    </a:cubicBezTo>
                    <a:cubicBezTo>
                      <a:pt x="3" y="61"/>
                      <a:pt x="3" y="61"/>
                      <a:pt x="3" y="61"/>
                    </a:cubicBezTo>
                    <a:cubicBezTo>
                      <a:pt x="4" y="61"/>
                      <a:pt x="3" y="62"/>
                      <a:pt x="4" y="62"/>
                    </a:cubicBezTo>
                    <a:cubicBezTo>
                      <a:pt x="5" y="62"/>
                      <a:pt x="5" y="62"/>
                      <a:pt x="5" y="62"/>
                    </a:cubicBezTo>
                    <a:cubicBezTo>
                      <a:pt x="6" y="61"/>
                      <a:pt x="6" y="61"/>
                      <a:pt x="6" y="61"/>
                    </a:cubicBezTo>
                    <a:cubicBezTo>
                      <a:pt x="6" y="61"/>
                      <a:pt x="6" y="60"/>
                      <a:pt x="7" y="60"/>
                    </a:cubicBezTo>
                    <a:cubicBezTo>
                      <a:pt x="7" y="60"/>
                      <a:pt x="7" y="60"/>
                      <a:pt x="7" y="60"/>
                    </a:cubicBezTo>
                    <a:cubicBezTo>
                      <a:pt x="7" y="60"/>
                      <a:pt x="8" y="59"/>
                      <a:pt x="8" y="59"/>
                    </a:cubicBezTo>
                    <a:cubicBezTo>
                      <a:pt x="8" y="59"/>
                      <a:pt x="8" y="58"/>
                      <a:pt x="9" y="58"/>
                    </a:cubicBezTo>
                    <a:cubicBezTo>
                      <a:pt x="9" y="58"/>
                      <a:pt x="9" y="58"/>
                      <a:pt x="10" y="58"/>
                    </a:cubicBezTo>
                    <a:cubicBezTo>
                      <a:pt x="11" y="58"/>
                      <a:pt x="11" y="57"/>
                      <a:pt x="13" y="57"/>
                    </a:cubicBezTo>
                    <a:cubicBezTo>
                      <a:pt x="16" y="57"/>
                      <a:pt x="19" y="57"/>
                      <a:pt x="22" y="57"/>
                    </a:cubicBezTo>
                    <a:cubicBezTo>
                      <a:pt x="22" y="57"/>
                      <a:pt x="22" y="56"/>
                      <a:pt x="22" y="56"/>
                    </a:cubicBezTo>
                    <a:cubicBezTo>
                      <a:pt x="21" y="56"/>
                      <a:pt x="21" y="56"/>
                      <a:pt x="21" y="55"/>
                    </a:cubicBezTo>
                    <a:cubicBezTo>
                      <a:pt x="21" y="55"/>
                      <a:pt x="22" y="54"/>
                      <a:pt x="22" y="53"/>
                    </a:cubicBezTo>
                    <a:cubicBezTo>
                      <a:pt x="22" y="53"/>
                      <a:pt x="22" y="52"/>
                      <a:pt x="22" y="52"/>
                    </a:cubicBezTo>
                    <a:cubicBezTo>
                      <a:pt x="23" y="52"/>
                      <a:pt x="23" y="51"/>
                      <a:pt x="23" y="51"/>
                    </a:cubicBezTo>
                    <a:cubicBezTo>
                      <a:pt x="23" y="51"/>
                      <a:pt x="24" y="49"/>
                      <a:pt x="24" y="50"/>
                    </a:cubicBezTo>
                    <a:cubicBezTo>
                      <a:pt x="24" y="49"/>
                      <a:pt x="24" y="48"/>
                      <a:pt x="23" y="48"/>
                    </a:cubicBezTo>
                    <a:cubicBezTo>
                      <a:pt x="24" y="47"/>
                      <a:pt x="24" y="47"/>
                      <a:pt x="25" y="47"/>
                    </a:cubicBezTo>
                    <a:cubicBezTo>
                      <a:pt x="25" y="47"/>
                      <a:pt x="24" y="47"/>
                      <a:pt x="24" y="47"/>
                    </a:cubicBezTo>
                    <a:cubicBezTo>
                      <a:pt x="25" y="46"/>
                      <a:pt x="25" y="47"/>
                      <a:pt x="26" y="47"/>
                    </a:cubicBezTo>
                    <a:cubicBezTo>
                      <a:pt x="26" y="47"/>
                      <a:pt x="26" y="46"/>
                      <a:pt x="26" y="46"/>
                    </a:cubicBezTo>
                    <a:cubicBezTo>
                      <a:pt x="26" y="46"/>
                      <a:pt x="26" y="47"/>
                      <a:pt x="27" y="47"/>
                    </a:cubicBezTo>
                    <a:cubicBezTo>
                      <a:pt x="27" y="47"/>
                      <a:pt x="27" y="46"/>
                      <a:pt x="27" y="46"/>
                    </a:cubicBezTo>
                    <a:cubicBezTo>
                      <a:pt x="27" y="46"/>
                      <a:pt x="27" y="46"/>
                      <a:pt x="27" y="46"/>
                    </a:cubicBezTo>
                    <a:cubicBezTo>
                      <a:pt x="27" y="46"/>
                      <a:pt x="28" y="46"/>
                      <a:pt x="28" y="47"/>
                    </a:cubicBezTo>
                    <a:cubicBezTo>
                      <a:pt x="28" y="46"/>
                      <a:pt x="28" y="46"/>
                      <a:pt x="28" y="46"/>
                    </a:cubicBezTo>
                    <a:cubicBezTo>
                      <a:pt x="28" y="45"/>
                      <a:pt x="28" y="45"/>
                      <a:pt x="28" y="45"/>
                    </a:cubicBezTo>
                    <a:cubicBezTo>
                      <a:pt x="29" y="45"/>
                      <a:pt x="28" y="46"/>
                      <a:pt x="28" y="46"/>
                    </a:cubicBezTo>
                    <a:cubicBezTo>
                      <a:pt x="29" y="46"/>
                      <a:pt x="29" y="45"/>
                      <a:pt x="29" y="45"/>
                    </a:cubicBezTo>
                    <a:cubicBezTo>
                      <a:pt x="29" y="45"/>
                      <a:pt x="29" y="46"/>
                      <a:pt x="29" y="46"/>
                    </a:cubicBezTo>
                    <a:cubicBezTo>
                      <a:pt x="29" y="45"/>
                      <a:pt x="30" y="46"/>
                      <a:pt x="30" y="46"/>
                    </a:cubicBezTo>
                    <a:cubicBezTo>
                      <a:pt x="30" y="45"/>
                      <a:pt x="29" y="45"/>
                      <a:pt x="29" y="45"/>
                    </a:cubicBezTo>
                    <a:cubicBezTo>
                      <a:pt x="29" y="45"/>
                      <a:pt x="30" y="45"/>
                      <a:pt x="30" y="45"/>
                    </a:cubicBezTo>
                    <a:cubicBezTo>
                      <a:pt x="30" y="45"/>
                      <a:pt x="29" y="44"/>
                      <a:pt x="30" y="44"/>
                    </a:cubicBezTo>
                    <a:cubicBezTo>
                      <a:pt x="30" y="44"/>
                      <a:pt x="30" y="43"/>
                      <a:pt x="30" y="43"/>
                    </a:cubicBezTo>
                    <a:cubicBezTo>
                      <a:pt x="31" y="43"/>
                      <a:pt x="30" y="44"/>
                      <a:pt x="30" y="44"/>
                    </a:cubicBezTo>
                    <a:cubicBezTo>
                      <a:pt x="30" y="44"/>
                      <a:pt x="30" y="44"/>
                      <a:pt x="31" y="44"/>
                    </a:cubicBezTo>
                    <a:cubicBezTo>
                      <a:pt x="31" y="44"/>
                      <a:pt x="31" y="45"/>
                      <a:pt x="31" y="44"/>
                    </a:cubicBezTo>
                    <a:cubicBezTo>
                      <a:pt x="32" y="45"/>
                      <a:pt x="31" y="45"/>
                      <a:pt x="31" y="45"/>
                    </a:cubicBezTo>
                    <a:cubicBezTo>
                      <a:pt x="30" y="46"/>
                      <a:pt x="31" y="45"/>
                      <a:pt x="31" y="45"/>
                    </a:cubicBezTo>
                    <a:cubicBezTo>
                      <a:pt x="31" y="45"/>
                      <a:pt x="32" y="45"/>
                      <a:pt x="32" y="45"/>
                    </a:cubicBezTo>
                    <a:cubicBezTo>
                      <a:pt x="32" y="45"/>
                      <a:pt x="32" y="45"/>
                      <a:pt x="32" y="45"/>
                    </a:cubicBezTo>
                    <a:cubicBezTo>
                      <a:pt x="32" y="45"/>
                      <a:pt x="33" y="45"/>
                      <a:pt x="33" y="44"/>
                    </a:cubicBezTo>
                    <a:cubicBezTo>
                      <a:pt x="33" y="45"/>
                      <a:pt x="32" y="45"/>
                      <a:pt x="33" y="45"/>
                    </a:cubicBezTo>
                    <a:cubicBezTo>
                      <a:pt x="34" y="45"/>
                      <a:pt x="34" y="45"/>
                      <a:pt x="34" y="45"/>
                    </a:cubicBezTo>
                    <a:cubicBezTo>
                      <a:pt x="35" y="44"/>
                      <a:pt x="34" y="44"/>
                      <a:pt x="34" y="44"/>
                    </a:cubicBezTo>
                    <a:cubicBezTo>
                      <a:pt x="35" y="43"/>
                      <a:pt x="35" y="44"/>
                      <a:pt x="35" y="44"/>
                    </a:cubicBezTo>
                    <a:cubicBezTo>
                      <a:pt x="35" y="44"/>
                      <a:pt x="35" y="43"/>
                      <a:pt x="35" y="43"/>
                    </a:cubicBezTo>
                    <a:cubicBezTo>
                      <a:pt x="35" y="43"/>
                      <a:pt x="36" y="43"/>
                      <a:pt x="36" y="42"/>
                    </a:cubicBezTo>
                    <a:cubicBezTo>
                      <a:pt x="37" y="42"/>
                      <a:pt x="36" y="42"/>
                      <a:pt x="36" y="42"/>
                    </a:cubicBezTo>
                    <a:cubicBezTo>
                      <a:pt x="36" y="42"/>
                      <a:pt x="36" y="41"/>
                      <a:pt x="36" y="41"/>
                    </a:cubicBezTo>
                    <a:cubicBezTo>
                      <a:pt x="37" y="41"/>
                      <a:pt x="37" y="42"/>
                      <a:pt x="37" y="41"/>
                    </a:cubicBezTo>
                    <a:cubicBezTo>
                      <a:pt x="37" y="41"/>
                      <a:pt x="37" y="41"/>
                      <a:pt x="37" y="41"/>
                    </a:cubicBezTo>
                    <a:cubicBezTo>
                      <a:pt x="37" y="41"/>
                      <a:pt x="37" y="42"/>
                      <a:pt x="37" y="42"/>
                    </a:cubicBezTo>
                    <a:cubicBezTo>
                      <a:pt x="37" y="42"/>
                      <a:pt x="37" y="42"/>
                      <a:pt x="37" y="42"/>
                    </a:cubicBezTo>
                    <a:cubicBezTo>
                      <a:pt x="37" y="42"/>
                      <a:pt x="38" y="43"/>
                      <a:pt x="38" y="43"/>
                    </a:cubicBezTo>
                    <a:cubicBezTo>
                      <a:pt x="38" y="42"/>
                      <a:pt x="39" y="43"/>
                      <a:pt x="39" y="43"/>
                    </a:cubicBezTo>
                    <a:cubicBezTo>
                      <a:pt x="39" y="43"/>
                      <a:pt x="38" y="43"/>
                      <a:pt x="38" y="43"/>
                    </a:cubicBezTo>
                    <a:cubicBezTo>
                      <a:pt x="38" y="43"/>
                      <a:pt x="38" y="43"/>
                      <a:pt x="38" y="44"/>
                    </a:cubicBezTo>
                    <a:cubicBezTo>
                      <a:pt x="38" y="44"/>
                      <a:pt x="38" y="44"/>
                      <a:pt x="39" y="44"/>
                    </a:cubicBezTo>
                    <a:cubicBezTo>
                      <a:pt x="38" y="44"/>
                      <a:pt x="38" y="44"/>
                      <a:pt x="39" y="44"/>
                    </a:cubicBezTo>
                    <a:cubicBezTo>
                      <a:pt x="39" y="44"/>
                      <a:pt x="39" y="44"/>
                      <a:pt x="39" y="44"/>
                    </a:cubicBezTo>
                    <a:cubicBezTo>
                      <a:pt x="39" y="44"/>
                      <a:pt x="39" y="44"/>
                      <a:pt x="39" y="44"/>
                    </a:cubicBezTo>
                    <a:cubicBezTo>
                      <a:pt x="39" y="45"/>
                      <a:pt x="40" y="44"/>
                      <a:pt x="40" y="43"/>
                    </a:cubicBezTo>
                    <a:cubicBezTo>
                      <a:pt x="40" y="43"/>
                      <a:pt x="40" y="43"/>
                      <a:pt x="41" y="43"/>
                    </a:cubicBezTo>
                    <a:cubicBezTo>
                      <a:pt x="41" y="43"/>
                      <a:pt x="40" y="43"/>
                      <a:pt x="41" y="43"/>
                    </a:cubicBezTo>
                    <a:cubicBezTo>
                      <a:pt x="41" y="44"/>
                      <a:pt x="41" y="44"/>
                      <a:pt x="41" y="44"/>
                    </a:cubicBezTo>
                    <a:cubicBezTo>
                      <a:pt x="41" y="44"/>
                      <a:pt x="41" y="44"/>
                      <a:pt x="41" y="44"/>
                    </a:cubicBezTo>
                    <a:cubicBezTo>
                      <a:pt x="42" y="44"/>
                      <a:pt x="41" y="44"/>
                      <a:pt x="42" y="45"/>
                    </a:cubicBezTo>
                    <a:cubicBezTo>
                      <a:pt x="42" y="45"/>
                      <a:pt x="42" y="44"/>
                      <a:pt x="42" y="44"/>
                    </a:cubicBezTo>
                    <a:cubicBezTo>
                      <a:pt x="42" y="44"/>
                      <a:pt x="42" y="45"/>
                      <a:pt x="43" y="44"/>
                    </a:cubicBezTo>
                    <a:cubicBezTo>
                      <a:pt x="43" y="44"/>
                      <a:pt x="43" y="43"/>
                      <a:pt x="43" y="44"/>
                    </a:cubicBezTo>
                    <a:cubicBezTo>
                      <a:pt x="44" y="43"/>
                      <a:pt x="44" y="42"/>
                      <a:pt x="45" y="41"/>
                    </a:cubicBezTo>
                    <a:cubicBezTo>
                      <a:pt x="45" y="41"/>
                      <a:pt x="45" y="40"/>
                      <a:pt x="45" y="40"/>
                    </a:cubicBezTo>
                    <a:cubicBezTo>
                      <a:pt x="45" y="39"/>
                      <a:pt x="46" y="39"/>
                      <a:pt x="46" y="39"/>
                    </a:cubicBezTo>
                    <a:cubicBezTo>
                      <a:pt x="46" y="39"/>
                      <a:pt x="46" y="38"/>
                      <a:pt x="46" y="38"/>
                    </a:cubicBezTo>
                    <a:cubicBezTo>
                      <a:pt x="47" y="38"/>
                      <a:pt x="47" y="38"/>
                      <a:pt x="47" y="37"/>
                    </a:cubicBezTo>
                    <a:cubicBezTo>
                      <a:pt x="48" y="36"/>
                      <a:pt x="48" y="35"/>
                      <a:pt x="49" y="34"/>
                    </a:cubicBezTo>
                    <a:cubicBezTo>
                      <a:pt x="49" y="35"/>
                      <a:pt x="49" y="34"/>
                      <a:pt x="50" y="33"/>
                    </a:cubicBezTo>
                    <a:cubicBezTo>
                      <a:pt x="50" y="33"/>
                      <a:pt x="50" y="33"/>
                      <a:pt x="51" y="33"/>
                    </a:cubicBezTo>
                    <a:cubicBezTo>
                      <a:pt x="51" y="33"/>
                      <a:pt x="52" y="32"/>
                      <a:pt x="51" y="32"/>
                    </a:cubicBezTo>
                    <a:cubicBezTo>
                      <a:pt x="51" y="31"/>
                      <a:pt x="51" y="31"/>
                      <a:pt x="52" y="31"/>
                    </a:cubicBezTo>
                    <a:cubicBezTo>
                      <a:pt x="52" y="30"/>
                      <a:pt x="52" y="30"/>
                      <a:pt x="52" y="29"/>
                    </a:cubicBezTo>
                    <a:cubicBezTo>
                      <a:pt x="52" y="29"/>
                      <a:pt x="53" y="29"/>
                      <a:pt x="53" y="29"/>
                    </a:cubicBezTo>
                    <a:cubicBezTo>
                      <a:pt x="53" y="28"/>
                      <a:pt x="53" y="28"/>
                      <a:pt x="53" y="27"/>
                    </a:cubicBezTo>
                    <a:cubicBezTo>
                      <a:pt x="53" y="26"/>
                      <a:pt x="53" y="25"/>
                      <a:pt x="53" y="2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0" name="Tuvalu">
                <a:extLst>
                  <a:ext uri="{FF2B5EF4-FFF2-40B4-BE49-F238E27FC236}">
                    <a16:creationId xmlns:a16="http://schemas.microsoft.com/office/drawing/2014/main" id="{F28C64C4-BEA7-9D08-26D6-10174C428818}"/>
                  </a:ext>
                </a:extLst>
              </p:cNvPr>
              <p:cNvSpPr>
                <a:spLocks noEditPoints="1"/>
              </p:cNvSpPr>
              <p:nvPr/>
            </p:nvSpPr>
            <p:spPr bwMode="auto">
              <a:xfrm>
                <a:off x="11362033" y="4458958"/>
                <a:ext cx="39207" cy="42147"/>
              </a:xfrm>
              <a:custGeom>
                <a:avLst/>
                <a:gdLst/>
                <a:ahLst/>
                <a:cxnLst>
                  <a:cxn ang="0">
                    <a:pos x="3" y="1"/>
                  </a:cxn>
                  <a:cxn ang="0">
                    <a:pos x="2" y="1"/>
                  </a:cxn>
                  <a:cxn ang="0">
                    <a:pos x="1" y="2"/>
                  </a:cxn>
                  <a:cxn ang="0">
                    <a:pos x="1" y="1"/>
                  </a:cxn>
                  <a:cxn ang="0">
                    <a:pos x="1" y="2"/>
                  </a:cxn>
                  <a:cxn ang="0">
                    <a:pos x="2" y="3"/>
                  </a:cxn>
                  <a:cxn ang="0">
                    <a:pos x="2" y="2"/>
                  </a:cxn>
                  <a:cxn ang="0">
                    <a:pos x="3" y="2"/>
                  </a:cxn>
                  <a:cxn ang="0">
                    <a:pos x="4" y="1"/>
                  </a:cxn>
                  <a:cxn ang="0">
                    <a:pos x="4" y="1"/>
                  </a:cxn>
                  <a:cxn ang="0">
                    <a:pos x="3" y="1"/>
                  </a:cxn>
                  <a:cxn ang="0">
                    <a:pos x="7" y="7"/>
                  </a:cxn>
                  <a:cxn ang="0">
                    <a:pos x="7" y="7"/>
                  </a:cxn>
                  <a:cxn ang="0">
                    <a:pos x="7" y="8"/>
                  </a:cxn>
                  <a:cxn ang="0">
                    <a:pos x="7" y="7"/>
                  </a:cxn>
                  <a:cxn ang="0">
                    <a:pos x="10" y="10"/>
                  </a:cxn>
                  <a:cxn ang="0">
                    <a:pos x="9" y="11"/>
                  </a:cxn>
                  <a:cxn ang="0">
                    <a:pos x="10" y="12"/>
                  </a:cxn>
                  <a:cxn ang="0">
                    <a:pos x="10" y="11"/>
                  </a:cxn>
                  <a:cxn ang="0">
                    <a:pos x="10" y="10"/>
                  </a:cxn>
                </a:cxnLst>
                <a:rect l="0" t="0" r="r" b="b"/>
                <a:pathLst>
                  <a:path w="11" h="12">
                    <a:moveTo>
                      <a:pt x="3" y="1"/>
                    </a:moveTo>
                    <a:cubicBezTo>
                      <a:pt x="3" y="0"/>
                      <a:pt x="2" y="0"/>
                      <a:pt x="2" y="1"/>
                    </a:cubicBezTo>
                    <a:cubicBezTo>
                      <a:pt x="2" y="1"/>
                      <a:pt x="1" y="2"/>
                      <a:pt x="1" y="2"/>
                    </a:cubicBezTo>
                    <a:cubicBezTo>
                      <a:pt x="1" y="2"/>
                      <a:pt x="1" y="1"/>
                      <a:pt x="1" y="1"/>
                    </a:cubicBezTo>
                    <a:cubicBezTo>
                      <a:pt x="0" y="2"/>
                      <a:pt x="1" y="3"/>
                      <a:pt x="1" y="2"/>
                    </a:cubicBezTo>
                    <a:cubicBezTo>
                      <a:pt x="2" y="2"/>
                      <a:pt x="2" y="3"/>
                      <a:pt x="2" y="3"/>
                    </a:cubicBezTo>
                    <a:cubicBezTo>
                      <a:pt x="2" y="2"/>
                      <a:pt x="2" y="2"/>
                      <a:pt x="2" y="2"/>
                    </a:cubicBezTo>
                    <a:cubicBezTo>
                      <a:pt x="3" y="2"/>
                      <a:pt x="3" y="2"/>
                      <a:pt x="3" y="2"/>
                    </a:cubicBezTo>
                    <a:cubicBezTo>
                      <a:pt x="3" y="2"/>
                      <a:pt x="4" y="2"/>
                      <a:pt x="4" y="1"/>
                    </a:cubicBezTo>
                    <a:cubicBezTo>
                      <a:pt x="3" y="2"/>
                      <a:pt x="5" y="1"/>
                      <a:pt x="4" y="1"/>
                    </a:cubicBezTo>
                    <a:cubicBezTo>
                      <a:pt x="4" y="0"/>
                      <a:pt x="3" y="1"/>
                      <a:pt x="3" y="1"/>
                    </a:cubicBezTo>
                    <a:close/>
                    <a:moveTo>
                      <a:pt x="7" y="7"/>
                    </a:moveTo>
                    <a:cubicBezTo>
                      <a:pt x="7" y="8"/>
                      <a:pt x="7" y="8"/>
                      <a:pt x="7" y="7"/>
                    </a:cubicBezTo>
                    <a:cubicBezTo>
                      <a:pt x="7" y="8"/>
                      <a:pt x="7" y="8"/>
                      <a:pt x="7" y="8"/>
                    </a:cubicBezTo>
                    <a:cubicBezTo>
                      <a:pt x="9" y="8"/>
                      <a:pt x="7" y="7"/>
                      <a:pt x="7" y="7"/>
                    </a:cubicBezTo>
                    <a:close/>
                    <a:moveTo>
                      <a:pt x="10" y="10"/>
                    </a:moveTo>
                    <a:cubicBezTo>
                      <a:pt x="10" y="10"/>
                      <a:pt x="9" y="10"/>
                      <a:pt x="9" y="11"/>
                    </a:cubicBezTo>
                    <a:cubicBezTo>
                      <a:pt x="9" y="11"/>
                      <a:pt x="9" y="12"/>
                      <a:pt x="10" y="12"/>
                    </a:cubicBezTo>
                    <a:cubicBezTo>
                      <a:pt x="10" y="12"/>
                      <a:pt x="11" y="11"/>
                      <a:pt x="10" y="11"/>
                    </a:cubicBezTo>
                    <a:cubicBezTo>
                      <a:pt x="10" y="11"/>
                      <a:pt x="10" y="11"/>
                      <a:pt x="10" y="1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1" name="Turks and Caicos Islands (U.K.)">
                <a:extLst>
                  <a:ext uri="{FF2B5EF4-FFF2-40B4-BE49-F238E27FC236}">
                    <a16:creationId xmlns:a16="http://schemas.microsoft.com/office/drawing/2014/main" id="{6CC370B3-96E7-27E4-311D-C40FBA06873C}"/>
                  </a:ext>
                </a:extLst>
              </p:cNvPr>
              <p:cNvSpPr>
                <a:spLocks noEditPoints="1"/>
              </p:cNvSpPr>
              <p:nvPr/>
            </p:nvSpPr>
            <p:spPr bwMode="auto">
              <a:xfrm>
                <a:off x="3267838" y="3189645"/>
                <a:ext cx="28425" cy="10781"/>
              </a:xfrm>
              <a:custGeom>
                <a:avLst/>
                <a:gdLst/>
                <a:ahLst/>
                <a:cxnLst>
                  <a:cxn ang="0">
                    <a:pos x="4" y="1"/>
                  </a:cxn>
                  <a:cxn ang="0">
                    <a:pos x="4" y="1"/>
                  </a:cxn>
                  <a:cxn ang="0">
                    <a:pos x="4" y="1"/>
                  </a:cxn>
                  <a:cxn ang="0">
                    <a:pos x="4" y="0"/>
                  </a:cxn>
                  <a:cxn ang="0">
                    <a:pos x="4" y="0"/>
                  </a:cxn>
                  <a:cxn ang="0">
                    <a:pos x="4" y="1"/>
                  </a:cxn>
                  <a:cxn ang="0">
                    <a:pos x="1" y="1"/>
                  </a:cxn>
                  <a:cxn ang="0">
                    <a:pos x="1" y="2"/>
                  </a:cxn>
                  <a:cxn ang="0">
                    <a:pos x="0" y="1"/>
                  </a:cxn>
                  <a:cxn ang="0">
                    <a:pos x="0" y="1"/>
                  </a:cxn>
                  <a:cxn ang="0">
                    <a:pos x="0" y="2"/>
                  </a:cxn>
                  <a:cxn ang="0">
                    <a:pos x="0" y="2"/>
                  </a:cxn>
                  <a:cxn ang="0">
                    <a:pos x="0" y="2"/>
                  </a:cxn>
                  <a:cxn ang="0">
                    <a:pos x="0" y="2"/>
                  </a:cxn>
                  <a:cxn ang="0">
                    <a:pos x="0" y="2"/>
                  </a:cxn>
                  <a:cxn ang="0">
                    <a:pos x="0" y="2"/>
                  </a:cxn>
                  <a:cxn ang="0">
                    <a:pos x="1" y="2"/>
                  </a:cxn>
                  <a:cxn ang="0">
                    <a:pos x="1" y="1"/>
                  </a:cxn>
                  <a:cxn ang="0">
                    <a:pos x="8" y="2"/>
                  </a:cxn>
                  <a:cxn ang="0">
                    <a:pos x="7" y="2"/>
                  </a:cxn>
                  <a:cxn ang="0">
                    <a:pos x="7" y="3"/>
                  </a:cxn>
                  <a:cxn ang="0">
                    <a:pos x="8" y="3"/>
                  </a:cxn>
                  <a:cxn ang="0">
                    <a:pos x="8" y="2"/>
                  </a:cxn>
                  <a:cxn ang="0">
                    <a:pos x="6" y="2"/>
                  </a:cxn>
                  <a:cxn ang="0">
                    <a:pos x="6" y="2"/>
                  </a:cxn>
                  <a:cxn ang="0">
                    <a:pos x="6" y="2"/>
                  </a:cxn>
                  <a:cxn ang="0">
                    <a:pos x="6" y="2"/>
                  </a:cxn>
                  <a:cxn ang="0">
                    <a:pos x="6" y="2"/>
                  </a:cxn>
                  <a:cxn ang="0">
                    <a:pos x="6" y="2"/>
                  </a:cxn>
                  <a:cxn ang="0">
                    <a:pos x="6" y="2"/>
                  </a:cxn>
                  <a:cxn ang="0">
                    <a:pos x="5" y="1"/>
                  </a:cxn>
                  <a:cxn ang="0">
                    <a:pos x="5" y="2"/>
                  </a:cxn>
                  <a:cxn ang="0">
                    <a:pos x="6" y="2"/>
                  </a:cxn>
                  <a:cxn ang="0">
                    <a:pos x="6" y="2"/>
                  </a:cxn>
                  <a:cxn ang="0">
                    <a:pos x="5" y="1"/>
                  </a:cxn>
                  <a:cxn ang="0">
                    <a:pos x="5" y="1"/>
                  </a:cxn>
                </a:cxnLst>
                <a:rect l="0" t="0" r="r" b="b"/>
                <a:pathLst>
                  <a:path w="8" h="3">
                    <a:moveTo>
                      <a:pt x="4" y="1"/>
                    </a:moveTo>
                    <a:cubicBezTo>
                      <a:pt x="4" y="1"/>
                      <a:pt x="4" y="1"/>
                      <a:pt x="4" y="1"/>
                    </a:cubicBezTo>
                    <a:cubicBezTo>
                      <a:pt x="4" y="1"/>
                      <a:pt x="4" y="1"/>
                      <a:pt x="4" y="1"/>
                    </a:cubicBezTo>
                    <a:cubicBezTo>
                      <a:pt x="4" y="1"/>
                      <a:pt x="4" y="1"/>
                      <a:pt x="4" y="0"/>
                    </a:cubicBezTo>
                    <a:cubicBezTo>
                      <a:pt x="3" y="1"/>
                      <a:pt x="3" y="0"/>
                      <a:pt x="4" y="0"/>
                    </a:cubicBezTo>
                    <a:cubicBezTo>
                      <a:pt x="4" y="0"/>
                      <a:pt x="4" y="1"/>
                      <a:pt x="4" y="1"/>
                    </a:cubicBezTo>
                    <a:close/>
                    <a:moveTo>
                      <a:pt x="1" y="1"/>
                    </a:moveTo>
                    <a:cubicBezTo>
                      <a:pt x="1" y="2"/>
                      <a:pt x="1" y="2"/>
                      <a:pt x="1" y="2"/>
                    </a:cubicBezTo>
                    <a:cubicBezTo>
                      <a:pt x="1" y="2"/>
                      <a:pt x="0" y="2"/>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1" y="2"/>
                      <a:pt x="1" y="2"/>
                    </a:cubicBezTo>
                    <a:cubicBezTo>
                      <a:pt x="2" y="2"/>
                      <a:pt x="2" y="1"/>
                      <a:pt x="1" y="1"/>
                    </a:cubicBezTo>
                    <a:close/>
                    <a:moveTo>
                      <a:pt x="8" y="2"/>
                    </a:moveTo>
                    <a:cubicBezTo>
                      <a:pt x="7" y="2"/>
                      <a:pt x="7" y="2"/>
                      <a:pt x="7" y="2"/>
                    </a:cubicBezTo>
                    <a:cubicBezTo>
                      <a:pt x="7" y="2"/>
                      <a:pt x="7" y="2"/>
                      <a:pt x="7" y="3"/>
                    </a:cubicBezTo>
                    <a:cubicBezTo>
                      <a:pt x="8" y="3"/>
                      <a:pt x="8" y="3"/>
                      <a:pt x="8" y="3"/>
                    </a:cubicBezTo>
                    <a:cubicBezTo>
                      <a:pt x="8" y="3"/>
                      <a:pt x="8" y="3"/>
                      <a:pt x="8" y="2"/>
                    </a:cubicBezTo>
                    <a:close/>
                    <a:moveTo>
                      <a:pt x="6" y="2"/>
                    </a:moveTo>
                    <a:cubicBezTo>
                      <a:pt x="6" y="2"/>
                      <a:pt x="6" y="2"/>
                      <a:pt x="6" y="2"/>
                    </a:cubicBezTo>
                    <a:cubicBezTo>
                      <a:pt x="6" y="2"/>
                      <a:pt x="6" y="2"/>
                      <a:pt x="6" y="2"/>
                    </a:cubicBezTo>
                    <a:cubicBezTo>
                      <a:pt x="6" y="2"/>
                      <a:pt x="6" y="2"/>
                      <a:pt x="6" y="2"/>
                    </a:cubicBezTo>
                    <a:close/>
                    <a:moveTo>
                      <a:pt x="6" y="2"/>
                    </a:moveTo>
                    <a:cubicBezTo>
                      <a:pt x="6" y="2"/>
                      <a:pt x="6" y="2"/>
                      <a:pt x="6" y="2"/>
                    </a:cubicBezTo>
                    <a:cubicBezTo>
                      <a:pt x="6" y="2"/>
                      <a:pt x="6" y="2"/>
                      <a:pt x="6" y="2"/>
                    </a:cubicBezTo>
                    <a:close/>
                    <a:moveTo>
                      <a:pt x="5" y="1"/>
                    </a:moveTo>
                    <a:cubicBezTo>
                      <a:pt x="4" y="1"/>
                      <a:pt x="5" y="2"/>
                      <a:pt x="5" y="2"/>
                    </a:cubicBezTo>
                    <a:cubicBezTo>
                      <a:pt x="5" y="2"/>
                      <a:pt x="6" y="2"/>
                      <a:pt x="6" y="2"/>
                    </a:cubicBezTo>
                    <a:cubicBezTo>
                      <a:pt x="6" y="2"/>
                      <a:pt x="6" y="2"/>
                      <a:pt x="6" y="2"/>
                    </a:cubicBezTo>
                    <a:cubicBezTo>
                      <a:pt x="6" y="1"/>
                      <a:pt x="6" y="1"/>
                      <a:pt x="5" y="1"/>
                    </a:cubicBezTo>
                    <a:cubicBezTo>
                      <a:pt x="5" y="1"/>
                      <a:pt x="5" y="1"/>
                      <a:pt x="5"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2" name="Turkmenistan">
                <a:extLst>
                  <a:ext uri="{FF2B5EF4-FFF2-40B4-BE49-F238E27FC236}">
                    <a16:creationId xmlns:a16="http://schemas.microsoft.com/office/drawing/2014/main" id="{F2FC89D5-9BCD-1B9B-EBD1-CADA2AAC9482}"/>
                  </a:ext>
                </a:extLst>
              </p:cNvPr>
              <p:cNvSpPr>
                <a:spLocks noEditPoints="1"/>
              </p:cNvSpPr>
              <p:nvPr/>
            </p:nvSpPr>
            <p:spPr bwMode="auto">
              <a:xfrm>
                <a:off x="7371785" y="2378070"/>
                <a:ext cx="482241" cy="297970"/>
              </a:xfrm>
              <a:custGeom>
                <a:avLst/>
                <a:gdLst/>
                <a:ahLst/>
                <a:cxnLst>
                  <a:cxn ang="0">
                    <a:pos x="11" y="41"/>
                  </a:cxn>
                  <a:cxn ang="0">
                    <a:pos x="135" y="53"/>
                  </a:cxn>
                  <a:cxn ang="0">
                    <a:pos x="122" y="48"/>
                  </a:cxn>
                  <a:cxn ang="0">
                    <a:pos x="105" y="38"/>
                  </a:cxn>
                  <a:cxn ang="0">
                    <a:pos x="91" y="27"/>
                  </a:cxn>
                  <a:cxn ang="0">
                    <a:pos x="83" y="17"/>
                  </a:cxn>
                  <a:cxn ang="0">
                    <a:pos x="77" y="17"/>
                  </a:cxn>
                  <a:cxn ang="0">
                    <a:pos x="69" y="13"/>
                  </a:cxn>
                  <a:cxn ang="0">
                    <a:pos x="66" y="8"/>
                  </a:cxn>
                  <a:cxn ang="0">
                    <a:pos x="59" y="5"/>
                  </a:cxn>
                  <a:cxn ang="0">
                    <a:pos x="52" y="2"/>
                  </a:cxn>
                  <a:cxn ang="0">
                    <a:pos x="52" y="6"/>
                  </a:cxn>
                  <a:cxn ang="0">
                    <a:pos x="47" y="4"/>
                  </a:cxn>
                  <a:cxn ang="0">
                    <a:pos x="41" y="9"/>
                  </a:cxn>
                  <a:cxn ang="0">
                    <a:pos x="41" y="15"/>
                  </a:cxn>
                  <a:cxn ang="0">
                    <a:pos x="38" y="17"/>
                  </a:cxn>
                  <a:cxn ang="0">
                    <a:pos x="22" y="11"/>
                  </a:cxn>
                  <a:cxn ang="0">
                    <a:pos x="4" y="8"/>
                  </a:cxn>
                  <a:cxn ang="0">
                    <a:pos x="5" y="18"/>
                  </a:cxn>
                  <a:cxn ang="0">
                    <a:pos x="4" y="13"/>
                  </a:cxn>
                  <a:cxn ang="0">
                    <a:pos x="11" y="8"/>
                  </a:cxn>
                  <a:cxn ang="0">
                    <a:pos x="20" y="18"/>
                  </a:cxn>
                  <a:cxn ang="0">
                    <a:pos x="22" y="21"/>
                  </a:cxn>
                  <a:cxn ang="0">
                    <a:pos x="18" y="22"/>
                  </a:cxn>
                  <a:cxn ang="0">
                    <a:pos x="16" y="23"/>
                  </a:cxn>
                  <a:cxn ang="0">
                    <a:pos x="12" y="21"/>
                  </a:cxn>
                  <a:cxn ang="0">
                    <a:pos x="8" y="23"/>
                  </a:cxn>
                  <a:cxn ang="0">
                    <a:pos x="5" y="23"/>
                  </a:cxn>
                  <a:cxn ang="0">
                    <a:pos x="6" y="30"/>
                  </a:cxn>
                  <a:cxn ang="0">
                    <a:pos x="8" y="31"/>
                  </a:cxn>
                  <a:cxn ang="0">
                    <a:pos x="13" y="32"/>
                  </a:cxn>
                  <a:cxn ang="0">
                    <a:pos x="14" y="34"/>
                  </a:cxn>
                  <a:cxn ang="0">
                    <a:pos x="15" y="36"/>
                  </a:cxn>
                  <a:cxn ang="0">
                    <a:pos x="14" y="35"/>
                  </a:cxn>
                  <a:cxn ang="0">
                    <a:pos x="12" y="34"/>
                  </a:cxn>
                  <a:cxn ang="0">
                    <a:pos x="13" y="38"/>
                  </a:cxn>
                  <a:cxn ang="0">
                    <a:pos x="16" y="41"/>
                  </a:cxn>
                  <a:cxn ang="0">
                    <a:pos x="19" y="42"/>
                  </a:cxn>
                  <a:cxn ang="0">
                    <a:pos x="21" y="60"/>
                  </a:cxn>
                  <a:cxn ang="0">
                    <a:pos x="30" y="54"/>
                  </a:cxn>
                  <a:cxn ang="0">
                    <a:pos x="41" y="52"/>
                  </a:cxn>
                  <a:cxn ang="0">
                    <a:pos x="48" y="50"/>
                  </a:cxn>
                  <a:cxn ang="0">
                    <a:pos x="56" y="54"/>
                  </a:cxn>
                  <a:cxn ang="0">
                    <a:pos x="63" y="56"/>
                  </a:cxn>
                  <a:cxn ang="0">
                    <a:pos x="71" y="60"/>
                  </a:cxn>
                  <a:cxn ang="0">
                    <a:pos x="75" y="62"/>
                  </a:cxn>
                  <a:cxn ang="0">
                    <a:pos x="84" y="68"/>
                  </a:cxn>
                  <a:cxn ang="0">
                    <a:pos x="90" y="74"/>
                  </a:cxn>
                  <a:cxn ang="0">
                    <a:pos x="94" y="80"/>
                  </a:cxn>
                  <a:cxn ang="0">
                    <a:pos x="104" y="83"/>
                  </a:cxn>
                  <a:cxn ang="0">
                    <a:pos x="108" y="76"/>
                  </a:cxn>
                  <a:cxn ang="0">
                    <a:pos x="115" y="74"/>
                  </a:cxn>
                  <a:cxn ang="0">
                    <a:pos x="120" y="69"/>
                  </a:cxn>
                  <a:cxn ang="0">
                    <a:pos x="125" y="61"/>
                  </a:cxn>
                  <a:cxn ang="0">
                    <a:pos x="129" y="58"/>
                  </a:cxn>
                  <a:cxn ang="0">
                    <a:pos x="134" y="60"/>
                  </a:cxn>
                </a:cxnLst>
                <a:rect l="0" t="0" r="r" b="b"/>
                <a:pathLst>
                  <a:path w="136" h="84">
                    <a:moveTo>
                      <a:pt x="11" y="44"/>
                    </a:moveTo>
                    <a:cubicBezTo>
                      <a:pt x="11" y="44"/>
                      <a:pt x="11" y="43"/>
                      <a:pt x="11" y="43"/>
                    </a:cubicBezTo>
                    <a:cubicBezTo>
                      <a:pt x="11" y="43"/>
                      <a:pt x="11" y="42"/>
                      <a:pt x="10" y="42"/>
                    </a:cubicBezTo>
                    <a:cubicBezTo>
                      <a:pt x="10" y="42"/>
                      <a:pt x="10" y="42"/>
                      <a:pt x="10" y="41"/>
                    </a:cubicBezTo>
                    <a:cubicBezTo>
                      <a:pt x="10" y="41"/>
                      <a:pt x="11" y="41"/>
                      <a:pt x="11" y="41"/>
                    </a:cubicBezTo>
                    <a:cubicBezTo>
                      <a:pt x="10" y="42"/>
                      <a:pt x="11" y="43"/>
                      <a:pt x="11" y="44"/>
                    </a:cubicBezTo>
                    <a:close/>
                    <a:moveTo>
                      <a:pt x="135" y="58"/>
                    </a:moveTo>
                    <a:cubicBezTo>
                      <a:pt x="135" y="57"/>
                      <a:pt x="135" y="57"/>
                      <a:pt x="135" y="56"/>
                    </a:cubicBezTo>
                    <a:cubicBezTo>
                      <a:pt x="135" y="55"/>
                      <a:pt x="135" y="55"/>
                      <a:pt x="135" y="54"/>
                    </a:cubicBezTo>
                    <a:cubicBezTo>
                      <a:pt x="135" y="53"/>
                      <a:pt x="135" y="53"/>
                      <a:pt x="135" y="53"/>
                    </a:cubicBezTo>
                    <a:cubicBezTo>
                      <a:pt x="134" y="52"/>
                      <a:pt x="133" y="52"/>
                      <a:pt x="133" y="52"/>
                    </a:cubicBezTo>
                    <a:cubicBezTo>
                      <a:pt x="132" y="52"/>
                      <a:pt x="131" y="51"/>
                      <a:pt x="131" y="51"/>
                    </a:cubicBezTo>
                    <a:cubicBezTo>
                      <a:pt x="130" y="50"/>
                      <a:pt x="128" y="49"/>
                      <a:pt x="127" y="50"/>
                    </a:cubicBezTo>
                    <a:cubicBezTo>
                      <a:pt x="126" y="50"/>
                      <a:pt x="126" y="50"/>
                      <a:pt x="125" y="50"/>
                    </a:cubicBezTo>
                    <a:cubicBezTo>
                      <a:pt x="124" y="49"/>
                      <a:pt x="123" y="48"/>
                      <a:pt x="122" y="48"/>
                    </a:cubicBezTo>
                    <a:cubicBezTo>
                      <a:pt x="120" y="47"/>
                      <a:pt x="119" y="46"/>
                      <a:pt x="117" y="45"/>
                    </a:cubicBezTo>
                    <a:cubicBezTo>
                      <a:pt x="116" y="45"/>
                      <a:pt x="114" y="44"/>
                      <a:pt x="113" y="43"/>
                    </a:cubicBezTo>
                    <a:cubicBezTo>
                      <a:pt x="113" y="42"/>
                      <a:pt x="112" y="42"/>
                      <a:pt x="112" y="42"/>
                    </a:cubicBezTo>
                    <a:cubicBezTo>
                      <a:pt x="111" y="42"/>
                      <a:pt x="110" y="42"/>
                      <a:pt x="110" y="42"/>
                    </a:cubicBezTo>
                    <a:cubicBezTo>
                      <a:pt x="108" y="41"/>
                      <a:pt x="106" y="40"/>
                      <a:pt x="105" y="38"/>
                    </a:cubicBezTo>
                    <a:cubicBezTo>
                      <a:pt x="104" y="37"/>
                      <a:pt x="102" y="37"/>
                      <a:pt x="101" y="36"/>
                    </a:cubicBezTo>
                    <a:cubicBezTo>
                      <a:pt x="99" y="35"/>
                      <a:pt x="98" y="34"/>
                      <a:pt x="96" y="33"/>
                    </a:cubicBezTo>
                    <a:cubicBezTo>
                      <a:pt x="95" y="32"/>
                      <a:pt x="93" y="32"/>
                      <a:pt x="93" y="31"/>
                    </a:cubicBezTo>
                    <a:cubicBezTo>
                      <a:pt x="92" y="30"/>
                      <a:pt x="92" y="29"/>
                      <a:pt x="92" y="29"/>
                    </a:cubicBezTo>
                    <a:cubicBezTo>
                      <a:pt x="92" y="28"/>
                      <a:pt x="91" y="27"/>
                      <a:pt x="91" y="27"/>
                    </a:cubicBezTo>
                    <a:cubicBezTo>
                      <a:pt x="91" y="26"/>
                      <a:pt x="90" y="26"/>
                      <a:pt x="90" y="26"/>
                    </a:cubicBezTo>
                    <a:cubicBezTo>
                      <a:pt x="89" y="25"/>
                      <a:pt x="89" y="25"/>
                      <a:pt x="88" y="24"/>
                    </a:cubicBezTo>
                    <a:cubicBezTo>
                      <a:pt x="88" y="24"/>
                      <a:pt x="87" y="23"/>
                      <a:pt x="87" y="22"/>
                    </a:cubicBezTo>
                    <a:cubicBezTo>
                      <a:pt x="86" y="21"/>
                      <a:pt x="86" y="20"/>
                      <a:pt x="86" y="20"/>
                    </a:cubicBezTo>
                    <a:cubicBezTo>
                      <a:pt x="85" y="19"/>
                      <a:pt x="84" y="18"/>
                      <a:pt x="83" y="17"/>
                    </a:cubicBezTo>
                    <a:cubicBezTo>
                      <a:pt x="82" y="17"/>
                      <a:pt x="81" y="17"/>
                      <a:pt x="81" y="17"/>
                    </a:cubicBezTo>
                    <a:cubicBezTo>
                      <a:pt x="80" y="17"/>
                      <a:pt x="80" y="17"/>
                      <a:pt x="80" y="18"/>
                    </a:cubicBezTo>
                    <a:cubicBezTo>
                      <a:pt x="80" y="18"/>
                      <a:pt x="79" y="18"/>
                      <a:pt x="79" y="18"/>
                    </a:cubicBezTo>
                    <a:cubicBezTo>
                      <a:pt x="78" y="18"/>
                      <a:pt x="78" y="17"/>
                      <a:pt x="78" y="17"/>
                    </a:cubicBezTo>
                    <a:cubicBezTo>
                      <a:pt x="77" y="17"/>
                      <a:pt x="77" y="18"/>
                      <a:pt x="77" y="17"/>
                    </a:cubicBezTo>
                    <a:cubicBezTo>
                      <a:pt x="77" y="17"/>
                      <a:pt x="77" y="18"/>
                      <a:pt x="77" y="18"/>
                    </a:cubicBezTo>
                    <a:cubicBezTo>
                      <a:pt x="76" y="17"/>
                      <a:pt x="74" y="17"/>
                      <a:pt x="73" y="17"/>
                    </a:cubicBezTo>
                    <a:cubicBezTo>
                      <a:pt x="72" y="18"/>
                      <a:pt x="71" y="17"/>
                      <a:pt x="69" y="16"/>
                    </a:cubicBezTo>
                    <a:cubicBezTo>
                      <a:pt x="69" y="16"/>
                      <a:pt x="68" y="15"/>
                      <a:pt x="68" y="15"/>
                    </a:cubicBezTo>
                    <a:cubicBezTo>
                      <a:pt x="68" y="14"/>
                      <a:pt x="69" y="14"/>
                      <a:pt x="69" y="13"/>
                    </a:cubicBezTo>
                    <a:cubicBezTo>
                      <a:pt x="69" y="13"/>
                      <a:pt x="66" y="12"/>
                      <a:pt x="68" y="11"/>
                    </a:cubicBezTo>
                    <a:cubicBezTo>
                      <a:pt x="68" y="11"/>
                      <a:pt x="70" y="12"/>
                      <a:pt x="68" y="11"/>
                    </a:cubicBezTo>
                    <a:cubicBezTo>
                      <a:pt x="68" y="10"/>
                      <a:pt x="67" y="10"/>
                      <a:pt x="66" y="10"/>
                    </a:cubicBezTo>
                    <a:cubicBezTo>
                      <a:pt x="65" y="9"/>
                      <a:pt x="66" y="9"/>
                      <a:pt x="66" y="9"/>
                    </a:cubicBezTo>
                    <a:cubicBezTo>
                      <a:pt x="67" y="9"/>
                      <a:pt x="66" y="8"/>
                      <a:pt x="66" y="8"/>
                    </a:cubicBezTo>
                    <a:cubicBezTo>
                      <a:pt x="66" y="7"/>
                      <a:pt x="66" y="7"/>
                      <a:pt x="66" y="7"/>
                    </a:cubicBezTo>
                    <a:cubicBezTo>
                      <a:pt x="66" y="7"/>
                      <a:pt x="65" y="7"/>
                      <a:pt x="65" y="6"/>
                    </a:cubicBezTo>
                    <a:cubicBezTo>
                      <a:pt x="65" y="6"/>
                      <a:pt x="65" y="6"/>
                      <a:pt x="65" y="6"/>
                    </a:cubicBezTo>
                    <a:cubicBezTo>
                      <a:pt x="63" y="5"/>
                      <a:pt x="62" y="6"/>
                      <a:pt x="60" y="6"/>
                    </a:cubicBezTo>
                    <a:cubicBezTo>
                      <a:pt x="60" y="6"/>
                      <a:pt x="59" y="5"/>
                      <a:pt x="59" y="5"/>
                    </a:cubicBezTo>
                    <a:cubicBezTo>
                      <a:pt x="58" y="4"/>
                      <a:pt x="58" y="4"/>
                      <a:pt x="58" y="3"/>
                    </a:cubicBezTo>
                    <a:cubicBezTo>
                      <a:pt x="57" y="3"/>
                      <a:pt x="57" y="3"/>
                      <a:pt x="56" y="3"/>
                    </a:cubicBezTo>
                    <a:cubicBezTo>
                      <a:pt x="55" y="3"/>
                      <a:pt x="54" y="2"/>
                      <a:pt x="54" y="2"/>
                    </a:cubicBezTo>
                    <a:cubicBezTo>
                      <a:pt x="53" y="2"/>
                      <a:pt x="52" y="0"/>
                      <a:pt x="52" y="0"/>
                    </a:cubicBezTo>
                    <a:cubicBezTo>
                      <a:pt x="51" y="1"/>
                      <a:pt x="52" y="2"/>
                      <a:pt x="52" y="2"/>
                    </a:cubicBezTo>
                    <a:cubicBezTo>
                      <a:pt x="51" y="2"/>
                      <a:pt x="50" y="2"/>
                      <a:pt x="50" y="2"/>
                    </a:cubicBezTo>
                    <a:cubicBezTo>
                      <a:pt x="49" y="1"/>
                      <a:pt x="48" y="1"/>
                      <a:pt x="48" y="2"/>
                    </a:cubicBezTo>
                    <a:cubicBezTo>
                      <a:pt x="48" y="3"/>
                      <a:pt x="49" y="3"/>
                      <a:pt x="50" y="3"/>
                    </a:cubicBezTo>
                    <a:cubicBezTo>
                      <a:pt x="50" y="3"/>
                      <a:pt x="51" y="4"/>
                      <a:pt x="51" y="5"/>
                    </a:cubicBezTo>
                    <a:cubicBezTo>
                      <a:pt x="52" y="5"/>
                      <a:pt x="53" y="6"/>
                      <a:pt x="52" y="6"/>
                    </a:cubicBezTo>
                    <a:cubicBezTo>
                      <a:pt x="51" y="6"/>
                      <a:pt x="51" y="5"/>
                      <a:pt x="51" y="5"/>
                    </a:cubicBezTo>
                    <a:cubicBezTo>
                      <a:pt x="51" y="4"/>
                      <a:pt x="50" y="4"/>
                      <a:pt x="50" y="4"/>
                    </a:cubicBezTo>
                    <a:cubicBezTo>
                      <a:pt x="49" y="4"/>
                      <a:pt x="49" y="4"/>
                      <a:pt x="48" y="4"/>
                    </a:cubicBezTo>
                    <a:cubicBezTo>
                      <a:pt x="48" y="4"/>
                      <a:pt x="48" y="3"/>
                      <a:pt x="48" y="4"/>
                    </a:cubicBezTo>
                    <a:cubicBezTo>
                      <a:pt x="47" y="4"/>
                      <a:pt x="47" y="4"/>
                      <a:pt x="47" y="4"/>
                    </a:cubicBezTo>
                    <a:cubicBezTo>
                      <a:pt x="47" y="5"/>
                      <a:pt x="47" y="5"/>
                      <a:pt x="47" y="6"/>
                    </a:cubicBezTo>
                    <a:cubicBezTo>
                      <a:pt x="47" y="6"/>
                      <a:pt x="46" y="6"/>
                      <a:pt x="47" y="7"/>
                    </a:cubicBezTo>
                    <a:cubicBezTo>
                      <a:pt x="47" y="7"/>
                      <a:pt x="45" y="7"/>
                      <a:pt x="45" y="7"/>
                    </a:cubicBezTo>
                    <a:cubicBezTo>
                      <a:pt x="45" y="7"/>
                      <a:pt x="44" y="7"/>
                      <a:pt x="44" y="7"/>
                    </a:cubicBezTo>
                    <a:cubicBezTo>
                      <a:pt x="43" y="7"/>
                      <a:pt x="42" y="8"/>
                      <a:pt x="41" y="9"/>
                    </a:cubicBezTo>
                    <a:cubicBezTo>
                      <a:pt x="41" y="10"/>
                      <a:pt x="40" y="10"/>
                      <a:pt x="40" y="10"/>
                    </a:cubicBezTo>
                    <a:cubicBezTo>
                      <a:pt x="39" y="11"/>
                      <a:pt x="40" y="11"/>
                      <a:pt x="40" y="11"/>
                    </a:cubicBezTo>
                    <a:cubicBezTo>
                      <a:pt x="40" y="12"/>
                      <a:pt x="40" y="12"/>
                      <a:pt x="40" y="13"/>
                    </a:cubicBezTo>
                    <a:cubicBezTo>
                      <a:pt x="40" y="13"/>
                      <a:pt x="41" y="13"/>
                      <a:pt x="41" y="14"/>
                    </a:cubicBezTo>
                    <a:cubicBezTo>
                      <a:pt x="41" y="14"/>
                      <a:pt x="41" y="15"/>
                      <a:pt x="41" y="15"/>
                    </a:cubicBezTo>
                    <a:cubicBezTo>
                      <a:pt x="41" y="15"/>
                      <a:pt x="43" y="16"/>
                      <a:pt x="43" y="16"/>
                    </a:cubicBezTo>
                    <a:cubicBezTo>
                      <a:pt x="43" y="16"/>
                      <a:pt x="42" y="16"/>
                      <a:pt x="42" y="17"/>
                    </a:cubicBezTo>
                    <a:cubicBezTo>
                      <a:pt x="42" y="17"/>
                      <a:pt x="42" y="17"/>
                      <a:pt x="41" y="17"/>
                    </a:cubicBezTo>
                    <a:cubicBezTo>
                      <a:pt x="41" y="17"/>
                      <a:pt x="40" y="17"/>
                      <a:pt x="40" y="17"/>
                    </a:cubicBezTo>
                    <a:cubicBezTo>
                      <a:pt x="39" y="17"/>
                      <a:pt x="39" y="17"/>
                      <a:pt x="38" y="17"/>
                    </a:cubicBezTo>
                    <a:cubicBezTo>
                      <a:pt x="36" y="17"/>
                      <a:pt x="35" y="15"/>
                      <a:pt x="31" y="16"/>
                    </a:cubicBezTo>
                    <a:cubicBezTo>
                      <a:pt x="30" y="17"/>
                      <a:pt x="29" y="17"/>
                      <a:pt x="28" y="17"/>
                    </a:cubicBezTo>
                    <a:cubicBezTo>
                      <a:pt x="27" y="17"/>
                      <a:pt x="27" y="16"/>
                      <a:pt x="26" y="15"/>
                    </a:cubicBezTo>
                    <a:cubicBezTo>
                      <a:pt x="25" y="15"/>
                      <a:pt x="24" y="14"/>
                      <a:pt x="24" y="13"/>
                    </a:cubicBezTo>
                    <a:cubicBezTo>
                      <a:pt x="23" y="12"/>
                      <a:pt x="22" y="12"/>
                      <a:pt x="22" y="11"/>
                    </a:cubicBezTo>
                    <a:cubicBezTo>
                      <a:pt x="21" y="10"/>
                      <a:pt x="21" y="9"/>
                      <a:pt x="20" y="9"/>
                    </a:cubicBezTo>
                    <a:cubicBezTo>
                      <a:pt x="19" y="8"/>
                      <a:pt x="18" y="8"/>
                      <a:pt x="17" y="7"/>
                    </a:cubicBezTo>
                    <a:cubicBezTo>
                      <a:pt x="16" y="7"/>
                      <a:pt x="15" y="6"/>
                      <a:pt x="14" y="5"/>
                    </a:cubicBezTo>
                    <a:cubicBezTo>
                      <a:pt x="13" y="5"/>
                      <a:pt x="12" y="5"/>
                      <a:pt x="11" y="6"/>
                    </a:cubicBezTo>
                    <a:cubicBezTo>
                      <a:pt x="8" y="6"/>
                      <a:pt x="6" y="6"/>
                      <a:pt x="4" y="8"/>
                    </a:cubicBezTo>
                    <a:cubicBezTo>
                      <a:pt x="2" y="9"/>
                      <a:pt x="1" y="10"/>
                      <a:pt x="0" y="12"/>
                    </a:cubicBezTo>
                    <a:cubicBezTo>
                      <a:pt x="0" y="12"/>
                      <a:pt x="1" y="13"/>
                      <a:pt x="1" y="13"/>
                    </a:cubicBezTo>
                    <a:cubicBezTo>
                      <a:pt x="1" y="14"/>
                      <a:pt x="1" y="14"/>
                      <a:pt x="2" y="15"/>
                    </a:cubicBezTo>
                    <a:cubicBezTo>
                      <a:pt x="3" y="15"/>
                      <a:pt x="3" y="16"/>
                      <a:pt x="4" y="17"/>
                    </a:cubicBezTo>
                    <a:cubicBezTo>
                      <a:pt x="4" y="17"/>
                      <a:pt x="4" y="18"/>
                      <a:pt x="5" y="18"/>
                    </a:cubicBezTo>
                    <a:cubicBezTo>
                      <a:pt x="5" y="19"/>
                      <a:pt x="5" y="19"/>
                      <a:pt x="5" y="19"/>
                    </a:cubicBezTo>
                    <a:cubicBezTo>
                      <a:pt x="5" y="20"/>
                      <a:pt x="5" y="19"/>
                      <a:pt x="5" y="19"/>
                    </a:cubicBezTo>
                    <a:cubicBezTo>
                      <a:pt x="5" y="18"/>
                      <a:pt x="5" y="18"/>
                      <a:pt x="4" y="18"/>
                    </a:cubicBezTo>
                    <a:cubicBezTo>
                      <a:pt x="4" y="17"/>
                      <a:pt x="4" y="16"/>
                      <a:pt x="4" y="15"/>
                    </a:cubicBezTo>
                    <a:cubicBezTo>
                      <a:pt x="4" y="14"/>
                      <a:pt x="4" y="13"/>
                      <a:pt x="4" y="13"/>
                    </a:cubicBezTo>
                    <a:cubicBezTo>
                      <a:pt x="4" y="12"/>
                      <a:pt x="3" y="13"/>
                      <a:pt x="3" y="13"/>
                    </a:cubicBezTo>
                    <a:cubicBezTo>
                      <a:pt x="2" y="12"/>
                      <a:pt x="4" y="9"/>
                      <a:pt x="4" y="9"/>
                    </a:cubicBezTo>
                    <a:cubicBezTo>
                      <a:pt x="4" y="9"/>
                      <a:pt x="5" y="8"/>
                      <a:pt x="5" y="8"/>
                    </a:cubicBezTo>
                    <a:cubicBezTo>
                      <a:pt x="5" y="8"/>
                      <a:pt x="6" y="8"/>
                      <a:pt x="7" y="8"/>
                    </a:cubicBezTo>
                    <a:cubicBezTo>
                      <a:pt x="8" y="8"/>
                      <a:pt x="10" y="7"/>
                      <a:pt x="11" y="8"/>
                    </a:cubicBezTo>
                    <a:cubicBezTo>
                      <a:pt x="12" y="8"/>
                      <a:pt x="12" y="9"/>
                      <a:pt x="12" y="10"/>
                    </a:cubicBezTo>
                    <a:cubicBezTo>
                      <a:pt x="13" y="11"/>
                      <a:pt x="13" y="11"/>
                      <a:pt x="14" y="12"/>
                    </a:cubicBezTo>
                    <a:cubicBezTo>
                      <a:pt x="14" y="12"/>
                      <a:pt x="14" y="13"/>
                      <a:pt x="14" y="14"/>
                    </a:cubicBezTo>
                    <a:cubicBezTo>
                      <a:pt x="14" y="15"/>
                      <a:pt x="16" y="15"/>
                      <a:pt x="17" y="16"/>
                    </a:cubicBezTo>
                    <a:cubicBezTo>
                      <a:pt x="18" y="17"/>
                      <a:pt x="20" y="17"/>
                      <a:pt x="20" y="18"/>
                    </a:cubicBezTo>
                    <a:cubicBezTo>
                      <a:pt x="21" y="19"/>
                      <a:pt x="21" y="19"/>
                      <a:pt x="21" y="19"/>
                    </a:cubicBezTo>
                    <a:cubicBezTo>
                      <a:pt x="21" y="19"/>
                      <a:pt x="21" y="19"/>
                      <a:pt x="21" y="19"/>
                    </a:cubicBezTo>
                    <a:cubicBezTo>
                      <a:pt x="21" y="19"/>
                      <a:pt x="22" y="19"/>
                      <a:pt x="22" y="19"/>
                    </a:cubicBezTo>
                    <a:cubicBezTo>
                      <a:pt x="22" y="19"/>
                      <a:pt x="21" y="19"/>
                      <a:pt x="21" y="19"/>
                    </a:cubicBezTo>
                    <a:cubicBezTo>
                      <a:pt x="21" y="20"/>
                      <a:pt x="22" y="20"/>
                      <a:pt x="22" y="21"/>
                    </a:cubicBezTo>
                    <a:cubicBezTo>
                      <a:pt x="21" y="21"/>
                      <a:pt x="21" y="22"/>
                      <a:pt x="21" y="22"/>
                    </a:cubicBezTo>
                    <a:cubicBezTo>
                      <a:pt x="20" y="22"/>
                      <a:pt x="19" y="22"/>
                      <a:pt x="19" y="22"/>
                    </a:cubicBezTo>
                    <a:cubicBezTo>
                      <a:pt x="19" y="22"/>
                      <a:pt x="20" y="21"/>
                      <a:pt x="19" y="21"/>
                    </a:cubicBezTo>
                    <a:cubicBezTo>
                      <a:pt x="19" y="21"/>
                      <a:pt x="18" y="21"/>
                      <a:pt x="18" y="21"/>
                    </a:cubicBezTo>
                    <a:cubicBezTo>
                      <a:pt x="17" y="21"/>
                      <a:pt x="18" y="22"/>
                      <a:pt x="18" y="22"/>
                    </a:cubicBezTo>
                    <a:cubicBezTo>
                      <a:pt x="18" y="22"/>
                      <a:pt x="18" y="23"/>
                      <a:pt x="19" y="23"/>
                    </a:cubicBezTo>
                    <a:cubicBezTo>
                      <a:pt x="19" y="23"/>
                      <a:pt x="20" y="23"/>
                      <a:pt x="19" y="23"/>
                    </a:cubicBezTo>
                    <a:cubicBezTo>
                      <a:pt x="19" y="23"/>
                      <a:pt x="19" y="23"/>
                      <a:pt x="19" y="23"/>
                    </a:cubicBezTo>
                    <a:cubicBezTo>
                      <a:pt x="19" y="24"/>
                      <a:pt x="18" y="24"/>
                      <a:pt x="18" y="23"/>
                    </a:cubicBezTo>
                    <a:cubicBezTo>
                      <a:pt x="18" y="23"/>
                      <a:pt x="16" y="23"/>
                      <a:pt x="16" y="23"/>
                    </a:cubicBezTo>
                    <a:cubicBezTo>
                      <a:pt x="17" y="23"/>
                      <a:pt x="15" y="24"/>
                      <a:pt x="15" y="24"/>
                    </a:cubicBezTo>
                    <a:cubicBezTo>
                      <a:pt x="15" y="24"/>
                      <a:pt x="14" y="24"/>
                      <a:pt x="13" y="24"/>
                    </a:cubicBezTo>
                    <a:cubicBezTo>
                      <a:pt x="13" y="24"/>
                      <a:pt x="13" y="23"/>
                      <a:pt x="13" y="23"/>
                    </a:cubicBezTo>
                    <a:cubicBezTo>
                      <a:pt x="13" y="23"/>
                      <a:pt x="13" y="23"/>
                      <a:pt x="13" y="23"/>
                    </a:cubicBezTo>
                    <a:cubicBezTo>
                      <a:pt x="12" y="22"/>
                      <a:pt x="12" y="21"/>
                      <a:pt x="12" y="21"/>
                    </a:cubicBezTo>
                    <a:cubicBezTo>
                      <a:pt x="11" y="21"/>
                      <a:pt x="12" y="24"/>
                      <a:pt x="10" y="22"/>
                    </a:cubicBezTo>
                    <a:cubicBezTo>
                      <a:pt x="10" y="22"/>
                      <a:pt x="10" y="21"/>
                      <a:pt x="10" y="22"/>
                    </a:cubicBezTo>
                    <a:cubicBezTo>
                      <a:pt x="10" y="22"/>
                      <a:pt x="9" y="23"/>
                      <a:pt x="9" y="23"/>
                    </a:cubicBezTo>
                    <a:cubicBezTo>
                      <a:pt x="9" y="22"/>
                      <a:pt x="9" y="22"/>
                      <a:pt x="9" y="22"/>
                    </a:cubicBezTo>
                    <a:cubicBezTo>
                      <a:pt x="8" y="22"/>
                      <a:pt x="8" y="23"/>
                      <a:pt x="8" y="23"/>
                    </a:cubicBezTo>
                    <a:cubicBezTo>
                      <a:pt x="7" y="22"/>
                      <a:pt x="7" y="22"/>
                      <a:pt x="8" y="21"/>
                    </a:cubicBezTo>
                    <a:cubicBezTo>
                      <a:pt x="6" y="22"/>
                      <a:pt x="6" y="19"/>
                      <a:pt x="5" y="19"/>
                    </a:cubicBezTo>
                    <a:cubicBezTo>
                      <a:pt x="5" y="20"/>
                      <a:pt x="6" y="21"/>
                      <a:pt x="6" y="21"/>
                    </a:cubicBezTo>
                    <a:cubicBezTo>
                      <a:pt x="5" y="22"/>
                      <a:pt x="6" y="22"/>
                      <a:pt x="5" y="23"/>
                    </a:cubicBezTo>
                    <a:cubicBezTo>
                      <a:pt x="5" y="23"/>
                      <a:pt x="5" y="22"/>
                      <a:pt x="5" y="23"/>
                    </a:cubicBezTo>
                    <a:cubicBezTo>
                      <a:pt x="5" y="23"/>
                      <a:pt x="6" y="23"/>
                      <a:pt x="6" y="24"/>
                    </a:cubicBezTo>
                    <a:cubicBezTo>
                      <a:pt x="6" y="24"/>
                      <a:pt x="5" y="24"/>
                      <a:pt x="5" y="24"/>
                    </a:cubicBezTo>
                    <a:cubicBezTo>
                      <a:pt x="5" y="25"/>
                      <a:pt x="5" y="25"/>
                      <a:pt x="5" y="26"/>
                    </a:cubicBezTo>
                    <a:cubicBezTo>
                      <a:pt x="5" y="27"/>
                      <a:pt x="5" y="28"/>
                      <a:pt x="5" y="28"/>
                    </a:cubicBezTo>
                    <a:cubicBezTo>
                      <a:pt x="6" y="29"/>
                      <a:pt x="6" y="29"/>
                      <a:pt x="6" y="30"/>
                    </a:cubicBezTo>
                    <a:cubicBezTo>
                      <a:pt x="6" y="31"/>
                      <a:pt x="6" y="31"/>
                      <a:pt x="7" y="31"/>
                    </a:cubicBezTo>
                    <a:cubicBezTo>
                      <a:pt x="7" y="31"/>
                      <a:pt x="7" y="32"/>
                      <a:pt x="8" y="32"/>
                    </a:cubicBezTo>
                    <a:cubicBezTo>
                      <a:pt x="8" y="32"/>
                      <a:pt x="7" y="30"/>
                      <a:pt x="7" y="30"/>
                    </a:cubicBezTo>
                    <a:cubicBezTo>
                      <a:pt x="7" y="30"/>
                      <a:pt x="7" y="31"/>
                      <a:pt x="7" y="31"/>
                    </a:cubicBezTo>
                    <a:cubicBezTo>
                      <a:pt x="8" y="31"/>
                      <a:pt x="8" y="31"/>
                      <a:pt x="8" y="31"/>
                    </a:cubicBezTo>
                    <a:cubicBezTo>
                      <a:pt x="9" y="31"/>
                      <a:pt x="9" y="31"/>
                      <a:pt x="9" y="31"/>
                    </a:cubicBezTo>
                    <a:cubicBezTo>
                      <a:pt x="10" y="31"/>
                      <a:pt x="10" y="31"/>
                      <a:pt x="11" y="31"/>
                    </a:cubicBezTo>
                    <a:cubicBezTo>
                      <a:pt x="11" y="31"/>
                      <a:pt x="11" y="31"/>
                      <a:pt x="12" y="31"/>
                    </a:cubicBezTo>
                    <a:cubicBezTo>
                      <a:pt x="12" y="31"/>
                      <a:pt x="12" y="31"/>
                      <a:pt x="12" y="31"/>
                    </a:cubicBezTo>
                    <a:cubicBezTo>
                      <a:pt x="12" y="31"/>
                      <a:pt x="13" y="31"/>
                      <a:pt x="13" y="32"/>
                    </a:cubicBezTo>
                    <a:cubicBezTo>
                      <a:pt x="13" y="32"/>
                      <a:pt x="13" y="33"/>
                      <a:pt x="12" y="33"/>
                    </a:cubicBezTo>
                    <a:cubicBezTo>
                      <a:pt x="12" y="33"/>
                      <a:pt x="12" y="34"/>
                      <a:pt x="12" y="33"/>
                    </a:cubicBezTo>
                    <a:cubicBezTo>
                      <a:pt x="13" y="34"/>
                      <a:pt x="13" y="34"/>
                      <a:pt x="14" y="35"/>
                    </a:cubicBezTo>
                    <a:cubicBezTo>
                      <a:pt x="13" y="34"/>
                      <a:pt x="13" y="34"/>
                      <a:pt x="13" y="34"/>
                    </a:cubicBezTo>
                    <a:cubicBezTo>
                      <a:pt x="14" y="34"/>
                      <a:pt x="14" y="35"/>
                      <a:pt x="14" y="34"/>
                    </a:cubicBezTo>
                    <a:cubicBezTo>
                      <a:pt x="14" y="34"/>
                      <a:pt x="14" y="35"/>
                      <a:pt x="14" y="35"/>
                    </a:cubicBezTo>
                    <a:cubicBezTo>
                      <a:pt x="15" y="35"/>
                      <a:pt x="14" y="35"/>
                      <a:pt x="14" y="35"/>
                    </a:cubicBezTo>
                    <a:cubicBezTo>
                      <a:pt x="14" y="35"/>
                      <a:pt x="14" y="35"/>
                      <a:pt x="14" y="35"/>
                    </a:cubicBezTo>
                    <a:cubicBezTo>
                      <a:pt x="14" y="36"/>
                      <a:pt x="15" y="35"/>
                      <a:pt x="15" y="35"/>
                    </a:cubicBezTo>
                    <a:cubicBezTo>
                      <a:pt x="15" y="35"/>
                      <a:pt x="15" y="35"/>
                      <a:pt x="15" y="36"/>
                    </a:cubicBezTo>
                    <a:cubicBezTo>
                      <a:pt x="15" y="36"/>
                      <a:pt x="15" y="36"/>
                      <a:pt x="15" y="36"/>
                    </a:cubicBezTo>
                    <a:cubicBezTo>
                      <a:pt x="15" y="36"/>
                      <a:pt x="15" y="36"/>
                      <a:pt x="15" y="36"/>
                    </a:cubicBezTo>
                    <a:cubicBezTo>
                      <a:pt x="14" y="35"/>
                      <a:pt x="14" y="36"/>
                      <a:pt x="14" y="36"/>
                    </a:cubicBezTo>
                    <a:cubicBezTo>
                      <a:pt x="14" y="36"/>
                      <a:pt x="14" y="36"/>
                      <a:pt x="14" y="35"/>
                    </a:cubicBezTo>
                    <a:cubicBezTo>
                      <a:pt x="14" y="35"/>
                      <a:pt x="14" y="35"/>
                      <a:pt x="14" y="35"/>
                    </a:cubicBezTo>
                    <a:cubicBezTo>
                      <a:pt x="14" y="35"/>
                      <a:pt x="14" y="35"/>
                      <a:pt x="14" y="35"/>
                    </a:cubicBezTo>
                    <a:cubicBezTo>
                      <a:pt x="13" y="35"/>
                      <a:pt x="13" y="35"/>
                      <a:pt x="13" y="35"/>
                    </a:cubicBezTo>
                    <a:cubicBezTo>
                      <a:pt x="13" y="35"/>
                      <a:pt x="14" y="35"/>
                      <a:pt x="13" y="36"/>
                    </a:cubicBezTo>
                    <a:cubicBezTo>
                      <a:pt x="13" y="35"/>
                      <a:pt x="12" y="36"/>
                      <a:pt x="11" y="36"/>
                    </a:cubicBezTo>
                    <a:cubicBezTo>
                      <a:pt x="11" y="35"/>
                      <a:pt x="12" y="34"/>
                      <a:pt x="12" y="34"/>
                    </a:cubicBezTo>
                    <a:cubicBezTo>
                      <a:pt x="11" y="34"/>
                      <a:pt x="11" y="36"/>
                      <a:pt x="10" y="36"/>
                    </a:cubicBezTo>
                    <a:cubicBezTo>
                      <a:pt x="10" y="37"/>
                      <a:pt x="10" y="37"/>
                      <a:pt x="11" y="38"/>
                    </a:cubicBezTo>
                    <a:cubicBezTo>
                      <a:pt x="11" y="38"/>
                      <a:pt x="11" y="39"/>
                      <a:pt x="11" y="39"/>
                    </a:cubicBezTo>
                    <a:cubicBezTo>
                      <a:pt x="11" y="39"/>
                      <a:pt x="11" y="38"/>
                      <a:pt x="11" y="38"/>
                    </a:cubicBezTo>
                    <a:cubicBezTo>
                      <a:pt x="11" y="37"/>
                      <a:pt x="13" y="38"/>
                      <a:pt x="13" y="38"/>
                    </a:cubicBezTo>
                    <a:cubicBezTo>
                      <a:pt x="13" y="38"/>
                      <a:pt x="14" y="39"/>
                      <a:pt x="14" y="38"/>
                    </a:cubicBezTo>
                    <a:cubicBezTo>
                      <a:pt x="14" y="39"/>
                      <a:pt x="15" y="39"/>
                      <a:pt x="15" y="39"/>
                    </a:cubicBezTo>
                    <a:cubicBezTo>
                      <a:pt x="15" y="39"/>
                      <a:pt x="15" y="39"/>
                      <a:pt x="15" y="40"/>
                    </a:cubicBezTo>
                    <a:cubicBezTo>
                      <a:pt x="15" y="39"/>
                      <a:pt x="15" y="40"/>
                      <a:pt x="15" y="40"/>
                    </a:cubicBezTo>
                    <a:cubicBezTo>
                      <a:pt x="15" y="40"/>
                      <a:pt x="16" y="41"/>
                      <a:pt x="16" y="41"/>
                    </a:cubicBezTo>
                    <a:cubicBezTo>
                      <a:pt x="16" y="41"/>
                      <a:pt x="16" y="39"/>
                      <a:pt x="16" y="40"/>
                    </a:cubicBezTo>
                    <a:cubicBezTo>
                      <a:pt x="16" y="40"/>
                      <a:pt x="16" y="41"/>
                      <a:pt x="17" y="41"/>
                    </a:cubicBezTo>
                    <a:cubicBezTo>
                      <a:pt x="17" y="41"/>
                      <a:pt x="18" y="41"/>
                      <a:pt x="18" y="42"/>
                    </a:cubicBezTo>
                    <a:cubicBezTo>
                      <a:pt x="18" y="42"/>
                      <a:pt x="19" y="42"/>
                      <a:pt x="19" y="43"/>
                    </a:cubicBezTo>
                    <a:cubicBezTo>
                      <a:pt x="19" y="43"/>
                      <a:pt x="19" y="43"/>
                      <a:pt x="19" y="42"/>
                    </a:cubicBezTo>
                    <a:cubicBezTo>
                      <a:pt x="19" y="44"/>
                      <a:pt x="19" y="45"/>
                      <a:pt x="18" y="46"/>
                    </a:cubicBezTo>
                    <a:cubicBezTo>
                      <a:pt x="18" y="47"/>
                      <a:pt x="19" y="48"/>
                      <a:pt x="19" y="49"/>
                    </a:cubicBezTo>
                    <a:cubicBezTo>
                      <a:pt x="19" y="50"/>
                      <a:pt x="19" y="52"/>
                      <a:pt x="19" y="53"/>
                    </a:cubicBezTo>
                    <a:cubicBezTo>
                      <a:pt x="19" y="54"/>
                      <a:pt x="20" y="56"/>
                      <a:pt x="20" y="57"/>
                    </a:cubicBezTo>
                    <a:cubicBezTo>
                      <a:pt x="21" y="58"/>
                      <a:pt x="21" y="59"/>
                      <a:pt x="21" y="60"/>
                    </a:cubicBezTo>
                    <a:cubicBezTo>
                      <a:pt x="22" y="60"/>
                      <a:pt x="24" y="60"/>
                      <a:pt x="24" y="60"/>
                    </a:cubicBezTo>
                    <a:cubicBezTo>
                      <a:pt x="25" y="60"/>
                      <a:pt x="26" y="59"/>
                      <a:pt x="27" y="59"/>
                    </a:cubicBezTo>
                    <a:cubicBezTo>
                      <a:pt x="28" y="59"/>
                      <a:pt x="28" y="59"/>
                      <a:pt x="29" y="58"/>
                    </a:cubicBezTo>
                    <a:cubicBezTo>
                      <a:pt x="29" y="57"/>
                      <a:pt x="28" y="56"/>
                      <a:pt x="29" y="55"/>
                    </a:cubicBezTo>
                    <a:cubicBezTo>
                      <a:pt x="29" y="55"/>
                      <a:pt x="30" y="55"/>
                      <a:pt x="30" y="54"/>
                    </a:cubicBezTo>
                    <a:cubicBezTo>
                      <a:pt x="31" y="54"/>
                      <a:pt x="31" y="54"/>
                      <a:pt x="31" y="53"/>
                    </a:cubicBezTo>
                    <a:cubicBezTo>
                      <a:pt x="32" y="53"/>
                      <a:pt x="32" y="53"/>
                      <a:pt x="33" y="52"/>
                    </a:cubicBezTo>
                    <a:cubicBezTo>
                      <a:pt x="33" y="52"/>
                      <a:pt x="34" y="52"/>
                      <a:pt x="34" y="52"/>
                    </a:cubicBezTo>
                    <a:cubicBezTo>
                      <a:pt x="35" y="51"/>
                      <a:pt x="37" y="51"/>
                      <a:pt x="38" y="52"/>
                    </a:cubicBezTo>
                    <a:cubicBezTo>
                      <a:pt x="39" y="52"/>
                      <a:pt x="40" y="52"/>
                      <a:pt x="41" y="52"/>
                    </a:cubicBezTo>
                    <a:cubicBezTo>
                      <a:pt x="41" y="52"/>
                      <a:pt x="42" y="52"/>
                      <a:pt x="42" y="51"/>
                    </a:cubicBezTo>
                    <a:cubicBezTo>
                      <a:pt x="41" y="50"/>
                      <a:pt x="43" y="50"/>
                      <a:pt x="44" y="50"/>
                    </a:cubicBezTo>
                    <a:cubicBezTo>
                      <a:pt x="44" y="50"/>
                      <a:pt x="45" y="50"/>
                      <a:pt x="45" y="50"/>
                    </a:cubicBezTo>
                    <a:cubicBezTo>
                      <a:pt x="45" y="50"/>
                      <a:pt x="46" y="50"/>
                      <a:pt x="46" y="50"/>
                    </a:cubicBezTo>
                    <a:cubicBezTo>
                      <a:pt x="47" y="50"/>
                      <a:pt x="48" y="51"/>
                      <a:pt x="48" y="50"/>
                    </a:cubicBezTo>
                    <a:cubicBezTo>
                      <a:pt x="49" y="50"/>
                      <a:pt x="49" y="50"/>
                      <a:pt x="49" y="50"/>
                    </a:cubicBezTo>
                    <a:cubicBezTo>
                      <a:pt x="50" y="50"/>
                      <a:pt x="50" y="51"/>
                      <a:pt x="50" y="51"/>
                    </a:cubicBezTo>
                    <a:cubicBezTo>
                      <a:pt x="51" y="51"/>
                      <a:pt x="51" y="51"/>
                      <a:pt x="51" y="52"/>
                    </a:cubicBezTo>
                    <a:cubicBezTo>
                      <a:pt x="51" y="53"/>
                      <a:pt x="53" y="54"/>
                      <a:pt x="54" y="54"/>
                    </a:cubicBezTo>
                    <a:cubicBezTo>
                      <a:pt x="55" y="53"/>
                      <a:pt x="56" y="54"/>
                      <a:pt x="56" y="54"/>
                    </a:cubicBezTo>
                    <a:cubicBezTo>
                      <a:pt x="57" y="54"/>
                      <a:pt x="58" y="55"/>
                      <a:pt x="59" y="55"/>
                    </a:cubicBezTo>
                    <a:cubicBezTo>
                      <a:pt x="59" y="55"/>
                      <a:pt x="59" y="55"/>
                      <a:pt x="60" y="56"/>
                    </a:cubicBezTo>
                    <a:cubicBezTo>
                      <a:pt x="60" y="56"/>
                      <a:pt x="60" y="56"/>
                      <a:pt x="61" y="56"/>
                    </a:cubicBezTo>
                    <a:cubicBezTo>
                      <a:pt x="61" y="57"/>
                      <a:pt x="62" y="57"/>
                      <a:pt x="62" y="57"/>
                    </a:cubicBezTo>
                    <a:cubicBezTo>
                      <a:pt x="63" y="56"/>
                      <a:pt x="62" y="56"/>
                      <a:pt x="63" y="56"/>
                    </a:cubicBezTo>
                    <a:cubicBezTo>
                      <a:pt x="64" y="56"/>
                      <a:pt x="64" y="56"/>
                      <a:pt x="65" y="56"/>
                    </a:cubicBezTo>
                    <a:cubicBezTo>
                      <a:pt x="65" y="56"/>
                      <a:pt x="65" y="56"/>
                      <a:pt x="66" y="56"/>
                    </a:cubicBezTo>
                    <a:cubicBezTo>
                      <a:pt x="66" y="56"/>
                      <a:pt x="67" y="57"/>
                      <a:pt x="68" y="57"/>
                    </a:cubicBezTo>
                    <a:cubicBezTo>
                      <a:pt x="68" y="57"/>
                      <a:pt x="69" y="58"/>
                      <a:pt x="70" y="58"/>
                    </a:cubicBezTo>
                    <a:cubicBezTo>
                      <a:pt x="71" y="58"/>
                      <a:pt x="70" y="60"/>
                      <a:pt x="71" y="60"/>
                    </a:cubicBezTo>
                    <a:cubicBezTo>
                      <a:pt x="72" y="60"/>
                      <a:pt x="72" y="61"/>
                      <a:pt x="72" y="61"/>
                    </a:cubicBezTo>
                    <a:cubicBezTo>
                      <a:pt x="72" y="61"/>
                      <a:pt x="72" y="61"/>
                      <a:pt x="72" y="61"/>
                    </a:cubicBezTo>
                    <a:cubicBezTo>
                      <a:pt x="73" y="62"/>
                      <a:pt x="73" y="61"/>
                      <a:pt x="73" y="62"/>
                    </a:cubicBezTo>
                    <a:cubicBezTo>
                      <a:pt x="73" y="62"/>
                      <a:pt x="74" y="62"/>
                      <a:pt x="74" y="62"/>
                    </a:cubicBezTo>
                    <a:cubicBezTo>
                      <a:pt x="75" y="62"/>
                      <a:pt x="75" y="62"/>
                      <a:pt x="75" y="62"/>
                    </a:cubicBezTo>
                    <a:cubicBezTo>
                      <a:pt x="76" y="63"/>
                      <a:pt x="77" y="63"/>
                      <a:pt x="77" y="63"/>
                    </a:cubicBezTo>
                    <a:cubicBezTo>
                      <a:pt x="78" y="64"/>
                      <a:pt x="78" y="64"/>
                      <a:pt x="78" y="65"/>
                    </a:cubicBezTo>
                    <a:cubicBezTo>
                      <a:pt x="79" y="65"/>
                      <a:pt x="80" y="66"/>
                      <a:pt x="80" y="66"/>
                    </a:cubicBezTo>
                    <a:cubicBezTo>
                      <a:pt x="81" y="67"/>
                      <a:pt x="81" y="67"/>
                      <a:pt x="82" y="68"/>
                    </a:cubicBezTo>
                    <a:cubicBezTo>
                      <a:pt x="82" y="68"/>
                      <a:pt x="83" y="68"/>
                      <a:pt x="84" y="68"/>
                    </a:cubicBezTo>
                    <a:cubicBezTo>
                      <a:pt x="85" y="68"/>
                      <a:pt x="86" y="68"/>
                      <a:pt x="87" y="68"/>
                    </a:cubicBezTo>
                    <a:cubicBezTo>
                      <a:pt x="87" y="67"/>
                      <a:pt x="88" y="67"/>
                      <a:pt x="88" y="67"/>
                    </a:cubicBezTo>
                    <a:cubicBezTo>
                      <a:pt x="89" y="68"/>
                      <a:pt x="89" y="68"/>
                      <a:pt x="89" y="69"/>
                    </a:cubicBezTo>
                    <a:cubicBezTo>
                      <a:pt x="89" y="70"/>
                      <a:pt x="89" y="71"/>
                      <a:pt x="89" y="71"/>
                    </a:cubicBezTo>
                    <a:cubicBezTo>
                      <a:pt x="90" y="72"/>
                      <a:pt x="90" y="73"/>
                      <a:pt x="90" y="74"/>
                    </a:cubicBezTo>
                    <a:cubicBezTo>
                      <a:pt x="90" y="74"/>
                      <a:pt x="90" y="75"/>
                      <a:pt x="89" y="75"/>
                    </a:cubicBezTo>
                    <a:cubicBezTo>
                      <a:pt x="90" y="75"/>
                      <a:pt x="90" y="75"/>
                      <a:pt x="91" y="76"/>
                    </a:cubicBezTo>
                    <a:cubicBezTo>
                      <a:pt x="91" y="76"/>
                      <a:pt x="91" y="77"/>
                      <a:pt x="91" y="77"/>
                    </a:cubicBezTo>
                    <a:cubicBezTo>
                      <a:pt x="91" y="78"/>
                      <a:pt x="91" y="78"/>
                      <a:pt x="92" y="79"/>
                    </a:cubicBezTo>
                    <a:cubicBezTo>
                      <a:pt x="92" y="78"/>
                      <a:pt x="94" y="80"/>
                      <a:pt x="94" y="80"/>
                    </a:cubicBezTo>
                    <a:cubicBezTo>
                      <a:pt x="95" y="81"/>
                      <a:pt x="96" y="81"/>
                      <a:pt x="98" y="81"/>
                    </a:cubicBezTo>
                    <a:cubicBezTo>
                      <a:pt x="99" y="80"/>
                      <a:pt x="99" y="82"/>
                      <a:pt x="100" y="82"/>
                    </a:cubicBezTo>
                    <a:cubicBezTo>
                      <a:pt x="101" y="82"/>
                      <a:pt x="101" y="82"/>
                      <a:pt x="101" y="83"/>
                    </a:cubicBezTo>
                    <a:cubicBezTo>
                      <a:pt x="101" y="83"/>
                      <a:pt x="102" y="84"/>
                      <a:pt x="102" y="84"/>
                    </a:cubicBezTo>
                    <a:cubicBezTo>
                      <a:pt x="103" y="84"/>
                      <a:pt x="102" y="82"/>
                      <a:pt x="104" y="83"/>
                    </a:cubicBezTo>
                    <a:cubicBezTo>
                      <a:pt x="105" y="84"/>
                      <a:pt x="106" y="82"/>
                      <a:pt x="107" y="82"/>
                    </a:cubicBezTo>
                    <a:cubicBezTo>
                      <a:pt x="108" y="81"/>
                      <a:pt x="109" y="81"/>
                      <a:pt x="109" y="80"/>
                    </a:cubicBezTo>
                    <a:cubicBezTo>
                      <a:pt x="108" y="79"/>
                      <a:pt x="108" y="79"/>
                      <a:pt x="108" y="79"/>
                    </a:cubicBezTo>
                    <a:cubicBezTo>
                      <a:pt x="108" y="79"/>
                      <a:pt x="109" y="78"/>
                      <a:pt x="109" y="78"/>
                    </a:cubicBezTo>
                    <a:cubicBezTo>
                      <a:pt x="109" y="78"/>
                      <a:pt x="108" y="76"/>
                      <a:pt x="108" y="76"/>
                    </a:cubicBezTo>
                    <a:cubicBezTo>
                      <a:pt x="108" y="76"/>
                      <a:pt x="109" y="76"/>
                      <a:pt x="109" y="76"/>
                    </a:cubicBezTo>
                    <a:cubicBezTo>
                      <a:pt x="110" y="76"/>
                      <a:pt x="110" y="76"/>
                      <a:pt x="111" y="76"/>
                    </a:cubicBezTo>
                    <a:cubicBezTo>
                      <a:pt x="111" y="76"/>
                      <a:pt x="112" y="76"/>
                      <a:pt x="112" y="75"/>
                    </a:cubicBezTo>
                    <a:cubicBezTo>
                      <a:pt x="112" y="75"/>
                      <a:pt x="113" y="75"/>
                      <a:pt x="113" y="75"/>
                    </a:cubicBezTo>
                    <a:cubicBezTo>
                      <a:pt x="114" y="75"/>
                      <a:pt x="114" y="74"/>
                      <a:pt x="115" y="74"/>
                    </a:cubicBezTo>
                    <a:cubicBezTo>
                      <a:pt x="115" y="74"/>
                      <a:pt x="116" y="74"/>
                      <a:pt x="116" y="75"/>
                    </a:cubicBezTo>
                    <a:cubicBezTo>
                      <a:pt x="116" y="73"/>
                      <a:pt x="117" y="73"/>
                      <a:pt x="118" y="73"/>
                    </a:cubicBezTo>
                    <a:cubicBezTo>
                      <a:pt x="118" y="73"/>
                      <a:pt x="118" y="72"/>
                      <a:pt x="119" y="72"/>
                    </a:cubicBezTo>
                    <a:cubicBezTo>
                      <a:pt x="119" y="72"/>
                      <a:pt x="120" y="72"/>
                      <a:pt x="120" y="71"/>
                    </a:cubicBezTo>
                    <a:cubicBezTo>
                      <a:pt x="120" y="70"/>
                      <a:pt x="120" y="70"/>
                      <a:pt x="120" y="69"/>
                    </a:cubicBezTo>
                    <a:cubicBezTo>
                      <a:pt x="120" y="68"/>
                      <a:pt x="120" y="68"/>
                      <a:pt x="120" y="67"/>
                    </a:cubicBezTo>
                    <a:cubicBezTo>
                      <a:pt x="120" y="66"/>
                      <a:pt x="121" y="65"/>
                      <a:pt x="121" y="64"/>
                    </a:cubicBezTo>
                    <a:cubicBezTo>
                      <a:pt x="120" y="63"/>
                      <a:pt x="120" y="62"/>
                      <a:pt x="121" y="62"/>
                    </a:cubicBezTo>
                    <a:cubicBezTo>
                      <a:pt x="121" y="62"/>
                      <a:pt x="122" y="61"/>
                      <a:pt x="122" y="61"/>
                    </a:cubicBezTo>
                    <a:cubicBezTo>
                      <a:pt x="123" y="61"/>
                      <a:pt x="124" y="61"/>
                      <a:pt x="125" y="61"/>
                    </a:cubicBezTo>
                    <a:cubicBezTo>
                      <a:pt x="125" y="61"/>
                      <a:pt x="125" y="61"/>
                      <a:pt x="126" y="61"/>
                    </a:cubicBezTo>
                    <a:cubicBezTo>
                      <a:pt x="127" y="61"/>
                      <a:pt x="128" y="61"/>
                      <a:pt x="128" y="60"/>
                    </a:cubicBezTo>
                    <a:cubicBezTo>
                      <a:pt x="128" y="59"/>
                      <a:pt x="127" y="58"/>
                      <a:pt x="128" y="58"/>
                    </a:cubicBezTo>
                    <a:cubicBezTo>
                      <a:pt x="128" y="58"/>
                      <a:pt x="128" y="58"/>
                      <a:pt x="128" y="58"/>
                    </a:cubicBezTo>
                    <a:cubicBezTo>
                      <a:pt x="129" y="57"/>
                      <a:pt x="129" y="58"/>
                      <a:pt x="129" y="58"/>
                    </a:cubicBezTo>
                    <a:cubicBezTo>
                      <a:pt x="129" y="58"/>
                      <a:pt x="130" y="58"/>
                      <a:pt x="130" y="58"/>
                    </a:cubicBezTo>
                    <a:cubicBezTo>
                      <a:pt x="131" y="59"/>
                      <a:pt x="131" y="59"/>
                      <a:pt x="131" y="59"/>
                    </a:cubicBezTo>
                    <a:cubicBezTo>
                      <a:pt x="132" y="59"/>
                      <a:pt x="132" y="59"/>
                      <a:pt x="132" y="59"/>
                    </a:cubicBezTo>
                    <a:cubicBezTo>
                      <a:pt x="133" y="60"/>
                      <a:pt x="133" y="60"/>
                      <a:pt x="133" y="60"/>
                    </a:cubicBezTo>
                    <a:cubicBezTo>
                      <a:pt x="133" y="60"/>
                      <a:pt x="134" y="60"/>
                      <a:pt x="134" y="60"/>
                    </a:cubicBezTo>
                    <a:cubicBezTo>
                      <a:pt x="134" y="60"/>
                      <a:pt x="135" y="60"/>
                      <a:pt x="135" y="60"/>
                    </a:cubicBezTo>
                    <a:cubicBezTo>
                      <a:pt x="135" y="60"/>
                      <a:pt x="135" y="60"/>
                      <a:pt x="136" y="60"/>
                    </a:cubicBezTo>
                    <a:cubicBezTo>
                      <a:pt x="135" y="59"/>
                      <a:pt x="136" y="59"/>
                      <a:pt x="135" y="5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3" name="Turkey">
                <a:extLst>
                  <a:ext uri="{FF2B5EF4-FFF2-40B4-BE49-F238E27FC236}">
                    <a16:creationId xmlns:a16="http://schemas.microsoft.com/office/drawing/2014/main" id="{F1EFE42C-D7E7-B1D2-A503-037A01A76F4C}"/>
                  </a:ext>
                </a:extLst>
              </p:cNvPr>
              <p:cNvSpPr>
                <a:spLocks noEditPoints="1"/>
              </p:cNvSpPr>
              <p:nvPr/>
            </p:nvSpPr>
            <p:spPr bwMode="auto">
              <a:xfrm>
                <a:off x="6532764" y="2406495"/>
                <a:ext cx="623386" cy="244060"/>
              </a:xfrm>
              <a:custGeom>
                <a:avLst/>
                <a:gdLst/>
                <a:ahLst/>
                <a:cxnLst>
                  <a:cxn ang="0">
                    <a:pos x="6" y="9"/>
                  </a:cxn>
                  <a:cxn ang="0">
                    <a:pos x="9" y="1"/>
                  </a:cxn>
                  <a:cxn ang="0">
                    <a:pos x="18" y="1"/>
                  </a:cxn>
                  <a:cxn ang="0">
                    <a:pos x="29" y="9"/>
                  </a:cxn>
                  <a:cxn ang="0">
                    <a:pos x="24" y="11"/>
                  </a:cxn>
                  <a:cxn ang="0">
                    <a:pos x="9" y="18"/>
                  </a:cxn>
                  <a:cxn ang="0">
                    <a:pos x="5" y="19"/>
                  </a:cxn>
                  <a:cxn ang="0">
                    <a:pos x="2" y="20"/>
                  </a:cxn>
                  <a:cxn ang="0">
                    <a:pos x="174" y="50"/>
                  </a:cxn>
                  <a:cxn ang="0">
                    <a:pos x="170" y="44"/>
                  </a:cxn>
                  <a:cxn ang="0">
                    <a:pos x="167" y="32"/>
                  </a:cxn>
                  <a:cxn ang="0">
                    <a:pos x="170" y="24"/>
                  </a:cxn>
                  <a:cxn ang="0">
                    <a:pos x="161" y="17"/>
                  </a:cxn>
                  <a:cxn ang="0">
                    <a:pos x="152" y="7"/>
                  </a:cxn>
                  <a:cxn ang="0">
                    <a:pos x="140" y="7"/>
                  </a:cxn>
                  <a:cxn ang="0">
                    <a:pos x="125" y="12"/>
                  </a:cxn>
                  <a:cxn ang="0">
                    <a:pos x="113" y="13"/>
                  </a:cxn>
                  <a:cxn ang="0">
                    <a:pos x="101" y="10"/>
                  </a:cxn>
                  <a:cxn ang="0">
                    <a:pos x="92" y="5"/>
                  </a:cxn>
                  <a:cxn ang="0">
                    <a:pos x="82" y="0"/>
                  </a:cxn>
                  <a:cxn ang="0">
                    <a:pos x="62" y="3"/>
                  </a:cxn>
                  <a:cxn ang="0">
                    <a:pos x="51" y="9"/>
                  </a:cxn>
                  <a:cxn ang="0">
                    <a:pos x="30" y="10"/>
                  </a:cxn>
                  <a:cxn ang="0">
                    <a:pos x="36" y="15"/>
                  </a:cxn>
                  <a:cxn ang="0">
                    <a:pos x="31" y="19"/>
                  </a:cxn>
                  <a:cxn ang="0">
                    <a:pos x="20" y="18"/>
                  </a:cxn>
                  <a:cxn ang="0">
                    <a:pos x="14" y="18"/>
                  </a:cxn>
                  <a:cxn ang="0">
                    <a:pos x="5" y="27"/>
                  </a:cxn>
                  <a:cxn ang="0">
                    <a:pos x="10" y="31"/>
                  </a:cxn>
                  <a:cxn ang="0">
                    <a:pos x="13" y="36"/>
                  </a:cxn>
                  <a:cxn ang="0">
                    <a:pos x="15" y="40"/>
                  </a:cxn>
                  <a:cxn ang="0">
                    <a:pos x="8" y="38"/>
                  </a:cxn>
                  <a:cxn ang="0">
                    <a:pos x="7" y="42"/>
                  </a:cxn>
                  <a:cxn ang="0">
                    <a:pos x="13" y="44"/>
                  </a:cxn>
                  <a:cxn ang="0">
                    <a:pos x="16" y="51"/>
                  </a:cxn>
                  <a:cxn ang="0">
                    <a:pos x="20" y="54"/>
                  </a:cxn>
                  <a:cxn ang="0">
                    <a:pos x="20" y="56"/>
                  </a:cxn>
                  <a:cxn ang="0">
                    <a:pos x="24" y="57"/>
                  </a:cxn>
                  <a:cxn ang="0">
                    <a:pos x="21" y="59"/>
                  </a:cxn>
                  <a:cxn ang="0">
                    <a:pos x="24" y="60"/>
                  </a:cxn>
                  <a:cxn ang="0">
                    <a:pos x="27" y="57"/>
                  </a:cxn>
                  <a:cxn ang="0">
                    <a:pos x="32" y="59"/>
                  </a:cxn>
                  <a:cxn ang="0">
                    <a:pos x="36" y="63"/>
                  </a:cxn>
                  <a:cxn ang="0">
                    <a:pos x="42" y="64"/>
                  </a:cxn>
                  <a:cxn ang="0">
                    <a:pos x="47" y="61"/>
                  </a:cxn>
                  <a:cxn ang="0">
                    <a:pos x="63" y="64"/>
                  </a:cxn>
                  <a:cxn ang="0">
                    <a:pos x="76" y="65"/>
                  </a:cxn>
                  <a:cxn ang="0">
                    <a:pos x="82" y="60"/>
                  </a:cxn>
                  <a:cxn ang="0">
                    <a:pos x="94" y="59"/>
                  </a:cxn>
                  <a:cxn ang="0">
                    <a:pos x="99" y="59"/>
                  </a:cxn>
                  <a:cxn ang="0">
                    <a:pos x="99" y="69"/>
                  </a:cxn>
                  <a:cxn ang="0">
                    <a:pos x="103" y="63"/>
                  </a:cxn>
                  <a:cxn ang="0">
                    <a:pos x="107" y="59"/>
                  </a:cxn>
                  <a:cxn ang="0">
                    <a:pos x="135" y="57"/>
                  </a:cxn>
                  <a:cxn ang="0">
                    <a:pos x="154" y="54"/>
                  </a:cxn>
                  <a:cxn ang="0">
                    <a:pos x="165" y="53"/>
                  </a:cxn>
                  <a:cxn ang="0">
                    <a:pos x="176" y="54"/>
                  </a:cxn>
                </a:cxnLst>
                <a:rect l="0" t="0" r="r" b="b"/>
                <a:pathLst>
                  <a:path w="176" h="69">
                    <a:moveTo>
                      <a:pt x="5" y="16"/>
                    </a:moveTo>
                    <a:cubicBezTo>
                      <a:pt x="5" y="16"/>
                      <a:pt x="4" y="16"/>
                      <a:pt x="4" y="16"/>
                    </a:cubicBezTo>
                    <a:cubicBezTo>
                      <a:pt x="4" y="16"/>
                      <a:pt x="4" y="15"/>
                      <a:pt x="3" y="15"/>
                    </a:cubicBezTo>
                    <a:cubicBezTo>
                      <a:pt x="4" y="15"/>
                      <a:pt x="5" y="14"/>
                      <a:pt x="5" y="13"/>
                    </a:cubicBezTo>
                    <a:cubicBezTo>
                      <a:pt x="5" y="13"/>
                      <a:pt x="6" y="13"/>
                      <a:pt x="6" y="12"/>
                    </a:cubicBezTo>
                    <a:cubicBezTo>
                      <a:pt x="6" y="12"/>
                      <a:pt x="6" y="12"/>
                      <a:pt x="6" y="12"/>
                    </a:cubicBezTo>
                    <a:cubicBezTo>
                      <a:pt x="6" y="12"/>
                      <a:pt x="6" y="12"/>
                      <a:pt x="6" y="12"/>
                    </a:cubicBezTo>
                    <a:cubicBezTo>
                      <a:pt x="6" y="11"/>
                      <a:pt x="5" y="10"/>
                      <a:pt x="6" y="9"/>
                    </a:cubicBezTo>
                    <a:cubicBezTo>
                      <a:pt x="6" y="9"/>
                      <a:pt x="6" y="9"/>
                      <a:pt x="7" y="9"/>
                    </a:cubicBezTo>
                    <a:cubicBezTo>
                      <a:pt x="7" y="8"/>
                      <a:pt x="7" y="8"/>
                      <a:pt x="8" y="8"/>
                    </a:cubicBezTo>
                    <a:cubicBezTo>
                      <a:pt x="9" y="9"/>
                      <a:pt x="8" y="6"/>
                      <a:pt x="8" y="6"/>
                    </a:cubicBezTo>
                    <a:cubicBezTo>
                      <a:pt x="8" y="5"/>
                      <a:pt x="7" y="5"/>
                      <a:pt x="6" y="4"/>
                    </a:cubicBezTo>
                    <a:cubicBezTo>
                      <a:pt x="5" y="4"/>
                      <a:pt x="5" y="4"/>
                      <a:pt x="5" y="3"/>
                    </a:cubicBezTo>
                    <a:cubicBezTo>
                      <a:pt x="6" y="3"/>
                      <a:pt x="6" y="3"/>
                      <a:pt x="7" y="3"/>
                    </a:cubicBezTo>
                    <a:cubicBezTo>
                      <a:pt x="8" y="3"/>
                      <a:pt x="7" y="1"/>
                      <a:pt x="8" y="1"/>
                    </a:cubicBezTo>
                    <a:cubicBezTo>
                      <a:pt x="8" y="1"/>
                      <a:pt x="9" y="1"/>
                      <a:pt x="9" y="1"/>
                    </a:cubicBezTo>
                    <a:cubicBezTo>
                      <a:pt x="10" y="1"/>
                      <a:pt x="10" y="1"/>
                      <a:pt x="11" y="1"/>
                    </a:cubicBezTo>
                    <a:cubicBezTo>
                      <a:pt x="11" y="0"/>
                      <a:pt x="11" y="0"/>
                      <a:pt x="12" y="0"/>
                    </a:cubicBezTo>
                    <a:cubicBezTo>
                      <a:pt x="12" y="0"/>
                      <a:pt x="13" y="0"/>
                      <a:pt x="13" y="0"/>
                    </a:cubicBezTo>
                    <a:cubicBezTo>
                      <a:pt x="14" y="0"/>
                      <a:pt x="14" y="1"/>
                      <a:pt x="15" y="1"/>
                    </a:cubicBezTo>
                    <a:cubicBezTo>
                      <a:pt x="15" y="1"/>
                      <a:pt x="16" y="2"/>
                      <a:pt x="16" y="2"/>
                    </a:cubicBezTo>
                    <a:cubicBezTo>
                      <a:pt x="16" y="2"/>
                      <a:pt x="17" y="1"/>
                      <a:pt x="18" y="1"/>
                    </a:cubicBezTo>
                    <a:cubicBezTo>
                      <a:pt x="18" y="1"/>
                      <a:pt x="18" y="2"/>
                      <a:pt x="18" y="2"/>
                    </a:cubicBezTo>
                    <a:cubicBezTo>
                      <a:pt x="19" y="1"/>
                      <a:pt x="18" y="1"/>
                      <a:pt x="18" y="1"/>
                    </a:cubicBezTo>
                    <a:cubicBezTo>
                      <a:pt x="19" y="1"/>
                      <a:pt x="21" y="1"/>
                      <a:pt x="20" y="2"/>
                    </a:cubicBezTo>
                    <a:cubicBezTo>
                      <a:pt x="20" y="3"/>
                      <a:pt x="20" y="2"/>
                      <a:pt x="20" y="2"/>
                    </a:cubicBezTo>
                    <a:cubicBezTo>
                      <a:pt x="20" y="3"/>
                      <a:pt x="20" y="3"/>
                      <a:pt x="20" y="4"/>
                    </a:cubicBezTo>
                    <a:cubicBezTo>
                      <a:pt x="21" y="4"/>
                      <a:pt x="21" y="5"/>
                      <a:pt x="22" y="6"/>
                    </a:cubicBezTo>
                    <a:cubicBezTo>
                      <a:pt x="22" y="6"/>
                      <a:pt x="23" y="7"/>
                      <a:pt x="24" y="7"/>
                    </a:cubicBezTo>
                    <a:cubicBezTo>
                      <a:pt x="24" y="7"/>
                      <a:pt x="25" y="7"/>
                      <a:pt x="25" y="8"/>
                    </a:cubicBezTo>
                    <a:cubicBezTo>
                      <a:pt x="26" y="8"/>
                      <a:pt x="27" y="9"/>
                      <a:pt x="28" y="9"/>
                    </a:cubicBezTo>
                    <a:cubicBezTo>
                      <a:pt x="28" y="9"/>
                      <a:pt x="29" y="9"/>
                      <a:pt x="29" y="9"/>
                    </a:cubicBezTo>
                    <a:cubicBezTo>
                      <a:pt x="29" y="9"/>
                      <a:pt x="30" y="9"/>
                      <a:pt x="30" y="9"/>
                    </a:cubicBezTo>
                    <a:cubicBezTo>
                      <a:pt x="31" y="9"/>
                      <a:pt x="30" y="10"/>
                      <a:pt x="30" y="10"/>
                    </a:cubicBezTo>
                    <a:cubicBezTo>
                      <a:pt x="30" y="10"/>
                      <a:pt x="30" y="11"/>
                      <a:pt x="30" y="11"/>
                    </a:cubicBezTo>
                    <a:cubicBezTo>
                      <a:pt x="30" y="12"/>
                      <a:pt x="28" y="12"/>
                      <a:pt x="27" y="12"/>
                    </a:cubicBezTo>
                    <a:cubicBezTo>
                      <a:pt x="27" y="12"/>
                      <a:pt x="26" y="12"/>
                      <a:pt x="26" y="12"/>
                    </a:cubicBezTo>
                    <a:cubicBezTo>
                      <a:pt x="26" y="12"/>
                      <a:pt x="26" y="11"/>
                      <a:pt x="25" y="11"/>
                    </a:cubicBezTo>
                    <a:cubicBezTo>
                      <a:pt x="26" y="11"/>
                      <a:pt x="26" y="12"/>
                      <a:pt x="26" y="12"/>
                    </a:cubicBezTo>
                    <a:cubicBezTo>
                      <a:pt x="25" y="12"/>
                      <a:pt x="25" y="12"/>
                      <a:pt x="24" y="11"/>
                    </a:cubicBezTo>
                    <a:cubicBezTo>
                      <a:pt x="23" y="11"/>
                      <a:pt x="22" y="11"/>
                      <a:pt x="21" y="12"/>
                    </a:cubicBezTo>
                    <a:cubicBezTo>
                      <a:pt x="21" y="12"/>
                      <a:pt x="20" y="12"/>
                      <a:pt x="20" y="12"/>
                    </a:cubicBezTo>
                    <a:cubicBezTo>
                      <a:pt x="19" y="12"/>
                      <a:pt x="19" y="12"/>
                      <a:pt x="19" y="12"/>
                    </a:cubicBezTo>
                    <a:cubicBezTo>
                      <a:pt x="18" y="12"/>
                      <a:pt x="17" y="12"/>
                      <a:pt x="16" y="12"/>
                    </a:cubicBezTo>
                    <a:cubicBezTo>
                      <a:pt x="16" y="13"/>
                      <a:pt x="16" y="13"/>
                      <a:pt x="16" y="14"/>
                    </a:cubicBezTo>
                    <a:cubicBezTo>
                      <a:pt x="16" y="14"/>
                      <a:pt x="15" y="14"/>
                      <a:pt x="15" y="15"/>
                    </a:cubicBezTo>
                    <a:cubicBezTo>
                      <a:pt x="14" y="16"/>
                      <a:pt x="13" y="16"/>
                      <a:pt x="12" y="17"/>
                    </a:cubicBezTo>
                    <a:cubicBezTo>
                      <a:pt x="11" y="17"/>
                      <a:pt x="10" y="17"/>
                      <a:pt x="9" y="18"/>
                    </a:cubicBezTo>
                    <a:cubicBezTo>
                      <a:pt x="9" y="18"/>
                      <a:pt x="9" y="19"/>
                      <a:pt x="9" y="19"/>
                    </a:cubicBezTo>
                    <a:cubicBezTo>
                      <a:pt x="8" y="19"/>
                      <a:pt x="8" y="20"/>
                      <a:pt x="7" y="20"/>
                    </a:cubicBezTo>
                    <a:cubicBezTo>
                      <a:pt x="7" y="20"/>
                      <a:pt x="7" y="21"/>
                      <a:pt x="7" y="21"/>
                    </a:cubicBezTo>
                    <a:cubicBezTo>
                      <a:pt x="7" y="21"/>
                      <a:pt x="7" y="21"/>
                      <a:pt x="7" y="21"/>
                    </a:cubicBezTo>
                    <a:cubicBezTo>
                      <a:pt x="7" y="21"/>
                      <a:pt x="6" y="22"/>
                      <a:pt x="6" y="22"/>
                    </a:cubicBezTo>
                    <a:cubicBezTo>
                      <a:pt x="6" y="22"/>
                      <a:pt x="4" y="23"/>
                      <a:pt x="5" y="22"/>
                    </a:cubicBezTo>
                    <a:cubicBezTo>
                      <a:pt x="5" y="21"/>
                      <a:pt x="6" y="21"/>
                      <a:pt x="6" y="20"/>
                    </a:cubicBezTo>
                    <a:cubicBezTo>
                      <a:pt x="6" y="20"/>
                      <a:pt x="5" y="20"/>
                      <a:pt x="5" y="19"/>
                    </a:cubicBezTo>
                    <a:cubicBezTo>
                      <a:pt x="5" y="19"/>
                      <a:pt x="8" y="18"/>
                      <a:pt x="8" y="18"/>
                    </a:cubicBezTo>
                    <a:cubicBezTo>
                      <a:pt x="9" y="17"/>
                      <a:pt x="10" y="17"/>
                      <a:pt x="10" y="17"/>
                    </a:cubicBezTo>
                    <a:cubicBezTo>
                      <a:pt x="11" y="15"/>
                      <a:pt x="9" y="16"/>
                      <a:pt x="8" y="16"/>
                    </a:cubicBezTo>
                    <a:cubicBezTo>
                      <a:pt x="8" y="16"/>
                      <a:pt x="7" y="16"/>
                      <a:pt x="7" y="16"/>
                    </a:cubicBezTo>
                    <a:cubicBezTo>
                      <a:pt x="6" y="16"/>
                      <a:pt x="6" y="16"/>
                      <a:pt x="5" y="16"/>
                    </a:cubicBezTo>
                    <a:close/>
                    <a:moveTo>
                      <a:pt x="3" y="21"/>
                    </a:moveTo>
                    <a:cubicBezTo>
                      <a:pt x="3" y="21"/>
                      <a:pt x="3" y="21"/>
                      <a:pt x="3" y="20"/>
                    </a:cubicBezTo>
                    <a:cubicBezTo>
                      <a:pt x="3" y="20"/>
                      <a:pt x="2" y="20"/>
                      <a:pt x="2" y="20"/>
                    </a:cubicBezTo>
                    <a:cubicBezTo>
                      <a:pt x="1" y="21"/>
                      <a:pt x="1" y="21"/>
                      <a:pt x="1" y="21"/>
                    </a:cubicBezTo>
                    <a:cubicBezTo>
                      <a:pt x="0" y="22"/>
                      <a:pt x="1" y="22"/>
                      <a:pt x="2" y="22"/>
                    </a:cubicBezTo>
                    <a:cubicBezTo>
                      <a:pt x="2" y="22"/>
                      <a:pt x="3" y="22"/>
                      <a:pt x="4" y="21"/>
                    </a:cubicBezTo>
                    <a:cubicBezTo>
                      <a:pt x="3" y="21"/>
                      <a:pt x="3" y="21"/>
                      <a:pt x="3" y="21"/>
                    </a:cubicBezTo>
                    <a:close/>
                    <a:moveTo>
                      <a:pt x="176" y="53"/>
                    </a:moveTo>
                    <a:cubicBezTo>
                      <a:pt x="176" y="52"/>
                      <a:pt x="176" y="52"/>
                      <a:pt x="175" y="52"/>
                    </a:cubicBezTo>
                    <a:cubicBezTo>
                      <a:pt x="175" y="52"/>
                      <a:pt x="174" y="51"/>
                      <a:pt x="174" y="51"/>
                    </a:cubicBezTo>
                    <a:cubicBezTo>
                      <a:pt x="174" y="51"/>
                      <a:pt x="174" y="50"/>
                      <a:pt x="174" y="50"/>
                    </a:cubicBezTo>
                    <a:cubicBezTo>
                      <a:pt x="174" y="49"/>
                      <a:pt x="174" y="49"/>
                      <a:pt x="174" y="49"/>
                    </a:cubicBezTo>
                    <a:cubicBezTo>
                      <a:pt x="173" y="49"/>
                      <a:pt x="173" y="49"/>
                      <a:pt x="173" y="48"/>
                    </a:cubicBezTo>
                    <a:cubicBezTo>
                      <a:pt x="173" y="48"/>
                      <a:pt x="174" y="48"/>
                      <a:pt x="173" y="48"/>
                    </a:cubicBezTo>
                    <a:cubicBezTo>
                      <a:pt x="173" y="47"/>
                      <a:pt x="173" y="47"/>
                      <a:pt x="172" y="47"/>
                    </a:cubicBezTo>
                    <a:cubicBezTo>
                      <a:pt x="172" y="47"/>
                      <a:pt x="172" y="47"/>
                      <a:pt x="172" y="47"/>
                    </a:cubicBezTo>
                    <a:cubicBezTo>
                      <a:pt x="171" y="46"/>
                      <a:pt x="171" y="46"/>
                      <a:pt x="171" y="46"/>
                    </a:cubicBezTo>
                    <a:cubicBezTo>
                      <a:pt x="170" y="46"/>
                      <a:pt x="170" y="46"/>
                      <a:pt x="170" y="46"/>
                    </a:cubicBezTo>
                    <a:cubicBezTo>
                      <a:pt x="170" y="45"/>
                      <a:pt x="170" y="45"/>
                      <a:pt x="170" y="44"/>
                    </a:cubicBezTo>
                    <a:cubicBezTo>
                      <a:pt x="170" y="44"/>
                      <a:pt x="171" y="43"/>
                      <a:pt x="171" y="43"/>
                    </a:cubicBezTo>
                    <a:cubicBezTo>
                      <a:pt x="171" y="42"/>
                      <a:pt x="171" y="42"/>
                      <a:pt x="171" y="41"/>
                    </a:cubicBezTo>
                    <a:cubicBezTo>
                      <a:pt x="172" y="41"/>
                      <a:pt x="171" y="40"/>
                      <a:pt x="171" y="41"/>
                    </a:cubicBezTo>
                    <a:cubicBezTo>
                      <a:pt x="169" y="41"/>
                      <a:pt x="170" y="40"/>
                      <a:pt x="170" y="39"/>
                    </a:cubicBezTo>
                    <a:cubicBezTo>
                      <a:pt x="170" y="38"/>
                      <a:pt x="169" y="37"/>
                      <a:pt x="169" y="36"/>
                    </a:cubicBezTo>
                    <a:cubicBezTo>
                      <a:pt x="169" y="35"/>
                      <a:pt x="168" y="35"/>
                      <a:pt x="168" y="34"/>
                    </a:cubicBezTo>
                    <a:cubicBezTo>
                      <a:pt x="168" y="34"/>
                      <a:pt x="168" y="33"/>
                      <a:pt x="168" y="33"/>
                    </a:cubicBezTo>
                    <a:cubicBezTo>
                      <a:pt x="168" y="32"/>
                      <a:pt x="168" y="32"/>
                      <a:pt x="167" y="32"/>
                    </a:cubicBezTo>
                    <a:cubicBezTo>
                      <a:pt x="167" y="31"/>
                      <a:pt x="167" y="31"/>
                      <a:pt x="166" y="30"/>
                    </a:cubicBezTo>
                    <a:cubicBezTo>
                      <a:pt x="165" y="29"/>
                      <a:pt x="168" y="29"/>
                      <a:pt x="168" y="29"/>
                    </a:cubicBezTo>
                    <a:cubicBezTo>
                      <a:pt x="170" y="30"/>
                      <a:pt x="169" y="29"/>
                      <a:pt x="169" y="28"/>
                    </a:cubicBezTo>
                    <a:cubicBezTo>
                      <a:pt x="169" y="27"/>
                      <a:pt x="169" y="27"/>
                      <a:pt x="169" y="27"/>
                    </a:cubicBezTo>
                    <a:cubicBezTo>
                      <a:pt x="170" y="26"/>
                      <a:pt x="169" y="26"/>
                      <a:pt x="169" y="26"/>
                    </a:cubicBezTo>
                    <a:cubicBezTo>
                      <a:pt x="170" y="26"/>
                      <a:pt x="170" y="25"/>
                      <a:pt x="170" y="25"/>
                    </a:cubicBezTo>
                    <a:cubicBezTo>
                      <a:pt x="171" y="25"/>
                      <a:pt x="172" y="26"/>
                      <a:pt x="173" y="27"/>
                    </a:cubicBezTo>
                    <a:cubicBezTo>
                      <a:pt x="172" y="25"/>
                      <a:pt x="171" y="25"/>
                      <a:pt x="170" y="24"/>
                    </a:cubicBezTo>
                    <a:cubicBezTo>
                      <a:pt x="169" y="23"/>
                      <a:pt x="167" y="22"/>
                      <a:pt x="166" y="23"/>
                    </a:cubicBezTo>
                    <a:cubicBezTo>
                      <a:pt x="164" y="23"/>
                      <a:pt x="162" y="22"/>
                      <a:pt x="161" y="22"/>
                    </a:cubicBezTo>
                    <a:cubicBezTo>
                      <a:pt x="161" y="21"/>
                      <a:pt x="161" y="21"/>
                      <a:pt x="162" y="21"/>
                    </a:cubicBezTo>
                    <a:cubicBezTo>
                      <a:pt x="162" y="21"/>
                      <a:pt x="162" y="21"/>
                      <a:pt x="162" y="21"/>
                    </a:cubicBezTo>
                    <a:cubicBezTo>
                      <a:pt x="161" y="20"/>
                      <a:pt x="161" y="20"/>
                      <a:pt x="161" y="19"/>
                    </a:cubicBezTo>
                    <a:cubicBezTo>
                      <a:pt x="161" y="19"/>
                      <a:pt x="161" y="18"/>
                      <a:pt x="161" y="18"/>
                    </a:cubicBezTo>
                    <a:cubicBezTo>
                      <a:pt x="160" y="18"/>
                      <a:pt x="160" y="18"/>
                      <a:pt x="160" y="18"/>
                    </a:cubicBezTo>
                    <a:cubicBezTo>
                      <a:pt x="160" y="18"/>
                      <a:pt x="161" y="17"/>
                      <a:pt x="161" y="17"/>
                    </a:cubicBezTo>
                    <a:cubicBezTo>
                      <a:pt x="162" y="15"/>
                      <a:pt x="161" y="14"/>
                      <a:pt x="160" y="13"/>
                    </a:cubicBezTo>
                    <a:cubicBezTo>
                      <a:pt x="160" y="12"/>
                      <a:pt x="159" y="12"/>
                      <a:pt x="158" y="11"/>
                    </a:cubicBezTo>
                    <a:cubicBezTo>
                      <a:pt x="158" y="11"/>
                      <a:pt x="158" y="10"/>
                      <a:pt x="158" y="10"/>
                    </a:cubicBezTo>
                    <a:cubicBezTo>
                      <a:pt x="157" y="10"/>
                      <a:pt x="156" y="10"/>
                      <a:pt x="156" y="10"/>
                    </a:cubicBezTo>
                    <a:cubicBezTo>
                      <a:pt x="156" y="10"/>
                      <a:pt x="155" y="9"/>
                      <a:pt x="155" y="9"/>
                    </a:cubicBezTo>
                    <a:cubicBezTo>
                      <a:pt x="155" y="9"/>
                      <a:pt x="155" y="9"/>
                      <a:pt x="155" y="9"/>
                    </a:cubicBezTo>
                    <a:cubicBezTo>
                      <a:pt x="155" y="9"/>
                      <a:pt x="153" y="7"/>
                      <a:pt x="153" y="7"/>
                    </a:cubicBezTo>
                    <a:cubicBezTo>
                      <a:pt x="152" y="6"/>
                      <a:pt x="152" y="7"/>
                      <a:pt x="152" y="7"/>
                    </a:cubicBezTo>
                    <a:cubicBezTo>
                      <a:pt x="151" y="7"/>
                      <a:pt x="152" y="6"/>
                      <a:pt x="152" y="6"/>
                    </a:cubicBezTo>
                    <a:cubicBezTo>
                      <a:pt x="152" y="5"/>
                      <a:pt x="151" y="5"/>
                      <a:pt x="150" y="5"/>
                    </a:cubicBezTo>
                    <a:cubicBezTo>
                      <a:pt x="149" y="6"/>
                      <a:pt x="150" y="6"/>
                      <a:pt x="149" y="7"/>
                    </a:cubicBezTo>
                    <a:cubicBezTo>
                      <a:pt x="149" y="8"/>
                      <a:pt x="147" y="7"/>
                      <a:pt x="146" y="6"/>
                    </a:cubicBezTo>
                    <a:cubicBezTo>
                      <a:pt x="145" y="6"/>
                      <a:pt x="144" y="6"/>
                      <a:pt x="143" y="7"/>
                    </a:cubicBezTo>
                    <a:cubicBezTo>
                      <a:pt x="143" y="7"/>
                      <a:pt x="142" y="7"/>
                      <a:pt x="142" y="7"/>
                    </a:cubicBezTo>
                    <a:cubicBezTo>
                      <a:pt x="141" y="6"/>
                      <a:pt x="141" y="6"/>
                      <a:pt x="140" y="6"/>
                    </a:cubicBezTo>
                    <a:cubicBezTo>
                      <a:pt x="140" y="6"/>
                      <a:pt x="140" y="7"/>
                      <a:pt x="140" y="7"/>
                    </a:cubicBezTo>
                    <a:cubicBezTo>
                      <a:pt x="139" y="8"/>
                      <a:pt x="139" y="8"/>
                      <a:pt x="139" y="8"/>
                    </a:cubicBezTo>
                    <a:cubicBezTo>
                      <a:pt x="138" y="8"/>
                      <a:pt x="137" y="9"/>
                      <a:pt x="137" y="9"/>
                    </a:cubicBezTo>
                    <a:cubicBezTo>
                      <a:pt x="136" y="9"/>
                      <a:pt x="135" y="10"/>
                      <a:pt x="135" y="10"/>
                    </a:cubicBezTo>
                    <a:cubicBezTo>
                      <a:pt x="134" y="10"/>
                      <a:pt x="134" y="11"/>
                      <a:pt x="133" y="11"/>
                    </a:cubicBezTo>
                    <a:cubicBezTo>
                      <a:pt x="133" y="11"/>
                      <a:pt x="132" y="11"/>
                      <a:pt x="132" y="12"/>
                    </a:cubicBezTo>
                    <a:cubicBezTo>
                      <a:pt x="130" y="12"/>
                      <a:pt x="129" y="13"/>
                      <a:pt x="128" y="12"/>
                    </a:cubicBezTo>
                    <a:cubicBezTo>
                      <a:pt x="127" y="12"/>
                      <a:pt x="127" y="12"/>
                      <a:pt x="126" y="12"/>
                    </a:cubicBezTo>
                    <a:cubicBezTo>
                      <a:pt x="126" y="12"/>
                      <a:pt x="126" y="12"/>
                      <a:pt x="125" y="12"/>
                    </a:cubicBezTo>
                    <a:cubicBezTo>
                      <a:pt x="125" y="12"/>
                      <a:pt x="125" y="12"/>
                      <a:pt x="124" y="12"/>
                    </a:cubicBezTo>
                    <a:cubicBezTo>
                      <a:pt x="124" y="12"/>
                      <a:pt x="123" y="11"/>
                      <a:pt x="122" y="11"/>
                    </a:cubicBezTo>
                    <a:cubicBezTo>
                      <a:pt x="122" y="11"/>
                      <a:pt x="121" y="12"/>
                      <a:pt x="121" y="11"/>
                    </a:cubicBezTo>
                    <a:cubicBezTo>
                      <a:pt x="120" y="11"/>
                      <a:pt x="120" y="11"/>
                      <a:pt x="119" y="11"/>
                    </a:cubicBezTo>
                    <a:cubicBezTo>
                      <a:pt x="118" y="12"/>
                      <a:pt x="118" y="12"/>
                      <a:pt x="117" y="12"/>
                    </a:cubicBezTo>
                    <a:cubicBezTo>
                      <a:pt x="117" y="12"/>
                      <a:pt x="116" y="13"/>
                      <a:pt x="116" y="12"/>
                    </a:cubicBezTo>
                    <a:cubicBezTo>
                      <a:pt x="116" y="12"/>
                      <a:pt x="116" y="12"/>
                      <a:pt x="115" y="12"/>
                    </a:cubicBezTo>
                    <a:cubicBezTo>
                      <a:pt x="115" y="12"/>
                      <a:pt x="114" y="13"/>
                      <a:pt x="113" y="13"/>
                    </a:cubicBezTo>
                    <a:cubicBezTo>
                      <a:pt x="113" y="13"/>
                      <a:pt x="112" y="12"/>
                      <a:pt x="112" y="12"/>
                    </a:cubicBezTo>
                    <a:cubicBezTo>
                      <a:pt x="111" y="13"/>
                      <a:pt x="110" y="12"/>
                      <a:pt x="109" y="12"/>
                    </a:cubicBezTo>
                    <a:cubicBezTo>
                      <a:pt x="109" y="12"/>
                      <a:pt x="108" y="12"/>
                      <a:pt x="108" y="12"/>
                    </a:cubicBezTo>
                    <a:cubicBezTo>
                      <a:pt x="108" y="11"/>
                      <a:pt x="108" y="11"/>
                      <a:pt x="108" y="11"/>
                    </a:cubicBezTo>
                    <a:cubicBezTo>
                      <a:pt x="107" y="11"/>
                      <a:pt x="107" y="10"/>
                      <a:pt x="107" y="11"/>
                    </a:cubicBezTo>
                    <a:cubicBezTo>
                      <a:pt x="106" y="11"/>
                      <a:pt x="106" y="12"/>
                      <a:pt x="105" y="11"/>
                    </a:cubicBezTo>
                    <a:cubicBezTo>
                      <a:pt x="105" y="11"/>
                      <a:pt x="104" y="11"/>
                      <a:pt x="103" y="10"/>
                    </a:cubicBezTo>
                    <a:cubicBezTo>
                      <a:pt x="102" y="10"/>
                      <a:pt x="101" y="10"/>
                      <a:pt x="101" y="10"/>
                    </a:cubicBezTo>
                    <a:cubicBezTo>
                      <a:pt x="101" y="9"/>
                      <a:pt x="101" y="9"/>
                      <a:pt x="100" y="9"/>
                    </a:cubicBezTo>
                    <a:cubicBezTo>
                      <a:pt x="100" y="8"/>
                      <a:pt x="99" y="8"/>
                      <a:pt x="99" y="8"/>
                    </a:cubicBezTo>
                    <a:cubicBezTo>
                      <a:pt x="98" y="8"/>
                      <a:pt x="98" y="8"/>
                      <a:pt x="97" y="8"/>
                    </a:cubicBezTo>
                    <a:cubicBezTo>
                      <a:pt x="97" y="8"/>
                      <a:pt x="97" y="8"/>
                      <a:pt x="97" y="8"/>
                    </a:cubicBezTo>
                    <a:cubicBezTo>
                      <a:pt x="96" y="9"/>
                      <a:pt x="96" y="9"/>
                      <a:pt x="95" y="9"/>
                    </a:cubicBezTo>
                    <a:cubicBezTo>
                      <a:pt x="95" y="9"/>
                      <a:pt x="95" y="9"/>
                      <a:pt x="94" y="8"/>
                    </a:cubicBezTo>
                    <a:cubicBezTo>
                      <a:pt x="94" y="8"/>
                      <a:pt x="93" y="7"/>
                      <a:pt x="92" y="7"/>
                    </a:cubicBezTo>
                    <a:cubicBezTo>
                      <a:pt x="92" y="6"/>
                      <a:pt x="92" y="6"/>
                      <a:pt x="92" y="5"/>
                    </a:cubicBezTo>
                    <a:cubicBezTo>
                      <a:pt x="92" y="4"/>
                      <a:pt x="90" y="4"/>
                      <a:pt x="90" y="5"/>
                    </a:cubicBezTo>
                    <a:cubicBezTo>
                      <a:pt x="90" y="5"/>
                      <a:pt x="90" y="4"/>
                      <a:pt x="91" y="4"/>
                    </a:cubicBezTo>
                    <a:cubicBezTo>
                      <a:pt x="89" y="4"/>
                      <a:pt x="88" y="5"/>
                      <a:pt x="87" y="5"/>
                    </a:cubicBezTo>
                    <a:cubicBezTo>
                      <a:pt x="86" y="5"/>
                      <a:pt x="86" y="4"/>
                      <a:pt x="85" y="4"/>
                    </a:cubicBezTo>
                    <a:cubicBezTo>
                      <a:pt x="85" y="4"/>
                      <a:pt x="84" y="4"/>
                      <a:pt x="84" y="4"/>
                    </a:cubicBezTo>
                    <a:cubicBezTo>
                      <a:pt x="84" y="3"/>
                      <a:pt x="82" y="1"/>
                      <a:pt x="84" y="1"/>
                    </a:cubicBezTo>
                    <a:cubicBezTo>
                      <a:pt x="83" y="0"/>
                      <a:pt x="83" y="1"/>
                      <a:pt x="83" y="1"/>
                    </a:cubicBezTo>
                    <a:cubicBezTo>
                      <a:pt x="82" y="1"/>
                      <a:pt x="82" y="1"/>
                      <a:pt x="82" y="0"/>
                    </a:cubicBezTo>
                    <a:cubicBezTo>
                      <a:pt x="81" y="0"/>
                      <a:pt x="81" y="1"/>
                      <a:pt x="81" y="1"/>
                    </a:cubicBezTo>
                    <a:cubicBezTo>
                      <a:pt x="80" y="1"/>
                      <a:pt x="80" y="2"/>
                      <a:pt x="79" y="2"/>
                    </a:cubicBezTo>
                    <a:cubicBezTo>
                      <a:pt x="78" y="2"/>
                      <a:pt x="78" y="1"/>
                      <a:pt x="77" y="1"/>
                    </a:cubicBezTo>
                    <a:cubicBezTo>
                      <a:pt x="77" y="1"/>
                      <a:pt x="76" y="2"/>
                      <a:pt x="75" y="2"/>
                    </a:cubicBezTo>
                    <a:cubicBezTo>
                      <a:pt x="75" y="1"/>
                      <a:pt x="74" y="1"/>
                      <a:pt x="73" y="1"/>
                    </a:cubicBezTo>
                    <a:cubicBezTo>
                      <a:pt x="71" y="1"/>
                      <a:pt x="70" y="1"/>
                      <a:pt x="68" y="1"/>
                    </a:cubicBezTo>
                    <a:cubicBezTo>
                      <a:pt x="67" y="0"/>
                      <a:pt x="66" y="1"/>
                      <a:pt x="65" y="2"/>
                    </a:cubicBezTo>
                    <a:cubicBezTo>
                      <a:pt x="64" y="2"/>
                      <a:pt x="63" y="2"/>
                      <a:pt x="62" y="3"/>
                    </a:cubicBezTo>
                    <a:cubicBezTo>
                      <a:pt x="61" y="3"/>
                      <a:pt x="61" y="3"/>
                      <a:pt x="60" y="3"/>
                    </a:cubicBezTo>
                    <a:cubicBezTo>
                      <a:pt x="59" y="4"/>
                      <a:pt x="59" y="4"/>
                      <a:pt x="58" y="4"/>
                    </a:cubicBezTo>
                    <a:cubicBezTo>
                      <a:pt x="58" y="4"/>
                      <a:pt x="58" y="5"/>
                      <a:pt x="57" y="5"/>
                    </a:cubicBezTo>
                    <a:cubicBezTo>
                      <a:pt x="57" y="6"/>
                      <a:pt x="56" y="6"/>
                      <a:pt x="56" y="6"/>
                    </a:cubicBezTo>
                    <a:cubicBezTo>
                      <a:pt x="55" y="6"/>
                      <a:pt x="55" y="6"/>
                      <a:pt x="54" y="7"/>
                    </a:cubicBezTo>
                    <a:cubicBezTo>
                      <a:pt x="54" y="7"/>
                      <a:pt x="53" y="8"/>
                      <a:pt x="52" y="8"/>
                    </a:cubicBezTo>
                    <a:cubicBezTo>
                      <a:pt x="52" y="8"/>
                      <a:pt x="51" y="8"/>
                      <a:pt x="51" y="8"/>
                    </a:cubicBezTo>
                    <a:cubicBezTo>
                      <a:pt x="50" y="9"/>
                      <a:pt x="51" y="9"/>
                      <a:pt x="51" y="9"/>
                    </a:cubicBezTo>
                    <a:cubicBezTo>
                      <a:pt x="51" y="10"/>
                      <a:pt x="50" y="11"/>
                      <a:pt x="50" y="11"/>
                    </a:cubicBezTo>
                    <a:cubicBezTo>
                      <a:pt x="49" y="11"/>
                      <a:pt x="47" y="11"/>
                      <a:pt x="46" y="11"/>
                    </a:cubicBezTo>
                    <a:cubicBezTo>
                      <a:pt x="45" y="11"/>
                      <a:pt x="44" y="11"/>
                      <a:pt x="44" y="10"/>
                    </a:cubicBezTo>
                    <a:cubicBezTo>
                      <a:pt x="43" y="10"/>
                      <a:pt x="42" y="10"/>
                      <a:pt x="41" y="10"/>
                    </a:cubicBezTo>
                    <a:cubicBezTo>
                      <a:pt x="41" y="10"/>
                      <a:pt x="40" y="10"/>
                      <a:pt x="40" y="10"/>
                    </a:cubicBezTo>
                    <a:cubicBezTo>
                      <a:pt x="39" y="10"/>
                      <a:pt x="39" y="10"/>
                      <a:pt x="38" y="10"/>
                    </a:cubicBezTo>
                    <a:cubicBezTo>
                      <a:pt x="36" y="10"/>
                      <a:pt x="35" y="10"/>
                      <a:pt x="33" y="10"/>
                    </a:cubicBezTo>
                    <a:cubicBezTo>
                      <a:pt x="33" y="9"/>
                      <a:pt x="30" y="9"/>
                      <a:pt x="30" y="10"/>
                    </a:cubicBezTo>
                    <a:cubicBezTo>
                      <a:pt x="30" y="11"/>
                      <a:pt x="29" y="12"/>
                      <a:pt x="30" y="12"/>
                    </a:cubicBezTo>
                    <a:cubicBezTo>
                      <a:pt x="31" y="13"/>
                      <a:pt x="33" y="14"/>
                      <a:pt x="32" y="14"/>
                    </a:cubicBezTo>
                    <a:cubicBezTo>
                      <a:pt x="32" y="14"/>
                      <a:pt x="33" y="14"/>
                      <a:pt x="33" y="14"/>
                    </a:cubicBezTo>
                    <a:cubicBezTo>
                      <a:pt x="33" y="14"/>
                      <a:pt x="33" y="15"/>
                      <a:pt x="33" y="15"/>
                    </a:cubicBezTo>
                    <a:cubicBezTo>
                      <a:pt x="34" y="15"/>
                      <a:pt x="34" y="14"/>
                      <a:pt x="35" y="14"/>
                    </a:cubicBezTo>
                    <a:cubicBezTo>
                      <a:pt x="36" y="14"/>
                      <a:pt x="36" y="15"/>
                      <a:pt x="37" y="15"/>
                    </a:cubicBezTo>
                    <a:cubicBezTo>
                      <a:pt x="37" y="15"/>
                      <a:pt x="38" y="14"/>
                      <a:pt x="38" y="15"/>
                    </a:cubicBezTo>
                    <a:cubicBezTo>
                      <a:pt x="38" y="15"/>
                      <a:pt x="37" y="15"/>
                      <a:pt x="36" y="15"/>
                    </a:cubicBezTo>
                    <a:cubicBezTo>
                      <a:pt x="36" y="15"/>
                      <a:pt x="35" y="16"/>
                      <a:pt x="35" y="15"/>
                    </a:cubicBezTo>
                    <a:cubicBezTo>
                      <a:pt x="34" y="15"/>
                      <a:pt x="33" y="15"/>
                      <a:pt x="33" y="15"/>
                    </a:cubicBezTo>
                    <a:cubicBezTo>
                      <a:pt x="32" y="16"/>
                      <a:pt x="32" y="16"/>
                      <a:pt x="31" y="16"/>
                    </a:cubicBezTo>
                    <a:cubicBezTo>
                      <a:pt x="30" y="16"/>
                      <a:pt x="30" y="16"/>
                      <a:pt x="29" y="16"/>
                    </a:cubicBezTo>
                    <a:cubicBezTo>
                      <a:pt x="28" y="17"/>
                      <a:pt x="28" y="17"/>
                      <a:pt x="28" y="17"/>
                    </a:cubicBezTo>
                    <a:cubicBezTo>
                      <a:pt x="29" y="18"/>
                      <a:pt x="29" y="18"/>
                      <a:pt x="30" y="18"/>
                    </a:cubicBezTo>
                    <a:cubicBezTo>
                      <a:pt x="30" y="18"/>
                      <a:pt x="31" y="18"/>
                      <a:pt x="31" y="18"/>
                    </a:cubicBezTo>
                    <a:cubicBezTo>
                      <a:pt x="32" y="18"/>
                      <a:pt x="31" y="18"/>
                      <a:pt x="31" y="19"/>
                    </a:cubicBezTo>
                    <a:cubicBezTo>
                      <a:pt x="30" y="19"/>
                      <a:pt x="31" y="19"/>
                      <a:pt x="30" y="19"/>
                    </a:cubicBezTo>
                    <a:cubicBezTo>
                      <a:pt x="30" y="19"/>
                      <a:pt x="30" y="19"/>
                      <a:pt x="29" y="19"/>
                    </a:cubicBezTo>
                    <a:cubicBezTo>
                      <a:pt x="29" y="19"/>
                      <a:pt x="28" y="19"/>
                      <a:pt x="27" y="19"/>
                    </a:cubicBezTo>
                    <a:cubicBezTo>
                      <a:pt x="27" y="19"/>
                      <a:pt x="26" y="18"/>
                      <a:pt x="25" y="19"/>
                    </a:cubicBezTo>
                    <a:cubicBezTo>
                      <a:pt x="26" y="18"/>
                      <a:pt x="24" y="18"/>
                      <a:pt x="24" y="18"/>
                    </a:cubicBezTo>
                    <a:cubicBezTo>
                      <a:pt x="24" y="18"/>
                      <a:pt x="23" y="18"/>
                      <a:pt x="23" y="19"/>
                    </a:cubicBezTo>
                    <a:cubicBezTo>
                      <a:pt x="22" y="19"/>
                      <a:pt x="22" y="19"/>
                      <a:pt x="21" y="19"/>
                    </a:cubicBezTo>
                    <a:cubicBezTo>
                      <a:pt x="21" y="19"/>
                      <a:pt x="20" y="19"/>
                      <a:pt x="20" y="18"/>
                    </a:cubicBezTo>
                    <a:cubicBezTo>
                      <a:pt x="21" y="18"/>
                      <a:pt x="22" y="18"/>
                      <a:pt x="21" y="18"/>
                    </a:cubicBezTo>
                    <a:cubicBezTo>
                      <a:pt x="21" y="17"/>
                      <a:pt x="19" y="17"/>
                      <a:pt x="19" y="17"/>
                    </a:cubicBezTo>
                    <a:cubicBezTo>
                      <a:pt x="19" y="17"/>
                      <a:pt x="18" y="17"/>
                      <a:pt x="18" y="18"/>
                    </a:cubicBezTo>
                    <a:cubicBezTo>
                      <a:pt x="18" y="18"/>
                      <a:pt x="19" y="18"/>
                      <a:pt x="19" y="18"/>
                    </a:cubicBezTo>
                    <a:cubicBezTo>
                      <a:pt x="19" y="18"/>
                      <a:pt x="19" y="18"/>
                      <a:pt x="19" y="19"/>
                    </a:cubicBezTo>
                    <a:cubicBezTo>
                      <a:pt x="20" y="19"/>
                      <a:pt x="20" y="19"/>
                      <a:pt x="20" y="19"/>
                    </a:cubicBezTo>
                    <a:cubicBezTo>
                      <a:pt x="19" y="20"/>
                      <a:pt x="15" y="20"/>
                      <a:pt x="15" y="18"/>
                    </a:cubicBezTo>
                    <a:cubicBezTo>
                      <a:pt x="15" y="18"/>
                      <a:pt x="15" y="18"/>
                      <a:pt x="14" y="18"/>
                    </a:cubicBezTo>
                    <a:cubicBezTo>
                      <a:pt x="14" y="18"/>
                      <a:pt x="13" y="18"/>
                      <a:pt x="13" y="18"/>
                    </a:cubicBezTo>
                    <a:cubicBezTo>
                      <a:pt x="12" y="19"/>
                      <a:pt x="11" y="18"/>
                      <a:pt x="10" y="18"/>
                    </a:cubicBezTo>
                    <a:cubicBezTo>
                      <a:pt x="10" y="18"/>
                      <a:pt x="9" y="19"/>
                      <a:pt x="9" y="20"/>
                    </a:cubicBezTo>
                    <a:cubicBezTo>
                      <a:pt x="8" y="20"/>
                      <a:pt x="8" y="20"/>
                      <a:pt x="7" y="21"/>
                    </a:cubicBezTo>
                    <a:cubicBezTo>
                      <a:pt x="7" y="21"/>
                      <a:pt x="7" y="22"/>
                      <a:pt x="7" y="23"/>
                    </a:cubicBezTo>
                    <a:cubicBezTo>
                      <a:pt x="6" y="23"/>
                      <a:pt x="5" y="23"/>
                      <a:pt x="5" y="23"/>
                    </a:cubicBezTo>
                    <a:cubicBezTo>
                      <a:pt x="5" y="24"/>
                      <a:pt x="5" y="24"/>
                      <a:pt x="5" y="25"/>
                    </a:cubicBezTo>
                    <a:cubicBezTo>
                      <a:pt x="5" y="26"/>
                      <a:pt x="5" y="27"/>
                      <a:pt x="5" y="27"/>
                    </a:cubicBezTo>
                    <a:cubicBezTo>
                      <a:pt x="5" y="28"/>
                      <a:pt x="4" y="29"/>
                      <a:pt x="5" y="29"/>
                    </a:cubicBezTo>
                    <a:cubicBezTo>
                      <a:pt x="7" y="29"/>
                      <a:pt x="8" y="28"/>
                      <a:pt x="10" y="28"/>
                    </a:cubicBezTo>
                    <a:cubicBezTo>
                      <a:pt x="11" y="28"/>
                      <a:pt x="13" y="27"/>
                      <a:pt x="12" y="29"/>
                    </a:cubicBezTo>
                    <a:cubicBezTo>
                      <a:pt x="12" y="29"/>
                      <a:pt x="11" y="29"/>
                      <a:pt x="11" y="29"/>
                    </a:cubicBezTo>
                    <a:cubicBezTo>
                      <a:pt x="11" y="30"/>
                      <a:pt x="10" y="30"/>
                      <a:pt x="10" y="31"/>
                    </a:cubicBezTo>
                    <a:cubicBezTo>
                      <a:pt x="10" y="31"/>
                      <a:pt x="10" y="31"/>
                      <a:pt x="10" y="30"/>
                    </a:cubicBezTo>
                    <a:cubicBezTo>
                      <a:pt x="10" y="30"/>
                      <a:pt x="10" y="31"/>
                      <a:pt x="10" y="31"/>
                    </a:cubicBezTo>
                    <a:cubicBezTo>
                      <a:pt x="10" y="31"/>
                      <a:pt x="10" y="31"/>
                      <a:pt x="10" y="31"/>
                    </a:cubicBezTo>
                    <a:cubicBezTo>
                      <a:pt x="11" y="31"/>
                      <a:pt x="11" y="32"/>
                      <a:pt x="11" y="32"/>
                    </a:cubicBezTo>
                    <a:cubicBezTo>
                      <a:pt x="12" y="32"/>
                      <a:pt x="12" y="33"/>
                      <a:pt x="12" y="33"/>
                    </a:cubicBezTo>
                    <a:cubicBezTo>
                      <a:pt x="12" y="34"/>
                      <a:pt x="11" y="33"/>
                      <a:pt x="12" y="34"/>
                    </a:cubicBezTo>
                    <a:cubicBezTo>
                      <a:pt x="12" y="35"/>
                      <a:pt x="12" y="35"/>
                      <a:pt x="13" y="35"/>
                    </a:cubicBezTo>
                    <a:cubicBezTo>
                      <a:pt x="13" y="35"/>
                      <a:pt x="14" y="35"/>
                      <a:pt x="14" y="35"/>
                    </a:cubicBezTo>
                    <a:cubicBezTo>
                      <a:pt x="14" y="35"/>
                      <a:pt x="13" y="35"/>
                      <a:pt x="13" y="35"/>
                    </a:cubicBezTo>
                    <a:cubicBezTo>
                      <a:pt x="13" y="36"/>
                      <a:pt x="13" y="36"/>
                      <a:pt x="13" y="36"/>
                    </a:cubicBezTo>
                    <a:cubicBezTo>
                      <a:pt x="13" y="36"/>
                      <a:pt x="13" y="36"/>
                      <a:pt x="13" y="36"/>
                    </a:cubicBezTo>
                    <a:cubicBezTo>
                      <a:pt x="12" y="36"/>
                      <a:pt x="13" y="37"/>
                      <a:pt x="12" y="37"/>
                    </a:cubicBezTo>
                    <a:cubicBezTo>
                      <a:pt x="12" y="37"/>
                      <a:pt x="11" y="36"/>
                      <a:pt x="11" y="37"/>
                    </a:cubicBezTo>
                    <a:cubicBezTo>
                      <a:pt x="11" y="37"/>
                      <a:pt x="12" y="39"/>
                      <a:pt x="12" y="38"/>
                    </a:cubicBezTo>
                    <a:cubicBezTo>
                      <a:pt x="12" y="38"/>
                      <a:pt x="12" y="38"/>
                      <a:pt x="12" y="38"/>
                    </a:cubicBezTo>
                    <a:cubicBezTo>
                      <a:pt x="12" y="39"/>
                      <a:pt x="13" y="39"/>
                      <a:pt x="13" y="39"/>
                    </a:cubicBezTo>
                    <a:cubicBezTo>
                      <a:pt x="12" y="39"/>
                      <a:pt x="12" y="39"/>
                      <a:pt x="12" y="39"/>
                    </a:cubicBezTo>
                    <a:cubicBezTo>
                      <a:pt x="12" y="39"/>
                      <a:pt x="13" y="40"/>
                      <a:pt x="14" y="40"/>
                    </a:cubicBezTo>
                    <a:cubicBezTo>
                      <a:pt x="14" y="40"/>
                      <a:pt x="15" y="40"/>
                      <a:pt x="15" y="40"/>
                    </a:cubicBezTo>
                    <a:cubicBezTo>
                      <a:pt x="15" y="40"/>
                      <a:pt x="15" y="40"/>
                      <a:pt x="15" y="40"/>
                    </a:cubicBezTo>
                    <a:cubicBezTo>
                      <a:pt x="14" y="40"/>
                      <a:pt x="14" y="40"/>
                      <a:pt x="14" y="40"/>
                    </a:cubicBezTo>
                    <a:cubicBezTo>
                      <a:pt x="13" y="40"/>
                      <a:pt x="12" y="41"/>
                      <a:pt x="12" y="41"/>
                    </a:cubicBezTo>
                    <a:cubicBezTo>
                      <a:pt x="11" y="39"/>
                      <a:pt x="11" y="41"/>
                      <a:pt x="11" y="41"/>
                    </a:cubicBezTo>
                    <a:cubicBezTo>
                      <a:pt x="10" y="41"/>
                      <a:pt x="10" y="40"/>
                      <a:pt x="10" y="40"/>
                    </a:cubicBezTo>
                    <a:cubicBezTo>
                      <a:pt x="10" y="39"/>
                      <a:pt x="10" y="40"/>
                      <a:pt x="10" y="39"/>
                    </a:cubicBezTo>
                    <a:cubicBezTo>
                      <a:pt x="11" y="39"/>
                      <a:pt x="10" y="39"/>
                      <a:pt x="10" y="38"/>
                    </a:cubicBezTo>
                    <a:cubicBezTo>
                      <a:pt x="9" y="38"/>
                      <a:pt x="8" y="37"/>
                      <a:pt x="8" y="38"/>
                    </a:cubicBezTo>
                    <a:cubicBezTo>
                      <a:pt x="8" y="38"/>
                      <a:pt x="8" y="39"/>
                      <a:pt x="8" y="40"/>
                    </a:cubicBezTo>
                    <a:cubicBezTo>
                      <a:pt x="8" y="40"/>
                      <a:pt x="9" y="40"/>
                      <a:pt x="9" y="40"/>
                    </a:cubicBezTo>
                    <a:cubicBezTo>
                      <a:pt x="9" y="40"/>
                      <a:pt x="9" y="40"/>
                      <a:pt x="9" y="40"/>
                    </a:cubicBezTo>
                    <a:cubicBezTo>
                      <a:pt x="9" y="40"/>
                      <a:pt x="9" y="41"/>
                      <a:pt x="8" y="41"/>
                    </a:cubicBezTo>
                    <a:cubicBezTo>
                      <a:pt x="8" y="42"/>
                      <a:pt x="8" y="41"/>
                      <a:pt x="8" y="41"/>
                    </a:cubicBezTo>
                    <a:cubicBezTo>
                      <a:pt x="8" y="41"/>
                      <a:pt x="7" y="41"/>
                      <a:pt x="7" y="41"/>
                    </a:cubicBezTo>
                    <a:cubicBezTo>
                      <a:pt x="7" y="41"/>
                      <a:pt x="8" y="41"/>
                      <a:pt x="7" y="42"/>
                    </a:cubicBezTo>
                    <a:cubicBezTo>
                      <a:pt x="7" y="42"/>
                      <a:pt x="7" y="42"/>
                      <a:pt x="7" y="42"/>
                    </a:cubicBezTo>
                    <a:cubicBezTo>
                      <a:pt x="8" y="42"/>
                      <a:pt x="8" y="43"/>
                      <a:pt x="8" y="42"/>
                    </a:cubicBezTo>
                    <a:cubicBezTo>
                      <a:pt x="8" y="43"/>
                      <a:pt x="9" y="42"/>
                      <a:pt x="10" y="43"/>
                    </a:cubicBezTo>
                    <a:cubicBezTo>
                      <a:pt x="10" y="43"/>
                      <a:pt x="10" y="44"/>
                      <a:pt x="10" y="43"/>
                    </a:cubicBezTo>
                    <a:cubicBezTo>
                      <a:pt x="10" y="43"/>
                      <a:pt x="10" y="44"/>
                      <a:pt x="10" y="44"/>
                    </a:cubicBezTo>
                    <a:cubicBezTo>
                      <a:pt x="11" y="44"/>
                      <a:pt x="11" y="43"/>
                      <a:pt x="11" y="43"/>
                    </a:cubicBezTo>
                    <a:cubicBezTo>
                      <a:pt x="11" y="42"/>
                      <a:pt x="11" y="43"/>
                      <a:pt x="12" y="42"/>
                    </a:cubicBezTo>
                    <a:cubicBezTo>
                      <a:pt x="12" y="42"/>
                      <a:pt x="13" y="44"/>
                      <a:pt x="13" y="44"/>
                    </a:cubicBezTo>
                    <a:cubicBezTo>
                      <a:pt x="13" y="44"/>
                      <a:pt x="13" y="44"/>
                      <a:pt x="13" y="44"/>
                    </a:cubicBezTo>
                    <a:cubicBezTo>
                      <a:pt x="14" y="44"/>
                      <a:pt x="14" y="44"/>
                      <a:pt x="14" y="44"/>
                    </a:cubicBezTo>
                    <a:cubicBezTo>
                      <a:pt x="15" y="45"/>
                      <a:pt x="16" y="45"/>
                      <a:pt x="16" y="45"/>
                    </a:cubicBezTo>
                    <a:cubicBezTo>
                      <a:pt x="17" y="46"/>
                      <a:pt x="16" y="46"/>
                      <a:pt x="16" y="47"/>
                    </a:cubicBezTo>
                    <a:cubicBezTo>
                      <a:pt x="16" y="47"/>
                      <a:pt x="17" y="47"/>
                      <a:pt x="16" y="48"/>
                    </a:cubicBezTo>
                    <a:cubicBezTo>
                      <a:pt x="16" y="48"/>
                      <a:pt x="15" y="48"/>
                      <a:pt x="15" y="48"/>
                    </a:cubicBezTo>
                    <a:cubicBezTo>
                      <a:pt x="14" y="49"/>
                      <a:pt x="16" y="49"/>
                      <a:pt x="16" y="49"/>
                    </a:cubicBezTo>
                    <a:cubicBezTo>
                      <a:pt x="16" y="49"/>
                      <a:pt x="16" y="50"/>
                      <a:pt x="16" y="50"/>
                    </a:cubicBezTo>
                    <a:cubicBezTo>
                      <a:pt x="16" y="50"/>
                      <a:pt x="16" y="50"/>
                      <a:pt x="16" y="51"/>
                    </a:cubicBezTo>
                    <a:cubicBezTo>
                      <a:pt x="17" y="50"/>
                      <a:pt x="16" y="51"/>
                      <a:pt x="16" y="52"/>
                    </a:cubicBezTo>
                    <a:cubicBezTo>
                      <a:pt x="16" y="52"/>
                      <a:pt x="17" y="52"/>
                      <a:pt x="18" y="52"/>
                    </a:cubicBezTo>
                    <a:cubicBezTo>
                      <a:pt x="18" y="51"/>
                      <a:pt x="19" y="51"/>
                      <a:pt x="18" y="52"/>
                    </a:cubicBezTo>
                    <a:cubicBezTo>
                      <a:pt x="18" y="52"/>
                      <a:pt x="19" y="52"/>
                      <a:pt x="19" y="52"/>
                    </a:cubicBezTo>
                    <a:cubicBezTo>
                      <a:pt x="19" y="52"/>
                      <a:pt x="19" y="52"/>
                      <a:pt x="19" y="53"/>
                    </a:cubicBezTo>
                    <a:cubicBezTo>
                      <a:pt x="19" y="53"/>
                      <a:pt x="20" y="52"/>
                      <a:pt x="19" y="53"/>
                    </a:cubicBezTo>
                    <a:cubicBezTo>
                      <a:pt x="19" y="53"/>
                      <a:pt x="20" y="52"/>
                      <a:pt x="20" y="53"/>
                    </a:cubicBezTo>
                    <a:cubicBezTo>
                      <a:pt x="20" y="53"/>
                      <a:pt x="20" y="54"/>
                      <a:pt x="20" y="54"/>
                    </a:cubicBezTo>
                    <a:cubicBezTo>
                      <a:pt x="20" y="53"/>
                      <a:pt x="19" y="54"/>
                      <a:pt x="20" y="54"/>
                    </a:cubicBezTo>
                    <a:cubicBezTo>
                      <a:pt x="19" y="54"/>
                      <a:pt x="19" y="55"/>
                      <a:pt x="18" y="54"/>
                    </a:cubicBezTo>
                    <a:cubicBezTo>
                      <a:pt x="18" y="54"/>
                      <a:pt x="18" y="54"/>
                      <a:pt x="18" y="54"/>
                    </a:cubicBezTo>
                    <a:cubicBezTo>
                      <a:pt x="18" y="55"/>
                      <a:pt x="17" y="54"/>
                      <a:pt x="17" y="54"/>
                    </a:cubicBezTo>
                    <a:cubicBezTo>
                      <a:pt x="17" y="54"/>
                      <a:pt x="17" y="55"/>
                      <a:pt x="17" y="55"/>
                    </a:cubicBezTo>
                    <a:cubicBezTo>
                      <a:pt x="17" y="55"/>
                      <a:pt x="17" y="56"/>
                      <a:pt x="17" y="56"/>
                    </a:cubicBezTo>
                    <a:cubicBezTo>
                      <a:pt x="18" y="57"/>
                      <a:pt x="18" y="55"/>
                      <a:pt x="18" y="56"/>
                    </a:cubicBezTo>
                    <a:cubicBezTo>
                      <a:pt x="18" y="55"/>
                      <a:pt x="19" y="56"/>
                      <a:pt x="20" y="56"/>
                    </a:cubicBezTo>
                    <a:cubicBezTo>
                      <a:pt x="20" y="56"/>
                      <a:pt x="21" y="56"/>
                      <a:pt x="21" y="56"/>
                    </a:cubicBezTo>
                    <a:cubicBezTo>
                      <a:pt x="22" y="56"/>
                      <a:pt x="24" y="55"/>
                      <a:pt x="25" y="56"/>
                    </a:cubicBezTo>
                    <a:cubicBezTo>
                      <a:pt x="25" y="55"/>
                      <a:pt x="27" y="55"/>
                      <a:pt x="27" y="55"/>
                    </a:cubicBezTo>
                    <a:cubicBezTo>
                      <a:pt x="27" y="56"/>
                      <a:pt x="25" y="56"/>
                      <a:pt x="25" y="57"/>
                    </a:cubicBezTo>
                    <a:cubicBezTo>
                      <a:pt x="25" y="56"/>
                      <a:pt x="25" y="56"/>
                      <a:pt x="24" y="56"/>
                    </a:cubicBezTo>
                    <a:cubicBezTo>
                      <a:pt x="24" y="56"/>
                      <a:pt x="24" y="56"/>
                      <a:pt x="24" y="56"/>
                    </a:cubicBezTo>
                    <a:cubicBezTo>
                      <a:pt x="24" y="57"/>
                      <a:pt x="24" y="57"/>
                      <a:pt x="24" y="57"/>
                    </a:cubicBezTo>
                    <a:cubicBezTo>
                      <a:pt x="24" y="57"/>
                      <a:pt x="24" y="57"/>
                      <a:pt x="24" y="57"/>
                    </a:cubicBezTo>
                    <a:cubicBezTo>
                      <a:pt x="25" y="58"/>
                      <a:pt x="23" y="58"/>
                      <a:pt x="22" y="58"/>
                    </a:cubicBezTo>
                    <a:cubicBezTo>
                      <a:pt x="22" y="58"/>
                      <a:pt x="22" y="58"/>
                      <a:pt x="21" y="58"/>
                    </a:cubicBezTo>
                    <a:cubicBezTo>
                      <a:pt x="21" y="58"/>
                      <a:pt x="20" y="58"/>
                      <a:pt x="20" y="58"/>
                    </a:cubicBezTo>
                    <a:cubicBezTo>
                      <a:pt x="20" y="59"/>
                      <a:pt x="19" y="58"/>
                      <a:pt x="19" y="59"/>
                    </a:cubicBezTo>
                    <a:cubicBezTo>
                      <a:pt x="18" y="59"/>
                      <a:pt x="19" y="59"/>
                      <a:pt x="18" y="59"/>
                    </a:cubicBezTo>
                    <a:cubicBezTo>
                      <a:pt x="18" y="60"/>
                      <a:pt x="20" y="59"/>
                      <a:pt x="20" y="59"/>
                    </a:cubicBezTo>
                    <a:cubicBezTo>
                      <a:pt x="20" y="59"/>
                      <a:pt x="21" y="60"/>
                      <a:pt x="21" y="59"/>
                    </a:cubicBezTo>
                    <a:cubicBezTo>
                      <a:pt x="21" y="59"/>
                      <a:pt x="21" y="59"/>
                      <a:pt x="21" y="59"/>
                    </a:cubicBezTo>
                    <a:cubicBezTo>
                      <a:pt x="22" y="58"/>
                      <a:pt x="24" y="58"/>
                      <a:pt x="24" y="58"/>
                    </a:cubicBezTo>
                    <a:cubicBezTo>
                      <a:pt x="25" y="58"/>
                      <a:pt x="25" y="58"/>
                      <a:pt x="25" y="58"/>
                    </a:cubicBezTo>
                    <a:cubicBezTo>
                      <a:pt x="25" y="58"/>
                      <a:pt x="25" y="58"/>
                      <a:pt x="25" y="58"/>
                    </a:cubicBezTo>
                    <a:cubicBezTo>
                      <a:pt x="25" y="58"/>
                      <a:pt x="25" y="59"/>
                      <a:pt x="25" y="59"/>
                    </a:cubicBezTo>
                    <a:cubicBezTo>
                      <a:pt x="25" y="59"/>
                      <a:pt x="24" y="59"/>
                      <a:pt x="24" y="59"/>
                    </a:cubicBezTo>
                    <a:cubicBezTo>
                      <a:pt x="24" y="60"/>
                      <a:pt x="25" y="59"/>
                      <a:pt x="25" y="60"/>
                    </a:cubicBezTo>
                    <a:cubicBezTo>
                      <a:pt x="25" y="59"/>
                      <a:pt x="25" y="60"/>
                      <a:pt x="24" y="60"/>
                    </a:cubicBezTo>
                    <a:cubicBezTo>
                      <a:pt x="24" y="60"/>
                      <a:pt x="24" y="60"/>
                      <a:pt x="24" y="60"/>
                    </a:cubicBezTo>
                    <a:cubicBezTo>
                      <a:pt x="24" y="60"/>
                      <a:pt x="24" y="60"/>
                      <a:pt x="24" y="60"/>
                    </a:cubicBezTo>
                    <a:cubicBezTo>
                      <a:pt x="25" y="60"/>
                      <a:pt x="25" y="60"/>
                      <a:pt x="25" y="60"/>
                    </a:cubicBezTo>
                    <a:cubicBezTo>
                      <a:pt x="25" y="59"/>
                      <a:pt x="26" y="58"/>
                      <a:pt x="27" y="59"/>
                    </a:cubicBezTo>
                    <a:cubicBezTo>
                      <a:pt x="27" y="58"/>
                      <a:pt x="26" y="58"/>
                      <a:pt x="26" y="58"/>
                    </a:cubicBezTo>
                    <a:cubicBezTo>
                      <a:pt x="26" y="58"/>
                      <a:pt x="26" y="57"/>
                      <a:pt x="27" y="58"/>
                    </a:cubicBezTo>
                    <a:cubicBezTo>
                      <a:pt x="26" y="58"/>
                      <a:pt x="27" y="58"/>
                      <a:pt x="27" y="58"/>
                    </a:cubicBezTo>
                    <a:cubicBezTo>
                      <a:pt x="27" y="58"/>
                      <a:pt x="27" y="58"/>
                      <a:pt x="28" y="58"/>
                    </a:cubicBezTo>
                    <a:cubicBezTo>
                      <a:pt x="28" y="58"/>
                      <a:pt x="27" y="57"/>
                      <a:pt x="27" y="57"/>
                    </a:cubicBezTo>
                    <a:cubicBezTo>
                      <a:pt x="27" y="57"/>
                      <a:pt x="28" y="57"/>
                      <a:pt x="28" y="57"/>
                    </a:cubicBezTo>
                    <a:cubicBezTo>
                      <a:pt x="28" y="57"/>
                      <a:pt x="28" y="58"/>
                      <a:pt x="29" y="58"/>
                    </a:cubicBezTo>
                    <a:cubicBezTo>
                      <a:pt x="28" y="57"/>
                      <a:pt x="29" y="58"/>
                      <a:pt x="29" y="58"/>
                    </a:cubicBezTo>
                    <a:cubicBezTo>
                      <a:pt x="30" y="58"/>
                      <a:pt x="29" y="59"/>
                      <a:pt x="30" y="59"/>
                    </a:cubicBezTo>
                    <a:cubicBezTo>
                      <a:pt x="30" y="58"/>
                      <a:pt x="31" y="59"/>
                      <a:pt x="32" y="60"/>
                    </a:cubicBezTo>
                    <a:cubicBezTo>
                      <a:pt x="31" y="60"/>
                      <a:pt x="32" y="60"/>
                      <a:pt x="32" y="60"/>
                    </a:cubicBezTo>
                    <a:cubicBezTo>
                      <a:pt x="32" y="60"/>
                      <a:pt x="32" y="59"/>
                      <a:pt x="32" y="59"/>
                    </a:cubicBezTo>
                    <a:cubicBezTo>
                      <a:pt x="32" y="60"/>
                      <a:pt x="32" y="59"/>
                      <a:pt x="32" y="59"/>
                    </a:cubicBezTo>
                    <a:cubicBezTo>
                      <a:pt x="32" y="59"/>
                      <a:pt x="32" y="59"/>
                      <a:pt x="32" y="58"/>
                    </a:cubicBezTo>
                    <a:cubicBezTo>
                      <a:pt x="33" y="59"/>
                      <a:pt x="34" y="59"/>
                      <a:pt x="34" y="60"/>
                    </a:cubicBezTo>
                    <a:cubicBezTo>
                      <a:pt x="34" y="60"/>
                      <a:pt x="34" y="60"/>
                      <a:pt x="34" y="60"/>
                    </a:cubicBezTo>
                    <a:cubicBezTo>
                      <a:pt x="33" y="60"/>
                      <a:pt x="34" y="60"/>
                      <a:pt x="33" y="61"/>
                    </a:cubicBezTo>
                    <a:cubicBezTo>
                      <a:pt x="34" y="61"/>
                      <a:pt x="34" y="60"/>
                      <a:pt x="34" y="61"/>
                    </a:cubicBezTo>
                    <a:cubicBezTo>
                      <a:pt x="34" y="61"/>
                      <a:pt x="34" y="61"/>
                      <a:pt x="34" y="62"/>
                    </a:cubicBezTo>
                    <a:cubicBezTo>
                      <a:pt x="35" y="62"/>
                      <a:pt x="34" y="62"/>
                      <a:pt x="34" y="62"/>
                    </a:cubicBezTo>
                    <a:cubicBezTo>
                      <a:pt x="35" y="63"/>
                      <a:pt x="35" y="63"/>
                      <a:pt x="36" y="63"/>
                    </a:cubicBezTo>
                    <a:cubicBezTo>
                      <a:pt x="36" y="63"/>
                      <a:pt x="36" y="64"/>
                      <a:pt x="37" y="64"/>
                    </a:cubicBezTo>
                    <a:cubicBezTo>
                      <a:pt x="37" y="64"/>
                      <a:pt x="37" y="63"/>
                      <a:pt x="37" y="64"/>
                    </a:cubicBezTo>
                    <a:cubicBezTo>
                      <a:pt x="38" y="64"/>
                      <a:pt x="38" y="64"/>
                      <a:pt x="38" y="64"/>
                    </a:cubicBezTo>
                    <a:cubicBezTo>
                      <a:pt x="39" y="64"/>
                      <a:pt x="40" y="64"/>
                      <a:pt x="39" y="65"/>
                    </a:cubicBezTo>
                    <a:cubicBezTo>
                      <a:pt x="39" y="65"/>
                      <a:pt x="39" y="65"/>
                      <a:pt x="39" y="65"/>
                    </a:cubicBezTo>
                    <a:cubicBezTo>
                      <a:pt x="39" y="65"/>
                      <a:pt x="40" y="65"/>
                      <a:pt x="40" y="65"/>
                    </a:cubicBezTo>
                    <a:cubicBezTo>
                      <a:pt x="40" y="65"/>
                      <a:pt x="41" y="65"/>
                      <a:pt x="40" y="65"/>
                    </a:cubicBezTo>
                    <a:cubicBezTo>
                      <a:pt x="41" y="65"/>
                      <a:pt x="41" y="64"/>
                      <a:pt x="42" y="64"/>
                    </a:cubicBezTo>
                    <a:cubicBezTo>
                      <a:pt x="42" y="64"/>
                      <a:pt x="43" y="64"/>
                      <a:pt x="43" y="64"/>
                    </a:cubicBezTo>
                    <a:cubicBezTo>
                      <a:pt x="43" y="64"/>
                      <a:pt x="44" y="64"/>
                      <a:pt x="44" y="64"/>
                    </a:cubicBezTo>
                    <a:cubicBezTo>
                      <a:pt x="44" y="63"/>
                      <a:pt x="45" y="63"/>
                      <a:pt x="45" y="63"/>
                    </a:cubicBezTo>
                    <a:cubicBezTo>
                      <a:pt x="46" y="64"/>
                      <a:pt x="46" y="64"/>
                      <a:pt x="46" y="64"/>
                    </a:cubicBezTo>
                    <a:cubicBezTo>
                      <a:pt x="46" y="64"/>
                      <a:pt x="46" y="64"/>
                      <a:pt x="46" y="64"/>
                    </a:cubicBezTo>
                    <a:cubicBezTo>
                      <a:pt x="46" y="64"/>
                      <a:pt x="47" y="63"/>
                      <a:pt x="47" y="63"/>
                    </a:cubicBezTo>
                    <a:cubicBezTo>
                      <a:pt x="47" y="63"/>
                      <a:pt x="47" y="62"/>
                      <a:pt x="47" y="62"/>
                    </a:cubicBezTo>
                    <a:cubicBezTo>
                      <a:pt x="47" y="62"/>
                      <a:pt x="47" y="61"/>
                      <a:pt x="47" y="61"/>
                    </a:cubicBezTo>
                    <a:cubicBezTo>
                      <a:pt x="48" y="60"/>
                      <a:pt x="47" y="56"/>
                      <a:pt x="48" y="57"/>
                    </a:cubicBezTo>
                    <a:cubicBezTo>
                      <a:pt x="49" y="58"/>
                      <a:pt x="50" y="57"/>
                      <a:pt x="51" y="57"/>
                    </a:cubicBezTo>
                    <a:cubicBezTo>
                      <a:pt x="52" y="57"/>
                      <a:pt x="52" y="57"/>
                      <a:pt x="53" y="58"/>
                    </a:cubicBezTo>
                    <a:cubicBezTo>
                      <a:pt x="53" y="58"/>
                      <a:pt x="54" y="58"/>
                      <a:pt x="54" y="58"/>
                    </a:cubicBezTo>
                    <a:cubicBezTo>
                      <a:pt x="55" y="58"/>
                      <a:pt x="56" y="59"/>
                      <a:pt x="57" y="59"/>
                    </a:cubicBezTo>
                    <a:cubicBezTo>
                      <a:pt x="57" y="59"/>
                      <a:pt x="58" y="60"/>
                      <a:pt x="59" y="60"/>
                    </a:cubicBezTo>
                    <a:cubicBezTo>
                      <a:pt x="60" y="61"/>
                      <a:pt x="61" y="61"/>
                      <a:pt x="62" y="62"/>
                    </a:cubicBezTo>
                    <a:cubicBezTo>
                      <a:pt x="62" y="62"/>
                      <a:pt x="63" y="63"/>
                      <a:pt x="63" y="64"/>
                    </a:cubicBezTo>
                    <a:cubicBezTo>
                      <a:pt x="65" y="65"/>
                      <a:pt x="67" y="67"/>
                      <a:pt x="69" y="66"/>
                    </a:cubicBezTo>
                    <a:cubicBezTo>
                      <a:pt x="69" y="66"/>
                      <a:pt x="69" y="66"/>
                      <a:pt x="70" y="66"/>
                    </a:cubicBezTo>
                    <a:cubicBezTo>
                      <a:pt x="70" y="66"/>
                      <a:pt x="71" y="66"/>
                      <a:pt x="71" y="66"/>
                    </a:cubicBezTo>
                    <a:cubicBezTo>
                      <a:pt x="71" y="66"/>
                      <a:pt x="71" y="65"/>
                      <a:pt x="71" y="65"/>
                    </a:cubicBezTo>
                    <a:cubicBezTo>
                      <a:pt x="72" y="65"/>
                      <a:pt x="72" y="65"/>
                      <a:pt x="72" y="65"/>
                    </a:cubicBezTo>
                    <a:cubicBezTo>
                      <a:pt x="72" y="65"/>
                      <a:pt x="75" y="65"/>
                      <a:pt x="75" y="65"/>
                    </a:cubicBezTo>
                    <a:cubicBezTo>
                      <a:pt x="75" y="65"/>
                      <a:pt x="75" y="65"/>
                      <a:pt x="76" y="65"/>
                    </a:cubicBezTo>
                    <a:cubicBezTo>
                      <a:pt x="76" y="64"/>
                      <a:pt x="76" y="65"/>
                      <a:pt x="76" y="65"/>
                    </a:cubicBezTo>
                    <a:cubicBezTo>
                      <a:pt x="76" y="65"/>
                      <a:pt x="77" y="64"/>
                      <a:pt x="77" y="64"/>
                    </a:cubicBezTo>
                    <a:cubicBezTo>
                      <a:pt x="77" y="64"/>
                      <a:pt x="77" y="64"/>
                      <a:pt x="77" y="64"/>
                    </a:cubicBezTo>
                    <a:cubicBezTo>
                      <a:pt x="78" y="63"/>
                      <a:pt x="79" y="64"/>
                      <a:pt x="78" y="64"/>
                    </a:cubicBezTo>
                    <a:cubicBezTo>
                      <a:pt x="79" y="64"/>
                      <a:pt x="79" y="64"/>
                      <a:pt x="79" y="63"/>
                    </a:cubicBezTo>
                    <a:cubicBezTo>
                      <a:pt x="79" y="64"/>
                      <a:pt x="79" y="64"/>
                      <a:pt x="79" y="64"/>
                    </a:cubicBezTo>
                    <a:cubicBezTo>
                      <a:pt x="79" y="63"/>
                      <a:pt x="79" y="63"/>
                      <a:pt x="79" y="63"/>
                    </a:cubicBezTo>
                    <a:cubicBezTo>
                      <a:pt x="80" y="63"/>
                      <a:pt x="80" y="62"/>
                      <a:pt x="80" y="62"/>
                    </a:cubicBezTo>
                    <a:cubicBezTo>
                      <a:pt x="81" y="61"/>
                      <a:pt x="81" y="60"/>
                      <a:pt x="82" y="60"/>
                    </a:cubicBezTo>
                    <a:cubicBezTo>
                      <a:pt x="83" y="59"/>
                      <a:pt x="84" y="58"/>
                      <a:pt x="85" y="58"/>
                    </a:cubicBezTo>
                    <a:cubicBezTo>
                      <a:pt x="86" y="58"/>
                      <a:pt x="87" y="58"/>
                      <a:pt x="87" y="59"/>
                    </a:cubicBezTo>
                    <a:cubicBezTo>
                      <a:pt x="88" y="58"/>
                      <a:pt x="90" y="60"/>
                      <a:pt x="91" y="60"/>
                    </a:cubicBezTo>
                    <a:cubicBezTo>
                      <a:pt x="91" y="61"/>
                      <a:pt x="91" y="60"/>
                      <a:pt x="92" y="60"/>
                    </a:cubicBezTo>
                    <a:cubicBezTo>
                      <a:pt x="92" y="60"/>
                      <a:pt x="92" y="60"/>
                      <a:pt x="93" y="60"/>
                    </a:cubicBezTo>
                    <a:cubicBezTo>
                      <a:pt x="94" y="60"/>
                      <a:pt x="93" y="59"/>
                      <a:pt x="94" y="59"/>
                    </a:cubicBezTo>
                    <a:cubicBezTo>
                      <a:pt x="94" y="59"/>
                      <a:pt x="94" y="59"/>
                      <a:pt x="93" y="60"/>
                    </a:cubicBezTo>
                    <a:cubicBezTo>
                      <a:pt x="93" y="59"/>
                      <a:pt x="94" y="59"/>
                      <a:pt x="94" y="59"/>
                    </a:cubicBezTo>
                    <a:cubicBezTo>
                      <a:pt x="94" y="59"/>
                      <a:pt x="94" y="59"/>
                      <a:pt x="93" y="59"/>
                    </a:cubicBezTo>
                    <a:cubicBezTo>
                      <a:pt x="93" y="59"/>
                      <a:pt x="93" y="59"/>
                      <a:pt x="93" y="59"/>
                    </a:cubicBezTo>
                    <a:cubicBezTo>
                      <a:pt x="93" y="59"/>
                      <a:pt x="93" y="58"/>
                      <a:pt x="93" y="59"/>
                    </a:cubicBezTo>
                    <a:cubicBezTo>
                      <a:pt x="93" y="58"/>
                      <a:pt x="95" y="58"/>
                      <a:pt x="95" y="58"/>
                    </a:cubicBezTo>
                    <a:cubicBezTo>
                      <a:pt x="96" y="58"/>
                      <a:pt x="96" y="57"/>
                      <a:pt x="96" y="57"/>
                    </a:cubicBezTo>
                    <a:cubicBezTo>
                      <a:pt x="97" y="56"/>
                      <a:pt x="98" y="57"/>
                      <a:pt x="98" y="58"/>
                    </a:cubicBezTo>
                    <a:cubicBezTo>
                      <a:pt x="98" y="58"/>
                      <a:pt x="99" y="58"/>
                      <a:pt x="99" y="59"/>
                    </a:cubicBezTo>
                    <a:cubicBezTo>
                      <a:pt x="98" y="59"/>
                      <a:pt x="99" y="59"/>
                      <a:pt x="99" y="59"/>
                    </a:cubicBezTo>
                    <a:cubicBezTo>
                      <a:pt x="99" y="60"/>
                      <a:pt x="97" y="61"/>
                      <a:pt x="97" y="61"/>
                    </a:cubicBezTo>
                    <a:cubicBezTo>
                      <a:pt x="96" y="62"/>
                      <a:pt x="95" y="63"/>
                      <a:pt x="95" y="63"/>
                    </a:cubicBezTo>
                    <a:cubicBezTo>
                      <a:pt x="95" y="64"/>
                      <a:pt x="96" y="65"/>
                      <a:pt x="97" y="65"/>
                    </a:cubicBezTo>
                    <a:cubicBezTo>
                      <a:pt x="97" y="66"/>
                      <a:pt x="97" y="67"/>
                      <a:pt x="97" y="67"/>
                    </a:cubicBezTo>
                    <a:cubicBezTo>
                      <a:pt x="97" y="67"/>
                      <a:pt x="97" y="67"/>
                      <a:pt x="97" y="67"/>
                    </a:cubicBezTo>
                    <a:cubicBezTo>
                      <a:pt x="98" y="68"/>
                      <a:pt x="98" y="68"/>
                      <a:pt x="98" y="68"/>
                    </a:cubicBezTo>
                    <a:cubicBezTo>
                      <a:pt x="98" y="68"/>
                      <a:pt x="98" y="68"/>
                      <a:pt x="99" y="68"/>
                    </a:cubicBezTo>
                    <a:cubicBezTo>
                      <a:pt x="99" y="68"/>
                      <a:pt x="99" y="68"/>
                      <a:pt x="99" y="69"/>
                    </a:cubicBezTo>
                    <a:cubicBezTo>
                      <a:pt x="99" y="69"/>
                      <a:pt x="99" y="68"/>
                      <a:pt x="99" y="67"/>
                    </a:cubicBezTo>
                    <a:cubicBezTo>
                      <a:pt x="100" y="67"/>
                      <a:pt x="100" y="67"/>
                      <a:pt x="100" y="67"/>
                    </a:cubicBezTo>
                    <a:cubicBezTo>
                      <a:pt x="100" y="67"/>
                      <a:pt x="100" y="67"/>
                      <a:pt x="100" y="67"/>
                    </a:cubicBezTo>
                    <a:cubicBezTo>
                      <a:pt x="101" y="67"/>
                      <a:pt x="101" y="67"/>
                      <a:pt x="101" y="66"/>
                    </a:cubicBezTo>
                    <a:cubicBezTo>
                      <a:pt x="101" y="66"/>
                      <a:pt x="101" y="64"/>
                      <a:pt x="101" y="64"/>
                    </a:cubicBezTo>
                    <a:cubicBezTo>
                      <a:pt x="101" y="64"/>
                      <a:pt x="101" y="64"/>
                      <a:pt x="102" y="64"/>
                    </a:cubicBezTo>
                    <a:cubicBezTo>
                      <a:pt x="102" y="64"/>
                      <a:pt x="103" y="64"/>
                      <a:pt x="103" y="64"/>
                    </a:cubicBezTo>
                    <a:cubicBezTo>
                      <a:pt x="104" y="63"/>
                      <a:pt x="103" y="63"/>
                      <a:pt x="103" y="63"/>
                    </a:cubicBezTo>
                    <a:cubicBezTo>
                      <a:pt x="103" y="62"/>
                      <a:pt x="102" y="62"/>
                      <a:pt x="102" y="62"/>
                    </a:cubicBezTo>
                    <a:cubicBezTo>
                      <a:pt x="102" y="61"/>
                      <a:pt x="102" y="61"/>
                      <a:pt x="102" y="60"/>
                    </a:cubicBezTo>
                    <a:cubicBezTo>
                      <a:pt x="102" y="60"/>
                      <a:pt x="102" y="60"/>
                      <a:pt x="102" y="60"/>
                    </a:cubicBezTo>
                    <a:cubicBezTo>
                      <a:pt x="102" y="59"/>
                      <a:pt x="102" y="59"/>
                      <a:pt x="102" y="59"/>
                    </a:cubicBezTo>
                    <a:cubicBezTo>
                      <a:pt x="102" y="58"/>
                      <a:pt x="103" y="58"/>
                      <a:pt x="103" y="57"/>
                    </a:cubicBezTo>
                    <a:cubicBezTo>
                      <a:pt x="103" y="58"/>
                      <a:pt x="104" y="58"/>
                      <a:pt x="105" y="58"/>
                    </a:cubicBezTo>
                    <a:cubicBezTo>
                      <a:pt x="105" y="58"/>
                      <a:pt x="106" y="58"/>
                      <a:pt x="106" y="59"/>
                    </a:cubicBezTo>
                    <a:cubicBezTo>
                      <a:pt x="106" y="59"/>
                      <a:pt x="106" y="60"/>
                      <a:pt x="107" y="59"/>
                    </a:cubicBezTo>
                    <a:cubicBezTo>
                      <a:pt x="108" y="59"/>
                      <a:pt x="109" y="60"/>
                      <a:pt x="110" y="60"/>
                    </a:cubicBezTo>
                    <a:cubicBezTo>
                      <a:pt x="111" y="59"/>
                      <a:pt x="111" y="59"/>
                      <a:pt x="112" y="59"/>
                    </a:cubicBezTo>
                    <a:cubicBezTo>
                      <a:pt x="112" y="58"/>
                      <a:pt x="113" y="58"/>
                      <a:pt x="114" y="58"/>
                    </a:cubicBezTo>
                    <a:cubicBezTo>
                      <a:pt x="115" y="58"/>
                      <a:pt x="116" y="57"/>
                      <a:pt x="117" y="57"/>
                    </a:cubicBezTo>
                    <a:cubicBezTo>
                      <a:pt x="118" y="57"/>
                      <a:pt x="119" y="57"/>
                      <a:pt x="120" y="58"/>
                    </a:cubicBezTo>
                    <a:cubicBezTo>
                      <a:pt x="121" y="59"/>
                      <a:pt x="122" y="59"/>
                      <a:pt x="123" y="59"/>
                    </a:cubicBezTo>
                    <a:cubicBezTo>
                      <a:pt x="124" y="59"/>
                      <a:pt x="126" y="59"/>
                      <a:pt x="127" y="59"/>
                    </a:cubicBezTo>
                    <a:cubicBezTo>
                      <a:pt x="130" y="59"/>
                      <a:pt x="133" y="58"/>
                      <a:pt x="135" y="57"/>
                    </a:cubicBezTo>
                    <a:cubicBezTo>
                      <a:pt x="137" y="55"/>
                      <a:pt x="140" y="54"/>
                      <a:pt x="143" y="55"/>
                    </a:cubicBezTo>
                    <a:cubicBezTo>
                      <a:pt x="144" y="55"/>
                      <a:pt x="145" y="55"/>
                      <a:pt x="147" y="55"/>
                    </a:cubicBezTo>
                    <a:cubicBezTo>
                      <a:pt x="148" y="54"/>
                      <a:pt x="149" y="54"/>
                      <a:pt x="150" y="54"/>
                    </a:cubicBezTo>
                    <a:cubicBezTo>
                      <a:pt x="151" y="54"/>
                      <a:pt x="152" y="53"/>
                      <a:pt x="152" y="53"/>
                    </a:cubicBezTo>
                    <a:cubicBezTo>
                      <a:pt x="153" y="52"/>
                      <a:pt x="153" y="52"/>
                      <a:pt x="153" y="52"/>
                    </a:cubicBezTo>
                    <a:cubicBezTo>
                      <a:pt x="153" y="53"/>
                      <a:pt x="153" y="53"/>
                      <a:pt x="154" y="53"/>
                    </a:cubicBezTo>
                    <a:cubicBezTo>
                      <a:pt x="154" y="53"/>
                      <a:pt x="154" y="54"/>
                      <a:pt x="154" y="54"/>
                    </a:cubicBezTo>
                    <a:cubicBezTo>
                      <a:pt x="154" y="54"/>
                      <a:pt x="154" y="54"/>
                      <a:pt x="154" y="54"/>
                    </a:cubicBezTo>
                    <a:cubicBezTo>
                      <a:pt x="155" y="54"/>
                      <a:pt x="156" y="54"/>
                      <a:pt x="156" y="54"/>
                    </a:cubicBezTo>
                    <a:cubicBezTo>
                      <a:pt x="156" y="53"/>
                      <a:pt x="157" y="52"/>
                      <a:pt x="157" y="52"/>
                    </a:cubicBezTo>
                    <a:cubicBezTo>
                      <a:pt x="157" y="51"/>
                      <a:pt x="158" y="52"/>
                      <a:pt x="158" y="52"/>
                    </a:cubicBezTo>
                    <a:cubicBezTo>
                      <a:pt x="159" y="52"/>
                      <a:pt x="159" y="52"/>
                      <a:pt x="160" y="52"/>
                    </a:cubicBezTo>
                    <a:cubicBezTo>
                      <a:pt x="161" y="51"/>
                      <a:pt x="161" y="52"/>
                      <a:pt x="162" y="52"/>
                    </a:cubicBezTo>
                    <a:cubicBezTo>
                      <a:pt x="163" y="53"/>
                      <a:pt x="162" y="52"/>
                      <a:pt x="163" y="52"/>
                    </a:cubicBezTo>
                    <a:cubicBezTo>
                      <a:pt x="163" y="52"/>
                      <a:pt x="163" y="52"/>
                      <a:pt x="163" y="53"/>
                    </a:cubicBezTo>
                    <a:cubicBezTo>
                      <a:pt x="164" y="53"/>
                      <a:pt x="165" y="53"/>
                      <a:pt x="165" y="53"/>
                    </a:cubicBezTo>
                    <a:cubicBezTo>
                      <a:pt x="166" y="53"/>
                      <a:pt x="167" y="53"/>
                      <a:pt x="167" y="53"/>
                    </a:cubicBezTo>
                    <a:cubicBezTo>
                      <a:pt x="168" y="53"/>
                      <a:pt x="168" y="52"/>
                      <a:pt x="169" y="52"/>
                    </a:cubicBezTo>
                    <a:cubicBezTo>
                      <a:pt x="169" y="52"/>
                      <a:pt x="170" y="52"/>
                      <a:pt x="170" y="52"/>
                    </a:cubicBezTo>
                    <a:cubicBezTo>
                      <a:pt x="172" y="53"/>
                      <a:pt x="170" y="54"/>
                      <a:pt x="171" y="55"/>
                    </a:cubicBezTo>
                    <a:cubicBezTo>
                      <a:pt x="171" y="56"/>
                      <a:pt x="172" y="56"/>
                      <a:pt x="172" y="56"/>
                    </a:cubicBezTo>
                    <a:cubicBezTo>
                      <a:pt x="172" y="55"/>
                      <a:pt x="173" y="55"/>
                      <a:pt x="173" y="55"/>
                    </a:cubicBezTo>
                    <a:cubicBezTo>
                      <a:pt x="173" y="55"/>
                      <a:pt x="174" y="54"/>
                      <a:pt x="175" y="54"/>
                    </a:cubicBezTo>
                    <a:cubicBezTo>
                      <a:pt x="175" y="54"/>
                      <a:pt x="176" y="54"/>
                      <a:pt x="176" y="54"/>
                    </a:cubicBezTo>
                    <a:cubicBezTo>
                      <a:pt x="176" y="54"/>
                      <a:pt x="176" y="53"/>
                      <a:pt x="176" y="53"/>
                    </a:cubicBezTo>
                    <a:cubicBezTo>
                      <a:pt x="176" y="53"/>
                      <a:pt x="176" y="53"/>
                      <a:pt x="176" y="5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4" name="Tunisia">
                <a:extLst>
                  <a:ext uri="{FF2B5EF4-FFF2-40B4-BE49-F238E27FC236}">
                    <a16:creationId xmlns:a16="http://schemas.microsoft.com/office/drawing/2014/main" id="{BAB12DF4-1631-C726-FB1A-3046DBA30CAF}"/>
                  </a:ext>
                </a:extLst>
              </p:cNvPr>
              <p:cNvSpPr>
                <a:spLocks noEditPoints="1"/>
              </p:cNvSpPr>
              <p:nvPr/>
            </p:nvSpPr>
            <p:spPr bwMode="auto">
              <a:xfrm>
                <a:off x="5955447" y="2579985"/>
                <a:ext cx="135263" cy="287189"/>
              </a:xfrm>
              <a:custGeom>
                <a:avLst/>
                <a:gdLst/>
                <a:ahLst/>
                <a:cxnLst>
                  <a:cxn ang="0">
                    <a:pos x="35" y="31"/>
                  </a:cxn>
                  <a:cxn ang="0">
                    <a:pos x="34" y="32"/>
                  </a:cxn>
                  <a:cxn ang="0">
                    <a:pos x="14" y="1"/>
                  </a:cxn>
                  <a:cxn ang="0">
                    <a:pos x="38" y="55"/>
                  </a:cxn>
                  <a:cxn ang="0">
                    <a:pos x="38" y="49"/>
                  </a:cxn>
                  <a:cxn ang="0">
                    <a:pos x="37" y="48"/>
                  </a:cxn>
                  <a:cxn ang="0">
                    <a:pos x="34" y="47"/>
                  </a:cxn>
                  <a:cxn ang="0">
                    <a:pos x="34" y="47"/>
                  </a:cxn>
                  <a:cxn ang="0">
                    <a:pos x="33" y="44"/>
                  </a:cxn>
                  <a:cxn ang="0">
                    <a:pos x="32" y="44"/>
                  </a:cxn>
                  <a:cxn ang="0">
                    <a:pos x="30" y="43"/>
                  </a:cxn>
                  <a:cxn ang="0">
                    <a:pos x="25" y="42"/>
                  </a:cxn>
                  <a:cxn ang="0">
                    <a:pos x="27" y="35"/>
                  </a:cxn>
                  <a:cxn ang="0">
                    <a:pos x="29" y="33"/>
                  </a:cxn>
                  <a:cxn ang="0">
                    <a:pos x="32" y="30"/>
                  </a:cxn>
                  <a:cxn ang="0">
                    <a:pos x="33" y="28"/>
                  </a:cxn>
                  <a:cxn ang="0">
                    <a:pos x="33" y="24"/>
                  </a:cxn>
                  <a:cxn ang="0">
                    <a:pos x="33" y="22"/>
                  </a:cxn>
                  <a:cxn ang="0">
                    <a:pos x="31" y="20"/>
                  </a:cxn>
                  <a:cxn ang="0">
                    <a:pos x="28" y="17"/>
                  </a:cxn>
                  <a:cxn ang="0">
                    <a:pos x="31" y="11"/>
                  </a:cxn>
                  <a:cxn ang="0">
                    <a:pos x="33" y="7"/>
                  </a:cxn>
                  <a:cxn ang="0">
                    <a:pos x="32" y="6"/>
                  </a:cxn>
                  <a:cxn ang="0">
                    <a:pos x="31" y="7"/>
                  </a:cxn>
                  <a:cxn ang="0">
                    <a:pos x="29" y="8"/>
                  </a:cxn>
                  <a:cxn ang="0">
                    <a:pos x="26" y="9"/>
                  </a:cxn>
                  <a:cxn ang="0">
                    <a:pos x="25" y="9"/>
                  </a:cxn>
                  <a:cxn ang="0">
                    <a:pos x="26" y="9"/>
                  </a:cxn>
                  <a:cxn ang="0">
                    <a:pos x="26" y="7"/>
                  </a:cxn>
                  <a:cxn ang="0">
                    <a:pos x="25" y="5"/>
                  </a:cxn>
                  <a:cxn ang="0">
                    <a:pos x="26" y="5"/>
                  </a:cxn>
                  <a:cxn ang="0">
                    <a:pos x="22" y="4"/>
                  </a:cxn>
                  <a:cxn ang="0">
                    <a:pos x="22" y="5"/>
                  </a:cxn>
                  <a:cxn ang="0">
                    <a:pos x="21" y="3"/>
                  </a:cxn>
                  <a:cxn ang="0">
                    <a:pos x="17" y="4"/>
                  </a:cxn>
                  <a:cxn ang="0">
                    <a:pos x="13" y="7"/>
                  </a:cxn>
                  <a:cxn ang="0">
                    <a:pos x="10" y="9"/>
                  </a:cxn>
                  <a:cxn ang="0">
                    <a:pos x="7" y="12"/>
                  </a:cxn>
                  <a:cxn ang="0">
                    <a:pos x="8" y="14"/>
                  </a:cxn>
                  <a:cxn ang="0">
                    <a:pos x="8" y="20"/>
                  </a:cxn>
                  <a:cxn ang="0">
                    <a:pos x="8" y="24"/>
                  </a:cxn>
                  <a:cxn ang="0">
                    <a:pos x="9" y="26"/>
                  </a:cxn>
                  <a:cxn ang="0">
                    <a:pos x="7" y="33"/>
                  </a:cxn>
                  <a:cxn ang="0">
                    <a:pos x="4" y="35"/>
                  </a:cxn>
                  <a:cxn ang="0">
                    <a:pos x="1" y="38"/>
                  </a:cxn>
                  <a:cxn ang="0">
                    <a:pos x="2" y="45"/>
                  </a:cxn>
                  <a:cxn ang="0">
                    <a:pos x="3" y="48"/>
                  </a:cxn>
                  <a:cxn ang="0">
                    <a:pos x="8" y="52"/>
                  </a:cxn>
                  <a:cxn ang="0">
                    <a:pos x="13" y="59"/>
                  </a:cxn>
                  <a:cxn ang="0">
                    <a:pos x="17" y="69"/>
                  </a:cxn>
                  <a:cxn ang="0">
                    <a:pos x="22" y="80"/>
                  </a:cxn>
                  <a:cxn ang="0">
                    <a:pos x="26" y="72"/>
                  </a:cxn>
                  <a:cxn ang="0">
                    <a:pos x="27" y="65"/>
                  </a:cxn>
                  <a:cxn ang="0">
                    <a:pos x="30" y="62"/>
                  </a:cxn>
                  <a:cxn ang="0">
                    <a:pos x="34" y="59"/>
                  </a:cxn>
                  <a:cxn ang="0">
                    <a:pos x="38" y="55"/>
                  </a:cxn>
                  <a:cxn ang="0">
                    <a:pos x="30" y="43"/>
                  </a:cxn>
                  <a:cxn ang="0">
                    <a:pos x="32" y="43"/>
                  </a:cxn>
                  <a:cxn ang="0">
                    <a:pos x="32" y="41"/>
                  </a:cxn>
                </a:cxnLst>
                <a:rect l="0" t="0" r="r" b="b"/>
                <a:pathLst>
                  <a:path w="38" h="81">
                    <a:moveTo>
                      <a:pt x="34" y="31"/>
                    </a:moveTo>
                    <a:cubicBezTo>
                      <a:pt x="35" y="31"/>
                      <a:pt x="35" y="30"/>
                      <a:pt x="35" y="31"/>
                    </a:cubicBezTo>
                    <a:cubicBezTo>
                      <a:pt x="35" y="31"/>
                      <a:pt x="35" y="31"/>
                      <a:pt x="35" y="31"/>
                    </a:cubicBezTo>
                    <a:cubicBezTo>
                      <a:pt x="35" y="32"/>
                      <a:pt x="34" y="32"/>
                      <a:pt x="34" y="32"/>
                    </a:cubicBezTo>
                    <a:cubicBezTo>
                      <a:pt x="33" y="32"/>
                      <a:pt x="34" y="32"/>
                      <a:pt x="34" y="31"/>
                    </a:cubicBezTo>
                    <a:close/>
                    <a:moveTo>
                      <a:pt x="14" y="1"/>
                    </a:moveTo>
                    <a:cubicBezTo>
                      <a:pt x="14" y="1"/>
                      <a:pt x="13" y="0"/>
                      <a:pt x="14" y="1"/>
                    </a:cubicBezTo>
                    <a:close/>
                    <a:moveTo>
                      <a:pt x="38" y="55"/>
                    </a:moveTo>
                    <a:cubicBezTo>
                      <a:pt x="37" y="54"/>
                      <a:pt x="37" y="54"/>
                      <a:pt x="37" y="53"/>
                    </a:cubicBezTo>
                    <a:cubicBezTo>
                      <a:pt x="37" y="51"/>
                      <a:pt x="37" y="50"/>
                      <a:pt x="38" y="49"/>
                    </a:cubicBezTo>
                    <a:cubicBezTo>
                      <a:pt x="38" y="49"/>
                      <a:pt x="37" y="48"/>
                      <a:pt x="36" y="48"/>
                    </a:cubicBezTo>
                    <a:cubicBezTo>
                      <a:pt x="36" y="48"/>
                      <a:pt x="36" y="48"/>
                      <a:pt x="37" y="48"/>
                    </a:cubicBezTo>
                    <a:cubicBezTo>
                      <a:pt x="36" y="49"/>
                      <a:pt x="35" y="48"/>
                      <a:pt x="34" y="48"/>
                    </a:cubicBezTo>
                    <a:cubicBezTo>
                      <a:pt x="34" y="48"/>
                      <a:pt x="34" y="48"/>
                      <a:pt x="34" y="47"/>
                    </a:cubicBezTo>
                    <a:cubicBezTo>
                      <a:pt x="34" y="47"/>
                      <a:pt x="35" y="48"/>
                      <a:pt x="35" y="47"/>
                    </a:cubicBezTo>
                    <a:cubicBezTo>
                      <a:pt x="35" y="47"/>
                      <a:pt x="34" y="47"/>
                      <a:pt x="34" y="47"/>
                    </a:cubicBezTo>
                    <a:cubicBezTo>
                      <a:pt x="34" y="46"/>
                      <a:pt x="34" y="47"/>
                      <a:pt x="34" y="46"/>
                    </a:cubicBezTo>
                    <a:cubicBezTo>
                      <a:pt x="34" y="45"/>
                      <a:pt x="34" y="44"/>
                      <a:pt x="33" y="44"/>
                    </a:cubicBezTo>
                    <a:cubicBezTo>
                      <a:pt x="33" y="44"/>
                      <a:pt x="32" y="44"/>
                      <a:pt x="32" y="44"/>
                    </a:cubicBezTo>
                    <a:cubicBezTo>
                      <a:pt x="32" y="44"/>
                      <a:pt x="32" y="44"/>
                      <a:pt x="32" y="44"/>
                    </a:cubicBezTo>
                    <a:cubicBezTo>
                      <a:pt x="32" y="45"/>
                      <a:pt x="31" y="45"/>
                      <a:pt x="30" y="45"/>
                    </a:cubicBezTo>
                    <a:cubicBezTo>
                      <a:pt x="29" y="45"/>
                      <a:pt x="31" y="43"/>
                      <a:pt x="30" y="43"/>
                    </a:cubicBezTo>
                    <a:cubicBezTo>
                      <a:pt x="29" y="43"/>
                      <a:pt x="29" y="44"/>
                      <a:pt x="28" y="43"/>
                    </a:cubicBezTo>
                    <a:cubicBezTo>
                      <a:pt x="27" y="43"/>
                      <a:pt x="26" y="42"/>
                      <a:pt x="25" y="42"/>
                    </a:cubicBezTo>
                    <a:cubicBezTo>
                      <a:pt x="24" y="40"/>
                      <a:pt x="23" y="38"/>
                      <a:pt x="24" y="36"/>
                    </a:cubicBezTo>
                    <a:cubicBezTo>
                      <a:pt x="25" y="36"/>
                      <a:pt x="26" y="36"/>
                      <a:pt x="27" y="35"/>
                    </a:cubicBezTo>
                    <a:cubicBezTo>
                      <a:pt x="27" y="35"/>
                      <a:pt x="27" y="34"/>
                      <a:pt x="28" y="34"/>
                    </a:cubicBezTo>
                    <a:cubicBezTo>
                      <a:pt x="28" y="34"/>
                      <a:pt x="29" y="34"/>
                      <a:pt x="29" y="33"/>
                    </a:cubicBezTo>
                    <a:cubicBezTo>
                      <a:pt x="29" y="33"/>
                      <a:pt x="30" y="32"/>
                      <a:pt x="30" y="32"/>
                    </a:cubicBezTo>
                    <a:cubicBezTo>
                      <a:pt x="31" y="31"/>
                      <a:pt x="31" y="31"/>
                      <a:pt x="32" y="30"/>
                    </a:cubicBezTo>
                    <a:cubicBezTo>
                      <a:pt x="32" y="29"/>
                      <a:pt x="32" y="29"/>
                      <a:pt x="32" y="29"/>
                    </a:cubicBezTo>
                    <a:cubicBezTo>
                      <a:pt x="32" y="28"/>
                      <a:pt x="33" y="28"/>
                      <a:pt x="33" y="28"/>
                    </a:cubicBezTo>
                    <a:cubicBezTo>
                      <a:pt x="33" y="27"/>
                      <a:pt x="33" y="26"/>
                      <a:pt x="34" y="26"/>
                    </a:cubicBezTo>
                    <a:cubicBezTo>
                      <a:pt x="33" y="25"/>
                      <a:pt x="33" y="25"/>
                      <a:pt x="33" y="24"/>
                    </a:cubicBezTo>
                    <a:cubicBezTo>
                      <a:pt x="33" y="23"/>
                      <a:pt x="33" y="23"/>
                      <a:pt x="33" y="23"/>
                    </a:cubicBezTo>
                    <a:cubicBezTo>
                      <a:pt x="33" y="22"/>
                      <a:pt x="33" y="22"/>
                      <a:pt x="33" y="22"/>
                    </a:cubicBezTo>
                    <a:cubicBezTo>
                      <a:pt x="33" y="21"/>
                      <a:pt x="31" y="21"/>
                      <a:pt x="31" y="21"/>
                    </a:cubicBezTo>
                    <a:cubicBezTo>
                      <a:pt x="31" y="21"/>
                      <a:pt x="31" y="20"/>
                      <a:pt x="31" y="20"/>
                    </a:cubicBezTo>
                    <a:cubicBezTo>
                      <a:pt x="30" y="20"/>
                      <a:pt x="30" y="20"/>
                      <a:pt x="30" y="20"/>
                    </a:cubicBezTo>
                    <a:cubicBezTo>
                      <a:pt x="29" y="19"/>
                      <a:pt x="28" y="18"/>
                      <a:pt x="28" y="17"/>
                    </a:cubicBezTo>
                    <a:cubicBezTo>
                      <a:pt x="28" y="17"/>
                      <a:pt x="28" y="16"/>
                      <a:pt x="28" y="15"/>
                    </a:cubicBezTo>
                    <a:cubicBezTo>
                      <a:pt x="28" y="13"/>
                      <a:pt x="31" y="13"/>
                      <a:pt x="31" y="11"/>
                    </a:cubicBezTo>
                    <a:cubicBezTo>
                      <a:pt x="32" y="11"/>
                      <a:pt x="32" y="9"/>
                      <a:pt x="33" y="8"/>
                    </a:cubicBezTo>
                    <a:cubicBezTo>
                      <a:pt x="34" y="8"/>
                      <a:pt x="34" y="8"/>
                      <a:pt x="33" y="7"/>
                    </a:cubicBezTo>
                    <a:cubicBezTo>
                      <a:pt x="33" y="7"/>
                      <a:pt x="33" y="6"/>
                      <a:pt x="33" y="6"/>
                    </a:cubicBezTo>
                    <a:cubicBezTo>
                      <a:pt x="33" y="6"/>
                      <a:pt x="32" y="6"/>
                      <a:pt x="32" y="6"/>
                    </a:cubicBezTo>
                    <a:cubicBezTo>
                      <a:pt x="31" y="6"/>
                      <a:pt x="31" y="7"/>
                      <a:pt x="31" y="7"/>
                    </a:cubicBezTo>
                    <a:cubicBezTo>
                      <a:pt x="31" y="7"/>
                      <a:pt x="31" y="7"/>
                      <a:pt x="31" y="7"/>
                    </a:cubicBezTo>
                    <a:cubicBezTo>
                      <a:pt x="30" y="8"/>
                      <a:pt x="30" y="8"/>
                      <a:pt x="30" y="8"/>
                    </a:cubicBezTo>
                    <a:cubicBezTo>
                      <a:pt x="29" y="8"/>
                      <a:pt x="29" y="8"/>
                      <a:pt x="29" y="8"/>
                    </a:cubicBezTo>
                    <a:cubicBezTo>
                      <a:pt x="28" y="9"/>
                      <a:pt x="28" y="9"/>
                      <a:pt x="28" y="9"/>
                    </a:cubicBezTo>
                    <a:cubicBezTo>
                      <a:pt x="27" y="10"/>
                      <a:pt x="27" y="10"/>
                      <a:pt x="26" y="9"/>
                    </a:cubicBezTo>
                    <a:cubicBezTo>
                      <a:pt x="26" y="9"/>
                      <a:pt x="26" y="9"/>
                      <a:pt x="26" y="9"/>
                    </a:cubicBezTo>
                    <a:cubicBezTo>
                      <a:pt x="25" y="9"/>
                      <a:pt x="25" y="9"/>
                      <a:pt x="25" y="9"/>
                    </a:cubicBezTo>
                    <a:cubicBezTo>
                      <a:pt x="26" y="8"/>
                      <a:pt x="26" y="8"/>
                      <a:pt x="26" y="8"/>
                    </a:cubicBezTo>
                    <a:cubicBezTo>
                      <a:pt x="26" y="9"/>
                      <a:pt x="26" y="9"/>
                      <a:pt x="26" y="9"/>
                    </a:cubicBezTo>
                    <a:cubicBezTo>
                      <a:pt x="26" y="9"/>
                      <a:pt x="27" y="8"/>
                      <a:pt x="27" y="8"/>
                    </a:cubicBezTo>
                    <a:cubicBezTo>
                      <a:pt x="26" y="8"/>
                      <a:pt x="26" y="7"/>
                      <a:pt x="26" y="7"/>
                    </a:cubicBezTo>
                    <a:cubicBezTo>
                      <a:pt x="25" y="7"/>
                      <a:pt x="25" y="6"/>
                      <a:pt x="25" y="6"/>
                    </a:cubicBezTo>
                    <a:cubicBezTo>
                      <a:pt x="26" y="5"/>
                      <a:pt x="24" y="5"/>
                      <a:pt x="25" y="5"/>
                    </a:cubicBezTo>
                    <a:cubicBezTo>
                      <a:pt x="25" y="5"/>
                      <a:pt x="25" y="5"/>
                      <a:pt x="25" y="5"/>
                    </a:cubicBezTo>
                    <a:cubicBezTo>
                      <a:pt x="26" y="5"/>
                      <a:pt x="26" y="5"/>
                      <a:pt x="26" y="5"/>
                    </a:cubicBezTo>
                    <a:cubicBezTo>
                      <a:pt x="25" y="5"/>
                      <a:pt x="24" y="3"/>
                      <a:pt x="24" y="4"/>
                    </a:cubicBezTo>
                    <a:cubicBezTo>
                      <a:pt x="23" y="4"/>
                      <a:pt x="22" y="4"/>
                      <a:pt x="22" y="4"/>
                    </a:cubicBezTo>
                    <a:cubicBezTo>
                      <a:pt x="22" y="4"/>
                      <a:pt x="23" y="4"/>
                      <a:pt x="23" y="4"/>
                    </a:cubicBezTo>
                    <a:cubicBezTo>
                      <a:pt x="23" y="5"/>
                      <a:pt x="23" y="5"/>
                      <a:pt x="22" y="5"/>
                    </a:cubicBezTo>
                    <a:cubicBezTo>
                      <a:pt x="21" y="5"/>
                      <a:pt x="22" y="4"/>
                      <a:pt x="22" y="4"/>
                    </a:cubicBezTo>
                    <a:cubicBezTo>
                      <a:pt x="23" y="3"/>
                      <a:pt x="22" y="3"/>
                      <a:pt x="21" y="3"/>
                    </a:cubicBezTo>
                    <a:cubicBezTo>
                      <a:pt x="21" y="3"/>
                      <a:pt x="20" y="3"/>
                      <a:pt x="19" y="3"/>
                    </a:cubicBezTo>
                    <a:cubicBezTo>
                      <a:pt x="19" y="4"/>
                      <a:pt x="18" y="4"/>
                      <a:pt x="17" y="4"/>
                    </a:cubicBezTo>
                    <a:cubicBezTo>
                      <a:pt x="16" y="4"/>
                      <a:pt x="16" y="5"/>
                      <a:pt x="15" y="5"/>
                    </a:cubicBezTo>
                    <a:cubicBezTo>
                      <a:pt x="14" y="5"/>
                      <a:pt x="14" y="6"/>
                      <a:pt x="13" y="7"/>
                    </a:cubicBezTo>
                    <a:cubicBezTo>
                      <a:pt x="12" y="7"/>
                      <a:pt x="10" y="7"/>
                      <a:pt x="11" y="8"/>
                    </a:cubicBezTo>
                    <a:cubicBezTo>
                      <a:pt x="12" y="9"/>
                      <a:pt x="10" y="9"/>
                      <a:pt x="10" y="9"/>
                    </a:cubicBezTo>
                    <a:cubicBezTo>
                      <a:pt x="9" y="9"/>
                      <a:pt x="10" y="9"/>
                      <a:pt x="10" y="10"/>
                    </a:cubicBezTo>
                    <a:cubicBezTo>
                      <a:pt x="9" y="11"/>
                      <a:pt x="8" y="11"/>
                      <a:pt x="7" y="12"/>
                    </a:cubicBezTo>
                    <a:cubicBezTo>
                      <a:pt x="6" y="12"/>
                      <a:pt x="8" y="12"/>
                      <a:pt x="8" y="13"/>
                    </a:cubicBezTo>
                    <a:cubicBezTo>
                      <a:pt x="9" y="13"/>
                      <a:pt x="9" y="14"/>
                      <a:pt x="8" y="14"/>
                    </a:cubicBezTo>
                    <a:cubicBezTo>
                      <a:pt x="8" y="15"/>
                      <a:pt x="8" y="15"/>
                      <a:pt x="8" y="16"/>
                    </a:cubicBezTo>
                    <a:cubicBezTo>
                      <a:pt x="8" y="17"/>
                      <a:pt x="7" y="19"/>
                      <a:pt x="8" y="20"/>
                    </a:cubicBezTo>
                    <a:cubicBezTo>
                      <a:pt x="8" y="21"/>
                      <a:pt x="8" y="21"/>
                      <a:pt x="8" y="22"/>
                    </a:cubicBezTo>
                    <a:cubicBezTo>
                      <a:pt x="9" y="23"/>
                      <a:pt x="8" y="23"/>
                      <a:pt x="8" y="24"/>
                    </a:cubicBezTo>
                    <a:cubicBezTo>
                      <a:pt x="8" y="25"/>
                      <a:pt x="8" y="25"/>
                      <a:pt x="9" y="26"/>
                    </a:cubicBezTo>
                    <a:cubicBezTo>
                      <a:pt x="9" y="26"/>
                      <a:pt x="9" y="26"/>
                      <a:pt x="9" y="26"/>
                    </a:cubicBezTo>
                    <a:cubicBezTo>
                      <a:pt x="8" y="27"/>
                      <a:pt x="7" y="29"/>
                      <a:pt x="8" y="30"/>
                    </a:cubicBezTo>
                    <a:cubicBezTo>
                      <a:pt x="8" y="31"/>
                      <a:pt x="8" y="32"/>
                      <a:pt x="7" y="33"/>
                    </a:cubicBezTo>
                    <a:cubicBezTo>
                      <a:pt x="6" y="33"/>
                      <a:pt x="6" y="34"/>
                      <a:pt x="5" y="34"/>
                    </a:cubicBezTo>
                    <a:cubicBezTo>
                      <a:pt x="5" y="34"/>
                      <a:pt x="4" y="35"/>
                      <a:pt x="4" y="35"/>
                    </a:cubicBezTo>
                    <a:cubicBezTo>
                      <a:pt x="3" y="36"/>
                      <a:pt x="4" y="37"/>
                      <a:pt x="3" y="37"/>
                    </a:cubicBezTo>
                    <a:cubicBezTo>
                      <a:pt x="2" y="37"/>
                      <a:pt x="2" y="38"/>
                      <a:pt x="1" y="38"/>
                    </a:cubicBezTo>
                    <a:cubicBezTo>
                      <a:pt x="0" y="39"/>
                      <a:pt x="0" y="41"/>
                      <a:pt x="1" y="43"/>
                    </a:cubicBezTo>
                    <a:cubicBezTo>
                      <a:pt x="1" y="44"/>
                      <a:pt x="2" y="44"/>
                      <a:pt x="2" y="45"/>
                    </a:cubicBezTo>
                    <a:cubicBezTo>
                      <a:pt x="2" y="46"/>
                      <a:pt x="3" y="46"/>
                      <a:pt x="3" y="47"/>
                    </a:cubicBezTo>
                    <a:cubicBezTo>
                      <a:pt x="2" y="48"/>
                      <a:pt x="3" y="48"/>
                      <a:pt x="3" y="48"/>
                    </a:cubicBezTo>
                    <a:cubicBezTo>
                      <a:pt x="4" y="49"/>
                      <a:pt x="5" y="49"/>
                      <a:pt x="5" y="49"/>
                    </a:cubicBezTo>
                    <a:cubicBezTo>
                      <a:pt x="6" y="50"/>
                      <a:pt x="7" y="51"/>
                      <a:pt x="8" y="52"/>
                    </a:cubicBezTo>
                    <a:cubicBezTo>
                      <a:pt x="8" y="53"/>
                      <a:pt x="8" y="55"/>
                      <a:pt x="9" y="56"/>
                    </a:cubicBezTo>
                    <a:cubicBezTo>
                      <a:pt x="10" y="57"/>
                      <a:pt x="12" y="58"/>
                      <a:pt x="13" y="59"/>
                    </a:cubicBezTo>
                    <a:cubicBezTo>
                      <a:pt x="15" y="60"/>
                      <a:pt x="15" y="61"/>
                      <a:pt x="15" y="63"/>
                    </a:cubicBezTo>
                    <a:cubicBezTo>
                      <a:pt x="16" y="65"/>
                      <a:pt x="16" y="67"/>
                      <a:pt x="17" y="69"/>
                    </a:cubicBezTo>
                    <a:cubicBezTo>
                      <a:pt x="17" y="73"/>
                      <a:pt x="18" y="77"/>
                      <a:pt x="19" y="81"/>
                    </a:cubicBezTo>
                    <a:cubicBezTo>
                      <a:pt x="20" y="80"/>
                      <a:pt x="21" y="80"/>
                      <a:pt x="22" y="80"/>
                    </a:cubicBezTo>
                    <a:cubicBezTo>
                      <a:pt x="23" y="79"/>
                      <a:pt x="23" y="78"/>
                      <a:pt x="24" y="78"/>
                    </a:cubicBezTo>
                    <a:cubicBezTo>
                      <a:pt x="25" y="76"/>
                      <a:pt x="26" y="74"/>
                      <a:pt x="26" y="72"/>
                    </a:cubicBezTo>
                    <a:cubicBezTo>
                      <a:pt x="25" y="70"/>
                      <a:pt x="24" y="68"/>
                      <a:pt x="25" y="66"/>
                    </a:cubicBezTo>
                    <a:cubicBezTo>
                      <a:pt x="26" y="65"/>
                      <a:pt x="26" y="65"/>
                      <a:pt x="27" y="65"/>
                    </a:cubicBezTo>
                    <a:cubicBezTo>
                      <a:pt x="28" y="65"/>
                      <a:pt x="29" y="64"/>
                      <a:pt x="29" y="63"/>
                    </a:cubicBezTo>
                    <a:cubicBezTo>
                      <a:pt x="29" y="62"/>
                      <a:pt x="29" y="62"/>
                      <a:pt x="30" y="62"/>
                    </a:cubicBezTo>
                    <a:cubicBezTo>
                      <a:pt x="31" y="62"/>
                      <a:pt x="31" y="61"/>
                      <a:pt x="32" y="60"/>
                    </a:cubicBezTo>
                    <a:cubicBezTo>
                      <a:pt x="32" y="60"/>
                      <a:pt x="33" y="59"/>
                      <a:pt x="34" y="59"/>
                    </a:cubicBezTo>
                    <a:cubicBezTo>
                      <a:pt x="35" y="58"/>
                      <a:pt x="36" y="58"/>
                      <a:pt x="37" y="57"/>
                    </a:cubicBezTo>
                    <a:cubicBezTo>
                      <a:pt x="38" y="57"/>
                      <a:pt x="38" y="56"/>
                      <a:pt x="38" y="55"/>
                    </a:cubicBezTo>
                    <a:close/>
                    <a:moveTo>
                      <a:pt x="30" y="41"/>
                    </a:moveTo>
                    <a:cubicBezTo>
                      <a:pt x="30" y="41"/>
                      <a:pt x="30" y="43"/>
                      <a:pt x="30" y="43"/>
                    </a:cubicBezTo>
                    <a:cubicBezTo>
                      <a:pt x="31" y="42"/>
                      <a:pt x="31" y="43"/>
                      <a:pt x="31" y="44"/>
                    </a:cubicBezTo>
                    <a:cubicBezTo>
                      <a:pt x="31" y="43"/>
                      <a:pt x="32" y="42"/>
                      <a:pt x="32" y="43"/>
                    </a:cubicBezTo>
                    <a:cubicBezTo>
                      <a:pt x="32" y="43"/>
                      <a:pt x="33" y="42"/>
                      <a:pt x="33" y="42"/>
                    </a:cubicBezTo>
                    <a:cubicBezTo>
                      <a:pt x="33" y="42"/>
                      <a:pt x="33" y="41"/>
                      <a:pt x="32" y="41"/>
                    </a:cubicBezTo>
                    <a:cubicBezTo>
                      <a:pt x="32" y="41"/>
                      <a:pt x="31" y="41"/>
                      <a:pt x="30" y="4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5" name="Trinidad and Tobago">
                <a:extLst>
                  <a:ext uri="{FF2B5EF4-FFF2-40B4-BE49-F238E27FC236}">
                    <a16:creationId xmlns:a16="http://schemas.microsoft.com/office/drawing/2014/main" id="{5CBA9E3E-CE97-4186-2576-5790EE20C6E3}"/>
                  </a:ext>
                </a:extLst>
              </p:cNvPr>
              <p:cNvSpPr>
                <a:spLocks noEditPoints="1"/>
              </p:cNvSpPr>
              <p:nvPr/>
            </p:nvSpPr>
            <p:spPr bwMode="auto">
              <a:xfrm>
                <a:off x="3576587" y="3604255"/>
                <a:ext cx="52928" cy="49989"/>
              </a:xfrm>
              <a:custGeom>
                <a:avLst/>
                <a:gdLst/>
                <a:ahLst/>
                <a:cxnLst>
                  <a:cxn ang="0">
                    <a:pos x="10" y="6"/>
                  </a:cxn>
                  <a:cxn ang="0">
                    <a:pos x="9" y="7"/>
                  </a:cxn>
                  <a:cxn ang="0">
                    <a:pos x="9" y="8"/>
                  </a:cxn>
                  <a:cxn ang="0">
                    <a:pos x="9" y="9"/>
                  </a:cxn>
                  <a:cxn ang="0">
                    <a:pos x="10" y="11"/>
                  </a:cxn>
                  <a:cxn ang="0">
                    <a:pos x="10" y="11"/>
                  </a:cxn>
                  <a:cxn ang="0">
                    <a:pos x="10" y="12"/>
                  </a:cxn>
                  <a:cxn ang="0">
                    <a:pos x="9" y="13"/>
                  </a:cxn>
                  <a:cxn ang="0">
                    <a:pos x="8" y="14"/>
                  </a:cxn>
                  <a:cxn ang="0">
                    <a:pos x="6" y="14"/>
                  </a:cxn>
                  <a:cxn ang="0">
                    <a:pos x="5" y="14"/>
                  </a:cxn>
                  <a:cxn ang="0">
                    <a:pos x="3" y="14"/>
                  </a:cxn>
                  <a:cxn ang="0">
                    <a:pos x="2" y="14"/>
                  </a:cxn>
                  <a:cxn ang="0">
                    <a:pos x="1" y="14"/>
                  </a:cxn>
                  <a:cxn ang="0">
                    <a:pos x="1" y="13"/>
                  </a:cxn>
                  <a:cxn ang="0">
                    <a:pos x="1" y="13"/>
                  </a:cxn>
                  <a:cxn ang="0">
                    <a:pos x="2" y="13"/>
                  </a:cxn>
                  <a:cxn ang="0">
                    <a:pos x="3" y="12"/>
                  </a:cxn>
                  <a:cxn ang="0">
                    <a:pos x="4" y="12"/>
                  </a:cxn>
                  <a:cxn ang="0">
                    <a:pos x="5" y="12"/>
                  </a:cxn>
                  <a:cxn ang="0">
                    <a:pos x="5" y="10"/>
                  </a:cxn>
                  <a:cxn ang="0">
                    <a:pos x="5" y="9"/>
                  </a:cxn>
                  <a:cxn ang="0">
                    <a:pos x="4" y="7"/>
                  </a:cxn>
                  <a:cxn ang="0">
                    <a:pos x="3" y="7"/>
                  </a:cxn>
                  <a:cxn ang="0">
                    <a:pos x="4" y="6"/>
                  </a:cxn>
                  <a:cxn ang="0">
                    <a:pos x="6" y="6"/>
                  </a:cxn>
                  <a:cxn ang="0">
                    <a:pos x="7" y="6"/>
                  </a:cxn>
                  <a:cxn ang="0">
                    <a:pos x="8" y="6"/>
                  </a:cxn>
                  <a:cxn ang="0">
                    <a:pos x="9" y="5"/>
                  </a:cxn>
                  <a:cxn ang="0">
                    <a:pos x="10" y="5"/>
                  </a:cxn>
                  <a:cxn ang="0">
                    <a:pos x="11" y="6"/>
                  </a:cxn>
                  <a:cxn ang="0">
                    <a:pos x="10" y="6"/>
                  </a:cxn>
                  <a:cxn ang="0">
                    <a:pos x="15" y="0"/>
                  </a:cxn>
                  <a:cxn ang="0">
                    <a:pos x="13" y="0"/>
                  </a:cxn>
                  <a:cxn ang="0">
                    <a:pos x="12" y="1"/>
                  </a:cxn>
                  <a:cxn ang="0">
                    <a:pos x="12" y="2"/>
                  </a:cxn>
                  <a:cxn ang="0">
                    <a:pos x="13" y="1"/>
                  </a:cxn>
                  <a:cxn ang="0">
                    <a:pos x="15" y="0"/>
                  </a:cxn>
                  <a:cxn ang="0">
                    <a:pos x="15" y="0"/>
                  </a:cxn>
                </a:cxnLst>
                <a:rect l="0" t="0" r="r" b="b"/>
                <a:pathLst>
                  <a:path w="15" h="14">
                    <a:moveTo>
                      <a:pt x="10" y="6"/>
                    </a:moveTo>
                    <a:cubicBezTo>
                      <a:pt x="10" y="7"/>
                      <a:pt x="9" y="7"/>
                      <a:pt x="9" y="7"/>
                    </a:cubicBezTo>
                    <a:cubicBezTo>
                      <a:pt x="9" y="8"/>
                      <a:pt x="10" y="8"/>
                      <a:pt x="9" y="8"/>
                    </a:cubicBezTo>
                    <a:cubicBezTo>
                      <a:pt x="9" y="8"/>
                      <a:pt x="9" y="9"/>
                      <a:pt x="9" y="9"/>
                    </a:cubicBezTo>
                    <a:cubicBezTo>
                      <a:pt x="9" y="9"/>
                      <a:pt x="9" y="10"/>
                      <a:pt x="10" y="11"/>
                    </a:cubicBezTo>
                    <a:cubicBezTo>
                      <a:pt x="10" y="11"/>
                      <a:pt x="10" y="11"/>
                      <a:pt x="10" y="11"/>
                    </a:cubicBezTo>
                    <a:cubicBezTo>
                      <a:pt x="10" y="11"/>
                      <a:pt x="10" y="11"/>
                      <a:pt x="10" y="12"/>
                    </a:cubicBezTo>
                    <a:cubicBezTo>
                      <a:pt x="9" y="12"/>
                      <a:pt x="10" y="12"/>
                      <a:pt x="9" y="13"/>
                    </a:cubicBezTo>
                    <a:cubicBezTo>
                      <a:pt x="9" y="13"/>
                      <a:pt x="8" y="13"/>
                      <a:pt x="8" y="14"/>
                    </a:cubicBezTo>
                    <a:cubicBezTo>
                      <a:pt x="7" y="14"/>
                      <a:pt x="7" y="14"/>
                      <a:pt x="6" y="14"/>
                    </a:cubicBezTo>
                    <a:cubicBezTo>
                      <a:pt x="6" y="14"/>
                      <a:pt x="6" y="14"/>
                      <a:pt x="5" y="14"/>
                    </a:cubicBezTo>
                    <a:cubicBezTo>
                      <a:pt x="5" y="14"/>
                      <a:pt x="4" y="14"/>
                      <a:pt x="3" y="14"/>
                    </a:cubicBezTo>
                    <a:cubicBezTo>
                      <a:pt x="3" y="14"/>
                      <a:pt x="3" y="14"/>
                      <a:pt x="2" y="14"/>
                    </a:cubicBezTo>
                    <a:cubicBezTo>
                      <a:pt x="2" y="13"/>
                      <a:pt x="2" y="13"/>
                      <a:pt x="1" y="14"/>
                    </a:cubicBezTo>
                    <a:cubicBezTo>
                      <a:pt x="1" y="14"/>
                      <a:pt x="0" y="14"/>
                      <a:pt x="1" y="13"/>
                    </a:cubicBezTo>
                    <a:cubicBezTo>
                      <a:pt x="1" y="13"/>
                      <a:pt x="1" y="13"/>
                      <a:pt x="1" y="13"/>
                    </a:cubicBezTo>
                    <a:cubicBezTo>
                      <a:pt x="2" y="13"/>
                      <a:pt x="2" y="13"/>
                      <a:pt x="2" y="13"/>
                    </a:cubicBezTo>
                    <a:cubicBezTo>
                      <a:pt x="3" y="12"/>
                      <a:pt x="3" y="12"/>
                      <a:pt x="3" y="12"/>
                    </a:cubicBezTo>
                    <a:cubicBezTo>
                      <a:pt x="4" y="12"/>
                      <a:pt x="3" y="12"/>
                      <a:pt x="4" y="12"/>
                    </a:cubicBezTo>
                    <a:cubicBezTo>
                      <a:pt x="4" y="12"/>
                      <a:pt x="5" y="12"/>
                      <a:pt x="5" y="12"/>
                    </a:cubicBezTo>
                    <a:cubicBezTo>
                      <a:pt x="5" y="11"/>
                      <a:pt x="5" y="11"/>
                      <a:pt x="5" y="10"/>
                    </a:cubicBezTo>
                    <a:cubicBezTo>
                      <a:pt x="5" y="10"/>
                      <a:pt x="5" y="9"/>
                      <a:pt x="5" y="9"/>
                    </a:cubicBezTo>
                    <a:cubicBezTo>
                      <a:pt x="5" y="8"/>
                      <a:pt x="5" y="7"/>
                      <a:pt x="4" y="7"/>
                    </a:cubicBezTo>
                    <a:cubicBezTo>
                      <a:pt x="4" y="7"/>
                      <a:pt x="3" y="7"/>
                      <a:pt x="3" y="7"/>
                    </a:cubicBezTo>
                    <a:cubicBezTo>
                      <a:pt x="4" y="6"/>
                      <a:pt x="4" y="6"/>
                      <a:pt x="4" y="6"/>
                    </a:cubicBezTo>
                    <a:cubicBezTo>
                      <a:pt x="5" y="6"/>
                      <a:pt x="6" y="6"/>
                      <a:pt x="6" y="6"/>
                    </a:cubicBezTo>
                    <a:cubicBezTo>
                      <a:pt x="6" y="6"/>
                      <a:pt x="6" y="6"/>
                      <a:pt x="7" y="6"/>
                    </a:cubicBezTo>
                    <a:cubicBezTo>
                      <a:pt x="7" y="6"/>
                      <a:pt x="8" y="6"/>
                      <a:pt x="8" y="6"/>
                    </a:cubicBezTo>
                    <a:cubicBezTo>
                      <a:pt x="9" y="5"/>
                      <a:pt x="9" y="5"/>
                      <a:pt x="9" y="5"/>
                    </a:cubicBezTo>
                    <a:cubicBezTo>
                      <a:pt x="9" y="5"/>
                      <a:pt x="9" y="5"/>
                      <a:pt x="10" y="5"/>
                    </a:cubicBezTo>
                    <a:cubicBezTo>
                      <a:pt x="11" y="5"/>
                      <a:pt x="11" y="5"/>
                      <a:pt x="11" y="6"/>
                    </a:cubicBezTo>
                    <a:cubicBezTo>
                      <a:pt x="11" y="6"/>
                      <a:pt x="10" y="6"/>
                      <a:pt x="10" y="6"/>
                    </a:cubicBezTo>
                    <a:close/>
                    <a:moveTo>
                      <a:pt x="15" y="0"/>
                    </a:moveTo>
                    <a:cubicBezTo>
                      <a:pt x="14" y="0"/>
                      <a:pt x="14" y="0"/>
                      <a:pt x="13" y="0"/>
                    </a:cubicBezTo>
                    <a:cubicBezTo>
                      <a:pt x="13" y="0"/>
                      <a:pt x="12" y="1"/>
                      <a:pt x="12" y="1"/>
                    </a:cubicBezTo>
                    <a:cubicBezTo>
                      <a:pt x="12" y="2"/>
                      <a:pt x="11" y="2"/>
                      <a:pt x="12" y="2"/>
                    </a:cubicBezTo>
                    <a:cubicBezTo>
                      <a:pt x="12" y="2"/>
                      <a:pt x="13" y="1"/>
                      <a:pt x="13" y="1"/>
                    </a:cubicBezTo>
                    <a:cubicBezTo>
                      <a:pt x="14" y="1"/>
                      <a:pt x="15" y="1"/>
                      <a:pt x="15" y="0"/>
                    </a:cubicBezTo>
                    <a:cubicBezTo>
                      <a:pt x="15" y="0"/>
                      <a:pt x="15" y="0"/>
                      <a:pt x="15"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6" name="Tonga">
                <a:extLst>
                  <a:ext uri="{FF2B5EF4-FFF2-40B4-BE49-F238E27FC236}">
                    <a16:creationId xmlns:a16="http://schemas.microsoft.com/office/drawing/2014/main" id="{B2502854-CB69-4E34-4286-810ABCE1B3C6}"/>
                  </a:ext>
                </a:extLst>
              </p:cNvPr>
              <p:cNvSpPr>
                <a:spLocks noEditPoints="1"/>
              </p:cNvSpPr>
              <p:nvPr/>
            </p:nvSpPr>
            <p:spPr bwMode="auto">
              <a:xfrm>
                <a:off x="11562400" y="4801323"/>
                <a:ext cx="95076" cy="120560"/>
              </a:xfrm>
              <a:custGeom>
                <a:avLst/>
                <a:gdLst/>
                <a:ahLst/>
                <a:cxnLst>
                  <a:cxn ang="0">
                    <a:pos x="0" y="0"/>
                  </a:cxn>
                  <a:cxn ang="0">
                    <a:pos x="0" y="0"/>
                  </a:cxn>
                  <a:cxn ang="0">
                    <a:pos x="26" y="33"/>
                  </a:cxn>
                  <a:cxn ang="0">
                    <a:pos x="26" y="34"/>
                  </a:cxn>
                  <a:cxn ang="0">
                    <a:pos x="26" y="33"/>
                  </a:cxn>
                  <a:cxn ang="0">
                    <a:pos x="9" y="4"/>
                  </a:cxn>
                  <a:cxn ang="0">
                    <a:pos x="9" y="4"/>
                  </a:cxn>
                  <a:cxn ang="0">
                    <a:pos x="9" y="4"/>
                  </a:cxn>
                  <a:cxn ang="0">
                    <a:pos x="17" y="11"/>
                  </a:cxn>
                  <a:cxn ang="0">
                    <a:pos x="17" y="11"/>
                  </a:cxn>
                  <a:cxn ang="0">
                    <a:pos x="17" y="11"/>
                  </a:cxn>
                  <a:cxn ang="0">
                    <a:pos x="23" y="11"/>
                  </a:cxn>
                  <a:cxn ang="0">
                    <a:pos x="22" y="10"/>
                  </a:cxn>
                  <a:cxn ang="0">
                    <a:pos x="23" y="11"/>
                  </a:cxn>
                  <a:cxn ang="0">
                    <a:pos x="19" y="13"/>
                  </a:cxn>
                  <a:cxn ang="0">
                    <a:pos x="19" y="13"/>
                  </a:cxn>
                  <a:cxn ang="0">
                    <a:pos x="6" y="26"/>
                  </a:cxn>
                  <a:cxn ang="0">
                    <a:pos x="7" y="26"/>
                  </a:cxn>
                  <a:cxn ang="0">
                    <a:pos x="6" y="26"/>
                  </a:cxn>
                  <a:cxn ang="0">
                    <a:pos x="27" y="15"/>
                  </a:cxn>
                  <a:cxn ang="0">
                    <a:pos x="27" y="15"/>
                  </a:cxn>
                </a:cxnLst>
                <a:rect l="0" t="0" r="r" b="b"/>
                <a:pathLst>
                  <a:path w="27" h="34">
                    <a:moveTo>
                      <a:pt x="0" y="0"/>
                    </a:moveTo>
                    <a:cubicBezTo>
                      <a:pt x="0" y="0"/>
                      <a:pt x="0" y="0"/>
                      <a:pt x="0" y="0"/>
                    </a:cubicBezTo>
                    <a:close/>
                    <a:moveTo>
                      <a:pt x="26" y="33"/>
                    </a:moveTo>
                    <a:cubicBezTo>
                      <a:pt x="26" y="33"/>
                      <a:pt x="26" y="34"/>
                      <a:pt x="26" y="34"/>
                    </a:cubicBezTo>
                    <a:cubicBezTo>
                      <a:pt x="27" y="34"/>
                      <a:pt x="27" y="33"/>
                      <a:pt x="26" y="33"/>
                    </a:cubicBezTo>
                    <a:close/>
                    <a:moveTo>
                      <a:pt x="9" y="4"/>
                    </a:moveTo>
                    <a:cubicBezTo>
                      <a:pt x="9" y="4"/>
                      <a:pt x="9" y="4"/>
                      <a:pt x="9" y="4"/>
                    </a:cubicBezTo>
                    <a:cubicBezTo>
                      <a:pt x="9" y="4"/>
                      <a:pt x="9" y="4"/>
                      <a:pt x="9" y="4"/>
                    </a:cubicBezTo>
                    <a:close/>
                    <a:moveTo>
                      <a:pt x="17" y="11"/>
                    </a:moveTo>
                    <a:cubicBezTo>
                      <a:pt x="17" y="11"/>
                      <a:pt x="17" y="11"/>
                      <a:pt x="17" y="11"/>
                    </a:cubicBezTo>
                    <a:cubicBezTo>
                      <a:pt x="17" y="11"/>
                      <a:pt x="17" y="11"/>
                      <a:pt x="17" y="11"/>
                    </a:cubicBezTo>
                    <a:close/>
                    <a:moveTo>
                      <a:pt x="23" y="11"/>
                    </a:moveTo>
                    <a:cubicBezTo>
                      <a:pt x="23" y="11"/>
                      <a:pt x="22" y="10"/>
                      <a:pt x="22" y="10"/>
                    </a:cubicBezTo>
                    <a:cubicBezTo>
                      <a:pt x="22" y="10"/>
                      <a:pt x="22" y="11"/>
                      <a:pt x="23" y="11"/>
                    </a:cubicBezTo>
                    <a:close/>
                    <a:moveTo>
                      <a:pt x="19" y="13"/>
                    </a:moveTo>
                    <a:cubicBezTo>
                      <a:pt x="20" y="13"/>
                      <a:pt x="18" y="12"/>
                      <a:pt x="19" y="13"/>
                    </a:cubicBezTo>
                    <a:close/>
                    <a:moveTo>
                      <a:pt x="6" y="26"/>
                    </a:moveTo>
                    <a:cubicBezTo>
                      <a:pt x="6" y="26"/>
                      <a:pt x="7" y="26"/>
                      <a:pt x="7" y="26"/>
                    </a:cubicBezTo>
                    <a:cubicBezTo>
                      <a:pt x="7" y="26"/>
                      <a:pt x="6" y="25"/>
                      <a:pt x="6" y="26"/>
                    </a:cubicBezTo>
                    <a:close/>
                    <a:moveTo>
                      <a:pt x="27" y="15"/>
                    </a:moveTo>
                    <a:cubicBezTo>
                      <a:pt x="27" y="14"/>
                      <a:pt x="26" y="14"/>
                      <a:pt x="27" y="1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7" name="Tokelau">
                <a:extLst>
                  <a:ext uri="{FF2B5EF4-FFF2-40B4-BE49-F238E27FC236}">
                    <a16:creationId xmlns:a16="http://schemas.microsoft.com/office/drawing/2014/main" id="{C77B7949-68D1-C522-4267-19518865CB5D}"/>
                  </a:ext>
                </a:extLst>
              </p:cNvPr>
              <p:cNvSpPr/>
              <p:nvPr/>
            </p:nvSpPr>
            <p:spPr>
              <a:xfrm>
                <a:off x="11642302" y="4682234"/>
                <a:ext cx="28528" cy="45529"/>
              </a:xfrm>
              <a:custGeom>
                <a:avLst/>
                <a:gdLst>
                  <a:gd name="connsiteX0" fmla="*/ 28257 w 28528"/>
                  <a:gd name="connsiteY0" fmla="*/ 41900 h 45529"/>
                  <a:gd name="connsiteX1" fmla="*/ 24144 w 28528"/>
                  <a:gd name="connsiteY1" fmla="*/ 45242 h 45529"/>
                  <a:gd name="connsiteX2" fmla="*/ 24659 w 28528"/>
                  <a:gd name="connsiteY2" fmla="*/ 41643 h 45529"/>
                  <a:gd name="connsiteX3" fmla="*/ 28257 w 28528"/>
                  <a:gd name="connsiteY3" fmla="*/ 41900 h 45529"/>
                  <a:gd name="connsiteX4" fmla="*/ 21317 w 28528"/>
                  <a:gd name="connsiteY4" fmla="*/ 14395 h 45529"/>
                  <a:gd name="connsiteX5" fmla="*/ 21060 w 28528"/>
                  <a:gd name="connsiteY5" fmla="*/ 17480 h 45529"/>
                  <a:gd name="connsiteX6" fmla="*/ 23887 w 28528"/>
                  <a:gd name="connsiteY6" fmla="*/ 16709 h 45529"/>
                  <a:gd name="connsiteX7" fmla="*/ 23887 w 28528"/>
                  <a:gd name="connsiteY7" fmla="*/ 13110 h 45529"/>
                  <a:gd name="connsiteX8" fmla="*/ 21317 w 28528"/>
                  <a:gd name="connsiteY8" fmla="*/ 14395 h 45529"/>
                  <a:gd name="connsiteX9" fmla="*/ 10263 w 28528"/>
                  <a:gd name="connsiteY9" fmla="*/ 11568 h 45529"/>
                  <a:gd name="connsiteX10" fmla="*/ 11035 w 28528"/>
                  <a:gd name="connsiteY10" fmla="*/ 14652 h 45529"/>
                  <a:gd name="connsiteX11" fmla="*/ 13605 w 28528"/>
                  <a:gd name="connsiteY11" fmla="*/ 14652 h 45529"/>
                  <a:gd name="connsiteX12" fmla="*/ 12834 w 28528"/>
                  <a:gd name="connsiteY12" fmla="*/ 10025 h 45529"/>
                  <a:gd name="connsiteX13" fmla="*/ 10263 w 28528"/>
                  <a:gd name="connsiteY13" fmla="*/ 11568 h 45529"/>
                  <a:gd name="connsiteX14" fmla="*/ 2038 w 28528"/>
                  <a:gd name="connsiteY14" fmla="*/ 1285 h 45529"/>
                  <a:gd name="connsiteX15" fmla="*/ 752 w 28528"/>
                  <a:gd name="connsiteY15" fmla="*/ 4370 h 45529"/>
                  <a:gd name="connsiteX16" fmla="*/ 3837 w 28528"/>
                  <a:gd name="connsiteY16" fmla="*/ 3856 h 45529"/>
                  <a:gd name="connsiteX17" fmla="*/ 4608 w 28528"/>
                  <a:gd name="connsiteY17" fmla="*/ 2056 h 45529"/>
                  <a:gd name="connsiteX18" fmla="*/ 3837 w 28528"/>
                  <a:gd name="connsiteY18" fmla="*/ 0 h 45529"/>
                  <a:gd name="connsiteX19" fmla="*/ 2038 w 28528"/>
                  <a:gd name="connsiteY19" fmla="*/ 1285 h 4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528" h="45529">
                    <a:moveTo>
                      <a:pt x="28257" y="41900"/>
                    </a:moveTo>
                    <a:cubicBezTo>
                      <a:pt x="29543" y="43699"/>
                      <a:pt x="25944" y="43957"/>
                      <a:pt x="24144" y="45242"/>
                    </a:cubicBezTo>
                    <a:cubicBezTo>
                      <a:pt x="22345" y="46527"/>
                      <a:pt x="22088" y="43185"/>
                      <a:pt x="24659" y="41643"/>
                    </a:cubicBezTo>
                    <a:cubicBezTo>
                      <a:pt x="24401" y="41643"/>
                      <a:pt x="26972" y="40358"/>
                      <a:pt x="28257" y="41900"/>
                    </a:cubicBezTo>
                    <a:close/>
                    <a:moveTo>
                      <a:pt x="21317" y="14395"/>
                    </a:moveTo>
                    <a:cubicBezTo>
                      <a:pt x="20289" y="15937"/>
                      <a:pt x="19517" y="17737"/>
                      <a:pt x="21060" y="17480"/>
                    </a:cubicBezTo>
                    <a:cubicBezTo>
                      <a:pt x="22602" y="17223"/>
                      <a:pt x="23116" y="17480"/>
                      <a:pt x="23887" y="16709"/>
                    </a:cubicBezTo>
                    <a:cubicBezTo>
                      <a:pt x="24659" y="15937"/>
                      <a:pt x="25430" y="13367"/>
                      <a:pt x="23887" y="13110"/>
                    </a:cubicBezTo>
                    <a:cubicBezTo>
                      <a:pt x="22345" y="12853"/>
                      <a:pt x="21060" y="14395"/>
                      <a:pt x="21317" y="14395"/>
                    </a:cubicBezTo>
                    <a:close/>
                    <a:moveTo>
                      <a:pt x="10263" y="11568"/>
                    </a:moveTo>
                    <a:cubicBezTo>
                      <a:pt x="9749" y="13881"/>
                      <a:pt x="9492" y="14909"/>
                      <a:pt x="11035" y="14652"/>
                    </a:cubicBezTo>
                    <a:cubicBezTo>
                      <a:pt x="12577" y="14395"/>
                      <a:pt x="12834" y="15166"/>
                      <a:pt x="13605" y="14652"/>
                    </a:cubicBezTo>
                    <a:cubicBezTo>
                      <a:pt x="14376" y="14138"/>
                      <a:pt x="14633" y="10025"/>
                      <a:pt x="12834" y="10025"/>
                    </a:cubicBezTo>
                    <a:cubicBezTo>
                      <a:pt x="11035" y="10025"/>
                      <a:pt x="10521" y="11825"/>
                      <a:pt x="10263" y="11568"/>
                    </a:cubicBezTo>
                    <a:close/>
                    <a:moveTo>
                      <a:pt x="2038" y="1285"/>
                    </a:moveTo>
                    <a:cubicBezTo>
                      <a:pt x="238" y="3342"/>
                      <a:pt x="-790" y="4627"/>
                      <a:pt x="752" y="4370"/>
                    </a:cubicBezTo>
                    <a:cubicBezTo>
                      <a:pt x="2552" y="4370"/>
                      <a:pt x="3066" y="3856"/>
                      <a:pt x="3837" y="3856"/>
                    </a:cubicBezTo>
                    <a:cubicBezTo>
                      <a:pt x="4865" y="3856"/>
                      <a:pt x="5122" y="3085"/>
                      <a:pt x="4608" y="2056"/>
                    </a:cubicBezTo>
                    <a:cubicBezTo>
                      <a:pt x="4094" y="1028"/>
                      <a:pt x="4608" y="0"/>
                      <a:pt x="3837" y="0"/>
                    </a:cubicBezTo>
                    <a:cubicBezTo>
                      <a:pt x="2809" y="0"/>
                      <a:pt x="1781" y="1028"/>
                      <a:pt x="2038" y="1285"/>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488" name="Togo">
                <a:extLst>
                  <a:ext uri="{FF2B5EF4-FFF2-40B4-BE49-F238E27FC236}">
                    <a16:creationId xmlns:a16="http://schemas.microsoft.com/office/drawing/2014/main" id="{C480DC07-6916-45BB-75DF-CFE4489EF593}"/>
                  </a:ext>
                </a:extLst>
              </p:cNvPr>
              <p:cNvSpPr>
                <a:spLocks/>
              </p:cNvSpPr>
              <p:nvPr/>
            </p:nvSpPr>
            <p:spPr bwMode="auto">
              <a:xfrm>
                <a:off x="5689822" y="3611116"/>
                <a:ext cx="67631" cy="195053"/>
              </a:xfrm>
              <a:custGeom>
                <a:avLst/>
                <a:gdLst/>
                <a:ahLst/>
                <a:cxnLst>
                  <a:cxn ang="0">
                    <a:pos x="18" y="50"/>
                  </a:cxn>
                  <a:cxn ang="0">
                    <a:pos x="17" y="48"/>
                  </a:cxn>
                  <a:cxn ang="0">
                    <a:pos x="17" y="45"/>
                  </a:cxn>
                  <a:cxn ang="0">
                    <a:pos x="18" y="41"/>
                  </a:cxn>
                  <a:cxn ang="0">
                    <a:pos x="17" y="31"/>
                  </a:cxn>
                  <a:cxn ang="0">
                    <a:pos x="17" y="26"/>
                  </a:cxn>
                  <a:cxn ang="0">
                    <a:pos x="15" y="20"/>
                  </a:cxn>
                  <a:cxn ang="0">
                    <a:pos x="15" y="18"/>
                  </a:cxn>
                  <a:cxn ang="0">
                    <a:pos x="14" y="12"/>
                  </a:cxn>
                  <a:cxn ang="0">
                    <a:pos x="10" y="7"/>
                  </a:cxn>
                  <a:cxn ang="0">
                    <a:pos x="10" y="3"/>
                  </a:cxn>
                  <a:cxn ang="0">
                    <a:pos x="7" y="2"/>
                  </a:cxn>
                  <a:cxn ang="0">
                    <a:pos x="6" y="1"/>
                  </a:cxn>
                  <a:cxn ang="0">
                    <a:pos x="0" y="0"/>
                  </a:cxn>
                  <a:cxn ang="0">
                    <a:pos x="2" y="2"/>
                  </a:cxn>
                  <a:cxn ang="0">
                    <a:pos x="1" y="5"/>
                  </a:cxn>
                  <a:cxn ang="0">
                    <a:pos x="4" y="8"/>
                  </a:cxn>
                  <a:cxn ang="0">
                    <a:pos x="5" y="9"/>
                  </a:cxn>
                  <a:cxn ang="0">
                    <a:pos x="6" y="12"/>
                  </a:cxn>
                  <a:cxn ang="0">
                    <a:pos x="5" y="13"/>
                  </a:cxn>
                  <a:cxn ang="0">
                    <a:pos x="5" y="16"/>
                  </a:cxn>
                  <a:cxn ang="0">
                    <a:pos x="5" y="17"/>
                  </a:cxn>
                  <a:cxn ang="0">
                    <a:pos x="4" y="17"/>
                  </a:cxn>
                  <a:cxn ang="0">
                    <a:pos x="4" y="18"/>
                  </a:cxn>
                  <a:cxn ang="0">
                    <a:pos x="6" y="18"/>
                  </a:cxn>
                  <a:cxn ang="0">
                    <a:pos x="7" y="19"/>
                  </a:cxn>
                  <a:cxn ang="0">
                    <a:pos x="7" y="21"/>
                  </a:cxn>
                  <a:cxn ang="0">
                    <a:pos x="6" y="23"/>
                  </a:cxn>
                  <a:cxn ang="0">
                    <a:pos x="7" y="28"/>
                  </a:cxn>
                  <a:cxn ang="0">
                    <a:pos x="7" y="33"/>
                  </a:cxn>
                  <a:cxn ang="0">
                    <a:pos x="7" y="39"/>
                  </a:cxn>
                  <a:cxn ang="0">
                    <a:pos x="8" y="41"/>
                  </a:cxn>
                  <a:cxn ang="0">
                    <a:pos x="7" y="45"/>
                  </a:cxn>
                  <a:cxn ang="0">
                    <a:pos x="7" y="47"/>
                  </a:cxn>
                  <a:cxn ang="0">
                    <a:pos x="8" y="48"/>
                  </a:cxn>
                  <a:cxn ang="0">
                    <a:pos x="9" y="50"/>
                  </a:cxn>
                  <a:cxn ang="0">
                    <a:pos x="10" y="52"/>
                  </a:cxn>
                  <a:cxn ang="0">
                    <a:pos x="12" y="54"/>
                  </a:cxn>
                  <a:cxn ang="0">
                    <a:pos x="16" y="54"/>
                  </a:cxn>
                  <a:cxn ang="0">
                    <a:pos x="18" y="54"/>
                  </a:cxn>
                </a:cxnLst>
                <a:rect l="0" t="0" r="r" b="b"/>
                <a:pathLst>
                  <a:path w="19" h="55">
                    <a:moveTo>
                      <a:pt x="19" y="52"/>
                    </a:moveTo>
                    <a:cubicBezTo>
                      <a:pt x="19" y="52"/>
                      <a:pt x="18" y="51"/>
                      <a:pt x="18" y="50"/>
                    </a:cubicBezTo>
                    <a:cubicBezTo>
                      <a:pt x="18" y="50"/>
                      <a:pt x="17" y="50"/>
                      <a:pt x="17" y="49"/>
                    </a:cubicBezTo>
                    <a:cubicBezTo>
                      <a:pt x="17" y="49"/>
                      <a:pt x="17" y="49"/>
                      <a:pt x="17" y="48"/>
                    </a:cubicBezTo>
                    <a:cubicBezTo>
                      <a:pt x="17" y="48"/>
                      <a:pt x="17" y="47"/>
                      <a:pt x="17" y="46"/>
                    </a:cubicBezTo>
                    <a:cubicBezTo>
                      <a:pt x="17" y="46"/>
                      <a:pt x="17" y="46"/>
                      <a:pt x="17" y="45"/>
                    </a:cubicBezTo>
                    <a:cubicBezTo>
                      <a:pt x="17" y="45"/>
                      <a:pt x="17" y="45"/>
                      <a:pt x="17" y="45"/>
                    </a:cubicBezTo>
                    <a:cubicBezTo>
                      <a:pt x="18" y="45"/>
                      <a:pt x="18" y="42"/>
                      <a:pt x="18" y="41"/>
                    </a:cubicBezTo>
                    <a:cubicBezTo>
                      <a:pt x="18" y="40"/>
                      <a:pt x="18" y="39"/>
                      <a:pt x="17" y="37"/>
                    </a:cubicBezTo>
                    <a:cubicBezTo>
                      <a:pt x="17" y="35"/>
                      <a:pt x="18" y="31"/>
                      <a:pt x="17" y="31"/>
                    </a:cubicBezTo>
                    <a:cubicBezTo>
                      <a:pt x="17" y="30"/>
                      <a:pt x="18" y="29"/>
                      <a:pt x="18" y="28"/>
                    </a:cubicBezTo>
                    <a:cubicBezTo>
                      <a:pt x="18" y="28"/>
                      <a:pt x="17" y="27"/>
                      <a:pt x="17" y="26"/>
                    </a:cubicBezTo>
                    <a:cubicBezTo>
                      <a:pt x="18" y="25"/>
                      <a:pt x="18" y="23"/>
                      <a:pt x="17" y="22"/>
                    </a:cubicBezTo>
                    <a:cubicBezTo>
                      <a:pt x="17" y="21"/>
                      <a:pt x="16" y="21"/>
                      <a:pt x="15" y="20"/>
                    </a:cubicBezTo>
                    <a:cubicBezTo>
                      <a:pt x="15" y="19"/>
                      <a:pt x="15" y="19"/>
                      <a:pt x="15" y="19"/>
                    </a:cubicBezTo>
                    <a:cubicBezTo>
                      <a:pt x="15" y="18"/>
                      <a:pt x="15" y="18"/>
                      <a:pt x="15" y="18"/>
                    </a:cubicBezTo>
                    <a:cubicBezTo>
                      <a:pt x="15" y="17"/>
                      <a:pt x="15" y="16"/>
                      <a:pt x="15" y="15"/>
                    </a:cubicBezTo>
                    <a:cubicBezTo>
                      <a:pt x="15" y="14"/>
                      <a:pt x="15" y="13"/>
                      <a:pt x="14" y="12"/>
                    </a:cubicBezTo>
                    <a:cubicBezTo>
                      <a:pt x="13" y="11"/>
                      <a:pt x="11" y="10"/>
                      <a:pt x="10" y="9"/>
                    </a:cubicBezTo>
                    <a:cubicBezTo>
                      <a:pt x="10" y="8"/>
                      <a:pt x="9" y="8"/>
                      <a:pt x="10" y="7"/>
                    </a:cubicBezTo>
                    <a:cubicBezTo>
                      <a:pt x="10" y="6"/>
                      <a:pt x="10" y="6"/>
                      <a:pt x="10" y="5"/>
                    </a:cubicBezTo>
                    <a:cubicBezTo>
                      <a:pt x="10" y="4"/>
                      <a:pt x="10" y="4"/>
                      <a:pt x="10" y="3"/>
                    </a:cubicBezTo>
                    <a:cubicBezTo>
                      <a:pt x="11" y="3"/>
                      <a:pt x="11" y="2"/>
                      <a:pt x="11" y="1"/>
                    </a:cubicBezTo>
                    <a:cubicBezTo>
                      <a:pt x="10" y="1"/>
                      <a:pt x="8" y="1"/>
                      <a:pt x="7" y="2"/>
                    </a:cubicBezTo>
                    <a:cubicBezTo>
                      <a:pt x="7" y="2"/>
                      <a:pt x="7" y="2"/>
                      <a:pt x="7" y="2"/>
                    </a:cubicBezTo>
                    <a:cubicBezTo>
                      <a:pt x="7" y="1"/>
                      <a:pt x="6" y="1"/>
                      <a:pt x="6" y="1"/>
                    </a:cubicBezTo>
                    <a:cubicBezTo>
                      <a:pt x="5" y="1"/>
                      <a:pt x="5" y="1"/>
                      <a:pt x="4" y="1"/>
                    </a:cubicBezTo>
                    <a:cubicBezTo>
                      <a:pt x="3" y="0"/>
                      <a:pt x="2" y="0"/>
                      <a:pt x="0" y="0"/>
                    </a:cubicBezTo>
                    <a:cubicBezTo>
                      <a:pt x="1" y="1"/>
                      <a:pt x="1" y="0"/>
                      <a:pt x="2" y="0"/>
                    </a:cubicBezTo>
                    <a:cubicBezTo>
                      <a:pt x="2" y="0"/>
                      <a:pt x="2" y="1"/>
                      <a:pt x="2" y="2"/>
                    </a:cubicBezTo>
                    <a:cubicBezTo>
                      <a:pt x="2" y="2"/>
                      <a:pt x="2" y="3"/>
                      <a:pt x="1" y="4"/>
                    </a:cubicBezTo>
                    <a:cubicBezTo>
                      <a:pt x="1" y="4"/>
                      <a:pt x="1" y="5"/>
                      <a:pt x="1" y="5"/>
                    </a:cubicBezTo>
                    <a:cubicBezTo>
                      <a:pt x="2" y="6"/>
                      <a:pt x="2" y="6"/>
                      <a:pt x="3" y="6"/>
                    </a:cubicBezTo>
                    <a:cubicBezTo>
                      <a:pt x="3" y="7"/>
                      <a:pt x="3" y="7"/>
                      <a:pt x="4" y="8"/>
                    </a:cubicBezTo>
                    <a:cubicBezTo>
                      <a:pt x="4" y="8"/>
                      <a:pt x="5" y="8"/>
                      <a:pt x="5" y="8"/>
                    </a:cubicBezTo>
                    <a:cubicBezTo>
                      <a:pt x="5" y="8"/>
                      <a:pt x="5" y="9"/>
                      <a:pt x="5" y="9"/>
                    </a:cubicBezTo>
                    <a:cubicBezTo>
                      <a:pt x="5" y="9"/>
                      <a:pt x="6" y="9"/>
                      <a:pt x="5" y="10"/>
                    </a:cubicBezTo>
                    <a:cubicBezTo>
                      <a:pt x="5" y="10"/>
                      <a:pt x="5" y="11"/>
                      <a:pt x="6" y="12"/>
                    </a:cubicBezTo>
                    <a:cubicBezTo>
                      <a:pt x="6" y="12"/>
                      <a:pt x="5" y="12"/>
                      <a:pt x="5" y="13"/>
                    </a:cubicBezTo>
                    <a:cubicBezTo>
                      <a:pt x="5" y="13"/>
                      <a:pt x="5" y="13"/>
                      <a:pt x="5" y="13"/>
                    </a:cubicBezTo>
                    <a:cubicBezTo>
                      <a:pt x="5" y="14"/>
                      <a:pt x="5" y="14"/>
                      <a:pt x="5" y="15"/>
                    </a:cubicBezTo>
                    <a:cubicBezTo>
                      <a:pt x="5" y="15"/>
                      <a:pt x="5" y="16"/>
                      <a:pt x="5" y="16"/>
                    </a:cubicBezTo>
                    <a:cubicBezTo>
                      <a:pt x="5" y="16"/>
                      <a:pt x="4" y="16"/>
                      <a:pt x="4" y="16"/>
                    </a:cubicBezTo>
                    <a:cubicBezTo>
                      <a:pt x="4" y="17"/>
                      <a:pt x="5" y="17"/>
                      <a:pt x="5" y="17"/>
                    </a:cubicBezTo>
                    <a:cubicBezTo>
                      <a:pt x="6" y="17"/>
                      <a:pt x="5" y="17"/>
                      <a:pt x="5" y="17"/>
                    </a:cubicBezTo>
                    <a:cubicBezTo>
                      <a:pt x="5" y="17"/>
                      <a:pt x="5" y="17"/>
                      <a:pt x="4" y="17"/>
                    </a:cubicBezTo>
                    <a:cubicBezTo>
                      <a:pt x="4" y="17"/>
                      <a:pt x="4" y="18"/>
                      <a:pt x="4" y="18"/>
                    </a:cubicBezTo>
                    <a:cubicBezTo>
                      <a:pt x="5" y="18"/>
                      <a:pt x="4" y="18"/>
                      <a:pt x="4" y="18"/>
                    </a:cubicBezTo>
                    <a:cubicBezTo>
                      <a:pt x="4" y="19"/>
                      <a:pt x="4" y="19"/>
                      <a:pt x="5" y="19"/>
                    </a:cubicBezTo>
                    <a:cubicBezTo>
                      <a:pt x="5" y="18"/>
                      <a:pt x="5" y="18"/>
                      <a:pt x="6" y="18"/>
                    </a:cubicBezTo>
                    <a:cubicBezTo>
                      <a:pt x="6" y="18"/>
                      <a:pt x="7" y="18"/>
                      <a:pt x="7" y="18"/>
                    </a:cubicBezTo>
                    <a:cubicBezTo>
                      <a:pt x="7" y="18"/>
                      <a:pt x="7" y="19"/>
                      <a:pt x="7" y="19"/>
                    </a:cubicBezTo>
                    <a:cubicBezTo>
                      <a:pt x="7" y="19"/>
                      <a:pt x="7" y="20"/>
                      <a:pt x="7" y="20"/>
                    </a:cubicBezTo>
                    <a:cubicBezTo>
                      <a:pt x="7" y="20"/>
                      <a:pt x="7" y="21"/>
                      <a:pt x="7" y="21"/>
                    </a:cubicBezTo>
                    <a:cubicBezTo>
                      <a:pt x="7" y="21"/>
                      <a:pt x="7" y="21"/>
                      <a:pt x="7" y="22"/>
                    </a:cubicBezTo>
                    <a:cubicBezTo>
                      <a:pt x="6" y="22"/>
                      <a:pt x="6" y="23"/>
                      <a:pt x="6" y="23"/>
                    </a:cubicBezTo>
                    <a:cubicBezTo>
                      <a:pt x="6" y="24"/>
                      <a:pt x="7" y="26"/>
                      <a:pt x="6" y="26"/>
                    </a:cubicBezTo>
                    <a:cubicBezTo>
                      <a:pt x="5" y="26"/>
                      <a:pt x="7" y="28"/>
                      <a:pt x="7" y="28"/>
                    </a:cubicBezTo>
                    <a:cubicBezTo>
                      <a:pt x="7" y="29"/>
                      <a:pt x="10" y="31"/>
                      <a:pt x="8" y="31"/>
                    </a:cubicBezTo>
                    <a:cubicBezTo>
                      <a:pt x="8" y="32"/>
                      <a:pt x="7" y="32"/>
                      <a:pt x="7" y="33"/>
                    </a:cubicBezTo>
                    <a:cubicBezTo>
                      <a:pt x="7" y="33"/>
                      <a:pt x="8" y="34"/>
                      <a:pt x="8" y="35"/>
                    </a:cubicBezTo>
                    <a:cubicBezTo>
                      <a:pt x="8" y="36"/>
                      <a:pt x="8" y="37"/>
                      <a:pt x="7" y="39"/>
                    </a:cubicBezTo>
                    <a:cubicBezTo>
                      <a:pt x="7" y="39"/>
                      <a:pt x="7" y="39"/>
                      <a:pt x="7" y="40"/>
                    </a:cubicBezTo>
                    <a:cubicBezTo>
                      <a:pt x="7" y="41"/>
                      <a:pt x="7" y="41"/>
                      <a:pt x="8" y="41"/>
                    </a:cubicBezTo>
                    <a:cubicBezTo>
                      <a:pt x="9" y="41"/>
                      <a:pt x="8" y="44"/>
                      <a:pt x="8" y="44"/>
                    </a:cubicBezTo>
                    <a:cubicBezTo>
                      <a:pt x="8" y="45"/>
                      <a:pt x="8" y="45"/>
                      <a:pt x="7" y="45"/>
                    </a:cubicBezTo>
                    <a:cubicBezTo>
                      <a:pt x="6" y="46"/>
                      <a:pt x="7" y="46"/>
                      <a:pt x="7" y="46"/>
                    </a:cubicBezTo>
                    <a:cubicBezTo>
                      <a:pt x="7" y="47"/>
                      <a:pt x="7" y="47"/>
                      <a:pt x="7" y="47"/>
                    </a:cubicBezTo>
                    <a:cubicBezTo>
                      <a:pt x="7" y="47"/>
                      <a:pt x="7" y="47"/>
                      <a:pt x="7" y="48"/>
                    </a:cubicBezTo>
                    <a:cubicBezTo>
                      <a:pt x="7" y="48"/>
                      <a:pt x="8" y="48"/>
                      <a:pt x="8" y="48"/>
                    </a:cubicBezTo>
                    <a:cubicBezTo>
                      <a:pt x="8" y="48"/>
                      <a:pt x="8" y="49"/>
                      <a:pt x="8" y="49"/>
                    </a:cubicBezTo>
                    <a:cubicBezTo>
                      <a:pt x="8" y="50"/>
                      <a:pt x="8" y="50"/>
                      <a:pt x="9" y="50"/>
                    </a:cubicBezTo>
                    <a:cubicBezTo>
                      <a:pt x="9" y="50"/>
                      <a:pt x="9" y="51"/>
                      <a:pt x="9" y="51"/>
                    </a:cubicBezTo>
                    <a:cubicBezTo>
                      <a:pt x="9" y="52"/>
                      <a:pt x="10" y="52"/>
                      <a:pt x="10" y="52"/>
                    </a:cubicBezTo>
                    <a:cubicBezTo>
                      <a:pt x="11" y="53"/>
                      <a:pt x="11" y="53"/>
                      <a:pt x="11" y="53"/>
                    </a:cubicBezTo>
                    <a:cubicBezTo>
                      <a:pt x="12" y="54"/>
                      <a:pt x="12" y="54"/>
                      <a:pt x="12" y="54"/>
                    </a:cubicBezTo>
                    <a:cubicBezTo>
                      <a:pt x="13" y="55"/>
                      <a:pt x="13" y="54"/>
                      <a:pt x="13" y="55"/>
                    </a:cubicBezTo>
                    <a:cubicBezTo>
                      <a:pt x="14" y="55"/>
                      <a:pt x="15" y="55"/>
                      <a:pt x="16" y="54"/>
                    </a:cubicBezTo>
                    <a:cubicBezTo>
                      <a:pt x="16" y="54"/>
                      <a:pt x="17" y="54"/>
                      <a:pt x="17" y="54"/>
                    </a:cubicBezTo>
                    <a:cubicBezTo>
                      <a:pt x="18" y="54"/>
                      <a:pt x="17" y="54"/>
                      <a:pt x="18" y="54"/>
                    </a:cubicBezTo>
                    <a:cubicBezTo>
                      <a:pt x="18" y="53"/>
                      <a:pt x="19" y="54"/>
                      <a:pt x="19" y="5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89" name="Timor-Leste (East Timor)">
                <a:extLst>
                  <a:ext uri="{FF2B5EF4-FFF2-40B4-BE49-F238E27FC236}">
                    <a16:creationId xmlns:a16="http://schemas.microsoft.com/office/drawing/2014/main" id="{46853BA3-C038-8E36-EBB6-2742C98441F6}"/>
                  </a:ext>
                </a:extLst>
              </p:cNvPr>
              <p:cNvSpPr>
                <a:spLocks noEditPoints="1"/>
              </p:cNvSpPr>
              <p:nvPr/>
            </p:nvSpPr>
            <p:spPr bwMode="auto">
              <a:xfrm>
                <a:off x="9942754" y="4369765"/>
                <a:ext cx="116640" cy="46068"/>
              </a:xfrm>
              <a:custGeom>
                <a:avLst/>
                <a:gdLst/>
                <a:ahLst/>
                <a:cxnLst>
                  <a:cxn ang="0">
                    <a:pos x="32" y="1"/>
                  </a:cxn>
                  <a:cxn ang="0">
                    <a:pos x="30" y="3"/>
                  </a:cxn>
                  <a:cxn ang="0">
                    <a:pos x="28" y="4"/>
                  </a:cxn>
                  <a:cxn ang="0">
                    <a:pos x="27" y="5"/>
                  </a:cxn>
                  <a:cxn ang="0">
                    <a:pos x="25" y="5"/>
                  </a:cxn>
                  <a:cxn ang="0">
                    <a:pos x="23" y="7"/>
                  </a:cxn>
                  <a:cxn ang="0">
                    <a:pos x="20" y="7"/>
                  </a:cxn>
                  <a:cxn ang="0">
                    <a:pos x="18" y="9"/>
                  </a:cxn>
                  <a:cxn ang="0">
                    <a:pos x="17" y="9"/>
                  </a:cxn>
                  <a:cxn ang="0">
                    <a:pos x="15" y="9"/>
                  </a:cxn>
                  <a:cxn ang="0">
                    <a:pos x="14" y="10"/>
                  </a:cxn>
                  <a:cxn ang="0">
                    <a:pos x="12" y="11"/>
                  </a:cxn>
                  <a:cxn ang="0">
                    <a:pos x="11" y="12"/>
                  </a:cxn>
                  <a:cxn ang="0">
                    <a:pos x="10" y="12"/>
                  </a:cxn>
                  <a:cxn ang="0">
                    <a:pos x="9" y="10"/>
                  </a:cxn>
                  <a:cxn ang="0">
                    <a:pos x="10" y="9"/>
                  </a:cxn>
                  <a:cxn ang="0">
                    <a:pos x="11" y="8"/>
                  </a:cxn>
                  <a:cxn ang="0">
                    <a:pos x="10" y="7"/>
                  </a:cxn>
                  <a:cxn ang="0">
                    <a:pos x="9" y="8"/>
                  </a:cxn>
                  <a:cxn ang="0">
                    <a:pos x="10" y="6"/>
                  </a:cxn>
                  <a:cxn ang="0">
                    <a:pos x="11" y="5"/>
                  </a:cxn>
                  <a:cxn ang="0">
                    <a:pos x="11" y="4"/>
                  </a:cxn>
                  <a:cxn ang="0">
                    <a:pos x="13" y="3"/>
                  </a:cxn>
                  <a:cxn ang="0">
                    <a:pos x="17" y="2"/>
                  </a:cxn>
                  <a:cxn ang="0">
                    <a:pos x="20" y="2"/>
                  </a:cxn>
                  <a:cxn ang="0">
                    <a:pos x="22" y="1"/>
                  </a:cxn>
                  <a:cxn ang="0">
                    <a:pos x="24" y="1"/>
                  </a:cxn>
                  <a:cxn ang="0">
                    <a:pos x="25" y="1"/>
                  </a:cxn>
                  <a:cxn ang="0">
                    <a:pos x="27" y="1"/>
                  </a:cxn>
                  <a:cxn ang="0">
                    <a:pos x="28" y="1"/>
                  </a:cxn>
                  <a:cxn ang="0">
                    <a:pos x="30" y="0"/>
                  </a:cxn>
                  <a:cxn ang="0">
                    <a:pos x="31" y="0"/>
                  </a:cxn>
                  <a:cxn ang="0">
                    <a:pos x="32" y="1"/>
                  </a:cxn>
                  <a:cxn ang="0">
                    <a:pos x="4" y="9"/>
                  </a:cxn>
                  <a:cxn ang="0">
                    <a:pos x="2" y="10"/>
                  </a:cxn>
                  <a:cxn ang="0">
                    <a:pos x="0" y="11"/>
                  </a:cxn>
                  <a:cxn ang="0">
                    <a:pos x="1" y="12"/>
                  </a:cxn>
                  <a:cxn ang="0">
                    <a:pos x="2" y="12"/>
                  </a:cxn>
                  <a:cxn ang="0">
                    <a:pos x="3" y="13"/>
                  </a:cxn>
                  <a:cxn ang="0">
                    <a:pos x="3" y="11"/>
                  </a:cxn>
                  <a:cxn ang="0">
                    <a:pos x="4" y="10"/>
                  </a:cxn>
                  <a:cxn ang="0">
                    <a:pos x="4" y="9"/>
                  </a:cxn>
                </a:cxnLst>
                <a:rect l="0" t="0" r="r" b="b"/>
                <a:pathLst>
                  <a:path w="33" h="13">
                    <a:moveTo>
                      <a:pt x="32" y="1"/>
                    </a:moveTo>
                    <a:cubicBezTo>
                      <a:pt x="33" y="1"/>
                      <a:pt x="31" y="2"/>
                      <a:pt x="30" y="3"/>
                    </a:cubicBezTo>
                    <a:cubicBezTo>
                      <a:pt x="30" y="3"/>
                      <a:pt x="29" y="4"/>
                      <a:pt x="28" y="4"/>
                    </a:cubicBezTo>
                    <a:cubicBezTo>
                      <a:pt x="28" y="5"/>
                      <a:pt x="27" y="5"/>
                      <a:pt x="27" y="5"/>
                    </a:cubicBezTo>
                    <a:cubicBezTo>
                      <a:pt x="26" y="5"/>
                      <a:pt x="25" y="5"/>
                      <a:pt x="25" y="5"/>
                    </a:cubicBezTo>
                    <a:cubicBezTo>
                      <a:pt x="24" y="6"/>
                      <a:pt x="24" y="7"/>
                      <a:pt x="23" y="7"/>
                    </a:cubicBezTo>
                    <a:cubicBezTo>
                      <a:pt x="22" y="7"/>
                      <a:pt x="21" y="7"/>
                      <a:pt x="20" y="7"/>
                    </a:cubicBezTo>
                    <a:cubicBezTo>
                      <a:pt x="20" y="8"/>
                      <a:pt x="19" y="8"/>
                      <a:pt x="18" y="9"/>
                    </a:cubicBezTo>
                    <a:cubicBezTo>
                      <a:pt x="18" y="9"/>
                      <a:pt x="17" y="9"/>
                      <a:pt x="17" y="9"/>
                    </a:cubicBezTo>
                    <a:cubicBezTo>
                      <a:pt x="16" y="9"/>
                      <a:pt x="16" y="9"/>
                      <a:pt x="15" y="9"/>
                    </a:cubicBezTo>
                    <a:cubicBezTo>
                      <a:pt x="15" y="9"/>
                      <a:pt x="15" y="10"/>
                      <a:pt x="14" y="10"/>
                    </a:cubicBezTo>
                    <a:cubicBezTo>
                      <a:pt x="14" y="10"/>
                      <a:pt x="13" y="10"/>
                      <a:pt x="12" y="11"/>
                    </a:cubicBezTo>
                    <a:cubicBezTo>
                      <a:pt x="12" y="11"/>
                      <a:pt x="12" y="11"/>
                      <a:pt x="11" y="12"/>
                    </a:cubicBezTo>
                    <a:cubicBezTo>
                      <a:pt x="11" y="12"/>
                      <a:pt x="10" y="12"/>
                      <a:pt x="10" y="12"/>
                    </a:cubicBezTo>
                    <a:cubicBezTo>
                      <a:pt x="10" y="12"/>
                      <a:pt x="10" y="11"/>
                      <a:pt x="9" y="10"/>
                    </a:cubicBezTo>
                    <a:cubicBezTo>
                      <a:pt x="9" y="10"/>
                      <a:pt x="9" y="9"/>
                      <a:pt x="10" y="9"/>
                    </a:cubicBezTo>
                    <a:cubicBezTo>
                      <a:pt x="11" y="10"/>
                      <a:pt x="11" y="9"/>
                      <a:pt x="11" y="8"/>
                    </a:cubicBezTo>
                    <a:cubicBezTo>
                      <a:pt x="11" y="8"/>
                      <a:pt x="11" y="6"/>
                      <a:pt x="10" y="7"/>
                    </a:cubicBezTo>
                    <a:cubicBezTo>
                      <a:pt x="10" y="7"/>
                      <a:pt x="9" y="8"/>
                      <a:pt x="9" y="8"/>
                    </a:cubicBezTo>
                    <a:cubicBezTo>
                      <a:pt x="9" y="7"/>
                      <a:pt x="10" y="6"/>
                      <a:pt x="10" y="6"/>
                    </a:cubicBezTo>
                    <a:cubicBezTo>
                      <a:pt x="10" y="5"/>
                      <a:pt x="10" y="5"/>
                      <a:pt x="11" y="5"/>
                    </a:cubicBezTo>
                    <a:cubicBezTo>
                      <a:pt x="11" y="5"/>
                      <a:pt x="11" y="4"/>
                      <a:pt x="11" y="4"/>
                    </a:cubicBezTo>
                    <a:cubicBezTo>
                      <a:pt x="11" y="3"/>
                      <a:pt x="13" y="3"/>
                      <a:pt x="13" y="3"/>
                    </a:cubicBezTo>
                    <a:cubicBezTo>
                      <a:pt x="14" y="2"/>
                      <a:pt x="16" y="2"/>
                      <a:pt x="17" y="2"/>
                    </a:cubicBezTo>
                    <a:cubicBezTo>
                      <a:pt x="18" y="2"/>
                      <a:pt x="19" y="1"/>
                      <a:pt x="20" y="2"/>
                    </a:cubicBezTo>
                    <a:cubicBezTo>
                      <a:pt x="21" y="2"/>
                      <a:pt x="22" y="2"/>
                      <a:pt x="22" y="1"/>
                    </a:cubicBezTo>
                    <a:cubicBezTo>
                      <a:pt x="23" y="1"/>
                      <a:pt x="23" y="1"/>
                      <a:pt x="24" y="1"/>
                    </a:cubicBezTo>
                    <a:cubicBezTo>
                      <a:pt x="24" y="1"/>
                      <a:pt x="25" y="1"/>
                      <a:pt x="25" y="1"/>
                    </a:cubicBezTo>
                    <a:cubicBezTo>
                      <a:pt x="26" y="1"/>
                      <a:pt x="26" y="1"/>
                      <a:pt x="27" y="1"/>
                    </a:cubicBezTo>
                    <a:cubicBezTo>
                      <a:pt x="27" y="1"/>
                      <a:pt x="27" y="1"/>
                      <a:pt x="28" y="1"/>
                    </a:cubicBezTo>
                    <a:cubicBezTo>
                      <a:pt x="29" y="0"/>
                      <a:pt x="29" y="0"/>
                      <a:pt x="30" y="0"/>
                    </a:cubicBezTo>
                    <a:cubicBezTo>
                      <a:pt x="31" y="0"/>
                      <a:pt x="31" y="0"/>
                      <a:pt x="31" y="0"/>
                    </a:cubicBezTo>
                    <a:cubicBezTo>
                      <a:pt x="32" y="0"/>
                      <a:pt x="32" y="0"/>
                      <a:pt x="32" y="1"/>
                    </a:cubicBezTo>
                    <a:close/>
                    <a:moveTo>
                      <a:pt x="4" y="9"/>
                    </a:moveTo>
                    <a:cubicBezTo>
                      <a:pt x="3" y="9"/>
                      <a:pt x="3" y="10"/>
                      <a:pt x="2" y="10"/>
                    </a:cubicBezTo>
                    <a:cubicBezTo>
                      <a:pt x="1" y="10"/>
                      <a:pt x="1" y="11"/>
                      <a:pt x="0" y="11"/>
                    </a:cubicBezTo>
                    <a:cubicBezTo>
                      <a:pt x="0" y="11"/>
                      <a:pt x="1" y="12"/>
                      <a:pt x="1" y="12"/>
                    </a:cubicBezTo>
                    <a:cubicBezTo>
                      <a:pt x="2" y="11"/>
                      <a:pt x="2" y="11"/>
                      <a:pt x="2" y="12"/>
                    </a:cubicBezTo>
                    <a:cubicBezTo>
                      <a:pt x="2" y="12"/>
                      <a:pt x="2" y="13"/>
                      <a:pt x="3" y="13"/>
                    </a:cubicBezTo>
                    <a:cubicBezTo>
                      <a:pt x="3" y="12"/>
                      <a:pt x="3" y="12"/>
                      <a:pt x="3" y="11"/>
                    </a:cubicBezTo>
                    <a:cubicBezTo>
                      <a:pt x="4" y="11"/>
                      <a:pt x="4" y="11"/>
                      <a:pt x="4" y="10"/>
                    </a:cubicBezTo>
                    <a:cubicBezTo>
                      <a:pt x="4" y="10"/>
                      <a:pt x="5" y="9"/>
                      <a:pt x="4" y="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0" name="Thailand">
                <a:extLst>
                  <a:ext uri="{FF2B5EF4-FFF2-40B4-BE49-F238E27FC236}">
                    <a16:creationId xmlns:a16="http://schemas.microsoft.com/office/drawing/2014/main" id="{4E5EE296-EF94-B3B2-E93A-DD66714B26EC}"/>
                  </a:ext>
                </a:extLst>
              </p:cNvPr>
              <p:cNvSpPr>
                <a:spLocks noEditPoints="1"/>
              </p:cNvSpPr>
              <p:nvPr/>
            </p:nvSpPr>
            <p:spPr bwMode="auto">
              <a:xfrm>
                <a:off x="8993957" y="3246496"/>
                <a:ext cx="300911" cy="577317"/>
              </a:xfrm>
              <a:custGeom>
                <a:avLst/>
                <a:gdLst/>
                <a:ahLst/>
                <a:cxnLst>
                  <a:cxn ang="0">
                    <a:pos x="21" y="139"/>
                  </a:cxn>
                  <a:cxn ang="0">
                    <a:pos x="23" y="135"/>
                  </a:cxn>
                  <a:cxn ang="0">
                    <a:pos x="83" y="59"/>
                  </a:cxn>
                  <a:cxn ang="0">
                    <a:pos x="81" y="49"/>
                  </a:cxn>
                  <a:cxn ang="0">
                    <a:pos x="74" y="36"/>
                  </a:cxn>
                  <a:cxn ang="0">
                    <a:pos x="65" y="25"/>
                  </a:cxn>
                  <a:cxn ang="0">
                    <a:pos x="56" y="26"/>
                  </a:cxn>
                  <a:cxn ang="0">
                    <a:pos x="47" y="26"/>
                  </a:cxn>
                  <a:cxn ang="0">
                    <a:pos x="40" y="31"/>
                  </a:cxn>
                  <a:cxn ang="0">
                    <a:pos x="37" y="27"/>
                  </a:cxn>
                  <a:cxn ang="0">
                    <a:pos x="37" y="17"/>
                  </a:cxn>
                  <a:cxn ang="0">
                    <a:pos x="33" y="10"/>
                  </a:cxn>
                  <a:cxn ang="0">
                    <a:pos x="29" y="4"/>
                  </a:cxn>
                  <a:cxn ang="0">
                    <a:pos x="24" y="1"/>
                  </a:cxn>
                  <a:cxn ang="0">
                    <a:pos x="15" y="6"/>
                  </a:cxn>
                  <a:cxn ang="0">
                    <a:pos x="6" y="8"/>
                  </a:cxn>
                  <a:cxn ang="0">
                    <a:pos x="3" y="17"/>
                  </a:cxn>
                  <a:cxn ang="0">
                    <a:pos x="3" y="24"/>
                  </a:cxn>
                  <a:cxn ang="0">
                    <a:pos x="6" y="31"/>
                  </a:cxn>
                  <a:cxn ang="0">
                    <a:pos x="14" y="42"/>
                  </a:cxn>
                  <a:cxn ang="0">
                    <a:pos x="17" y="48"/>
                  </a:cxn>
                  <a:cxn ang="0">
                    <a:pos x="15" y="57"/>
                  </a:cxn>
                  <a:cxn ang="0">
                    <a:pos x="19" y="68"/>
                  </a:cxn>
                  <a:cxn ang="0">
                    <a:pos x="25" y="80"/>
                  </a:cxn>
                  <a:cxn ang="0">
                    <a:pos x="28" y="91"/>
                  </a:cxn>
                  <a:cxn ang="0">
                    <a:pos x="28" y="99"/>
                  </a:cxn>
                  <a:cxn ang="0">
                    <a:pos x="23" y="109"/>
                  </a:cxn>
                  <a:cxn ang="0">
                    <a:pos x="21" y="119"/>
                  </a:cxn>
                  <a:cxn ang="0">
                    <a:pos x="20" y="126"/>
                  </a:cxn>
                  <a:cxn ang="0">
                    <a:pos x="21" y="136"/>
                  </a:cxn>
                  <a:cxn ang="0">
                    <a:pos x="25" y="137"/>
                  </a:cxn>
                  <a:cxn ang="0">
                    <a:pos x="30" y="144"/>
                  </a:cxn>
                  <a:cxn ang="0">
                    <a:pos x="34" y="149"/>
                  </a:cxn>
                  <a:cxn ang="0">
                    <a:pos x="39" y="152"/>
                  </a:cxn>
                  <a:cxn ang="0">
                    <a:pos x="48" y="156"/>
                  </a:cxn>
                  <a:cxn ang="0">
                    <a:pos x="52" y="161"/>
                  </a:cxn>
                  <a:cxn ang="0">
                    <a:pos x="55" y="154"/>
                  </a:cxn>
                  <a:cxn ang="0">
                    <a:pos x="41" y="147"/>
                  </a:cxn>
                  <a:cxn ang="0">
                    <a:pos x="40" y="142"/>
                  </a:cxn>
                  <a:cxn ang="0">
                    <a:pos x="35" y="129"/>
                  </a:cxn>
                  <a:cxn ang="0">
                    <a:pos x="28" y="121"/>
                  </a:cxn>
                  <a:cxn ang="0">
                    <a:pos x="28" y="110"/>
                  </a:cxn>
                  <a:cxn ang="0">
                    <a:pos x="30" y="101"/>
                  </a:cxn>
                  <a:cxn ang="0">
                    <a:pos x="33" y="89"/>
                  </a:cxn>
                  <a:cxn ang="0">
                    <a:pos x="38" y="76"/>
                  </a:cxn>
                  <a:cxn ang="0">
                    <a:pos x="41" y="85"/>
                  </a:cxn>
                  <a:cxn ang="0">
                    <a:pos x="49" y="86"/>
                  </a:cxn>
                  <a:cxn ang="0">
                    <a:pos x="54" y="89"/>
                  </a:cxn>
                  <a:cxn ang="0">
                    <a:pos x="55" y="91"/>
                  </a:cxn>
                  <a:cxn ang="0">
                    <a:pos x="62" y="96"/>
                  </a:cxn>
                  <a:cxn ang="0">
                    <a:pos x="57" y="83"/>
                  </a:cxn>
                  <a:cxn ang="0">
                    <a:pos x="59" y="72"/>
                  </a:cxn>
                  <a:cxn ang="0">
                    <a:pos x="67" y="67"/>
                  </a:cxn>
                  <a:cxn ang="0">
                    <a:pos x="75" y="67"/>
                  </a:cxn>
                  <a:cxn ang="0">
                    <a:pos x="84" y="63"/>
                  </a:cxn>
                  <a:cxn ang="0">
                    <a:pos x="55" y="92"/>
                  </a:cxn>
                  <a:cxn ang="0">
                    <a:pos x="22" y="136"/>
                  </a:cxn>
                  <a:cxn ang="0">
                    <a:pos x="36" y="118"/>
                  </a:cxn>
                  <a:cxn ang="0">
                    <a:pos x="31" y="146"/>
                  </a:cxn>
                  <a:cxn ang="0">
                    <a:pos x="58" y="96"/>
                  </a:cxn>
                  <a:cxn ang="0">
                    <a:pos x="34" y="151"/>
                  </a:cxn>
                </a:cxnLst>
                <a:rect l="0" t="0" r="r" b="b"/>
                <a:pathLst>
                  <a:path w="85" h="163">
                    <a:moveTo>
                      <a:pt x="15" y="122"/>
                    </a:moveTo>
                    <a:cubicBezTo>
                      <a:pt x="14" y="122"/>
                      <a:pt x="15" y="121"/>
                      <a:pt x="15" y="122"/>
                    </a:cubicBezTo>
                    <a:close/>
                    <a:moveTo>
                      <a:pt x="20" y="136"/>
                    </a:moveTo>
                    <a:cubicBezTo>
                      <a:pt x="20" y="135"/>
                      <a:pt x="20" y="136"/>
                      <a:pt x="20" y="136"/>
                    </a:cubicBezTo>
                    <a:cubicBezTo>
                      <a:pt x="20" y="137"/>
                      <a:pt x="20" y="137"/>
                      <a:pt x="20" y="138"/>
                    </a:cubicBezTo>
                    <a:cubicBezTo>
                      <a:pt x="20" y="138"/>
                      <a:pt x="20" y="139"/>
                      <a:pt x="20" y="139"/>
                    </a:cubicBezTo>
                    <a:cubicBezTo>
                      <a:pt x="20" y="140"/>
                      <a:pt x="20" y="140"/>
                      <a:pt x="21" y="139"/>
                    </a:cubicBezTo>
                    <a:cubicBezTo>
                      <a:pt x="21" y="139"/>
                      <a:pt x="21" y="139"/>
                      <a:pt x="21" y="139"/>
                    </a:cubicBezTo>
                    <a:cubicBezTo>
                      <a:pt x="22" y="139"/>
                      <a:pt x="21" y="138"/>
                      <a:pt x="21" y="137"/>
                    </a:cubicBezTo>
                    <a:cubicBezTo>
                      <a:pt x="22" y="136"/>
                      <a:pt x="20" y="136"/>
                      <a:pt x="20" y="136"/>
                    </a:cubicBezTo>
                    <a:close/>
                    <a:moveTo>
                      <a:pt x="29" y="153"/>
                    </a:moveTo>
                    <a:cubicBezTo>
                      <a:pt x="30" y="154"/>
                      <a:pt x="30" y="153"/>
                      <a:pt x="30" y="153"/>
                    </a:cubicBezTo>
                    <a:cubicBezTo>
                      <a:pt x="29" y="153"/>
                      <a:pt x="29" y="153"/>
                      <a:pt x="29" y="153"/>
                    </a:cubicBezTo>
                    <a:close/>
                    <a:moveTo>
                      <a:pt x="23" y="135"/>
                    </a:moveTo>
                    <a:cubicBezTo>
                      <a:pt x="23" y="135"/>
                      <a:pt x="23" y="136"/>
                      <a:pt x="23" y="136"/>
                    </a:cubicBezTo>
                    <a:cubicBezTo>
                      <a:pt x="23" y="136"/>
                      <a:pt x="23" y="135"/>
                      <a:pt x="23" y="135"/>
                    </a:cubicBezTo>
                    <a:close/>
                    <a:moveTo>
                      <a:pt x="32" y="120"/>
                    </a:moveTo>
                    <a:cubicBezTo>
                      <a:pt x="32" y="120"/>
                      <a:pt x="32" y="120"/>
                      <a:pt x="32" y="120"/>
                    </a:cubicBezTo>
                    <a:cubicBezTo>
                      <a:pt x="32" y="120"/>
                      <a:pt x="32" y="119"/>
                      <a:pt x="32" y="120"/>
                    </a:cubicBezTo>
                    <a:close/>
                    <a:moveTo>
                      <a:pt x="42" y="146"/>
                    </a:moveTo>
                    <a:cubicBezTo>
                      <a:pt x="42" y="146"/>
                      <a:pt x="42" y="147"/>
                      <a:pt x="42" y="147"/>
                    </a:cubicBezTo>
                    <a:cubicBezTo>
                      <a:pt x="42" y="147"/>
                      <a:pt x="42" y="147"/>
                      <a:pt x="42" y="146"/>
                    </a:cubicBezTo>
                    <a:close/>
                    <a:moveTo>
                      <a:pt x="84" y="60"/>
                    </a:moveTo>
                    <a:cubicBezTo>
                      <a:pt x="83" y="60"/>
                      <a:pt x="83" y="59"/>
                      <a:pt x="83" y="59"/>
                    </a:cubicBezTo>
                    <a:cubicBezTo>
                      <a:pt x="83" y="58"/>
                      <a:pt x="83" y="58"/>
                      <a:pt x="83" y="58"/>
                    </a:cubicBezTo>
                    <a:cubicBezTo>
                      <a:pt x="84" y="57"/>
                      <a:pt x="84" y="57"/>
                      <a:pt x="83" y="57"/>
                    </a:cubicBezTo>
                    <a:cubicBezTo>
                      <a:pt x="82" y="57"/>
                      <a:pt x="83" y="56"/>
                      <a:pt x="84" y="56"/>
                    </a:cubicBezTo>
                    <a:cubicBezTo>
                      <a:pt x="84" y="55"/>
                      <a:pt x="84" y="55"/>
                      <a:pt x="84" y="54"/>
                    </a:cubicBezTo>
                    <a:cubicBezTo>
                      <a:pt x="84" y="54"/>
                      <a:pt x="84" y="53"/>
                      <a:pt x="83" y="53"/>
                    </a:cubicBezTo>
                    <a:cubicBezTo>
                      <a:pt x="83" y="52"/>
                      <a:pt x="82" y="52"/>
                      <a:pt x="81" y="51"/>
                    </a:cubicBezTo>
                    <a:cubicBezTo>
                      <a:pt x="81" y="51"/>
                      <a:pt x="81" y="50"/>
                      <a:pt x="81" y="50"/>
                    </a:cubicBezTo>
                    <a:cubicBezTo>
                      <a:pt x="81" y="50"/>
                      <a:pt x="81" y="49"/>
                      <a:pt x="81" y="49"/>
                    </a:cubicBezTo>
                    <a:cubicBezTo>
                      <a:pt x="81" y="49"/>
                      <a:pt x="80" y="49"/>
                      <a:pt x="80" y="49"/>
                    </a:cubicBezTo>
                    <a:cubicBezTo>
                      <a:pt x="79" y="49"/>
                      <a:pt x="78" y="49"/>
                      <a:pt x="78" y="48"/>
                    </a:cubicBezTo>
                    <a:cubicBezTo>
                      <a:pt x="78" y="48"/>
                      <a:pt x="77" y="48"/>
                      <a:pt x="77" y="47"/>
                    </a:cubicBezTo>
                    <a:cubicBezTo>
                      <a:pt x="77" y="47"/>
                      <a:pt x="77" y="46"/>
                      <a:pt x="76" y="46"/>
                    </a:cubicBezTo>
                    <a:cubicBezTo>
                      <a:pt x="76" y="45"/>
                      <a:pt x="75" y="45"/>
                      <a:pt x="75" y="44"/>
                    </a:cubicBezTo>
                    <a:cubicBezTo>
                      <a:pt x="75" y="44"/>
                      <a:pt x="74" y="44"/>
                      <a:pt x="74" y="43"/>
                    </a:cubicBezTo>
                    <a:cubicBezTo>
                      <a:pt x="74" y="42"/>
                      <a:pt x="74" y="41"/>
                      <a:pt x="74" y="40"/>
                    </a:cubicBezTo>
                    <a:cubicBezTo>
                      <a:pt x="73" y="38"/>
                      <a:pt x="74" y="37"/>
                      <a:pt x="74" y="36"/>
                    </a:cubicBezTo>
                    <a:cubicBezTo>
                      <a:pt x="74" y="35"/>
                      <a:pt x="73" y="34"/>
                      <a:pt x="73" y="34"/>
                    </a:cubicBezTo>
                    <a:cubicBezTo>
                      <a:pt x="73" y="33"/>
                      <a:pt x="72" y="33"/>
                      <a:pt x="72" y="33"/>
                    </a:cubicBezTo>
                    <a:cubicBezTo>
                      <a:pt x="71" y="32"/>
                      <a:pt x="71" y="32"/>
                      <a:pt x="70" y="31"/>
                    </a:cubicBezTo>
                    <a:cubicBezTo>
                      <a:pt x="70" y="31"/>
                      <a:pt x="69" y="31"/>
                      <a:pt x="69" y="30"/>
                    </a:cubicBezTo>
                    <a:cubicBezTo>
                      <a:pt x="68" y="30"/>
                      <a:pt x="68" y="29"/>
                      <a:pt x="67" y="29"/>
                    </a:cubicBezTo>
                    <a:cubicBezTo>
                      <a:pt x="67" y="28"/>
                      <a:pt x="67" y="28"/>
                      <a:pt x="67" y="28"/>
                    </a:cubicBezTo>
                    <a:cubicBezTo>
                      <a:pt x="67" y="27"/>
                      <a:pt x="66" y="27"/>
                      <a:pt x="66" y="26"/>
                    </a:cubicBezTo>
                    <a:cubicBezTo>
                      <a:pt x="65" y="26"/>
                      <a:pt x="65" y="25"/>
                      <a:pt x="65" y="25"/>
                    </a:cubicBezTo>
                    <a:cubicBezTo>
                      <a:pt x="65" y="24"/>
                      <a:pt x="64" y="24"/>
                      <a:pt x="64" y="24"/>
                    </a:cubicBezTo>
                    <a:cubicBezTo>
                      <a:pt x="63" y="24"/>
                      <a:pt x="63" y="24"/>
                      <a:pt x="63" y="24"/>
                    </a:cubicBezTo>
                    <a:cubicBezTo>
                      <a:pt x="62" y="24"/>
                      <a:pt x="62" y="24"/>
                      <a:pt x="61" y="24"/>
                    </a:cubicBezTo>
                    <a:cubicBezTo>
                      <a:pt x="61" y="24"/>
                      <a:pt x="60" y="23"/>
                      <a:pt x="60" y="23"/>
                    </a:cubicBezTo>
                    <a:cubicBezTo>
                      <a:pt x="59" y="23"/>
                      <a:pt x="58" y="22"/>
                      <a:pt x="57" y="23"/>
                    </a:cubicBezTo>
                    <a:cubicBezTo>
                      <a:pt x="57" y="24"/>
                      <a:pt x="57" y="24"/>
                      <a:pt x="57" y="24"/>
                    </a:cubicBezTo>
                    <a:cubicBezTo>
                      <a:pt x="58" y="24"/>
                      <a:pt x="57" y="24"/>
                      <a:pt x="57" y="25"/>
                    </a:cubicBezTo>
                    <a:cubicBezTo>
                      <a:pt x="56" y="25"/>
                      <a:pt x="57" y="26"/>
                      <a:pt x="56" y="26"/>
                    </a:cubicBezTo>
                    <a:cubicBezTo>
                      <a:pt x="55" y="26"/>
                      <a:pt x="56" y="27"/>
                      <a:pt x="56" y="27"/>
                    </a:cubicBezTo>
                    <a:cubicBezTo>
                      <a:pt x="56" y="28"/>
                      <a:pt x="55" y="27"/>
                      <a:pt x="55" y="27"/>
                    </a:cubicBezTo>
                    <a:cubicBezTo>
                      <a:pt x="54" y="27"/>
                      <a:pt x="54" y="28"/>
                      <a:pt x="54" y="28"/>
                    </a:cubicBezTo>
                    <a:cubicBezTo>
                      <a:pt x="53" y="28"/>
                      <a:pt x="53" y="29"/>
                      <a:pt x="52" y="29"/>
                    </a:cubicBezTo>
                    <a:cubicBezTo>
                      <a:pt x="52" y="29"/>
                      <a:pt x="53" y="29"/>
                      <a:pt x="52" y="30"/>
                    </a:cubicBezTo>
                    <a:cubicBezTo>
                      <a:pt x="52" y="30"/>
                      <a:pt x="52" y="29"/>
                      <a:pt x="52" y="29"/>
                    </a:cubicBezTo>
                    <a:cubicBezTo>
                      <a:pt x="52" y="27"/>
                      <a:pt x="50" y="28"/>
                      <a:pt x="50" y="28"/>
                    </a:cubicBezTo>
                    <a:cubicBezTo>
                      <a:pt x="49" y="27"/>
                      <a:pt x="48" y="27"/>
                      <a:pt x="47" y="26"/>
                    </a:cubicBezTo>
                    <a:cubicBezTo>
                      <a:pt x="47" y="25"/>
                      <a:pt x="46" y="25"/>
                      <a:pt x="46" y="26"/>
                    </a:cubicBezTo>
                    <a:cubicBezTo>
                      <a:pt x="45" y="27"/>
                      <a:pt x="45" y="27"/>
                      <a:pt x="44" y="27"/>
                    </a:cubicBezTo>
                    <a:cubicBezTo>
                      <a:pt x="43" y="27"/>
                      <a:pt x="43" y="28"/>
                      <a:pt x="43" y="28"/>
                    </a:cubicBezTo>
                    <a:cubicBezTo>
                      <a:pt x="43" y="28"/>
                      <a:pt x="42" y="29"/>
                      <a:pt x="42" y="29"/>
                    </a:cubicBezTo>
                    <a:cubicBezTo>
                      <a:pt x="42" y="29"/>
                      <a:pt x="42" y="29"/>
                      <a:pt x="42" y="30"/>
                    </a:cubicBezTo>
                    <a:cubicBezTo>
                      <a:pt x="42" y="30"/>
                      <a:pt x="41" y="30"/>
                      <a:pt x="41" y="30"/>
                    </a:cubicBezTo>
                    <a:cubicBezTo>
                      <a:pt x="41" y="30"/>
                      <a:pt x="41" y="30"/>
                      <a:pt x="40" y="30"/>
                    </a:cubicBezTo>
                    <a:cubicBezTo>
                      <a:pt x="40" y="30"/>
                      <a:pt x="41" y="31"/>
                      <a:pt x="40" y="31"/>
                    </a:cubicBezTo>
                    <a:cubicBezTo>
                      <a:pt x="40" y="31"/>
                      <a:pt x="40" y="31"/>
                      <a:pt x="40" y="31"/>
                    </a:cubicBezTo>
                    <a:cubicBezTo>
                      <a:pt x="39" y="32"/>
                      <a:pt x="39" y="33"/>
                      <a:pt x="38" y="33"/>
                    </a:cubicBezTo>
                    <a:cubicBezTo>
                      <a:pt x="38" y="33"/>
                      <a:pt x="37" y="32"/>
                      <a:pt x="37" y="32"/>
                    </a:cubicBezTo>
                    <a:cubicBezTo>
                      <a:pt x="35" y="32"/>
                      <a:pt x="36" y="32"/>
                      <a:pt x="36" y="31"/>
                    </a:cubicBezTo>
                    <a:cubicBezTo>
                      <a:pt x="36" y="30"/>
                      <a:pt x="36" y="30"/>
                      <a:pt x="36" y="29"/>
                    </a:cubicBezTo>
                    <a:cubicBezTo>
                      <a:pt x="36" y="29"/>
                      <a:pt x="37" y="29"/>
                      <a:pt x="36" y="29"/>
                    </a:cubicBezTo>
                    <a:cubicBezTo>
                      <a:pt x="36" y="29"/>
                      <a:pt x="37" y="28"/>
                      <a:pt x="37" y="28"/>
                    </a:cubicBezTo>
                    <a:cubicBezTo>
                      <a:pt x="37" y="28"/>
                      <a:pt x="37" y="28"/>
                      <a:pt x="37" y="27"/>
                    </a:cubicBezTo>
                    <a:cubicBezTo>
                      <a:pt x="38" y="27"/>
                      <a:pt x="38" y="27"/>
                      <a:pt x="38" y="26"/>
                    </a:cubicBezTo>
                    <a:cubicBezTo>
                      <a:pt x="37" y="26"/>
                      <a:pt x="38" y="26"/>
                      <a:pt x="38" y="25"/>
                    </a:cubicBezTo>
                    <a:cubicBezTo>
                      <a:pt x="38" y="25"/>
                      <a:pt x="37" y="25"/>
                      <a:pt x="37" y="25"/>
                    </a:cubicBezTo>
                    <a:cubicBezTo>
                      <a:pt x="37" y="24"/>
                      <a:pt x="37" y="24"/>
                      <a:pt x="37" y="23"/>
                    </a:cubicBezTo>
                    <a:cubicBezTo>
                      <a:pt x="36" y="23"/>
                      <a:pt x="36" y="23"/>
                      <a:pt x="36" y="22"/>
                    </a:cubicBezTo>
                    <a:cubicBezTo>
                      <a:pt x="36" y="22"/>
                      <a:pt x="37" y="21"/>
                      <a:pt x="37" y="21"/>
                    </a:cubicBezTo>
                    <a:cubicBezTo>
                      <a:pt x="37" y="20"/>
                      <a:pt x="38" y="20"/>
                      <a:pt x="37" y="20"/>
                    </a:cubicBezTo>
                    <a:cubicBezTo>
                      <a:pt x="37" y="19"/>
                      <a:pt x="37" y="18"/>
                      <a:pt x="37" y="17"/>
                    </a:cubicBezTo>
                    <a:cubicBezTo>
                      <a:pt x="38" y="17"/>
                      <a:pt x="38" y="16"/>
                      <a:pt x="38" y="16"/>
                    </a:cubicBezTo>
                    <a:cubicBezTo>
                      <a:pt x="37" y="15"/>
                      <a:pt x="37" y="15"/>
                      <a:pt x="37" y="14"/>
                    </a:cubicBezTo>
                    <a:cubicBezTo>
                      <a:pt x="37" y="14"/>
                      <a:pt x="37" y="13"/>
                      <a:pt x="36" y="13"/>
                    </a:cubicBezTo>
                    <a:cubicBezTo>
                      <a:pt x="36" y="12"/>
                      <a:pt x="36" y="12"/>
                      <a:pt x="36" y="12"/>
                    </a:cubicBezTo>
                    <a:cubicBezTo>
                      <a:pt x="36" y="11"/>
                      <a:pt x="36" y="11"/>
                      <a:pt x="36" y="11"/>
                    </a:cubicBezTo>
                    <a:cubicBezTo>
                      <a:pt x="37" y="11"/>
                      <a:pt x="37" y="10"/>
                      <a:pt x="36" y="10"/>
                    </a:cubicBezTo>
                    <a:cubicBezTo>
                      <a:pt x="36" y="10"/>
                      <a:pt x="35" y="10"/>
                      <a:pt x="35" y="10"/>
                    </a:cubicBezTo>
                    <a:cubicBezTo>
                      <a:pt x="34" y="10"/>
                      <a:pt x="34" y="10"/>
                      <a:pt x="33" y="10"/>
                    </a:cubicBezTo>
                    <a:cubicBezTo>
                      <a:pt x="32" y="10"/>
                      <a:pt x="32" y="11"/>
                      <a:pt x="32" y="11"/>
                    </a:cubicBezTo>
                    <a:cubicBezTo>
                      <a:pt x="31" y="11"/>
                      <a:pt x="31" y="10"/>
                      <a:pt x="30" y="10"/>
                    </a:cubicBezTo>
                    <a:cubicBezTo>
                      <a:pt x="30" y="10"/>
                      <a:pt x="30" y="11"/>
                      <a:pt x="30" y="11"/>
                    </a:cubicBezTo>
                    <a:cubicBezTo>
                      <a:pt x="30" y="11"/>
                      <a:pt x="30" y="11"/>
                      <a:pt x="30" y="11"/>
                    </a:cubicBezTo>
                    <a:cubicBezTo>
                      <a:pt x="29" y="11"/>
                      <a:pt x="29" y="10"/>
                      <a:pt x="28" y="10"/>
                    </a:cubicBezTo>
                    <a:cubicBezTo>
                      <a:pt x="28" y="9"/>
                      <a:pt x="28" y="8"/>
                      <a:pt x="28" y="7"/>
                    </a:cubicBezTo>
                    <a:cubicBezTo>
                      <a:pt x="29" y="7"/>
                      <a:pt x="29" y="6"/>
                      <a:pt x="29" y="6"/>
                    </a:cubicBezTo>
                    <a:cubicBezTo>
                      <a:pt x="29" y="5"/>
                      <a:pt x="29" y="4"/>
                      <a:pt x="29" y="4"/>
                    </a:cubicBezTo>
                    <a:cubicBezTo>
                      <a:pt x="29" y="4"/>
                      <a:pt x="28" y="4"/>
                      <a:pt x="28" y="3"/>
                    </a:cubicBezTo>
                    <a:cubicBezTo>
                      <a:pt x="28" y="3"/>
                      <a:pt x="27" y="3"/>
                      <a:pt x="27" y="2"/>
                    </a:cubicBezTo>
                    <a:cubicBezTo>
                      <a:pt x="26" y="1"/>
                      <a:pt x="26" y="1"/>
                      <a:pt x="26" y="1"/>
                    </a:cubicBezTo>
                    <a:cubicBezTo>
                      <a:pt x="25" y="1"/>
                      <a:pt x="25" y="2"/>
                      <a:pt x="25" y="2"/>
                    </a:cubicBezTo>
                    <a:cubicBezTo>
                      <a:pt x="25" y="2"/>
                      <a:pt x="25" y="2"/>
                      <a:pt x="25" y="2"/>
                    </a:cubicBezTo>
                    <a:cubicBezTo>
                      <a:pt x="25" y="3"/>
                      <a:pt x="25" y="3"/>
                      <a:pt x="25" y="3"/>
                    </a:cubicBezTo>
                    <a:cubicBezTo>
                      <a:pt x="25" y="3"/>
                      <a:pt x="24" y="3"/>
                      <a:pt x="24" y="3"/>
                    </a:cubicBezTo>
                    <a:cubicBezTo>
                      <a:pt x="24" y="2"/>
                      <a:pt x="24" y="2"/>
                      <a:pt x="24" y="1"/>
                    </a:cubicBezTo>
                    <a:cubicBezTo>
                      <a:pt x="23" y="1"/>
                      <a:pt x="23" y="1"/>
                      <a:pt x="23" y="1"/>
                    </a:cubicBezTo>
                    <a:cubicBezTo>
                      <a:pt x="23" y="1"/>
                      <a:pt x="23" y="0"/>
                      <a:pt x="22" y="0"/>
                    </a:cubicBezTo>
                    <a:cubicBezTo>
                      <a:pt x="21" y="1"/>
                      <a:pt x="21" y="3"/>
                      <a:pt x="20" y="2"/>
                    </a:cubicBezTo>
                    <a:cubicBezTo>
                      <a:pt x="20" y="2"/>
                      <a:pt x="18" y="2"/>
                      <a:pt x="18" y="1"/>
                    </a:cubicBezTo>
                    <a:cubicBezTo>
                      <a:pt x="18" y="2"/>
                      <a:pt x="20" y="3"/>
                      <a:pt x="19" y="4"/>
                    </a:cubicBezTo>
                    <a:cubicBezTo>
                      <a:pt x="18" y="4"/>
                      <a:pt x="18" y="5"/>
                      <a:pt x="17" y="5"/>
                    </a:cubicBezTo>
                    <a:cubicBezTo>
                      <a:pt x="17" y="5"/>
                      <a:pt x="16" y="4"/>
                      <a:pt x="16" y="4"/>
                    </a:cubicBezTo>
                    <a:cubicBezTo>
                      <a:pt x="15" y="4"/>
                      <a:pt x="14" y="5"/>
                      <a:pt x="15" y="6"/>
                    </a:cubicBezTo>
                    <a:cubicBezTo>
                      <a:pt x="15" y="6"/>
                      <a:pt x="15" y="8"/>
                      <a:pt x="14" y="8"/>
                    </a:cubicBezTo>
                    <a:cubicBezTo>
                      <a:pt x="14" y="8"/>
                      <a:pt x="14" y="8"/>
                      <a:pt x="13" y="8"/>
                    </a:cubicBezTo>
                    <a:cubicBezTo>
                      <a:pt x="13" y="7"/>
                      <a:pt x="12" y="8"/>
                      <a:pt x="12" y="8"/>
                    </a:cubicBezTo>
                    <a:cubicBezTo>
                      <a:pt x="11" y="8"/>
                      <a:pt x="11" y="8"/>
                      <a:pt x="11" y="9"/>
                    </a:cubicBezTo>
                    <a:cubicBezTo>
                      <a:pt x="10" y="9"/>
                      <a:pt x="10" y="9"/>
                      <a:pt x="10" y="9"/>
                    </a:cubicBezTo>
                    <a:cubicBezTo>
                      <a:pt x="9" y="9"/>
                      <a:pt x="9" y="9"/>
                      <a:pt x="8" y="9"/>
                    </a:cubicBezTo>
                    <a:cubicBezTo>
                      <a:pt x="8" y="9"/>
                      <a:pt x="8" y="9"/>
                      <a:pt x="7" y="9"/>
                    </a:cubicBezTo>
                    <a:cubicBezTo>
                      <a:pt x="7" y="8"/>
                      <a:pt x="6" y="8"/>
                      <a:pt x="6" y="8"/>
                    </a:cubicBezTo>
                    <a:cubicBezTo>
                      <a:pt x="5" y="7"/>
                      <a:pt x="5" y="9"/>
                      <a:pt x="5" y="9"/>
                    </a:cubicBezTo>
                    <a:cubicBezTo>
                      <a:pt x="5" y="10"/>
                      <a:pt x="4" y="10"/>
                      <a:pt x="4" y="10"/>
                    </a:cubicBezTo>
                    <a:cubicBezTo>
                      <a:pt x="4" y="10"/>
                      <a:pt x="4" y="11"/>
                      <a:pt x="4" y="11"/>
                    </a:cubicBezTo>
                    <a:cubicBezTo>
                      <a:pt x="4" y="12"/>
                      <a:pt x="3" y="12"/>
                      <a:pt x="4" y="13"/>
                    </a:cubicBezTo>
                    <a:cubicBezTo>
                      <a:pt x="4" y="13"/>
                      <a:pt x="4" y="13"/>
                      <a:pt x="4" y="13"/>
                    </a:cubicBezTo>
                    <a:cubicBezTo>
                      <a:pt x="4" y="13"/>
                      <a:pt x="4" y="13"/>
                      <a:pt x="4" y="14"/>
                    </a:cubicBezTo>
                    <a:cubicBezTo>
                      <a:pt x="4" y="15"/>
                      <a:pt x="4" y="15"/>
                      <a:pt x="4" y="16"/>
                    </a:cubicBezTo>
                    <a:cubicBezTo>
                      <a:pt x="4" y="16"/>
                      <a:pt x="3" y="17"/>
                      <a:pt x="3" y="17"/>
                    </a:cubicBezTo>
                    <a:cubicBezTo>
                      <a:pt x="3" y="17"/>
                      <a:pt x="4" y="18"/>
                      <a:pt x="4" y="18"/>
                    </a:cubicBezTo>
                    <a:cubicBezTo>
                      <a:pt x="4" y="18"/>
                      <a:pt x="4" y="19"/>
                      <a:pt x="4" y="20"/>
                    </a:cubicBezTo>
                    <a:cubicBezTo>
                      <a:pt x="4" y="20"/>
                      <a:pt x="4" y="20"/>
                      <a:pt x="4" y="21"/>
                    </a:cubicBezTo>
                    <a:cubicBezTo>
                      <a:pt x="5" y="21"/>
                      <a:pt x="4" y="21"/>
                      <a:pt x="4" y="21"/>
                    </a:cubicBezTo>
                    <a:cubicBezTo>
                      <a:pt x="3" y="21"/>
                      <a:pt x="3" y="22"/>
                      <a:pt x="2" y="22"/>
                    </a:cubicBezTo>
                    <a:cubicBezTo>
                      <a:pt x="2" y="22"/>
                      <a:pt x="1" y="22"/>
                      <a:pt x="0" y="21"/>
                    </a:cubicBezTo>
                    <a:cubicBezTo>
                      <a:pt x="0" y="22"/>
                      <a:pt x="1" y="23"/>
                      <a:pt x="2" y="23"/>
                    </a:cubicBezTo>
                    <a:cubicBezTo>
                      <a:pt x="2" y="24"/>
                      <a:pt x="2" y="25"/>
                      <a:pt x="3" y="24"/>
                    </a:cubicBezTo>
                    <a:cubicBezTo>
                      <a:pt x="3" y="24"/>
                      <a:pt x="3" y="24"/>
                      <a:pt x="3" y="24"/>
                    </a:cubicBezTo>
                    <a:cubicBezTo>
                      <a:pt x="4" y="24"/>
                      <a:pt x="3" y="25"/>
                      <a:pt x="3" y="25"/>
                    </a:cubicBezTo>
                    <a:cubicBezTo>
                      <a:pt x="4" y="25"/>
                      <a:pt x="4" y="26"/>
                      <a:pt x="4" y="26"/>
                    </a:cubicBezTo>
                    <a:cubicBezTo>
                      <a:pt x="4" y="26"/>
                      <a:pt x="4" y="27"/>
                      <a:pt x="5" y="27"/>
                    </a:cubicBezTo>
                    <a:cubicBezTo>
                      <a:pt x="5" y="27"/>
                      <a:pt x="5" y="28"/>
                      <a:pt x="5" y="28"/>
                    </a:cubicBezTo>
                    <a:cubicBezTo>
                      <a:pt x="5" y="28"/>
                      <a:pt x="4" y="29"/>
                      <a:pt x="5" y="29"/>
                    </a:cubicBezTo>
                    <a:cubicBezTo>
                      <a:pt x="5" y="29"/>
                      <a:pt x="5" y="30"/>
                      <a:pt x="5" y="30"/>
                    </a:cubicBezTo>
                    <a:cubicBezTo>
                      <a:pt x="6" y="31"/>
                      <a:pt x="6" y="31"/>
                      <a:pt x="6" y="31"/>
                    </a:cubicBezTo>
                    <a:cubicBezTo>
                      <a:pt x="7" y="32"/>
                      <a:pt x="8" y="32"/>
                      <a:pt x="8" y="33"/>
                    </a:cubicBezTo>
                    <a:cubicBezTo>
                      <a:pt x="9" y="34"/>
                      <a:pt x="9" y="35"/>
                      <a:pt x="10" y="35"/>
                    </a:cubicBezTo>
                    <a:cubicBezTo>
                      <a:pt x="11" y="36"/>
                      <a:pt x="11" y="36"/>
                      <a:pt x="12" y="37"/>
                    </a:cubicBezTo>
                    <a:cubicBezTo>
                      <a:pt x="12" y="38"/>
                      <a:pt x="13" y="38"/>
                      <a:pt x="13" y="38"/>
                    </a:cubicBezTo>
                    <a:cubicBezTo>
                      <a:pt x="13" y="39"/>
                      <a:pt x="14" y="39"/>
                      <a:pt x="14" y="40"/>
                    </a:cubicBezTo>
                    <a:cubicBezTo>
                      <a:pt x="14" y="40"/>
                      <a:pt x="14" y="40"/>
                      <a:pt x="14" y="40"/>
                    </a:cubicBezTo>
                    <a:cubicBezTo>
                      <a:pt x="14" y="41"/>
                      <a:pt x="13" y="41"/>
                      <a:pt x="14" y="42"/>
                    </a:cubicBezTo>
                    <a:cubicBezTo>
                      <a:pt x="14" y="42"/>
                      <a:pt x="14" y="42"/>
                      <a:pt x="14" y="42"/>
                    </a:cubicBezTo>
                    <a:cubicBezTo>
                      <a:pt x="15" y="43"/>
                      <a:pt x="15" y="43"/>
                      <a:pt x="15" y="44"/>
                    </a:cubicBezTo>
                    <a:cubicBezTo>
                      <a:pt x="15" y="44"/>
                      <a:pt x="16" y="45"/>
                      <a:pt x="16" y="46"/>
                    </a:cubicBezTo>
                    <a:cubicBezTo>
                      <a:pt x="17" y="48"/>
                      <a:pt x="17" y="44"/>
                      <a:pt x="18" y="44"/>
                    </a:cubicBezTo>
                    <a:cubicBezTo>
                      <a:pt x="18" y="45"/>
                      <a:pt x="18" y="45"/>
                      <a:pt x="18" y="45"/>
                    </a:cubicBezTo>
                    <a:cubicBezTo>
                      <a:pt x="18" y="46"/>
                      <a:pt x="19" y="46"/>
                      <a:pt x="18" y="47"/>
                    </a:cubicBezTo>
                    <a:cubicBezTo>
                      <a:pt x="18" y="47"/>
                      <a:pt x="18" y="47"/>
                      <a:pt x="18" y="47"/>
                    </a:cubicBezTo>
                    <a:cubicBezTo>
                      <a:pt x="18" y="47"/>
                      <a:pt x="18" y="48"/>
                      <a:pt x="18" y="48"/>
                    </a:cubicBezTo>
                    <a:cubicBezTo>
                      <a:pt x="18" y="48"/>
                      <a:pt x="18" y="48"/>
                      <a:pt x="17" y="48"/>
                    </a:cubicBezTo>
                    <a:cubicBezTo>
                      <a:pt x="16" y="48"/>
                      <a:pt x="17" y="49"/>
                      <a:pt x="16" y="49"/>
                    </a:cubicBezTo>
                    <a:cubicBezTo>
                      <a:pt x="15" y="49"/>
                      <a:pt x="16" y="49"/>
                      <a:pt x="16" y="50"/>
                    </a:cubicBezTo>
                    <a:cubicBezTo>
                      <a:pt x="16" y="50"/>
                      <a:pt x="16" y="51"/>
                      <a:pt x="16" y="51"/>
                    </a:cubicBezTo>
                    <a:cubicBezTo>
                      <a:pt x="16" y="52"/>
                      <a:pt x="16" y="52"/>
                      <a:pt x="16" y="53"/>
                    </a:cubicBezTo>
                    <a:cubicBezTo>
                      <a:pt x="16" y="54"/>
                      <a:pt x="16" y="55"/>
                      <a:pt x="16" y="56"/>
                    </a:cubicBezTo>
                    <a:cubicBezTo>
                      <a:pt x="16" y="56"/>
                      <a:pt x="16" y="57"/>
                      <a:pt x="16" y="57"/>
                    </a:cubicBezTo>
                    <a:cubicBezTo>
                      <a:pt x="16" y="57"/>
                      <a:pt x="16" y="56"/>
                      <a:pt x="16" y="56"/>
                    </a:cubicBezTo>
                    <a:cubicBezTo>
                      <a:pt x="15" y="56"/>
                      <a:pt x="15" y="57"/>
                      <a:pt x="15" y="57"/>
                    </a:cubicBezTo>
                    <a:cubicBezTo>
                      <a:pt x="15" y="57"/>
                      <a:pt x="14" y="57"/>
                      <a:pt x="14" y="57"/>
                    </a:cubicBezTo>
                    <a:cubicBezTo>
                      <a:pt x="14" y="58"/>
                      <a:pt x="13" y="58"/>
                      <a:pt x="13" y="58"/>
                    </a:cubicBezTo>
                    <a:cubicBezTo>
                      <a:pt x="13" y="58"/>
                      <a:pt x="13" y="59"/>
                      <a:pt x="13" y="59"/>
                    </a:cubicBezTo>
                    <a:cubicBezTo>
                      <a:pt x="13" y="59"/>
                      <a:pt x="13" y="60"/>
                      <a:pt x="13" y="60"/>
                    </a:cubicBezTo>
                    <a:cubicBezTo>
                      <a:pt x="13" y="60"/>
                      <a:pt x="13" y="60"/>
                      <a:pt x="13" y="61"/>
                    </a:cubicBezTo>
                    <a:cubicBezTo>
                      <a:pt x="14" y="62"/>
                      <a:pt x="14" y="62"/>
                      <a:pt x="14" y="63"/>
                    </a:cubicBezTo>
                    <a:cubicBezTo>
                      <a:pt x="15" y="64"/>
                      <a:pt x="16" y="65"/>
                      <a:pt x="17" y="66"/>
                    </a:cubicBezTo>
                    <a:cubicBezTo>
                      <a:pt x="17" y="67"/>
                      <a:pt x="18" y="68"/>
                      <a:pt x="19" y="68"/>
                    </a:cubicBezTo>
                    <a:cubicBezTo>
                      <a:pt x="19" y="69"/>
                      <a:pt x="19" y="69"/>
                      <a:pt x="20" y="69"/>
                    </a:cubicBezTo>
                    <a:cubicBezTo>
                      <a:pt x="20" y="70"/>
                      <a:pt x="21" y="70"/>
                      <a:pt x="21" y="70"/>
                    </a:cubicBezTo>
                    <a:cubicBezTo>
                      <a:pt x="22" y="71"/>
                      <a:pt x="22" y="72"/>
                      <a:pt x="22" y="72"/>
                    </a:cubicBezTo>
                    <a:cubicBezTo>
                      <a:pt x="23" y="72"/>
                      <a:pt x="23" y="72"/>
                      <a:pt x="23" y="73"/>
                    </a:cubicBezTo>
                    <a:cubicBezTo>
                      <a:pt x="23" y="73"/>
                      <a:pt x="23" y="73"/>
                      <a:pt x="23" y="73"/>
                    </a:cubicBezTo>
                    <a:cubicBezTo>
                      <a:pt x="24" y="74"/>
                      <a:pt x="24" y="75"/>
                      <a:pt x="24" y="76"/>
                    </a:cubicBezTo>
                    <a:cubicBezTo>
                      <a:pt x="24" y="76"/>
                      <a:pt x="24" y="77"/>
                      <a:pt x="25" y="78"/>
                    </a:cubicBezTo>
                    <a:cubicBezTo>
                      <a:pt x="25" y="78"/>
                      <a:pt x="24" y="79"/>
                      <a:pt x="25" y="80"/>
                    </a:cubicBezTo>
                    <a:cubicBezTo>
                      <a:pt x="25" y="80"/>
                      <a:pt x="24" y="80"/>
                      <a:pt x="24" y="81"/>
                    </a:cubicBezTo>
                    <a:cubicBezTo>
                      <a:pt x="24" y="81"/>
                      <a:pt x="24" y="81"/>
                      <a:pt x="24" y="82"/>
                    </a:cubicBezTo>
                    <a:cubicBezTo>
                      <a:pt x="24" y="82"/>
                      <a:pt x="24" y="82"/>
                      <a:pt x="25" y="82"/>
                    </a:cubicBezTo>
                    <a:cubicBezTo>
                      <a:pt x="25" y="83"/>
                      <a:pt x="25" y="84"/>
                      <a:pt x="25" y="84"/>
                    </a:cubicBezTo>
                    <a:cubicBezTo>
                      <a:pt x="25" y="85"/>
                      <a:pt x="26" y="85"/>
                      <a:pt x="26" y="86"/>
                    </a:cubicBezTo>
                    <a:cubicBezTo>
                      <a:pt x="26" y="86"/>
                      <a:pt x="28" y="87"/>
                      <a:pt x="28" y="87"/>
                    </a:cubicBezTo>
                    <a:cubicBezTo>
                      <a:pt x="27" y="88"/>
                      <a:pt x="28" y="89"/>
                      <a:pt x="28" y="90"/>
                    </a:cubicBezTo>
                    <a:cubicBezTo>
                      <a:pt x="28" y="90"/>
                      <a:pt x="28" y="91"/>
                      <a:pt x="28" y="91"/>
                    </a:cubicBezTo>
                    <a:cubicBezTo>
                      <a:pt x="28" y="92"/>
                      <a:pt x="28" y="92"/>
                      <a:pt x="29" y="92"/>
                    </a:cubicBezTo>
                    <a:cubicBezTo>
                      <a:pt x="29" y="92"/>
                      <a:pt x="29" y="92"/>
                      <a:pt x="29" y="92"/>
                    </a:cubicBezTo>
                    <a:cubicBezTo>
                      <a:pt x="29" y="93"/>
                      <a:pt x="29" y="93"/>
                      <a:pt x="29" y="93"/>
                    </a:cubicBezTo>
                    <a:cubicBezTo>
                      <a:pt x="30" y="94"/>
                      <a:pt x="29" y="95"/>
                      <a:pt x="30" y="95"/>
                    </a:cubicBezTo>
                    <a:cubicBezTo>
                      <a:pt x="31" y="95"/>
                      <a:pt x="30" y="96"/>
                      <a:pt x="30" y="97"/>
                    </a:cubicBezTo>
                    <a:cubicBezTo>
                      <a:pt x="30" y="97"/>
                      <a:pt x="29" y="97"/>
                      <a:pt x="29" y="97"/>
                    </a:cubicBezTo>
                    <a:cubicBezTo>
                      <a:pt x="29" y="98"/>
                      <a:pt x="29" y="98"/>
                      <a:pt x="29" y="98"/>
                    </a:cubicBezTo>
                    <a:cubicBezTo>
                      <a:pt x="29" y="99"/>
                      <a:pt x="29" y="99"/>
                      <a:pt x="28" y="99"/>
                    </a:cubicBezTo>
                    <a:cubicBezTo>
                      <a:pt x="28" y="100"/>
                      <a:pt x="28" y="100"/>
                      <a:pt x="28" y="101"/>
                    </a:cubicBezTo>
                    <a:cubicBezTo>
                      <a:pt x="28" y="101"/>
                      <a:pt x="27" y="102"/>
                      <a:pt x="27" y="103"/>
                    </a:cubicBezTo>
                    <a:cubicBezTo>
                      <a:pt x="27" y="103"/>
                      <a:pt x="26" y="104"/>
                      <a:pt x="26" y="104"/>
                    </a:cubicBezTo>
                    <a:cubicBezTo>
                      <a:pt x="26" y="104"/>
                      <a:pt x="26" y="105"/>
                      <a:pt x="25" y="105"/>
                    </a:cubicBezTo>
                    <a:cubicBezTo>
                      <a:pt x="25" y="105"/>
                      <a:pt x="25" y="105"/>
                      <a:pt x="25" y="105"/>
                    </a:cubicBezTo>
                    <a:cubicBezTo>
                      <a:pt x="25" y="105"/>
                      <a:pt x="25" y="106"/>
                      <a:pt x="25" y="106"/>
                    </a:cubicBezTo>
                    <a:cubicBezTo>
                      <a:pt x="24" y="106"/>
                      <a:pt x="24" y="106"/>
                      <a:pt x="24" y="107"/>
                    </a:cubicBezTo>
                    <a:cubicBezTo>
                      <a:pt x="23" y="107"/>
                      <a:pt x="23" y="108"/>
                      <a:pt x="23" y="109"/>
                    </a:cubicBezTo>
                    <a:cubicBezTo>
                      <a:pt x="23" y="109"/>
                      <a:pt x="23" y="110"/>
                      <a:pt x="23" y="110"/>
                    </a:cubicBezTo>
                    <a:cubicBezTo>
                      <a:pt x="23" y="111"/>
                      <a:pt x="23" y="112"/>
                      <a:pt x="23" y="113"/>
                    </a:cubicBezTo>
                    <a:cubicBezTo>
                      <a:pt x="22" y="114"/>
                      <a:pt x="22" y="114"/>
                      <a:pt x="22" y="115"/>
                    </a:cubicBezTo>
                    <a:cubicBezTo>
                      <a:pt x="22" y="115"/>
                      <a:pt x="22" y="116"/>
                      <a:pt x="22" y="116"/>
                    </a:cubicBezTo>
                    <a:cubicBezTo>
                      <a:pt x="22" y="116"/>
                      <a:pt x="21" y="117"/>
                      <a:pt x="21" y="117"/>
                    </a:cubicBezTo>
                    <a:cubicBezTo>
                      <a:pt x="21" y="117"/>
                      <a:pt x="21" y="118"/>
                      <a:pt x="22" y="117"/>
                    </a:cubicBezTo>
                    <a:cubicBezTo>
                      <a:pt x="21" y="118"/>
                      <a:pt x="21" y="118"/>
                      <a:pt x="21" y="118"/>
                    </a:cubicBezTo>
                    <a:cubicBezTo>
                      <a:pt x="22" y="118"/>
                      <a:pt x="21" y="119"/>
                      <a:pt x="21" y="119"/>
                    </a:cubicBezTo>
                    <a:cubicBezTo>
                      <a:pt x="21" y="119"/>
                      <a:pt x="20" y="119"/>
                      <a:pt x="21" y="120"/>
                    </a:cubicBezTo>
                    <a:cubicBezTo>
                      <a:pt x="21" y="120"/>
                      <a:pt x="21" y="120"/>
                      <a:pt x="21" y="120"/>
                    </a:cubicBezTo>
                    <a:cubicBezTo>
                      <a:pt x="21" y="121"/>
                      <a:pt x="21" y="121"/>
                      <a:pt x="21" y="120"/>
                    </a:cubicBezTo>
                    <a:cubicBezTo>
                      <a:pt x="20" y="121"/>
                      <a:pt x="20" y="122"/>
                      <a:pt x="20" y="123"/>
                    </a:cubicBezTo>
                    <a:cubicBezTo>
                      <a:pt x="20" y="123"/>
                      <a:pt x="20" y="124"/>
                      <a:pt x="19" y="124"/>
                    </a:cubicBezTo>
                    <a:cubicBezTo>
                      <a:pt x="20" y="125"/>
                      <a:pt x="20" y="125"/>
                      <a:pt x="20" y="126"/>
                    </a:cubicBezTo>
                    <a:cubicBezTo>
                      <a:pt x="20" y="126"/>
                      <a:pt x="20" y="126"/>
                      <a:pt x="20" y="126"/>
                    </a:cubicBezTo>
                    <a:cubicBezTo>
                      <a:pt x="20" y="126"/>
                      <a:pt x="20" y="126"/>
                      <a:pt x="20" y="126"/>
                    </a:cubicBezTo>
                    <a:cubicBezTo>
                      <a:pt x="20" y="126"/>
                      <a:pt x="20" y="127"/>
                      <a:pt x="19" y="127"/>
                    </a:cubicBezTo>
                    <a:cubicBezTo>
                      <a:pt x="19" y="128"/>
                      <a:pt x="19" y="128"/>
                      <a:pt x="19" y="129"/>
                    </a:cubicBezTo>
                    <a:cubicBezTo>
                      <a:pt x="19" y="129"/>
                      <a:pt x="19" y="130"/>
                      <a:pt x="19" y="130"/>
                    </a:cubicBezTo>
                    <a:cubicBezTo>
                      <a:pt x="19" y="131"/>
                      <a:pt x="19" y="131"/>
                      <a:pt x="19" y="132"/>
                    </a:cubicBezTo>
                    <a:cubicBezTo>
                      <a:pt x="19" y="131"/>
                      <a:pt x="19" y="131"/>
                      <a:pt x="19" y="131"/>
                    </a:cubicBezTo>
                    <a:cubicBezTo>
                      <a:pt x="18" y="132"/>
                      <a:pt x="19" y="133"/>
                      <a:pt x="19" y="133"/>
                    </a:cubicBezTo>
                    <a:cubicBezTo>
                      <a:pt x="19" y="134"/>
                      <a:pt x="19" y="135"/>
                      <a:pt x="20" y="135"/>
                    </a:cubicBezTo>
                    <a:cubicBezTo>
                      <a:pt x="20" y="135"/>
                      <a:pt x="20" y="136"/>
                      <a:pt x="21" y="136"/>
                    </a:cubicBezTo>
                    <a:cubicBezTo>
                      <a:pt x="21" y="136"/>
                      <a:pt x="21" y="136"/>
                      <a:pt x="21" y="136"/>
                    </a:cubicBezTo>
                    <a:cubicBezTo>
                      <a:pt x="21" y="135"/>
                      <a:pt x="21" y="135"/>
                      <a:pt x="21" y="134"/>
                    </a:cubicBezTo>
                    <a:cubicBezTo>
                      <a:pt x="21" y="134"/>
                      <a:pt x="21" y="134"/>
                      <a:pt x="21" y="134"/>
                    </a:cubicBezTo>
                    <a:cubicBezTo>
                      <a:pt x="21" y="134"/>
                      <a:pt x="24" y="133"/>
                      <a:pt x="23" y="134"/>
                    </a:cubicBezTo>
                    <a:cubicBezTo>
                      <a:pt x="23" y="134"/>
                      <a:pt x="23" y="135"/>
                      <a:pt x="23" y="134"/>
                    </a:cubicBezTo>
                    <a:cubicBezTo>
                      <a:pt x="24" y="134"/>
                      <a:pt x="24" y="135"/>
                      <a:pt x="24" y="135"/>
                    </a:cubicBezTo>
                    <a:cubicBezTo>
                      <a:pt x="24" y="134"/>
                      <a:pt x="24" y="137"/>
                      <a:pt x="24" y="137"/>
                    </a:cubicBezTo>
                    <a:cubicBezTo>
                      <a:pt x="25" y="137"/>
                      <a:pt x="25" y="137"/>
                      <a:pt x="25" y="137"/>
                    </a:cubicBezTo>
                    <a:cubicBezTo>
                      <a:pt x="25" y="137"/>
                      <a:pt x="25" y="137"/>
                      <a:pt x="25" y="137"/>
                    </a:cubicBezTo>
                    <a:cubicBezTo>
                      <a:pt x="26" y="137"/>
                      <a:pt x="26" y="137"/>
                      <a:pt x="26" y="137"/>
                    </a:cubicBezTo>
                    <a:cubicBezTo>
                      <a:pt x="27" y="138"/>
                      <a:pt x="27" y="139"/>
                      <a:pt x="27" y="138"/>
                    </a:cubicBezTo>
                    <a:cubicBezTo>
                      <a:pt x="28" y="139"/>
                      <a:pt x="27" y="140"/>
                      <a:pt x="27" y="141"/>
                    </a:cubicBezTo>
                    <a:cubicBezTo>
                      <a:pt x="28" y="141"/>
                      <a:pt x="28" y="140"/>
                      <a:pt x="28" y="140"/>
                    </a:cubicBezTo>
                    <a:cubicBezTo>
                      <a:pt x="28" y="140"/>
                      <a:pt x="30" y="141"/>
                      <a:pt x="29" y="141"/>
                    </a:cubicBezTo>
                    <a:cubicBezTo>
                      <a:pt x="29" y="141"/>
                      <a:pt x="30" y="142"/>
                      <a:pt x="30" y="142"/>
                    </a:cubicBezTo>
                    <a:cubicBezTo>
                      <a:pt x="30" y="143"/>
                      <a:pt x="30" y="143"/>
                      <a:pt x="30" y="144"/>
                    </a:cubicBezTo>
                    <a:cubicBezTo>
                      <a:pt x="30" y="144"/>
                      <a:pt x="31" y="145"/>
                      <a:pt x="31" y="145"/>
                    </a:cubicBezTo>
                    <a:cubicBezTo>
                      <a:pt x="32" y="145"/>
                      <a:pt x="32" y="145"/>
                      <a:pt x="32" y="145"/>
                    </a:cubicBezTo>
                    <a:cubicBezTo>
                      <a:pt x="32" y="145"/>
                      <a:pt x="32" y="144"/>
                      <a:pt x="32" y="144"/>
                    </a:cubicBezTo>
                    <a:cubicBezTo>
                      <a:pt x="32" y="146"/>
                      <a:pt x="32" y="145"/>
                      <a:pt x="33" y="144"/>
                    </a:cubicBezTo>
                    <a:cubicBezTo>
                      <a:pt x="33" y="145"/>
                      <a:pt x="32" y="145"/>
                      <a:pt x="33" y="146"/>
                    </a:cubicBezTo>
                    <a:cubicBezTo>
                      <a:pt x="33" y="147"/>
                      <a:pt x="33" y="147"/>
                      <a:pt x="34" y="147"/>
                    </a:cubicBezTo>
                    <a:cubicBezTo>
                      <a:pt x="34" y="147"/>
                      <a:pt x="35" y="146"/>
                      <a:pt x="34" y="148"/>
                    </a:cubicBezTo>
                    <a:cubicBezTo>
                      <a:pt x="34" y="148"/>
                      <a:pt x="34" y="149"/>
                      <a:pt x="34" y="149"/>
                    </a:cubicBezTo>
                    <a:cubicBezTo>
                      <a:pt x="34" y="149"/>
                      <a:pt x="34" y="150"/>
                      <a:pt x="34" y="150"/>
                    </a:cubicBezTo>
                    <a:cubicBezTo>
                      <a:pt x="35" y="150"/>
                      <a:pt x="35" y="150"/>
                      <a:pt x="35" y="150"/>
                    </a:cubicBezTo>
                    <a:cubicBezTo>
                      <a:pt x="35" y="150"/>
                      <a:pt x="35" y="151"/>
                      <a:pt x="36" y="151"/>
                    </a:cubicBezTo>
                    <a:cubicBezTo>
                      <a:pt x="36" y="151"/>
                      <a:pt x="36" y="152"/>
                      <a:pt x="37" y="152"/>
                    </a:cubicBezTo>
                    <a:cubicBezTo>
                      <a:pt x="37" y="153"/>
                      <a:pt x="37" y="153"/>
                      <a:pt x="38" y="154"/>
                    </a:cubicBezTo>
                    <a:cubicBezTo>
                      <a:pt x="38" y="153"/>
                      <a:pt x="38" y="154"/>
                      <a:pt x="39" y="155"/>
                    </a:cubicBezTo>
                    <a:cubicBezTo>
                      <a:pt x="39" y="154"/>
                      <a:pt x="39" y="154"/>
                      <a:pt x="39" y="153"/>
                    </a:cubicBezTo>
                    <a:cubicBezTo>
                      <a:pt x="39" y="152"/>
                      <a:pt x="39" y="152"/>
                      <a:pt x="39" y="152"/>
                    </a:cubicBezTo>
                    <a:cubicBezTo>
                      <a:pt x="40" y="151"/>
                      <a:pt x="40" y="153"/>
                      <a:pt x="41" y="153"/>
                    </a:cubicBezTo>
                    <a:cubicBezTo>
                      <a:pt x="42" y="154"/>
                      <a:pt x="43" y="154"/>
                      <a:pt x="43" y="154"/>
                    </a:cubicBezTo>
                    <a:cubicBezTo>
                      <a:pt x="43" y="154"/>
                      <a:pt x="44" y="154"/>
                      <a:pt x="44" y="154"/>
                    </a:cubicBezTo>
                    <a:cubicBezTo>
                      <a:pt x="44" y="154"/>
                      <a:pt x="45" y="155"/>
                      <a:pt x="45" y="155"/>
                    </a:cubicBezTo>
                    <a:cubicBezTo>
                      <a:pt x="45" y="156"/>
                      <a:pt x="45" y="156"/>
                      <a:pt x="46" y="157"/>
                    </a:cubicBezTo>
                    <a:cubicBezTo>
                      <a:pt x="46" y="157"/>
                      <a:pt x="47" y="156"/>
                      <a:pt x="47" y="156"/>
                    </a:cubicBezTo>
                    <a:cubicBezTo>
                      <a:pt x="47" y="156"/>
                      <a:pt x="47" y="156"/>
                      <a:pt x="47" y="156"/>
                    </a:cubicBezTo>
                    <a:cubicBezTo>
                      <a:pt x="47" y="157"/>
                      <a:pt x="48" y="156"/>
                      <a:pt x="48" y="156"/>
                    </a:cubicBezTo>
                    <a:cubicBezTo>
                      <a:pt x="48" y="157"/>
                      <a:pt x="49" y="157"/>
                      <a:pt x="48" y="157"/>
                    </a:cubicBezTo>
                    <a:cubicBezTo>
                      <a:pt x="48" y="158"/>
                      <a:pt x="48" y="158"/>
                      <a:pt x="48" y="158"/>
                    </a:cubicBezTo>
                    <a:cubicBezTo>
                      <a:pt x="48" y="159"/>
                      <a:pt x="48" y="160"/>
                      <a:pt x="48" y="160"/>
                    </a:cubicBezTo>
                    <a:cubicBezTo>
                      <a:pt x="48" y="160"/>
                      <a:pt x="48" y="161"/>
                      <a:pt x="47" y="161"/>
                    </a:cubicBezTo>
                    <a:cubicBezTo>
                      <a:pt x="47" y="162"/>
                      <a:pt x="48" y="162"/>
                      <a:pt x="48" y="163"/>
                    </a:cubicBezTo>
                    <a:cubicBezTo>
                      <a:pt x="49" y="163"/>
                      <a:pt x="49" y="163"/>
                      <a:pt x="50" y="163"/>
                    </a:cubicBezTo>
                    <a:cubicBezTo>
                      <a:pt x="50" y="162"/>
                      <a:pt x="50" y="161"/>
                      <a:pt x="50" y="161"/>
                    </a:cubicBezTo>
                    <a:cubicBezTo>
                      <a:pt x="51" y="161"/>
                      <a:pt x="51" y="161"/>
                      <a:pt x="52" y="161"/>
                    </a:cubicBezTo>
                    <a:cubicBezTo>
                      <a:pt x="52" y="161"/>
                      <a:pt x="53" y="160"/>
                      <a:pt x="53" y="161"/>
                    </a:cubicBezTo>
                    <a:cubicBezTo>
                      <a:pt x="54" y="161"/>
                      <a:pt x="54" y="162"/>
                      <a:pt x="54" y="162"/>
                    </a:cubicBezTo>
                    <a:cubicBezTo>
                      <a:pt x="55" y="161"/>
                      <a:pt x="55" y="162"/>
                      <a:pt x="55" y="162"/>
                    </a:cubicBezTo>
                    <a:cubicBezTo>
                      <a:pt x="56" y="162"/>
                      <a:pt x="56" y="161"/>
                      <a:pt x="56" y="161"/>
                    </a:cubicBezTo>
                    <a:cubicBezTo>
                      <a:pt x="57" y="161"/>
                      <a:pt x="56" y="160"/>
                      <a:pt x="57" y="159"/>
                    </a:cubicBezTo>
                    <a:cubicBezTo>
                      <a:pt x="57" y="159"/>
                      <a:pt x="57" y="159"/>
                      <a:pt x="57" y="158"/>
                    </a:cubicBezTo>
                    <a:cubicBezTo>
                      <a:pt x="58" y="157"/>
                      <a:pt x="57" y="156"/>
                      <a:pt x="56" y="155"/>
                    </a:cubicBezTo>
                    <a:cubicBezTo>
                      <a:pt x="56" y="155"/>
                      <a:pt x="55" y="154"/>
                      <a:pt x="55" y="154"/>
                    </a:cubicBezTo>
                    <a:cubicBezTo>
                      <a:pt x="54" y="154"/>
                      <a:pt x="54" y="153"/>
                      <a:pt x="54" y="152"/>
                    </a:cubicBezTo>
                    <a:cubicBezTo>
                      <a:pt x="53" y="151"/>
                      <a:pt x="53" y="150"/>
                      <a:pt x="52" y="150"/>
                    </a:cubicBezTo>
                    <a:cubicBezTo>
                      <a:pt x="51" y="150"/>
                      <a:pt x="50" y="149"/>
                      <a:pt x="49" y="149"/>
                    </a:cubicBezTo>
                    <a:cubicBezTo>
                      <a:pt x="50" y="149"/>
                      <a:pt x="50" y="150"/>
                      <a:pt x="50" y="150"/>
                    </a:cubicBezTo>
                    <a:cubicBezTo>
                      <a:pt x="49" y="149"/>
                      <a:pt x="48" y="150"/>
                      <a:pt x="47" y="150"/>
                    </a:cubicBezTo>
                    <a:cubicBezTo>
                      <a:pt x="46" y="150"/>
                      <a:pt x="46" y="149"/>
                      <a:pt x="45" y="149"/>
                    </a:cubicBezTo>
                    <a:cubicBezTo>
                      <a:pt x="44" y="148"/>
                      <a:pt x="43" y="147"/>
                      <a:pt x="43" y="146"/>
                    </a:cubicBezTo>
                    <a:cubicBezTo>
                      <a:pt x="43" y="147"/>
                      <a:pt x="42" y="147"/>
                      <a:pt x="41" y="147"/>
                    </a:cubicBezTo>
                    <a:cubicBezTo>
                      <a:pt x="41" y="146"/>
                      <a:pt x="41" y="146"/>
                      <a:pt x="41" y="145"/>
                    </a:cubicBezTo>
                    <a:cubicBezTo>
                      <a:pt x="40" y="145"/>
                      <a:pt x="40" y="145"/>
                      <a:pt x="40" y="144"/>
                    </a:cubicBezTo>
                    <a:cubicBezTo>
                      <a:pt x="39" y="144"/>
                      <a:pt x="38" y="142"/>
                      <a:pt x="38" y="141"/>
                    </a:cubicBezTo>
                    <a:cubicBezTo>
                      <a:pt x="38" y="141"/>
                      <a:pt x="38" y="140"/>
                      <a:pt x="38" y="140"/>
                    </a:cubicBezTo>
                    <a:cubicBezTo>
                      <a:pt x="39" y="140"/>
                      <a:pt x="39" y="139"/>
                      <a:pt x="40" y="140"/>
                    </a:cubicBezTo>
                    <a:cubicBezTo>
                      <a:pt x="40" y="141"/>
                      <a:pt x="40" y="141"/>
                      <a:pt x="39" y="142"/>
                    </a:cubicBezTo>
                    <a:cubicBezTo>
                      <a:pt x="39" y="142"/>
                      <a:pt x="39" y="143"/>
                      <a:pt x="40" y="142"/>
                    </a:cubicBezTo>
                    <a:cubicBezTo>
                      <a:pt x="40" y="142"/>
                      <a:pt x="40" y="142"/>
                      <a:pt x="40" y="142"/>
                    </a:cubicBezTo>
                    <a:cubicBezTo>
                      <a:pt x="41" y="143"/>
                      <a:pt x="41" y="144"/>
                      <a:pt x="41" y="145"/>
                    </a:cubicBezTo>
                    <a:cubicBezTo>
                      <a:pt x="41" y="145"/>
                      <a:pt x="42" y="146"/>
                      <a:pt x="42" y="146"/>
                    </a:cubicBezTo>
                    <a:cubicBezTo>
                      <a:pt x="43" y="146"/>
                      <a:pt x="41" y="144"/>
                      <a:pt x="41" y="143"/>
                    </a:cubicBezTo>
                    <a:cubicBezTo>
                      <a:pt x="41" y="142"/>
                      <a:pt x="40" y="141"/>
                      <a:pt x="40" y="139"/>
                    </a:cubicBezTo>
                    <a:cubicBezTo>
                      <a:pt x="40" y="138"/>
                      <a:pt x="39" y="136"/>
                      <a:pt x="39" y="135"/>
                    </a:cubicBezTo>
                    <a:cubicBezTo>
                      <a:pt x="39" y="134"/>
                      <a:pt x="38" y="132"/>
                      <a:pt x="38" y="132"/>
                    </a:cubicBezTo>
                    <a:cubicBezTo>
                      <a:pt x="38" y="132"/>
                      <a:pt x="38" y="134"/>
                      <a:pt x="37" y="133"/>
                    </a:cubicBezTo>
                    <a:cubicBezTo>
                      <a:pt x="37" y="132"/>
                      <a:pt x="36" y="131"/>
                      <a:pt x="35" y="129"/>
                    </a:cubicBezTo>
                    <a:cubicBezTo>
                      <a:pt x="35" y="129"/>
                      <a:pt x="35" y="128"/>
                      <a:pt x="35" y="127"/>
                    </a:cubicBezTo>
                    <a:cubicBezTo>
                      <a:pt x="35" y="126"/>
                      <a:pt x="35" y="125"/>
                      <a:pt x="35" y="124"/>
                    </a:cubicBezTo>
                    <a:cubicBezTo>
                      <a:pt x="34" y="123"/>
                      <a:pt x="33" y="123"/>
                      <a:pt x="32" y="123"/>
                    </a:cubicBezTo>
                    <a:cubicBezTo>
                      <a:pt x="32" y="123"/>
                      <a:pt x="31" y="123"/>
                      <a:pt x="31" y="123"/>
                    </a:cubicBezTo>
                    <a:cubicBezTo>
                      <a:pt x="31" y="124"/>
                      <a:pt x="31" y="124"/>
                      <a:pt x="31" y="124"/>
                    </a:cubicBezTo>
                    <a:cubicBezTo>
                      <a:pt x="30" y="124"/>
                      <a:pt x="30" y="124"/>
                      <a:pt x="29" y="124"/>
                    </a:cubicBezTo>
                    <a:cubicBezTo>
                      <a:pt x="28" y="124"/>
                      <a:pt x="28" y="123"/>
                      <a:pt x="28" y="123"/>
                    </a:cubicBezTo>
                    <a:cubicBezTo>
                      <a:pt x="29" y="122"/>
                      <a:pt x="29" y="122"/>
                      <a:pt x="28" y="121"/>
                    </a:cubicBezTo>
                    <a:cubicBezTo>
                      <a:pt x="28" y="120"/>
                      <a:pt x="27" y="119"/>
                      <a:pt x="27" y="118"/>
                    </a:cubicBezTo>
                    <a:cubicBezTo>
                      <a:pt x="27" y="118"/>
                      <a:pt x="27" y="117"/>
                      <a:pt x="27" y="117"/>
                    </a:cubicBezTo>
                    <a:cubicBezTo>
                      <a:pt x="27" y="116"/>
                      <a:pt x="27" y="116"/>
                      <a:pt x="27" y="116"/>
                    </a:cubicBezTo>
                    <a:cubicBezTo>
                      <a:pt x="27" y="115"/>
                      <a:pt x="27" y="115"/>
                      <a:pt x="27" y="114"/>
                    </a:cubicBezTo>
                    <a:cubicBezTo>
                      <a:pt x="27" y="114"/>
                      <a:pt x="27" y="113"/>
                      <a:pt x="27" y="113"/>
                    </a:cubicBezTo>
                    <a:cubicBezTo>
                      <a:pt x="27" y="113"/>
                      <a:pt x="28" y="113"/>
                      <a:pt x="28" y="113"/>
                    </a:cubicBezTo>
                    <a:cubicBezTo>
                      <a:pt x="28" y="113"/>
                      <a:pt x="26" y="111"/>
                      <a:pt x="27" y="111"/>
                    </a:cubicBezTo>
                    <a:cubicBezTo>
                      <a:pt x="29" y="112"/>
                      <a:pt x="27" y="111"/>
                      <a:pt x="28" y="110"/>
                    </a:cubicBezTo>
                    <a:cubicBezTo>
                      <a:pt x="28" y="110"/>
                      <a:pt x="27" y="110"/>
                      <a:pt x="27" y="110"/>
                    </a:cubicBezTo>
                    <a:cubicBezTo>
                      <a:pt x="28" y="109"/>
                      <a:pt x="28" y="109"/>
                      <a:pt x="28" y="109"/>
                    </a:cubicBezTo>
                    <a:cubicBezTo>
                      <a:pt x="28" y="108"/>
                      <a:pt x="28" y="108"/>
                      <a:pt x="29" y="108"/>
                    </a:cubicBezTo>
                    <a:cubicBezTo>
                      <a:pt x="29" y="107"/>
                      <a:pt x="29" y="105"/>
                      <a:pt x="30" y="106"/>
                    </a:cubicBezTo>
                    <a:cubicBezTo>
                      <a:pt x="30" y="106"/>
                      <a:pt x="30" y="104"/>
                      <a:pt x="30" y="104"/>
                    </a:cubicBezTo>
                    <a:cubicBezTo>
                      <a:pt x="29" y="103"/>
                      <a:pt x="29" y="103"/>
                      <a:pt x="30" y="102"/>
                    </a:cubicBezTo>
                    <a:cubicBezTo>
                      <a:pt x="30" y="102"/>
                      <a:pt x="30" y="102"/>
                      <a:pt x="30" y="102"/>
                    </a:cubicBezTo>
                    <a:cubicBezTo>
                      <a:pt x="30" y="102"/>
                      <a:pt x="30" y="102"/>
                      <a:pt x="30" y="101"/>
                    </a:cubicBezTo>
                    <a:cubicBezTo>
                      <a:pt x="30" y="101"/>
                      <a:pt x="30" y="101"/>
                      <a:pt x="30" y="100"/>
                    </a:cubicBezTo>
                    <a:cubicBezTo>
                      <a:pt x="31" y="99"/>
                      <a:pt x="31" y="98"/>
                      <a:pt x="31" y="97"/>
                    </a:cubicBezTo>
                    <a:cubicBezTo>
                      <a:pt x="31" y="97"/>
                      <a:pt x="32" y="97"/>
                      <a:pt x="32" y="96"/>
                    </a:cubicBezTo>
                    <a:cubicBezTo>
                      <a:pt x="32" y="96"/>
                      <a:pt x="32" y="95"/>
                      <a:pt x="32" y="95"/>
                    </a:cubicBezTo>
                    <a:cubicBezTo>
                      <a:pt x="32" y="94"/>
                      <a:pt x="32" y="94"/>
                      <a:pt x="33" y="93"/>
                    </a:cubicBezTo>
                    <a:cubicBezTo>
                      <a:pt x="33" y="92"/>
                      <a:pt x="34" y="92"/>
                      <a:pt x="34" y="91"/>
                    </a:cubicBezTo>
                    <a:cubicBezTo>
                      <a:pt x="34" y="91"/>
                      <a:pt x="33" y="91"/>
                      <a:pt x="33" y="90"/>
                    </a:cubicBezTo>
                    <a:cubicBezTo>
                      <a:pt x="33" y="90"/>
                      <a:pt x="33" y="89"/>
                      <a:pt x="33" y="89"/>
                    </a:cubicBezTo>
                    <a:cubicBezTo>
                      <a:pt x="33" y="88"/>
                      <a:pt x="33" y="87"/>
                      <a:pt x="33" y="86"/>
                    </a:cubicBezTo>
                    <a:cubicBezTo>
                      <a:pt x="32" y="85"/>
                      <a:pt x="33" y="84"/>
                      <a:pt x="33" y="83"/>
                    </a:cubicBezTo>
                    <a:cubicBezTo>
                      <a:pt x="33" y="82"/>
                      <a:pt x="34" y="81"/>
                      <a:pt x="33" y="81"/>
                    </a:cubicBezTo>
                    <a:cubicBezTo>
                      <a:pt x="33" y="80"/>
                      <a:pt x="32" y="80"/>
                      <a:pt x="32" y="79"/>
                    </a:cubicBezTo>
                    <a:cubicBezTo>
                      <a:pt x="32" y="78"/>
                      <a:pt x="33" y="78"/>
                      <a:pt x="34" y="77"/>
                    </a:cubicBezTo>
                    <a:cubicBezTo>
                      <a:pt x="34" y="77"/>
                      <a:pt x="35" y="77"/>
                      <a:pt x="35" y="77"/>
                    </a:cubicBezTo>
                    <a:cubicBezTo>
                      <a:pt x="35" y="77"/>
                      <a:pt x="36" y="77"/>
                      <a:pt x="37" y="77"/>
                    </a:cubicBezTo>
                    <a:cubicBezTo>
                      <a:pt x="38" y="77"/>
                      <a:pt x="37" y="76"/>
                      <a:pt x="38" y="76"/>
                    </a:cubicBezTo>
                    <a:cubicBezTo>
                      <a:pt x="38" y="77"/>
                      <a:pt x="41" y="78"/>
                      <a:pt x="42" y="77"/>
                    </a:cubicBezTo>
                    <a:cubicBezTo>
                      <a:pt x="41" y="77"/>
                      <a:pt x="42" y="78"/>
                      <a:pt x="42" y="79"/>
                    </a:cubicBezTo>
                    <a:cubicBezTo>
                      <a:pt x="41" y="79"/>
                      <a:pt x="41" y="79"/>
                      <a:pt x="41" y="79"/>
                    </a:cubicBezTo>
                    <a:cubicBezTo>
                      <a:pt x="41" y="80"/>
                      <a:pt x="41" y="80"/>
                      <a:pt x="41" y="81"/>
                    </a:cubicBezTo>
                    <a:cubicBezTo>
                      <a:pt x="41" y="81"/>
                      <a:pt x="41" y="82"/>
                      <a:pt x="41" y="82"/>
                    </a:cubicBezTo>
                    <a:cubicBezTo>
                      <a:pt x="42" y="83"/>
                      <a:pt x="41" y="83"/>
                      <a:pt x="41" y="83"/>
                    </a:cubicBezTo>
                    <a:cubicBezTo>
                      <a:pt x="41" y="84"/>
                      <a:pt x="42" y="84"/>
                      <a:pt x="42" y="84"/>
                    </a:cubicBezTo>
                    <a:cubicBezTo>
                      <a:pt x="42" y="85"/>
                      <a:pt x="41" y="85"/>
                      <a:pt x="41" y="85"/>
                    </a:cubicBezTo>
                    <a:cubicBezTo>
                      <a:pt x="41" y="85"/>
                      <a:pt x="41" y="86"/>
                      <a:pt x="41" y="86"/>
                    </a:cubicBezTo>
                    <a:cubicBezTo>
                      <a:pt x="42" y="86"/>
                      <a:pt x="42" y="87"/>
                      <a:pt x="42" y="87"/>
                    </a:cubicBezTo>
                    <a:cubicBezTo>
                      <a:pt x="42" y="87"/>
                      <a:pt x="43" y="86"/>
                      <a:pt x="43" y="86"/>
                    </a:cubicBezTo>
                    <a:cubicBezTo>
                      <a:pt x="44" y="86"/>
                      <a:pt x="44" y="86"/>
                      <a:pt x="45" y="86"/>
                    </a:cubicBezTo>
                    <a:cubicBezTo>
                      <a:pt x="45" y="86"/>
                      <a:pt x="46" y="87"/>
                      <a:pt x="47" y="87"/>
                    </a:cubicBezTo>
                    <a:cubicBezTo>
                      <a:pt x="47" y="87"/>
                      <a:pt x="47" y="87"/>
                      <a:pt x="47" y="86"/>
                    </a:cubicBezTo>
                    <a:cubicBezTo>
                      <a:pt x="48" y="86"/>
                      <a:pt x="48" y="86"/>
                      <a:pt x="48" y="86"/>
                    </a:cubicBezTo>
                    <a:cubicBezTo>
                      <a:pt x="49" y="86"/>
                      <a:pt x="49" y="86"/>
                      <a:pt x="49" y="86"/>
                    </a:cubicBezTo>
                    <a:cubicBezTo>
                      <a:pt x="50" y="85"/>
                      <a:pt x="51" y="87"/>
                      <a:pt x="52" y="88"/>
                    </a:cubicBezTo>
                    <a:cubicBezTo>
                      <a:pt x="52" y="87"/>
                      <a:pt x="51" y="87"/>
                      <a:pt x="52" y="87"/>
                    </a:cubicBezTo>
                    <a:cubicBezTo>
                      <a:pt x="52" y="87"/>
                      <a:pt x="53" y="88"/>
                      <a:pt x="53" y="88"/>
                    </a:cubicBezTo>
                    <a:cubicBezTo>
                      <a:pt x="53" y="88"/>
                      <a:pt x="52" y="87"/>
                      <a:pt x="52" y="87"/>
                    </a:cubicBezTo>
                    <a:cubicBezTo>
                      <a:pt x="53" y="87"/>
                      <a:pt x="53" y="87"/>
                      <a:pt x="53" y="87"/>
                    </a:cubicBezTo>
                    <a:cubicBezTo>
                      <a:pt x="52" y="87"/>
                      <a:pt x="53" y="88"/>
                      <a:pt x="53" y="88"/>
                    </a:cubicBezTo>
                    <a:cubicBezTo>
                      <a:pt x="53" y="88"/>
                      <a:pt x="53" y="88"/>
                      <a:pt x="53" y="88"/>
                    </a:cubicBezTo>
                    <a:cubicBezTo>
                      <a:pt x="53" y="88"/>
                      <a:pt x="54" y="89"/>
                      <a:pt x="54" y="89"/>
                    </a:cubicBezTo>
                    <a:cubicBezTo>
                      <a:pt x="54" y="89"/>
                      <a:pt x="54" y="90"/>
                      <a:pt x="55" y="90"/>
                    </a:cubicBezTo>
                    <a:cubicBezTo>
                      <a:pt x="56" y="90"/>
                      <a:pt x="55" y="89"/>
                      <a:pt x="55" y="89"/>
                    </a:cubicBezTo>
                    <a:cubicBezTo>
                      <a:pt x="54" y="88"/>
                      <a:pt x="55" y="89"/>
                      <a:pt x="55" y="89"/>
                    </a:cubicBezTo>
                    <a:cubicBezTo>
                      <a:pt x="55" y="89"/>
                      <a:pt x="55" y="89"/>
                      <a:pt x="55" y="89"/>
                    </a:cubicBezTo>
                    <a:cubicBezTo>
                      <a:pt x="55" y="89"/>
                      <a:pt x="55" y="90"/>
                      <a:pt x="55" y="90"/>
                    </a:cubicBezTo>
                    <a:cubicBezTo>
                      <a:pt x="56" y="90"/>
                      <a:pt x="56" y="89"/>
                      <a:pt x="56" y="89"/>
                    </a:cubicBezTo>
                    <a:cubicBezTo>
                      <a:pt x="57" y="89"/>
                      <a:pt x="55" y="90"/>
                      <a:pt x="55" y="90"/>
                    </a:cubicBezTo>
                    <a:cubicBezTo>
                      <a:pt x="55" y="91"/>
                      <a:pt x="55" y="91"/>
                      <a:pt x="55" y="91"/>
                    </a:cubicBezTo>
                    <a:cubicBezTo>
                      <a:pt x="56" y="91"/>
                      <a:pt x="56" y="91"/>
                      <a:pt x="56" y="91"/>
                    </a:cubicBezTo>
                    <a:cubicBezTo>
                      <a:pt x="57" y="91"/>
                      <a:pt x="57" y="92"/>
                      <a:pt x="58" y="92"/>
                    </a:cubicBezTo>
                    <a:cubicBezTo>
                      <a:pt x="58" y="92"/>
                      <a:pt x="58" y="93"/>
                      <a:pt x="58" y="93"/>
                    </a:cubicBezTo>
                    <a:cubicBezTo>
                      <a:pt x="58" y="93"/>
                      <a:pt x="58" y="91"/>
                      <a:pt x="58" y="91"/>
                    </a:cubicBezTo>
                    <a:cubicBezTo>
                      <a:pt x="59" y="91"/>
                      <a:pt x="59" y="91"/>
                      <a:pt x="59" y="92"/>
                    </a:cubicBezTo>
                    <a:cubicBezTo>
                      <a:pt x="59" y="92"/>
                      <a:pt x="59" y="92"/>
                      <a:pt x="59" y="92"/>
                    </a:cubicBezTo>
                    <a:cubicBezTo>
                      <a:pt x="60" y="93"/>
                      <a:pt x="60" y="94"/>
                      <a:pt x="61" y="95"/>
                    </a:cubicBezTo>
                    <a:cubicBezTo>
                      <a:pt x="61" y="95"/>
                      <a:pt x="61" y="96"/>
                      <a:pt x="62" y="96"/>
                    </a:cubicBezTo>
                    <a:cubicBezTo>
                      <a:pt x="62" y="97"/>
                      <a:pt x="62" y="97"/>
                      <a:pt x="62" y="97"/>
                    </a:cubicBezTo>
                    <a:cubicBezTo>
                      <a:pt x="62" y="96"/>
                      <a:pt x="61" y="95"/>
                      <a:pt x="61" y="94"/>
                    </a:cubicBezTo>
                    <a:cubicBezTo>
                      <a:pt x="60" y="93"/>
                      <a:pt x="60" y="92"/>
                      <a:pt x="60" y="90"/>
                    </a:cubicBezTo>
                    <a:cubicBezTo>
                      <a:pt x="60" y="90"/>
                      <a:pt x="60" y="89"/>
                      <a:pt x="60" y="88"/>
                    </a:cubicBezTo>
                    <a:cubicBezTo>
                      <a:pt x="59" y="88"/>
                      <a:pt x="59" y="88"/>
                      <a:pt x="59" y="87"/>
                    </a:cubicBezTo>
                    <a:cubicBezTo>
                      <a:pt x="59" y="87"/>
                      <a:pt x="57" y="86"/>
                      <a:pt x="57" y="85"/>
                    </a:cubicBezTo>
                    <a:cubicBezTo>
                      <a:pt x="57" y="85"/>
                      <a:pt x="57" y="85"/>
                      <a:pt x="57" y="84"/>
                    </a:cubicBezTo>
                    <a:cubicBezTo>
                      <a:pt x="57" y="83"/>
                      <a:pt x="57" y="83"/>
                      <a:pt x="57" y="83"/>
                    </a:cubicBezTo>
                    <a:cubicBezTo>
                      <a:pt x="57" y="82"/>
                      <a:pt x="57" y="83"/>
                      <a:pt x="57" y="82"/>
                    </a:cubicBezTo>
                    <a:cubicBezTo>
                      <a:pt x="57" y="82"/>
                      <a:pt x="56" y="82"/>
                      <a:pt x="56" y="82"/>
                    </a:cubicBezTo>
                    <a:cubicBezTo>
                      <a:pt x="56" y="81"/>
                      <a:pt x="56" y="81"/>
                      <a:pt x="55" y="80"/>
                    </a:cubicBezTo>
                    <a:cubicBezTo>
                      <a:pt x="55" y="79"/>
                      <a:pt x="55" y="78"/>
                      <a:pt x="55" y="77"/>
                    </a:cubicBezTo>
                    <a:cubicBezTo>
                      <a:pt x="55" y="76"/>
                      <a:pt x="55" y="76"/>
                      <a:pt x="56" y="76"/>
                    </a:cubicBezTo>
                    <a:cubicBezTo>
                      <a:pt x="56" y="76"/>
                      <a:pt x="57" y="76"/>
                      <a:pt x="57" y="76"/>
                    </a:cubicBezTo>
                    <a:cubicBezTo>
                      <a:pt x="56" y="75"/>
                      <a:pt x="58" y="75"/>
                      <a:pt x="58" y="74"/>
                    </a:cubicBezTo>
                    <a:cubicBezTo>
                      <a:pt x="58" y="73"/>
                      <a:pt x="58" y="73"/>
                      <a:pt x="59" y="72"/>
                    </a:cubicBezTo>
                    <a:cubicBezTo>
                      <a:pt x="59" y="72"/>
                      <a:pt x="59" y="71"/>
                      <a:pt x="60" y="71"/>
                    </a:cubicBezTo>
                    <a:cubicBezTo>
                      <a:pt x="60" y="70"/>
                      <a:pt x="59" y="69"/>
                      <a:pt x="60" y="69"/>
                    </a:cubicBezTo>
                    <a:cubicBezTo>
                      <a:pt x="60" y="69"/>
                      <a:pt x="61" y="69"/>
                      <a:pt x="61" y="68"/>
                    </a:cubicBezTo>
                    <a:cubicBezTo>
                      <a:pt x="62" y="68"/>
                      <a:pt x="62" y="68"/>
                      <a:pt x="63" y="68"/>
                    </a:cubicBezTo>
                    <a:cubicBezTo>
                      <a:pt x="63" y="68"/>
                      <a:pt x="64" y="67"/>
                      <a:pt x="64" y="67"/>
                    </a:cubicBezTo>
                    <a:cubicBezTo>
                      <a:pt x="65" y="67"/>
                      <a:pt x="65" y="67"/>
                      <a:pt x="66" y="67"/>
                    </a:cubicBezTo>
                    <a:cubicBezTo>
                      <a:pt x="66" y="67"/>
                      <a:pt x="66" y="67"/>
                      <a:pt x="66" y="67"/>
                    </a:cubicBezTo>
                    <a:cubicBezTo>
                      <a:pt x="67" y="67"/>
                      <a:pt x="66" y="67"/>
                      <a:pt x="67" y="67"/>
                    </a:cubicBezTo>
                    <a:cubicBezTo>
                      <a:pt x="67" y="67"/>
                      <a:pt x="68" y="67"/>
                      <a:pt x="68" y="67"/>
                    </a:cubicBezTo>
                    <a:cubicBezTo>
                      <a:pt x="68" y="67"/>
                      <a:pt x="69" y="68"/>
                      <a:pt x="69" y="68"/>
                    </a:cubicBezTo>
                    <a:cubicBezTo>
                      <a:pt x="69" y="67"/>
                      <a:pt x="69" y="67"/>
                      <a:pt x="70" y="67"/>
                    </a:cubicBezTo>
                    <a:cubicBezTo>
                      <a:pt x="70" y="68"/>
                      <a:pt x="71" y="67"/>
                      <a:pt x="72" y="67"/>
                    </a:cubicBezTo>
                    <a:cubicBezTo>
                      <a:pt x="72" y="67"/>
                      <a:pt x="72" y="67"/>
                      <a:pt x="73" y="67"/>
                    </a:cubicBezTo>
                    <a:cubicBezTo>
                      <a:pt x="73" y="67"/>
                      <a:pt x="74" y="67"/>
                      <a:pt x="74" y="67"/>
                    </a:cubicBezTo>
                    <a:cubicBezTo>
                      <a:pt x="75" y="67"/>
                      <a:pt x="74" y="67"/>
                      <a:pt x="75" y="67"/>
                    </a:cubicBezTo>
                    <a:cubicBezTo>
                      <a:pt x="75" y="67"/>
                      <a:pt x="75" y="67"/>
                      <a:pt x="75" y="67"/>
                    </a:cubicBezTo>
                    <a:cubicBezTo>
                      <a:pt x="75" y="67"/>
                      <a:pt x="76" y="67"/>
                      <a:pt x="76" y="67"/>
                    </a:cubicBezTo>
                    <a:cubicBezTo>
                      <a:pt x="76" y="67"/>
                      <a:pt x="77" y="67"/>
                      <a:pt x="77" y="67"/>
                    </a:cubicBezTo>
                    <a:cubicBezTo>
                      <a:pt x="78" y="67"/>
                      <a:pt x="79" y="67"/>
                      <a:pt x="79" y="67"/>
                    </a:cubicBezTo>
                    <a:cubicBezTo>
                      <a:pt x="79" y="68"/>
                      <a:pt x="79" y="69"/>
                      <a:pt x="80" y="69"/>
                    </a:cubicBezTo>
                    <a:cubicBezTo>
                      <a:pt x="81" y="69"/>
                      <a:pt x="81" y="69"/>
                      <a:pt x="81" y="68"/>
                    </a:cubicBezTo>
                    <a:cubicBezTo>
                      <a:pt x="81" y="68"/>
                      <a:pt x="81" y="68"/>
                      <a:pt x="82" y="67"/>
                    </a:cubicBezTo>
                    <a:cubicBezTo>
                      <a:pt x="83" y="67"/>
                      <a:pt x="83" y="67"/>
                      <a:pt x="84" y="66"/>
                    </a:cubicBezTo>
                    <a:cubicBezTo>
                      <a:pt x="84" y="65"/>
                      <a:pt x="84" y="65"/>
                      <a:pt x="84" y="63"/>
                    </a:cubicBezTo>
                    <a:cubicBezTo>
                      <a:pt x="84" y="63"/>
                      <a:pt x="84" y="63"/>
                      <a:pt x="84" y="62"/>
                    </a:cubicBezTo>
                    <a:cubicBezTo>
                      <a:pt x="84" y="62"/>
                      <a:pt x="84" y="62"/>
                      <a:pt x="84" y="62"/>
                    </a:cubicBezTo>
                    <a:cubicBezTo>
                      <a:pt x="84" y="62"/>
                      <a:pt x="84" y="62"/>
                      <a:pt x="84" y="62"/>
                    </a:cubicBezTo>
                    <a:cubicBezTo>
                      <a:pt x="84" y="61"/>
                      <a:pt x="84" y="61"/>
                      <a:pt x="84" y="61"/>
                    </a:cubicBezTo>
                    <a:cubicBezTo>
                      <a:pt x="85" y="61"/>
                      <a:pt x="84" y="60"/>
                      <a:pt x="84" y="60"/>
                    </a:cubicBezTo>
                    <a:close/>
                    <a:moveTo>
                      <a:pt x="57" y="94"/>
                    </a:moveTo>
                    <a:cubicBezTo>
                      <a:pt x="57" y="94"/>
                      <a:pt x="57" y="93"/>
                      <a:pt x="57" y="93"/>
                    </a:cubicBezTo>
                    <a:cubicBezTo>
                      <a:pt x="56" y="93"/>
                      <a:pt x="56" y="92"/>
                      <a:pt x="55" y="92"/>
                    </a:cubicBezTo>
                    <a:cubicBezTo>
                      <a:pt x="55" y="92"/>
                      <a:pt x="56" y="93"/>
                      <a:pt x="56" y="93"/>
                    </a:cubicBezTo>
                    <a:cubicBezTo>
                      <a:pt x="56" y="93"/>
                      <a:pt x="56" y="94"/>
                      <a:pt x="56" y="94"/>
                    </a:cubicBezTo>
                    <a:cubicBezTo>
                      <a:pt x="56" y="93"/>
                      <a:pt x="56" y="94"/>
                      <a:pt x="57" y="94"/>
                    </a:cubicBezTo>
                    <a:cubicBezTo>
                      <a:pt x="57" y="94"/>
                      <a:pt x="56" y="93"/>
                      <a:pt x="57" y="94"/>
                    </a:cubicBezTo>
                    <a:cubicBezTo>
                      <a:pt x="57" y="94"/>
                      <a:pt x="57" y="94"/>
                      <a:pt x="57" y="94"/>
                    </a:cubicBezTo>
                    <a:close/>
                    <a:moveTo>
                      <a:pt x="23" y="137"/>
                    </a:moveTo>
                    <a:cubicBezTo>
                      <a:pt x="23" y="137"/>
                      <a:pt x="22" y="139"/>
                      <a:pt x="23" y="138"/>
                    </a:cubicBezTo>
                    <a:cubicBezTo>
                      <a:pt x="24" y="138"/>
                      <a:pt x="22" y="136"/>
                      <a:pt x="22" y="136"/>
                    </a:cubicBezTo>
                    <a:cubicBezTo>
                      <a:pt x="22" y="136"/>
                      <a:pt x="23" y="137"/>
                      <a:pt x="23" y="137"/>
                    </a:cubicBezTo>
                    <a:close/>
                    <a:moveTo>
                      <a:pt x="28" y="143"/>
                    </a:moveTo>
                    <a:cubicBezTo>
                      <a:pt x="28" y="143"/>
                      <a:pt x="28" y="142"/>
                      <a:pt x="27" y="141"/>
                    </a:cubicBezTo>
                    <a:cubicBezTo>
                      <a:pt x="27" y="141"/>
                      <a:pt x="27" y="143"/>
                      <a:pt x="28" y="143"/>
                    </a:cubicBezTo>
                    <a:close/>
                    <a:moveTo>
                      <a:pt x="36" y="118"/>
                    </a:moveTo>
                    <a:cubicBezTo>
                      <a:pt x="36" y="118"/>
                      <a:pt x="35" y="117"/>
                      <a:pt x="35" y="118"/>
                    </a:cubicBezTo>
                    <a:cubicBezTo>
                      <a:pt x="35" y="118"/>
                      <a:pt x="36" y="119"/>
                      <a:pt x="36" y="119"/>
                    </a:cubicBezTo>
                    <a:cubicBezTo>
                      <a:pt x="36" y="119"/>
                      <a:pt x="36" y="118"/>
                      <a:pt x="36" y="118"/>
                    </a:cubicBezTo>
                    <a:close/>
                    <a:moveTo>
                      <a:pt x="33" y="120"/>
                    </a:moveTo>
                    <a:cubicBezTo>
                      <a:pt x="32" y="121"/>
                      <a:pt x="33" y="121"/>
                      <a:pt x="33" y="120"/>
                    </a:cubicBezTo>
                    <a:close/>
                    <a:moveTo>
                      <a:pt x="35" y="121"/>
                    </a:moveTo>
                    <a:cubicBezTo>
                      <a:pt x="35" y="121"/>
                      <a:pt x="35" y="122"/>
                      <a:pt x="35" y="122"/>
                    </a:cubicBezTo>
                    <a:cubicBezTo>
                      <a:pt x="36" y="122"/>
                      <a:pt x="36" y="121"/>
                      <a:pt x="36" y="120"/>
                    </a:cubicBezTo>
                    <a:cubicBezTo>
                      <a:pt x="36" y="120"/>
                      <a:pt x="36" y="120"/>
                      <a:pt x="36" y="120"/>
                    </a:cubicBezTo>
                    <a:cubicBezTo>
                      <a:pt x="35" y="120"/>
                      <a:pt x="35" y="120"/>
                      <a:pt x="35" y="121"/>
                    </a:cubicBezTo>
                    <a:close/>
                    <a:moveTo>
                      <a:pt x="31" y="146"/>
                    </a:moveTo>
                    <a:cubicBezTo>
                      <a:pt x="31" y="146"/>
                      <a:pt x="31" y="146"/>
                      <a:pt x="32" y="146"/>
                    </a:cubicBezTo>
                    <a:cubicBezTo>
                      <a:pt x="31" y="146"/>
                      <a:pt x="31" y="146"/>
                      <a:pt x="31" y="145"/>
                    </a:cubicBezTo>
                    <a:cubicBezTo>
                      <a:pt x="31" y="145"/>
                      <a:pt x="31" y="146"/>
                      <a:pt x="31" y="146"/>
                    </a:cubicBezTo>
                    <a:close/>
                    <a:moveTo>
                      <a:pt x="58" y="96"/>
                    </a:moveTo>
                    <a:cubicBezTo>
                      <a:pt x="58" y="96"/>
                      <a:pt x="58" y="98"/>
                      <a:pt x="59" y="98"/>
                    </a:cubicBezTo>
                    <a:cubicBezTo>
                      <a:pt x="59" y="98"/>
                      <a:pt x="59" y="97"/>
                      <a:pt x="59" y="97"/>
                    </a:cubicBezTo>
                    <a:cubicBezTo>
                      <a:pt x="59" y="97"/>
                      <a:pt x="59" y="97"/>
                      <a:pt x="59" y="97"/>
                    </a:cubicBezTo>
                    <a:cubicBezTo>
                      <a:pt x="59" y="97"/>
                      <a:pt x="59" y="96"/>
                      <a:pt x="58" y="96"/>
                    </a:cubicBezTo>
                    <a:close/>
                    <a:moveTo>
                      <a:pt x="15" y="122"/>
                    </a:moveTo>
                    <a:cubicBezTo>
                      <a:pt x="15" y="121"/>
                      <a:pt x="15" y="121"/>
                      <a:pt x="15" y="122"/>
                    </a:cubicBezTo>
                    <a:cubicBezTo>
                      <a:pt x="15" y="121"/>
                      <a:pt x="14" y="121"/>
                      <a:pt x="15" y="122"/>
                    </a:cubicBezTo>
                    <a:close/>
                    <a:moveTo>
                      <a:pt x="34" y="151"/>
                    </a:moveTo>
                    <a:cubicBezTo>
                      <a:pt x="34" y="152"/>
                      <a:pt x="33" y="153"/>
                      <a:pt x="34" y="154"/>
                    </a:cubicBezTo>
                    <a:cubicBezTo>
                      <a:pt x="34" y="154"/>
                      <a:pt x="34" y="154"/>
                      <a:pt x="34" y="154"/>
                    </a:cubicBezTo>
                    <a:cubicBezTo>
                      <a:pt x="35" y="154"/>
                      <a:pt x="34" y="152"/>
                      <a:pt x="34" y="152"/>
                    </a:cubicBezTo>
                    <a:cubicBezTo>
                      <a:pt x="34" y="151"/>
                      <a:pt x="34" y="151"/>
                      <a:pt x="34" y="151"/>
                    </a:cubicBezTo>
                    <a:close/>
                    <a:moveTo>
                      <a:pt x="20" y="126"/>
                    </a:moveTo>
                    <a:cubicBezTo>
                      <a:pt x="20" y="125"/>
                      <a:pt x="19" y="124"/>
                      <a:pt x="19" y="125"/>
                    </a:cubicBezTo>
                    <a:cubicBezTo>
                      <a:pt x="19" y="126"/>
                      <a:pt x="19" y="126"/>
                      <a:pt x="20" y="12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1" name="Tanzania">
                <a:extLst>
                  <a:ext uri="{FF2B5EF4-FFF2-40B4-BE49-F238E27FC236}">
                    <a16:creationId xmlns:a16="http://schemas.microsoft.com/office/drawing/2014/main" id="{ED9F5340-F3C1-CFB8-7B2B-3E90FC2A3235}"/>
                  </a:ext>
                </a:extLst>
              </p:cNvPr>
              <p:cNvSpPr>
                <a:spLocks noEditPoints="1"/>
              </p:cNvSpPr>
              <p:nvPr/>
            </p:nvSpPr>
            <p:spPr bwMode="auto">
              <a:xfrm>
                <a:off x="6710173" y="4083556"/>
                <a:ext cx="371483" cy="417550"/>
              </a:xfrm>
              <a:custGeom>
                <a:avLst/>
                <a:gdLst/>
                <a:ahLst/>
                <a:cxnLst>
                  <a:cxn ang="0">
                    <a:pos x="100" y="73"/>
                  </a:cxn>
                  <a:cxn ang="0">
                    <a:pos x="104" y="103"/>
                  </a:cxn>
                  <a:cxn ang="0">
                    <a:pos x="101" y="101"/>
                  </a:cxn>
                  <a:cxn ang="0">
                    <a:pos x="98" y="98"/>
                  </a:cxn>
                  <a:cxn ang="0">
                    <a:pos x="97" y="89"/>
                  </a:cxn>
                  <a:cxn ang="0">
                    <a:pos x="95" y="85"/>
                  </a:cxn>
                  <a:cxn ang="0">
                    <a:pos x="95" y="77"/>
                  </a:cxn>
                  <a:cxn ang="0">
                    <a:pos x="96" y="68"/>
                  </a:cxn>
                  <a:cxn ang="0">
                    <a:pos x="94" y="63"/>
                  </a:cxn>
                  <a:cxn ang="0">
                    <a:pos x="91" y="51"/>
                  </a:cxn>
                  <a:cxn ang="0">
                    <a:pos x="93" y="43"/>
                  </a:cxn>
                  <a:cxn ang="0">
                    <a:pos x="79" y="28"/>
                  </a:cxn>
                  <a:cxn ang="0">
                    <a:pos x="62" y="12"/>
                  </a:cxn>
                  <a:cxn ang="0">
                    <a:pos x="42" y="5"/>
                  </a:cxn>
                  <a:cxn ang="0">
                    <a:pos x="40" y="6"/>
                  </a:cxn>
                  <a:cxn ang="0">
                    <a:pos x="39" y="9"/>
                  </a:cxn>
                  <a:cxn ang="0">
                    <a:pos x="39" y="12"/>
                  </a:cxn>
                  <a:cxn ang="0">
                    <a:pos x="36" y="13"/>
                  </a:cxn>
                  <a:cxn ang="0">
                    <a:pos x="38" y="16"/>
                  </a:cxn>
                  <a:cxn ang="0">
                    <a:pos x="33" y="17"/>
                  </a:cxn>
                  <a:cxn ang="0">
                    <a:pos x="34" y="21"/>
                  </a:cxn>
                  <a:cxn ang="0">
                    <a:pos x="31" y="21"/>
                  </a:cxn>
                  <a:cxn ang="0">
                    <a:pos x="31" y="17"/>
                  </a:cxn>
                  <a:cxn ang="0">
                    <a:pos x="27" y="15"/>
                  </a:cxn>
                  <a:cxn ang="0">
                    <a:pos x="25" y="17"/>
                  </a:cxn>
                  <a:cxn ang="0">
                    <a:pos x="24" y="19"/>
                  </a:cxn>
                  <a:cxn ang="0">
                    <a:pos x="22" y="18"/>
                  </a:cxn>
                  <a:cxn ang="0">
                    <a:pos x="21" y="13"/>
                  </a:cxn>
                  <a:cxn ang="0">
                    <a:pos x="22" y="4"/>
                  </a:cxn>
                  <a:cxn ang="0">
                    <a:pos x="11" y="0"/>
                  </a:cxn>
                  <a:cxn ang="0">
                    <a:pos x="11" y="5"/>
                  </a:cxn>
                  <a:cxn ang="0">
                    <a:pos x="11" y="16"/>
                  </a:cxn>
                  <a:cxn ang="0">
                    <a:pos x="9" y="22"/>
                  </a:cxn>
                  <a:cxn ang="0">
                    <a:pos x="9" y="28"/>
                  </a:cxn>
                  <a:cxn ang="0">
                    <a:pos x="5" y="35"/>
                  </a:cxn>
                  <a:cxn ang="0">
                    <a:pos x="2" y="44"/>
                  </a:cxn>
                  <a:cxn ang="0">
                    <a:pos x="3" y="55"/>
                  </a:cxn>
                  <a:cxn ang="0">
                    <a:pos x="6" y="61"/>
                  </a:cxn>
                  <a:cxn ang="0">
                    <a:pos x="10" y="69"/>
                  </a:cxn>
                  <a:cxn ang="0">
                    <a:pos x="13" y="80"/>
                  </a:cxn>
                  <a:cxn ang="0">
                    <a:pos x="19" y="86"/>
                  </a:cxn>
                  <a:cxn ang="0">
                    <a:pos x="29" y="91"/>
                  </a:cxn>
                  <a:cxn ang="0">
                    <a:pos x="38" y="95"/>
                  </a:cxn>
                  <a:cxn ang="0">
                    <a:pos x="46" y="98"/>
                  </a:cxn>
                  <a:cxn ang="0">
                    <a:pos x="48" y="110"/>
                  </a:cxn>
                  <a:cxn ang="0">
                    <a:pos x="51" y="116"/>
                  </a:cxn>
                  <a:cxn ang="0">
                    <a:pos x="60" y="115"/>
                  </a:cxn>
                  <a:cxn ang="0">
                    <a:pos x="67" y="118"/>
                  </a:cxn>
                  <a:cxn ang="0">
                    <a:pos x="76" y="117"/>
                  </a:cxn>
                  <a:cxn ang="0">
                    <a:pos x="83" y="113"/>
                  </a:cxn>
                  <a:cxn ang="0">
                    <a:pos x="93" y="112"/>
                  </a:cxn>
                  <a:cxn ang="0">
                    <a:pos x="104" y="103"/>
                  </a:cxn>
                  <a:cxn ang="0">
                    <a:pos x="100" y="43"/>
                  </a:cxn>
                  <a:cxn ang="0">
                    <a:pos x="99" y="46"/>
                  </a:cxn>
                  <a:cxn ang="0">
                    <a:pos x="98" y="47"/>
                  </a:cxn>
                  <a:cxn ang="0">
                    <a:pos x="95" y="59"/>
                  </a:cxn>
                  <a:cxn ang="0">
                    <a:pos x="96" y="56"/>
                  </a:cxn>
                </a:cxnLst>
                <a:rect l="0" t="0" r="r" b="b"/>
                <a:pathLst>
                  <a:path w="105" h="118">
                    <a:moveTo>
                      <a:pt x="98" y="76"/>
                    </a:moveTo>
                    <a:cubicBezTo>
                      <a:pt x="98" y="76"/>
                      <a:pt x="98" y="76"/>
                      <a:pt x="98" y="75"/>
                    </a:cubicBezTo>
                    <a:cubicBezTo>
                      <a:pt x="98" y="75"/>
                      <a:pt x="99" y="75"/>
                      <a:pt x="99" y="75"/>
                    </a:cubicBezTo>
                    <a:cubicBezTo>
                      <a:pt x="99" y="75"/>
                      <a:pt x="99" y="75"/>
                      <a:pt x="99" y="75"/>
                    </a:cubicBezTo>
                    <a:cubicBezTo>
                      <a:pt x="99" y="75"/>
                      <a:pt x="99" y="75"/>
                      <a:pt x="99" y="74"/>
                    </a:cubicBezTo>
                    <a:cubicBezTo>
                      <a:pt x="100" y="74"/>
                      <a:pt x="100" y="74"/>
                      <a:pt x="100" y="73"/>
                    </a:cubicBezTo>
                    <a:cubicBezTo>
                      <a:pt x="100" y="74"/>
                      <a:pt x="100" y="75"/>
                      <a:pt x="99" y="76"/>
                    </a:cubicBezTo>
                    <a:cubicBezTo>
                      <a:pt x="99" y="76"/>
                      <a:pt x="99" y="76"/>
                      <a:pt x="98" y="76"/>
                    </a:cubicBezTo>
                    <a:cubicBezTo>
                      <a:pt x="98" y="77"/>
                      <a:pt x="98" y="77"/>
                      <a:pt x="97" y="77"/>
                    </a:cubicBezTo>
                    <a:cubicBezTo>
                      <a:pt x="97" y="77"/>
                      <a:pt x="97" y="76"/>
                      <a:pt x="98" y="76"/>
                    </a:cubicBezTo>
                    <a:close/>
                    <a:moveTo>
                      <a:pt x="104" y="103"/>
                    </a:moveTo>
                    <a:cubicBezTo>
                      <a:pt x="104" y="103"/>
                      <a:pt x="104" y="103"/>
                      <a:pt x="104" y="103"/>
                    </a:cubicBezTo>
                    <a:cubicBezTo>
                      <a:pt x="104" y="103"/>
                      <a:pt x="104" y="103"/>
                      <a:pt x="104" y="103"/>
                    </a:cubicBezTo>
                    <a:cubicBezTo>
                      <a:pt x="103" y="103"/>
                      <a:pt x="103" y="102"/>
                      <a:pt x="103" y="102"/>
                    </a:cubicBezTo>
                    <a:cubicBezTo>
                      <a:pt x="103" y="102"/>
                      <a:pt x="102" y="101"/>
                      <a:pt x="103" y="102"/>
                    </a:cubicBezTo>
                    <a:cubicBezTo>
                      <a:pt x="103" y="102"/>
                      <a:pt x="102" y="102"/>
                      <a:pt x="102" y="102"/>
                    </a:cubicBezTo>
                    <a:cubicBezTo>
                      <a:pt x="101" y="102"/>
                      <a:pt x="102" y="101"/>
                      <a:pt x="102" y="101"/>
                    </a:cubicBezTo>
                    <a:cubicBezTo>
                      <a:pt x="102" y="101"/>
                      <a:pt x="101" y="101"/>
                      <a:pt x="101" y="101"/>
                    </a:cubicBezTo>
                    <a:cubicBezTo>
                      <a:pt x="100" y="100"/>
                      <a:pt x="100" y="101"/>
                      <a:pt x="100" y="102"/>
                    </a:cubicBezTo>
                    <a:cubicBezTo>
                      <a:pt x="100" y="101"/>
                      <a:pt x="100" y="100"/>
                      <a:pt x="99" y="99"/>
                    </a:cubicBezTo>
                    <a:cubicBezTo>
                      <a:pt x="99" y="99"/>
                      <a:pt x="98" y="99"/>
                      <a:pt x="98" y="99"/>
                    </a:cubicBezTo>
                    <a:cubicBezTo>
                      <a:pt x="98" y="99"/>
                      <a:pt x="98" y="100"/>
                      <a:pt x="97" y="100"/>
                    </a:cubicBezTo>
                    <a:cubicBezTo>
                      <a:pt x="98" y="99"/>
                      <a:pt x="97" y="99"/>
                      <a:pt x="98" y="98"/>
                    </a:cubicBezTo>
                    <a:cubicBezTo>
                      <a:pt x="98" y="98"/>
                      <a:pt x="98" y="98"/>
                      <a:pt x="98" y="98"/>
                    </a:cubicBezTo>
                    <a:cubicBezTo>
                      <a:pt x="99" y="98"/>
                      <a:pt x="98" y="96"/>
                      <a:pt x="98" y="96"/>
                    </a:cubicBezTo>
                    <a:cubicBezTo>
                      <a:pt x="98" y="95"/>
                      <a:pt x="98" y="94"/>
                      <a:pt x="97" y="93"/>
                    </a:cubicBezTo>
                    <a:cubicBezTo>
                      <a:pt x="97" y="93"/>
                      <a:pt x="97" y="93"/>
                      <a:pt x="97" y="93"/>
                    </a:cubicBezTo>
                    <a:cubicBezTo>
                      <a:pt x="96" y="93"/>
                      <a:pt x="96" y="93"/>
                      <a:pt x="97" y="93"/>
                    </a:cubicBezTo>
                    <a:cubicBezTo>
                      <a:pt x="97" y="92"/>
                      <a:pt x="97" y="91"/>
                      <a:pt x="97" y="90"/>
                    </a:cubicBezTo>
                    <a:cubicBezTo>
                      <a:pt x="97" y="90"/>
                      <a:pt x="97" y="89"/>
                      <a:pt x="97" y="89"/>
                    </a:cubicBezTo>
                    <a:cubicBezTo>
                      <a:pt x="96" y="89"/>
                      <a:pt x="96" y="90"/>
                      <a:pt x="96" y="89"/>
                    </a:cubicBezTo>
                    <a:cubicBezTo>
                      <a:pt x="96" y="89"/>
                      <a:pt x="96" y="88"/>
                      <a:pt x="96" y="88"/>
                    </a:cubicBezTo>
                    <a:cubicBezTo>
                      <a:pt x="96" y="87"/>
                      <a:pt x="95" y="87"/>
                      <a:pt x="95" y="87"/>
                    </a:cubicBezTo>
                    <a:cubicBezTo>
                      <a:pt x="94" y="87"/>
                      <a:pt x="95" y="86"/>
                      <a:pt x="95" y="87"/>
                    </a:cubicBezTo>
                    <a:cubicBezTo>
                      <a:pt x="96" y="87"/>
                      <a:pt x="96" y="87"/>
                      <a:pt x="96" y="87"/>
                    </a:cubicBezTo>
                    <a:cubicBezTo>
                      <a:pt x="96" y="87"/>
                      <a:pt x="96" y="86"/>
                      <a:pt x="95" y="85"/>
                    </a:cubicBezTo>
                    <a:cubicBezTo>
                      <a:pt x="94" y="85"/>
                      <a:pt x="95" y="85"/>
                      <a:pt x="94" y="84"/>
                    </a:cubicBezTo>
                    <a:cubicBezTo>
                      <a:pt x="94" y="83"/>
                      <a:pt x="94" y="83"/>
                      <a:pt x="94" y="82"/>
                    </a:cubicBezTo>
                    <a:cubicBezTo>
                      <a:pt x="94" y="81"/>
                      <a:pt x="94" y="81"/>
                      <a:pt x="94" y="80"/>
                    </a:cubicBezTo>
                    <a:cubicBezTo>
                      <a:pt x="94" y="81"/>
                      <a:pt x="95" y="79"/>
                      <a:pt x="95" y="79"/>
                    </a:cubicBezTo>
                    <a:cubicBezTo>
                      <a:pt x="95" y="79"/>
                      <a:pt x="95" y="78"/>
                      <a:pt x="95" y="78"/>
                    </a:cubicBezTo>
                    <a:cubicBezTo>
                      <a:pt x="96" y="77"/>
                      <a:pt x="95" y="77"/>
                      <a:pt x="95" y="77"/>
                    </a:cubicBezTo>
                    <a:cubicBezTo>
                      <a:pt x="95" y="76"/>
                      <a:pt x="95" y="76"/>
                      <a:pt x="95" y="75"/>
                    </a:cubicBezTo>
                    <a:cubicBezTo>
                      <a:pt x="95" y="75"/>
                      <a:pt x="95" y="75"/>
                      <a:pt x="95" y="75"/>
                    </a:cubicBezTo>
                    <a:cubicBezTo>
                      <a:pt x="95" y="74"/>
                      <a:pt x="94" y="75"/>
                      <a:pt x="94" y="75"/>
                    </a:cubicBezTo>
                    <a:cubicBezTo>
                      <a:pt x="94" y="74"/>
                      <a:pt x="93" y="72"/>
                      <a:pt x="94" y="71"/>
                    </a:cubicBezTo>
                    <a:cubicBezTo>
                      <a:pt x="95" y="70"/>
                      <a:pt x="95" y="70"/>
                      <a:pt x="95" y="70"/>
                    </a:cubicBezTo>
                    <a:cubicBezTo>
                      <a:pt x="95" y="69"/>
                      <a:pt x="95" y="68"/>
                      <a:pt x="96" y="68"/>
                    </a:cubicBezTo>
                    <a:cubicBezTo>
                      <a:pt x="96" y="68"/>
                      <a:pt x="96" y="68"/>
                      <a:pt x="96" y="68"/>
                    </a:cubicBezTo>
                    <a:cubicBezTo>
                      <a:pt x="96" y="68"/>
                      <a:pt x="96" y="68"/>
                      <a:pt x="97" y="67"/>
                    </a:cubicBezTo>
                    <a:cubicBezTo>
                      <a:pt x="97" y="67"/>
                      <a:pt x="97" y="66"/>
                      <a:pt x="96" y="66"/>
                    </a:cubicBezTo>
                    <a:cubicBezTo>
                      <a:pt x="96" y="65"/>
                      <a:pt x="96" y="65"/>
                      <a:pt x="95" y="64"/>
                    </a:cubicBezTo>
                    <a:cubicBezTo>
                      <a:pt x="95" y="64"/>
                      <a:pt x="94" y="64"/>
                      <a:pt x="94" y="65"/>
                    </a:cubicBezTo>
                    <a:cubicBezTo>
                      <a:pt x="94" y="64"/>
                      <a:pt x="94" y="63"/>
                      <a:pt x="94" y="63"/>
                    </a:cubicBezTo>
                    <a:cubicBezTo>
                      <a:pt x="94" y="63"/>
                      <a:pt x="94" y="63"/>
                      <a:pt x="94" y="63"/>
                    </a:cubicBezTo>
                    <a:cubicBezTo>
                      <a:pt x="93" y="62"/>
                      <a:pt x="92" y="61"/>
                      <a:pt x="92" y="61"/>
                    </a:cubicBezTo>
                    <a:cubicBezTo>
                      <a:pt x="91" y="60"/>
                      <a:pt x="90" y="60"/>
                      <a:pt x="90" y="59"/>
                    </a:cubicBezTo>
                    <a:cubicBezTo>
                      <a:pt x="90" y="58"/>
                      <a:pt x="90" y="57"/>
                      <a:pt x="90" y="57"/>
                    </a:cubicBezTo>
                    <a:cubicBezTo>
                      <a:pt x="89" y="56"/>
                      <a:pt x="89" y="55"/>
                      <a:pt x="90" y="54"/>
                    </a:cubicBezTo>
                    <a:cubicBezTo>
                      <a:pt x="90" y="53"/>
                      <a:pt x="90" y="52"/>
                      <a:pt x="91" y="51"/>
                    </a:cubicBezTo>
                    <a:cubicBezTo>
                      <a:pt x="91" y="50"/>
                      <a:pt x="91" y="49"/>
                      <a:pt x="92" y="49"/>
                    </a:cubicBezTo>
                    <a:cubicBezTo>
                      <a:pt x="92" y="48"/>
                      <a:pt x="93" y="46"/>
                      <a:pt x="92" y="47"/>
                    </a:cubicBezTo>
                    <a:cubicBezTo>
                      <a:pt x="92" y="47"/>
                      <a:pt x="93" y="45"/>
                      <a:pt x="93" y="46"/>
                    </a:cubicBezTo>
                    <a:cubicBezTo>
                      <a:pt x="93" y="45"/>
                      <a:pt x="92" y="45"/>
                      <a:pt x="93" y="44"/>
                    </a:cubicBezTo>
                    <a:cubicBezTo>
                      <a:pt x="93" y="44"/>
                      <a:pt x="93" y="43"/>
                      <a:pt x="93" y="43"/>
                    </a:cubicBezTo>
                    <a:cubicBezTo>
                      <a:pt x="93" y="43"/>
                      <a:pt x="93" y="44"/>
                      <a:pt x="93" y="43"/>
                    </a:cubicBezTo>
                    <a:cubicBezTo>
                      <a:pt x="94" y="43"/>
                      <a:pt x="94" y="42"/>
                      <a:pt x="94" y="42"/>
                    </a:cubicBezTo>
                    <a:cubicBezTo>
                      <a:pt x="93" y="42"/>
                      <a:pt x="94" y="42"/>
                      <a:pt x="94" y="41"/>
                    </a:cubicBezTo>
                    <a:cubicBezTo>
                      <a:pt x="94" y="41"/>
                      <a:pt x="92" y="39"/>
                      <a:pt x="91" y="39"/>
                    </a:cubicBezTo>
                    <a:cubicBezTo>
                      <a:pt x="89" y="37"/>
                      <a:pt x="86" y="34"/>
                      <a:pt x="84" y="32"/>
                    </a:cubicBezTo>
                    <a:cubicBezTo>
                      <a:pt x="82" y="31"/>
                      <a:pt x="81" y="31"/>
                      <a:pt x="80" y="29"/>
                    </a:cubicBezTo>
                    <a:cubicBezTo>
                      <a:pt x="80" y="29"/>
                      <a:pt x="80" y="28"/>
                      <a:pt x="79" y="28"/>
                    </a:cubicBezTo>
                    <a:cubicBezTo>
                      <a:pt x="79" y="28"/>
                      <a:pt x="79" y="28"/>
                      <a:pt x="78" y="28"/>
                    </a:cubicBezTo>
                    <a:cubicBezTo>
                      <a:pt x="78" y="27"/>
                      <a:pt x="79" y="26"/>
                      <a:pt x="79" y="25"/>
                    </a:cubicBezTo>
                    <a:cubicBezTo>
                      <a:pt x="79" y="25"/>
                      <a:pt x="79" y="23"/>
                      <a:pt x="79" y="22"/>
                    </a:cubicBezTo>
                    <a:cubicBezTo>
                      <a:pt x="78" y="21"/>
                      <a:pt x="76" y="21"/>
                      <a:pt x="75" y="20"/>
                    </a:cubicBezTo>
                    <a:cubicBezTo>
                      <a:pt x="73" y="19"/>
                      <a:pt x="72" y="18"/>
                      <a:pt x="71" y="17"/>
                    </a:cubicBezTo>
                    <a:cubicBezTo>
                      <a:pt x="68" y="15"/>
                      <a:pt x="65" y="14"/>
                      <a:pt x="62" y="12"/>
                    </a:cubicBezTo>
                    <a:cubicBezTo>
                      <a:pt x="56" y="8"/>
                      <a:pt x="50" y="4"/>
                      <a:pt x="44" y="1"/>
                    </a:cubicBezTo>
                    <a:cubicBezTo>
                      <a:pt x="44" y="1"/>
                      <a:pt x="43" y="1"/>
                      <a:pt x="43" y="2"/>
                    </a:cubicBezTo>
                    <a:cubicBezTo>
                      <a:pt x="43" y="2"/>
                      <a:pt x="43" y="2"/>
                      <a:pt x="42" y="3"/>
                    </a:cubicBezTo>
                    <a:cubicBezTo>
                      <a:pt x="42" y="3"/>
                      <a:pt x="43" y="3"/>
                      <a:pt x="43" y="4"/>
                    </a:cubicBezTo>
                    <a:cubicBezTo>
                      <a:pt x="43" y="4"/>
                      <a:pt x="44" y="4"/>
                      <a:pt x="43" y="4"/>
                    </a:cubicBezTo>
                    <a:cubicBezTo>
                      <a:pt x="43" y="4"/>
                      <a:pt x="41" y="3"/>
                      <a:pt x="42" y="5"/>
                    </a:cubicBezTo>
                    <a:cubicBezTo>
                      <a:pt x="42" y="5"/>
                      <a:pt x="41" y="5"/>
                      <a:pt x="42" y="5"/>
                    </a:cubicBezTo>
                    <a:cubicBezTo>
                      <a:pt x="42" y="5"/>
                      <a:pt x="43" y="6"/>
                      <a:pt x="43" y="6"/>
                    </a:cubicBezTo>
                    <a:cubicBezTo>
                      <a:pt x="42" y="6"/>
                      <a:pt x="42" y="6"/>
                      <a:pt x="41" y="6"/>
                    </a:cubicBezTo>
                    <a:cubicBezTo>
                      <a:pt x="41" y="5"/>
                      <a:pt x="41" y="6"/>
                      <a:pt x="41" y="6"/>
                    </a:cubicBezTo>
                    <a:cubicBezTo>
                      <a:pt x="41" y="6"/>
                      <a:pt x="40" y="5"/>
                      <a:pt x="40" y="5"/>
                    </a:cubicBezTo>
                    <a:cubicBezTo>
                      <a:pt x="40" y="6"/>
                      <a:pt x="41" y="6"/>
                      <a:pt x="40" y="6"/>
                    </a:cubicBezTo>
                    <a:cubicBezTo>
                      <a:pt x="40" y="7"/>
                      <a:pt x="40" y="6"/>
                      <a:pt x="40" y="7"/>
                    </a:cubicBezTo>
                    <a:cubicBezTo>
                      <a:pt x="40" y="7"/>
                      <a:pt x="41" y="8"/>
                      <a:pt x="41" y="7"/>
                    </a:cubicBezTo>
                    <a:cubicBezTo>
                      <a:pt x="40" y="8"/>
                      <a:pt x="40" y="7"/>
                      <a:pt x="39" y="8"/>
                    </a:cubicBezTo>
                    <a:cubicBezTo>
                      <a:pt x="39" y="8"/>
                      <a:pt x="40" y="9"/>
                      <a:pt x="40" y="9"/>
                    </a:cubicBezTo>
                    <a:cubicBezTo>
                      <a:pt x="40" y="9"/>
                      <a:pt x="39" y="8"/>
                      <a:pt x="39" y="9"/>
                    </a:cubicBezTo>
                    <a:cubicBezTo>
                      <a:pt x="39" y="9"/>
                      <a:pt x="39" y="9"/>
                      <a:pt x="39" y="9"/>
                    </a:cubicBezTo>
                    <a:cubicBezTo>
                      <a:pt x="38" y="10"/>
                      <a:pt x="38" y="10"/>
                      <a:pt x="38" y="9"/>
                    </a:cubicBezTo>
                    <a:cubicBezTo>
                      <a:pt x="38" y="9"/>
                      <a:pt x="37" y="9"/>
                      <a:pt x="37" y="10"/>
                    </a:cubicBezTo>
                    <a:cubicBezTo>
                      <a:pt x="37" y="10"/>
                      <a:pt x="36" y="10"/>
                      <a:pt x="37" y="11"/>
                    </a:cubicBezTo>
                    <a:cubicBezTo>
                      <a:pt x="37" y="11"/>
                      <a:pt x="38" y="10"/>
                      <a:pt x="38" y="10"/>
                    </a:cubicBezTo>
                    <a:cubicBezTo>
                      <a:pt x="38" y="10"/>
                      <a:pt x="38" y="11"/>
                      <a:pt x="38" y="11"/>
                    </a:cubicBezTo>
                    <a:cubicBezTo>
                      <a:pt x="38" y="11"/>
                      <a:pt x="40" y="11"/>
                      <a:pt x="39" y="12"/>
                    </a:cubicBezTo>
                    <a:cubicBezTo>
                      <a:pt x="38" y="12"/>
                      <a:pt x="38" y="11"/>
                      <a:pt x="38" y="11"/>
                    </a:cubicBezTo>
                    <a:cubicBezTo>
                      <a:pt x="37" y="11"/>
                      <a:pt x="38" y="12"/>
                      <a:pt x="37" y="12"/>
                    </a:cubicBezTo>
                    <a:cubicBezTo>
                      <a:pt x="37" y="12"/>
                      <a:pt x="37" y="11"/>
                      <a:pt x="37" y="12"/>
                    </a:cubicBezTo>
                    <a:cubicBezTo>
                      <a:pt x="37" y="11"/>
                      <a:pt x="37" y="11"/>
                      <a:pt x="36" y="11"/>
                    </a:cubicBezTo>
                    <a:cubicBezTo>
                      <a:pt x="37" y="12"/>
                      <a:pt x="36" y="12"/>
                      <a:pt x="36" y="12"/>
                    </a:cubicBezTo>
                    <a:cubicBezTo>
                      <a:pt x="36" y="12"/>
                      <a:pt x="35" y="13"/>
                      <a:pt x="36" y="13"/>
                    </a:cubicBezTo>
                    <a:cubicBezTo>
                      <a:pt x="37" y="12"/>
                      <a:pt x="37" y="13"/>
                      <a:pt x="38" y="13"/>
                    </a:cubicBezTo>
                    <a:cubicBezTo>
                      <a:pt x="39" y="13"/>
                      <a:pt x="39" y="13"/>
                      <a:pt x="40" y="13"/>
                    </a:cubicBezTo>
                    <a:cubicBezTo>
                      <a:pt x="40" y="12"/>
                      <a:pt x="41" y="12"/>
                      <a:pt x="42" y="13"/>
                    </a:cubicBezTo>
                    <a:cubicBezTo>
                      <a:pt x="42" y="14"/>
                      <a:pt x="42" y="14"/>
                      <a:pt x="41" y="14"/>
                    </a:cubicBezTo>
                    <a:cubicBezTo>
                      <a:pt x="41" y="14"/>
                      <a:pt x="39" y="15"/>
                      <a:pt x="39" y="16"/>
                    </a:cubicBezTo>
                    <a:cubicBezTo>
                      <a:pt x="39" y="16"/>
                      <a:pt x="38" y="16"/>
                      <a:pt x="38" y="16"/>
                    </a:cubicBezTo>
                    <a:cubicBezTo>
                      <a:pt x="39" y="17"/>
                      <a:pt x="37" y="18"/>
                      <a:pt x="37" y="17"/>
                    </a:cubicBezTo>
                    <a:cubicBezTo>
                      <a:pt x="37" y="17"/>
                      <a:pt x="36" y="17"/>
                      <a:pt x="35" y="17"/>
                    </a:cubicBezTo>
                    <a:cubicBezTo>
                      <a:pt x="35" y="16"/>
                      <a:pt x="35" y="15"/>
                      <a:pt x="34" y="15"/>
                    </a:cubicBezTo>
                    <a:cubicBezTo>
                      <a:pt x="33" y="15"/>
                      <a:pt x="33" y="16"/>
                      <a:pt x="33" y="16"/>
                    </a:cubicBezTo>
                    <a:cubicBezTo>
                      <a:pt x="33" y="16"/>
                      <a:pt x="32" y="16"/>
                      <a:pt x="32" y="17"/>
                    </a:cubicBezTo>
                    <a:cubicBezTo>
                      <a:pt x="33" y="17"/>
                      <a:pt x="33" y="17"/>
                      <a:pt x="33" y="17"/>
                    </a:cubicBezTo>
                    <a:cubicBezTo>
                      <a:pt x="33" y="18"/>
                      <a:pt x="32" y="18"/>
                      <a:pt x="32" y="18"/>
                    </a:cubicBezTo>
                    <a:cubicBezTo>
                      <a:pt x="32" y="18"/>
                      <a:pt x="33" y="18"/>
                      <a:pt x="33" y="19"/>
                    </a:cubicBezTo>
                    <a:cubicBezTo>
                      <a:pt x="33" y="19"/>
                      <a:pt x="32" y="19"/>
                      <a:pt x="33" y="19"/>
                    </a:cubicBezTo>
                    <a:cubicBezTo>
                      <a:pt x="33" y="19"/>
                      <a:pt x="33" y="20"/>
                      <a:pt x="33" y="20"/>
                    </a:cubicBezTo>
                    <a:cubicBezTo>
                      <a:pt x="33" y="20"/>
                      <a:pt x="33" y="20"/>
                      <a:pt x="33" y="20"/>
                    </a:cubicBezTo>
                    <a:cubicBezTo>
                      <a:pt x="33" y="21"/>
                      <a:pt x="34" y="21"/>
                      <a:pt x="34" y="21"/>
                    </a:cubicBezTo>
                    <a:cubicBezTo>
                      <a:pt x="34" y="21"/>
                      <a:pt x="33" y="21"/>
                      <a:pt x="33" y="20"/>
                    </a:cubicBezTo>
                    <a:cubicBezTo>
                      <a:pt x="33" y="20"/>
                      <a:pt x="32" y="20"/>
                      <a:pt x="32" y="21"/>
                    </a:cubicBezTo>
                    <a:cubicBezTo>
                      <a:pt x="32" y="21"/>
                      <a:pt x="32" y="21"/>
                      <a:pt x="32" y="22"/>
                    </a:cubicBezTo>
                    <a:cubicBezTo>
                      <a:pt x="32" y="22"/>
                      <a:pt x="31" y="23"/>
                      <a:pt x="31" y="22"/>
                    </a:cubicBezTo>
                    <a:cubicBezTo>
                      <a:pt x="31" y="22"/>
                      <a:pt x="32" y="21"/>
                      <a:pt x="32" y="21"/>
                    </a:cubicBezTo>
                    <a:cubicBezTo>
                      <a:pt x="32" y="21"/>
                      <a:pt x="31" y="21"/>
                      <a:pt x="31" y="21"/>
                    </a:cubicBezTo>
                    <a:cubicBezTo>
                      <a:pt x="31" y="20"/>
                      <a:pt x="32" y="20"/>
                      <a:pt x="32" y="20"/>
                    </a:cubicBezTo>
                    <a:cubicBezTo>
                      <a:pt x="33" y="19"/>
                      <a:pt x="32" y="19"/>
                      <a:pt x="32" y="19"/>
                    </a:cubicBezTo>
                    <a:cubicBezTo>
                      <a:pt x="32" y="19"/>
                      <a:pt x="32" y="19"/>
                      <a:pt x="32" y="18"/>
                    </a:cubicBezTo>
                    <a:cubicBezTo>
                      <a:pt x="32" y="18"/>
                      <a:pt x="32" y="18"/>
                      <a:pt x="32" y="17"/>
                    </a:cubicBezTo>
                    <a:cubicBezTo>
                      <a:pt x="32" y="17"/>
                      <a:pt x="32" y="17"/>
                      <a:pt x="32" y="17"/>
                    </a:cubicBezTo>
                    <a:cubicBezTo>
                      <a:pt x="31" y="17"/>
                      <a:pt x="31" y="17"/>
                      <a:pt x="31" y="17"/>
                    </a:cubicBezTo>
                    <a:cubicBezTo>
                      <a:pt x="31" y="17"/>
                      <a:pt x="31" y="17"/>
                      <a:pt x="30" y="17"/>
                    </a:cubicBezTo>
                    <a:cubicBezTo>
                      <a:pt x="31" y="17"/>
                      <a:pt x="30" y="16"/>
                      <a:pt x="30" y="15"/>
                    </a:cubicBezTo>
                    <a:cubicBezTo>
                      <a:pt x="30" y="16"/>
                      <a:pt x="30" y="17"/>
                      <a:pt x="29" y="17"/>
                    </a:cubicBezTo>
                    <a:cubicBezTo>
                      <a:pt x="29" y="18"/>
                      <a:pt x="30" y="16"/>
                      <a:pt x="29" y="16"/>
                    </a:cubicBezTo>
                    <a:cubicBezTo>
                      <a:pt x="29" y="16"/>
                      <a:pt x="28" y="16"/>
                      <a:pt x="28" y="16"/>
                    </a:cubicBezTo>
                    <a:cubicBezTo>
                      <a:pt x="27" y="16"/>
                      <a:pt x="27" y="15"/>
                      <a:pt x="27" y="15"/>
                    </a:cubicBezTo>
                    <a:cubicBezTo>
                      <a:pt x="27" y="15"/>
                      <a:pt x="27" y="14"/>
                      <a:pt x="27" y="14"/>
                    </a:cubicBezTo>
                    <a:cubicBezTo>
                      <a:pt x="27" y="14"/>
                      <a:pt x="26" y="15"/>
                      <a:pt x="26" y="14"/>
                    </a:cubicBezTo>
                    <a:cubicBezTo>
                      <a:pt x="26" y="15"/>
                      <a:pt x="26" y="16"/>
                      <a:pt x="25" y="15"/>
                    </a:cubicBezTo>
                    <a:cubicBezTo>
                      <a:pt x="24" y="15"/>
                      <a:pt x="25" y="16"/>
                      <a:pt x="25" y="16"/>
                    </a:cubicBezTo>
                    <a:cubicBezTo>
                      <a:pt x="26" y="17"/>
                      <a:pt x="26" y="18"/>
                      <a:pt x="25" y="17"/>
                    </a:cubicBezTo>
                    <a:cubicBezTo>
                      <a:pt x="25" y="17"/>
                      <a:pt x="25" y="17"/>
                      <a:pt x="25" y="17"/>
                    </a:cubicBezTo>
                    <a:cubicBezTo>
                      <a:pt x="25" y="17"/>
                      <a:pt x="24" y="17"/>
                      <a:pt x="24" y="17"/>
                    </a:cubicBezTo>
                    <a:cubicBezTo>
                      <a:pt x="24" y="17"/>
                      <a:pt x="24" y="17"/>
                      <a:pt x="24" y="17"/>
                    </a:cubicBezTo>
                    <a:cubicBezTo>
                      <a:pt x="24" y="17"/>
                      <a:pt x="24" y="17"/>
                      <a:pt x="24" y="18"/>
                    </a:cubicBezTo>
                    <a:cubicBezTo>
                      <a:pt x="24" y="18"/>
                      <a:pt x="23" y="18"/>
                      <a:pt x="23" y="18"/>
                    </a:cubicBezTo>
                    <a:cubicBezTo>
                      <a:pt x="23" y="18"/>
                      <a:pt x="24" y="19"/>
                      <a:pt x="24" y="19"/>
                    </a:cubicBezTo>
                    <a:cubicBezTo>
                      <a:pt x="24" y="19"/>
                      <a:pt x="24" y="20"/>
                      <a:pt x="24" y="19"/>
                    </a:cubicBezTo>
                    <a:cubicBezTo>
                      <a:pt x="23" y="19"/>
                      <a:pt x="23" y="18"/>
                      <a:pt x="23" y="18"/>
                    </a:cubicBezTo>
                    <a:cubicBezTo>
                      <a:pt x="23" y="18"/>
                      <a:pt x="23" y="19"/>
                      <a:pt x="23" y="19"/>
                    </a:cubicBezTo>
                    <a:cubicBezTo>
                      <a:pt x="23" y="19"/>
                      <a:pt x="23" y="19"/>
                      <a:pt x="22" y="19"/>
                    </a:cubicBezTo>
                    <a:cubicBezTo>
                      <a:pt x="22" y="19"/>
                      <a:pt x="23" y="20"/>
                      <a:pt x="22" y="20"/>
                    </a:cubicBezTo>
                    <a:cubicBezTo>
                      <a:pt x="21" y="21"/>
                      <a:pt x="22" y="19"/>
                      <a:pt x="22" y="19"/>
                    </a:cubicBezTo>
                    <a:cubicBezTo>
                      <a:pt x="22" y="18"/>
                      <a:pt x="22" y="18"/>
                      <a:pt x="22" y="18"/>
                    </a:cubicBezTo>
                    <a:cubicBezTo>
                      <a:pt x="22" y="18"/>
                      <a:pt x="22" y="18"/>
                      <a:pt x="22" y="18"/>
                    </a:cubicBezTo>
                    <a:cubicBezTo>
                      <a:pt x="21" y="18"/>
                      <a:pt x="22" y="17"/>
                      <a:pt x="21" y="17"/>
                    </a:cubicBezTo>
                    <a:cubicBezTo>
                      <a:pt x="21" y="17"/>
                      <a:pt x="22" y="17"/>
                      <a:pt x="22" y="17"/>
                    </a:cubicBezTo>
                    <a:cubicBezTo>
                      <a:pt x="22" y="16"/>
                      <a:pt x="21" y="16"/>
                      <a:pt x="22" y="15"/>
                    </a:cubicBezTo>
                    <a:cubicBezTo>
                      <a:pt x="22" y="15"/>
                      <a:pt x="21" y="15"/>
                      <a:pt x="21" y="15"/>
                    </a:cubicBezTo>
                    <a:cubicBezTo>
                      <a:pt x="20" y="16"/>
                      <a:pt x="21" y="14"/>
                      <a:pt x="21" y="13"/>
                    </a:cubicBezTo>
                    <a:cubicBezTo>
                      <a:pt x="21" y="13"/>
                      <a:pt x="21" y="11"/>
                      <a:pt x="21" y="11"/>
                    </a:cubicBezTo>
                    <a:cubicBezTo>
                      <a:pt x="21" y="11"/>
                      <a:pt x="20" y="12"/>
                      <a:pt x="20" y="11"/>
                    </a:cubicBezTo>
                    <a:cubicBezTo>
                      <a:pt x="20" y="10"/>
                      <a:pt x="21" y="10"/>
                      <a:pt x="21" y="9"/>
                    </a:cubicBezTo>
                    <a:cubicBezTo>
                      <a:pt x="21" y="9"/>
                      <a:pt x="21" y="8"/>
                      <a:pt x="22" y="7"/>
                    </a:cubicBezTo>
                    <a:cubicBezTo>
                      <a:pt x="22" y="7"/>
                      <a:pt x="22" y="5"/>
                      <a:pt x="22" y="5"/>
                    </a:cubicBezTo>
                    <a:cubicBezTo>
                      <a:pt x="22" y="6"/>
                      <a:pt x="22" y="5"/>
                      <a:pt x="22" y="4"/>
                    </a:cubicBezTo>
                    <a:cubicBezTo>
                      <a:pt x="22" y="4"/>
                      <a:pt x="23" y="3"/>
                      <a:pt x="23" y="2"/>
                    </a:cubicBezTo>
                    <a:cubicBezTo>
                      <a:pt x="23" y="2"/>
                      <a:pt x="23" y="1"/>
                      <a:pt x="23" y="1"/>
                    </a:cubicBezTo>
                    <a:cubicBezTo>
                      <a:pt x="22" y="0"/>
                      <a:pt x="22" y="0"/>
                      <a:pt x="22" y="1"/>
                    </a:cubicBezTo>
                    <a:cubicBezTo>
                      <a:pt x="22" y="1"/>
                      <a:pt x="22" y="1"/>
                      <a:pt x="22" y="0"/>
                    </a:cubicBezTo>
                    <a:cubicBezTo>
                      <a:pt x="20" y="0"/>
                      <a:pt x="17" y="0"/>
                      <a:pt x="15" y="0"/>
                    </a:cubicBezTo>
                    <a:cubicBezTo>
                      <a:pt x="14" y="0"/>
                      <a:pt x="12" y="0"/>
                      <a:pt x="11" y="0"/>
                    </a:cubicBezTo>
                    <a:cubicBezTo>
                      <a:pt x="11" y="1"/>
                      <a:pt x="10" y="1"/>
                      <a:pt x="9" y="1"/>
                    </a:cubicBezTo>
                    <a:cubicBezTo>
                      <a:pt x="9" y="1"/>
                      <a:pt x="9" y="2"/>
                      <a:pt x="9" y="2"/>
                    </a:cubicBezTo>
                    <a:cubicBezTo>
                      <a:pt x="9" y="2"/>
                      <a:pt x="9" y="2"/>
                      <a:pt x="10" y="2"/>
                    </a:cubicBezTo>
                    <a:cubicBezTo>
                      <a:pt x="10" y="2"/>
                      <a:pt x="10" y="2"/>
                      <a:pt x="10" y="3"/>
                    </a:cubicBezTo>
                    <a:cubicBezTo>
                      <a:pt x="10" y="3"/>
                      <a:pt x="10" y="4"/>
                      <a:pt x="10" y="4"/>
                    </a:cubicBezTo>
                    <a:cubicBezTo>
                      <a:pt x="11" y="4"/>
                      <a:pt x="11" y="4"/>
                      <a:pt x="11" y="5"/>
                    </a:cubicBezTo>
                    <a:cubicBezTo>
                      <a:pt x="12" y="5"/>
                      <a:pt x="13" y="7"/>
                      <a:pt x="13" y="8"/>
                    </a:cubicBezTo>
                    <a:cubicBezTo>
                      <a:pt x="12" y="9"/>
                      <a:pt x="12" y="10"/>
                      <a:pt x="13" y="12"/>
                    </a:cubicBezTo>
                    <a:cubicBezTo>
                      <a:pt x="13" y="12"/>
                      <a:pt x="13" y="12"/>
                      <a:pt x="13" y="13"/>
                    </a:cubicBezTo>
                    <a:cubicBezTo>
                      <a:pt x="13" y="14"/>
                      <a:pt x="13" y="14"/>
                      <a:pt x="13" y="15"/>
                    </a:cubicBezTo>
                    <a:cubicBezTo>
                      <a:pt x="13" y="15"/>
                      <a:pt x="12" y="15"/>
                      <a:pt x="12" y="15"/>
                    </a:cubicBezTo>
                    <a:cubicBezTo>
                      <a:pt x="11" y="15"/>
                      <a:pt x="11" y="15"/>
                      <a:pt x="11" y="16"/>
                    </a:cubicBezTo>
                    <a:cubicBezTo>
                      <a:pt x="9" y="16"/>
                      <a:pt x="10" y="17"/>
                      <a:pt x="9" y="18"/>
                    </a:cubicBezTo>
                    <a:cubicBezTo>
                      <a:pt x="9" y="18"/>
                      <a:pt x="8" y="19"/>
                      <a:pt x="9" y="19"/>
                    </a:cubicBezTo>
                    <a:cubicBezTo>
                      <a:pt x="9" y="19"/>
                      <a:pt x="9" y="18"/>
                      <a:pt x="10" y="18"/>
                    </a:cubicBezTo>
                    <a:cubicBezTo>
                      <a:pt x="9" y="19"/>
                      <a:pt x="9" y="19"/>
                      <a:pt x="9" y="19"/>
                    </a:cubicBezTo>
                    <a:cubicBezTo>
                      <a:pt x="9" y="20"/>
                      <a:pt x="9" y="20"/>
                      <a:pt x="9" y="20"/>
                    </a:cubicBezTo>
                    <a:cubicBezTo>
                      <a:pt x="8" y="21"/>
                      <a:pt x="9" y="21"/>
                      <a:pt x="9" y="22"/>
                    </a:cubicBezTo>
                    <a:cubicBezTo>
                      <a:pt x="9" y="22"/>
                      <a:pt x="10" y="21"/>
                      <a:pt x="10" y="21"/>
                    </a:cubicBezTo>
                    <a:cubicBezTo>
                      <a:pt x="10" y="21"/>
                      <a:pt x="11" y="21"/>
                      <a:pt x="11" y="22"/>
                    </a:cubicBezTo>
                    <a:cubicBezTo>
                      <a:pt x="11" y="22"/>
                      <a:pt x="12" y="22"/>
                      <a:pt x="13" y="22"/>
                    </a:cubicBezTo>
                    <a:cubicBezTo>
                      <a:pt x="12" y="23"/>
                      <a:pt x="13" y="24"/>
                      <a:pt x="13" y="25"/>
                    </a:cubicBezTo>
                    <a:cubicBezTo>
                      <a:pt x="12" y="26"/>
                      <a:pt x="11" y="25"/>
                      <a:pt x="11" y="26"/>
                    </a:cubicBezTo>
                    <a:cubicBezTo>
                      <a:pt x="12" y="27"/>
                      <a:pt x="9" y="28"/>
                      <a:pt x="9" y="28"/>
                    </a:cubicBezTo>
                    <a:cubicBezTo>
                      <a:pt x="9" y="28"/>
                      <a:pt x="8" y="30"/>
                      <a:pt x="8" y="30"/>
                    </a:cubicBezTo>
                    <a:cubicBezTo>
                      <a:pt x="8" y="30"/>
                      <a:pt x="9" y="31"/>
                      <a:pt x="8" y="31"/>
                    </a:cubicBezTo>
                    <a:cubicBezTo>
                      <a:pt x="8" y="31"/>
                      <a:pt x="8" y="31"/>
                      <a:pt x="7" y="31"/>
                    </a:cubicBezTo>
                    <a:cubicBezTo>
                      <a:pt x="7" y="32"/>
                      <a:pt x="7" y="32"/>
                      <a:pt x="7" y="33"/>
                    </a:cubicBezTo>
                    <a:cubicBezTo>
                      <a:pt x="6" y="34"/>
                      <a:pt x="6" y="34"/>
                      <a:pt x="6" y="34"/>
                    </a:cubicBezTo>
                    <a:cubicBezTo>
                      <a:pt x="6" y="35"/>
                      <a:pt x="5" y="35"/>
                      <a:pt x="5" y="35"/>
                    </a:cubicBezTo>
                    <a:cubicBezTo>
                      <a:pt x="5" y="36"/>
                      <a:pt x="4" y="37"/>
                      <a:pt x="3" y="37"/>
                    </a:cubicBezTo>
                    <a:cubicBezTo>
                      <a:pt x="2" y="37"/>
                      <a:pt x="2" y="39"/>
                      <a:pt x="1" y="38"/>
                    </a:cubicBezTo>
                    <a:cubicBezTo>
                      <a:pt x="1" y="39"/>
                      <a:pt x="1" y="40"/>
                      <a:pt x="1" y="41"/>
                    </a:cubicBezTo>
                    <a:cubicBezTo>
                      <a:pt x="0" y="42"/>
                      <a:pt x="0" y="43"/>
                      <a:pt x="1" y="43"/>
                    </a:cubicBezTo>
                    <a:cubicBezTo>
                      <a:pt x="1" y="43"/>
                      <a:pt x="1" y="43"/>
                      <a:pt x="1" y="43"/>
                    </a:cubicBezTo>
                    <a:cubicBezTo>
                      <a:pt x="1" y="44"/>
                      <a:pt x="2" y="44"/>
                      <a:pt x="2" y="44"/>
                    </a:cubicBezTo>
                    <a:cubicBezTo>
                      <a:pt x="2" y="45"/>
                      <a:pt x="3" y="46"/>
                      <a:pt x="2" y="46"/>
                    </a:cubicBezTo>
                    <a:cubicBezTo>
                      <a:pt x="2" y="46"/>
                      <a:pt x="3" y="47"/>
                      <a:pt x="2" y="47"/>
                    </a:cubicBezTo>
                    <a:cubicBezTo>
                      <a:pt x="2" y="47"/>
                      <a:pt x="2" y="48"/>
                      <a:pt x="2" y="48"/>
                    </a:cubicBezTo>
                    <a:cubicBezTo>
                      <a:pt x="2" y="49"/>
                      <a:pt x="2" y="49"/>
                      <a:pt x="3" y="50"/>
                    </a:cubicBezTo>
                    <a:cubicBezTo>
                      <a:pt x="3" y="51"/>
                      <a:pt x="3" y="52"/>
                      <a:pt x="4" y="53"/>
                    </a:cubicBezTo>
                    <a:cubicBezTo>
                      <a:pt x="4" y="53"/>
                      <a:pt x="4" y="54"/>
                      <a:pt x="3" y="55"/>
                    </a:cubicBezTo>
                    <a:cubicBezTo>
                      <a:pt x="3" y="55"/>
                      <a:pt x="3" y="55"/>
                      <a:pt x="3" y="55"/>
                    </a:cubicBezTo>
                    <a:cubicBezTo>
                      <a:pt x="2" y="55"/>
                      <a:pt x="2" y="55"/>
                      <a:pt x="2" y="55"/>
                    </a:cubicBezTo>
                    <a:cubicBezTo>
                      <a:pt x="2" y="56"/>
                      <a:pt x="1" y="58"/>
                      <a:pt x="2" y="58"/>
                    </a:cubicBezTo>
                    <a:cubicBezTo>
                      <a:pt x="2" y="59"/>
                      <a:pt x="3" y="60"/>
                      <a:pt x="4" y="60"/>
                    </a:cubicBezTo>
                    <a:cubicBezTo>
                      <a:pt x="4" y="61"/>
                      <a:pt x="5" y="60"/>
                      <a:pt x="6" y="60"/>
                    </a:cubicBezTo>
                    <a:cubicBezTo>
                      <a:pt x="6" y="60"/>
                      <a:pt x="6" y="61"/>
                      <a:pt x="6" y="61"/>
                    </a:cubicBezTo>
                    <a:cubicBezTo>
                      <a:pt x="6" y="61"/>
                      <a:pt x="7" y="62"/>
                      <a:pt x="7" y="62"/>
                    </a:cubicBezTo>
                    <a:cubicBezTo>
                      <a:pt x="8" y="63"/>
                      <a:pt x="8" y="64"/>
                      <a:pt x="8" y="64"/>
                    </a:cubicBezTo>
                    <a:cubicBezTo>
                      <a:pt x="9" y="65"/>
                      <a:pt x="10" y="66"/>
                      <a:pt x="10" y="66"/>
                    </a:cubicBezTo>
                    <a:cubicBezTo>
                      <a:pt x="10" y="67"/>
                      <a:pt x="10" y="67"/>
                      <a:pt x="9" y="67"/>
                    </a:cubicBezTo>
                    <a:cubicBezTo>
                      <a:pt x="9" y="68"/>
                      <a:pt x="9" y="67"/>
                      <a:pt x="9" y="67"/>
                    </a:cubicBezTo>
                    <a:cubicBezTo>
                      <a:pt x="9" y="67"/>
                      <a:pt x="10" y="69"/>
                      <a:pt x="10" y="69"/>
                    </a:cubicBezTo>
                    <a:cubicBezTo>
                      <a:pt x="10" y="70"/>
                      <a:pt x="10" y="70"/>
                      <a:pt x="10" y="72"/>
                    </a:cubicBezTo>
                    <a:cubicBezTo>
                      <a:pt x="10" y="73"/>
                      <a:pt x="11" y="73"/>
                      <a:pt x="11" y="74"/>
                    </a:cubicBezTo>
                    <a:cubicBezTo>
                      <a:pt x="12" y="74"/>
                      <a:pt x="12" y="75"/>
                      <a:pt x="12" y="76"/>
                    </a:cubicBezTo>
                    <a:cubicBezTo>
                      <a:pt x="12" y="77"/>
                      <a:pt x="13" y="78"/>
                      <a:pt x="13" y="78"/>
                    </a:cubicBezTo>
                    <a:cubicBezTo>
                      <a:pt x="13" y="79"/>
                      <a:pt x="14" y="79"/>
                      <a:pt x="13" y="79"/>
                    </a:cubicBezTo>
                    <a:cubicBezTo>
                      <a:pt x="13" y="79"/>
                      <a:pt x="13" y="80"/>
                      <a:pt x="13" y="80"/>
                    </a:cubicBezTo>
                    <a:cubicBezTo>
                      <a:pt x="14" y="81"/>
                      <a:pt x="15" y="81"/>
                      <a:pt x="15" y="82"/>
                    </a:cubicBezTo>
                    <a:cubicBezTo>
                      <a:pt x="15" y="82"/>
                      <a:pt x="15" y="82"/>
                      <a:pt x="15" y="83"/>
                    </a:cubicBezTo>
                    <a:cubicBezTo>
                      <a:pt x="15" y="83"/>
                      <a:pt x="15" y="83"/>
                      <a:pt x="15" y="84"/>
                    </a:cubicBezTo>
                    <a:cubicBezTo>
                      <a:pt x="16" y="83"/>
                      <a:pt x="16" y="84"/>
                      <a:pt x="17" y="84"/>
                    </a:cubicBezTo>
                    <a:cubicBezTo>
                      <a:pt x="17" y="84"/>
                      <a:pt x="17" y="84"/>
                      <a:pt x="18" y="84"/>
                    </a:cubicBezTo>
                    <a:cubicBezTo>
                      <a:pt x="19" y="84"/>
                      <a:pt x="19" y="85"/>
                      <a:pt x="19" y="86"/>
                    </a:cubicBezTo>
                    <a:cubicBezTo>
                      <a:pt x="19" y="86"/>
                      <a:pt x="20" y="87"/>
                      <a:pt x="21" y="87"/>
                    </a:cubicBezTo>
                    <a:cubicBezTo>
                      <a:pt x="21" y="87"/>
                      <a:pt x="23" y="87"/>
                      <a:pt x="23" y="88"/>
                    </a:cubicBezTo>
                    <a:cubicBezTo>
                      <a:pt x="23" y="88"/>
                      <a:pt x="23" y="89"/>
                      <a:pt x="23" y="89"/>
                    </a:cubicBezTo>
                    <a:cubicBezTo>
                      <a:pt x="24" y="88"/>
                      <a:pt x="25" y="89"/>
                      <a:pt x="25" y="89"/>
                    </a:cubicBezTo>
                    <a:cubicBezTo>
                      <a:pt x="26" y="90"/>
                      <a:pt x="27" y="89"/>
                      <a:pt x="28" y="90"/>
                    </a:cubicBezTo>
                    <a:cubicBezTo>
                      <a:pt x="28" y="91"/>
                      <a:pt x="28" y="91"/>
                      <a:pt x="29" y="91"/>
                    </a:cubicBezTo>
                    <a:cubicBezTo>
                      <a:pt x="30" y="91"/>
                      <a:pt x="30" y="91"/>
                      <a:pt x="30" y="91"/>
                    </a:cubicBezTo>
                    <a:cubicBezTo>
                      <a:pt x="31" y="91"/>
                      <a:pt x="31" y="92"/>
                      <a:pt x="31" y="92"/>
                    </a:cubicBezTo>
                    <a:cubicBezTo>
                      <a:pt x="31" y="92"/>
                      <a:pt x="32" y="93"/>
                      <a:pt x="32" y="93"/>
                    </a:cubicBezTo>
                    <a:cubicBezTo>
                      <a:pt x="33" y="92"/>
                      <a:pt x="34" y="93"/>
                      <a:pt x="34" y="93"/>
                    </a:cubicBezTo>
                    <a:cubicBezTo>
                      <a:pt x="35" y="94"/>
                      <a:pt x="36" y="93"/>
                      <a:pt x="36" y="94"/>
                    </a:cubicBezTo>
                    <a:cubicBezTo>
                      <a:pt x="37" y="94"/>
                      <a:pt x="37" y="95"/>
                      <a:pt x="38" y="95"/>
                    </a:cubicBezTo>
                    <a:cubicBezTo>
                      <a:pt x="39" y="95"/>
                      <a:pt x="39" y="95"/>
                      <a:pt x="40" y="95"/>
                    </a:cubicBezTo>
                    <a:cubicBezTo>
                      <a:pt x="40" y="95"/>
                      <a:pt x="42" y="96"/>
                      <a:pt x="42" y="96"/>
                    </a:cubicBezTo>
                    <a:cubicBezTo>
                      <a:pt x="42" y="95"/>
                      <a:pt x="42" y="95"/>
                      <a:pt x="42" y="94"/>
                    </a:cubicBezTo>
                    <a:cubicBezTo>
                      <a:pt x="42" y="93"/>
                      <a:pt x="43" y="94"/>
                      <a:pt x="44" y="94"/>
                    </a:cubicBezTo>
                    <a:cubicBezTo>
                      <a:pt x="44" y="95"/>
                      <a:pt x="45" y="95"/>
                      <a:pt x="45" y="96"/>
                    </a:cubicBezTo>
                    <a:cubicBezTo>
                      <a:pt x="46" y="96"/>
                      <a:pt x="46" y="97"/>
                      <a:pt x="46" y="98"/>
                    </a:cubicBezTo>
                    <a:cubicBezTo>
                      <a:pt x="47" y="98"/>
                      <a:pt x="47" y="99"/>
                      <a:pt x="47" y="100"/>
                    </a:cubicBezTo>
                    <a:cubicBezTo>
                      <a:pt x="47" y="101"/>
                      <a:pt x="48" y="102"/>
                      <a:pt x="48" y="103"/>
                    </a:cubicBezTo>
                    <a:cubicBezTo>
                      <a:pt x="48" y="104"/>
                      <a:pt x="48" y="105"/>
                      <a:pt x="48" y="106"/>
                    </a:cubicBezTo>
                    <a:cubicBezTo>
                      <a:pt x="49" y="106"/>
                      <a:pt x="49" y="107"/>
                      <a:pt x="49" y="108"/>
                    </a:cubicBezTo>
                    <a:cubicBezTo>
                      <a:pt x="49" y="108"/>
                      <a:pt x="49" y="109"/>
                      <a:pt x="48" y="109"/>
                    </a:cubicBezTo>
                    <a:cubicBezTo>
                      <a:pt x="48" y="110"/>
                      <a:pt x="48" y="110"/>
                      <a:pt x="48" y="110"/>
                    </a:cubicBezTo>
                    <a:cubicBezTo>
                      <a:pt x="48" y="111"/>
                      <a:pt x="48" y="112"/>
                      <a:pt x="49" y="112"/>
                    </a:cubicBezTo>
                    <a:cubicBezTo>
                      <a:pt x="49" y="112"/>
                      <a:pt x="49" y="113"/>
                      <a:pt x="49" y="113"/>
                    </a:cubicBezTo>
                    <a:cubicBezTo>
                      <a:pt x="49" y="114"/>
                      <a:pt x="49" y="114"/>
                      <a:pt x="50" y="114"/>
                    </a:cubicBezTo>
                    <a:cubicBezTo>
                      <a:pt x="50" y="114"/>
                      <a:pt x="50" y="114"/>
                      <a:pt x="50" y="114"/>
                    </a:cubicBezTo>
                    <a:cubicBezTo>
                      <a:pt x="50" y="114"/>
                      <a:pt x="51" y="114"/>
                      <a:pt x="51" y="115"/>
                    </a:cubicBezTo>
                    <a:cubicBezTo>
                      <a:pt x="51" y="115"/>
                      <a:pt x="51" y="115"/>
                      <a:pt x="51" y="116"/>
                    </a:cubicBezTo>
                    <a:cubicBezTo>
                      <a:pt x="51" y="116"/>
                      <a:pt x="51" y="116"/>
                      <a:pt x="51" y="116"/>
                    </a:cubicBezTo>
                    <a:cubicBezTo>
                      <a:pt x="52" y="117"/>
                      <a:pt x="53" y="116"/>
                      <a:pt x="54" y="116"/>
                    </a:cubicBezTo>
                    <a:cubicBezTo>
                      <a:pt x="54" y="116"/>
                      <a:pt x="55" y="116"/>
                      <a:pt x="55" y="117"/>
                    </a:cubicBezTo>
                    <a:cubicBezTo>
                      <a:pt x="56" y="117"/>
                      <a:pt x="56" y="117"/>
                      <a:pt x="56" y="117"/>
                    </a:cubicBezTo>
                    <a:cubicBezTo>
                      <a:pt x="56" y="117"/>
                      <a:pt x="57" y="117"/>
                      <a:pt x="57" y="117"/>
                    </a:cubicBezTo>
                    <a:cubicBezTo>
                      <a:pt x="58" y="117"/>
                      <a:pt x="59" y="115"/>
                      <a:pt x="60" y="115"/>
                    </a:cubicBezTo>
                    <a:cubicBezTo>
                      <a:pt x="61" y="115"/>
                      <a:pt x="61" y="116"/>
                      <a:pt x="61" y="116"/>
                    </a:cubicBezTo>
                    <a:cubicBezTo>
                      <a:pt x="62" y="116"/>
                      <a:pt x="63" y="116"/>
                      <a:pt x="63" y="117"/>
                    </a:cubicBezTo>
                    <a:cubicBezTo>
                      <a:pt x="63" y="117"/>
                      <a:pt x="63" y="118"/>
                      <a:pt x="64" y="118"/>
                    </a:cubicBezTo>
                    <a:cubicBezTo>
                      <a:pt x="65" y="118"/>
                      <a:pt x="65" y="118"/>
                      <a:pt x="66" y="118"/>
                    </a:cubicBezTo>
                    <a:cubicBezTo>
                      <a:pt x="66" y="118"/>
                      <a:pt x="66" y="118"/>
                      <a:pt x="66" y="118"/>
                    </a:cubicBezTo>
                    <a:cubicBezTo>
                      <a:pt x="67" y="118"/>
                      <a:pt x="67" y="118"/>
                      <a:pt x="67" y="118"/>
                    </a:cubicBezTo>
                    <a:cubicBezTo>
                      <a:pt x="68" y="118"/>
                      <a:pt x="68" y="118"/>
                      <a:pt x="69" y="117"/>
                    </a:cubicBezTo>
                    <a:cubicBezTo>
                      <a:pt x="69" y="117"/>
                      <a:pt x="69" y="116"/>
                      <a:pt x="70" y="117"/>
                    </a:cubicBezTo>
                    <a:cubicBezTo>
                      <a:pt x="71" y="117"/>
                      <a:pt x="71" y="116"/>
                      <a:pt x="72" y="117"/>
                    </a:cubicBezTo>
                    <a:cubicBezTo>
                      <a:pt x="72" y="117"/>
                      <a:pt x="72" y="118"/>
                      <a:pt x="73" y="118"/>
                    </a:cubicBezTo>
                    <a:cubicBezTo>
                      <a:pt x="73" y="118"/>
                      <a:pt x="74" y="118"/>
                      <a:pt x="75" y="118"/>
                    </a:cubicBezTo>
                    <a:cubicBezTo>
                      <a:pt x="75" y="118"/>
                      <a:pt x="76" y="118"/>
                      <a:pt x="76" y="117"/>
                    </a:cubicBezTo>
                    <a:cubicBezTo>
                      <a:pt x="76" y="117"/>
                      <a:pt x="77" y="117"/>
                      <a:pt x="77" y="117"/>
                    </a:cubicBezTo>
                    <a:cubicBezTo>
                      <a:pt x="78" y="117"/>
                      <a:pt x="77" y="117"/>
                      <a:pt x="78" y="117"/>
                    </a:cubicBezTo>
                    <a:cubicBezTo>
                      <a:pt x="78" y="116"/>
                      <a:pt x="79" y="116"/>
                      <a:pt x="79" y="116"/>
                    </a:cubicBezTo>
                    <a:cubicBezTo>
                      <a:pt x="79" y="115"/>
                      <a:pt x="79" y="114"/>
                      <a:pt x="79" y="114"/>
                    </a:cubicBezTo>
                    <a:cubicBezTo>
                      <a:pt x="80" y="113"/>
                      <a:pt x="81" y="113"/>
                      <a:pt x="82" y="113"/>
                    </a:cubicBezTo>
                    <a:cubicBezTo>
                      <a:pt x="82" y="113"/>
                      <a:pt x="83" y="113"/>
                      <a:pt x="83" y="113"/>
                    </a:cubicBezTo>
                    <a:cubicBezTo>
                      <a:pt x="84" y="114"/>
                      <a:pt x="85" y="115"/>
                      <a:pt x="86" y="114"/>
                    </a:cubicBezTo>
                    <a:cubicBezTo>
                      <a:pt x="86" y="114"/>
                      <a:pt x="87" y="113"/>
                      <a:pt x="87" y="113"/>
                    </a:cubicBezTo>
                    <a:cubicBezTo>
                      <a:pt x="88" y="113"/>
                      <a:pt x="88" y="113"/>
                      <a:pt x="88" y="113"/>
                    </a:cubicBezTo>
                    <a:cubicBezTo>
                      <a:pt x="89" y="113"/>
                      <a:pt x="89" y="112"/>
                      <a:pt x="89" y="112"/>
                    </a:cubicBezTo>
                    <a:cubicBezTo>
                      <a:pt x="90" y="112"/>
                      <a:pt x="90" y="112"/>
                      <a:pt x="91" y="112"/>
                    </a:cubicBezTo>
                    <a:cubicBezTo>
                      <a:pt x="92" y="112"/>
                      <a:pt x="92" y="112"/>
                      <a:pt x="93" y="112"/>
                    </a:cubicBezTo>
                    <a:cubicBezTo>
                      <a:pt x="94" y="112"/>
                      <a:pt x="94" y="111"/>
                      <a:pt x="95" y="111"/>
                    </a:cubicBezTo>
                    <a:cubicBezTo>
                      <a:pt x="96" y="110"/>
                      <a:pt x="96" y="110"/>
                      <a:pt x="97" y="109"/>
                    </a:cubicBezTo>
                    <a:cubicBezTo>
                      <a:pt x="98" y="109"/>
                      <a:pt x="100" y="108"/>
                      <a:pt x="101" y="107"/>
                    </a:cubicBezTo>
                    <a:cubicBezTo>
                      <a:pt x="102" y="107"/>
                      <a:pt x="102" y="106"/>
                      <a:pt x="103" y="106"/>
                    </a:cubicBezTo>
                    <a:cubicBezTo>
                      <a:pt x="103" y="105"/>
                      <a:pt x="104" y="105"/>
                      <a:pt x="104" y="104"/>
                    </a:cubicBezTo>
                    <a:cubicBezTo>
                      <a:pt x="104" y="104"/>
                      <a:pt x="104" y="103"/>
                      <a:pt x="104" y="103"/>
                    </a:cubicBezTo>
                    <a:cubicBezTo>
                      <a:pt x="105" y="103"/>
                      <a:pt x="104" y="102"/>
                      <a:pt x="104" y="103"/>
                    </a:cubicBezTo>
                    <a:close/>
                    <a:moveTo>
                      <a:pt x="99" y="49"/>
                    </a:moveTo>
                    <a:cubicBezTo>
                      <a:pt x="99" y="49"/>
                      <a:pt x="99" y="49"/>
                      <a:pt x="99" y="49"/>
                    </a:cubicBezTo>
                    <a:cubicBezTo>
                      <a:pt x="99" y="49"/>
                      <a:pt x="100" y="47"/>
                      <a:pt x="100" y="45"/>
                    </a:cubicBezTo>
                    <a:cubicBezTo>
                      <a:pt x="100" y="46"/>
                      <a:pt x="100" y="45"/>
                      <a:pt x="100" y="44"/>
                    </a:cubicBezTo>
                    <a:cubicBezTo>
                      <a:pt x="100" y="44"/>
                      <a:pt x="100" y="44"/>
                      <a:pt x="100" y="43"/>
                    </a:cubicBezTo>
                    <a:cubicBezTo>
                      <a:pt x="100" y="43"/>
                      <a:pt x="100" y="44"/>
                      <a:pt x="100" y="44"/>
                    </a:cubicBezTo>
                    <a:cubicBezTo>
                      <a:pt x="99" y="44"/>
                      <a:pt x="98" y="44"/>
                      <a:pt x="98" y="43"/>
                    </a:cubicBezTo>
                    <a:cubicBezTo>
                      <a:pt x="98" y="43"/>
                      <a:pt x="98" y="44"/>
                      <a:pt x="98" y="44"/>
                    </a:cubicBezTo>
                    <a:cubicBezTo>
                      <a:pt x="98" y="44"/>
                      <a:pt x="99" y="45"/>
                      <a:pt x="99" y="45"/>
                    </a:cubicBezTo>
                    <a:cubicBezTo>
                      <a:pt x="99" y="45"/>
                      <a:pt x="98" y="45"/>
                      <a:pt x="98" y="46"/>
                    </a:cubicBezTo>
                    <a:cubicBezTo>
                      <a:pt x="99" y="46"/>
                      <a:pt x="99" y="46"/>
                      <a:pt x="99" y="46"/>
                    </a:cubicBezTo>
                    <a:cubicBezTo>
                      <a:pt x="99" y="47"/>
                      <a:pt x="98" y="46"/>
                      <a:pt x="98" y="46"/>
                    </a:cubicBezTo>
                    <a:cubicBezTo>
                      <a:pt x="98" y="47"/>
                      <a:pt x="99" y="47"/>
                      <a:pt x="99" y="47"/>
                    </a:cubicBezTo>
                    <a:cubicBezTo>
                      <a:pt x="99" y="47"/>
                      <a:pt x="98" y="47"/>
                      <a:pt x="98" y="47"/>
                    </a:cubicBezTo>
                    <a:cubicBezTo>
                      <a:pt x="98" y="47"/>
                      <a:pt x="99" y="47"/>
                      <a:pt x="99" y="47"/>
                    </a:cubicBezTo>
                    <a:cubicBezTo>
                      <a:pt x="99" y="47"/>
                      <a:pt x="98" y="47"/>
                      <a:pt x="98" y="47"/>
                    </a:cubicBezTo>
                    <a:cubicBezTo>
                      <a:pt x="98" y="47"/>
                      <a:pt x="98" y="47"/>
                      <a:pt x="98" y="47"/>
                    </a:cubicBezTo>
                    <a:cubicBezTo>
                      <a:pt x="98" y="48"/>
                      <a:pt x="98" y="48"/>
                      <a:pt x="98" y="48"/>
                    </a:cubicBezTo>
                    <a:cubicBezTo>
                      <a:pt x="98" y="48"/>
                      <a:pt x="97" y="49"/>
                      <a:pt x="99" y="49"/>
                    </a:cubicBezTo>
                    <a:close/>
                    <a:moveTo>
                      <a:pt x="93" y="58"/>
                    </a:moveTo>
                    <a:cubicBezTo>
                      <a:pt x="93" y="58"/>
                      <a:pt x="94" y="59"/>
                      <a:pt x="94" y="59"/>
                    </a:cubicBezTo>
                    <a:cubicBezTo>
                      <a:pt x="94" y="58"/>
                      <a:pt x="94" y="58"/>
                      <a:pt x="94" y="58"/>
                    </a:cubicBezTo>
                    <a:cubicBezTo>
                      <a:pt x="95" y="58"/>
                      <a:pt x="95" y="59"/>
                      <a:pt x="95" y="59"/>
                    </a:cubicBezTo>
                    <a:cubicBezTo>
                      <a:pt x="95" y="59"/>
                      <a:pt x="95" y="58"/>
                      <a:pt x="95" y="59"/>
                    </a:cubicBezTo>
                    <a:cubicBezTo>
                      <a:pt x="96" y="59"/>
                      <a:pt x="96" y="61"/>
                      <a:pt x="97" y="60"/>
                    </a:cubicBezTo>
                    <a:cubicBezTo>
                      <a:pt x="97" y="60"/>
                      <a:pt x="97" y="59"/>
                      <a:pt x="97" y="58"/>
                    </a:cubicBezTo>
                    <a:cubicBezTo>
                      <a:pt x="97" y="58"/>
                      <a:pt x="97" y="57"/>
                      <a:pt x="96" y="57"/>
                    </a:cubicBezTo>
                    <a:cubicBezTo>
                      <a:pt x="97" y="57"/>
                      <a:pt x="96" y="58"/>
                      <a:pt x="96" y="57"/>
                    </a:cubicBezTo>
                    <a:cubicBezTo>
                      <a:pt x="95" y="57"/>
                      <a:pt x="96" y="56"/>
                      <a:pt x="96" y="56"/>
                    </a:cubicBezTo>
                    <a:cubicBezTo>
                      <a:pt x="95" y="55"/>
                      <a:pt x="95" y="55"/>
                      <a:pt x="95" y="55"/>
                    </a:cubicBezTo>
                    <a:cubicBezTo>
                      <a:pt x="95" y="54"/>
                      <a:pt x="95" y="53"/>
                      <a:pt x="95" y="53"/>
                    </a:cubicBezTo>
                    <a:cubicBezTo>
                      <a:pt x="95" y="52"/>
                      <a:pt x="94" y="52"/>
                      <a:pt x="94" y="53"/>
                    </a:cubicBezTo>
                    <a:cubicBezTo>
                      <a:pt x="94" y="54"/>
                      <a:pt x="93" y="54"/>
                      <a:pt x="93" y="55"/>
                    </a:cubicBezTo>
                    <a:cubicBezTo>
                      <a:pt x="94" y="56"/>
                      <a:pt x="93" y="57"/>
                      <a:pt x="93" y="5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2" name="Tajikistan">
                <a:extLst>
                  <a:ext uri="{FF2B5EF4-FFF2-40B4-BE49-F238E27FC236}">
                    <a16:creationId xmlns:a16="http://schemas.microsoft.com/office/drawing/2014/main" id="{088CB39C-DBF5-DCE8-FC58-1E183A67F467}"/>
                  </a:ext>
                </a:extLst>
              </p:cNvPr>
              <p:cNvSpPr>
                <a:spLocks noEditPoints="1"/>
              </p:cNvSpPr>
              <p:nvPr/>
            </p:nvSpPr>
            <p:spPr bwMode="auto">
              <a:xfrm>
                <a:off x="7860884" y="2445701"/>
                <a:ext cx="268565" cy="173490"/>
              </a:xfrm>
              <a:custGeom>
                <a:avLst/>
                <a:gdLst/>
                <a:ahLst/>
                <a:cxnLst>
                  <a:cxn ang="0">
                    <a:pos x="73" y="41"/>
                  </a:cxn>
                  <a:cxn ang="0">
                    <a:pos x="65" y="42"/>
                  </a:cxn>
                  <a:cxn ang="0">
                    <a:pos x="63" y="41"/>
                  </a:cxn>
                  <a:cxn ang="0">
                    <a:pos x="57" y="41"/>
                  </a:cxn>
                  <a:cxn ang="0">
                    <a:pos x="52" y="45"/>
                  </a:cxn>
                  <a:cxn ang="0">
                    <a:pos x="43" y="42"/>
                  </a:cxn>
                  <a:cxn ang="0">
                    <a:pos x="41" y="34"/>
                  </a:cxn>
                  <a:cxn ang="0">
                    <a:pos x="36" y="29"/>
                  </a:cxn>
                  <a:cxn ang="0">
                    <a:pos x="33" y="29"/>
                  </a:cxn>
                  <a:cxn ang="0">
                    <a:pos x="31" y="32"/>
                  </a:cxn>
                  <a:cxn ang="0">
                    <a:pos x="31" y="38"/>
                  </a:cxn>
                  <a:cxn ang="0">
                    <a:pos x="28" y="38"/>
                  </a:cxn>
                  <a:cxn ang="0">
                    <a:pos x="24" y="41"/>
                  </a:cxn>
                  <a:cxn ang="0">
                    <a:pos x="19" y="41"/>
                  </a:cxn>
                  <a:cxn ang="0">
                    <a:pos x="17" y="42"/>
                  </a:cxn>
                  <a:cxn ang="0">
                    <a:pos x="14" y="44"/>
                  </a:cxn>
                  <a:cxn ang="0">
                    <a:pos x="10" y="44"/>
                  </a:cxn>
                  <a:cxn ang="0">
                    <a:pos x="11" y="36"/>
                  </a:cxn>
                  <a:cxn ang="0">
                    <a:pos x="9" y="28"/>
                  </a:cxn>
                  <a:cxn ang="0">
                    <a:pos x="8" y="23"/>
                  </a:cxn>
                  <a:cxn ang="0">
                    <a:pos x="3" y="21"/>
                  </a:cxn>
                  <a:cxn ang="0">
                    <a:pos x="2" y="17"/>
                  </a:cxn>
                  <a:cxn ang="0">
                    <a:pos x="11" y="16"/>
                  </a:cxn>
                  <a:cxn ang="0">
                    <a:pos x="11" y="12"/>
                  </a:cxn>
                  <a:cxn ang="0">
                    <a:pos x="13" y="11"/>
                  </a:cxn>
                  <a:cxn ang="0">
                    <a:pos x="14" y="9"/>
                  </a:cxn>
                  <a:cxn ang="0">
                    <a:pos x="14" y="7"/>
                  </a:cxn>
                  <a:cxn ang="0">
                    <a:pos x="17" y="4"/>
                  </a:cxn>
                  <a:cxn ang="0">
                    <a:pos x="23" y="2"/>
                  </a:cxn>
                  <a:cxn ang="0">
                    <a:pos x="27" y="3"/>
                  </a:cxn>
                  <a:cxn ang="0">
                    <a:pos x="24" y="7"/>
                  </a:cxn>
                  <a:cxn ang="0">
                    <a:pos x="30" y="10"/>
                  </a:cxn>
                  <a:cxn ang="0">
                    <a:pos x="27" y="12"/>
                  </a:cxn>
                  <a:cxn ang="0">
                    <a:pos x="25" y="11"/>
                  </a:cxn>
                  <a:cxn ang="0">
                    <a:pos x="18" y="11"/>
                  </a:cxn>
                  <a:cxn ang="0">
                    <a:pos x="16" y="13"/>
                  </a:cxn>
                  <a:cxn ang="0">
                    <a:pos x="19" y="17"/>
                  </a:cxn>
                  <a:cxn ang="0">
                    <a:pos x="25" y="16"/>
                  </a:cxn>
                  <a:cxn ang="0">
                    <a:pos x="31" y="18"/>
                  </a:cxn>
                  <a:cxn ang="0">
                    <a:pos x="36" y="16"/>
                  </a:cxn>
                  <a:cxn ang="0">
                    <a:pos x="42" y="19"/>
                  </a:cxn>
                  <a:cxn ang="0">
                    <a:pos x="45" y="19"/>
                  </a:cxn>
                  <a:cxn ang="0">
                    <a:pos x="52" y="19"/>
                  </a:cxn>
                  <a:cxn ang="0">
                    <a:pos x="57" y="18"/>
                  </a:cxn>
                  <a:cxn ang="0">
                    <a:pos x="59" y="24"/>
                  </a:cxn>
                  <a:cxn ang="0">
                    <a:pos x="63" y="27"/>
                  </a:cxn>
                  <a:cxn ang="0">
                    <a:pos x="70" y="29"/>
                  </a:cxn>
                  <a:cxn ang="0">
                    <a:pos x="72" y="35"/>
                  </a:cxn>
                  <a:cxn ang="0">
                    <a:pos x="26" y="2"/>
                  </a:cxn>
                </a:cxnLst>
                <a:rect l="0" t="0" r="r" b="b"/>
                <a:pathLst>
                  <a:path w="76" h="49">
                    <a:moveTo>
                      <a:pt x="76" y="40"/>
                    </a:moveTo>
                    <a:cubicBezTo>
                      <a:pt x="76" y="40"/>
                      <a:pt x="75" y="41"/>
                      <a:pt x="75" y="41"/>
                    </a:cubicBezTo>
                    <a:cubicBezTo>
                      <a:pt x="76" y="41"/>
                      <a:pt x="75" y="41"/>
                      <a:pt x="74" y="42"/>
                    </a:cubicBezTo>
                    <a:cubicBezTo>
                      <a:pt x="74" y="42"/>
                      <a:pt x="74" y="42"/>
                      <a:pt x="73" y="41"/>
                    </a:cubicBezTo>
                    <a:cubicBezTo>
                      <a:pt x="73" y="41"/>
                      <a:pt x="72" y="41"/>
                      <a:pt x="71" y="40"/>
                    </a:cubicBezTo>
                    <a:cubicBezTo>
                      <a:pt x="69" y="40"/>
                      <a:pt x="69" y="40"/>
                      <a:pt x="67" y="40"/>
                    </a:cubicBezTo>
                    <a:cubicBezTo>
                      <a:pt x="67" y="40"/>
                      <a:pt x="68" y="41"/>
                      <a:pt x="67" y="41"/>
                    </a:cubicBezTo>
                    <a:cubicBezTo>
                      <a:pt x="66" y="41"/>
                      <a:pt x="65" y="41"/>
                      <a:pt x="65" y="42"/>
                    </a:cubicBezTo>
                    <a:cubicBezTo>
                      <a:pt x="64" y="42"/>
                      <a:pt x="64" y="42"/>
                      <a:pt x="64" y="42"/>
                    </a:cubicBezTo>
                    <a:cubicBezTo>
                      <a:pt x="64" y="42"/>
                      <a:pt x="63" y="42"/>
                      <a:pt x="63" y="42"/>
                    </a:cubicBezTo>
                    <a:cubicBezTo>
                      <a:pt x="63" y="42"/>
                      <a:pt x="62" y="42"/>
                      <a:pt x="62" y="42"/>
                    </a:cubicBezTo>
                    <a:cubicBezTo>
                      <a:pt x="62" y="41"/>
                      <a:pt x="63" y="41"/>
                      <a:pt x="63" y="41"/>
                    </a:cubicBezTo>
                    <a:cubicBezTo>
                      <a:pt x="64" y="40"/>
                      <a:pt x="63" y="40"/>
                      <a:pt x="62" y="40"/>
                    </a:cubicBezTo>
                    <a:cubicBezTo>
                      <a:pt x="61" y="40"/>
                      <a:pt x="59" y="39"/>
                      <a:pt x="58" y="40"/>
                    </a:cubicBezTo>
                    <a:cubicBezTo>
                      <a:pt x="58" y="40"/>
                      <a:pt x="57" y="40"/>
                      <a:pt x="57" y="41"/>
                    </a:cubicBezTo>
                    <a:cubicBezTo>
                      <a:pt x="57" y="41"/>
                      <a:pt x="57" y="41"/>
                      <a:pt x="57" y="41"/>
                    </a:cubicBezTo>
                    <a:cubicBezTo>
                      <a:pt x="56" y="41"/>
                      <a:pt x="56" y="42"/>
                      <a:pt x="56" y="42"/>
                    </a:cubicBezTo>
                    <a:cubicBezTo>
                      <a:pt x="55" y="42"/>
                      <a:pt x="55" y="42"/>
                      <a:pt x="54" y="43"/>
                    </a:cubicBezTo>
                    <a:cubicBezTo>
                      <a:pt x="54" y="43"/>
                      <a:pt x="54" y="44"/>
                      <a:pt x="54" y="44"/>
                    </a:cubicBezTo>
                    <a:cubicBezTo>
                      <a:pt x="54" y="45"/>
                      <a:pt x="53" y="45"/>
                      <a:pt x="52" y="45"/>
                    </a:cubicBezTo>
                    <a:cubicBezTo>
                      <a:pt x="51" y="45"/>
                      <a:pt x="51" y="45"/>
                      <a:pt x="50" y="46"/>
                    </a:cubicBezTo>
                    <a:cubicBezTo>
                      <a:pt x="49" y="46"/>
                      <a:pt x="48" y="48"/>
                      <a:pt x="47" y="48"/>
                    </a:cubicBezTo>
                    <a:cubicBezTo>
                      <a:pt x="45" y="49"/>
                      <a:pt x="44" y="47"/>
                      <a:pt x="44" y="46"/>
                    </a:cubicBezTo>
                    <a:cubicBezTo>
                      <a:pt x="43" y="45"/>
                      <a:pt x="42" y="43"/>
                      <a:pt x="43" y="42"/>
                    </a:cubicBezTo>
                    <a:cubicBezTo>
                      <a:pt x="43" y="41"/>
                      <a:pt x="42" y="41"/>
                      <a:pt x="42" y="40"/>
                    </a:cubicBezTo>
                    <a:cubicBezTo>
                      <a:pt x="43" y="39"/>
                      <a:pt x="42" y="38"/>
                      <a:pt x="42" y="38"/>
                    </a:cubicBezTo>
                    <a:cubicBezTo>
                      <a:pt x="42" y="37"/>
                      <a:pt x="42" y="36"/>
                      <a:pt x="42" y="36"/>
                    </a:cubicBezTo>
                    <a:cubicBezTo>
                      <a:pt x="43" y="35"/>
                      <a:pt x="42" y="34"/>
                      <a:pt x="41" y="34"/>
                    </a:cubicBezTo>
                    <a:cubicBezTo>
                      <a:pt x="41" y="34"/>
                      <a:pt x="39" y="35"/>
                      <a:pt x="39" y="34"/>
                    </a:cubicBezTo>
                    <a:cubicBezTo>
                      <a:pt x="39" y="33"/>
                      <a:pt x="40" y="31"/>
                      <a:pt x="39" y="31"/>
                    </a:cubicBezTo>
                    <a:cubicBezTo>
                      <a:pt x="38" y="30"/>
                      <a:pt x="37" y="30"/>
                      <a:pt x="37" y="30"/>
                    </a:cubicBezTo>
                    <a:cubicBezTo>
                      <a:pt x="36" y="29"/>
                      <a:pt x="36" y="29"/>
                      <a:pt x="36" y="29"/>
                    </a:cubicBezTo>
                    <a:cubicBezTo>
                      <a:pt x="35" y="29"/>
                      <a:pt x="35" y="28"/>
                      <a:pt x="35" y="29"/>
                    </a:cubicBezTo>
                    <a:cubicBezTo>
                      <a:pt x="35" y="29"/>
                      <a:pt x="35" y="29"/>
                      <a:pt x="35" y="29"/>
                    </a:cubicBezTo>
                    <a:cubicBezTo>
                      <a:pt x="35" y="29"/>
                      <a:pt x="34" y="29"/>
                      <a:pt x="34" y="29"/>
                    </a:cubicBezTo>
                    <a:cubicBezTo>
                      <a:pt x="34" y="29"/>
                      <a:pt x="33" y="29"/>
                      <a:pt x="33" y="29"/>
                    </a:cubicBezTo>
                    <a:cubicBezTo>
                      <a:pt x="33" y="29"/>
                      <a:pt x="33" y="30"/>
                      <a:pt x="33" y="30"/>
                    </a:cubicBezTo>
                    <a:cubicBezTo>
                      <a:pt x="33" y="30"/>
                      <a:pt x="32" y="30"/>
                      <a:pt x="32" y="30"/>
                    </a:cubicBezTo>
                    <a:cubicBezTo>
                      <a:pt x="32" y="30"/>
                      <a:pt x="32" y="30"/>
                      <a:pt x="32" y="30"/>
                    </a:cubicBezTo>
                    <a:cubicBezTo>
                      <a:pt x="32" y="31"/>
                      <a:pt x="32" y="32"/>
                      <a:pt x="31" y="32"/>
                    </a:cubicBezTo>
                    <a:cubicBezTo>
                      <a:pt x="31" y="33"/>
                      <a:pt x="30" y="33"/>
                      <a:pt x="30" y="34"/>
                    </a:cubicBezTo>
                    <a:cubicBezTo>
                      <a:pt x="30" y="35"/>
                      <a:pt x="30" y="34"/>
                      <a:pt x="29" y="35"/>
                    </a:cubicBezTo>
                    <a:cubicBezTo>
                      <a:pt x="29" y="35"/>
                      <a:pt x="30" y="36"/>
                      <a:pt x="30" y="36"/>
                    </a:cubicBezTo>
                    <a:cubicBezTo>
                      <a:pt x="31" y="36"/>
                      <a:pt x="31" y="37"/>
                      <a:pt x="31" y="38"/>
                    </a:cubicBezTo>
                    <a:cubicBezTo>
                      <a:pt x="31" y="38"/>
                      <a:pt x="31" y="38"/>
                      <a:pt x="31" y="38"/>
                    </a:cubicBezTo>
                    <a:cubicBezTo>
                      <a:pt x="30" y="38"/>
                      <a:pt x="30" y="38"/>
                      <a:pt x="30" y="39"/>
                    </a:cubicBezTo>
                    <a:cubicBezTo>
                      <a:pt x="30" y="39"/>
                      <a:pt x="29" y="39"/>
                      <a:pt x="28" y="38"/>
                    </a:cubicBezTo>
                    <a:cubicBezTo>
                      <a:pt x="28" y="38"/>
                      <a:pt x="28" y="38"/>
                      <a:pt x="28" y="38"/>
                    </a:cubicBezTo>
                    <a:cubicBezTo>
                      <a:pt x="27" y="38"/>
                      <a:pt x="27" y="38"/>
                      <a:pt x="27" y="38"/>
                    </a:cubicBezTo>
                    <a:cubicBezTo>
                      <a:pt x="26" y="38"/>
                      <a:pt x="25" y="38"/>
                      <a:pt x="25" y="38"/>
                    </a:cubicBezTo>
                    <a:cubicBezTo>
                      <a:pt x="24" y="38"/>
                      <a:pt x="24" y="39"/>
                      <a:pt x="24" y="39"/>
                    </a:cubicBezTo>
                    <a:cubicBezTo>
                      <a:pt x="23" y="40"/>
                      <a:pt x="23" y="40"/>
                      <a:pt x="24" y="41"/>
                    </a:cubicBezTo>
                    <a:cubicBezTo>
                      <a:pt x="24" y="41"/>
                      <a:pt x="24" y="42"/>
                      <a:pt x="24" y="43"/>
                    </a:cubicBezTo>
                    <a:cubicBezTo>
                      <a:pt x="24" y="43"/>
                      <a:pt x="23" y="44"/>
                      <a:pt x="23" y="43"/>
                    </a:cubicBezTo>
                    <a:cubicBezTo>
                      <a:pt x="22" y="43"/>
                      <a:pt x="21" y="42"/>
                      <a:pt x="20" y="42"/>
                    </a:cubicBezTo>
                    <a:cubicBezTo>
                      <a:pt x="20" y="41"/>
                      <a:pt x="20" y="41"/>
                      <a:pt x="19" y="41"/>
                    </a:cubicBezTo>
                    <a:cubicBezTo>
                      <a:pt x="19" y="41"/>
                      <a:pt x="20" y="41"/>
                      <a:pt x="19" y="42"/>
                    </a:cubicBezTo>
                    <a:cubicBezTo>
                      <a:pt x="19" y="42"/>
                      <a:pt x="18" y="40"/>
                      <a:pt x="19" y="42"/>
                    </a:cubicBezTo>
                    <a:cubicBezTo>
                      <a:pt x="19" y="42"/>
                      <a:pt x="18" y="42"/>
                      <a:pt x="18" y="42"/>
                    </a:cubicBezTo>
                    <a:cubicBezTo>
                      <a:pt x="17" y="42"/>
                      <a:pt x="17" y="42"/>
                      <a:pt x="17" y="42"/>
                    </a:cubicBezTo>
                    <a:cubicBezTo>
                      <a:pt x="16" y="43"/>
                      <a:pt x="16" y="43"/>
                      <a:pt x="15" y="43"/>
                    </a:cubicBezTo>
                    <a:cubicBezTo>
                      <a:pt x="15" y="43"/>
                      <a:pt x="15" y="43"/>
                      <a:pt x="15" y="43"/>
                    </a:cubicBezTo>
                    <a:cubicBezTo>
                      <a:pt x="15" y="44"/>
                      <a:pt x="15" y="43"/>
                      <a:pt x="15" y="43"/>
                    </a:cubicBezTo>
                    <a:cubicBezTo>
                      <a:pt x="14" y="44"/>
                      <a:pt x="15" y="44"/>
                      <a:pt x="14" y="44"/>
                    </a:cubicBezTo>
                    <a:cubicBezTo>
                      <a:pt x="14" y="45"/>
                      <a:pt x="14" y="44"/>
                      <a:pt x="14" y="44"/>
                    </a:cubicBezTo>
                    <a:cubicBezTo>
                      <a:pt x="13" y="45"/>
                      <a:pt x="13" y="45"/>
                      <a:pt x="13" y="45"/>
                    </a:cubicBezTo>
                    <a:cubicBezTo>
                      <a:pt x="12" y="46"/>
                      <a:pt x="11" y="45"/>
                      <a:pt x="11" y="45"/>
                    </a:cubicBezTo>
                    <a:cubicBezTo>
                      <a:pt x="11" y="44"/>
                      <a:pt x="11" y="44"/>
                      <a:pt x="10" y="44"/>
                    </a:cubicBezTo>
                    <a:cubicBezTo>
                      <a:pt x="10" y="44"/>
                      <a:pt x="10" y="44"/>
                      <a:pt x="9" y="44"/>
                    </a:cubicBezTo>
                    <a:cubicBezTo>
                      <a:pt x="9" y="43"/>
                      <a:pt x="10" y="42"/>
                      <a:pt x="10" y="42"/>
                    </a:cubicBezTo>
                    <a:cubicBezTo>
                      <a:pt x="10" y="41"/>
                      <a:pt x="9" y="40"/>
                      <a:pt x="9" y="39"/>
                    </a:cubicBezTo>
                    <a:cubicBezTo>
                      <a:pt x="9" y="38"/>
                      <a:pt x="10" y="37"/>
                      <a:pt x="11" y="36"/>
                    </a:cubicBezTo>
                    <a:cubicBezTo>
                      <a:pt x="11" y="35"/>
                      <a:pt x="11" y="35"/>
                      <a:pt x="11" y="35"/>
                    </a:cubicBezTo>
                    <a:cubicBezTo>
                      <a:pt x="12" y="34"/>
                      <a:pt x="12" y="34"/>
                      <a:pt x="12" y="33"/>
                    </a:cubicBezTo>
                    <a:cubicBezTo>
                      <a:pt x="13" y="31"/>
                      <a:pt x="11" y="31"/>
                      <a:pt x="10" y="30"/>
                    </a:cubicBezTo>
                    <a:cubicBezTo>
                      <a:pt x="10" y="29"/>
                      <a:pt x="9" y="29"/>
                      <a:pt x="9" y="28"/>
                    </a:cubicBezTo>
                    <a:cubicBezTo>
                      <a:pt x="9" y="27"/>
                      <a:pt x="9" y="27"/>
                      <a:pt x="9" y="27"/>
                    </a:cubicBezTo>
                    <a:cubicBezTo>
                      <a:pt x="8" y="26"/>
                      <a:pt x="9" y="26"/>
                      <a:pt x="8" y="25"/>
                    </a:cubicBezTo>
                    <a:cubicBezTo>
                      <a:pt x="8" y="25"/>
                      <a:pt x="9" y="25"/>
                      <a:pt x="9" y="25"/>
                    </a:cubicBezTo>
                    <a:cubicBezTo>
                      <a:pt x="9" y="24"/>
                      <a:pt x="9" y="24"/>
                      <a:pt x="8" y="23"/>
                    </a:cubicBezTo>
                    <a:cubicBezTo>
                      <a:pt x="8" y="23"/>
                      <a:pt x="7" y="23"/>
                      <a:pt x="7" y="23"/>
                    </a:cubicBezTo>
                    <a:cubicBezTo>
                      <a:pt x="6" y="23"/>
                      <a:pt x="5" y="23"/>
                      <a:pt x="5" y="23"/>
                    </a:cubicBezTo>
                    <a:cubicBezTo>
                      <a:pt x="4" y="23"/>
                      <a:pt x="4" y="22"/>
                      <a:pt x="4" y="22"/>
                    </a:cubicBezTo>
                    <a:cubicBezTo>
                      <a:pt x="4" y="21"/>
                      <a:pt x="3" y="21"/>
                      <a:pt x="3" y="21"/>
                    </a:cubicBezTo>
                    <a:cubicBezTo>
                      <a:pt x="2" y="21"/>
                      <a:pt x="0" y="20"/>
                      <a:pt x="1" y="19"/>
                    </a:cubicBezTo>
                    <a:cubicBezTo>
                      <a:pt x="1" y="19"/>
                      <a:pt x="1" y="18"/>
                      <a:pt x="1" y="18"/>
                    </a:cubicBezTo>
                    <a:cubicBezTo>
                      <a:pt x="1" y="17"/>
                      <a:pt x="1" y="17"/>
                      <a:pt x="1" y="17"/>
                    </a:cubicBezTo>
                    <a:cubicBezTo>
                      <a:pt x="1" y="17"/>
                      <a:pt x="1" y="17"/>
                      <a:pt x="2" y="17"/>
                    </a:cubicBezTo>
                    <a:cubicBezTo>
                      <a:pt x="3" y="16"/>
                      <a:pt x="3" y="16"/>
                      <a:pt x="4" y="16"/>
                    </a:cubicBezTo>
                    <a:cubicBezTo>
                      <a:pt x="5" y="16"/>
                      <a:pt x="6" y="16"/>
                      <a:pt x="7" y="17"/>
                    </a:cubicBezTo>
                    <a:cubicBezTo>
                      <a:pt x="8" y="17"/>
                      <a:pt x="10" y="17"/>
                      <a:pt x="10" y="17"/>
                    </a:cubicBezTo>
                    <a:cubicBezTo>
                      <a:pt x="10" y="17"/>
                      <a:pt x="11" y="16"/>
                      <a:pt x="11" y="16"/>
                    </a:cubicBezTo>
                    <a:cubicBezTo>
                      <a:pt x="11" y="15"/>
                      <a:pt x="11" y="14"/>
                      <a:pt x="10" y="13"/>
                    </a:cubicBezTo>
                    <a:cubicBezTo>
                      <a:pt x="11" y="13"/>
                      <a:pt x="11" y="13"/>
                      <a:pt x="11" y="13"/>
                    </a:cubicBezTo>
                    <a:cubicBezTo>
                      <a:pt x="12" y="14"/>
                      <a:pt x="12" y="14"/>
                      <a:pt x="12" y="13"/>
                    </a:cubicBezTo>
                    <a:cubicBezTo>
                      <a:pt x="12" y="13"/>
                      <a:pt x="11" y="12"/>
                      <a:pt x="11" y="12"/>
                    </a:cubicBezTo>
                    <a:cubicBezTo>
                      <a:pt x="12" y="12"/>
                      <a:pt x="13" y="14"/>
                      <a:pt x="13" y="13"/>
                    </a:cubicBezTo>
                    <a:cubicBezTo>
                      <a:pt x="13" y="13"/>
                      <a:pt x="11" y="11"/>
                      <a:pt x="11" y="11"/>
                    </a:cubicBezTo>
                    <a:cubicBezTo>
                      <a:pt x="11" y="11"/>
                      <a:pt x="12" y="11"/>
                      <a:pt x="12" y="11"/>
                    </a:cubicBezTo>
                    <a:cubicBezTo>
                      <a:pt x="12" y="11"/>
                      <a:pt x="14" y="11"/>
                      <a:pt x="13" y="11"/>
                    </a:cubicBezTo>
                    <a:cubicBezTo>
                      <a:pt x="13" y="10"/>
                      <a:pt x="12" y="10"/>
                      <a:pt x="11" y="10"/>
                    </a:cubicBezTo>
                    <a:cubicBezTo>
                      <a:pt x="11" y="10"/>
                      <a:pt x="9" y="11"/>
                      <a:pt x="9" y="10"/>
                    </a:cubicBezTo>
                    <a:cubicBezTo>
                      <a:pt x="10" y="10"/>
                      <a:pt x="11" y="10"/>
                      <a:pt x="11" y="10"/>
                    </a:cubicBezTo>
                    <a:cubicBezTo>
                      <a:pt x="12" y="9"/>
                      <a:pt x="13" y="9"/>
                      <a:pt x="14" y="9"/>
                    </a:cubicBezTo>
                    <a:cubicBezTo>
                      <a:pt x="14" y="9"/>
                      <a:pt x="16" y="10"/>
                      <a:pt x="15" y="9"/>
                    </a:cubicBezTo>
                    <a:cubicBezTo>
                      <a:pt x="15" y="9"/>
                      <a:pt x="14" y="9"/>
                      <a:pt x="15" y="9"/>
                    </a:cubicBezTo>
                    <a:cubicBezTo>
                      <a:pt x="15" y="9"/>
                      <a:pt x="15" y="9"/>
                      <a:pt x="15" y="9"/>
                    </a:cubicBezTo>
                    <a:cubicBezTo>
                      <a:pt x="16" y="8"/>
                      <a:pt x="15" y="7"/>
                      <a:pt x="14" y="7"/>
                    </a:cubicBezTo>
                    <a:cubicBezTo>
                      <a:pt x="14" y="6"/>
                      <a:pt x="13" y="5"/>
                      <a:pt x="14" y="5"/>
                    </a:cubicBezTo>
                    <a:cubicBezTo>
                      <a:pt x="15" y="5"/>
                      <a:pt x="14" y="4"/>
                      <a:pt x="14" y="4"/>
                    </a:cubicBezTo>
                    <a:cubicBezTo>
                      <a:pt x="14" y="3"/>
                      <a:pt x="15" y="3"/>
                      <a:pt x="15" y="3"/>
                    </a:cubicBezTo>
                    <a:cubicBezTo>
                      <a:pt x="16" y="3"/>
                      <a:pt x="17" y="4"/>
                      <a:pt x="17" y="4"/>
                    </a:cubicBezTo>
                    <a:cubicBezTo>
                      <a:pt x="18" y="5"/>
                      <a:pt x="18" y="5"/>
                      <a:pt x="19" y="4"/>
                    </a:cubicBezTo>
                    <a:cubicBezTo>
                      <a:pt x="19" y="4"/>
                      <a:pt x="20" y="4"/>
                      <a:pt x="20" y="4"/>
                    </a:cubicBezTo>
                    <a:cubicBezTo>
                      <a:pt x="21" y="3"/>
                      <a:pt x="21" y="3"/>
                      <a:pt x="21" y="3"/>
                    </a:cubicBezTo>
                    <a:cubicBezTo>
                      <a:pt x="22" y="3"/>
                      <a:pt x="22" y="2"/>
                      <a:pt x="23" y="2"/>
                    </a:cubicBezTo>
                    <a:cubicBezTo>
                      <a:pt x="23" y="2"/>
                      <a:pt x="23" y="0"/>
                      <a:pt x="23" y="0"/>
                    </a:cubicBezTo>
                    <a:cubicBezTo>
                      <a:pt x="24" y="0"/>
                      <a:pt x="26" y="3"/>
                      <a:pt x="27" y="3"/>
                    </a:cubicBezTo>
                    <a:cubicBezTo>
                      <a:pt x="26" y="3"/>
                      <a:pt x="26" y="3"/>
                      <a:pt x="26" y="3"/>
                    </a:cubicBezTo>
                    <a:cubicBezTo>
                      <a:pt x="25" y="3"/>
                      <a:pt x="27" y="3"/>
                      <a:pt x="27" y="3"/>
                    </a:cubicBezTo>
                    <a:cubicBezTo>
                      <a:pt x="28" y="4"/>
                      <a:pt x="27" y="4"/>
                      <a:pt x="27" y="5"/>
                    </a:cubicBezTo>
                    <a:cubicBezTo>
                      <a:pt x="26" y="5"/>
                      <a:pt x="26" y="5"/>
                      <a:pt x="26" y="6"/>
                    </a:cubicBezTo>
                    <a:cubicBezTo>
                      <a:pt x="25" y="6"/>
                      <a:pt x="25" y="6"/>
                      <a:pt x="25" y="6"/>
                    </a:cubicBezTo>
                    <a:cubicBezTo>
                      <a:pt x="25" y="7"/>
                      <a:pt x="24" y="7"/>
                      <a:pt x="24" y="7"/>
                    </a:cubicBezTo>
                    <a:cubicBezTo>
                      <a:pt x="24" y="8"/>
                      <a:pt x="25" y="8"/>
                      <a:pt x="26" y="8"/>
                    </a:cubicBezTo>
                    <a:cubicBezTo>
                      <a:pt x="26" y="8"/>
                      <a:pt x="26" y="8"/>
                      <a:pt x="27" y="9"/>
                    </a:cubicBezTo>
                    <a:cubicBezTo>
                      <a:pt x="27" y="10"/>
                      <a:pt x="28" y="10"/>
                      <a:pt x="29" y="9"/>
                    </a:cubicBezTo>
                    <a:cubicBezTo>
                      <a:pt x="29" y="9"/>
                      <a:pt x="31" y="9"/>
                      <a:pt x="30" y="10"/>
                    </a:cubicBezTo>
                    <a:cubicBezTo>
                      <a:pt x="30" y="10"/>
                      <a:pt x="30" y="10"/>
                      <a:pt x="29" y="10"/>
                    </a:cubicBezTo>
                    <a:cubicBezTo>
                      <a:pt x="29" y="10"/>
                      <a:pt x="29" y="10"/>
                      <a:pt x="28" y="11"/>
                    </a:cubicBezTo>
                    <a:cubicBezTo>
                      <a:pt x="28" y="11"/>
                      <a:pt x="28" y="11"/>
                      <a:pt x="28" y="11"/>
                    </a:cubicBezTo>
                    <a:cubicBezTo>
                      <a:pt x="28" y="12"/>
                      <a:pt x="28" y="12"/>
                      <a:pt x="27" y="12"/>
                    </a:cubicBezTo>
                    <a:cubicBezTo>
                      <a:pt x="27" y="12"/>
                      <a:pt x="27" y="13"/>
                      <a:pt x="27" y="13"/>
                    </a:cubicBezTo>
                    <a:cubicBezTo>
                      <a:pt x="27" y="13"/>
                      <a:pt x="27" y="13"/>
                      <a:pt x="27" y="12"/>
                    </a:cubicBezTo>
                    <a:cubicBezTo>
                      <a:pt x="27" y="12"/>
                      <a:pt x="27" y="12"/>
                      <a:pt x="27" y="11"/>
                    </a:cubicBezTo>
                    <a:cubicBezTo>
                      <a:pt x="27" y="11"/>
                      <a:pt x="26" y="11"/>
                      <a:pt x="25" y="11"/>
                    </a:cubicBezTo>
                    <a:cubicBezTo>
                      <a:pt x="24" y="10"/>
                      <a:pt x="24" y="10"/>
                      <a:pt x="23" y="10"/>
                    </a:cubicBezTo>
                    <a:cubicBezTo>
                      <a:pt x="23" y="10"/>
                      <a:pt x="22" y="9"/>
                      <a:pt x="21" y="9"/>
                    </a:cubicBezTo>
                    <a:cubicBezTo>
                      <a:pt x="21" y="10"/>
                      <a:pt x="20" y="10"/>
                      <a:pt x="19" y="10"/>
                    </a:cubicBezTo>
                    <a:cubicBezTo>
                      <a:pt x="19" y="11"/>
                      <a:pt x="18" y="10"/>
                      <a:pt x="18" y="11"/>
                    </a:cubicBezTo>
                    <a:cubicBezTo>
                      <a:pt x="17" y="11"/>
                      <a:pt x="18" y="12"/>
                      <a:pt x="18" y="12"/>
                    </a:cubicBezTo>
                    <a:cubicBezTo>
                      <a:pt x="18" y="13"/>
                      <a:pt x="18" y="13"/>
                      <a:pt x="17" y="13"/>
                    </a:cubicBezTo>
                    <a:cubicBezTo>
                      <a:pt x="17" y="13"/>
                      <a:pt x="17" y="12"/>
                      <a:pt x="16" y="12"/>
                    </a:cubicBezTo>
                    <a:cubicBezTo>
                      <a:pt x="16" y="12"/>
                      <a:pt x="16" y="13"/>
                      <a:pt x="16" y="13"/>
                    </a:cubicBezTo>
                    <a:cubicBezTo>
                      <a:pt x="16" y="15"/>
                      <a:pt x="17" y="15"/>
                      <a:pt x="17" y="16"/>
                    </a:cubicBezTo>
                    <a:cubicBezTo>
                      <a:pt x="17" y="17"/>
                      <a:pt x="17" y="17"/>
                      <a:pt x="17" y="17"/>
                    </a:cubicBezTo>
                    <a:cubicBezTo>
                      <a:pt x="18" y="17"/>
                      <a:pt x="18" y="17"/>
                      <a:pt x="18" y="17"/>
                    </a:cubicBezTo>
                    <a:cubicBezTo>
                      <a:pt x="18" y="17"/>
                      <a:pt x="19" y="17"/>
                      <a:pt x="19" y="17"/>
                    </a:cubicBezTo>
                    <a:cubicBezTo>
                      <a:pt x="19" y="17"/>
                      <a:pt x="20" y="17"/>
                      <a:pt x="20" y="16"/>
                    </a:cubicBezTo>
                    <a:cubicBezTo>
                      <a:pt x="21" y="16"/>
                      <a:pt x="22" y="17"/>
                      <a:pt x="22" y="17"/>
                    </a:cubicBezTo>
                    <a:cubicBezTo>
                      <a:pt x="23" y="17"/>
                      <a:pt x="24" y="17"/>
                      <a:pt x="24" y="17"/>
                    </a:cubicBezTo>
                    <a:cubicBezTo>
                      <a:pt x="24" y="16"/>
                      <a:pt x="25" y="17"/>
                      <a:pt x="25" y="16"/>
                    </a:cubicBezTo>
                    <a:cubicBezTo>
                      <a:pt x="25" y="16"/>
                      <a:pt x="26" y="16"/>
                      <a:pt x="26" y="17"/>
                    </a:cubicBezTo>
                    <a:cubicBezTo>
                      <a:pt x="26" y="17"/>
                      <a:pt x="26" y="17"/>
                      <a:pt x="26" y="17"/>
                    </a:cubicBezTo>
                    <a:cubicBezTo>
                      <a:pt x="27" y="16"/>
                      <a:pt x="28" y="16"/>
                      <a:pt x="28" y="16"/>
                    </a:cubicBezTo>
                    <a:cubicBezTo>
                      <a:pt x="30" y="16"/>
                      <a:pt x="30" y="18"/>
                      <a:pt x="31" y="18"/>
                    </a:cubicBezTo>
                    <a:cubicBezTo>
                      <a:pt x="32" y="19"/>
                      <a:pt x="32" y="18"/>
                      <a:pt x="33" y="18"/>
                    </a:cubicBezTo>
                    <a:cubicBezTo>
                      <a:pt x="33" y="19"/>
                      <a:pt x="33" y="18"/>
                      <a:pt x="33" y="17"/>
                    </a:cubicBezTo>
                    <a:cubicBezTo>
                      <a:pt x="34" y="17"/>
                      <a:pt x="34" y="17"/>
                      <a:pt x="35" y="17"/>
                    </a:cubicBezTo>
                    <a:cubicBezTo>
                      <a:pt x="35" y="17"/>
                      <a:pt x="36" y="16"/>
                      <a:pt x="36" y="16"/>
                    </a:cubicBezTo>
                    <a:cubicBezTo>
                      <a:pt x="38" y="16"/>
                      <a:pt x="37" y="18"/>
                      <a:pt x="38" y="18"/>
                    </a:cubicBezTo>
                    <a:cubicBezTo>
                      <a:pt x="39" y="18"/>
                      <a:pt x="39" y="17"/>
                      <a:pt x="40" y="18"/>
                    </a:cubicBezTo>
                    <a:cubicBezTo>
                      <a:pt x="40" y="18"/>
                      <a:pt x="39" y="19"/>
                      <a:pt x="40" y="20"/>
                    </a:cubicBezTo>
                    <a:cubicBezTo>
                      <a:pt x="41" y="20"/>
                      <a:pt x="42" y="19"/>
                      <a:pt x="42" y="19"/>
                    </a:cubicBezTo>
                    <a:cubicBezTo>
                      <a:pt x="43" y="19"/>
                      <a:pt x="43" y="19"/>
                      <a:pt x="43" y="20"/>
                    </a:cubicBezTo>
                    <a:cubicBezTo>
                      <a:pt x="43" y="20"/>
                      <a:pt x="44" y="20"/>
                      <a:pt x="44" y="20"/>
                    </a:cubicBezTo>
                    <a:cubicBezTo>
                      <a:pt x="44" y="20"/>
                      <a:pt x="44" y="21"/>
                      <a:pt x="45" y="21"/>
                    </a:cubicBezTo>
                    <a:cubicBezTo>
                      <a:pt x="45" y="20"/>
                      <a:pt x="45" y="20"/>
                      <a:pt x="45" y="19"/>
                    </a:cubicBezTo>
                    <a:cubicBezTo>
                      <a:pt x="45" y="19"/>
                      <a:pt x="47" y="19"/>
                      <a:pt x="47" y="19"/>
                    </a:cubicBezTo>
                    <a:cubicBezTo>
                      <a:pt x="47" y="19"/>
                      <a:pt x="48" y="18"/>
                      <a:pt x="48" y="18"/>
                    </a:cubicBezTo>
                    <a:cubicBezTo>
                      <a:pt x="49" y="18"/>
                      <a:pt x="50" y="19"/>
                      <a:pt x="51" y="19"/>
                    </a:cubicBezTo>
                    <a:cubicBezTo>
                      <a:pt x="51" y="19"/>
                      <a:pt x="52" y="18"/>
                      <a:pt x="52" y="19"/>
                    </a:cubicBezTo>
                    <a:cubicBezTo>
                      <a:pt x="53" y="19"/>
                      <a:pt x="53" y="19"/>
                      <a:pt x="54" y="18"/>
                    </a:cubicBezTo>
                    <a:cubicBezTo>
                      <a:pt x="54" y="18"/>
                      <a:pt x="54" y="18"/>
                      <a:pt x="54" y="18"/>
                    </a:cubicBezTo>
                    <a:cubicBezTo>
                      <a:pt x="54" y="18"/>
                      <a:pt x="54" y="18"/>
                      <a:pt x="55" y="18"/>
                    </a:cubicBezTo>
                    <a:cubicBezTo>
                      <a:pt x="55" y="18"/>
                      <a:pt x="56" y="17"/>
                      <a:pt x="57" y="18"/>
                    </a:cubicBezTo>
                    <a:cubicBezTo>
                      <a:pt x="57" y="19"/>
                      <a:pt x="57" y="19"/>
                      <a:pt x="57" y="20"/>
                    </a:cubicBezTo>
                    <a:cubicBezTo>
                      <a:pt x="57" y="21"/>
                      <a:pt x="58" y="21"/>
                      <a:pt x="58" y="22"/>
                    </a:cubicBezTo>
                    <a:cubicBezTo>
                      <a:pt x="59" y="22"/>
                      <a:pt x="59" y="22"/>
                      <a:pt x="60" y="23"/>
                    </a:cubicBezTo>
                    <a:cubicBezTo>
                      <a:pt x="60" y="24"/>
                      <a:pt x="59" y="23"/>
                      <a:pt x="59" y="24"/>
                    </a:cubicBezTo>
                    <a:cubicBezTo>
                      <a:pt x="58" y="24"/>
                      <a:pt x="59" y="25"/>
                      <a:pt x="59" y="25"/>
                    </a:cubicBezTo>
                    <a:cubicBezTo>
                      <a:pt x="60" y="26"/>
                      <a:pt x="60" y="26"/>
                      <a:pt x="60" y="27"/>
                    </a:cubicBezTo>
                    <a:cubicBezTo>
                      <a:pt x="61" y="27"/>
                      <a:pt x="61" y="28"/>
                      <a:pt x="62" y="28"/>
                    </a:cubicBezTo>
                    <a:cubicBezTo>
                      <a:pt x="63" y="28"/>
                      <a:pt x="63" y="28"/>
                      <a:pt x="63" y="27"/>
                    </a:cubicBezTo>
                    <a:cubicBezTo>
                      <a:pt x="63" y="27"/>
                      <a:pt x="63" y="26"/>
                      <a:pt x="63" y="26"/>
                    </a:cubicBezTo>
                    <a:cubicBezTo>
                      <a:pt x="64" y="26"/>
                      <a:pt x="64" y="26"/>
                      <a:pt x="65" y="26"/>
                    </a:cubicBezTo>
                    <a:cubicBezTo>
                      <a:pt x="65" y="26"/>
                      <a:pt x="66" y="27"/>
                      <a:pt x="67" y="27"/>
                    </a:cubicBezTo>
                    <a:cubicBezTo>
                      <a:pt x="68" y="27"/>
                      <a:pt x="69" y="28"/>
                      <a:pt x="70" y="29"/>
                    </a:cubicBezTo>
                    <a:cubicBezTo>
                      <a:pt x="70" y="29"/>
                      <a:pt x="70" y="30"/>
                      <a:pt x="70" y="30"/>
                    </a:cubicBezTo>
                    <a:cubicBezTo>
                      <a:pt x="70" y="31"/>
                      <a:pt x="70" y="32"/>
                      <a:pt x="71" y="32"/>
                    </a:cubicBezTo>
                    <a:cubicBezTo>
                      <a:pt x="71" y="33"/>
                      <a:pt x="72" y="33"/>
                      <a:pt x="72" y="34"/>
                    </a:cubicBezTo>
                    <a:cubicBezTo>
                      <a:pt x="72" y="34"/>
                      <a:pt x="72" y="35"/>
                      <a:pt x="72" y="35"/>
                    </a:cubicBezTo>
                    <a:cubicBezTo>
                      <a:pt x="72" y="36"/>
                      <a:pt x="73" y="36"/>
                      <a:pt x="73" y="36"/>
                    </a:cubicBezTo>
                    <a:cubicBezTo>
                      <a:pt x="73" y="37"/>
                      <a:pt x="72" y="38"/>
                      <a:pt x="74" y="39"/>
                    </a:cubicBezTo>
                    <a:cubicBezTo>
                      <a:pt x="75" y="39"/>
                      <a:pt x="75" y="39"/>
                      <a:pt x="76" y="40"/>
                    </a:cubicBezTo>
                    <a:close/>
                    <a:moveTo>
                      <a:pt x="26" y="2"/>
                    </a:moveTo>
                    <a:cubicBezTo>
                      <a:pt x="26" y="1"/>
                      <a:pt x="25" y="1"/>
                      <a:pt x="25" y="1"/>
                    </a:cubicBezTo>
                    <a:cubicBezTo>
                      <a:pt x="24" y="1"/>
                      <a:pt x="25" y="2"/>
                      <a:pt x="26"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3" name="Taiwan">
                <a:extLst>
                  <a:ext uri="{FF2B5EF4-FFF2-40B4-BE49-F238E27FC236}">
                    <a16:creationId xmlns:a16="http://schemas.microsoft.com/office/drawing/2014/main" id="{4BFDE286-663E-30C6-D68A-005DCCEE0E2C}"/>
                  </a:ext>
                </a:extLst>
              </p:cNvPr>
              <p:cNvSpPr>
                <a:spLocks noEditPoints="1"/>
              </p:cNvSpPr>
              <p:nvPr/>
            </p:nvSpPr>
            <p:spPr bwMode="auto">
              <a:xfrm>
                <a:off x="9712415" y="3058304"/>
                <a:ext cx="81353" cy="131343"/>
              </a:xfrm>
              <a:custGeom>
                <a:avLst/>
                <a:gdLst/>
                <a:ahLst/>
                <a:cxnLst>
                  <a:cxn ang="0">
                    <a:pos x="22" y="36"/>
                  </a:cxn>
                  <a:cxn ang="0">
                    <a:pos x="22" y="36"/>
                  </a:cxn>
                  <a:cxn ang="0">
                    <a:pos x="22" y="36"/>
                  </a:cxn>
                  <a:cxn ang="0">
                    <a:pos x="10" y="31"/>
                  </a:cxn>
                  <a:cxn ang="0">
                    <a:pos x="9" y="30"/>
                  </a:cxn>
                  <a:cxn ang="0">
                    <a:pos x="9" y="30"/>
                  </a:cxn>
                  <a:cxn ang="0">
                    <a:pos x="10" y="31"/>
                  </a:cxn>
                  <a:cxn ang="0">
                    <a:pos x="19" y="2"/>
                  </a:cxn>
                  <a:cxn ang="0">
                    <a:pos x="17" y="2"/>
                  </a:cxn>
                  <a:cxn ang="0">
                    <a:pos x="15" y="1"/>
                  </a:cxn>
                  <a:cxn ang="0">
                    <a:pos x="14" y="2"/>
                  </a:cxn>
                  <a:cxn ang="0">
                    <a:pos x="15" y="2"/>
                  </a:cxn>
                  <a:cxn ang="0">
                    <a:pos x="12" y="2"/>
                  </a:cxn>
                  <a:cxn ang="0">
                    <a:pos x="11" y="3"/>
                  </a:cxn>
                  <a:cxn ang="0">
                    <a:pos x="11" y="5"/>
                  </a:cxn>
                  <a:cxn ang="0">
                    <a:pos x="10" y="7"/>
                  </a:cxn>
                  <a:cxn ang="0">
                    <a:pos x="10" y="7"/>
                  </a:cxn>
                  <a:cxn ang="0">
                    <a:pos x="9" y="7"/>
                  </a:cxn>
                  <a:cxn ang="0">
                    <a:pos x="8" y="11"/>
                  </a:cxn>
                  <a:cxn ang="0">
                    <a:pos x="7" y="14"/>
                  </a:cxn>
                  <a:cxn ang="0">
                    <a:pos x="7" y="15"/>
                  </a:cxn>
                  <a:cxn ang="0">
                    <a:pos x="6" y="19"/>
                  </a:cxn>
                  <a:cxn ang="0">
                    <a:pos x="6" y="22"/>
                  </a:cxn>
                  <a:cxn ang="0">
                    <a:pos x="6" y="24"/>
                  </a:cxn>
                  <a:cxn ang="0">
                    <a:pos x="6" y="24"/>
                  </a:cxn>
                  <a:cxn ang="0">
                    <a:pos x="6" y="25"/>
                  </a:cxn>
                  <a:cxn ang="0">
                    <a:pos x="7" y="25"/>
                  </a:cxn>
                  <a:cxn ang="0">
                    <a:pos x="7" y="26"/>
                  </a:cxn>
                  <a:cxn ang="0">
                    <a:pos x="8" y="28"/>
                  </a:cxn>
                  <a:cxn ang="0">
                    <a:pos x="9" y="30"/>
                  </a:cxn>
                  <a:cxn ang="0">
                    <a:pos x="9" y="30"/>
                  </a:cxn>
                  <a:cxn ang="0">
                    <a:pos x="13" y="33"/>
                  </a:cxn>
                  <a:cxn ang="0">
                    <a:pos x="14" y="35"/>
                  </a:cxn>
                  <a:cxn ang="0">
                    <a:pos x="15" y="37"/>
                  </a:cxn>
                  <a:cxn ang="0">
                    <a:pos x="15" y="37"/>
                  </a:cxn>
                  <a:cxn ang="0">
                    <a:pos x="16" y="37"/>
                  </a:cxn>
                  <a:cxn ang="0">
                    <a:pos x="16" y="36"/>
                  </a:cxn>
                  <a:cxn ang="0">
                    <a:pos x="15" y="33"/>
                  </a:cxn>
                  <a:cxn ang="0">
                    <a:pos x="16" y="29"/>
                  </a:cxn>
                  <a:cxn ang="0">
                    <a:pos x="17" y="28"/>
                  </a:cxn>
                  <a:cxn ang="0">
                    <a:pos x="18" y="26"/>
                  </a:cxn>
                  <a:cxn ang="0">
                    <a:pos x="19" y="24"/>
                  </a:cxn>
                  <a:cxn ang="0">
                    <a:pos x="19" y="23"/>
                  </a:cxn>
                  <a:cxn ang="0">
                    <a:pos x="19" y="20"/>
                  </a:cxn>
                  <a:cxn ang="0">
                    <a:pos x="19" y="17"/>
                  </a:cxn>
                  <a:cxn ang="0">
                    <a:pos x="19" y="15"/>
                  </a:cxn>
                  <a:cxn ang="0">
                    <a:pos x="19" y="13"/>
                  </a:cxn>
                  <a:cxn ang="0">
                    <a:pos x="20" y="11"/>
                  </a:cxn>
                  <a:cxn ang="0">
                    <a:pos x="20" y="10"/>
                  </a:cxn>
                  <a:cxn ang="0">
                    <a:pos x="20" y="9"/>
                  </a:cxn>
                  <a:cxn ang="0">
                    <a:pos x="20" y="8"/>
                  </a:cxn>
                  <a:cxn ang="0">
                    <a:pos x="19" y="5"/>
                  </a:cxn>
                  <a:cxn ang="0">
                    <a:pos x="20" y="4"/>
                  </a:cxn>
                  <a:cxn ang="0">
                    <a:pos x="20" y="3"/>
                  </a:cxn>
                  <a:cxn ang="0">
                    <a:pos x="19" y="2"/>
                  </a:cxn>
                  <a:cxn ang="0">
                    <a:pos x="0" y="19"/>
                  </a:cxn>
                  <a:cxn ang="0">
                    <a:pos x="0" y="20"/>
                  </a:cxn>
                  <a:cxn ang="0">
                    <a:pos x="1" y="19"/>
                  </a:cxn>
                  <a:cxn ang="0">
                    <a:pos x="0" y="19"/>
                  </a:cxn>
                </a:cxnLst>
                <a:rect l="0" t="0" r="r" b="b"/>
                <a:pathLst>
                  <a:path w="23" h="37">
                    <a:moveTo>
                      <a:pt x="22" y="36"/>
                    </a:moveTo>
                    <a:cubicBezTo>
                      <a:pt x="23" y="37"/>
                      <a:pt x="22" y="36"/>
                      <a:pt x="22" y="36"/>
                    </a:cubicBezTo>
                    <a:cubicBezTo>
                      <a:pt x="22" y="35"/>
                      <a:pt x="22" y="36"/>
                      <a:pt x="22" y="36"/>
                    </a:cubicBezTo>
                    <a:close/>
                    <a:moveTo>
                      <a:pt x="10" y="31"/>
                    </a:moveTo>
                    <a:cubicBezTo>
                      <a:pt x="10" y="30"/>
                      <a:pt x="9" y="30"/>
                      <a:pt x="9" y="30"/>
                    </a:cubicBezTo>
                    <a:cubicBezTo>
                      <a:pt x="9" y="30"/>
                      <a:pt x="9" y="30"/>
                      <a:pt x="9" y="30"/>
                    </a:cubicBezTo>
                    <a:cubicBezTo>
                      <a:pt x="9" y="30"/>
                      <a:pt x="10" y="30"/>
                      <a:pt x="10" y="31"/>
                    </a:cubicBezTo>
                    <a:close/>
                    <a:moveTo>
                      <a:pt x="19" y="2"/>
                    </a:moveTo>
                    <a:cubicBezTo>
                      <a:pt x="18" y="2"/>
                      <a:pt x="18" y="2"/>
                      <a:pt x="17" y="2"/>
                    </a:cubicBezTo>
                    <a:cubicBezTo>
                      <a:pt x="16" y="1"/>
                      <a:pt x="16" y="0"/>
                      <a:pt x="15" y="1"/>
                    </a:cubicBezTo>
                    <a:cubicBezTo>
                      <a:pt x="15" y="1"/>
                      <a:pt x="14" y="1"/>
                      <a:pt x="14" y="2"/>
                    </a:cubicBezTo>
                    <a:cubicBezTo>
                      <a:pt x="14" y="2"/>
                      <a:pt x="15" y="2"/>
                      <a:pt x="15" y="2"/>
                    </a:cubicBezTo>
                    <a:cubicBezTo>
                      <a:pt x="14" y="1"/>
                      <a:pt x="13" y="2"/>
                      <a:pt x="12" y="2"/>
                    </a:cubicBezTo>
                    <a:cubicBezTo>
                      <a:pt x="12" y="3"/>
                      <a:pt x="11" y="3"/>
                      <a:pt x="11" y="3"/>
                    </a:cubicBezTo>
                    <a:cubicBezTo>
                      <a:pt x="11" y="4"/>
                      <a:pt x="11" y="4"/>
                      <a:pt x="11" y="5"/>
                    </a:cubicBezTo>
                    <a:cubicBezTo>
                      <a:pt x="10" y="5"/>
                      <a:pt x="11" y="6"/>
                      <a:pt x="10" y="7"/>
                    </a:cubicBezTo>
                    <a:cubicBezTo>
                      <a:pt x="10" y="7"/>
                      <a:pt x="10" y="7"/>
                      <a:pt x="10" y="7"/>
                    </a:cubicBezTo>
                    <a:cubicBezTo>
                      <a:pt x="10" y="7"/>
                      <a:pt x="9" y="7"/>
                      <a:pt x="9" y="7"/>
                    </a:cubicBezTo>
                    <a:cubicBezTo>
                      <a:pt x="9" y="8"/>
                      <a:pt x="8" y="10"/>
                      <a:pt x="8" y="11"/>
                    </a:cubicBezTo>
                    <a:cubicBezTo>
                      <a:pt x="8" y="12"/>
                      <a:pt x="7" y="13"/>
                      <a:pt x="7" y="14"/>
                    </a:cubicBezTo>
                    <a:cubicBezTo>
                      <a:pt x="7" y="14"/>
                      <a:pt x="7" y="15"/>
                      <a:pt x="7" y="15"/>
                    </a:cubicBezTo>
                    <a:cubicBezTo>
                      <a:pt x="6" y="17"/>
                      <a:pt x="5" y="18"/>
                      <a:pt x="6" y="19"/>
                    </a:cubicBezTo>
                    <a:cubicBezTo>
                      <a:pt x="6" y="20"/>
                      <a:pt x="7" y="21"/>
                      <a:pt x="6" y="22"/>
                    </a:cubicBezTo>
                    <a:cubicBezTo>
                      <a:pt x="6" y="23"/>
                      <a:pt x="6" y="23"/>
                      <a:pt x="6" y="24"/>
                    </a:cubicBezTo>
                    <a:cubicBezTo>
                      <a:pt x="6" y="24"/>
                      <a:pt x="7" y="24"/>
                      <a:pt x="6" y="24"/>
                    </a:cubicBezTo>
                    <a:cubicBezTo>
                      <a:pt x="7" y="24"/>
                      <a:pt x="6" y="25"/>
                      <a:pt x="6" y="25"/>
                    </a:cubicBezTo>
                    <a:cubicBezTo>
                      <a:pt x="6" y="25"/>
                      <a:pt x="7" y="25"/>
                      <a:pt x="7" y="25"/>
                    </a:cubicBezTo>
                    <a:cubicBezTo>
                      <a:pt x="7" y="25"/>
                      <a:pt x="7" y="26"/>
                      <a:pt x="7" y="26"/>
                    </a:cubicBezTo>
                    <a:cubicBezTo>
                      <a:pt x="7" y="27"/>
                      <a:pt x="8" y="28"/>
                      <a:pt x="8" y="28"/>
                    </a:cubicBezTo>
                    <a:cubicBezTo>
                      <a:pt x="9" y="29"/>
                      <a:pt x="9" y="29"/>
                      <a:pt x="9" y="30"/>
                    </a:cubicBezTo>
                    <a:cubicBezTo>
                      <a:pt x="9" y="30"/>
                      <a:pt x="9" y="30"/>
                      <a:pt x="9" y="30"/>
                    </a:cubicBezTo>
                    <a:cubicBezTo>
                      <a:pt x="10" y="31"/>
                      <a:pt x="12" y="32"/>
                      <a:pt x="13" y="33"/>
                    </a:cubicBezTo>
                    <a:cubicBezTo>
                      <a:pt x="13" y="33"/>
                      <a:pt x="14" y="34"/>
                      <a:pt x="14" y="35"/>
                    </a:cubicBezTo>
                    <a:cubicBezTo>
                      <a:pt x="14" y="36"/>
                      <a:pt x="14" y="37"/>
                      <a:pt x="15" y="37"/>
                    </a:cubicBezTo>
                    <a:cubicBezTo>
                      <a:pt x="15" y="37"/>
                      <a:pt x="15" y="37"/>
                      <a:pt x="15" y="37"/>
                    </a:cubicBezTo>
                    <a:cubicBezTo>
                      <a:pt x="15" y="37"/>
                      <a:pt x="16" y="37"/>
                      <a:pt x="16" y="37"/>
                    </a:cubicBezTo>
                    <a:cubicBezTo>
                      <a:pt x="16" y="37"/>
                      <a:pt x="16" y="36"/>
                      <a:pt x="16" y="36"/>
                    </a:cubicBezTo>
                    <a:cubicBezTo>
                      <a:pt x="16" y="35"/>
                      <a:pt x="15" y="34"/>
                      <a:pt x="15" y="33"/>
                    </a:cubicBezTo>
                    <a:cubicBezTo>
                      <a:pt x="15" y="32"/>
                      <a:pt x="16" y="30"/>
                      <a:pt x="16" y="29"/>
                    </a:cubicBezTo>
                    <a:cubicBezTo>
                      <a:pt x="17" y="29"/>
                      <a:pt x="17" y="28"/>
                      <a:pt x="17" y="28"/>
                    </a:cubicBezTo>
                    <a:cubicBezTo>
                      <a:pt x="17" y="27"/>
                      <a:pt x="18" y="26"/>
                      <a:pt x="18" y="26"/>
                    </a:cubicBezTo>
                    <a:cubicBezTo>
                      <a:pt x="18" y="25"/>
                      <a:pt x="18" y="25"/>
                      <a:pt x="19" y="24"/>
                    </a:cubicBezTo>
                    <a:cubicBezTo>
                      <a:pt x="19" y="24"/>
                      <a:pt x="19" y="23"/>
                      <a:pt x="19" y="23"/>
                    </a:cubicBezTo>
                    <a:cubicBezTo>
                      <a:pt x="19" y="22"/>
                      <a:pt x="19" y="21"/>
                      <a:pt x="19" y="20"/>
                    </a:cubicBezTo>
                    <a:cubicBezTo>
                      <a:pt x="19" y="19"/>
                      <a:pt x="19" y="18"/>
                      <a:pt x="19" y="17"/>
                    </a:cubicBezTo>
                    <a:cubicBezTo>
                      <a:pt x="19" y="17"/>
                      <a:pt x="19" y="16"/>
                      <a:pt x="19" y="15"/>
                    </a:cubicBezTo>
                    <a:cubicBezTo>
                      <a:pt x="19" y="14"/>
                      <a:pt x="19" y="14"/>
                      <a:pt x="19" y="13"/>
                    </a:cubicBezTo>
                    <a:cubicBezTo>
                      <a:pt x="19" y="13"/>
                      <a:pt x="19" y="12"/>
                      <a:pt x="20" y="11"/>
                    </a:cubicBezTo>
                    <a:cubicBezTo>
                      <a:pt x="20" y="11"/>
                      <a:pt x="20" y="10"/>
                      <a:pt x="20" y="10"/>
                    </a:cubicBezTo>
                    <a:cubicBezTo>
                      <a:pt x="20" y="9"/>
                      <a:pt x="20" y="9"/>
                      <a:pt x="20" y="9"/>
                    </a:cubicBezTo>
                    <a:cubicBezTo>
                      <a:pt x="20" y="9"/>
                      <a:pt x="20" y="8"/>
                      <a:pt x="20" y="8"/>
                    </a:cubicBezTo>
                    <a:cubicBezTo>
                      <a:pt x="19" y="8"/>
                      <a:pt x="19" y="6"/>
                      <a:pt x="19" y="5"/>
                    </a:cubicBezTo>
                    <a:cubicBezTo>
                      <a:pt x="19" y="5"/>
                      <a:pt x="20" y="4"/>
                      <a:pt x="20" y="4"/>
                    </a:cubicBezTo>
                    <a:cubicBezTo>
                      <a:pt x="21" y="3"/>
                      <a:pt x="20" y="3"/>
                      <a:pt x="20" y="3"/>
                    </a:cubicBezTo>
                    <a:cubicBezTo>
                      <a:pt x="19" y="3"/>
                      <a:pt x="19" y="2"/>
                      <a:pt x="19" y="2"/>
                    </a:cubicBezTo>
                    <a:close/>
                    <a:moveTo>
                      <a:pt x="0" y="19"/>
                    </a:moveTo>
                    <a:cubicBezTo>
                      <a:pt x="0" y="19"/>
                      <a:pt x="1" y="20"/>
                      <a:pt x="0" y="20"/>
                    </a:cubicBezTo>
                    <a:cubicBezTo>
                      <a:pt x="1" y="20"/>
                      <a:pt x="1" y="19"/>
                      <a:pt x="1" y="19"/>
                    </a:cubicBezTo>
                    <a:cubicBezTo>
                      <a:pt x="1" y="19"/>
                      <a:pt x="0" y="18"/>
                      <a:pt x="0" y="1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4" name="Syria">
                <a:extLst>
                  <a:ext uri="{FF2B5EF4-FFF2-40B4-BE49-F238E27FC236}">
                    <a16:creationId xmlns:a16="http://schemas.microsoft.com/office/drawing/2014/main" id="{0800CD75-8A7F-1990-205B-9A4B4F81D2A2}"/>
                  </a:ext>
                </a:extLst>
              </p:cNvPr>
              <p:cNvSpPr>
                <a:spLocks/>
              </p:cNvSpPr>
              <p:nvPr/>
            </p:nvSpPr>
            <p:spPr bwMode="auto">
              <a:xfrm>
                <a:off x="6868960" y="2590766"/>
                <a:ext cx="208775" cy="195053"/>
              </a:xfrm>
              <a:custGeom>
                <a:avLst/>
                <a:gdLst/>
                <a:ahLst/>
                <a:cxnLst>
                  <a:cxn ang="0">
                    <a:pos x="59" y="1"/>
                  </a:cxn>
                  <a:cxn ang="0">
                    <a:pos x="57" y="0"/>
                  </a:cxn>
                  <a:cxn ang="0">
                    <a:pos x="48" y="3"/>
                  </a:cxn>
                  <a:cxn ang="0">
                    <a:pos x="42" y="4"/>
                  </a:cxn>
                  <a:cxn ang="0">
                    <a:pos x="35" y="7"/>
                  </a:cxn>
                  <a:cxn ang="0">
                    <a:pos x="29" y="7"/>
                  </a:cxn>
                  <a:cxn ang="0">
                    <a:pos x="23" y="5"/>
                  </a:cxn>
                  <a:cxn ang="0">
                    <a:pos x="17" y="7"/>
                  </a:cxn>
                  <a:cxn ang="0">
                    <a:pos x="12" y="8"/>
                  </a:cxn>
                  <a:cxn ang="0">
                    <a:pos x="9" y="6"/>
                  </a:cxn>
                  <a:cxn ang="0">
                    <a:pos x="7" y="7"/>
                  </a:cxn>
                  <a:cxn ang="0">
                    <a:pos x="7" y="10"/>
                  </a:cxn>
                  <a:cxn ang="0">
                    <a:pos x="8" y="11"/>
                  </a:cxn>
                  <a:cxn ang="0">
                    <a:pos x="7" y="12"/>
                  </a:cxn>
                  <a:cxn ang="0">
                    <a:pos x="6" y="15"/>
                  </a:cxn>
                  <a:cxn ang="0">
                    <a:pos x="4" y="16"/>
                  </a:cxn>
                  <a:cxn ang="0">
                    <a:pos x="3" y="16"/>
                  </a:cxn>
                  <a:cxn ang="0">
                    <a:pos x="1" y="16"/>
                  </a:cxn>
                  <a:cxn ang="0">
                    <a:pos x="1" y="18"/>
                  </a:cxn>
                  <a:cxn ang="0">
                    <a:pos x="1" y="20"/>
                  </a:cxn>
                  <a:cxn ang="0">
                    <a:pos x="2" y="22"/>
                  </a:cxn>
                  <a:cxn ang="0">
                    <a:pos x="2" y="25"/>
                  </a:cxn>
                  <a:cxn ang="0">
                    <a:pos x="3" y="28"/>
                  </a:cxn>
                  <a:cxn ang="0">
                    <a:pos x="5" y="30"/>
                  </a:cxn>
                  <a:cxn ang="0">
                    <a:pos x="7" y="29"/>
                  </a:cxn>
                  <a:cxn ang="0">
                    <a:pos x="8" y="30"/>
                  </a:cxn>
                  <a:cxn ang="0">
                    <a:pos x="8" y="31"/>
                  </a:cxn>
                  <a:cxn ang="0">
                    <a:pos x="10" y="33"/>
                  </a:cxn>
                  <a:cxn ang="0">
                    <a:pos x="9" y="35"/>
                  </a:cxn>
                  <a:cxn ang="0">
                    <a:pos x="8" y="36"/>
                  </a:cxn>
                  <a:cxn ang="0">
                    <a:pos x="8" y="38"/>
                  </a:cxn>
                  <a:cxn ang="0">
                    <a:pos x="5" y="39"/>
                  </a:cxn>
                  <a:cxn ang="0">
                    <a:pos x="5" y="41"/>
                  </a:cxn>
                  <a:cxn ang="0">
                    <a:pos x="3" y="43"/>
                  </a:cxn>
                  <a:cxn ang="0">
                    <a:pos x="2" y="48"/>
                  </a:cxn>
                  <a:cxn ang="0">
                    <a:pos x="2" y="50"/>
                  </a:cxn>
                  <a:cxn ang="0">
                    <a:pos x="4" y="50"/>
                  </a:cxn>
                  <a:cxn ang="0">
                    <a:pos x="6" y="51"/>
                  </a:cxn>
                  <a:cxn ang="0">
                    <a:pos x="10" y="54"/>
                  </a:cxn>
                  <a:cxn ang="0">
                    <a:pos x="14" y="55"/>
                  </a:cxn>
                  <a:cxn ang="0">
                    <a:pos x="34" y="41"/>
                  </a:cxn>
                  <a:cxn ang="0">
                    <a:pos x="47" y="33"/>
                  </a:cxn>
                  <a:cxn ang="0">
                    <a:pos x="51" y="29"/>
                  </a:cxn>
                  <a:cxn ang="0">
                    <a:pos x="51" y="24"/>
                  </a:cxn>
                  <a:cxn ang="0">
                    <a:pos x="51" y="20"/>
                  </a:cxn>
                  <a:cxn ang="0">
                    <a:pos x="50" y="11"/>
                  </a:cxn>
                  <a:cxn ang="0">
                    <a:pos x="57" y="6"/>
                  </a:cxn>
                  <a:cxn ang="0">
                    <a:pos x="59" y="2"/>
                  </a:cxn>
                </a:cxnLst>
                <a:rect l="0" t="0" r="r" b="b"/>
                <a:pathLst>
                  <a:path w="59" h="55">
                    <a:moveTo>
                      <a:pt x="59" y="2"/>
                    </a:moveTo>
                    <a:cubicBezTo>
                      <a:pt x="59" y="2"/>
                      <a:pt x="59" y="1"/>
                      <a:pt x="59" y="1"/>
                    </a:cubicBezTo>
                    <a:cubicBezTo>
                      <a:pt x="59" y="1"/>
                      <a:pt x="58" y="1"/>
                      <a:pt x="58" y="1"/>
                    </a:cubicBezTo>
                    <a:cubicBezTo>
                      <a:pt x="58" y="0"/>
                      <a:pt x="58" y="0"/>
                      <a:pt x="57" y="0"/>
                    </a:cubicBezTo>
                    <a:cubicBezTo>
                      <a:pt x="57" y="1"/>
                      <a:pt x="56" y="2"/>
                      <a:pt x="56" y="2"/>
                    </a:cubicBezTo>
                    <a:cubicBezTo>
                      <a:pt x="53" y="2"/>
                      <a:pt x="49" y="3"/>
                      <a:pt x="48" y="3"/>
                    </a:cubicBezTo>
                    <a:cubicBezTo>
                      <a:pt x="47" y="2"/>
                      <a:pt x="46" y="2"/>
                      <a:pt x="45" y="2"/>
                    </a:cubicBezTo>
                    <a:cubicBezTo>
                      <a:pt x="44" y="3"/>
                      <a:pt x="43" y="3"/>
                      <a:pt x="42" y="4"/>
                    </a:cubicBezTo>
                    <a:cubicBezTo>
                      <a:pt x="40" y="4"/>
                      <a:pt x="39" y="5"/>
                      <a:pt x="38" y="5"/>
                    </a:cubicBezTo>
                    <a:cubicBezTo>
                      <a:pt x="37" y="6"/>
                      <a:pt x="36" y="6"/>
                      <a:pt x="35" y="7"/>
                    </a:cubicBezTo>
                    <a:cubicBezTo>
                      <a:pt x="34" y="7"/>
                      <a:pt x="33" y="7"/>
                      <a:pt x="31" y="7"/>
                    </a:cubicBezTo>
                    <a:cubicBezTo>
                      <a:pt x="30" y="7"/>
                      <a:pt x="30" y="7"/>
                      <a:pt x="29" y="7"/>
                    </a:cubicBezTo>
                    <a:cubicBezTo>
                      <a:pt x="28" y="7"/>
                      <a:pt x="27" y="7"/>
                      <a:pt x="26" y="6"/>
                    </a:cubicBezTo>
                    <a:cubicBezTo>
                      <a:pt x="25" y="6"/>
                      <a:pt x="24" y="5"/>
                      <a:pt x="23" y="5"/>
                    </a:cubicBezTo>
                    <a:cubicBezTo>
                      <a:pt x="22" y="4"/>
                      <a:pt x="21" y="5"/>
                      <a:pt x="20" y="5"/>
                    </a:cubicBezTo>
                    <a:cubicBezTo>
                      <a:pt x="19" y="6"/>
                      <a:pt x="18" y="6"/>
                      <a:pt x="17" y="7"/>
                    </a:cubicBezTo>
                    <a:cubicBezTo>
                      <a:pt x="16" y="7"/>
                      <a:pt x="15" y="8"/>
                      <a:pt x="14" y="7"/>
                    </a:cubicBezTo>
                    <a:cubicBezTo>
                      <a:pt x="14" y="7"/>
                      <a:pt x="12" y="7"/>
                      <a:pt x="12" y="8"/>
                    </a:cubicBezTo>
                    <a:cubicBezTo>
                      <a:pt x="11" y="8"/>
                      <a:pt x="11" y="7"/>
                      <a:pt x="11" y="6"/>
                    </a:cubicBezTo>
                    <a:cubicBezTo>
                      <a:pt x="10" y="6"/>
                      <a:pt x="10" y="6"/>
                      <a:pt x="9" y="6"/>
                    </a:cubicBezTo>
                    <a:cubicBezTo>
                      <a:pt x="9" y="6"/>
                      <a:pt x="8" y="6"/>
                      <a:pt x="8" y="5"/>
                    </a:cubicBezTo>
                    <a:cubicBezTo>
                      <a:pt x="8" y="6"/>
                      <a:pt x="7" y="7"/>
                      <a:pt x="7" y="7"/>
                    </a:cubicBezTo>
                    <a:cubicBezTo>
                      <a:pt x="7" y="7"/>
                      <a:pt x="7" y="8"/>
                      <a:pt x="7" y="8"/>
                    </a:cubicBezTo>
                    <a:cubicBezTo>
                      <a:pt x="7" y="9"/>
                      <a:pt x="7" y="9"/>
                      <a:pt x="7" y="10"/>
                    </a:cubicBezTo>
                    <a:cubicBezTo>
                      <a:pt x="7" y="10"/>
                      <a:pt x="8" y="10"/>
                      <a:pt x="8" y="11"/>
                    </a:cubicBezTo>
                    <a:cubicBezTo>
                      <a:pt x="8" y="11"/>
                      <a:pt x="8" y="11"/>
                      <a:pt x="8" y="11"/>
                    </a:cubicBezTo>
                    <a:cubicBezTo>
                      <a:pt x="8" y="11"/>
                      <a:pt x="9" y="12"/>
                      <a:pt x="8" y="12"/>
                    </a:cubicBezTo>
                    <a:cubicBezTo>
                      <a:pt x="8" y="12"/>
                      <a:pt x="7" y="12"/>
                      <a:pt x="7" y="12"/>
                    </a:cubicBezTo>
                    <a:cubicBezTo>
                      <a:pt x="6" y="12"/>
                      <a:pt x="6" y="13"/>
                      <a:pt x="6" y="12"/>
                    </a:cubicBezTo>
                    <a:cubicBezTo>
                      <a:pt x="6" y="12"/>
                      <a:pt x="6" y="15"/>
                      <a:pt x="6" y="15"/>
                    </a:cubicBezTo>
                    <a:cubicBezTo>
                      <a:pt x="5" y="15"/>
                      <a:pt x="5" y="15"/>
                      <a:pt x="5" y="15"/>
                    </a:cubicBezTo>
                    <a:cubicBezTo>
                      <a:pt x="4" y="15"/>
                      <a:pt x="4" y="15"/>
                      <a:pt x="4" y="16"/>
                    </a:cubicBezTo>
                    <a:cubicBezTo>
                      <a:pt x="4" y="16"/>
                      <a:pt x="4" y="17"/>
                      <a:pt x="4" y="16"/>
                    </a:cubicBezTo>
                    <a:cubicBezTo>
                      <a:pt x="3" y="16"/>
                      <a:pt x="3" y="16"/>
                      <a:pt x="3" y="16"/>
                    </a:cubicBezTo>
                    <a:cubicBezTo>
                      <a:pt x="2" y="15"/>
                      <a:pt x="2" y="16"/>
                      <a:pt x="2" y="16"/>
                    </a:cubicBezTo>
                    <a:cubicBezTo>
                      <a:pt x="1" y="16"/>
                      <a:pt x="1" y="16"/>
                      <a:pt x="1" y="16"/>
                    </a:cubicBezTo>
                    <a:cubicBezTo>
                      <a:pt x="1" y="17"/>
                      <a:pt x="1" y="17"/>
                      <a:pt x="1" y="18"/>
                    </a:cubicBezTo>
                    <a:cubicBezTo>
                      <a:pt x="1" y="18"/>
                      <a:pt x="1" y="18"/>
                      <a:pt x="1" y="18"/>
                    </a:cubicBezTo>
                    <a:cubicBezTo>
                      <a:pt x="1" y="18"/>
                      <a:pt x="1" y="19"/>
                      <a:pt x="1" y="19"/>
                    </a:cubicBezTo>
                    <a:cubicBezTo>
                      <a:pt x="1" y="19"/>
                      <a:pt x="0" y="19"/>
                      <a:pt x="1" y="20"/>
                    </a:cubicBezTo>
                    <a:cubicBezTo>
                      <a:pt x="1" y="20"/>
                      <a:pt x="1" y="20"/>
                      <a:pt x="1" y="20"/>
                    </a:cubicBezTo>
                    <a:cubicBezTo>
                      <a:pt x="2" y="20"/>
                      <a:pt x="2" y="22"/>
                      <a:pt x="2" y="22"/>
                    </a:cubicBezTo>
                    <a:cubicBezTo>
                      <a:pt x="2" y="23"/>
                      <a:pt x="3" y="23"/>
                      <a:pt x="3" y="23"/>
                    </a:cubicBezTo>
                    <a:cubicBezTo>
                      <a:pt x="3" y="24"/>
                      <a:pt x="2" y="24"/>
                      <a:pt x="2" y="25"/>
                    </a:cubicBezTo>
                    <a:cubicBezTo>
                      <a:pt x="2" y="25"/>
                      <a:pt x="2" y="26"/>
                      <a:pt x="2" y="26"/>
                    </a:cubicBezTo>
                    <a:cubicBezTo>
                      <a:pt x="2" y="27"/>
                      <a:pt x="3" y="27"/>
                      <a:pt x="3" y="28"/>
                    </a:cubicBezTo>
                    <a:cubicBezTo>
                      <a:pt x="3" y="29"/>
                      <a:pt x="3" y="29"/>
                      <a:pt x="3" y="29"/>
                    </a:cubicBezTo>
                    <a:cubicBezTo>
                      <a:pt x="4" y="29"/>
                      <a:pt x="4" y="30"/>
                      <a:pt x="5" y="30"/>
                    </a:cubicBezTo>
                    <a:cubicBezTo>
                      <a:pt x="5" y="30"/>
                      <a:pt x="6" y="30"/>
                      <a:pt x="6" y="30"/>
                    </a:cubicBezTo>
                    <a:cubicBezTo>
                      <a:pt x="7" y="29"/>
                      <a:pt x="7" y="29"/>
                      <a:pt x="7" y="29"/>
                    </a:cubicBezTo>
                    <a:cubicBezTo>
                      <a:pt x="7" y="29"/>
                      <a:pt x="7" y="30"/>
                      <a:pt x="8" y="30"/>
                    </a:cubicBezTo>
                    <a:cubicBezTo>
                      <a:pt x="8" y="30"/>
                      <a:pt x="8" y="30"/>
                      <a:pt x="8" y="30"/>
                    </a:cubicBezTo>
                    <a:cubicBezTo>
                      <a:pt x="7" y="29"/>
                      <a:pt x="7" y="31"/>
                      <a:pt x="7" y="31"/>
                    </a:cubicBezTo>
                    <a:cubicBezTo>
                      <a:pt x="8" y="31"/>
                      <a:pt x="8" y="31"/>
                      <a:pt x="8" y="31"/>
                    </a:cubicBezTo>
                    <a:cubicBezTo>
                      <a:pt x="9" y="32"/>
                      <a:pt x="9" y="32"/>
                      <a:pt x="9" y="33"/>
                    </a:cubicBezTo>
                    <a:cubicBezTo>
                      <a:pt x="9" y="33"/>
                      <a:pt x="10" y="33"/>
                      <a:pt x="10" y="33"/>
                    </a:cubicBezTo>
                    <a:cubicBezTo>
                      <a:pt x="9" y="34"/>
                      <a:pt x="10" y="34"/>
                      <a:pt x="10" y="34"/>
                    </a:cubicBezTo>
                    <a:cubicBezTo>
                      <a:pt x="10" y="35"/>
                      <a:pt x="10" y="34"/>
                      <a:pt x="9" y="35"/>
                    </a:cubicBezTo>
                    <a:cubicBezTo>
                      <a:pt x="9" y="35"/>
                      <a:pt x="9" y="35"/>
                      <a:pt x="9" y="35"/>
                    </a:cubicBezTo>
                    <a:cubicBezTo>
                      <a:pt x="9" y="36"/>
                      <a:pt x="9" y="36"/>
                      <a:pt x="8" y="36"/>
                    </a:cubicBezTo>
                    <a:cubicBezTo>
                      <a:pt x="8" y="36"/>
                      <a:pt x="7" y="37"/>
                      <a:pt x="7" y="37"/>
                    </a:cubicBezTo>
                    <a:cubicBezTo>
                      <a:pt x="7" y="38"/>
                      <a:pt x="7" y="38"/>
                      <a:pt x="8" y="38"/>
                    </a:cubicBezTo>
                    <a:cubicBezTo>
                      <a:pt x="8" y="38"/>
                      <a:pt x="8" y="39"/>
                      <a:pt x="7" y="38"/>
                    </a:cubicBezTo>
                    <a:cubicBezTo>
                      <a:pt x="6" y="38"/>
                      <a:pt x="5" y="38"/>
                      <a:pt x="5" y="39"/>
                    </a:cubicBezTo>
                    <a:cubicBezTo>
                      <a:pt x="5" y="39"/>
                      <a:pt x="4" y="41"/>
                      <a:pt x="4" y="41"/>
                    </a:cubicBezTo>
                    <a:cubicBezTo>
                      <a:pt x="5" y="40"/>
                      <a:pt x="5" y="41"/>
                      <a:pt x="5" y="41"/>
                    </a:cubicBezTo>
                    <a:cubicBezTo>
                      <a:pt x="5" y="42"/>
                      <a:pt x="4" y="42"/>
                      <a:pt x="4" y="42"/>
                    </a:cubicBezTo>
                    <a:cubicBezTo>
                      <a:pt x="4" y="43"/>
                      <a:pt x="4" y="43"/>
                      <a:pt x="3" y="43"/>
                    </a:cubicBezTo>
                    <a:cubicBezTo>
                      <a:pt x="3" y="44"/>
                      <a:pt x="1" y="44"/>
                      <a:pt x="2" y="45"/>
                    </a:cubicBezTo>
                    <a:cubicBezTo>
                      <a:pt x="2" y="44"/>
                      <a:pt x="2" y="48"/>
                      <a:pt x="2" y="48"/>
                    </a:cubicBezTo>
                    <a:cubicBezTo>
                      <a:pt x="2" y="49"/>
                      <a:pt x="2" y="49"/>
                      <a:pt x="2" y="49"/>
                    </a:cubicBezTo>
                    <a:cubicBezTo>
                      <a:pt x="2" y="50"/>
                      <a:pt x="2" y="50"/>
                      <a:pt x="2" y="50"/>
                    </a:cubicBezTo>
                    <a:cubicBezTo>
                      <a:pt x="2" y="50"/>
                      <a:pt x="2" y="51"/>
                      <a:pt x="2" y="51"/>
                    </a:cubicBezTo>
                    <a:cubicBezTo>
                      <a:pt x="2" y="51"/>
                      <a:pt x="3" y="50"/>
                      <a:pt x="4" y="50"/>
                    </a:cubicBezTo>
                    <a:cubicBezTo>
                      <a:pt x="4" y="50"/>
                      <a:pt x="5" y="51"/>
                      <a:pt x="5" y="51"/>
                    </a:cubicBezTo>
                    <a:cubicBezTo>
                      <a:pt x="5" y="51"/>
                      <a:pt x="6" y="51"/>
                      <a:pt x="6" y="51"/>
                    </a:cubicBezTo>
                    <a:cubicBezTo>
                      <a:pt x="6" y="52"/>
                      <a:pt x="6" y="52"/>
                      <a:pt x="6" y="53"/>
                    </a:cubicBezTo>
                    <a:cubicBezTo>
                      <a:pt x="8" y="52"/>
                      <a:pt x="9" y="54"/>
                      <a:pt x="10" y="54"/>
                    </a:cubicBezTo>
                    <a:cubicBezTo>
                      <a:pt x="10" y="55"/>
                      <a:pt x="11" y="55"/>
                      <a:pt x="12" y="55"/>
                    </a:cubicBezTo>
                    <a:cubicBezTo>
                      <a:pt x="13" y="55"/>
                      <a:pt x="13" y="55"/>
                      <a:pt x="14" y="55"/>
                    </a:cubicBezTo>
                    <a:cubicBezTo>
                      <a:pt x="20" y="51"/>
                      <a:pt x="25" y="47"/>
                      <a:pt x="31" y="43"/>
                    </a:cubicBezTo>
                    <a:cubicBezTo>
                      <a:pt x="32" y="43"/>
                      <a:pt x="33" y="42"/>
                      <a:pt x="34" y="41"/>
                    </a:cubicBezTo>
                    <a:cubicBezTo>
                      <a:pt x="38" y="39"/>
                      <a:pt x="41" y="37"/>
                      <a:pt x="44" y="35"/>
                    </a:cubicBezTo>
                    <a:cubicBezTo>
                      <a:pt x="45" y="34"/>
                      <a:pt x="46" y="33"/>
                      <a:pt x="47" y="33"/>
                    </a:cubicBezTo>
                    <a:cubicBezTo>
                      <a:pt x="48" y="33"/>
                      <a:pt x="48" y="33"/>
                      <a:pt x="49" y="32"/>
                    </a:cubicBezTo>
                    <a:cubicBezTo>
                      <a:pt x="50" y="32"/>
                      <a:pt x="50" y="31"/>
                      <a:pt x="51" y="29"/>
                    </a:cubicBezTo>
                    <a:cubicBezTo>
                      <a:pt x="51" y="28"/>
                      <a:pt x="52" y="28"/>
                      <a:pt x="51" y="27"/>
                    </a:cubicBezTo>
                    <a:cubicBezTo>
                      <a:pt x="51" y="26"/>
                      <a:pt x="51" y="25"/>
                      <a:pt x="51" y="24"/>
                    </a:cubicBezTo>
                    <a:cubicBezTo>
                      <a:pt x="51" y="23"/>
                      <a:pt x="51" y="22"/>
                      <a:pt x="51" y="22"/>
                    </a:cubicBezTo>
                    <a:cubicBezTo>
                      <a:pt x="51" y="21"/>
                      <a:pt x="51" y="20"/>
                      <a:pt x="51" y="20"/>
                    </a:cubicBezTo>
                    <a:cubicBezTo>
                      <a:pt x="52" y="18"/>
                      <a:pt x="52" y="16"/>
                      <a:pt x="51" y="15"/>
                    </a:cubicBezTo>
                    <a:cubicBezTo>
                      <a:pt x="50" y="14"/>
                      <a:pt x="50" y="12"/>
                      <a:pt x="50" y="11"/>
                    </a:cubicBezTo>
                    <a:cubicBezTo>
                      <a:pt x="51" y="8"/>
                      <a:pt x="52" y="9"/>
                      <a:pt x="53" y="8"/>
                    </a:cubicBezTo>
                    <a:cubicBezTo>
                      <a:pt x="55" y="8"/>
                      <a:pt x="56" y="7"/>
                      <a:pt x="57" y="6"/>
                    </a:cubicBezTo>
                    <a:cubicBezTo>
                      <a:pt x="57" y="5"/>
                      <a:pt x="58" y="4"/>
                      <a:pt x="59" y="4"/>
                    </a:cubicBezTo>
                    <a:cubicBezTo>
                      <a:pt x="59" y="3"/>
                      <a:pt x="59" y="3"/>
                      <a:pt x="59"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5" name="Switzerland">
                <a:extLst>
                  <a:ext uri="{FF2B5EF4-FFF2-40B4-BE49-F238E27FC236}">
                    <a16:creationId xmlns:a16="http://schemas.microsoft.com/office/drawing/2014/main" id="{6ACF0E63-912A-EAC6-7D67-753E5B2653B5}"/>
                  </a:ext>
                </a:extLst>
              </p:cNvPr>
              <p:cNvSpPr>
                <a:spLocks/>
              </p:cNvSpPr>
              <p:nvPr/>
            </p:nvSpPr>
            <p:spPr bwMode="auto">
              <a:xfrm>
                <a:off x="5917221" y="2186939"/>
                <a:ext cx="137223" cy="77432"/>
              </a:xfrm>
              <a:custGeom>
                <a:avLst/>
                <a:gdLst/>
                <a:ahLst/>
                <a:cxnLst>
                  <a:cxn ang="0">
                    <a:pos x="38" y="12"/>
                  </a:cxn>
                  <a:cxn ang="0">
                    <a:pos x="38" y="11"/>
                  </a:cxn>
                  <a:cxn ang="0">
                    <a:pos x="37" y="10"/>
                  </a:cxn>
                  <a:cxn ang="0">
                    <a:pos x="36" y="10"/>
                  </a:cxn>
                  <a:cxn ang="0">
                    <a:pos x="34" y="10"/>
                  </a:cxn>
                  <a:cxn ang="0">
                    <a:pos x="33" y="9"/>
                  </a:cxn>
                  <a:cxn ang="0">
                    <a:pos x="30" y="8"/>
                  </a:cxn>
                  <a:cxn ang="0">
                    <a:pos x="30" y="7"/>
                  </a:cxn>
                  <a:cxn ang="0">
                    <a:pos x="31" y="4"/>
                  </a:cxn>
                  <a:cxn ang="0">
                    <a:pos x="31" y="3"/>
                  </a:cxn>
                  <a:cxn ang="0">
                    <a:pos x="25" y="2"/>
                  </a:cxn>
                  <a:cxn ang="0">
                    <a:pos x="24" y="2"/>
                  </a:cxn>
                  <a:cxn ang="0">
                    <a:pos x="23" y="1"/>
                  </a:cxn>
                  <a:cxn ang="0">
                    <a:pos x="22" y="1"/>
                  </a:cxn>
                  <a:cxn ang="0">
                    <a:pos x="21" y="2"/>
                  </a:cxn>
                  <a:cxn ang="0">
                    <a:pos x="22" y="3"/>
                  </a:cxn>
                  <a:cxn ang="0">
                    <a:pos x="19" y="2"/>
                  </a:cxn>
                  <a:cxn ang="0">
                    <a:pos x="16" y="3"/>
                  </a:cxn>
                  <a:cxn ang="0">
                    <a:pos x="15" y="2"/>
                  </a:cxn>
                  <a:cxn ang="0">
                    <a:pos x="13" y="4"/>
                  </a:cxn>
                  <a:cxn ang="0">
                    <a:pos x="11" y="4"/>
                  </a:cxn>
                  <a:cxn ang="0">
                    <a:pos x="9" y="4"/>
                  </a:cxn>
                  <a:cxn ang="0">
                    <a:pos x="8" y="5"/>
                  </a:cxn>
                  <a:cxn ang="0">
                    <a:pos x="8" y="6"/>
                  </a:cxn>
                  <a:cxn ang="0">
                    <a:pos x="6" y="8"/>
                  </a:cxn>
                  <a:cxn ang="0">
                    <a:pos x="4" y="11"/>
                  </a:cxn>
                  <a:cxn ang="0">
                    <a:pos x="2" y="12"/>
                  </a:cxn>
                  <a:cxn ang="0">
                    <a:pos x="1" y="14"/>
                  </a:cxn>
                  <a:cxn ang="0">
                    <a:pos x="1" y="16"/>
                  </a:cxn>
                  <a:cxn ang="0">
                    <a:pos x="0" y="17"/>
                  </a:cxn>
                  <a:cxn ang="0">
                    <a:pos x="1" y="18"/>
                  </a:cxn>
                  <a:cxn ang="0">
                    <a:pos x="2" y="17"/>
                  </a:cxn>
                  <a:cxn ang="0">
                    <a:pos x="6" y="15"/>
                  </a:cxn>
                  <a:cxn ang="0">
                    <a:pos x="7" y="16"/>
                  </a:cxn>
                  <a:cxn ang="0">
                    <a:pos x="7" y="18"/>
                  </a:cxn>
                  <a:cxn ang="0">
                    <a:pos x="8" y="19"/>
                  </a:cxn>
                  <a:cxn ang="0">
                    <a:pos x="10" y="21"/>
                  </a:cxn>
                  <a:cxn ang="0">
                    <a:pos x="14" y="20"/>
                  </a:cxn>
                  <a:cxn ang="0">
                    <a:pos x="15" y="20"/>
                  </a:cxn>
                  <a:cxn ang="0">
                    <a:pos x="17" y="20"/>
                  </a:cxn>
                  <a:cxn ang="0">
                    <a:pos x="19" y="18"/>
                  </a:cxn>
                  <a:cxn ang="0">
                    <a:pos x="20" y="16"/>
                  </a:cxn>
                  <a:cxn ang="0">
                    <a:pos x="21" y="15"/>
                  </a:cxn>
                  <a:cxn ang="0">
                    <a:pos x="22" y="18"/>
                  </a:cxn>
                  <a:cxn ang="0">
                    <a:pos x="24" y="20"/>
                  </a:cxn>
                  <a:cxn ang="0">
                    <a:pos x="26" y="21"/>
                  </a:cxn>
                  <a:cxn ang="0">
                    <a:pos x="27" y="18"/>
                  </a:cxn>
                  <a:cxn ang="0">
                    <a:pos x="28" y="15"/>
                  </a:cxn>
                  <a:cxn ang="0">
                    <a:pos x="30" y="14"/>
                  </a:cxn>
                  <a:cxn ang="0">
                    <a:pos x="30" y="16"/>
                  </a:cxn>
                  <a:cxn ang="0">
                    <a:pos x="34" y="16"/>
                  </a:cxn>
                  <a:cxn ang="0">
                    <a:pos x="35" y="17"/>
                  </a:cxn>
                  <a:cxn ang="0">
                    <a:pos x="35" y="16"/>
                  </a:cxn>
                  <a:cxn ang="0">
                    <a:pos x="35" y="15"/>
                  </a:cxn>
                  <a:cxn ang="0">
                    <a:pos x="37" y="14"/>
                  </a:cxn>
                </a:cxnLst>
                <a:rect l="0" t="0" r="r" b="b"/>
                <a:pathLst>
                  <a:path w="39" h="22">
                    <a:moveTo>
                      <a:pt x="39" y="13"/>
                    </a:moveTo>
                    <a:cubicBezTo>
                      <a:pt x="38" y="12"/>
                      <a:pt x="37" y="13"/>
                      <a:pt x="38" y="12"/>
                    </a:cubicBezTo>
                    <a:cubicBezTo>
                      <a:pt x="38" y="12"/>
                      <a:pt x="38" y="11"/>
                      <a:pt x="38" y="11"/>
                    </a:cubicBezTo>
                    <a:cubicBezTo>
                      <a:pt x="38" y="11"/>
                      <a:pt x="38" y="11"/>
                      <a:pt x="38" y="11"/>
                    </a:cubicBezTo>
                    <a:cubicBezTo>
                      <a:pt x="39" y="10"/>
                      <a:pt x="39" y="10"/>
                      <a:pt x="38" y="9"/>
                    </a:cubicBezTo>
                    <a:cubicBezTo>
                      <a:pt x="38" y="9"/>
                      <a:pt x="38" y="9"/>
                      <a:pt x="37" y="10"/>
                    </a:cubicBezTo>
                    <a:cubicBezTo>
                      <a:pt x="37" y="10"/>
                      <a:pt x="36" y="10"/>
                      <a:pt x="36" y="10"/>
                    </a:cubicBezTo>
                    <a:cubicBezTo>
                      <a:pt x="37" y="10"/>
                      <a:pt x="36" y="10"/>
                      <a:pt x="36" y="10"/>
                    </a:cubicBezTo>
                    <a:cubicBezTo>
                      <a:pt x="36" y="11"/>
                      <a:pt x="36" y="11"/>
                      <a:pt x="35" y="10"/>
                    </a:cubicBezTo>
                    <a:cubicBezTo>
                      <a:pt x="35" y="10"/>
                      <a:pt x="35" y="10"/>
                      <a:pt x="34" y="10"/>
                    </a:cubicBezTo>
                    <a:cubicBezTo>
                      <a:pt x="34" y="10"/>
                      <a:pt x="34" y="10"/>
                      <a:pt x="33" y="10"/>
                    </a:cubicBezTo>
                    <a:cubicBezTo>
                      <a:pt x="33" y="9"/>
                      <a:pt x="34" y="9"/>
                      <a:pt x="33" y="9"/>
                    </a:cubicBezTo>
                    <a:cubicBezTo>
                      <a:pt x="33" y="9"/>
                      <a:pt x="33" y="8"/>
                      <a:pt x="32" y="8"/>
                    </a:cubicBezTo>
                    <a:cubicBezTo>
                      <a:pt x="32" y="8"/>
                      <a:pt x="31" y="8"/>
                      <a:pt x="30" y="8"/>
                    </a:cubicBezTo>
                    <a:cubicBezTo>
                      <a:pt x="30" y="8"/>
                      <a:pt x="30" y="8"/>
                      <a:pt x="30" y="7"/>
                    </a:cubicBezTo>
                    <a:cubicBezTo>
                      <a:pt x="30" y="7"/>
                      <a:pt x="30" y="7"/>
                      <a:pt x="30" y="7"/>
                    </a:cubicBezTo>
                    <a:cubicBezTo>
                      <a:pt x="30" y="6"/>
                      <a:pt x="31" y="6"/>
                      <a:pt x="31" y="5"/>
                    </a:cubicBezTo>
                    <a:cubicBezTo>
                      <a:pt x="31" y="5"/>
                      <a:pt x="32" y="4"/>
                      <a:pt x="31" y="4"/>
                    </a:cubicBezTo>
                    <a:cubicBezTo>
                      <a:pt x="31" y="4"/>
                      <a:pt x="31" y="4"/>
                      <a:pt x="31" y="4"/>
                    </a:cubicBezTo>
                    <a:cubicBezTo>
                      <a:pt x="31" y="4"/>
                      <a:pt x="31" y="3"/>
                      <a:pt x="31" y="3"/>
                    </a:cubicBezTo>
                    <a:cubicBezTo>
                      <a:pt x="30" y="2"/>
                      <a:pt x="28" y="2"/>
                      <a:pt x="27" y="2"/>
                    </a:cubicBezTo>
                    <a:cubicBezTo>
                      <a:pt x="27" y="2"/>
                      <a:pt x="26" y="2"/>
                      <a:pt x="25" y="2"/>
                    </a:cubicBezTo>
                    <a:cubicBezTo>
                      <a:pt x="25" y="2"/>
                      <a:pt x="24" y="2"/>
                      <a:pt x="25" y="1"/>
                    </a:cubicBezTo>
                    <a:cubicBezTo>
                      <a:pt x="24" y="1"/>
                      <a:pt x="24" y="1"/>
                      <a:pt x="24" y="2"/>
                    </a:cubicBezTo>
                    <a:cubicBezTo>
                      <a:pt x="24" y="2"/>
                      <a:pt x="24" y="2"/>
                      <a:pt x="24" y="1"/>
                    </a:cubicBezTo>
                    <a:cubicBezTo>
                      <a:pt x="24" y="1"/>
                      <a:pt x="24" y="1"/>
                      <a:pt x="23" y="1"/>
                    </a:cubicBezTo>
                    <a:cubicBezTo>
                      <a:pt x="23" y="0"/>
                      <a:pt x="23" y="0"/>
                      <a:pt x="23" y="1"/>
                    </a:cubicBezTo>
                    <a:cubicBezTo>
                      <a:pt x="23" y="0"/>
                      <a:pt x="22" y="0"/>
                      <a:pt x="22" y="1"/>
                    </a:cubicBezTo>
                    <a:cubicBezTo>
                      <a:pt x="22" y="1"/>
                      <a:pt x="21" y="1"/>
                      <a:pt x="21" y="1"/>
                    </a:cubicBezTo>
                    <a:cubicBezTo>
                      <a:pt x="21" y="2"/>
                      <a:pt x="21" y="2"/>
                      <a:pt x="21" y="2"/>
                    </a:cubicBezTo>
                    <a:cubicBezTo>
                      <a:pt x="22" y="2"/>
                      <a:pt x="22" y="2"/>
                      <a:pt x="23" y="2"/>
                    </a:cubicBezTo>
                    <a:cubicBezTo>
                      <a:pt x="23" y="2"/>
                      <a:pt x="22" y="3"/>
                      <a:pt x="22" y="3"/>
                    </a:cubicBezTo>
                    <a:cubicBezTo>
                      <a:pt x="22" y="2"/>
                      <a:pt x="21" y="2"/>
                      <a:pt x="22" y="3"/>
                    </a:cubicBezTo>
                    <a:cubicBezTo>
                      <a:pt x="21" y="3"/>
                      <a:pt x="20" y="3"/>
                      <a:pt x="19" y="2"/>
                    </a:cubicBezTo>
                    <a:cubicBezTo>
                      <a:pt x="19" y="2"/>
                      <a:pt x="18" y="3"/>
                      <a:pt x="17" y="3"/>
                    </a:cubicBezTo>
                    <a:cubicBezTo>
                      <a:pt x="17" y="3"/>
                      <a:pt x="16" y="3"/>
                      <a:pt x="16" y="3"/>
                    </a:cubicBezTo>
                    <a:cubicBezTo>
                      <a:pt x="15" y="3"/>
                      <a:pt x="15" y="3"/>
                      <a:pt x="14" y="3"/>
                    </a:cubicBezTo>
                    <a:cubicBezTo>
                      <a:pt x="14" y="3"/>
                      <a:pt x="15" y="3"/>
                      <a:pt x="15" y="2"/>
                    </a:cubicBezTo>
                    <a:cubicBezTo>
                      <a:pt x="14" y="2"/>
                      <a:pt x="13" y="3"/>
                      <a:pt x="13" y="3"/>
                    </a:cubicBezTo>
                    <a:cubicBezTo>
                      <a:pt x="13" y="4"/>
                      <a:pt x="13" y="3"/>
                      <a:pt x="13" y="4"/>
                    </a:cubicBezTo>
                    <a:cubicBezTo>
                      <a:pt x="12" y="4"/>
                      <a:pt x="13" y="4"/>
                      <a:pt x="13" y="4"/>
                    </a:cubicBezTo>
                    <a:cubicBezTo>
                      <a:pt x="12" y="4"/>
                      <a:pt x="11" y="4"/>
                      <a:pt x="11" y="4"/>
                    </a:cubicBezTo>
                    <a:cubicBezTo>
                      <a:pt x="10" y="4"/>
                      <a:pt x="11" y="3"/>
                      <a:pt x="10" y="4"/>
                    </a:cubicBezTo>
                    <a:cubicBezTo>
                      <a:pt x="10" y="4"/>
                      <a:pt x="9" y="3"/>
                      <a:pt x="9" y="4"/>
                    </a:cubicBezTo>
                    <a:cubicBezTo>
                      <a:pt x="9" y="4"/>
                      <a:pt x="9" y="4"/>
                      <a:pt x="9" y="4"/>
                    </a:cubicBezTo>
                    <a:cubicBezTo>
                      <a:pt x="9" y="4"/>
                      <a:pt x="8" y="5"/>
                      <a:pt x="8" y="5"/>
                    </a:cubicBezTo>
                    <a:cubicBezTo>
                      <a:pt x="8" y="5"/>
                      <a:pt x="9" y="5"/>
                      <a:pt x="9" y="5"/>
                    </a:cubicBezTo>
                    <a:cubicBezTo>
                      <a:pt x="9" y="6"/>
                      <a:pt x="8" y="6"/>
                      <a:pt x="8" y="6"/>
                    </a:cubicBezTo>
                    <a:cubicBezTo>
                      <a:pt x="8" y="6"/>
                      <a:pt x="8" y="7"/>
                      <a:pt x="7" y="7"/>
                    </a:cubicBezTo>
                    <a:cubicBezTo>
                      <a:pt x="7" y="8"/>
                      <a:pt x="6" y="8"/>
                      <a:pt x="6" y="8"/>
                    </a:cubicBezTo>
                    <a:cubicBezTo>
                      <a:pt x="6" y="9"/>
                      <a:pt x="5" y="9"/>
                      <a:pt x="4" y="9"/>
                    </a:cubicBezTo>
                    <a:cubicBezTo>
                      <a:pt x="4" y="10"/>
                      <a:pt x="4" y="10"/>
                      <a:pt x="4" y="11"/>
                    </a:cubicBezTo>
                    <a:cubicBezTo>
                      <a:pt x="4" y="11"/>
                      <a:pt x="4" y="11"/>
                      <a:pt x="4" y="11"/>
                    </a:cubicBezTo>
                    <a:cubicBezTo>
                      <a:pt x="3" y="12"/>
                      <a:pt x="3" y="12"/>
                      <a:pt x="2" y="12"/>
                    </a:cubicBezTo>
                    <a:cubicBezTo>
                      <a:pt x="2" y="12"/>
                      <a:pt x="2" y="13"/>
                      <a:pt x="1" y="13"/>
                    </a:cubicBezTo>
                    <a:cubicBezTo>
                      <a:pt x="1" y="13"/>
                      <a:pt x="1" y="14"/>
                      <a:pt x="1" y="14"/>
                    </a:cubicBezTo>
                    <a:cubicBezTo>
                      <a:pt x="1" y="14"/>
                      <a:pt x="1" y="14"/>
                      <a:pt x="1" y="15"/>
                    </a:cubicBezTo>
                    <a:cubicBezTo>
                      <a:pt x="1" y="15"/>
                      <a:pt x="1" y="15"/>
                      <a:pt x="1" y="16"/>
                    </a:cubicBezTo>
                    <a:cubicBezTo>
                      <a:pt x="1" y="16"/>
                      <a:pt x="1" y="17"/>
                      <a:pt x="1" y="17"/>
                    </a:cubicBezTo>
                    <a:cubicBezTo>
                      <a:pt x="1" y="17"/>
                      <a:pt x="0" y="17"/>
                      <a:pt x="0" y="17"/>
                    </a:cubicBezTo>
                    <a:cubicBezTo>
                      <a:pt x="0" y="18"/>
                      <a:pt x="0" y="18"/>
                      <a:pt x="0" y="18"/>
                    </a:cubicBezTo>
                    <a:cubicBezTo>
                      <a:pt x="0" y="18"/>
                      <a:pt x="0" y="18"/>
                      <a:pt x="1" y="18"/>
                    </a:cubicBezTo>
                    <a:cubicBezTo>
                      <a:pt x="1" y="18"/>
                      <a:pt x="1" y="18"/>
                      <a:pt x="2" y="18"/>
                    </a:cubicBezTo>
                    <a:cubicBezTo>
                      <a:pt x="2" y="18"/>
                      <a:pt x="3" y="17"/>
                      <a:pt x="2" y="17"/>
                    </a:cubicBezTo>
                    <a:cubicBezTo>
                      <a:pt x="1" y="16"/>
                      <a:pt x="2" y="16"/>
                      <a:pt x="3" y="15"/>
                    </a:cubicBezTo>
                    <a:cubicBezTo>
                      <a:pt x="4" y="15"/>
                      <a:pt x="5" y="15"/>
                      <a:pt x="6" y="15"/>
                    </a:cubicBezTo>
                    <a:cubicBezTo>
                      <a:pt x="7" y="15"/>
                      <a:pt x="7" y="15"/>
                      <a:pt x="7" y="16"/>
                    </a:cubicBezTo>
                    <a:cubicBezTo>
                      <a:pt x="7" y="16"/>
                      <a:pt x="7" y="16"/>
                      <a:pt x="7" y="16"/>
                    </a:cubicBezTo>
                    <a:cubicBezTo>
                      <a:pt x="7" y="17"/>
                      <a:pt x="7" y="17"/>
                      <a:pt x="7" y="18"/>
                    </a:cubicBezTo>
                    <a:cubicBezTo>
                      <a:pt x="7" y="18"/>
                      <a:pt x="7" y="18"/>
                      <a:pt x="7" y="18"/>
                    </a:cubicBezTo>
                    <a:cubicBezTo>
                      <a:pt x="7" y="18"/>
                      <a:pt x="7" y="19"/>
                      <a:pt x="7" y="19"/>
                    </a:cubicBezTo>
                    <a:cubicBezTo>
                      <a:pt x="7" y="19"/>
                      <a:pt x="8" y="19"/>
                      <a:pt x="8" y="19"/>
                    </a:cubicBezTo>
                    <a:cubicBezTo>
                      <a:pt x="8" y="19"/>
                      <a:pt x="9" y="20"/>
                      <a:pt x="9" y="20"/>
                    </a:cubicBezTo>
                    <a:cubicBezTo>
                      <a:pt x="9" y="21"/>
                      <a:pt x="10" y="21"/>
                      <a:pt x="10" y="21"/>
                    </a:cubicBezTo>
                    <a:cubicBezTo>
                      <a:pt x="11" y="21"/>
                      <a:pt x="12" y="21"/>
                      <a:pt x="12" y="20"/>
                    </a:cubicBezTo>
                    <a:cubicBezTo>
                      <a:pt x="13" y="20"/>
                      <a:pt x="13" y="20"/>
                      <a:pt x="14" y="20"/>
                    </a:cubicBezTo>
                    <a:cubicBezTo>
                      <a:pt x="14" y="20"/>
                      <a:pt x="14" y="20"/>
                      <a:pt x="15" y="20"/>
                    </a:cubicBezTo>
                    <a:cubicBezTo>
                      <a:pt x="15" y="20"/>
                      <a:pt x="15" y="20"/>
                      <a:pt x="15" y="20"/>
                    </a:cubicBezTo>
                    <a:cubicBezTo>
                      <a:pt x="15" y="21"/>
                      <a:pt x="16" y="21"/>
                      <a:pt x="16" y="20"/>
                    </a:cubicBezTo>
                    <a:cubicBezTo>
                      <a:pt x="16" y="20"/>
                      <a:pt x="16" y="20"/>
                      <a:pt x="17" y="20"/>
                    </a:cubicBezTo>
                    <a:cubicBezTo>
                      <a:pt x="18" y="20"/>
                      <a:pt x="17" y="19"/>
                      <a:pt x="18" y="19"/>
                    </a:cubicBezTo>
                    <a:cubicBezTo>
                      <a:pt x="18" y="18"/>
                      <a:pt x="19" y="18"/>
                      <a:pt x="19" y="18"/>
                    </a:cubicBezTo>
                    <a:cubicBezTo>
                      <a:pt x="18" y="17"/>
                      <a:pt x="18" y="17"/>
                      <a:pt x="18" y="17"/>
                    </a:cubicBezTo>
                    <a:cubicBezTo>
                      <a:pt x="19" y="16"/>
                      <a:pt x="19" y="16"/>
                      <a:pt x="20" y="16"/>
                    </a:cubicBezTo>
                    <a:cubicBezTo>
                      <a:pt x="20" y="15"/>
                      <a:pt x="20" y="15"/>
                      <a:pt x="21" y="15"/>
                    </a:cubicBezTo>
                    <a:cubicBezTo>
                      <a:pt x="21" y="15"/>
                      <a:pt x="21" y="15"/>
                      <a:pt x="21" y="15"/>
                    </a:cubicBezTo>
                    <a:cubicBezTo>
                      <a:pt x="21" y="16"/>
                      <a:pt x="21" y="16"/>
                      <a:pt x="21" y="17"/>
                    </a:cubicBezTo>
                    <a:cubicBezTo>
                      <a:pt x="21" y="17"/>
                      <a:pt x="22" y="17"/>
                      <a:pt x="22" y="18"/>
                    </a:cubicBezTo>
                    <a:cubicBezTo>
                      <a:pt x="23" y="19"/>
                      <a:pt x="23" y="18"/>
                      <a:pt x="24" y="19"/>
                    </a:cubicBezTo>
                    <a:cubicBezTo>
                      <a:pt x="25" y="19"/>
                      <a:pt x="24" y="19"/>
                      <a:pt x="24" y="20"/>
                    </a:cubicBezTo>
                    <a:cubicBezTo>
                      <a:pt x="25" y="20"/>
                      <a:pt x="26" y="21"/>
                      <a:pt x="25" y="21"/>
                    </a:cubicBezTo>
                    <a:cubicBezTo>
                      <a:pt x="26" y="21"/>
                      <a:pt x="26" y="22"/>
                      <a:pt x="26" y="21"/>
                    </a:cubicBezTo>
                    <a:cubicBezTo>
                      <a:pt x="27" y="20"/>
                      <a:pt x="26" y="21"/>
                      <a:pt x="26" y="20"/>
                    </a:cubicBezTo>
                    <a:cubicBezTo>
                      <a:pt x="26" y="19"/>
                      <a:pt x="27" y="18"/>
                      <a:pt x="27" y="18"/>
                    </a:cubicBezTo>
                    <a:cubicBezTo>
                      <a:pt x="28" y="17"/>
                      <a:pt x="28" y="17"/>
                      <a:pt x="28" y="16"/>
                    </a:cubicBezTo>
                    <a:cubicBezTo>
                      <a:pt x="28" y="16"/>
                      <a:pt x="28" y="15"/>
                      <a:pt x="28" y="15"/>
                    </a:cubicBezTo>
                    <a:cubicBezTo>
                      <a:pt x="28" y="14"/>
                      <a:pt x="29" y="15"/>
                      <a:pt x="29" y="15"/>
                    </a:cubicBezTo>
                    <a:cubicBezTo>
                      <a:pt x="29" y="15"/>
                      <a:pt x="30" y="14"/>
                      <a:pt x="30" y="14"/>
                    </a:cubicBezTo>
                    <a:cubicBezTo>
                      <a:pt x="30" y="15"/>
                      <a:pt x="30" y="15"/>
                      <a:pt x="30" y="16"/>
                    </a:cubicBezTo>
                    <a:cubicBezTo>
                      <a:pt x="30" y="16"/>
                      <a:pt x="30" y="16"/>
                      <a:pt x="30" y="16"/>
                    </a:cubicBezTo>
                    <a:cubicBezTo>
                      <a:pt x="31" y="17"/>
                      <a:pt x="32" y="17"/>
                      <a:pt x="32" y="16"/>
                    </a:cubicBezTo>
                    <a:cubicBezTo>
                      <a:pt x="32" y="16"/>
                      <a:pt x="34" y="16"/>
                      <a:pt x="34" y="16"/>
                    </a:cubicBezTo>
                    <a:cubicBezTo>
                      <a:pt x="34" y="16"/>
                      <a:pt x="34" y="16"/>
                      <a:pt x="34" y="16"/>
                    </a:cubicBezTo>
                    <a:cubicBezTo>
                      <a:pt x="35" y="17"/>
                      <a:pt x="35" y="17"/>
                      <a:pt x="35" y="17"/>
                    </a:cubicBezTo>
                    <a:cubicBezTo>
                      <a:pt x="35" y="17"/>
                      <a:pt x="36" y="17"/>
                      <a:pt x="36" y="17"/>
                    </a:cubicBezTo>
                    <a:cubicBezTo>
                      <a:pt x="36" y="16"/>
                      <a:pt x="35" y="16"/>
                      <a:pt x="35" y="16"/>
                    </a:cubicBezTo>
                    <a:cubicBezTo>
                      <a:pt x="35" y="16"/>
                      <a:pt x="36" y="16"/>
                      <a:pt x="36" y="15"/>
                    </a:cubicBezTo>
                    <a:cubicBezTo>
                      <a:pt x="36" y="15"/>
                      <a:pt x="35" y="15"/>
                      <a:pt x="35" y="15"/>
                    </a:cubicBezTo>
                    <a:cubicBezTo>
                      <a:pt x="34" y="15"/>
                      <a:pt x="35" y="13"/>
                      <a:pt x="36" y="13"/>
                    </a:cubicBezTo>
                    <a:cubicBezTo>
                      <a:pt x="36" y="12"/>
                      <a:pt x="37" y="13"/>
                      <a:pt x="37" y="14"/>
                    </a:cubicBezTo>
                    <a:cubicBezTo>
                      <a:pt x="38" y="14"/>
                      <a:pt x="39" y="14"/>
                      <a:pt x="39" y="1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6" name="Sweden">
                <a:extLst>
                  <a:ext uri="{FF2B5EF4-FFF2-40B4-BE49-F238E27FC236}">
                    <a16:creationId xmlns:a16="http://schemas.microsoft.com/office/drawing/2014/main" id="{08054633-9EA5-9855-DCD4-1EF0A9DBE407}"/>
                  </a:ext>
                </a:extLst>
              </p:cNvPr>
              <p:cNvSpPr>
                <a:spLocks noEditPoints="1"/>
              </p:cNvSpPr>
              <p:nvPr/>
            </p:nvSpPr>
            <p:spPr bwMode="auto">
              <a:xfrm>
                <a:off x="6069146" y="1424371"/>
                <a:ext cx="336197" cy="482241"/>
              </a:xfrm>
              <a:custGeom>
                <a:avLst/>
                <a:gdLst/>
                <a:ahLst/>
                <a:cxnLst>
                  <a:cxn ang="0">
                    <a:pos x="61" y="115"/>
                  </a:cxn>
                  <a:cxn ang="0">
                    <a:pos x="56" y="120"/>
                  </a:cxn>
                  <a:cxn ang="0">
                    <a:pos x="60" y="109"/>
                  </a:cxn>
                  <a:cxn ang="0">
                    <a:pos x="90" y="31"/>
                  </a:cxn>
                  <a:cxn ang="0">
                    <a:pos x="86" y="32"/>
                  </a:cxn>
                  <a:cxn ang="0">
                    <a:pos x="81" y="32"/>
                  </a:cxn>
                  <a:cxn ang="0">
                    <a:pos x="77" y="35"/>
                  </a:cxn>
                  <a:cxn ang="0">
                    <a:pos x="77" y="38"/>
                  </a:cxn>
                  <a:cxn ang="0">
                    <a:pos x="75" y="41"/>
                  </a:cxn>
                  <a:cxn ang="0">
                    <a:pos x="77" y="43"/>
                  </a:cxn>
                  <a:cxn ang="0">
                    <a:pos x="73" y="49"/>
                  </a:cxn>
                  <a:cxn ang="0">
                    <a:pos x="67" y="52"/>
                  </a:cxn>
                  <a:cxn ang="0">
                    <a:pos x="62" y="54"/>
                  </a:cxn>
                  <a:cxn ang="0">
                    <a:pos x="57" y="56"/>
                  </a:cxn>
                  <a:cxn ang="0">
                    <a:pos x="54" y="58"/>
                  </a:cxn>
                  <a:cxn ang="0">
                    <a:pos x="53" y="60"/>
                  </a:cxn>
                  <a:cxn ang="0">
                    <a:pos x="51" y="62"/>
                  </a:cxn>
                  <a:cxn ang="0">
                    <a:pos x="49" y="66"/>
                  </a:cxn>
                  <a:cxn ang="0">
                    <a:pos x="48" y="72"/>
                  </a:cxn>
                  <a:cxn ang="0">
                    <a:pos x="46" y="73"/>
                  </a:cxn>
                  <a:cxn ang="0">
                    <a:pos x="47" y="78"/>
                  </a:cxn>
                  <a:cxn ang="0">
                    <a:pos x="53" y="83"/>
                  </a:cxn>
                  <a:cxn ang="0">
                    <a:pos x="58" y="88"/>
                  </a:cxn>
                  <a:cxn ang="0">
                    <a:pos x="61" y="91"/>
                  </a:cxn>
                  <a:cxn ang="0">
                    <a:pos x="55" y="94"/>
                  </a:cxn>
                  <a:cxn ang="0">
                    <a:pos x="57" y="96"/>
                  </a:cxn>
                  <a:cxn ang="0">
                    <a:pos x="56" y="98"/>
                  </a:cxn>
                  <a:cxn ang="0">
                    <a:pos x="53" y="100"/>
                  </a:cxn>
                  <a:cxn ang="0">
                    <a:pos x="52" y="98"/>
                  </a:cxn>
                  <a:cxn ang="0">
                    <a:pos x="50" y="101"/>
                  </a:cxn>
                  <a:cxn ang="0">
                    <a:pos x="41" y="102"/>
                  </a:cxn>
                  <a:cxn ang="0">
                    <a:pos x="44" y="104"/>
                  </a:cxn>
                  <a:cxn ang="0">
                    <a:pos x="45" y="107"/>
                  </a:cxn>
                  <a:cxn ang="0">
                    <a:pos x="45" y="109"/>
                  </a:cxn>
                  <a:cxn ang="0">
                    <a:pos x="44" y="112"/>
                  </a:cxn>
                  <a:cxn ang="0">
                    <a:pos x="44" y="118"/>
                  </a:cxn>
                  <a:cxn ang="0">
                    <a:pos x="42" y="121"/>
                  </a:cxn>
                  <a:cxn ang="0">
                    <a:pos x="36" y="127"/>
                  </a:cxn>
                  <a:cxn ang="0">
                    <a:pos x="27" y="129"/>
                  </a:cxn>
                  <a:cxn ang="0">
                    <a:pos x="15" y="134"/>
                  </a:cxn>
                  <a:cxn ang="0">
                    <a:pos x="13" y="124"/>
                  </a:cxn>
                  <a:cxn ang="0">
                    <a:pos x="9" y="117"/>
                  </a:cxn>
                  <a:cxn ang="0">
                    <a:pos x="7" y="114"/>
                  </a:cxn>
                  <a:cxn ang="0">
                    <a:pos x="6" y="107"/>
                  </a:cxn>
                  <a:cxn ang="0">
                    <a:pos x="3" y="104"/>
                  </a:cxn>
                  <a:cxn ang="0">
                    <a:pos x="1" y="100"/>
                  </a:cxn>
                  <a:cxn ang="0">
                    <a:pos x="6" y="95"/>
                  </a:cxn>
                  <a:cxn ang="0">
                    <a:pos x="9" y="78"/>
                  </a:cxn>
                  <a:cxn ang="0">
                    <a:pos x="7" y="57"/>
                  </a:cxn>
                  <a:cxn ang="0">
                    <a:pos x="20" y="41"/>
                  </a:cxn>
                  <a:cxn ang="0">
                    <a:pos x="32" y="24"/>
                  </a:cxn>
                  <a:cxn ang="0">
                    <a:pos x="54" y="5"/>
                  </a:cxn>
                  <a:cxn ang="0">
                    <a:pos x="72" y="3"/>
                  </a:cxn>
                  <a:cxn ang="0">
                    <a:pos x="88" y="10"/>
                  </a:cxn>
                  <a:cxn ang="0">
                    <a:pos x="93" y="22"/>
                  </a:cxn>
                  <a:cxn ang="0">
                    <a:pos x="49" y="100"/>
                  </a:cxn>
                  <a:cxn ang="0">
                    <a:pos x="44" y="125"/>
                  </a:cxn>
                  <a:cxn ang="0">
                    <a:pos x="5" y="108"/>
                  </a:cxn>
                  <a:cxn ang="0">
                    <a:pos x="5" y="108"/>
                  </a:cxn>
                </a:cxnLst>
                <a:rect l="0" t="0" r="r" b="b"/>
                <a:pathLst>
                  <a:path w="95" h="136">
                    <a:moveTo>
                      <a:pt x="63" y="110"/>
                    </a:moveTo>
                    <a:cubicBezTo>
                      <a:pt x="63" y="110"/>
                      <a:pt x="63" y="110"/>
                      <a:pt x="63" y="110"/>
                    </a:cubicBezTo>
                    <a:cubicBezTo>
                      <a:pt x="63" y="110"/>
                      <a:pt x="63" y="110"/>
                      <a:pt x="63" y="110"/>
                    </a:cubicBezTo>
                    <a:cubicBezTo>
                      <a:pt x="63" y="111"/>
                      <a:pt x="63" y="111"/>
                      <a:pt x="62" y="111"/>
                    </a:cubicBezTo>
                    <a:cubicBezTo>
                      <a:pt x="62" y="111"/>
                      <a:pt x="63" y="111"/>
                      <a:pt x="62" y="111"/>
                    </a:cubicBezTo>
                    <a:cubicBezTo>
                      <a:pt x="62" y="111"/>
                      <a:pt x="61" y="111"/>
                      <a:pt x="61" y="111"/>
                    </a:cubicBezTo>
                    <a:cubicBezTo>
                      <a:pt x="61" y="111"/>
                      <a:pt x="61" y="112"/>
                      <a:pt x="61" y="112"/>
                    </a:cubicBezTo>
                    <a:cubicBezTo>
                      <a:pt x="62" y="113"/>
                      <a:pt x="60" y="114"/>
                      <a:pt x="62" y="114"/>
                    </a:cubicBezTo>
                    <a:cubicBezTo>
                      <a:pt x="62" y="114"/>
                      <a:pt x="62" y="114"/>
                      <a:pt x="62" y="114"/>
                    </a:cubicBezTo>
                    <a:cubicBezTo>
                      <a:pt x="62" y="115"/>
                      <a:pt x="62" y="115"/>
                      <a:pt x="61" y="115"/>
                    </a:cubicBezTo>
                    <a:cubicBezTo>
                      <a:pt x="61" y="115"/>
                      <a:pt x="60" y="115"/>
                      <a:pt x="60" y="116"/>
                    </a:cubicBezTo>
                    <a:cubicBezTo>
                      <a:pt x="60" y="116"/>
                      <a:pt x="61" y="116"/>
                      <a:pt x="61" y="116"/>
                    </a:cubicBezTo>
                    <a:cubicBezTo>
                      <a:pt x="61" y="116"/>
                      <a:pt x="61" y="116"/>
                      <a:pt x="61" y="116"/>
                    </a:cubicBezTo>
                    <a:cubicBezTo>
                      <a:pt x="61" y="117"/>
                      <a:pt x="59" y="117"/>
                      <a:pt x="60" y="117"/>
                    </a:cubicBezTo>
                    <a:cubicBezTo>
                      <a:pt x="60" y="117"/>
                      <a:pt x="58" y="117"/>
                      <a:pt x="58" y="117"/>
                    </a:cubicBezTo>
                    <a:cubicBezTo>
                      <a:pt x="59" y="118"/>
                      <a:pt x="59" y="117"/>
                      <a:pt x="59" y="117"/>
                    </a:cubicBezTo>
                    <a:cubicBezTo>
                      <a:pt x="59" y="118"/>
                      <a:pt x="57" y="118"/>
                      <a:pt x="58" y="119"/>
                    </a:cubicBezTo>
                    <a:cubicBezTo>
                      <a:pt x="58" y="119"/>
                      <a:pt x="58" y="119"/>
                      <a:pt x="58" y="119"/>
                    </a:cubicBezTo>
                    <a:cubicBezTo>
                      <a:pt x="58" y="118"/>
                      <a:pt x="58" y="119"/>
                      <a:pt x="58" y="119"/>
                    </a:cubicBezTo>
                    <a:cubicBezTo>
                      <a:pt x="57" y="120"/>
                      <a:pt x="57" y="120"/>
                      <a:pt x="56" y="120"/>
                    </a:cubicBezTo>
                    <a:cubicBezTo>
                      <a:pt x="56" y="120"/>
                      <a:pt x="57" y="119"/>
                      <a:pt x="57" y="119"/>
                    </a:cubicBezTo>
                    <a:cubicBezTo>
                      <a:pt x="57" y="118"/>
                      <a:pt x="58" y="118"/>
                      <a:pt x="58" y="118"/>
                    </a:cubicBezTo>
                    <a:cubicBezTo>
                      <a:pt x="57" y="118"/>
                      <a:pt x="57" y="118"/>
                      <a:pt x="57" y="118"/>
                    </a:cubicBezTo>
                    <a:cubicBezTo>
                      <a:pt x="57" y="118"/>
                      <a:pt x="56" y="117"/>
                      <a:pt x="56" y="117"/>
                    </a:cubicBezTo>
                    <a:cubicBezTo>
                      <a:pt x="56" y="116"/>
                      <a:pt x="56" y="116"/>
                      <a:pt x="56" y="116"/>
                    </a:cubicBezTo>
                    <a:cubicBezTo>
                      <a:pt x="56" y="115"/>
                      <a:pt x="56" y="115"/>
                      <a:pt x="56" y="115"/>
                    </a:cubicBezTo>
                    <a:cubicBezTo>
                      <a:pt x="56" y="114"/>
                      <a:pt x="55" y="113"/>
                      <a:pt x="56" y="113"/>
                    </a:cubicBezTo>
                    <a:cubicBezTo>
                      <a:pt x="57" y="112"/>
                      <a:pt x="57" y="112"/>
                      <a:pt x="58" y="112"/>
                    </a:cubicBezTo>
                    <a:cubicBezTo>
                      <a:pt x="58" y="111"/>
                      <a:pt x="58" y="110"/>
                      <a:pt x="59" y="110"/>
                    </a:cubicBezTo>
                    <a:cubicBezTo>
                      <a:pt x="60" y="110"/>
                      <a:pt x="60" y="110"/>
                      <a:pt x="60" y="109"/>
                    </a:cubicBezTo>
                    <a:cubicBezTo>
                      <a:pt x="61" y="109"/>
                      <a:pt x="61" y="110"/>
                      <a:pt x="61" y="110"/>
                    </a:cubicBezTo>
                    <a:cubicBezTo>
                      <a:pt x="61" y="109"/>
                      <a:pt x="61" y="109"/>
                      <a:pt x="62" y="109"/>
                    </a:cubicBezTo>
                    <a:cubicBezTo>
                      <a:pt x="62" y="109"/>
                      <a:pt x="63" y="109"/>
                      <a:pt x="63" y="110"/>
                    </a:cubicBezTo>
                    <a:close/>
                    <a:moveTo>
                      <a:pt x="82" y="31"/>
                    </a:moveTo>
                    <a:cubicBezTo>
                      <a:pt x="82" y="31"/>
                      <a:pt x="82" y="31"/>
                      <a:pt x="82" y="31"/>
                    </a:cubicBezTo>
                    <a:close/>
                    <a:moveTo>
                      <a:pt x="95" y="31"/>
                    </a:moveTo>
                    <a:cubicBezTo>
                      <a:pt x="94" y="31"/>
                      <a:pt x="94" y="31"/>
                      <a:pt x="93" y="31"/>
                    </a:cubicBezTo>
                    <a:cubicBezTo>
                      <a:pt x="93" y="31"/>
                      <a:pt x="92" y="31"/>
                      <a:pt x="92" y="31"/>
                    </a:cubicBezTo>
                    <a:cubicBezTo>
                      <a:pt x="91" y="31"/>
                      <a:pt x="90" y="31"/>
                      <a:pt x="90" y="31"/>
                    </a:cubicBezTo>
                    <a:cubicBezTo>
                      <a:pt x="90" y="31"/>
                      <a:pt x="90" y="31"/>
                      <a:pt x="90" y="31"/>
                    </a:cubicBezTo>
                    <a:cubicBezTo>
                      <a:pt x="90" y="32"/>
                      <a:pt x="90" y="32"/>
                      <a:pt x="90" y="32"/>
                    </a:cubicBezTo>
                    <a:cubicBezTo>
                      <a:pt x="90" y="32"/>
                      <a:pt x="90" y="32"/>
                      <a:pt x="90" y="32"/>
                    </a:cubicBezTo>
                    <a:cubicBezTo>
                      <a:pt x="89" y="32"/>
                      <a:pt x="89" y="31"/>
                      <a:pt x="89" y="31"/>
                    </a:cubicBezTo>
                    <a:cubicBezTo>
                      <a:pt x="89" y="31"/>
                      <a:pt x="89" y="31"/>
                      <a:pt x="89" y="31"/>
                    </a:cubicBezTo>
                    <a:cubicBezTo>
                      <a:pt x="89" y="31"/>
                      <a:pt x="88" y="31"/>
                      <a:pt x="88" y="31"/>
                    </a:cubicBezTo>
                    <a:cubicBezTo>
                      <a:pt x="88" y="31"/>
                      <a:pt x="88" y="31"/>
                      <a:pt x="88" y="31"/>
                    </a:cubicBezTo>
                    <a:cubicBezTo>
                      <a:pt x="88" y="31"/>
                      <a:pt x="89" y="32"/>
                      <a:pt x="89" y="32"/>
                    </a:cubicBezTo>
                    <a:cubicBezTo>
                      <a:pt x="89" y="32"/>
                      <a:pt x="89" y="32"/>
                      <a:pt x="89" y="32"/>
                    </a:cubicBezTo>
                    <a:cubicBezTo>
                      <a:pt x="89" y="32"/>
                      <a:pt x="88" y="31"/>
                      <a:pt x="88" y="32"/>
                    </a:cubicBezTo>
                    <a:cubicBezTo>
                      <a:pt x="88" y="32"/>
                      <a:pt x="87" y="32"/>
                      <a:pt x="86" y="32"/>
                    </a:cubicBezTo>
                    <a:cubicBezTo>
                      <a:pt x="86" y="31"/>
                      <a:pt x="85" y="31"/>
                      <a:pt x="84" y="30"/>
                    </a:cubicBezTo>
                    <a:cubicBezTo>
                      <a:pt x="84" y="30"/>
                      <a:pt x="85" y="31"/>
                      <a:pt x="84" y="32"/>
                    </a:cubicBezTo>
                    <a:cubicBezTo>
                      <a:pt x="84" y="32"/>
                      <a:pt x="84" y="31"/>
                      <a:pt x="84" y="31"/>
                    </a:cubicBezTo>
                    <a:cubicBezTo>
                      <a:pt x="84" y="31"/>
                      <a:pt x="83" y="32"/>
                      <a:pt x="83" y="31"/>
                    </a:cubicBezTo>
                    <a:cubicBezTo>
                      <a:pt x="84" y="31"/>
                      <a:pt x="82" y="31"/>
                      <a:pt x="82" y="31"/>
                    </a:cubicBezTo>
                    <a:cubicBezTo>
                      <a:pt x="82" y="31"/>
                      <a:pt x="82" y="31"/>
                      <a:pt x="82" y="31"/>
                    </a:cubicBezTo>
                    <a:cubicBezTo>
                      <a:pt x="82" y="31"/>
                      <a:pt x="82" y="31"/>
                      <a:pt x="82" y="31"/>
                    </a:cubicBezTo>
                    <a:cubicBezTo>
                      <a:pt x="82" y="31"/>
                      <a:pt x="82" y="31"/>
                      <a:pt x="82" y="31"/>
                    </a:cubicBezTo>
                    <a:cubicBezTo>
                      <a:pt x="82" y="31"/>
                      <a:pt x="82" y="32"/>
                      <a:pt x="82" y="32"/>
                    </a:cubicBezTo>
                    <a:cubicBezTo>
                      <a:pt x="83" y="33"/>
                      <a:pt x="81" y="32"/>
                      <a:pt x="81" y="32"/>
                    </a:cubicBezTo>
                    <a:cubicBezTo>
                      <a:pt x="81" y="33"/>
                      <a:pt x="82" y="32"/>
                      <a:pt x="82" y="33"/>
                    </a:cubicBezTo>
                    <a:cubicBezTo>
                      <a:pt x="83" y="33"/>
                      <a:pt x="82" y="33"/>
                      <a:pt x="82" y="33"/>
                    </a:cubicBezTo>
                    <a:cubicBezTo>
                      <a:pt x="83" y="34"/>
                      <a:pt x="82" y="33"/>
                      <a:pt x="81" y="33"/>
                    </a:cubicBezTo>
                    <a:cubicBezTo>
                      <a:pt x="82" y="34"/>
                      <a:pt x="80" y="33"/>
                      <a:pt x="80" y="33"/>
                    </a:cubicBezTo>
                    <a:cubicBezTo>
                      <a:pt x="80" y="33"/>
                      <a:pt x="81" y="34"/>
                      <a:pt x="81" y="34"/>
                    </a:cubicBezTo>
                    <a:cubicBezTo>
                      <a:pt x="81" y="34"/>
                      <a:pt x="79" y="34"/>
                      <a:pt x="79" y="34"/>
                    </a:cubicBezTo>
                    <a:cubicBezTo>
                      <a:pt x="79" y="34"/>
                      <a:pt x="79" y="34"/>
                      <a:pt x="79" y="34"/>
                    </a:cubicBezTo>
                    <a:cubicBezTo>
                      <a:pt x="79" y="34"/>
                      <a:pt x="80" y="34"/>
                      <a:pt x="80" y="34"/>
                    </a:cubicBezTo>
                    <a:cubicBezTo>
                      <a:pt x="80" y="35"/>
                      <a:pt x="80" y="35"/>
                      <a:pt x="79" y="35"/>
                    </a:cubicBezTo>
                    <a:cubicBezTo>
                      <a:pt x="79" y="35"/>
                      <a:pt x="77" y="35"/>
                      <a:pt x="77" y="35"/>
                    </a:cubicBezTo>
                    <a:cubicBezTo>
                      <a:pt x="77" y="35"/>
                      <a:pt x="77" y="35"/>
                      <a:pt x="77" y="35"/>
                    </a:cubicBezTo>
                    <a:cubicBezTo>
                      <a:pt x="77" y="36"/>
                      <a:pt x="76" y="35"/>
                      <a:pt x="76" y="35"/>
                    </a:cubicBezTo>
                    <a:cubicBezTo>
                      <a:pt x="76" y="35"/>
                      <a:pt x="76" y="35"/>
                      <a:pt x="76" y="35"/>
                    </a:cubicBezTo>
                    <a:cubicBezTo>
                      <a:pt x="76" y="35"/>
                      <a:pt x="76" y="35"/>
                      <a:pt x="76" y="35"/>
                    </a:cubicBezTo>
                    <a:cubicBezTo>
                      <a:pt x="76" y="36"/>
                      <a:pt x="77" y="35"/>
                      <a:pt x="77" y="36"/>
                    </a:cubicBezTo>
                    <a:cubicBezTo>
                      <a:pt x="77" y="36"/>
                      <a:pt x="77" y="36"/>
                      <a:pt x="78" y="36"/>
                    </a:cubicBezTo>
                    <a:cubicBezTo>
                      <a:pt x="78" y="36"/>
                      <a:pt x="78" y="36"/>
                      <a:pt x="77" y="36"/>
                    </a:cubicBezTo>
                    <a:cubicBezTo>
                      <a:pt x="77" y="36"/>
                      <a:pt x="77" y="37"/>
                      <a:pt x="77" y="37"/>
                    </a:cubicBezTo>
                    <a:cubicBezTo>
                      <a:pt x="77" y="37"/>
                      <a:pt x="77" y="38"/>
                      <a:pt x="77" y="37"/>
                    </a:cubicBezTo>
                    <a:cubicBezTo>
                      <a:pt x="77" y="38"/>
                      <a:pt x="77" y="38"/>
                      <a:pt x="77" y="38"/>
                    </a:cubicBezTo>
                    <a:cubicBezTo>
                      <a:pt x="77" y="38"/>
                      <a:pt x="76" y="38"/>
                      <a:pt x="76" y="38"/>
                    </a:cubicBezTo>
                    <a:cubicBezTo>
                      <a:pt x="76" y="38"/>
                      <a:pt x="76" y="38"/>
                      <a:pt x="76" y="38"/>
                    </a:cubicBezTo>
                    <a:cubicBezTo>
                      <a:pt x="76" y="39"/>
                      <a:pt x="76" y="39"/>
                      <a:pt x="76" y="39"/>
                    </a:cubicBezTo>
                    <a:cubicBezTo>
                      <a:pt x="76" y="39"/>
                      <a:pt x="76" y="39"/>
                      <a:pt x="76" y="39"/>
                    </a:cubicBezTo>
                    <a:cubicBezTo>
                      <a:pt x="75" y="39"/>
                      <a:pt x="75" y="39"/>
                      <a:pt x="76" y="39"/>
                    </a:cubicBezTo>
                    <a:cubicBezTo>
                      <a:pt x="75" y="39"/>
                      <a:pt x="75" y="39"/>
                      <a:pt x="75" y="39"/>
                    </a:cubicBezTo>
                    <a:cubicBezTo>
                      <a:pt x="75" y="39"/>
                      <a:pt x="75" y="40"/>
                      <a:pt x="74" y="40"/>
                    </a:cubicBezTo>
                    <a:cubicBezTo>
                      <a:pt x="75" y="40"/>
                      <a:pt x="73" y="40"/>
                      <a:pt x="73" y="40"/>
                    </a:cubicBezTo>
                    <a:cubicBezTo>
                      <a:pt x="73" y="40"/>
                      <a:pt x="74" y="41"/>
                      <a:pt x="73" y="41"/>
                    </a:cubicBezTo>
                    <a:cubicBezTo>
                      <a:pt x="74" y="41"/>
                      <a:pt x="75" y="41"/>
                      <a:pt x="75" y="41"/>
                    </a:cubicBezTo>
                    <a:cubicBezTo>
                      <a:pt x="75" y="41"/>
                      <a:pt x="75" y="41"/>
                      <a:pt x="75" y="41"/>
                    </a:cubicBezTo>
                    <a:cubicBezTo>
                      <a:pt x="75" y="42"/>
                      <a:pt x="75" y="42"/>
                      <a:pt x="75" y="42"/>
                    </a:cubicBezTo>
                    <a:cubicBezTo>
                      <a:pt x="75" y="42"/>
                      <a:pt x="75" y="42"/>
                      <a:pt x="75" y="42"/>
                    </a:cubicBezTo>
                    <a:cubicBezTo>
                      <a:pt x="75" y="42"/>
                      <a:pt x="75" y="42"/>
                      <a:pt x="75" y="42"/>
                    </a:cubicBezTo>
                    <a:cubicBezTo>
                      <a:pt x="75" y="42"/>
                      <a:pt x="75" y="42"/>
                      <a:pt x="74" y="42"/>
                    </a:cubicBezTo>
                    <a:cubicBezTo>
                      <a:pt x="74" y="42"/>
                      <a:pt x="75" y="42"/>
                      <a:pt x="75" y="42"/>
                    </a:cubicBezTo>
                    <a:cubicBezTo>
                      <a:pt x="74" y="42"/>
                      <a:pt x="74" y="42"/>
                      <a:pt x="74" y="42"/>
                    </a:cubicBezTo>
                    <a:cubicBezTo>
                      <a:pt x="74" y="42"/>
                      <a:pt x="75" y="43"/>
                      <a:pt x="76" y="43"/>
                    </a:cubicBezTo>
                    <a:cubicBezTo>
                      <a:pt x="76" y="42"/>
                      <a:pt x="76" y="43"/>
                      <a:pt x="76" y="43"/>
                    </a:cubicBezTo>
                    <a:cubicBezTo>
                      <a:pt x="77" y="43"/>
                      <a:pt x="77" y="43"/>
                      <a:pt x="77" y="43"/>
                    </a:cubicBezTo>
                    <a:cubicBezTo>
                      <a:pt x="77" y="43"/>
                      <a:pt x="77" y="43"/>
                      <a:pt x="77" y="43"/>
                    </a:cubicBezTo>
                    <a:cubicBezTo>
                      <a:pt x="77" y="44"/>
                      <a:pt x="77" y="43"/>
                      <a:pt x="76" y="44"/>
                    </a:cubicBezTo>
                    <a:cubicBezTo>
                      <a:pt x="77" y="43"/>
                      <a:pt x="77" y="44"/>
                      <a:pt x="77" y="44"/>
                    </a:cubicBezTo>
                    <a:cubicBezTo>
                      <a:pt x="77" y="44"/>
                      <a:pt x="77" y="44"/>
                      <a:pt x="77" y="44"/>
                    </a:cubicBezTo>
                    <a:cubicBezTo>
                      <a:pt x="78" y="44"/>
                      <a:pt x="76" y="45"/>
                      <a:pt x="76" y="45"/>
                    </a:cubicBezTo>
                    <a:cubicBezTo>
                      <a:pt x="76" y="46"/>
                      <a:pt x="75" y="46"/>
                      <a:pt x="75" y="46"/>
                    </a:cubicBezTo>
                    <a:cubicBezTo>
                      <a:pt x="75" y="46"/>
                      <a:pt x="75" y="46"/>
                      <a:pt x="74" y="47"/>
                    </a:cubicBezTo>
                    <a:cubicBezTo>
                      <a:pt x="74" y="47"/>
                      <a:pt x="74" y="46"/>
                      <a:pt x="74" y="47"/>
                    </a:cubicBezTo>
                    <a:cubicBezTo>
                      <a:pt x="74" y="47"/>
                      <a:pt x="73" y="47"/>
                      <a:pt x="73" y="47"/>
                    </a:cubicBezTo>
                    <a:cubicBezTo>
                      <a:pt x="73" y="48"/>
                      <a:pt x="73" y="48"/>
                      <a:pt x="73" y="49"/>
                    </a:cubicBezTo>
                    <a:cubicBezTo>
                      <a:pt x="72" y="49"/>
                      <a:pt x="72" y="49"/>
                      <a:pt x="72" y="50"/>
                    </a:cubicBezTo>
                    <a:cubicBezTo>
                      <a:pt x="72" y="50"/>
                      <a:pt x="71" y="50"/>
                      <a:pt x="71" y="50"/>
                    </a:cubicBezTo>
                    <a:cubicBezTo>
                      <a:pt x="71" y="50"/>
                      <a:pt x="72" y="50"/>
                      <a:pt x="72" y="50"/>
                    </a:cubicBezTo>
                    <a:cubicBezTo>
                      <a:pt x="72" y="51"/>
                      <a:pt x="71" y="50"/>
                      <a:pt x="71" y="50"/>
                    </a:cubicBezTo>
                    <a:cubicBezTo>
                      <a:pt x="71" y="51"/>
                      <a:pt x="71" y="51"/>
                      <a:pt x="71" y="51"/>
                    </a:cubicBezTo>
                    <a:cubicBezTo>
                      <a:pt x="70" y="51"/>
                      <a:pt x="70" y="50"/>
                      <a:pt x="70" y="50"/>
                    </a:cubicBezTo>
                    <a:cubicBezTo>
                      <a:pt x="70" y="50"/>
                      <a:pt x="70" y="51"/>
                      <a:pt x="69" y="51"/>
                    </a:cubicBezTo>
                    <a:cubicBezTo>
                      <a:pt x="69" y="51"/>
                      <a:pt x="70" y="52"/>
                      <a:pt x="69" y="52"/>
                    </a:cubicBezTo>
                    <a:cubicBezTo>
                      <a:pt x="69" y="51"/>
                      <a:pt x="69" y="50"/>
                      <a:pt x="68" y="51"/>
                    </a:cubicBezTo>
                    <a:cubicBezTo>
                      <a:pt x="68" y="52"/>
                      <a:pt x="68" y="52"/>
                      <a:pt x="67" y="52"/>
                    </a:cubicBezTo>
                    <a:cubicBezTo>
                      <a:pt x="67" y="52"/>
                      <a:pt x="66" y="52"/>
                      <a:pt x="67" y="52"/>
                    </a:cubicBezTo>
                    <a:cubicBezTo>
                      <a:pt x="66" y="52"/>
                      <a:pt x="66" y="52"/>
                      <a:pt x="65" y="53"/>
                    </a:cubicBezTo>
                    <a:cubicBezTo>
                      <a:pt x="65" y="53"/>
                      <a:pt x="65" y="53"/>
                      <a:pt x="65" y="53"/>
                    </a:cubicBezTo>
                    <a:cubicBezTo>
                      <a:pt x="64" y="53"/>
                      <a:pt x="65" y="53"/>
                      <a:pt x="65" y="54"/>
                    </a:cubicBezTo>
                    <a:cubicBezTo>
                      <a:pt x="64" y="54"/>
                      <a:pt x="64" y="54"/>
                      <a:pt x="64" y="54"/>
                    </a:cubicBezTo>
                    <a:cubicBezTo>
                      <a:pt x="63" y="53"/>
                      <a:pt x="63" y="53"/>
                      <a:pt x="63" y="53"/>
                    </a:cubicBezTo>
                    <a:cubicBezTo>
                      <a:pt x="62" y="53"/>
                      <a:pt x="63" y="53"/>
                      <a:pt x="62" y="53"/>
                    </a:cubicBezTo>
                    <a:cubicBezTo>
                      <a:pt x="62" y="53"/>
                      <a:pt x="64" y="54"/>
                      <a:pt x="63" y="54"/>
                    </a:cubicBezTo>
                    <a:cubicBezTo>
                      <a:pt x="62" y="54"/>
                      <a:pt x="62" y="54"/>
                      <a:pt x="62" y="54"/>
                    </a:cubicBezTo>
                    <a:cubicBezTo>
                      <a:pt x="62" y="54"/>
                      <a:pt x="62" y="54"/>
                      <a:pt x="62" y="54"/>
                    </a:cubicBezTo>
                    <a:cubicBezTo>
                      <a:pt x="61" y="53"/>
                      <a:pt x="61" y="55"/>
                      <a:pt x="61" y="55"/>
                    </a:cubicBezTo>
                    <a:cubicBezTo>
                      <a:pt x="60" y="55"/>
                      <a:pt x="60" y="55"/>
                      <a:pt x="60" y="56"/>
                    </a:cubicBezTo>
                    <a:cubicBezTo>
                      <a:pt x="60" y="56"/>
                      <a:pt x="60" y="56"/>
                      <a:pt x="59" y="56"/>
                    </a:cubicBezTo>
                    <a:cubicBezTo>
                      <a:pt x="59" y="56"/>
                      <a:pt x="60" y="56"/>
                      <a:pt x="60" y="56"/>
                    </a:cubicBezTo>
                    <a:cubicBezTo>
                      <a:pt x="60" y="56"/>
                      <a:pt x="59" y="56"/>
                      <a:pt x="59" y="56"/>
                    </a:cubicBezTo>
                    <a:cubicBezTo>
                      <a:pt x="59" y="56"/>
                      <a:pt x="58" y="55"/>
                      <a:pt x="58" y="56"/>
                    </a:cubicBezTo>
                    <a:cubicBezTo>
                      <a:pt x="58" y="56"/>
                      <a:pt x="58" y="56"/>
                      <a:pt x="58" y="56"/>
                    </a:cubicBezTo>
                    <a:cubicBezTo>
                      <a:pt x="58" y="56"/>
                      <a:pt x="58" y="56"/>
                      <a:pt x="58" y="56"/>
                    </a:cubicBezTo>
                    <a:cubicBezTo>
                      <a:pt x="58" y="56"/>
                      <a:pt x="59" y="56"/>
                      <a:pt x="58" y="56"/>
                    </a:cubicBezTo>
                    <a:cubicBezTo>
                      <a:pt x="58" y="56"/>
                      <a:pt x="57" y="56"/>
                      <a:pt x="57" y="56"/>
                    </a:cubicBezTo>
                    <a:cubicBezTo>
                      <a:pt x="57" y="56"/>
                      <a:pt x="57" y="56"/>
                      <a:pt x="58" y="56"/>
                    </a:cubicBezTo>
                    <a:cubicBezTo>
                      <a:pt x="57" y="56"/>
                      <a:pt x="57" y="56"/>
                      <a:pt x="57" y="56"/>
                    </a:cubicBezTo>
                    <a:cubicBezTo>
                      <a:pt x="57" y="56"/>
                      <a:pt x="57" y="56"/>
                      <a:pt x="57" y="57"/>
                    </a:cubicBezTo>
                    <a:cubicBezTo>
                      <a:pt x="57" y="57"/>
                      <a:pt x="56" y="57"/>
                      <a:pt x="56" y="57"/>
                    </a:cubicBezTo>
                    <a:cubicBezTo>
                      <a:pt x="56" y="57"/>
                      <a:pt x="56" y="57"/>
                      <a:pt x="56" y="57"/>
                    </a:cubicBezTo>
                    <a:cubicBezTo>
                      <a:pt x="56" y="57"/>
                      <a:pt x="56" y="57"/>
                      <a:pt x="56" y="57"/>
                    </a:cubicBezTo>
                    <a:cubicBezTo>
                      <a:pt x="56" y="57"/>
                      <a:pt x="56" y="57"/>
                      <a:pt x="56" y="58"/>
                    </a:cubicBezTo>
                    <a:cubicBezTo>
                      <a:pt x="55" y="58"/>
                      <a:pt x="55" y="58"/>
                      <a:pt x="55" y="58"/>
                    </a:cubicBezTo>
                    <a:cubicBezTo>
                      <a:pt x="55" y="58"/>
                      <a:pt x="55" y="58"/>
                      <a:pt x="55" y="58"/>
                    </a:cubicBezTo>
                    <a:cubicBezTo>
                      <a:pt x="55" y="58"/>
                      <a:pt x="55" y="58"/>
                      <a:pt x="54" y="58"/>
                    </a:cubicBezTo>
                    <a:cubicBezTo>
                      <a:pt x="54" y="58"/>
                      <a:pt x="54" y="58"/>
                      <a:pt x="54" y="58"/>
                    </a:cubicBezTo>
                    <a:cubicBezTo>
                      <a:pt x="54" y="58"/>
                      <a:pt x="56" y="58"/>
                      <a:pt x="56" y="59"/>
                    </a:cubicBezTo>
                    <a:cubicBezTo>
                      <a:pt x="56" y="59"/>
                      <a:pt x="55" y="59"/>
                      <a:pt x="55" y="59"/>
                    </a:cubicBezTo>
                    <a:cubicBezTo>
                      <a:pt x="55" y="59"/>
                      <a:pt x="55" y="59"/>
                      <a:pt x="56" y="59"/>
                    </a:cubicBezTo>
                    <a:cubicBezTo>
                      <a:pt x="56" y="59"/>
                      <a:pt x="56" y="59"/>
                      <a:pt x="55" y="59"/>
                    </a:cubicBezTo>
                    <a:cubicBezTo>
                      <a:pt x="56" y="59"/>
                      <a:pt x="55" y="60"/>
                      <a:pt x="55" y="60"/>
                    </a:cubicBezTo>
                    <a:cubicBezTo>
                      <a:pt x="55" y="60"/>
                      <a:pt x="55" y="60"/>
                      <a:pt x="54" y="60"/>
                    </a:cubicBezTo>
                    <a:cubicBezTo>
                      <a:pt x="53" y="59"/>
                      <a:pt x="53" y="60"/>
                      <a:pt x="54" y="60"/>
                    </a:cubicBezTo>
                    <a:cubicBezTo>
                      <a:pt x="54" y="61"/>
                      <a:pt x="52" y="61"/>
                      <a:pt x="52" y="60"/>
                    </a:cubicBezTo>
                    <a:cubicBezTo>
                      <a:pt x="52" y="60"/>
                      <a:pt x="53" y="60"/>
                      <a:pt x="53" y="60"/>
                    </a:cubicBezTo>
                    <a:cubicBezTo>
                      <a:pt x="53" y="60"/>
                      <a:pt x="51" y="60"/>
                      <a:pt x="51" y="60"/>
                    </a:cubicBezTo>
                    <a:cubicBezTo>
                      <a:pt x="51" y="60"/>
                      <a:pt x="51" y="59"/>
                      <a:pt x="51" y="59"/>
                    </a:cubicBezTo>
                    <a:cubicBezTo>
                      <a:pt x="51" y="59"/>
                      <a:pt x="50" y="59"/>
                      <a:pt x="51" y="59"/>
                    </a:cubicBezTo>
                    <a:cubicBezTo>
                      <a:pt x="50" y="59"/>
                      <a:pt x="50" y="58"/>
                      <a:pt x="50" y="58"/>
                    </a:cubicBezTo>
                    <a:cubicBezTo>
                      <a:pt x="50" y="58"/>
                      <a:pt x="50" y="57"/>
                      <a:pt x="50" y="58"/>
                    </a:cubicBezTo>
                    <a:cubicBezTo>
                      <a:pt x="50" y="58"/>
                      <a:pt x="50" y="59"/>
                      <a:pt x="49" y="58"/>
                    </a:cubicBezTo>
                    <a:cubicBezTo>
                      <a:pt x="50" y="59"/>
                      <a:pt x="50" y="59"/>
                      <a:pt x="51" y="59"/>
                    </a:cubicBezTo>
                    <a:cubicBezTo>
                      <a:pt x="51" y="59"/>
                      <a:pt x="51" y="60"/>
                      <a:pt x="51" y="60"/>
                    </a:cubicBezTo>
                    <a:cubicBezTo>
                      <a:pt x="52" y="61"/>
                      <a:pt x="52" y="61"/>
                      <a:pt x="52" y="61"/>
                    </a:cubicBezTo>
                    <a:cubicBezTo>
                      <a:pt x="52" y="62"/>
                      <a:pt x="51" y="61"/>
                      <a:pt x="51" y="62"/>
                    </a:cubicBezTo>
                    <a:cubicBezTo>
                      <a:pt x="52" y="62"/>
                      <a:pt x="51" y="63"/>
                      <a:pt x="51" y="63"/>
                    </a:cubicBezTo>
                    <a:cubicBezTo>
                      <a:pt x="51" y="63"/>
                      <a:pt x="49" y="63"/>
                      <a:pt x="50" y="64"/>
                    </a:cubicBezTo>
                    <a:cubicBezTo>
                      <a:pt x="50" y="64"/>
                      <a:pt x="49" y="64"/>
                      <a:pt x="49" y="64"/>
                    </a:cubicBezTo>
                    <a:cubicBezTo>
                      <a:pt x="48" y="63"/>
                      <a:pt x="48" y="63"/>
                      <a:pt x="48" y="63"/>
                    </a:cubicBezTo>
                    <a:cubicBezTo>
                      <a:pt x="47" y="63"/>
                      <a:pt x="48" y="64"/>
                      <a:pt x="47" y="64"/>
                    </a:cubicBezTo>
                    <a:cubicBezTo>
                      <a:pt x="48" y="64"/>
                      <a:pt x="47" y="65"/>
                      <a:pt x="48" y="65"/>
                    </a:cubicBezTo>
                    <a:cubicBezTo>
                      <a:pt x="48" y="65"/>
                      <a:pt x="49" y="65"/>
                      <a:pt x="48" y="66"/>
                    </a:cubicBezTo>
                    <a:cubicBezTo>
                      <a:pt x="48" y="66"/>
                      <a:pt x="50" y="66"/>
                      <a:pt x="50" y="66"/>
                    </a:cubicBezTo>
                    <a:cubicBezTo>
                      <a:pt x="50" y="66"/>
                      <a:pt x="49" y="66"/>
                      <a:pt x="49" y="66"/>
                    </a:cubicBezTo>
                    <a:cubicBezTo>
                      <a:pt x="49" y="66"/>
                      <a:pt x="49" y="66"/>
                      <a:pt x="49" y="66"/>
                    </a:cubicBezTo>
                    <a:cubicBezTo>
                      <a:pt x="49" y="66"/>
                      <a:pt x="48" y="66"/>
                      <a:pt x="49" y="66"/>
                    </a:cubicBezTo>
                    <a:cubicBezTo>
                      <a:pt x="49" y="67"/>
                      <a:pt x="49" y="67"/>
                      <a:pt x="48" y="67"/>
                    </a:cubicBezTo>
                    <a:cubicBezTo>
                      <a:pt x="48" y="67"/>
                      <a:pt x="48" y="67"/>
                      <a:pt x="48" y="68"/>
                    </a:cubicBezTo>
                    <a:cubicBezTo>
                      <a:pt x="48" y="68"/>
                      <a:pt x="48" y="68"/>
                      <a:pt x="48" y="68"/>
                    </a:cubicBezTo>
                    <a:cubicBezTo>
                      <a:pt x="48" y="68"/>
                      <a:pt x="48" y="68"/>
                      <a:pt x="48" y="68"/>
                    </a:cubicBezTo>
                    <a:cubicBezTo>
                      <a:pt x="48" y="68"/>
                      <a:pt x="47" y="69"/>
                      <a:pt x="48" y="69"/>
                    </a:cubicBezTo>
                    <a:cubicBezTo>
                      <a:pt x="48" y="70"/>
                      <a:pt x="47" y="70"/>
                      <a:pt x="48" y="70"/>
                    </a:cubicBezTo>
                    <a:cubicBezTo>
                      <a:pt x="48" y="70"/>
                      <a:pt x="48" y="71"/>
                      <a:pt x="48" y="71"/>
                    </a:cubicBezTo>
                    <a:cubicBezTo>
                      <a:pt x="48" y="71"/>
                      <a:pt x="49" y="71"/>
                      <a:pt x="49" y="71"/>
                    </a:cubicBezTo>
                    <a:cubicBezTo>
                      <a:pt x="49" y="72"/>
                      <a:pt x="48" y="72"/>
                      <a:pt x="48" y="72"/>
                    </a:cubicBezTo>
                    <a:cubicBezTo>
                      <a:pt x="48" y="71"/>
                      <a:pt x="47" y="71"/>
                      <a:pt x="47" y="71"/>
                    </a:cubicBezTo>
                    <a:cubicBezTo>
                      <a:pt x="47" y="71"/>
                      <a:pt x="46" y="71"/>
                      <a:pt x="46" y="71"/>
                    </a:cubicBezTo>
                    <a:cubicBezTo>
                      <a:pt x="46" y="71"/>
                      <a:pt x="47" y="71"/>
                      <a:pt x="47" y="72"/>
                    </a:cubicBezTo>
                    <a:cubicBezTo>
                      <a:pt x="47" y="72"/>
                      <a:pt x="46" y="72"/>
                      <a:pt x="46" y="72"/>
                    </a:cubicBezTo>
                    <a:cubicBezTo>
                      <a:pt x="46" y="72"/>
                      <a:pt x="47" y="72"/>
                      <a:pt x="47" y="72"/>
                    </a:cubicBezTo>
                    <a:cubicBezTo>
                      <a:pt x="47" y="72"/>
                      <a:pt x="46" y="72"/>
                      <a:pt x="46" y="72"/>
                    </a:cubicBezTo>
                    <a:cubicBezTo>
                      <a:pt x="46" y="72"/>
                      <a:pt x="46" y="72"/>
                      <a:pt x="46" y="72"/>
                    </a:cubicBezTo>
                    <a:cubicBezTo>
                      <a:pt x="46" y="72"/>
                      <a:pt x="46" y="73"/>
                      <a:pt x="47" y="73"/>
                    </a:cubicBezTo>
                    <a:cubicBezTo>
                      <a:pt x="46" y="73"/>
                      <a:pt x="46" y="73"/>
                      <a:pt x="46" y="73"/>
                    </a:cubicBezTo>
                    <a:cubicBezTo>
                      <a:pt x="46" y="73"/>
                      <a:pt x="47" y="73"/>
                      <a:pt x="46" y="73"/>
                    </a:cubicBezTo>
                    <a:cubicBezTo>
                      <a:pt x="47" y="73"/>
                      <a:pt x="46" y="74"/>
                      <a:pt x="47" y="74"/>
                    </a:cubicBezTo>
                    <a:cubicBezTo>
                      <a:pt x="45" y="74"/>
                      <a:pt x="47" y="75"/>
                      <a:pt x="47" y="75"/>
                    </a:cubicBezTo>
                    <a:cubicBezTo>
                      <a:pt x="47" y="75"/>
                      <a:pt x="47" y="75"/>
                      <a:pt x="46" y="75"/>
                    </a:cubicBezTo>
                    <a:cubicBezTo>
                      <a:pt x="47" y="75"/>
                      <a:pt x="47" y="75"/>
                      <a:pt x="47" y="75"/>
                    </a:cubicBezTo>
                    <a:cubicBezTo>
                      <a:pt x="47" y="75"/>
                      <a:pt x="46" y="75"/>
                      <a:pt x="46" y="75"/>
                    </a:cubicBezTo>
                    <a:cubicBezTo>
                      <a:pt x="46" y="75"/>
                      <a:pt x="47" y="75"/>
                      <a:pt x="47" y="76"/>
                    </a:cubicBezTo>
                    <a:cubicBezTo>
                      <a:pt x="47" y="76"/>
                      <a:pt x="47" y="76"/>
                      <a:pt x="47" y="77"/>
                    </a:cubicBezTo>
                    <a:cubicBezTo>
                      <a:pt x="47" y="77"/>
                      <a:pt x="47" y="77"/>
                      <a:pt x="46" y="77"/>
                    </a:cubicBezTo>
                    <a:cubicBezTo>
                      <a:pt x="46" y="77"/>
                      <a:pt x="47" y="77"/>
                      <a:pt x="47" y="77"/>
                    </a:cubicBezTo>
                    <a:cubicBezTo>
                      <a:pt x="47" y="77"/>
                      <a:pt x="46" y="78"/>
                      <a:pt x="47" y="78"/>
                    </a:cubicBezTo>
                    <a:cubicBezTo>
                      <a:pt x="46" y="78"/>
                      <a:pt x="47" y="79"/>
                      <a:pt x="48" y="79"/>
                    </a:cubicBezTo>
                    <a:cubicBezTo>
                      <a:pt x="48" y="80"/>
                      <a:pt x="47" y="80"/>
                      <a:pt x="48" y="80"/>
                    </a:cubicBezTo>
                    <a:cubicBezTo>
                      <a:pt x="48" y="81"/>
                      <a:pt x="47" y="81"/>
                      <a:pt x="47" y="81"/>
                    </a:cubicBezTo>
                    <a:cubicBezTo>
                      <a:pt x="47" y="81"/>
                      <a:pt x="49" y="82"/>
                      <a:pt x="49" y="82"/>
                    </a:cubicBezTo>
                    <a:cubicBezTo>
                      <a:pt x="49" y="82"/>
                      <a:pt x="50" y="82"/>
                      <a:pt x="50" y="82"/>
                    </a:cubicBezTo>
                    <a:cubicBezTo>
                      <a:pt x="51" y="82"/>
                      <a:pt x="50" y="82"/>
                      <a:pt x="50" y="82"/>
                    </a:cubicBezTo>
                    <a:cubicBezTo>
                      <a:pt x="50" y="82"/>
                      <a:pt x="51" y="83"/>
                      <a:pt x="51" y="83"/>
                    </a:cubicBezTo>
                    <a:cubicBezTo>
                      <a:pt x="51" y="83"/>
                      <a:pt x="51" y="83"/>
                      <a:pt x="52" y="82"/>
                    </a:cubicBezTo>
                    <a:cubicBezTo>
                      <a:pt x="52" y="82"/>
                      <a:pt x="52" y="82"/>
                      <a:pt x="53" y="82"/>
                    </a:cubicBezTo>
                    <a:cubicBezTo>
                      <a:pt x="53" y="82"/>
                      <a:pt x="54" y="83"/>
                      <a:pt x="53" y="83"/>
                    </a:cubicBezTo>
                    <a:cubicBezTo>
                      <a:pt x="54" y="83"/>
                      <a:pt x="55" y="84"/>
                      <a:pt x="55" y="84"/>
                    </a:cubicBezTo>
                    <a:cubicBezTo>
                      <a:pt x="55" y="85"/>
                      <a:pt x="55" y="85"/>
                      <a:pt x="55" y="85"/>
                    </a:cubicBezTo>
                    <a:cubicBezTo>
                      <a:pt x="56" y="85"/>
                      <a:pt x="56" y="85"/>
                      <a:pt x="57" y="85"/>
                    </a:cubicBezTo>
                    <a:cubicBezTo>
                      <a:pt x="57" y="85"/>
                      <a:pt x="57" y="85"/>
                      <a:pt x="57" y="85"/>
                    </a:cubicBezTo>
                    <a:cubicBezTo>
                      <a:pt x="57" y="85"/>
                      <a:pt x="57" y="85"/>
                      <a:pt x="57" y="85"/>
                    </a:cubicBezTo>
                    <a:cubicBezTo>
                      <a:pt x="57" y="85"/>
                      <a:pt x="59" y="86"/>
                      <a:pt x="58" y="86"/>
                    </a:cubicBezTo>
                    <a:cubicBezTo>
                      <a:pt x="58" y="86"/>
                      <a:pt x="57" y="86"/>
                      <a:pt x="56" y="85"/>
                    </a:cubicBezTo>
                    <a:cubicBezTo>
                      <a:pt x="57" y="86"/>
                      <a:pt x="57" y="86"/>
                      <a:pt x="57" y="86"/>
                    </a:cubicBezTo>
                    <a:cubicBezTo>
                      <a:pt x="57" y="86"/>
                      <a:pt x="57" y="86"/>
                      <a:pt x="57" y="86"/>
                    </a:cubicBezTo>
                    <a:cubicBezTo>
                      <a:pt x="57" y="87"/>
                      <a:pt x="58" y="87"/>
                      <a:pt x="58" y="88"/>
                    </a:cubicBezTo>
                    <a:cubicBezTo>
                      <a:pt x="58" y="87"/>
                      <a:pt x="58" y="87"/>
                      <a:pt x="58" y="87"/>
                    </a:cubicBezTo>
                    <a:cubicBezTo>
                      <a:pt x="59" y="87"/>
                      <a:pt x="59" y="87"/>
                      <a:pt x="60" y="87"/>
                    </a:cubicBezTo>
                    <a:cubicBezTo>
                      <a:pt x="60" y="86"/>
                      <a:pt x="60" y="88"/>
                      <a:pt x="60" y="88"/>
                    </a:cubicBezTo>
                    <a:cubicBezTo>
                      <a:pt x="60" y="88"/>
                      <a:pt x="61" y="89"/>
                      <a:pt x="61" y="89"/>
                    </a:cubicBezTo>
                    <a:cubicBezTo>
                      <a:pt x="61" y="89"/>
                      <a:pt x="61" y="89"/>
                      <a:pt x="62" y="89"/>
                    </a:cubicBezTo>
                    <a:cubicBezTo>
                      <a:pt x="61" y="89"/>
                      <a:pt x="63" y="90"/>
                      <a:pt x="62" y="90"/>
                    </a:cubicBezTo>
                    <a:cubicBezTo>
                      <a:pt x="61" y="90"/>
                      <a:pt x="61" y="89"/>
                      <a:pt x="60" y="89"/>
                    </a:cubicBezTo>
                    <a:cubicBezTo>
                      <a:pt x="61" y="89"/>
                      <a:pt x="62" y="90"/>
                      <a:pt x="61" y="90"/>
                    </a:cubicBezTo>
                    <a:cubicBezTo>
                      <a:pt x="62" y="91"/>
                      <a:pt x="63" y="91"/>
                      <a:pt x="62" y="91"/>
                    </a:cubicBezTo>
                    <a:cubicBezTo>
                      <a:pt x="61" y="91"/>
                      <a:pt x="61" y="91"/>
                      <a:pt x="61" y="91"/>
                    </a:cubicBezTo>
                    <a:cubicBezTo>
                      <a:pt x="61" y="91"/>
                      <a:pt x="60" y="91"/>
                      <a:pt x="59" y="91"/>
                    </a:cubicBezTo>
                    <a:cubicBezTo>
                      <a:pt x="60" y="92"/>
                      <a:pt x="59" y="92"/>
                      <a:pt x="59" y="92"/>
                    </a:cubicBezTo>
                    <a:cubicBezTo>
                      <a:pt x="59" y="92"/>
                      <a:pt x="60" y="92"/>
                      <a:pt x="60" y="92"/>
                    </a:cubicBezTo>
                    <a:cubicBezTo>
                      <a:pt x="59" y="92"/>
                      <a:pt x="60" y="92"/>
                      <a:pt x="59" y="92"/>
                    </a:cubicBezTo>
                    <a:cubicBezTo>
                      <a:pt x="59" y="93"/>
                      <a:pt x="57" y="94"/>
                      <a:pt x="56" y="94"/>
                    </a:cubicBezTo>
                    <a:cubicBezTo>
                      <a:pt x="56" y="94"/>
                      <a:pt x="56" y="94"/>
                      <a:pt x="56" y="94"/>
                    </a:cubicBezTo>
                    <a:cubicBezTo>
                      <a:pt x="56" y="94"/>
                      <a:pt x="57" y="94"/>
                      <a:pt x="57" y="94"/>
                    </a:cubicBezTo>
                    <a:cubicBezTo>
                      <a:pt x="57" y="94"/>
                      <a:pt x="56" y="94"/>
                      <a:pt x="56" y="94"/>
                    </a:cubicBezTo>
                    <a:cubicBezTo>
                      <a:pt x="55" y="94"/>
                      <a:pt x="55" y="94"/>
                      <a:pt x="56" y="94"/>
                    </a:cubicBezTo>
                    <a:cubicBezTo>
                      <a:pt x="55" y="93"/>
                      <a:pt x="55" y="94"/>
                      <a:pt x="55" y="94"/>
                    </a:cubicBezTo>
                    <a:cubicBezTo>
                      <a:pt x="55" y="95"/>
                      <a:pt x="55" y="95"/>
                      <a:pt x="55" y="95"/>
                    </a:cubicBezTo>
                    <a:cubicBezTo>
                      <a:pt x="55" y="95"/>
                      <a:pt x="56" y="95"/>
                      <a:pt x="56" y="95"/>
                    </a:cubicBezTo>
                    <a:cubicBezTo>
                      <a:pt x="57" y="95"/>
                      <a:pt x="58" y="95"/>
                      <a:pt x="58" y="95"/>
                    </a:cubicBezTo>
                    <a:cubicBezTo>
                      <a:pt x="58" y="95"/>
                      <a:pt x="57" y="94"/>
                      <a:pt x="57" y="94"/>
                    </a:cubicBezTo>
                    <a:cubicBezTo>
                      <a:pt x="58" y="94"/>
                      <a:pt x="59" y="94"/>
                      <a:pt x="59" y="95"/>
                    </a:cubicBezTo>
                    <a:cubicBezTo>
                      <a:pt x="59" y="95"/>
                      <a:pt x="59" y="95"/>
                      <a:pt x="58" y="95"/>
                    </a:cubicBezTo>
                    <a:cubicBezTo>
                      <a:pt x="59" y="95"/>
                      <a:pt x="59" y="95"/>
                      <a:pt x="59" y="95"/>
                    </a:cubicBezTo>
                    <a:cubicBezTo>
                      <a:pt x="60" y="96"/>
                      <a:pt x="57" y="95"/>
                      <a:pt x="57" y="95"/>
                    </a:cubicBezTo>
                    <a:cubicBezTo>
                      <a:pt x="57" y="95"/>
                      <a:pt x="59" y="96"/>
                      <a:pt x="59" y="96"/>
                    </a:cubicBezTo>
                    <a:cubicBezTo>
                      <a:pt x="58" y="96"/>
                      <a:pt x="58" y="96"/>
                      <a:pt x="57" y="96"/>
                    </a:cubicBezTo>
                    <a:cubicBezTo>
                      <a:pt x="57" y="96"/>
                      <a:pt x="57" y="96"/>
                      <a:pt x="57" y="95"/>
                    </a:cubicBezTo>
                    <a:cubicBezTo>
                      <a:pt x="57" y="95"/>
                      <a:pt x="57" y="95"/>
                      <a:pt x="57" y="95"/>
                    </a:cubicBezTo>
                    <a:cubicBezTo>
                      <a:pt x="56" y="95"/>
                      <a:pt x="56" y="95"/>
                      <a:pt x="57" y="96"/>
                    </a:cubicBezTo>
                    <a:cubicBezTo>
                      <a:pt x="56" y="96"/>
                      <a:pt x="56" y="96"/>
                      <a:pt x="56" y="96"/>
                    </a:cubicBezTo>
                    <a:cubicBezTo>
                      <a:pt x="57" y="96"/>
                      <a:pt x="57" y="96"/>
                      <a:pt x="57" y="96"/>
                    </a:cubicBezTo>
                    <a:cubicBezTo>
                      <a:pt x="57" y="96"/>
                      <a:pt x="57" y="96"/>
                      <a:pt x="57" y="96"/>
                    </a:cubicBezTo>
                    <a:cubicBezTo>
                      <a:pt x="57" y="97"/>
                      <a:pt x="57" y="96"/>
                      <a:pt x="58" y="97"/>
                    </a:cubicBezTo>
                    <a:cubicBezTo>
                      <a:pt x="57" y="97"/>
                      <a:pt x="57" y="97"/>
                      <a:pt x="56" y="97"/>
                    </a:cubicBezTo>
                    <a:cubicBezTo>
                      <a:pt x="57" y="97"/>
                      <a:pt x="57" y="97"/>
                      <a:pt x="57" y="97"/>
                    </a:cubicBezTo>
                    <a:cubicBezTo>
                      <a:pt x="57" y="98"/>
                      <a:pt x="56" y="98"/>
                      <a:pt x="56" y="98"/>
                    </a:cubicBezTo>
                    <a:cubicBezTo>
                      <a:pt x="56" y="98"/>
                      <a:pt x="56" y="97"/>
                      <a:pt x="56" y="97"/>
                    </a:cubicBezTo>
                    <a:cubicBezTo>
                      <a:pt x="56" y="97"/>
                      <a:pt x="55" y="98"/>
                      <a:pt x="54" y="98"/>
                    </a:cubicBezTo>
                    <a:cubicBezTo>
                      <a:pt x="54" y="98"/>
                      <a:pt x="54" y="98"/>
                      <a:pt x="54" y="99"/>
                    </a:cubicBezTo>
                    <a:cubicBezTo>
                      <a:pt x="54" y="99"/>
                      <a:pt x="54" y="98"/>
                      <a:pt x="55" y="98"/>
                    </a:cubicBezTo>
                    <a:cubicBezTo>
                      <a:pt x="54" y="99"/>
                      <a:pt x="54" y="99"/>
                      <a:pt x="54" y="99"/>
                    </a:cubicBezTo>
                    <a:cubicBezTo>
                      <a:pt x="54" y="99"/>
                      <a:pt x="54" y="100"/>
                      <a:pt x="54" y="99"/>
                    </a:cubicBezTo>
                    <a:cubicBezTo>
                      <a:pt x="54" y="99"/>
                      <a:pt x="53" y="100"/>
                      <a:pt x="54" y="100"/>
                    </a:cubicBezTo>
                    <a:cubicBezTo>
                      <a:pt x="53" y="100"/>
                      <a:pt x="53" y="99"/>
                      <a:pt x="53" y="99"/>
                    </a:cubicBezTo>
                    <a:cubicBezTo>
                      <a:pt x="53" y="99"/>
                      <a:pt x="53" y="99"/>
                      <a:pt x="53" y="99"/>
                    </a:cubicBezTo>
                    <a:cubicBezTo>
                      <a:pt x="53" y="100"/>
                      <a:pt x="53" y="100"/>
                      <a:pt x="53" y="100"/>
                    </a:cubicBezTo>
                    <a:cubicBezTo>
                      <a:pt x="53" y="100"/>
                      <a:pt x="53" y="101"/>
                      <a:pt x="53" y="100"/>
                    </a:cubicBezTo>
                    <a:cubicBezTo>
                      <a:pt x="53" y="100"/>
                      <a:pt x="53" y="99"/>
                      <a:pt x="52" y="99"/>
                    </a:cubicBezTo>
                    <a:cubicBezTo>
                      <a:pt x="53" y="99"/>
                      <a:pt x="53" y="99"/>
                      <a:pt x="53" y="100"/>
                    </a:cubicBezTo>
                    <a:cubicBezTo>
                      <a:pt x="52" y="99"/>
                      <a:pt x="52" y="99"/>
                      <a:pt x="52" y="98"/>
                    </a:cubicBezTo>
                    <a:cubicBezTo>
                      <a:pt x="52" y="98"/>
                      <a:pt x="53" y="97"/>
                      <a:pt x="52" y="97"/>
                    </a:cubicBezTo>
                    <a:cubicBezTo>
                      <a:pt x="52" y="97"/>
                      <a:pt x="52" y="98"/>
                      <a:pt x="52" y="98"/>
                    </a:cubicBezTo>
                    <a:cubicBezTo>
                      <a:pt x="52" y="98"/>
                      <a:pt x="52" y="97"/>
                      <a:pt x="52" y="97"/>
                    </a:cubicBezTo>
                    <a:cubicBezTo>
                      <a:pt x="52" y="97"/>
                      <a:pt x="52" y="97"/>
                      <a:pt x="52" y="97"/>
                    </a:cubicBezTo>
                    <a:cubicBezTo>
                      <a:pt x="51" y="98"/>
                      <a:pt x="51" y="98"/>
                      <a:pt x="51" y="98"/>
                    </a:cubicBezTo>
                    <a:cubicBezTo>
                      <a:pt x="52" y="98"/>
                      <a:pt x="51" y="97"/>
                      <a:pt x="52" y="98"/>
                    </a:cubicBezTo>
                    <a:cubicBezTo>
                      <a:pt x="52" y="98"/>
                      <a:pt x="52" y="99"/>
                      <a:pt x="52" y="99"/>
                    </a:cubicBezTo>
                    <a:cubicBezTo>
                      <a:pt x="52" y="99"/>
                      <a:pt x="52" y="99"/>
                      <a:pt x="51" y="99"/>
                    </a:cubicBezTo>
                    <a:cubicBezTo>
                      <a:pt x="51" y="99"/>
                      <a:pt x="51" y="99"/>
                      <a:pt x="51" y="99"/>
                    </a:cubicBezTo>
                    <a:cubicBezTo>
                      <a:pt x="51" y="99"/>
                      <a:pt x="51" y="99"/>
                      <a:pt x="51" y="99"/>
                    </a:cubicBezTo>
                    <a:cubicBezTo>
                      <a:pt x="52" y="99"/>
                      <a:pt x="51" y="100"/>
                      <a:pt x="51" y="99"/>
                    </a:cubicBezTo>
                    <a:cubicBezTo>
                      <a:pt x="52" y="100"/>
                      <a:pt x="50" y="100"/>
                      <a:pt x="50" y="100"/>
                    </a:cubicBezTo>
                    <a:cubicBezTo>
                      <a:pt x="50" y="100"/>
                      <a:pt x="51" y="100"/>
                      <a:pt x="51" y="100"/>
                    </a:cubicBezTo>
                    <a:cubicBezTo>
                      <a:pt x="50" y="100"/>
                      <a:pt x="50" y="100"/>
                      <a:pt x="51" y="101"/>
                    </a:cubicBezTo>
                    <a:cubicBezTo>
                      <a:pt x="50" y="101"/>
                      <a:pt x="50" y="100"/>
                      <a:pt x="49" y="100"/>
                    </a:cubicBezTo>
                    <a:cubicBezTo>
                      <a:pt x="49" y="101"/>
                      <a:pt x="50" y="101"/>
                      <a:pt x="50" y="101"/>
                    </a:cubicBezTo>
                    <a:cubicBezTo>
                      <a:pt x="50" y="101"/>
                      <a:pt x="49" y="101"/>
                      <a:pt x="49" y="101"/>
                    </a:cubicBezTo>
                    <a:cubicBezTo>
                      <a:pt x="49" y="101"/>
                      <a:pt x="48" y="101"/>
                      <a:pt x="48" y="101"/>
                    </a:cubicBezTo>
                    <a:cubicBezTo>
                      <a:pt x="47" y="101"/>
                      <a:pt x="48" y="101"/>
                      <a:pt x="47" y="101"/>
                    </a:cubicBezTo>
                    <a:cubicBezTo>
                      <a:pt x="47" y="101"/>
                      <a:pt x="47" y="101"/>
                      <a:pt x="47" y="101"/>
                    </a:cubicBezTo>
                    <a:cubicBezTo>
                      <a:pt x="47" y="101"/>
                      <a:pt x="47" y="101"/>
                      <a:pt x="47" y="101"/>
                    </a:cubicBezTo>
                    <a:cubicBezTo>
                      <a:pt x="47" y="101"/>
                      <a:pt x="47" y="101"/>
                      <a:pt x="47" y="101"/>
                    </a:cubicBezTo>
                    <a:cubicBezTo>
                      <a:pt x="47" y="101"/>
                      <a:pt x="48" y="101"/>
                      <a:pt x="48" y="101"/>
                    </a:cubicBezTo>
                    <a:cubicBezTo>
                      <a:pt x="48" y="102"/>
                      <a:pt x="47" y="102"/>
                      <a:pt x="46" y="102"/>
                    </a:cubicBezTo>
                    <a:cubicBezTo>
                      <a:pt x="48" y="102"/>
                      <a:pt x="45" y="102"/>
                      <a:pt x="45" y="102"/>
                    </a:cubicBezTo>
                    <a:cubicBezTo>
                      <a:pt x="43" y="102"/>
                      <a:pt x="42" y="102"/>
                      <a:pt x="41" y="102"/>
                    </a:cubicBezTo>
                    <a:cubicBezTo>
                      <a:pt x="41" y="102"/>
                      <a:pt x="41" y="102"/>
                      <a:pt x="41" y="102"/>
                    </a:cubicBezTo>
                    <a:cubicBezTo>
                      <a:pt x="41" y="102"/>
                      <a:pt x="41" y="102"/>
                      <a:pt x="41" y="102"/>
                    </a:cubicBezTo>
                    <a:cubicBezTo>
                      <a:pt x="42" y="102"/>
                      <a:pt x="42" y="103"/>
                      <a:pt x="42" y="102"/>
                    </a:cubicBezTo>
                    <a:cubicBezTo>
                      <a:pt x="42" y="102"/>
                      <a:pt x="42" y="102"/>
                      <a:pt x="42" y="102"/>
                    </a:cubicBezTo>
                    <a:cubicBezTo>
                      <a:pt x="43" y="102"/>
                      <a:pt x="43" y="102"/>
                      <a:pt x="43" y="102"/>
                    </a:cubicBezTo>
                    <a:cubicBezTo>
                      <a:pt x="43" y="102"/>
                      <a:pt x="45" y="103"/>
                      <a:pt x="45" y="103"/>
                    </a:cubicBezTo>
                    <a:cubicBezTo>
                      <a:pt x="45" y="103"/>
                      <a:pt x="46" y="103"/>
                      <a:pt x="46" y="104"/>
                    </a:cubicBezTo>
                    <a:cubicBezTo>
                      <a:pt x="46" y="104"/>
                      <a:pt x="46" y="104"/>
                      <a:pt x="46" y="104"/>
                    </a:cubicBezTo>
                    <a:cubicBezTo>
                      <a:pt x="46" y="104"/>
                      <a:pt x="46" y="104"/>
                      <a:pt x="46" y="104"/>
                    </a:cubicBezTo>
                    <a:cubicBezTo>
                      <a:pt x="45" y="104"/>
                      <a:pt x="45" y="104"/>
                      <a:pt x="44" y="104"/>
                    </a:cubicBezTo>
                    <a:cubicBezTo>
                      <a:pt x="44" y="104"/>
                      <a:pt x="43" y="104"/>
                      <a:pt x="42" y="104"/>
                    </a:cubicBezTo>
                    <a:cubicBezTo>
                      <a:pt x="43" y="104"/>
                      <a:pt x="43" y="104"/>
                      <a:pt x="44" y="104"/>
                    </a:cubicBezTo>
                    <a:cubicBezTo>
                      <a:pt x="44" y="104"/>
                      <a:pt x="44" y="104"/>
                      <a:pt x="45" y="104"/>
                    </a:cubicBezTo>
                    <a:cubicBezTo>
                      <a:pt x="45" y="104"/>
                      <a:pt x="45" y="105"/>
                      <a:pt x="45" y="105"/>
                    </a:cubicBezTo>
                    <a:cubicBezTo>
                      <a:pt x="45" y="105"/>
                      <a:pt x="45" y="105"/>
                      <a:pt x="45" y="105"/>
                    </a:cubicBezTo>
                    <a:cubicBezTo>
                      <a:pt x="45" y="105"/>
                      <a:pt x="44" y="105"/>
                      <a:pt x="44" y="105"/>
                    </a:cubicBezTo>
                    <a:cubicBezTo>
                      <a:pt x="44" y="105"/>
                      <a:pt x="45" y="105"/>
                      <a:pt x="45" y="105"/>
                    </a:cubicBezTo>
                    <a:cubicBezTo>
                      <a:pt x="45" y="106"/>
                      <a:pt x="45" y="106"/>
                      <a:pt x="44" y="106"/>
                    </a:cubicBezTo>
                    <a:cubicBezTo>
                      <a:pt x="45" y="106"/>
                      <a:pt x="46" y="106"/>
                      <a:pt x="46" y="107"/>
                    </a:cubicBezTo>
                    <a:cubicBezTo>
                      <a:pt x="46" y="107"/>
                      <a:pt x="45" y="107"/>
                      <a:pt x="45" y="107"/>
                    </a:cubicBezTo>
                    <a:cubicBezTo>
                      <a:pt x="45" y="107"/>
                      <a:pt x="46" y="107"/>
                      <a:pt x="46" y="107"/>
                    </a:cubicBezTo>
                    <a:cubicBezTo>
                      <a:pt x="45" y="107"/>
                      <a:pt x="45" y="107"/>
                      <a:pt x="45" y="107"/>
                    </a:cubicBezTo>
                    <a:cubicBezTo>
                      <a:pt x="45" y="107"/>
                      <a:pt x="45" y="108"/>
                      <a:pt x="45" y="108"/>
                    </a:cubicBezTo>
                    <a:cubicBezTo>
                      <a:pt x="45" y="108"/>
                      <a:pt x="45" y="108"/>
                      <a:pt x="45" y="108"/>
                    </a:cubicBezTo>
                    <a:cubicBezTo>
                      <a:pt x="45" y="108"/>
                      <a:pt x="44" y="109"/>
                      <a:pt x="44" y="108"/>
                    </a:cubicBezTo>
                    <a:cubicBezTo>
                      <a:pt x="44" y="108"/>
                      <a:pt x="44" y="108"/>
                      <a:pt x="44" y="109"/>
                    </a:cubicBezTo>
                    <a:cubicBezTo>
                      <a:pt x="44" y="109"/>
                      <a:pt x="44" y="109"/>
                      <a:pt x="44" y="109"/>
                    </a:cubicBezTo>
                    <a:cubicBezTo>
                      <a:pt x="44" y="109"/>
                      <a:pt x="45" y="109"/>
                      <a:pt x="45" y="109"/>
                    </a:cubicBezTo>
                    <a:cubicBezTo>
                      <a:pt x="45" y="109"/>
                      <a:pt x="45" y="109"/>
                      <a:pt x="45" y="109"/>
                    </a:cubicBezTo>
                    <a:cubicBezTo>
                      <a:pt x="45" y="109"/>
                      <a:pt x="45" y="109"/>
                      <a:pt x="45" y="109"/>
                    </a:cubicBezTo>
                    <a:cubicBezTo>
                      <a:pt x="45" y="109"/>
                      <a:pt x="45" y="110"/>
                      <a:pt x="45" y="110"/>
                    </a:cubicBezTo>
                    <a:cubicBezTo>
                      <a:pt x="45" y="110"/>
                      <a:pt x="44" y="109"/>
                      <a:pt x="44" y="109"/>
                    </a:cubicBezTo>
                    <a:cubicBezTo>
                      <a:pt x="44" y="110"/>
                      <a:pt x="43" y="109"/>
                      <a:pt x="43" y="109"/>
                    </a:cubicBezTo>
                    <a:cubicBezTo>
                      <a:pt x="43" y="110"/>
                      <a:pt x="43" y="109"/>
                      <a:pt x="43" y="110"/>
                    </a:cubicBezTo>
                    <a:cubicBezTo>
                      <a:pt x="43" y="110"/>
                      <a:pt x="45" y="111"/>
                      <a:pt x="45" y="111"/>
                    </a:cubicBezTo>
                    <a:cubicBezTo>
                      <a:pt x="45" y="111"/>
                      <a:pt x="44" y="111"/>
                      <a:pt x="44" y="111"/>
                    </a:cubicBezTo>
                    <a:cubicBezTo>
                      <a:pt x="44" y="111"/>
                      <a:pt x="45" y="111"/>
                      <a:pt x="45" y="112"/>
                    </a:cubicBezTo>
                    <a:cubicBezTo>
                      <a:pt x="44" y="112"/>
                      <a:pt x="44" y="112"/>
                      <a:pt x="44" y="111"/>
                    </a:cubicBezTo>
                    <a:cubicBezTo>
                      <a:pt x="44" y="111"/>
                      <a:pt x="45" y="112"/>
                      <a:pt x="44" y="112"/>
                    </a:cubicBezTo>
                    <a:cubicBezTo>
                      <a:pt x="44" y="112"/>
                      <a:pt x="44" y="112"/>
                      <a:pt x="44" y="112"/>
                    </a:cubicBezTo>
                    <a:cubicBezTo>
                      <a:pt x="44" y="113"/>
                      <a:pt x="44" y="112"/>
                      <a:pt x="43" y="112"/>
                    </a:cubicBezTo>
                    <a:cubicBezTo>
                      <a:pt x="43" y="113"/>
                      <a:pt x="44" y="113"/>
                      <a:pt x="45" y="113"/>
                    </a:cubicBezTo>
                    <a:cubicBezTo>
                      <a:pt x="44" y="113"/>
                      <a:pt x="45" y="113"/>
                      <a:pt x="45" y="114"/>
                    </a:cubicBezTo>
                    <a:cubicBezTo>
                      <a:pt x="45" y="114"/>
                      <a:pt x="44" y="114"/>
                      <a:pt x="45" y="114"/>
                    </a:cubicBezTo>
                    <a:cubicBezTo>
                      <a:pt x="45" y="114"/>
                      <a:pt x="44" y="114"/>
                      <a:pt x="44" y="114"/>
                    </a:cubicBezTo>
                    <a:cubicBezTo>
                      <a:pt x="44" y="114"/>
                      <a:pt x="44" y="114"/>
                      <a:pt x="45" y="114"/>
                    </a:cubicBezTo>
                    <a:cubicBezTo>
                      <a:pt x="45" y="114"/>
                      <a:pt x="44" y="115"/>
                      <a:pt x="44" y="115"/>
                    </a:cubicBezTo>
                    <a:cubicBezTo>
                      <a:pt x="44" y="116"/>
                      <a:pt x="43" y="116"/>
                      <a:pt x="43" y="116"/>
                    </a:cubicBezTo>
                    <a:cubicBezTo>
                      <a:pt x="43" y="116"/>
                      <a:pt x="43" y="116"/>
                      <a:pt x="43" y="116"/>
                    </a:cubicBezTo>
                    <a:cubicBezTo>
                      <a:pt x="43" y="116"/>
                      <a:pt x="44" y="118"/>
                      <a:pt x="44" y="118"/>
                    </a:cubicBezTo>
                    <a:cubicBezTo>
                      <a:pt x="44" y="118"/>
                      <a:pt x="44" y="118"/>
                      <a:pt x="44" y="118"/>
                    </a:cubicBezTo>
                    <a:cubicBezTo>
                      <a:pt x="44" y="118"/>
                      <a:pt x="44" y="118"/>
                      <a:pt x="44" y="118"/>
                    </a:cubicBezTo>
                    <a:cubicBezTo>
                      <a:pt x="44" y="118"/>
                      <a:pt x="44" y="118"/>
                      <a:pt x="44" y="118"/>
                    </a:cubicBezTo>
                    <a:cubicBezTo>
                      <a:pt x="43" y="118"/>
                      <a:pt x="43" y="119"/>
                      <a:pt x="43" y="118"/>
                    </a:cubicBezTo>
                    <a:cubicBezTo>
                      <a:pt x="44" y="119"/>
                      <a:pt x="43" y="118"/>
                      <a:pt x="43" y="119"/>
                    </a:cubicBezTo>
                    <a:cubicBezTo>
                      <a:pt x="43" y="119"/>
                      <a:pt x="43" y="119"/>
                      <a:pt x="43" y="119"/>
                    </a:cubicBezTo>
                    <a:cubicBezTo>
                      <a:pt x="43" y="119"/>
                      <a:pt x="43" y="120"/>
                      <a:pt x="43" y="120"/>
                    </a:cubicBezTo>
                    <a:cubicBezTo>
                      <a:pt x="43" y="120"/>
                      <a:pt x="43" y="121"/>
                      <a:pt x="43" y="121"/>
                    </a:cubicBezTo>
                    <a:cubicBezTo>
                      <a:pt x="43" y="121"/>
                      <a:pt x="43" y="121"/>
                      <a:pt x="43" y="121"/>
                    </a:cubicBezTo>
                    <a:cubicBezTo>
                      <a:pt x="43" y="121"/>
                      <a:pt x="43" y="121"/>
                      <a:pt x="42" y="121"/>
                    </a:cubicBezTo>
                    <a:cubicBezTo>
                      <a:pt x="43" y="122"/>
                      <a:pt x="43" y="122"/>
                      <a:pt x="42" y="122"/>
                    </a:cubicBezTo>
                    <a:cubicBezTo>
                      <a:pt x="42" y="122"/>
                      <a:pt x="42" y="123"/>
                      <a:pt x="42" y="123"/>
                    </a:cubicBezTo>
                    <a:cubicBezTo>
                      <a:pt x="41" y="124"/>
                      <a:pt x="41" y="124"/>
                      <a:pt x="41" y="125"/>
                    </a:cubicBezTo>
                    <a:cubicBezTo>
                      <a:pt x="40" y="126"/>
                      <a:pt x="40" y="126"/>
                      <a:pt x="39" y="127"/>
                    </a:cubicBezTo>
                    <a:cubicBezTo>
                      <a:pt x="39" y="127"/>
                      <a:pt x="39" y="128"/>
                      <a:pt x="39" y="128"/>
                    </a:cubicBezTo>
                    <a:cubicBezTo>
                      <a:pt x="38" y="128"/>
                      <a:pt x="38" y="127"/>
                      <a:pt x="38" y="127"/>
                    </a:cubicBezTo>
                    <a:cubicBezTo>
                      <a:pt x="38" y="127"/>
                      <a:pt x="38" y="127"/>
                      <a:pt x="37" y="127"/>
                    </a:cubicBezTo>
                    <a:cubicBezTo>
                      <a:pt x="37" y="127"/>
                      <a:pt x="36" y="127"/>
                      <a:pt x="36" y="127"/>
                    </a:cubicBezTo>
                    <a:cubicBezTo>
                      <a:pt x="36" y="127"/>
                      <a:pt x="37" y="127"/>
                      <a:pt x="37" y="127"/>
                    </a:cubicBezTo>
                    <a:cubicBezTo>
                      <a:pt x="36" y="127"/>
                      <a:pt x="36" y="127"/>
                      <a:pt x="36" y="127"/>
                    </a:cubicBezTo>
                    <a:cubicBezTo>
                      <a:pt x="35" y="127"/>
                      <a:pt x="35" y="128"/>
                      <a:pt x="34" y="127"/>
                    </a:cubicBezTo>
                    <a:cubicBezTo>
                      <a:pt x="34" y="127"/>
                      <a:pt x="34" y="127"/>
                      <a:pt x="34" y="127"/>
                    </a:cubicBezTo>
                    <a:cubicBezTo>
                      <a:pt x="34" y="127"/>
                      <a:pt x="34" y="127"/>
                      <a:pt x="33" y="127"/>
                    </a:cubicBezTo>
                    <a:cubicBezTo>
                      <a:pt x="33" y="127"/>
                      <a:pt x="33" y="127"/>
                      <a:pt x="32" y="127"/>
                    </a:cubicBezTo>
                    <a:cubicBezTo>
                      <a:pt x="32" y="127"/>
                      <a:pt x="32" y="127"/>
                      <a:pt x="32" y="127"/>
                    </a:cubicBezTo>
                    <a:cubicBezTo>
                      <a:pt x="32" y="127"/>
                      <a:pt x="32" y="127"/>
                      <a:pt x="32" y="127"/>
                    </a:cubicBezTo>
                    <a:cubicBezTo>
                      <a:pt x="32" y="127"/>
                      <a:pt x="29" y="127"/>
                      <a:pt x="30" y="128"/>
                    </a:cubicBezTo>
                    <a:cubicBezTo>
                      <a:pt x="31" y="129"/>
                      <a:pt x="29" y="129"/>
                      <a:pt x="29" y="128"/>
                    </a:cubicBezTo>
                    <a:cubicBezTo>
                      <a:pt x="28" y="129"/>
                      <a:pt x="28" y="128"/>
                      <a:pt x="28" y="129"/>
                    </a:cubicBezTo>
                    <a:cubicBezTo>
                      <a:pt x="27" y="129"/>
                      <a:pt x="27" y="129"/>
                      <a:pt x="27" y="129"/>
                    </a:cubicBezTo>
                    <a:cubicBezTo>
                      <a:pt x="26" y="130"/>
                      <a:pt x="26" y="130"/>
                      <a:pt x="26" y="131"/>
                    </a:cubicBezTo>
                    <a:cubicBezTo>
                      <a:pt x="25" y="132"/>
                      <a:pt x="26" y="132"/>
                      <a:pt x="26" y="133"/>
                    </a:cubicBezTo>
                    <a:cubicBezTo>
                      <a:pt x="27" y="134"/>
                      <a:pt x="27" y="134"/>
                      <a:pt x="26" y="135"/>
                    </a:cubicBezTo>
                    <a:cubicBezTo>
                      <a:pt x="25" y="136"/>
                      <a:pt x="24" y="135"/>
                      <a:pt x="24" y="135"/>
                    </a:cubicBezTo>
                    <a:cubicBezTo>
                      <a:pt x="23" y="135"/>
                      <a:pt x="22" y="135"/>
                      <a:pt x="21" y="135"/>
                    </a:cubicBezTo>
                    <a:cubicBezTo>
                      <a:pt x="19" y="136"/>
                      <a:pt x="19" y="136"/>
                      <a:pt x="17" y="136"/>
                    </a:cubicBezTo>
                    <a:cubicBezTo>
                      <a:pt x="17" y="135"/>
                      <a:pt x="15" y="135"/>
                      <a:pt x="15" y="135"/>
                    </a:cubicBezTo>
                    <a:cubicBezTo>
                      <a:pt x="15" y="135"/>
                      <a:pt x="15" y="135"/>
                      <a:pt x="15" y="135"/>
                    </a:cubicBezTo>
                    <a:cubicBezTo>
                      <a:pt x="15" y="135"/>
                      <a:pt x="16" y="135"/>
                      <a:pt x="16" y="135"/>
                    </a:cubicBezTo>
                    <a:cubicBezTo>
                      <a:pt x="16" y="134"/>
                      <a:pt x="15" y="134"/>
                      <a:pt x="15" y="134"/>
                    </a:cubicBezTo>
                    <a:cubicBezTo>
                      <a:pt x="15" y="133"/>
                      <a:pt x="16" y="133"/>
                      <a:pt x="16" y="133"/>
                    </a:cubicBezTo>
                    <a:cubicBezTo>
                      <a:pt x="17" y="132"/>
                      <a:pt x="15" y="132"/>
                      <a:pt x="15" y="131"/>
                    </a:cubicBezTo>
                    <a:cubicBezTo>
                      <a:pt x="15" y="132"/>
                      <a:pt x="15" y="131"/>
                      <a:pt x="15" y="131"/>
                    </a:cubicBezTo>
                    <a:cubicBezTo>
                      <a:pt x="15" y="131"/>
                      <a:pt x="15" y="131"/>
                      <a:pt x="15" y="130"/>
                    </a:cubicBezTo>
                    <a:cubicBezTo>
                      <a:pt x="14" y="130"/>
                      <a:pt x="14" y="130"/>
                      <a:pt x="14" y="130"/>
                    </a:cubicBezTo>
                    <a:cubicBezTo>
                      <a:pt x="14" y="129"/>
                      <a:pt x="13" y="128"/>
                      <a:pt x="13" y="128"/>
                    </a:cubicBezTo>
                    <a:cubicBezTo>
                      <a:pt x="12" y="127"/>
                      <a:pt x="12" y="126"/>
                      <a:pt x="11" y="126"/>
                    </a:cubicBezTo>
                    <a:cubicBezTo>
                      <a:pt x="12" y="126"/>
                      <a:pt x="13" y="127"/>
                      <a:pt x="14" y="127"/>
                    </a:cubicBezTo>
                    <a:cubicBezTo>
                      <a:pt x="15" y="127"/>
                      <a:pt x="14" y="126"/>
                      <a:pt x="14" y="125"/>
                    </a:cubicBezTo>
                    <a:cubicBezTo>
                      <a:pt x="14" y="125"/>
                      <a:pt x="12" y="124"/>
                      <a:pt x="13" y="124"/>
                    </a:cubicBezTo>
                    <a:cubicBezTo>
                      <a:pt x="14" y="124"/>
                      <a:pt x="14" y="124"/>
                      <a:pt x="14" y="124"/>
                    </a:cubicBezTo>
                    <a:cubicBezTo>
                      <a:pt x="15" y="125"/>
                      <a:pt x="15" y="124"/>
                      <a:pt x="15" y="123"/>
                    </a:cubicBezTo>
                    <a:cubicBezTo>
                      <a:pt x="15" y="123"/>
                      <a:pt x="15" y="122"/>
                      <a:pt x="15" y="122"/>
                    </a:cubicBezTo>
                    <a:cubicBezTo>
                      <a:pt x="14" y="122"/>
                      <a:pt x="14" y="122"/>
                      <a:pt x="14" y="122"/>
                    </a:cubicBezTo>
                    <a:cubicBezTo>
                      <a:pt x="13" y="122"/>
                      <a:pt x="13" y="121"/>
                      <a:pt x="13" y="121"/>
                    </a:cubicBezTo>
                    <a:cubicBezTo>
                      <a:pt x="12" y="120"/>
                      <a:pt x="12" y="120"/>
                      <a:pt x="11" y="120"/>
                    </a:cubicBezTo>
                    <a:cubicBezTo>
                      <a:pt x="11" y="120"/>
                      <a:pt x="11" y="120"/>
                      <a:pt x="10" y="119"/>
                    </a:cubicBezTo>
                    <a:cubicBezTo>
                      <a:pt x="10" y="119"/>
                      <a:pt x="11" y="119"/>
                      <a:pt x="10" y="118"/>
                    </a:cubicBezTo>
                    <a:cubicBezTo>
                      <a:pt x="10" y="118"/>
                      <a:pt x="10" y="117"/>
                      <a:pt x="9" y="117"/>
                    </a:cubicBezTo>
                    <a:cubicBezTo>
                      <a:pt x="9" y="117"/>
                      <a:pt x="9" y="117"/>
                      <a:pt x="9" y="117"/>
                    </a:cubicBezTo>
                    <a:cubicBezTo>
                      <a:pt x="9" y="117"/>
                      <a:pt x="9" y="117"/>
                      <a:pt x="9" y="117"/>
                    </a:cubicBezTo>
                    <a:cubicBezTo>
                      <a:pt x="9" y="117"/>
                      <a:pt x="9" y="117"/>
                      <a:pt x="9" y="117"/>
                    </a:cubicBezTo>
                    <a:cubicBezTo>
                      <a:pt x="9" y="117"/>
                      <a:pt x="9" y="117"/>
                      <a:pt x="9" y="116"/>
                    </a:cubicBezTo>
                    <a:cubicBezTo>
                      <a:pt x="9" y="116"/>
                      <a:pt x="8" y="116"/>
                      <a:pt x="9" y="116"/>
                    </a:cubicBezTo>
                    <a:cubicBezTo>
                      <a:pt x="8" y="116"/>
                      <a:pt x="10" y="115"/>
                      <a:pt x="9" y="115"/>
                    </a:cubicBezTo>
                    <a:cubicBezTo>
                      <a:pt x="8" y="115"/>
                      <a:pt x="9" y="115"/>
                      <a:pt x="8" y="115"/>
                    </a:cubicBezTo>
                    <a:cubicBezTo>
                      <a:pt x="9" y="114"/>
                      <a:pt x="8" y="114"/>
                      <a:pt x="8" y="114"/>
                    </a:cubicBezTo>
                    <a:cubicBezTo>
                      <a:pt x="8" y="114"/>
                      <a:pt x="8" y="115"/>
                      <a:pt x="8" y="115"/>
                    </a:cubicBezTo>
                    <a:cubicBezTo>
                      <a:pt x="7" y="115"/>
                      <a:pt x="7" y="115"/>
                      <a:pt x="7" y="115"/>
                    </a:cubicBezTo>
                    <a:cubicBezTo>
                      <a:pt x="7" y="114"/>
                      <a:pt x="7" y="114"/>
                      <a:pt x="7" y="114"/>
                    </a:cubicBezTo>
                    <a:cubicBezTo>
                      <a:pt x="7" y="113"/>
                      <a:pt x="7" y="113"/>
                      <a:pt x="7" y="112"/>
                    </a:cubicBezTo>
                    <a:cubicBezTo>
                      <a:pt x="7" y="113"/>
                      <a:pt x="6" y="112"/>
                      <a:pt x="7" y="112"/>
                    </a:cubicBezTo>
                    <a:cubicBezTo>
                      <a:pt x="7" y="111"/>
                      <a:pt x="6" y="111"/>
                      <a:pt x="6" y="111"/>
                    </a:cubicBezTo>
                    <a:cubicBezTo>
                      <a:pt x="6" y="111"/>
                      <a:pt x="6" y="112"/>
                      <a:pt x="5" y="111"/>
                    </a:cubicBezTo>
                    <a:cubicBezTo>
                      <a:pt x="5" y="111"/>
                      <a:pt x="6" y="111"/>
                      <a:pt x="6" y="110"/>
                    </a:cubicBezTo>
                    <a:cubicBezTo>
                      <a:pt x="6" y="110"/>
                      <a:pt x="6" y="111"/>
                      <a:pt x="5" y="110"/>
                    </a:cubicBezTo>
                    <a:cubicBezTo>
                      <a:pt x="5" y="110"/>
                      <a:pt x="5" y="110"/>
                      <a:pt x="5" y="110"/>
                    </a:cubicBezTo>
                    <a:cubicBezTo>
                      <a:pt x="5" y="110"/>
                      <a:pt x="5" y="109"/>
                      <a:pt x="6" y="109"/>
                    </a:cubicBezTo>
                    <a:cubicBezTo>
                      <a:pt x="6" y="109"/>
                      <a:pt x="6" y="109"/>
                      <a:pt x="6" y="109"/>
                    </a:cubicBezTo>
                    <a:cubicBezTo>
                      <a:pt x="5" y="109"/>
                      <a:pt x="6" y="108"/>
                      <a:pt x="6" y="107"/>
                    </a:cubicBezTo>
                    <a:cubicBezTo>
                      <a:pt x="6" y="106"/>
                      <a:pt x="7" y="106"/>
                      <a:pt x="6" y="106"/>
                    </a:cubicBezTo>
                    <a:cubicBezTo>
                      <a:pt x="6" y="105"/>
                      <a:pt x="6" y="105"/>
                      <a:pt x="7" y="105"/>
                    </a:cubicBezTo>
                    <a:cubicBezTo>
                      <a:pt x="6" y="105"/>
                      <a:pt x="6" y="105"/>
                      <a:pt x="5" y="105"/>
                    </a:cubicBezTo>
                    <a:cubicBezTo>
                      <a:pt x="5" y="105"/>
                      <a:pt x="4" y="106"/>
                      <a:pt x="4" y="106"/>
                    </a:cubicBezTo>
                    <a:cubicBezTo>
                      <a:pt x="3" y="106"/>
                      <a:pt x="5" y="104"/>
                      <a:pt x="5" y="104"/>
                    </a:cubicBezTo>
                    <a:cubicBezTo>
                      <a:pt x="5" y="104"/>
                      <a:pt x="5" y="104"/>
                      <a:pt x="4" y="104"/>
                    </a:cubicBezTo>
                    <a:cubicBezTo>
                      <a:pt x="4" y="104"/>
                      <a:pt x="4" y="104"/>
                      <a:pt x="4" y="104"/>
                    </a:cubicBezTo>
                    <a:cubicBezTo>
                      <a:pt x="4" y="104"/>
                      <a:pt x="4" y="106"/>
                      <a:pt x="3" y="106"/>
                    </a:cubicBezTo>
                    <a:cubicBezTo>
                      <a:pt x="3" y="105"/>
                      <a:pt x="3" y="105"/>
                      <a:pt x="3" y="105"/>
                    </a:cubicBezTo>
                    <a:cubicBezTo>
                      <a:pt x="3" y="105"/>
                      <a:pt x="3" y="105"/>
                      <a:pt x="3" y="104"/>
                    </a:cubicBezTo>
                    <a:cubicBezTo>
                      <a:pt x="3" y="105"/>
                      <a:pt x="3" y="105"/>
                      <a:pt x="2" y="105"/>
                    </a:cubicBezTo>
                    <a:cubicBezTo>
                      <a:pt x="3" y="105"/>
                      <a:pt x="3" y="104"/>
                      <a:pt x="3" y="104"/>
                    </a:cubicBezTo>
                    <a:cubicBezTo>
                      <a:pt x="3" y="104"/>
                      <a:pt x="2" y="105"/>
                      <a:pt x="2" y="105"/>
                    </a:cubicBezTo>
                    <a:cubicBezTo>
                      <a:pt x="1" y="105"/>
                      <a:pt x="2" y="104"/>
                      <a:pt x="2" y="104"/>
                    </a:cubicBezTo>
                    <a:cubicBezTo>
                      <a:pt x="2" y="104"/>
                      <a:pt x="2" y="103"/>
                      <a:pt x="2" y="103"/>
                    </a:cubicBezTo>
                    <a:cubicBezTo>
                      <a:pt x="2" y="103"/>
                      <a:pt x="2" y="103"/>
                      <a:pt x="2" y="102"/>
                    </a:cubicBezTo>
                    <a:cubicBezTo>
                      <a:pt x="2" y="102"/>
                      <a:pt x="2" y="102"/>
                      <a:pt x="2" y="102"/>
                    </a:cubicBezTo>
                    <a:cubicBezTo>
                      <a:pt x="1" y="101"/>
                      <a:pt x="1" y="101"/>
                      <a:pt x="1" y="101"/>
                    </a:cubicBezTo>
                    <a:cubicBezTo>
                      <a:pt x="1" y="101"/>
                      <a:pt x="2" y="101"/>
                      <a:pt x="2" y="101"/>
                    </a:cubicBezTo>
                    <a:cubicBezTo>
                      <a:pt x="2" y="101"/>
                      <a:pt x="1" y="101"/>
                      <a:pt x="1" y="100"/>
                    </a:cubicBezTo>
                    <a:cubicBezTo>
                      <a:pt x="1" y="100"/>
                      <a:pt x="1" y="101"/>
                      <a:pt x="1" y="101"/>
                    </a:cubicBezTo>
                    <a:cubicBezTo>
                      <a:pt x="2" y="100"/>
                      <a:pt x="1" y="100"/>
                      <a:pt x="1" y="99"/>
                    </a:cubicBezTo>
                    <a:cubicBezTo>
                      <a:pt x="1" y="99"/>
                      <a:pt x="0" y="99"/>
                      <a:pt x="1" y="98"/>
                    </a:cubicBezTo>
                    <a:cubicBezTo>
                      <a:pt x="0" y="99"/>
                      <a:pt x="1" y="97"/>
                      <a:pt x="1" y="97"/>
                    </a:cubicBezTo>
                    <a:cubicBezTo>
                      <a:pt x="2" y="97"/>
                      <a:pt x="2" y="97"/>
                      <a:pt x="2" y="98"/>
                    </a:cubicBezTo>
                    <a:cubicBezTo>
                      <a:pt x="3" y="98"/>
                      <a:pt x="3" y="98"/>
                      <a:pt x="3" y="99"/>
                    </a:cubicBezTo>
                    <a:cubicBezTo>
                      <a:pt x="3" y="99"/>
                      <a:pt x="3" y="99"/>
                      <a:pt x="3" y="99"/>
                    </a:cubicBezTo>
                    <a:cubicBezTo>
                      <a:pt x="3" y="100"/>
                      <a:pt x="4" y="99"/>
                      <a:pt x="4" y="99"/>
                    </a:cubicBezTo>
                    <a:cubicBezTo>
                      <a:pt x="5" y="99"/>
                      <a:pt x="5" y="97"/>
                      <a:pt x="5" y="97"/>
                    </a:cubicBezTo>
                    <a:cubicBezTo>
                      <a:pt x="5" y="96"/>
                      <a:pt x="6" y="96"/>
                      <a:pt x="6" y="95"/>
                    </a:cubicBezTo>
                    <a:cubicBezTo>
                      <a:pt x="6" y="94"/>
                      <a:pt x="5" y="94"/>
                      <a:pt x="5" y="93"/>
                    </a:cubicBezTo>
                    <a:cubicBezTo>
                      <a:pt x="4" y="91"/>
                      <a:pt x="6" y="92"/>
                      <a:pt x="6" y="91"/>
                    </a:cubicBezTo>
                    <a:cubicBezTo>
                      <a:pt x="6" y="90"/>
                      <a:pt x="5" y="89"/>
                      <a:pt x="7" y="89"/>
                    </a:cubicBezTo>
                    <a:cubicBezTo>
                      <a:pt x="8" y="89"/>
                      <a:pt x="8" y="89"/>
                      <a:pt x="9" y="89"/>
                    </a:cubicBezTo>
                    <a:cubicBezTo>
                      <a:pt x="10" y="88"/>
                      <a:pt x="11" y="88"/>
                      <a:pt x="11" y="87"/>
                    </a:cubicBezTo>
                    <a:cubicBezTo>
                      <a:pt x="11" y="86"/>
                      <a:pt x="11" y="86"/>
                      <a:pt x="11" y="85"/>
                    </a:cubicBezTo>
                    <a:cubicBezTo>
                      <a:pt x="11" y="85"/>
                      <a:pt x="12" y="84"/>
                      <a:pt x="12" y="84"/>
                    </a:cubicBezTo>
                    <a:cubicBezTo>
                      <a:pt x="12" y="83"/>
                      <a:pt x="11" y="82"/>
                      <a:pt x="11" y="82"/>
                    </a:cubicBezTo>
                    <a:cubicBezTo>
                      <a:pt x="10" y="81"/>
                      <a:pt x="10" y="80"/>
                      <a:pt x="10" y="80"/>
                    </a:cubicBezTo>
                    <a:cubicBezTo>
                      <a:pt x="10" y="79"/>
                      <a:pt x="9" y="78"/>
                      <a:pt x="9" y="78"/>
                    </a:cubicBezTo>
                    <a:cubicBezTo>
                      <a:pt x="9" y="78"/>
                      <a:pt x="11" y="78"/>
                      <a:pt x="11" y="78"/>
                    </a:cubicBezTo>
                    <a:cubicBezTo>
                      <a:pt x="12" y="78"/>
                      <a:pt x="12" y="78"/>
                      <a:pt x="13" y="77"/>
                    </a:cubicBezTo>
                    <a:cubicBezTo>
                      <a:pt x="13" y="76"/>
                      <a:pt x="13" y="76"/>
                      <a:pt x="13" y="75"/>
                    </a:cubicBezTo>
                    <a:cubicBezTo>
                      <a:pt x="14" y="72"/>
                      <a:pt x="8" y="73"/>
                      <a:pt x="8" y="70"/>
                    </a:cubicBezTo>
                    <a:cubicBezTo>
                      <a:pt x="8" y="69"/>
                      <a:pt x="9" y="68"/>
                      <a:pt x="9" y="68"/>
                    </a:cubicBezTo>
                    <a:cubicBezTo>
                      <a:pt x="9" y="67"/>
                      <a:pt x="9" y="66"/>
                      <a:pt x="9" y="65"/>
                    </a:cubicBezTo>
                    <a:cubicBezTo>
                      <a:pt x="9" y="65"/>
                      <a:pt x="8" y="64"/>
                      <a:pt x="8" y="63"/>
                    </a:cubicBezTo>
                    <a:cubicBezTo>
                      <a:pt x="8" y="62"/>
                      <a:pt x="8" y="62"/>
                      <a:pt x="8" y="61"/>
                    </a:cubicBezTo>
                    <a:cubicBezTo>
                      <a:pt x="8" y="60"/>
                      <a:pt x="7" y="60"/>
                      <a:pt x="8" y="59"/>
                    </a:cubicBezTo>
                    <a:cubicBezTo>
                      <a:pt x="8" y="58"/>
                      <a:pt x="8" y="58"/>
                      <a:pt x="7" y="57"/>
                    </a:cubicBezTo>
                    <a:cubicBezTo>
                      <a:pt x="7" y="56"/>
                      <a:pt x="7" y="56"/>
                      <a:pt x="7" y="55"/>
                    </a:cubicBezTo>
                    <a:cubicBezTo>
                      <a:pt x="7" y="55"/>
                      <a:pt x="8" y="54"/>
                      <a:pt x="8" y="54"/>
                    </a:cubicBezTo>
                    <a:cubicBezTo>
                      <a:pt x="8" y="53"/>
                      <a:pt x="8" y="52"/>
                      <a:pt x="8" y="52"/>
                    </a:cubicBezTo>
                    <a:cubicBezTo>
                      <a:pt x="9" y="52"/>
                      <a:pt x="9" y="51"/>
                      <a:pt x="10" y="50"/>
                    </a:cubicBezTo>
                    <a:cubicBezTo>
                      <a:pt x="11" y="50"/>
                      <a:pt x="11" y="49"/>
                      <a:pt x="12" y="49"/>
                    </a:cubicBezTo>
                    <a:cubicBezTo>
                      <a:pt x="12" y="48"/>
                      <a:pt x="13" y="48"/>
                      <a:pt x="14" y="48"/>
                    </a:cubicBezTo>
                    <a:cubicBezTo>
                      <a:pt x="16" y="47"/>
                      <a:pt x="17" y="48"/>
                      <a:pt x="19" y="48"/>
                    </a:cubicBezTo>
                    <a:cubicBezTo>
                      <a:pt x="21" y="48"/>
                      <a:pt x="22" y="48"/>
                      <a:pt x="22" y="46"/>
                    </a:cubicBezTo>
                    <a:cubicBezTo>
                      <a:pt x="22" y="45"/>
                      <a:pt x="22" y="44"/>
                      <a:pt x="21" y="44"/>
                    </a:cubicBezTo>
                    <a:cubicBezTo>
                      <a:pt x="19" y="43"/>
                      <a:pt x="19" y="43"/>
                      <a:pt x="20" y="41"/>
                    </a:cubicBezTo>
                    <a:cubicBezTo>
                      <a:pt x="20" y="41"/>
                      <a:pt x="21" y="40"/>
                      <a:pt x="22" y="39"/>
                    </a:cubicBezTo>
                    <a:cubicBezTo>
                      <a:pt x="22" y="39"/>
                      <a:pt x="23" y="38"/>
                      <a:pt x="24" y="37"/>
                    </a:cubicBezTo>
                    <a:cubicBezTo>
                      <a:pt x="24" y="37"/>
                      <a:pt x="24" y="36"/>
                      <a:pt x="25" y="36"/>
                    </a:cubicBezTo>
                    <a:cubicBezTo>
                      <a:pt x="25" y="35"/>
                      <a:pt x="25" y="34"/>
                      <a:pt x="25" y="33"/>
                    </a:cubicBezTo>
                    <a:cubicBezTo>
                      <a:pt x="25" y="32"/>
                      <a:pt x="25" y="32"/>
                      <a:pt x="25" y="31"/>
                    </a:cubicBezTo>
                    <a:cubicBezTo>
                      <a:pt x="25" y="30"/>
                      <a:pt x="25" y="29"/>
                      <a:pt x="25" y="28"/>
                    </a:cubicBezTo>
                    <a:cubicBezTo>
                      <a:pt x="25" y="28"/>
                      <a:pt x="29" y="27"/>
                      <a:pt x="29" y="27"/>
                    </a:cubicBezTo>
                    <a:cubicBezTo>
                      <a:pt x="30" y="27"/>
                      <a:pt x="31" y="27"/>
                      <a:pt x="31" y="26"/>
                    </a:cubicBezTo>
                    <a:cubicBezTo>
                      <a:pt x="32" y="26"/>
                      <a:pt x="31" y="25"/>
                      <a:pt x="31" y="25"/>
                    </a:cubicBezTo>
                    <a:cubicBezTo>
                      <a:pt x="31" y="24"/>
                      <a:pt x="32" y="24"/>
                      <a:pt x="32" y="24"/>
                    </a:cubicBezTo>
                    <a:cubicBezTo>
                      <a:pt x="33" y="23"/>
                      <a:pt x="34" y="22"/>
                      <a:pt x="34" y="22"/>
                    </a:cubicBezTo>
                    <a:cubicBezTo>
                      <a:pt x="35" y="21"/>
                      <a:pt x="35" y="21"/>
                      <a:pt x="36" y="20"/>
                    </a:cubicBezTo>
                    <a:cubicBezTo>
                      <a:pt x="36" y="20"/>
                      <a:pt x="37" y="20"/>
                      <a:pt x="38" y="19"/>
                    </a:cubicBezTo>
                    <a:cubicBezTo>
                      <a:pt x="39" y="18"/>
                      <a:pt x="37" y="17"/>
                      <a:pt x="36" y="16"/>
                    </a:cubicBezTo>
                    <a:cubicBezTo>
                      <a:pt x="35" y="15"/>
                      <a:pt x="37" y="15"/>
                      <a:pt x="38" y="15"/>
                    </a:cubicBezTo>
                    <a:cubicBezTo>
                      <a:pt x="39" y="14"/>
                      <a:pt x="39" y="12"/>
                      <a:pt x="40" y="11"/>
                    </a:cubicBezTo>
                    <a:cubicBezTo>
                      <a:pt x="41" y="10"/>
                      <a:pt x="42" y="10"/>
                      <a:pt x="43" y="10"/>
                    </a:cubicBezTo>
                    <a:cubicBezTo>
                      <a:pt x="45" y="9"/>
                      <a:pt x="46" y="10"/>
                      <a:pt x="48" y="10"/>
                    </a:cubicBezTo>
                    <a:cubicBezTo>
                      <a:pt x="50" y="10"/>
                      <a:pt x="49" y="7"/>
                      <a:pt x="49" y="5"/>
                    </a:cubicBezTo>
                    <a:cubicBezTo>
                      <a:pt x="50" y="5"/>
                      <a:pt x="52" y="5"/>
                      <a:pt x="54" y="5"/>
                    </a:cubicBezTo>
                    <a:cubicBezTo>
                      <a:pt x="56" y="5"/>
                      <a:pt x="58" y="6"/>
                      <a:pt x="59" y="6"/>
                    </a:cubicBezTo>
                    <a:cubicBezTo>
                      <a:pt x="60" y="6"/>
                      <a:pt x="62" y="7"/>
                      <a:pt x="63" y="6"/>
                    </a:cubicBezTo>
                    <a:cubicBezTo>
                      <a:pt x="65" y="5"/>
                      <a:pt x="63" y="5"/>
                      <a:pt x="62" y="5"/>
                    </a:cubicBezTo>
                    <a:cubicBezTo>
                      <a:pt x="63" y="5"/>
                      <a:pt x="64" y="4"/>
                      <a:pt x="65" y="3"/>
                    </a:cubicBezTo>
                    <a:cubicBezTo>
                      <a:pt x="65" y="2"/>
                      <a:pt x="64" y="1"/>
                      <a:pt x="63" y="1"/>
                    </a:cubicBezTo>
                    <a:cubicBezTo>
                      <a:pt x="64" y="0"/>
                      <a:pt x="65" y="1"/>
                      <a:pt x="67" y="0"/>
                    </a:cubicBezTo>
                    <a:cubicBezTo>
                      <a:pt x="67" y="1"/>
                      <a:pt x="68" y="1"/>
                      <a:pt x="69" y="1"/>
                    </a:cubicBezTo>
                    <a:cubicBezTo>
                      <a:pt x="69" y="1"/>
                      <a:pt x="68" y="1"/>
                      <a:pt x="68" y="2"/>
                    </a:cubicBezTo>
                    <a:cubicBezTo>
                      <a:pt x="69" y="2"/>
                      <a:pt x="70" y="2"/>
                      <a:pt x="70" y="2"/>
                    </a:cubicBezTo>
                    <a:cubicBezTo>
                      <a:pt x="71" y="3"/>
                      <a:pt x="72" y="3"/>
                      <a:pt x="72" y="3"/>
                    </a:cubicBezTo>
                    <a:cubicBezTo>
                      <a:pt x="73" y="3"/>
                      <a:pt x="73" y="4"/>
                      <a:pt x="73" y="4"/>
                    </a:cubicBezTo>
                    <a:cubicBezTo>
                      <a:pt x="73" y="4"/>
                      <a:pt x="74" y="4"/>
                      <a:pt x="74" y="4"/>
                    </a:cubicBezTo>
                    <a:cubicBezTo>
                      <a:pt x="75" y="4"/>
                      <a:pt x="75" y="5"/>
                      <a:pt x="75" y="5"/>
                    </a:cubicBezTo>
                    <a:cubicBezTo>
                      <a:pt x="76" y="5"/>
                      <a:pt x="77" y="5"/>
                      <a:pt x="77" y="6"/>
                    </a:cubicBezTo>
                    <a:cubicBezTo>
                      <a:pt x="78" y="6"/>
                      <a:pt x="79" y="6"/>
                      <a:pt x="79" y="6"/>
                    </a:cubicBezTo>
                    <a:cubicBezTo>
                      <a:pt x="79" y="6"/>
                      <a:pt x="81" y="6"/>
                      <a:pt x="81" y="6"/>
                    </a:cubicBezTo>
                    <a:cubicBezTo>
                      <a:pt x="81" y="6"/>
                      <a:pt x="82" y="6"/>
                      <a:pt x="83" y="7"/>
                    </a:cubicBezTo>
                    <a:cubicBezTo>
                      <a:pt x="84" y="7"/>
                      <a:pt x="85" y="7"/>
                      <a:pt x="85" y="8"/>
                    </a:cubicBezTo>
                    <a:cubicBezTo>
                      <a:pt x="85" y="9"/>
                      <a:pt x="86" y="9"/>
                      <a:pt x="86" y="9"/>
                    </a:cubicBezTo>
                    <a:cubicBezTo>
                      <a:pt x="87" y="9"/>
                      <a:pt x="88" y="10"/>
                      <a:pt x="88" y="10"/>
                    </a:cubicBezTo>
                    <a:cubicBezTo>
                      <a:pt x="88" y="10"/>
                      <a:pt x="90" y="11"/>
                      <a:pt x="89" y="11"/>
                    </a:cubicBezTo>
                    <a:cubicBezTo>
                      <a:pt x="88" y="11"/>
                      <a:pt x="88" y="11"/>
                      <a:pt x="88" y="12"/>
                    </a:cubicBezTo>
                    <a:cubicBezTo>
                      <a:pt x="88" y="12"/>
                      <a:pt x="88" y="13"/>
                      <a:pt x="88" y="13"/>
                    </a:cubicBezTo>
                    <a:cubicBezTo>
                      <a:pt x="88" y="14"/>
                      <a:pt x="89" y="14"/>
                      <a:pt x="89" y="14"/>
                    </a:cubicBezTo>
                    <a:cubicBezTo>
                      <a:pt x="89" y="14"/>
                      <a:pt x="88" y="14"/>
                      <a:pt x="88" y="14"/>
                    </a:cubicBezTo>
                    <a:cubicBezTo>
                      <a:pt x="87" y="16"/>
                      <a:pt x="89" y="15"/>
                      <a:pt x="90" y="16"/>
                    </a:cubicBezTo>
                    <a:cubicBezTo>
                      <a:pt x="91" y="16"/>
                      <a:pt x="91" y="17"/>
                      <a:pt x="90" y="17"/>
                    </a:cubicBezTo>
                    <a:cubicBezTo>
                      <a:pt x="88" y="17"/>
                      <a:pt x="90" y="19"/>
                      <a:pt x="91" y="19"/>
                    </a:cubicBezTo>
                    <a:cubicBezTo>
                      <a:pt x="91" y="20"/>
                      <a:pt x="92" y="20"/>
                      <a:pt x="92" y="21"/>
                    </a:cubicBezTo>
                    <a:cubicBezTo>
                      <a:pt x="92" y="21"/>
                      <a:pt x="93" y="22"/>
                      <a:pt x="93" y="22"/>
                    </a:cubicBezTo>
                    <a:cubicBezTo>
                      <a:pt x="92" y="22"/>
                      <a:pt x="92" y="23"/>
                      <a:pt x="92" y="23"/>
                    </a:cubicBezTo>
                    <a:cubicBezTo>
                      <a:pt x="92" y="24"/>
                      <a:pt x="92" y="24"/>
                      <a:pt x="91" y="25"/>
                    </a:cubicBezTo>
                    <a:cubicBezTo>
                      <a:pt x="90" y="25"/>
                      <a:pt x="91" y="25"/>
                      <a:pt x="91" y="26"/>
                    </a:cubicBezTo>
                    <a:cubicBezTo>
                      <a:pt x="91" y="26"/>
                      <a:pt x="91" y="27"/>
                      <a:pt x="92" y="27"/>
                    </a:cubicBezTo>
                    <a:cubicBezTo>
                      <a:pt x="92" y="27"/>
                      <a:pt x="93" y="28"/>
                      <a:pt x="93" y="28"/>
                    </a:cubicBezTo>
                    <a:cubicBezTo>
                      <a:pt x="94" y="29"/>
                      <a:pt x="94" y="29"/>
                      <a:pt x="95" y="30"/>
                    </a:cubicBezTo>
                    <a:cubicBezTo>
                      <a:pt x="95" y="30"/>
                      <a:pt x="95" y="31"/>
                      <a:pt x="95" y="31"/>
                    </a:cubicBezTo>
                    <a:close/>
                    <a:moveTo>
                      <a:pt x="49" y="100"/>
                    </a:moveTo>
                    <a:cubicBezTo>
                      <a:pt x="49" y="100"/>
                      <a:pt x="50" y="100"/>
                      <a:pt x="50" y="100"/>
                    </a:cubicBezTo>
                    <a:cubicBezTo>
                      <a:pt x="49" y="100"/>
                      <a:pt x="49" y="100"/>
                      <a:pt x="49" y="100"/>
                    </a:cubicBezTo>
                    <a:close/>
                    <a:moveTo>
                      <a:pt x="47" y="115"/>
                    </a:moveTo>
                    <a:cubicBezTo>
                      <a:pt x="47" y="115"/>
                      <a:pt x="47" y="116"/>
                      <a:pt x="47" y="116"/>
                    </a:cubicBezTo>
                    <a:cubicBezTo>
                      <a:pt x="46" y="117"/>
                      <a:pt x="47" y="117"/>
                      <a:pt x="47" y="117"/>
                    </a:cubicBezTo>
                    <a:cubicBezTo>
                      <a:pt x="46" y="118"/>
                      <a:pt x="46" y="118"/>
                      <a:pt x="46" y="119"/>
                    </a:cubicBezTo>
                    <a:cubicBezTo>
                      <a:pt x="46" y="119"/>
                      <a:pt x="45" y="120"/>
                      <a:pt x="45" y="120"/>
                    </a:cubicBezTo>
                    <a:cubicBezTo>
                      <a:pt x="45" y="120"/>
                      <a:pt x="44" y="121"/>
                      <a:pt x="44" y="121"/>
                    </a:cubicBezTo>
                    <a:cubicBezTo>
                      <a:pt x="43" y="122"/>
                      <a:pt x="43" y="123"/>
                      <a:pt x="43" y="124"/>
                    </a:cubicBezTo>
                    <a:cubicBezTo>
                      <a:pt x="43" y="125"/>
                      <a:pt x="43" y="125"/>
                      <a:pt x="43" y="126"/>
                    </a:cubicBezTo>
                    <a:cubicBezTo>
                      <a:pt x="43" y="126"/>
                      <a:pt x="43" y="126"/>
                      <a:pt x="43" y="127"/>
                    </a:cubicBezTo>
                    <a:cubicBezTo>
                      <a:pt x="44" y="126"/>
                      <a:pt x="44" y="126"/>
                      <a:pt x="44" y="125"/>
                    </a:cubicBezTo>
                    <a:cubicBezTo>
                      <a:pt x="45" y="124"/>
                      <a:pt x="45" y="123"/>
                      <a:pt x="45" y="123"/>
                    </a:cubicBezTo>
                    <a:cubicBezTo>
                      <a:pt x="45" y="122"/>
                      <a:pt x="45" y="122"/>
                      <a:pt x="46" y="121"/>
                    </a:cubicBezTo>
                    <a:cubicBezTo>
                      <a:pt x="46" y="120"/>
                      <a:pt x="47" y="120"/>
                      <a:pt x="46" y="119"/>
                    </a:cubicBezTo>
                    <a:cubicBezTo>
                      <a:pt x="46" y="119"/>
                      <a:pt x="47" y="118"/>
                      <a:pt x="47" y="118"/>
                    </a:cubicBezTo>
                    <a:cubicBezTo>
                      <a:pt x="48" y="117"/>
                      <a:pt x="48" y="117"/>
                      <a:pt x="48" y="116"/>
                    </a:cubicBezTo>
                    <a:cubicBezTo>
                      <a:pt x="48" y="116"/>
                      <a:pt x="48" y="115"/>
                      <a:pt x="48" y="116"/>
                    </a:cubicBezTo>
                    <a:cubicBezTo>
                      <a:pt x="48" y="115"/>
                      <a:pt x="48" y="115"/>
                      <a:pt x="48" y="115"/>
                    </a:cubicBezTo>
                    <a:cubicBezTo>
                      <a:pt x="48" y="115"/>
                      <a:pt x="48" y="115"/>
                      <a:pt x="47" y="115"/>
                    </a:cubicBezTo>
                    <a:close/>
                    <a:moveTo>
                      <a:pt x="5" y="107"/>
                    </a:moveTo>
                    <a:cubicBezTo>
                      <a:pt x="5" y="107"/>
                      <a:pt x="5" y="108"/>
                      <a:pt x="5" y="108"/>
                    </a:cubicBezTo>
                    <a:cubicBezTo>
                      <a:pt x="5" y="108"/>
                      <a:pt x="7" y="107"/>
                      <a:pt x="6" y="106"/>
                    </a:cubicBezTo>
                    <a:cubicBezTo>
                      <a:pt x="6" y="106"/>
                      <a:pt x="5" y="105"/>
                      <a:pt x="5" y="106"/>
                    </a:cubicBezTo>
                    <a:cubicBezTo>
                      <a:pt x="5" y="106"/>
                      <a:pt x="5" y="106"/>
                      <a:pt x="5" y="106"/>
                    </a:cubicBezTo>
                    <a:cubicBezTo>
                      <a:pt x="5" y="106"/>
                      <a:pt x="4" y="106"/>
                      <a:pt x="4" y="106"/>
                    </a:cubicBezTo>
                    <a:cubicBezTo>
                      <a:pt x="4" y="106"/>
                      <a:pt x="4" y="106"/>
                      <a:pt x="3" y="106"/>
                    </a:cubicBezTo>
                    <a:cubicBezTo>
                      <a:pt x="3" y="107"/>
                      <a:pt x="3" y="107"/>
                      <a:pt x="3" y="107"/>
                    </a:cubicBezTo>
                    <a:cubicBezTo>
                      <a:pt x="3" y="107"/>
                      <a:pt x="3" y="107"/>
                      <a:pt x="3" y="108"/>
                    </a:cubicBezTo>
                    <a:cubicBezTo>
                      <a:pt x="3" y="107"/>
                      <a:pt x="4" y="107"/>
                      <a:pt x="5" y="107"/>
                    </a:cubicBezTo>
                    <a:cubicBezTo>
                      <a:pt x="5" y="107"/>
                      <a:pt x="5" y="107"/>
                      <a:pt x="5" y="107"/>
                    </a:cubicBezTo>
                    <a:close/>
                    <a:moveTo>
                      <a:pt x="5" y="108"/>
                    </a:moveTo>
                    <a:cubicBezTo>
                      <a:pt x="6" y="109"/>
                      <a:pt x="6" y="108"/>
                      <a:pt x="5" y="108"/>
                    </a:cubicBezTo>
                    <a:cubicBezTo>
                      <a:pt x="5" y="108"/>
                      <a:pt x="5" y="108"/>
                      <a:pt x="4" y="108"/>
                    </a:cubicBezTo>
                    <a:cubicBezTo>
                      <a:pt x="4" y="108"/>
                      <a:pt x="3" y="108"/>
                      <a:pt x="4" y="108"/>
                    </a:cubicBezTo>
                    <a:cubicBezTo>
                      <a:pt x="4" y="108"/>
                      <a:pt x="4" y="108"/>
                      <a:pt x="4" y="108"/>
                    </a:cubicBezTo>
                    <a:cubicBezTo>
                      <a:pt x="4" y="108"/>
                      <a:pt x="4" y="109"/>
                      <a:pt x="4" y="109"/>
                    </a:cubicBezTo>
                    <a:cubicBezTo>
                      <a:pt x="4" y="109"/>
                      <a:pt x="4" y="109"/>
                      <a:pt x="5" y="109"/>
                    </a:cubicBezTo>
                    <a:cubicBezTo>
                      <a:pt x="5" y="109"/>
                      <a:pt x="5" y="108"/>
                      <a:pt x="5" y="10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7" name="Suriname">
                <a:extLst>
                  <a:ext uri="{FF2B5EF4-FFF2-40B4-BE49-F238E27FC236}">
                    <a16:creationId xmlns:a16="http://schemas.microsoft.com/office/drawing/2014/main" id="{A75CFFF5-7FE4-B5E7-5A83-EBF81F205573}"/>
                  </a:ext>
                </a:extLst>
              </p:cNvPr>
              <p:cNvSpPr>
                <a:spLocks/>
              </p:cNvSpPr>
              <p:nvPr/>
            </p:nvSpPr>
            <p:spPr bwMode="auto">
              <a:xfrm>
                <a:off x="3700090" y="3810091"/>
                <a:ext cx="142124" cy="162707"/>
              </a:xfrm>
              <a:custGeom>
                <a:avLst/>
                <a:gdLst/>
                <a:ahLst/>
                <a:cxnLst>
                  <a:cxn ang="0">
                    <a:pos x="38" y="8"/>
                  </a:cxn>
                  <a:cxn ang="0">
                    <a:pos x="40" y="4"/>
                  </a:cxn>
                  <a:cxn ang="0">
                    <a:pos x="38" y="1"/>
                  </a:cxn>
                  <a:cxn ang="0">
                    <a:pos x="30" y="0"/>
                  </a:cxn>
                  <a:cxn ang="0">
                    <a:pos x="31" y="2"/>
                  </a:cxn>
                  <a:cxn ang="0">
                    <a:pos x="30" y="2"/>
                  </a:cxn>
                  <a:cxn ang="0">
                    <a:pos x="29" y="1"/>
                  </a:cxn>
                  <a:cxn ang="0">
                    <a:pos x="28" y="1"/>
                  </a:cxn>
                  <a:cxn ang="0">
                    <a:pos x="22" y="2"/>
                  </a:cxn>
                  <a:cxn ang="0">
                    <a:pos x="21" y="2"/>
                  </a:cxn>
                  <a:cxn ang="0">
                    <a:pos x="17" y="1"/>
                  </a:cxn>
                  <a:cxn ang="0">
                    <a:pos x="11" y="0"/>
                  </a:cxn>
                  <a:cxn ang="0">
                    <a:pos x="9" y="5"/>
                  </a:cxn>
                  <a:cxn ang="0">
                    <a:pos x="8" y="8"/>
                  </a:cxn>
                  <a:cxn ang="0">
                    <a:pos x="9" y="9"/>
                  </a:cxn>
                  <a:cxn ang="0">
                    <a:pos x="8" y="10"/>
                  </a:cxn>
                  <a:cxn ang="0">
                    <a:pos x="8" y="11"/>
                  </a:cxn>
                  <a:cxn ang="0">
                    <a:pos x="5" y="11"/>
                  </a:cxn>
                  <a:cxn ang="0">
                    <a:pos x="3" y="12"/>
                  </a:cxn>
                  <a:cxn ang="0">
                    <a:pos x="3" y="15"/>
                  </a:cxn>
                  <a:cxn ang="0">
                    <a:pos x="1" y="19"/>
                  </a:cxn>
                  <a:cxn ang="0">
                    <a:pos x="2" y="25"/>
                  </a:cxn>
                  <a:cxn ang="0">
                    <a:pos x="4" y="29"/>
                  </a:cxn>
                  <a:cxn ang="0">
                    <a:pos x="6" y="30"/>
                  </a:cxn>
                  <a:cxn ang="0">
                    <a:pos x="7" y="29"/>
                  </a:cxn>
                  <a:cxn ang="0">
                    <a:pos x="8" y="31"/>
                  </a:cxn>
                  <a:cxn ang="0">
                    <a:pos x="9" y="35"/>
                  </a:cxn>
                  <a:cxn ang="0">
                    <a:pos x="10" y="38"/>
                  </a:cxn>
                  <a:cxn ang="0">
                    <a:pos x="11" y="39"/>
                  </a:cxn>
                  <a:cxn ang="0">
                    <a:pos x="12" y="41"/>
                  </a:cxn>
                  <a:cxn ang="0">
                    <a:pos x="14" y="44"/>
                  </a:cxn>
                  <a:cxn ang="0">
                    <a:pos x="17" y="45"/>
                  </a:cxn>
                  <a:cxn ang="0">
                    <a:pos x="20" y="46"/>
                  </a:cxn>
                  <a:cxn ang="0">
                    <a:pos x="20" y="43"/>
                  </a:cxn>
                  <a:cxn ang="0">
                    <a:pos x="19" y="41"/>
                  </a:cxn>
                  <a:cxn ang="0">
                    <a:pos x="20" y="40"/>
                  </a:cxn>
                  <a:cxn ang="0">
                    <a:pos x="21" y="38"/>
                  </a:cxn>
                  <a:cxn ang="0">
                    <a:pos x="24" y="40"/>
                  </a:cxn>
                  <a:cxn ang="0">
                    <a:pos x="27" y="39"/>
                  </a:cxn>
                  <a:cxn ang="0">
                    <a:pos x="29" y="38"/>
                  </a:cxn>
                  <a:cxn ang="0">
                    <a:pos x="30" y="38"/>
                  </a:cxn>
                  <a:cxn ang="0">
                    <a:pos x="31" y="39"/>
                  </a:cxn>
                  <a:cxn ang="0">
                    <a:pos x="33" y="41"/>
                  </a:cxn>
                  <a:cxn ang="0">
                    <a:pos x="35" y="40"/>
                  </a:cxn>
                  <a:cxn ang="0">
                    <a:pos x="37" y="36"/>
                  </a:cxn>
                  <a:cxn ang="0">
                    <a:pos x="38" y="32"/>
                  </a:cxn>
                  <a:cxn ang="0">
                    <a:pos x="40" y="27"/>
                  </a:cxn>
                  <a:cxn ang="0">
                    <a:pos x="39" y="25"/>
                  </a:cxn>
                  <a:cxn ang="0">
                    <a:pos x="37" y="23"/>
                  </a:cxn>
                  <a:cxn ang="0">
                    <a:pos x="36" y="20"/>
                  </a:cxn>
                  <a:cxn ang="0">
                    <a:pos x="36" y="18"/>
                  </a:cxn>
                  <a:cxn ang="0">
                    <a:pos x="35" y="13"/>
                  </a:cxn>
                  <a:cxn ang="0">
                    <a:pos x="37" y="10"/>
                  </a:cxn>
                </a:cxnLst>
                <a:rect l="0" t="0" r="r" b="b"/>
                <a:pathLst>
                  <a:path w="40" h="46">
                    <a:moveTo>
                      <a:pt x="37" y="10"/>
                    </a:moveTo>
                    <a:cubicBezTo>
                      <a:pt x="37" y="9"/>
                      <a:pt x="37" y="9"/>
                      <a:pt x="38" y="8"/>
                    </a:cubicBezTo>
                    <a:cubicBezTo>
                      <a:pt x="38" y="8"/>
                      <a:pt x="39" y="7"/>
                      <a:pt x="39" y="6"/>
                    </a:cubicBezTo>
                    <a:cubicBezTo>
                      <a:pt x="40" y="5"/>
                      <a:pt x="40" y="5"/>
                      <a:pt x="40" y="4"/>
                    </a:cubicBezTo>
                    <a:cubicBezTo>
                      <a:pt x="40" y="4"/>
                      <a:pt x="40" y="3"/>
                      <a:pt x="40" y="3"/>
                    </a:cubicBezTo>
                    <a:cubicBezTo>
                      <a:pt x="40" y="2"/>
                      <a:pt x="38" y="2"/>
                      <a:pt x="38" y="1"/>
                    </a:cubicBezTo>
                    <a:cubicBezTo>
                      <a:pt x="36" y="1"/>
                      <a:pt x="35" y="1"/>
                      <a:pt x="33" y="1"/>
                    </a:cubicBezTo>
                    <a:cubicBezTo>
                      <a:pt x="32" y="0"/>
                      <a:pt x="31" y="0"/>
                      <a:pt x="30" y="0"/>
                    </a:cubicBezTo>
                    <a:cubicBezTo>
                      <a:pt x="29" y="1"/>
                      <a:pt x="29" y="1"/>
                      <a:pt x="30" y="1"/>
                    </a:cubicBezTo>
                    <a:cubicBezTo>
                      <a:pt x="30" y="2"/>
                      <a:pt x="31" y="2"/>
                      <a:pt x="31" y="2"/>
                    </a:cubicBezTo>
                    <a:cubicBezTo>
                      <a:pt x="31" y="2"/>
                      <a:pt x="32" y="1"/>
                      <a:pt x="32" y="2"/>
                    </a:cubicBezTo>
                    <a:cubicBezTo>
                      <a:pt x="31" y="1"/>
                      <a:pt x="31" y="2"/>
                      <a:pt x="30" y="2"/>
                    </a:cubicBezTo>
                    <a:cubicBezTo>
                      <a:pt x="30" y="1"/>
                      <a:pt x="30" y="2"/>
                      <a:pt x="29" y="2"/>
                    </a:cubicBezTo>
                    <a:cubicBezTo>
                      <a:pt x="30" y="2"/>
                      <a:pt x="29" y="1"/>
                      <a:pt x="29" y="1"/>
                    </a:cubicBezTo>
                    <a:cubicBezTo>
                      <a:pt x="29" y="1"/>
                      <a:pt x="29" y="2"/>
                      <a:pt x="28" y="1"/>
                    </a:cubicBezTo>
                    <a:cubicBezTo>
                      <a:pt x="28" y="1"/>
                      <a:pt x="28" y="1"/>
                      <a:pt x="28" y="1"/>
                    </a:cubicBezTo>
                    <a:cubicBezTo>
                      <a:pt x="26" y="0"/>
                      <a:pt x="25" y="0"/>
                      <a:pt x="24" y="1"/>
                    </a:cubicBezTo>
                    <a:cubicBezTo>
                      <a:pt x="23" y="1"/>
                      <a:pt x="21" y="1"/>
                      <a:pt x="22" y="2"/>
                    </a:cubicBezTo>
                    <a:cubicBezTo>
                      <a:pt x="22" y="2"/>
                      <a:pt x="22" y="4"/>
                      <a:pt x="22" y="4"/>
                    </a:cubicBezTo>
                    <a:cubicBezTo>
                      <a:pt x="22" y="3"/>
                      <a:pt x="22" y="3"/>
                      <a:pt x="21" y="2"/>
                    </a:cubicBezTo>
                    <a:cubicBezTo>
                      <a:pt x="20" y="2"/>
                      <a:pt x="19" y="2"/>
                      <a:pt x="19" y="2"/>
                    </a:cubicBezTo>
                    <a:cubicBezTo>
                      <a:pt x="18" y="1"/>
                      <a:pt x="18" y="1"/>
                      <a:pt x="17" y="1"/>
                    </a:cubicBezTo>
                    <a:cubicBezTo>
                      <a:pt x="16" y="1"/>
                      <a:pt x="15" y="1"/>
                      <a:pt x="14" y="1"/>
                    </a:cubicBezTo>
                    <a:cubicBezTo>
                      <a:pt x="13" y="1"/>
                      <a:pt x="13" y="0"/>
                      <a:pt x="11" y="0"/>
                    </a:cubicBezTo>
                    <a:cubicBezTo>
                      <a:pt x="11" y="1"/>
                      <a:pt x="11" y="2"/>
                      <a:pt x="10" y="2"/>
                    </a:cubicBezTo>
                    <a:cubicBezTo>
                      <a:pt x="10" y="3"/>
                      <a:pt x="10" y="5"/>
                      <a:pt x="9" y="5"/>
                    </a:cubicBezTo>
                    <a:cubicBezTo>
                      <a:pt x="9" y="6"/>
                      <a:pt x="9" y="6"/>
                      <a:pt x="9" y="7"/>
                    </a:cubicBezTo>
                    <a:cubicBezTo>
                      <a:pt x="9" y="7"/>
                      <a:pt x="8" y="7"/>
                      <a:pt x="8" y="8"/>
                    </a:cubicBezTo>
                    <a:cubicBezTo>
                      <a:pt x="8" y="8"/>
                      <a:pt x="8" y="9"/>
                      <a:pt x="8" y="9"/>
                    </a:cubicBezTo>
                    <a:cubicBezTo>
                      <a:pt x="9" y="9"/>
                      <a:pt x="8" y="8"/>
                      <a:pt x="9" y="9"/>
                    </a:cubicBezTo>
                    <a:cubicBezTo>
                      <a:pt x="9" y="9"/>
                      <a:pt x="9" y="10"/>
                      <a:pt x="9" y="10"/>
                    </a:cubicBezTo>
                    <a:cubicBezTo>
                      <a:pt x="8" y="9"/>
                      <a:pt x="8" y="10"/>
                      <a:pt x="8" y="10"/>
                    </a:cubicBezTo>
                    <a:cubicBezTo>
                      <a:pt x="8" y="10"/>
                      <a:pt x="8" y="10"/>
                      <a:pt x="8" y="10"/>
                    </a:cubicBezTo>
                    <a:cubicBezTo>
                      <a:pt x="8" y="11"/>
                      <a:pt x="8" y="11"/>
                      <a:pt x="8" y="11"/>
                    </a:cubicBezTo>
                    <a:cubicBezTo>
                      <a:pt x="8" y="11"/>
                      <a:pt x="6" y="11"/>
                      <a:pt x="6" y="11"/>
                    </a:cubicBezTo>
                    <a:cubicBezTo>
                      <a:pt x="5" y="11"/>
                      <a:pt x="5" y="11"/>
                      <a:pt x="5" y="11"/>
                    </a:cubicBezTo>
                    <a:cubicBezTo>
                      <a:pt x="4" y="11"/>
                      <a:pt x="4" y="12"/>
                      <a:pt x="4" y="12"/>
                    </a:cubicBezTo>
                    <a:cubicBezTo>
                      <a:pt x="3" y="12"/>
                      <a:pt x="3" y="12"/>
                      <a:pt x="3" y="12"/>
                    </a:cubicBezTo>
                    <a:cubicBezTo>
                      <a:pt x="2" y="13"/>
                      <a:pt x="2" y="13"/>
                      <a:pt x="2" y="13"/>
                    </a:cubicBezTo>
                    <a:cubicBezTo>
                      <a:pt x="2" y="14"/>
                      <a:pt x="3" y="14"/>
                      <a:pt x="3" y="15"/>
                    </a:cubicBezTo>
                    <a:cubicBezTo>
                      <a:pt x="3" y="16"/>
                      <a:pt x="2" y="17"/>
                      <a:pt x="2" y="18"/>
                    </a:cubicBezTo>
                    <a:cubicBezTo>
                      <a:pt x="1" y="18"/>
                      <a:pt x="2" y="19"/>
                      <a:pt x="1" y="19"/>
                    </a:cubicBezTo>
                    <a:cubicBezTo>
                      <a:pt x="1" y="20"/>
                      <a:pt x="1" y="20"/>
                      <a:pt x="1" y="20"/>
                    </a:cubicBezTo>
                    <a:cubicBezTo>
                      <a:pt x="0" y="22"/>
                      <a:pt x="2" y="23"/>
                      <a:pt x="2" y="25"/>
                    </a:cubicBezTo>
                    <a:cubicBezTo>
                      <a:pt x="3" y="26"/>
                      <a:pt x="3" y="26"/>
                      <a:pt x="4" y="27"/>
                    </a:cubicBezTo>
                    <a:cubicBezTo>
                      <a:pt x="4" y="28"/>
                      <a:pt x="4" y="28"/>
                      <a:pt x="4" y="29"/>
                    </a:cubicBezTo>
                    <a:cubicBezTo>
                      <a:pt x="4" y="29"/>
                      <a:pt x="5" y="29"/>
                      <a:pt x="5" y="30"/>
                    </a:cubicBezTo>
                    <a:cubicBezTo>
                      <a:pt x="5" y="30"/>
                      <a:pt x="6" y="30"/>
                      <a:pt x="6" y="30"/>
                    </a:cubicBezTo>
                    <a:cubicBezTo>
                      <a:pt x="6" y="30"/>
                      <a:pt x="6" y="29"/>
                      <a:pt x="6" y="29"/>
                    </a:cubicBezTo>
                    <a:cubicBezTo>
                      <a:pt x="7" y="29"/>
                      <a:pt x="7" y="29"/>
                      <a:pt x="7" y="29"/>
                    </a:cubicBezTo>
                    <a:cubicBezTo>
                      <a:pt x="8" y="29"/>
                      <a:pt x="8" y="29"/>
                      <a:pt x="8" y="30"/>
                    </a:cubicBezTo>
                    <a:cubicBezTo>
                      <a:pt x="8" y="30"/>
                      <a:pt x="8" y="31"/>
                      <a:pt x="8" y="31"/>
                    </a:cubicBezTo>
                    <a:cubicBezTo>
                      <a:pt x="8" y="32"/>
                      <a:pt x="8" y="32"/>
                      <a:pt x="8" y="33"/>
                    </a:cubicBezTo>
                    <a:cubicBezTo>
                      <a:pt x="8" y="34"/>
                      <a:pt x="8" y="35"/>
                      <a:pt x="9" y="35"/>
                    </a:cubicBezTo>
                    <a:cubicBezTo>
                      <a:pt x="10" y="36"/>
                      <a:pt x="9" y="37"/>
                      <a:pt x="10" y="37"/>
                    </a:cubicBezTo>
                    <a:cubicBezTo>
                      <a:pt x="10" y="37"/>
                      <a:pt x="10" y="38"/>
                      <a:pt x="10" y="38"/>
                    </a:cubicBezTo>
                    <a:cubicBezTo>
                      <a:pt x="10" y="38"/>
                      <a:pt x="10" y="39"/>
                      <a:pt x="11" y="39"/>
                    </a:cubicBezTo>
                    <a:cubicBezTo>
                      <a:pt x="11" y="39"/>
                      <a:pt x="11" y="39"/>
                      <a:pt x="11" y="39"/>
                    </a:cubicBezTo>
                    <a:cubicBezTo>
                      <a:pt x="11" y="40"/>
                      <a:pt x="11" y="40"/>
                      <a:pt x="11" y="40"/>
                    </a:cubicBezTo>
                    <a:cubicBezTo>
                      <a:pt x="11" y="41"/>
                      <a:pt x="11" y="41"/>
                      <a:pt x="12" y="41"/>
                    </a:cubicBezTo>
                    <a:cubicBezTo>
                      <a:pt x="12" y="42"/>
                      <a:pt x="12" y="42"/>
                      <a:pt x="13" y="43"/>
                    </a:cubicBezTo>
                    <a:cubicBezTo>
                      <a:pt x="13" y="44"/>
                      <a:pt x="14" y="44"/>
                      <a:pt x="14" y="44"/>
                    </a:cubicBezTo>
                    <a:cubicBezTo>
                      <a:pt x="15" y="44"/>
                      <a:pt x="15" y="45"/>
                      <a:pt x="16" y="45"/>
                    </a:cubicBezTo>
                    <a:cubicBezTo>
                      <a:pt x="16" y="45"/>
                      <a:pt x="16" y="45"/>
                      <a:pt x="17" y="45"/>
                    </a:cubicBezTo>
                    <a:cubicBezTo>
                      <a:pt x="17" y="45"/>
                      <a:pt x="17" y="45"/>
                      <a:pt x="18" y="46"/>
                    </a:cubicBezTo>
                    <a:cubicBezTo>
                      <a:pt x="18" y="46"/>
                      <a:pt x="19" y="46"/>
                      <a:pt x="20" y="46"/>
                    </a:cubicBezTo>
                    <a:cubicBezTo>
                      <a:pt x="21" y="46"/>
                      <a:pt x="21" y="45"/>
                      <a:pt x="21" y="44"/>
                    </a:cubicBezTo>
                    <a:cubicBezTo>
                      <a:pt x="21" y="44"/>
                      <a:pt x="21" y="43"/>
                      <a:pt x="20" y="43"/>
                    </a:cubicBezTo>
                    <a:cubicBezTo>
                      <a:pt x="20" y="43"/>
                      <a:pt x="20" y="43"/>
                      <a:pt x="20" y="42"/>
                    </a:cubicBezTo>
                    <a:cubicBezTo>
                      <a:pt x="20" y="42"/>
                      <a:pt x="19" y="41"/>
                      <a:pt x="19" y="41"/>
                    </a:cubicBezTo>
                    <a:cubicBezTo>
                      <a:pt x="18" y="42"/>
                      <a:pt x="19" y="41"/>
                      <a:pt x="19" y="41"/>
                    </a:cubicBezTo>
                    <a:cubicBezTo>
                      <a:pt x="19" y="40"/>
                      <a:pt x="19" y="41"/>
                      <a:pt x="20" y="40"/>
                    </a:cubicBezTo>
                    <a:cubicBezTo>
                      <a:pt x="20" y="40"/>
                      <a:pt x="20" y="40"/>
                      <a:pt x="20" y="40"/>
                    </a:cubicBezTo>
                    <a:cubicBezTo>
                      <a:pt x="20" y="39"/>
                      <a:pt x="20" y="38"/>
                      <a:pt x="21" y="38"/>
                    </a:cubicBezTo>
                    <a:cubicBezTo>
                      <a:pt x="21" y="38"/>
                      <a:pt x="21" y="39"/>
                      <a:pt x="22" y="39"/>
                    </a:cubicBezTo>
                    <a:cubicBezTo>
                      <a:pt x="22" y="40"/>
                      <a:pt x="23" y="40"/>
                      <a:pt x="24" y="40"/>
                    </a:cubicBezTo>
                    <a:cubicBezTo>
                      <a:pt x="25" y="39"/>
                      <a:pt x="25" y="40"/>
                      <a:pt x="26" y="40"/>
                    </a:cubicBezTo>
                    <a:cubicBezTo>
                      <a:pt x="26" y="39"/>
                      <a:pt x="26" y="39"/>
                      <a:pt x="27" y="39"/>
                    </a:cubicBezTo>
                    <a:cubicBezTo>
                      <a:pt x="27" y="38"/>
                      <a:pt x="27" y="39"/>
                      <a:pt x="28" y="39"/>
                    </a:cubicBezTo>
                    <a:cubicBezTo>
                      <a:pt x="28" y="38"/>
                      <a:pt x="28" y="38"/>
                      <a:pt x="29" y="38"/>
                    </a:cubicBezTo>
                    <a:cubicBezTo>
                      <a:pt x="29" y="38"/>
                      <a:pt x="29" y="38"/>
                      <a:pt x="29" y="38"/>
                    </a:cubicBezTo>
                    <a:cubicBezTo>
                      <a:pt x="29" y="38"/>
                      <a:pt x="30" y="38"/>
                      <a:pt x="30" y="38"/>
                    </a:cubicBezTo>
                    <a:cubicBezTo>
                      <a:pt x="30" y="37"/>
                      <a:pt x="30" y="38"/>
                      <a:pt x="30" y="39"/>
                    </a:cubicBezTo>
                    <a:cubicBezTo>
                      <a:pt x="30" y="39"/>
                      <a:pt x="31" y="39"/>
                      <a:pt x="31" y="39"/>
                    </a:cubicBezTo>
                    <a:cubicBezTo>
                      <a:pt x="32" y="40"/>
                      <a:pt x="32" y="39"/>
                      <a:pt x="33" y="39"/>
                    </a:cubicBezTo>
                    <a:cubicBezTo>
                      <a:pt x="33" y="40"/>
                      <a:pt x="32" y="40"/>
                      <a:pt x="33" y="41"/>
                    </a:cubicBezTo>
                    <a:cubicBezTo>
                      <a:pt x="33" y="41"/>
                      <a:pt x="34" y="40"/>
                      <a:pt x="34" y="40"/>
                    </a:cubicBezTo>
                    <a:cubicBezTo>
                      <a:pt x="35" y="41"/>
                      <a:pt x="34" y="39"/>
                      <a:pt x="35" y="40"/>
                    </a:cubicBezTo>
                    <a:cubicBezTo>
                      <a:pt x="36" y="40"/>
                      <a:pt x="36" y="39"/>
                      <a:pt x="36" y="38"/>
                    </a:cubicBezTo>
                    <a:cubicBezTo>
                      <a:pt x="36" y="37"/>
                      <a:pt x="37" y="37"/>
                      <a:pt x="37" y="36"/>
                    </a:cubicBezTo>
                    <a:cubicBezTo>
                      <a:pt x="38" y="35"/>
                      <a:pt x="38" y="35"/>
                      <a:pt x="38" y="34"/>
                    </a:cubicBezTo>
                    <a:cubicBezTo>
                      <a:pt x="38" y="34"/>
                      <a:pt x="38" y="32"/>
                      <a:pt x="38" y="32"/>
                    </a:cubicBezTo>
                    <a:cubicBezTo>
                      <a:pt x="38" y="31"/>
                      <a:pt x="39" y="30"/>
                      <a:pt x="39" y="29"/>
                    </a:cubicBezTo>
                    <a:cubicBezTo>
                      <a:pt x="40" y="28"/>
                      <a:pt x="40" y="28"/>
                      <a:pt x="40" y="27"/>
                    </a:cubicBezTo>
                    <a:cubicBezTo>
                      <a:pt x="40" y="26"/>
                      <a:pt x="39" y="26"/>
                      <a:pt x="39" y="26"/>
                    </a:cubicBezTo>
                    <a:cubicBezTo>
                      <a:pt x="39" y="26"/>
                      <a:pt x="39" y="25"/>
                      <a:pt x="39" y="25"/>
                    </a:cubicBezTo>
                    <a:cubicBezTo>
                      <a:pt x="38" y="24"/>
                      <a:pt x="38" y="24"/>
                      <a:pt x="38" y="24"/>
                    </a:cubicBezTo>
                    <a:cubicBezTo>
                      <a:pt x="37" y="23"/>
                      <a:pt x="37" y="23"/>
                      <a:pt x="37" y="23"/>
                    </a:cubicBezTo>
                    <a:cubicBezTo>
                      <a:pt x="37" y="22"/>
                      <a:pt x="36" y="22"/>
                      <a:pt x="36" y="21"/>
                    </a:cubicBezTo>
                    <a:cubicBezTo>
                      <a:pt x="37" y="21"/>
                      <a:pt x="37" y="21"/>
                      <a:pt x="36" y="20"/>
                    </a:cubicBezTo>
                    <a:cubicBezTo>
                      <a:pt x="36" y="20"/>
                      <a:pt x="36" y="20"/>
                      <a:pt x="36" y="19"/>
                    </a:cubicBezTo>
                    <a:cubicBezTo>
                      <a:pt x="36" y="19"/>
                      <a:pt x="36" y="18"/>
                      <a:pt x="36" y="18"/>
                    </a:cubicBezTo>
                    <a:cubicBezTo>
                      <a:pt x="35" y="17"/>
                      <a:pt x="36" y="16"/>
                      <a:pt x="36" y="14"/>
                    </a:cubicBezTo>
                    <a:cubicBezTo>
                      <a:pt x="36" y="14"/>
                      <a:pt x="35" y="14"/>
                      <a:pt x="35" y="13"/>
                    </a:cubicBezTo>
                    <a:cubicBezTo>
                      <a:pt x="35" y="12"/>
                      <a:pt x="35" y="12"/>
                      <a:pt x="36" y="11"/>
                    </a:cubicBezTo>
                    <a:cubicBezTo>
                      <a:pt x="36" y="11"/>
                      <a:pt x="36" y="10"/>
                      <a:pt x="37" y="1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8" name="Sudan">
                <a:extLst>
                  <a:ext uri="{FF2B5EF4-FFF2-40B4-BE49-F238E27FC236}">
                    <a16:creationId xmlns:a16="http://schemas.microsoft.com/office/drawing/2014/main" id="{26FCEC8E-CF0C-2F03-B13D-801A14CA4866}"/>
                  </a:ext>
                </a:extLst>
              </p:cNvPr>
              <p:cNvSpPr>
                <a:spLocks noChangeAspect="1"/>
              </p:cNvSpPr>
              <p:nvPr/>
            </p:nvSpPr>
            <p:spPr bwMode="auto">
              <a:xfrm>
                <a:off x="6440629" y="3143580"/>
                <a:ext cx="566905" cy="567801"/>
              </a:xfrm>
              <a:custGeom>
                <a:avLst/>
                <a:gdLst>
                  <a:gd name="connsiteX0" fmla="*/ 4441673 w 4466629"/>
                  <a:gd name="connsiteY0" fmla="*/ 1544540 h 4473688"/>
                  <a:gd name="connsiteX1" fmla="*/ 4453518 w 4466629"/>
                  <a:gd name="connsiteY1" fmla="*/ 1548928 h 4473688"/>
                  <a:gd name="connsiteX2" fmla="*/ 4452992 w 4466629"/>
                  <a:gd name="connsiteY2" fmla="*/ 1552781 h 4473688"/>
                  <a:gd name="connsiteX3" fmla="*/ 4385521 w 4466629"/>
                  <a:gd name="connsiteY3" fmla="*/ 1488375 h 4473688"/>
                  <a:gd name="connsiteX4" fmla="*/ 4357445 w 4466629"/>
                  <a:gd name="connsiteY4" fmla="*/ 1516457 h 4473688"/>
                  <a:gd name="connsiteX5" fmla="*/ 4385521 w 4466629"/>
                  <a:gd name="connsiteY5" fmla="*/ 1488375 h 4473688"/>
                  <a:gd name="connsiteX6" fmla="*/ 4068654 w 4466629"/>
                  <a:gd name="connsiteY6" fmla="*/ 626622 h 4473688"/>
                  <a:gd name="connsiteX7" fmla="*/ 4073174 w 4466629"/>
                  <a:gd name="connsiteY7" fmla="*/ 631857 h 4473688"/>
                  <a:gd name="connsiteX8" fmla="*/ 4076684 w 4466629"/>
                  <a:gd name="connsiteY8" fmla="*/ 645899 h 4473688"/>
                  <a:gd name="connsiteX9" fmla="*/ 4048607 w 4466629"/>
                  <a:gd name="connsiteY9" fmla="*/ 617816 h 4473688"/>
                  <a:gd name="connsiteX10" fmla="*/ 4076684 w 4466629"/>
                  <a:gd name="connsiteY10" fmla="*/ 645899 h 4473688"/>
                  <a:gd name="connsiteX11" fmla="*/ 4048607 w 4466629"/>
                  <a:gd name="connsiteY11" fmla="*/ 617816 h 4473688"/>
                  <a:gd name="connsiteX12" fmla="*/ 4048607 w 4466629"/>
                  <a:gd name="connsiteY12" fmla="*/ 603774 h 4473688"/>
                  <a:gd name="connsiteX13" fmla="*/ 4048607 w 4466629"/>
                  <a:gd name="connsiteY13" fmla="*/ 603775 h 4473688"/>
                  <a:gd name="connsiteX14" fmla="*/ 4067910 w 4466629"/>
                  <a:gd name="connsiteY14" fmla="*/ 624837 h 4473688"/>
                  <a:gd name="connsiteX15" fmla="*/ 4068654 w 4466629"/>
                  <a:gd name="connsiteY15" fmla="*/ 626622 h 4473688"/>
                  <a:gd name="connsiteX16" fmla="*/ 4064839 w 4466629"/>
                  <a:gd name="connsiteY16" fmla="*/ 622204 h 4473688"/>
                  <a:gd name="connsiteX17" fmla="*/ 4048607 w 4466629"/>
                  <a:gd name="connsiteY17" fmla="*/ 617816 h 4473688"/>
                  <a:gd name="connsiteX18" fmla="*/ 4048607 w 4466629"/>
                  <a:gd name="connsiteY18" fmla="*/ 589733 h 4473688"/>
                  <a:gd name="connsiteX19" fmla="*/ 4048607 w 4466629"/>
                  <a:gd name="connsiteY19" fmla="*/ 601581 h 4473688"/>
                  <a:gd name="connsiteX20" fmla="*/ 4048607 w 4466629"/>
                  <a:gd name="connsiteY20" fmla="*/ 603774 h 4473688"/>
                  <a:gd name="connsiteX21" fmla="*/ 4036050 w 4466629"/>
                  <a:gd name="connsiteY21" fmla="*/ 590073 h 4473688"/>
                  <a:gd name="connsiteX22" fmla="*/ 3599390 w 4466629"/>
                  <a:gd name="connsiteY22" fmla="*/ 0 h 4473688"/>
                  <a:gd name="connsiteX23" fmla="*/ 3655543 w 4466629"/>
                  <a:gd name="connsiteY23" fmla="*/ 84248 h 4473688"/>
                  <a:gd name="connsiteX24" fmla="*/ 3655543 w 4466629"/>
                  <a:gd name="connsiteY24" fmla="*/ 56165 h 4473688"/>
                  <a:gd name="connsiteX25" fmla="*/ 3683619 w 4466629"/>
                  <a:gd name="connsiteY25" fmla="*/ 112330 h 4473688"/>
                  <a:gd name="connsiteX26" fmla="*/ 3711695 w 4466629"/>
                  <a:gd name="connsiteY26" fmla="*/ 140413 h 4473688"/>
                  <a:gd name="connsiteX27" fmla="*/ 3795923 w 4466629"/>
                  <a:gd name="connsiteY27" fmla="*/ 168495 h 4473688"/>
                  <a:gd name="connsiteX28" fmla="*/ 3823999 w 4466629"/>
                  <a:gd name="connsiteY28" fmla="*/ 196578 h 4473688"/>
                  <a:gd name="connsiteX29" fmla="*/ 3852075 w 4466629"/>
                  <a:gd name="connsiteY29" fmla="*/ 252743 h 4473688"/>
                  <a:gd name="connsiteX30" fmla="*/ 3908227 w 4466629"/>
                  <a:gd name="connsiteY30" fmla="*/ 280826 h 4473688"/>
                  <a:gd name="connsiteX31" fmla="*/ 3964379 w 4466629"/>
                  <a:gd name="connsiteY31" fmla="*/ 336991 h 4473688"/>
                  <a:gd name="connsiteX32" fmla="*/ 3964379 w 4466629"/>
                  <a:gd name="connsiteY32" fmla="*/ 393156 h 4473688"/>
                  <a:gd name="connsiteX33" fmla="*/ 3964379 w 4466629"/>
                  <a:gd name="connsiteY33" fmla="*/ 421238 h 4473688"/>
                  <a:gd name="connsiteX34" fmla="*/ 4020531 w 4466629"/>
                  <a:gd name="connsiteY34" fmla="*/ 561651 h 4473688"/>
                  <a:gd name="connsiteX35" fmla="*/ 4029305 w 4466629"/>
                  <a:gd name="connsiteY35" fmla="*/ 582713 h 4473688"/>
                  <a:gd name="connsiteX36" fmla="*/ 4036050 w 4466629"/>
                  <a:gd name="connsiteY36" fmla="*/ 590073 h 4473688"/>
                  <a:gd name="connsiteX37" fmla="*/ 4032376 w 4466629"/>
                  <a:gd name="connsiteY37" fmla="*/ 590172 h 4473688"/>
                  <a:gd name="connsiteX38" fmla="*/ 4020531 w 4466629"/>
                  <a:gd name="connsiteY38" fmla="*/ 617816 h 4473688"/>
                  <a:gd name="connsiteX39" fmla="*/ 4048607 w 4466629"/>
                  <a:gd name="connsiteY39" fmla="*/ 645899 h 4473688"/>
                  <a:gd name="connsiteX40" fmla="*/ 4020531 w 4466629"/>
                  <a:gd name="connsiteY40" fmla="*/ 645899 h 4473688"/>
                  <a:gd name="connsiteX41" fmla="*/ 4048607 w 4466629"/>
                  <a:gd name="connsiteY41" fmla="*/ 673981 h 4473688"/>
                  <a:gd name="connsiteX42" fmla="*/ 4048607 w 4466629"/>
                  <a:gd name="connsiteY42" fmla="*/ 702064 h 4473688"/>
                  <a:gd name="connsiteX43" fmla="*/ 4076684 w 4466629"/>
                  <a:gd name="connsiteY43" fmla="*/ 786311 h 4473688"/>
                  <a:gd name="connsiteX44" fmla="*/ 4048607 w 4466629"/>
                  <a:gd name="connsiteY44" fmla="*/ 842476 h 4473688"/>
                  <a:gd name="connsiteX45" fmla="*/ 4076684 w 4466629"/>
                  <a:gd name="connsiteY45" fmla="*/ 898641 h 4473688"/>
                  <a:gd name="connsiteX46" fmla="*/ 4076684 w 4466629"/>
                  <a:gd name="connsiteY46" fmla="*/ 954807 h 4473688"/>
                  <a:gd name="connsiteX47" fmla="*/ 4076684 w 4466629"/>
                  <a:gd name="connsiteY47" fmla="*/ 1039054 h 4473688"/>
                  <a:gd name="connsiteX48" fmla="*/ 4104760 w 4466629"/>
                  <a:gd name="connsiteY48" fmla="*/ 1123302 h 4473688"/>
                  <a:gd name="connsiteX49" fmla="*/ 4132836 w 4466629"/>
                  <a:gd name="connsiteY49" fmla="*/ 1235632 h 4473688"/>
                  <a:gd name="connsiteX50" fmla="*/ 4132836 w 4466629"/>
                  <a:gd name="connsiteY50" fmla="*/ 1263714 h 4473688"/>
                  <a:gd name="connsiteX51" fmla="*/ 4132836 w 4466629"/>
                  <a:gd name="connsiteY51" fmla="*/ 1319880 h 4473688"/>
                  <a:gd name="connsiteX52" fmla="*/ 4160912 w 4466629"/>
                  <a:gd name="connsiteY52" fmla="*/ 1347962 h 4473688"/>
                  <a:gd name="connsiteX53" fmla="*/ 4217064 w 4466629"/>
                  <a:gd name="connsiteY53" fmla="*/ 1376045 h 4473688"/>
                  <a:gd name="connsiteX54" fmla="*/ 4245140 w 4466629"/>
                  <a:gd name="connsiteY54" fmla="*/ 1404127 h 4473688"/>
                  <a:gd name="connsiteX55" fmla="*/ 4245140 w 4466629"/>
                  <a:gd name="connsiteY55" fmla="*/ 1376045 h 4473688"/>
                  <a:gd name="connsiteX56" fmla="*/ 4301293 w 4466629"/>
                  <a:gd name="connsiteY56" fmla="*/ 1432210 h 4473688"/>
                  <a:gd name="connsiteX57" fmla="*/ 4329369 w 4466629"/>
                  <a:gd name="connsiteY57" fmla="*/ 1460292 h 4473688"/>
                  <a:gd name="connsiteX58" fmla="*/ 4357445 w 4466629"/>
                  <a:gd name="connsiteY58" fmla="*/ 1516457 h 4473688"/>
                  <a:gd name="connsiteX59" fmla="*/ 4413597 w 4466629"/>
                  <a:gd name="connsiteY59" fmla="*/ 1516457 h 4473688"/>
                  <a:gd name="connsiteX60" fmla="*/ 4441673 w 4466629"/>
                  <a:gd name="connsiteY60" fmla="*/ 1544540 h 4473688"/>
                  <a:gd name="connsiteX61" fmla="*/ 4441673 w 4466629"/>
                  <a:gd name="connsiteY61" fmla="*/ 1572623 h 4473688"/>
                  <a:gd name="connsiteX62" fmla="*/ 4452202 w 4466629"/>
                  <a:gd name="connsiteY62" fmla="*/ 1558581 h 4473688"/>
                  <a:gd name="connsiteX63" fmla="*/ 4452992 w 4466629"/>
                  <a:gd name="connsiteY63" fmla="*/ 1552781 h 4473688"/>
                  <a:gd name="connsiteX64" fmla="*/ 4457795 w 4466629"/>
                  <a:gd name="connsiteY64" fmla="*/ 1556278 h 4473688"/>
                  <a:gd name="connsiteX65" fmla="*/ 4441673 w 4466629"/>
                  <a:gd name="connsiteY65" fmla="*/ 1656870 h 4473688"/>
                  <a:gd name="connsiteX66" fmla="*/ 4413597 w 4466629"/>
                  <a:gd name="connsiteY66" fmla="*/ 1684953 h 4473688"/>
                  <a:gd name="connsiteX67" fmla="*/ 4385521 w 4466629"/>
                  <a:gd name="connsiteY67" fmla="*/ 1713035 h 4473688"/>
                  <a:gd name="connsiteX68" fmla="*/ 4385521 w 4466629"/>
                  <a:gd name="connsiteY68" fmla="*/ 1741118 h 4473688"/>
                  <a:gd name="connsiteX69" fmla="*/ 4357445 w 4466629"/>
                  <a:gd name="connsiteY69" fmla="*/ 1713035 h 4473688"/>
                  <a:gd name="connsiteX70" fmla="*/ 4329369 w 4466629"/>
                  <a:gd name="connsiteY70" fmla="*/ 1741118 h 4473688"/>
                  <a:gd name="connsiteX71" fmla="*/ 4301293 w 4466629"/>
                  <a:gd name="connsiteY71" fmla="*/ 1741118 h 4473688"/>
                  <a:gd name="connsiteX72" fmla="*/ 4273217 w 4466629"/>
                  <a:gd name="connsiteY72" fmla="*/ 1741118 h 4473688"/>
                  <a:gd name="connsiteX73" fmla="*/ 4217064 w 4466629"/>
                  <a:gd name="connsiteY73" fmla="*/ 1769200 h 4473688"/>
                  <a:gd name="connsiteX74" fmla="*/ 4188988 w 4466629"/>
                  <a:gd name="connsiteY74" fmla="*/ 1797283 h 4473688"/>
                  <a:gd name="connsiteX75" fmla="*/ 4188988 w 4466629"/>
                  <a:gd name="connsiteY75" fmla="*/ 1825365 h 4473688"/>
                  <a:gd name="connsiteX76" fmla="*/ 4160912 w 4466629"/>
                  <a:gd name="connsiteY76" fmla="*/ 1881530 h 4473688"/>
                  <a:gd name="connsiteX77" fmla="*/ 4132836 w 4466629"/>
                  <a:gd name="connsiteY77" fmla="*/ 1881530 h 4473688"/>
                  <a:gd name="connsiteX78" fmla="*/ 4104760 w 4466629"/>
                  <a:gd name="connsiteY78" fmla="*/ 1881530 h 4473688"/>
                  <a:gd name="connsiteX79" fmla="*/ 4048607 w 4466629"/>
                  <a:gd name="connsiteY79" fmla="*/ 1881530 h 4473688"/>
                  <a:gd name="connsiteX80" fmla="*/ 4048607 w 4466629"/>
                  <a:gd name="connsiteY80" fmla="*/ 1909613 h 4473688"/>
                  <a:gd name="connsiteX81" fmla="*/ 4048607 w 4466629"/>
                  <a:gd name="connsiteY81" fmla="*/ 1937695 h 4473688"/>
                  <a:gd name="connsiteX82" fmla="*/ 4048607 w 4466629"/>
                  <a:gd name="connsiteY82" fmla="*/ 1993861 h 4473688"/>
                  <a:gd name="connsiteX83" fmla="*/ 4048607 w 4466629"/>
                  <a:gd name="connsiteY83" fmla="*/ 2050026 h 4473688"/>
                  <a:gd name="connsiteX84" fmla="*/ 4048607 w 4466629"/>
                  <a:gd name="connsiteY84" fmla="*/ 2134273 h 4473688"/>
                  <a:gd name="connsiteX85" fmla="*/ 3992455 w 4466629"/>
                  <a:gd name="connsiteY85" fmla="*/ 2274686 h 4473688"/>
                  <a:gd name="connsiteX86" fmla="*/ 3964379 w 4466629"/>
                  <a:gd name="connsiteY86" fmla="*/ 2330851 h 4473688"/>
                  <a:gd name="connsiteX87" fmla="*/ 3964379 w 4466629"/>
                  <a:gd name="connsiteY87" fmla="*/ 2358934 h 4473688"/>
                  <a:gd name="connsiteX88" fmla="*/ 3964379 w 4466629"/>
                  <a:gd name="connsiteY88" fmla="*/ 2387016 h 4473688"/>
                  <a:gd name="connsiteX89" fmla="*/ 3936303 w 4466629"/>
                  <a:gd name="connsiteY89" fmla="*/ 2443181 h 4473688"/>
                  <a:gd name="connsiteX90" fmla="*/ 3936303 w 4466629"/>
                  <a:gd name="connsiteY90" fmla="*/ 2527429 h 4473688"/>
                  <a:gd name="connsiteX91" fmla="*/ 3936303 w 4466629"/>
                  <a:gd name="connsiteY91" fmla="*/ 2667842 h 4473688"/>
                  <a:gd name="connsiteX92" fmla="*/ 3964379 w 4466629"/>
                  <a:gd name="connsiteY92" fmla="*/ 2752089 h 4473688"/>
                  <a:gd name="connsiteX93" fmla="*/ 3936303 w 4466629"/>
                  <a:gd name="connsiteY93" fmla="*/ 2836337 h 4473688"/>
                  <a:gd name="connsiteX94" fmla="*/ 3936303 w 4466629"/>
                  <a:gd name="connsiteY94" fmla="*/ 2892502 h 4473688"/>
                  <a:gd name="connsiteX95" fmla="*/ 3908227 w 4466629"/>
                  <a:gd name="connsiteY95" fmla="*/ 2948667 h 4473688"/>
                  <a:gd name="connsiteX96" fmla="*/ 3880151 w 4466629"/>
                  <a:gd name="connsiteY96" fmla="*/ 3032915 h 4473688"/>
                  <a:gd name="connsiteX97" fmla="*/ 3880151 w 4466629"/>
                  <a:gd name="connsiteY97" fmla="*/ 3117162 h 4473688"/>
                  <a:gd name="connsiteX98" fmla="*/ 3852075 w 4466629"/>
                  <a:gd name="connsiteY98" fmla="*/ 3173327 h 4473688"/>
                  <a:gd name="connsiteX99" fmla="*/ 3880151 w 4466629"/>
                  <a:gd name="connsiteY99" fmla="*/ 3201410 h 4473688"/>
                  <a:gd name="connsiteX100" fmla="*/ 3852075 w 4466629"/>
                  <a:gd name="connsiteY100" fmla="*/ 3229493 h 4473688"/>
                  <a:gd name="connsiteX101" fmla="*/ 3852075 w 4466629"/>
                  <a:gd name="connsiteY101" fmla="*/ 3201410 h 4473688"/>
                  <a:gd name="connsiteX102" fmla="*/ 3795923 w 4466629"/>
                  <a:gd name="connsiteY102" fmla="*/ 3229493 h 4473688"/>
                  <a:gd name="connsiteX103" fmla="*/ 3739771 w 4466629"/>
                  <a:gd name="connsiteY103" fmla="*/ 3229493 h 4473688"/>
                  <a:gd name="connsiteX104" fmla="*/ 3739771 w 4466629"/>
                  <a:gd name="connsiteY104" fmla="*/ 3257575 h 4473688"/>
                  <a:gd name="connsiteX105" fmla="*/ 3683619 w 4466629"/>
                  <a:gd name="connsiteY105" fmla="*/ 3369905 h 4473688"/>
                  <a:gd name="connsiteX106" fmla="*/ 3655543 w 4466629"/>
                  <a:gd name="connsiteY106" fmla="*/ 3426070 h 4473688"/>
                  <a:gd name="connsiteX107" fmla="*/ 3599390 w 4466629"/>
                  <a:gd name="connsiteY107" fmla="*/ 3482235 h 4473688"/>
                  <a:gd name="connsiteX108" fmla="*/ 3599390 w 4466629"/>
                  <a:gd name="connsiteY108" fmla="*/ 3594565 h 4473688"/>
                  <a:gd name="connsiteX109" fmla="*/ 3571314 w 4466629"/>
                  <a:gd name="connsiteY109" fmla="*/ 3650731 h 4473688"/>
                  <a:gd name="connsiteX110" fmla="*/ 3571314 w 4466629"/>
                  <a:gd name="connsiteY110" fmla="*/ 3678813 h 4473688"/>
                  <a:gd name="connsiteX111" fmla="*/ 3543238 w 4466629"/>
                  <a:gd name="connsiteY111" fmla="*/ 3763061 h 4473688"/>
                  <a:gd name="connsiteX112" fmla="*/ 3543238 w 4466629"/>
                  <a:gd name="connsiteY112" fmla="*/ 3791143 h 4473688"/>
                  <a:gd name="connsiteX113" fmla="*/ 3515162 w 4466629"/>
                  <a:gd name="connsiteY113" fmla="*/ 3819226 h 4473688"/>
                  <a:gd name="connsiteX114" fmla="*/ 3487086 w 4466629"/>
                  <a:gd name="connsiteY114" fmla="*/ 3791143 h 4473688"/>
                  <a:gd name="connsiteX115" fmla="*/ 3430934 w 4466629"/>
                  <a:gd name="connsiteY115" fmla="*/ 3791143 h 4473688"/>
                  <a:gd name="connsiteX116" fmla="*/ 3402858 w 4466629"/>
                  <a:gd name="connsiteY116" fmla="*/ 3847308 h 4473688"/>
                  <a:gd name="connsiteX117" fmla="*/ 3374782 w 4466629"/>
                  <a:gd name="connsiteY117" fmla="*/ 3875391 h 4473688"/>
                  <a:gd name="connsiteX118" fmla="*/ 3402858 w 4466629"/>
                  <a:gd name="connsiteY118" fmla="*/ 3987721 h 4473688"/>
                  <a:gd name="connsiteX119" fmla="*/ 3374782 w 4466629"/>
                  <a:gd name="connsiteY119" fmla="*/ 4043886 h 4473688"/>
                  <a:gd name="connsiteX120" fmla="*/ 3323455 w 4466629"/>
                  <a:gd name="connsiteY120" fmla="*/ 4193952 h 4473688"/>
                  <a:gd name="connsiteX121" fmla="*/ 3318780 w 4466629"/>
                  <a:gd name="connsiteY121" fmla="*/ 4239010 h 4473688"/>
                  <a:gd name="connsiteX122" fmla="*/ 3292278 w 4466629"/>
                  <a:gd name="connsiteY122" fmla="*/ 4242907 h 4473688"/>
                  <a:gd name="connsiteX123" fmla="*/ 3287515 w 4466629"/>
                  <a:gd name="connsiteY123" fmla="*/ 4184170 h 4473688"/>
                  <a:gd name="connsiteX124" fmla="*/ 3325615 w 4466629"/>
                  <a:gd name="connsiteY124" fmla="*/ 4127020 h 4473688"/>
                  <a:gd name="connsiteX125" fmla="*/ 3316090 w 4466629"/>
                  <a:gd name="connsiteY125" fmla="*/ 4104795 h 4473688"/>
                  <a:gd name="connsiteX126" fmla="*/ 3314503 w 4466629"/>
                  <a:gd name="connsiteY126" fmla="*/ 4041295 h 4473688"/>
                  <a:gd name="connsiteX127" fmla="*/ 3241478 w 4466629"/>
                  <a:gd name="connsiteY127" fmla="*/ 3973032 h 4473688"/>
                  <a:gd name="connsiteX128" fmla="*/ 3160515 w 4466629"/>
                  <a:gd name="connsiteY128" fmla="*/ 3892070 h 4473688"/>
                  <a:gd name="connsiteX129" fmla="*/ 3125590 w 4466629"/>
                  <a:gd name="connsiteY129" fmla="*/ 3871432 h 4473688"/>
                  <a:gd name="connsiteX130" fmla="*/ 3085903 w 4466629"/>
                  <a:gd name="connsiteY130" fmla="*/ 3852382 h 4473688"/>
                  <a:gd name="connsiteX131" fmla="*/ 3095428 w 4466629"/>
                  <a:gd name="connsiteY131" fmla="*/ 3823807 h 4473688"/>
                  <a:gd name="connsiteX132" fmla="*/ 3073203 w 4466629"/>
                  <a:gd name="connsiteY132" fmla="*/ 3592032 h 4473688"/>
                  <a:gd name="connsiteX133" fmla="*/ 3084315 w 4466629"/>
                  <a:gd name="connsiteY133" fmla="*/ 3531707 h 4473688"/>
                  <a:gd name="connsiteX134" fmla="*/ 3095428 w 4466629"/>
                  <a:gd name="connsiteY134" fmla="*/ 3466620 h 4473688"/>
                  <a:gd name="connsiteX135" fmla="*/ 3103365 w 4466629"/>
                  <a:gd name="connsiteY135" fmla="*/ 3457095 h 4473688"/>
                  <a:gd name="connsiteX136" fmla="*/ 3106540 w 4466629"/>
                  <a:gd name="connsiteY136" fmla="*/ 3395182 h 4473688"/>
                  <a:gd name="connsiteX137" fmla="*/ 2966840 w 4466629"/>
                  <a:gd name="connsiteY137" fmla="*/ 3392007 h 4473688"/>
                  <a:gd name="connsiteX138" fmla="*/ 2979540 w 4466629"/>
                  <a:gd name="connsiteY138" fmla="*/ 3460270 h 4473688"/>
                  <a:gd name="connsiteX139" fmla="*/ 2793803 w 4466629"/>
                  <a:gd name="connsiteY139" fmla="*/ 3460270 h 4473688"/>
                  <a:gd name="connsiteX140" fmla="*/ 2862065 w 4466629"/>
                  <a:gd name="connsiteY140" fmla="*/ 3547582 h 4473688"/>
                  <a:gd name="connsiteX141" fmla="*/ 2871590 w 4466629"/>
                  <a:gd name="connsiteY141" fmla="*/ 3701570 h 4473688"/>
                  <a:gd name="connsiteX142" fmla="*/ 2898578 w 4466629"/>
                  <a:gd name="connsiteY142" fmla="*/ 3753957 h 4473688"/>
                  <a:gd name="connsiteX143" fmla="*/ 2754115 w 4466629"/>
                  <a:gd name="connsiteY143" fmla="*/ 3877782 h 4473688"/>
                  <a:gd name="connsiteX144" fmla="*/ 2728715 w 4466629"/>
                  <a:gd name="connsiteY144" fmla="*/ 3960332 h 4473688"/>
                  <a:gd name="connsiteX145" fmla="*/ 2631878 w 4466629"/>
                  <a:gd name="connsiteY145" fmla="*/ 4060345 h 4473688"/>
                  <a:gd name="connsiteX146" fmla="*/ 2558853 w 4466629"/>
                  <a:gd name="connsiteY146" fmla="*/ 4141307 h 4473688"/>
                  <a:gd name="connsiteX147" fmla="*/ 2503290 w 4466629"/>
                  <a:gd name="connsiteY147" fmla="*/ 4147657 h 4473688"/>
                  <a:gd name="connsiteX148" fmla="*/ 2446140 w 4466629"/>
                  <a:gd name="connsiteY148" fmla="*/ 4157182 h 4473688"/>
                  <a:gd name="connsiteX149" fmla="*/ 2366765 w 4466629"/>
                  <a:gd name="connsiteY149" fmla="*/ 4080982 h 4473688"/>
                  <a:gd name="connsiteX150" fmla="*/ 2230240 w 4466629"/>
                  <a:gd name="connsiteY150" fmla="*/ 3993670 h 4473688"/>
                  <a:gd name="connsiteX151" fmla="*/ 2134990 w 4466629"/>
                  <a:gd name="connsiteY151" fmla="*/ 4047645 h 4473688"/>
                  <a:gd name="connsiteX152" fmla="*/ 2123878 w 4466629"/>
                  <a:gd name="connsiteY152" fmla="*/ 4119082 h 4473688"/>
                  <a:gd name="connsiteX153" fmla="*/ 2084190 w 4466629"/>
                  <a:gd name="connsiteY153" fmla="*/ 4149245 h 4473688"/>
                  <a:gd name="connsiteX154" fmla="*/ 2046090 w 4466629"/>
                  <a:gd name="connsiteY154" fmla="*/ 4161945 h 4473688"/>
                  <a:gd name="connsiteX155" fmla="*/ 2028628 w 4466629"/>
                  <a:gd name="connsiteY155" fmla="*/ 4171470 h 4473688"/>
                  <a:gd name="connsiteX156" fmla="*/ 2020690 w 4466629"/>
                  <a:gd name="connsiteY156" fmla="*/ 4173057 h 4473688"/>
                  <a:gd name="connsiteX157" fmla="*/ 2015928 w 4466629"/>
                  <a:gd name="connsiteY157" fmla="*/ 4176232 h 4473688"/>
                  <a:gd name="connsiteX158" fmla="*/ 2007990 w 4466629"/>
                  <a:gd name="connsiteY158" fmla="*/ 4177820 h 4473688"/>
                  <a:gd name="connsiteX159" fmla="*/ 1996878 w 4466629"/>
                  <a:gd name="connsiteY159" fmla="*/ 4182582 h 4473688"/>
                  <a:gd name="connsiteX160" fmla="*/ 1995290 w 4466629"/>
                  <a:gd name="connsiteY160" fmla="*/ 4187345 h 4473688"/>
                  <a:gd name="connsiteX161" fmla="*/ 1984178 w 4466629"/>
                  <a:gd name="connsiteY161" fmla="*/ 4190520 h 4473688"/>
                  <a:gd name="connsiteX162" fmla="*/ 1966715 w 4466629"/>
                  <a:gd name="connsiteY162" fmla="*/ 4204807 h 4473688"/>
                  <a:gd name="connsiteX163" fmla="*/ 1925440 w 4466629"/>
                  <a:gd name="connsiteY163" fmla="*/ 4246082 h 4473688"/>
                  <a:gd name="connsiteX164" fmla="*/ 1922265 w 4466629"/>
                  <a:gd name="connsiteY164" fmla="*/ 4279420 h 4473688"/>
                  <a:gd name="connsiteX165" fmla="*/ 1709540 w 4466629"/>
                  <a:gd name="connsiteY165" fmla="*/ 4287357 h 4473688"/>
                  <a:gd name="connsiteX166" fmla="*/ 1658740 w 4466629"/>
                  <a:gd name="connsiteY166" fmla="*/ 4204807 h 4473688"/>
                  <a:gd name="connsiteX167" fmla="*/ 1573015 w 4466629"/>
                  <a:gd name="connsiteY167" fmla="*/ 4195282 h 4473688"/>
                  <a:gd name="connsiteX168" fmla="*/ 1492053 w 4466629"/>
                  <a:gd name="connsiteY168" fmla="*/ 4190520 h 4473688"/>
                  <a:gd name="connsiteX169" fmla="*/ 1446015 w 4466629"/>
                  <a:gd name="connsiteY169" fmla="*/ 4190520 h 4473688"/>
                  <a:gd name="connsiteX170" fmla="*/ 1395215 w 4466629"/>
                  <a:gd name="connsiteY170" fmla="*/ 4219095 h 4473688"/>
                  <a:gd name="connsiteX171" fmla="*/ 1347590 w 4466629"/>
                  <a:gd name="connsiteY171" fmla="*/ 4238145 h 4473688"/>
                  <a:gd name="connsiteX172" fmla="*/ 1320603 w 4466629"/>
                  <a:gd name="connsiteY172" fmla="*/ 4238145 h 4473688"/>
                  <a:gd name="connsiteX173" fmla="*/ 1301553 w 4466629"/>
                  <a:gd name="connsiteY173" fmla="*/ 4233382 h 4473688"/>
                  <a:gd name="connsiteX174" fmla="*/ 1274565 w 4466629"/>
                  <a:gd name="connsiteY174" fmla="*/ 4188932 h 4473688"/>
                  <a:gd name="connsiteX175" fmla="*/ 1203128 w 4466629"/>
                  <a:gd name="connsiteY175" fmla="*/ 4100032 h 4473688"/>
                  <a:gd name="connsiteX176" fmla="*/ 1171378 w 4466629"/>
                  <a:gd name="connsiteY176" fmla="*/ 4079395 h 4473688"/>
                  <a:gd name="connsiteX177" fmla="*/ 1157090 w 4466629"/>
                  <a:gd name="connsiteY177" fmla="*/ 4039707 h 4473688"/>
                  <a:gd name="connsiteX178" fmla="*/ 1145978 w 4466629"/>
                  <a:gd name="connsiteY178" fmla="*/ 4022245 h 4473688"/>
                  <a:gd name="connsiteX179" fmla="*/ 1126928 w 4466629"/>
                  <a:gd name="connsiteY179" fmla="*/ 4025420 h 4473688"/>
                  <a:gd name="connsiteX180" fmla="*/ 1134865 w 4466629"/>
                  <a:gd name="connsiteY180" fmla="*/ 3947632 h 4473688"/>
                  <a:gd name="connsiteX181" fmla="*/ 1082478 w 4466629"/>
                  <a:gd name="connsiteY181" fmla="*/ 3952395 h 4473688"/>
                  <a:gd name="connsiteX182" fmla="*/ 1050728 w 4466629"/>
                  <a:gd name="connsiteY182" fmla="*/ 3958745 h 4473688"/>
                  <a:gd name="connsiteX183" fmla="*/ 1012628 w 4466629"/>
                  <a:gd name="connsiteY183" fmla="*/ 3971445 h 4473688"/>
                  <a:gd name="connsiteX184" fmla="*/ 912615 w 4466629"/>
                  <a:gd name="connsiteY184" fmla="*/ 3985732 h 4473688"/>
                  <a:gd name="connsiteX185" fmla="*/ 887215 w 4466629"/>
                  <a:gd name="connsiteY185" fmla="*/ 4033357 h 4473688"/>
                  <a:gd name="connsiteX186" fmla="*/ 885628 w 4466629"/>
                  <a:gd name="connsiteY186" fmla="*/ 4066695 h 4473688"/>
                  <a:gd name="connsiteX187" fmla="*/ 890390 w 4466629"/>
                  <a:gd name="connsiteY187" fmla="*/ 4069870 h 4473688"/>
                  <a:gd name="connsiteX188" fmla="*/ 891978 w 4466629"/>
                  <a:gd name="connsiteY188" fmla="*/ 4074632 h 4473688"/>
                  <a:gd name="connsiteX189" fmla="*/ 895153 w 4466629"/>
                  <a:gd name="connsiteY189" fmla="*/ 4079395 h 4473688"/>
                  <a:gd name="connsiteX190" fmla="*/ 890390 w 4466629"/>
                  <a:gd name="connsiteY190" fmla="*/ 4082570 h 4473688"/>
                  <a:gd name="connsiteX191" fmla="*/ 885628 w 4466629"/>
                  <a:gd name="connsiteY191" fmla="*/ 4087332 h 4473688"/>
                  <a:gd name="connsiteX192" fmla="*/ 872928 w 4466629"/>
                  <a:gd name="connsiteY192" fmla="*/ 4093682 h 4473688"/>
                  <a:gd name="connsiteX193" fmla="*/ 826890 w 4466629"/>
                  <a:gd name="connsiteY193" fmla="*/ 4127020 h 4473688"/>
                  <a:gd name="connsiteX194" fmla="*/ 830065 w 4466629"/>
                  <a:gd name="connsiteY194" fmla="*/ 4225445 h 4473688"/>
                  <a:gd name="connsiteX195" fmla="*/ 799903 w 4466629"/>
                  <a:gd name="connsiteY195" fmla="*/ 4261957 h 4473688"/>
                  <a:gd name="connsiteX196" fmla="*/ 801490 w 4466629"/>
                  <a:gd name="connsiteY196" fmla="*/ 4319107 h 4473688"/>
                  <a:gd name="connsiteX197" fmla="*/ 764978 w 4466629"/>
                  <a:gd name="connsiteY197" fmla="*/ 4376257 h 4473688"/>
                  <a:gd name="connsiteX198" fmla="*/ 768153 w 4466629"/>
                  <a:gd name="connsiteY198" fmla="*/ 4422295 h 4473688"/>
                  <a:gd name="connsiteX199" fmla="*/ 747515 w 4466629"/>
                  <a:gd name="connsiteY199" fmla="*/ 4434995 h 4473688"/>
                  <a:gd name="connsiteX200" fmla="*/ 722115 w 4466629"/>
                  <a:gd name="connsiteY200" fmla="*/ 4422295 h 4473688"/>
                  <a:gd name="connsiteX201" fmla="*/ 656039 w 4466629"/>
                  <a:gd name="connsiteY201" fmla="*/ 4473688 h 4473688"/>
                  <a:gd name="connsiteX202" fmla="*/ 651401 w 4466629"/>
                  <a:gd name="connsiteY202" fmla="*/ 4465124 h 4473688"/>
                  <a:gd name="connsiteX203" fmla="*/ 623325 w 4466629"/>
                  <a:gd name="connsiteY203" fmla="*/ 4465124 h 4473688"/>
                  <a:gd name="connsiteX204" fmla="*/ 567173 w 4466629"/>
                  <a:gd name="connsiteY204" fmla="*/ 4437042 h 4473688"/>
                  <a:gd name="connsiteX205" fmla="*/ 511021 w 4466629"/>
                  <a:gd name="connsiteY205" fmla="*/ 4437042 h 4473688"/>
                  <a:gd name="connsiteX206" fmla="*/ 454869 w 4466629"/>
                  <a:gd name="connsiteY206" fmla="*/ 4437042 h 4473688"/>
                  <a:gd name="connsiteX207" fmla="*/ 482945 w 4466629"/>
                  <a:gd name="connsiteY207" fmla="*/ 4380877 h 4473688"/>
                  <a:gd name="connsiteX208" fmla="*/ 454869 w 4466629"/>
                  <a:gd name="connsiteY208" fmla="*/ 4380877 h 4473688"/>
                  <a:gd name="connsiteX209" fmla="*/ 454869 w 4466629"/>
                  <a:gd name="connsiteY209" fmla="*/ 4352794 h 4473688"/>
                  <a:gd name="connsiteX210" fmla="*/ 454869 w 4466629"/>
                  <a:gd name="connsiteY210" fmla="*/ 4296629 h 4473688"/>
                  <a:gd name="connsiteX211" fmla="*/ 482945 w 4466629"/>
                  <a:gd name="connsiteY211" fmla="*/ 4268547 h 4473688"/>
                  <a:gd name="connsiteX212" fmla="*/ 482945 w 4466629"/>
                  <a:gd name="connsiteY212" fmla="*/ 4212381 h 4473688"/>
                  <a:gd name="connsiteX213" fmla="*/ 511021 w 4466629"/>
                  <a:gd name="connsiteY213" fmla="*/ 4156216 h 4473688"/>
                  <a:gd name="connsiteX214" fmla="*/ 454869 w 4466629"/>
                  <a:gd name="connsiteY214" fmla="*/ 4015804 h 4473688"/>
                  <a:gd name="connsiteX215" fmla="*/ 370640 w 4466629"/>
                  <a:gd name="connsiteY215" fmla="*/ 3903473 h 4473688"/>
                  <a:gd name="connsiteX216" fmla="*/ 286412 w 4466629"/>
                  <a:gd name="connsiteY216" fmla="*/ 3791143 h 4473688"/>
                  <a:gd name="connsiteX217" fmla="*/ 314488 w 4466629"/>
                  <a:gd name="connsiteY217" fmla="*/ 3678813 h 4473688"/>
                  <a:gd name="connsiteX218" fmla="*/ 286412 w 4466629"/>
                  <a:gd name="connsiteY218" fmla="*/ 3622648 h 4473688"/>
                  <a:gd name="connsiteX219" fmla="*/ 258336 w 4466629"/>
                  <a:gd name="connsiteY219" fmla="*/ 3622648 h 4473688"/>
                  <a:gd name="connsiteX220" fmla="*/ 202184 w 4466629"/>
                  <a:gd name="connsiteY220" fmla="*/ 3510318 h 4473688"/>
                  <a:gd name="connsiteX221" fmla="*/ 202184 w 4466629"/>
                  <a:gd name="connsiteY221" fmla="*/ 3454153 h 4473688"/>
                  <a:gd name="connsiteX222" fmla="*/ 202184 w 4466629"/>
                  <a:gd name="connsiteY222" fmla="*/ 3426070 h 4473688"/>
                  <a:gd name="connsiteX223" fmla="*/ 174108 w 4466629"/>
                  <a:gd name="connsiteY223" fmla="*/ 3426070 h 4473688"/>
                  <a:gd name="connsiteX224" fmla="*/ 174108 w 4466629"/>
                  <a:gd name="connsiteY224" fmla="*/ 3369905 h 4473688"/>
                  <a:gd name="connsiteX225" fmla="*/ 146032 w 4466629"/>
                  <a:gd name="connsiteY225" fmla="*/ 3341823 h 4473688"/>
                  <a:gd name="connsiteX226" fmla="*/ 146032 w 4466629"/>
                  <a:gd name="connsiteY226" fmla="*/ 3257575 h 4473688"/>
                  <a:gd name="connsiteX227" fmla="*/ 117956 w 4466629"/>
                  <a:gd name="connsiteY227" fmla="*/ 3229493 h 4473688"/>
                  <a:gd name="connsiteX228" fmla="*/ 89880 w 4466629"/>
                  <a:gd name="connsiteY228" fmla="*/ 3229493 h 4473688"/>
                  <a:gd name="connsiteX229" fmla="*/ 5651 w 4466629"/>
                  <a:gd name="connsiteY229" fmla="*/ 3173327 h 4473688"/>
                  <a:gd name="connsiteX230" fmla="*/ 33727 w 4466629"/>
                  <a:gd name="connsiteY230" fmla="*/ 3089080 h 4473688"/>
                  <a:gd name="connsiteX231" fmla="*/ 117956 w 4466629"/>
                  <a:gd name="connsiteY231" fmla="*/ 3032915 h 4473688"/>
                  <a:gd name="connsiteX232" fmla="*/ 89880 w 4466629"/>
                  <a:gd name="connsiteY232" fmla="*/ 2976750 h 4473688"/>
                  <a:gd name="connsiteX233" fmla="*/ 89880 w 4466629"/>
                  <a:gd name="connsiteY233" fmla="*/ 2948667 h 4473688"/>
                  <a:gd name="connsiteX234" fmla="*/ 61804 w 4466629"/>
                  <a:gd name="connsiteY234" fmla="*/ 2920584 h 4473688"/>
                  <a:gd name="connsiteX235" fmla="*/ 61804 w 4466629"/>
                  <a:gd name="connsiteY235" fmla="*/ 2864419 h 4473688"/>
                  <a:gd name="connsiteX236" fmla="*/ 117956 w 4466629"/>
                  <a:gd name="connsiteY236" fmla="*/ 2808254 h 4473688"/>
                  <a:gd name="connsiteX237" fmla="*/ 146032 w 4466629"/>
                  <a:gd name="connsiteY237" fmla="*/ 2808254 h 4473688"/>
                  <a:gd name="connsiteX238" fmla="*/ 174108 w 4466629"/>
                  <a:gd name="connsiteY238" fmla="*/ 2780172 h 4473688"/>
                  <a:gd name="connsiteX239" fmla="*/ 174108 w 4466629"/>
                  <a:gd name="connsiteY239" fmla="*/ 2752089 h 4473688"/>
                  <a:gd name="connsiteX240" fmla="*/ 146032 w 4466629"/>
                  <a:gd name="connsiteY240" fmla="*/ 2695924 h 4473688"/>
                  <a:gd name="connsiteX241" fmla="*/ 146032 w 4466629"/>
                  <a:gd name="connsiteY241" fmla="*/ 2667842 h 4473688"/>
                  <a:gd name="connsiteX242" fmla="*/ 146032 w 4466629"/>
                  <a:gd name="connsiteY242" fmla="*/ 2639759 h 4473688"/>
                  <a:gd name="connsiteX243" fmla="*/ 174108 w 4466629"/>
                  <a:gd name="connsiteY243" fmla="*/ 2611677 h 4473688"/>
                  <a:gd name="connsiteX244" fmla="*/ 202184 w 4466629"/>
                  <a:gd name="connsiteY244" fmla="*/ 2611677 h 4473688"/>
                  <a:gd name="connsiteX245" fmla="*/ 202184 w 4466629"/>
                  <a:gd name="connsiteY245" fmla="*/ 2555512 h 4473688"/>
                  <a:gd name="connsiteX246" fmla="*/ 230260 w 4466629"/>
                  <a:gd name="connsiteY246" fmla="*/ 2527429 h 4473688"/>
                  <a:gd name="connsiteX247" fmla="*/ 230260 w 4466629"/>
                  <a:gd name="connsiteY247" fmla="*/ 2499347 h 4473688"/>
                  <a:gd name="connsiteX248" fmla="*/ 286412 w 4466629"/>
                  <a:gd name="connsiteY248" fmla="*/ 2471264 h 4473688"/>
                  <a:gd name="connsiteX249" fmla="*/ 286412 w 4466629"/>
                  <a:gd name="connsiteY249" fmla="*/ 2387016 h 4473688"/>
                  <a:gd name="connsiteX250" fmla="*/ 286412 w 4466629"/>
                  <a:gd name="connsiteY250" fmla="*/ 2330851 h 4473688"/>
                  <a:gd name="connsiteX251" fmla="*/ 370640 w 4466629"/>
                  <a:gd name="connsiteY251" fmla="*/ 2302769 h 4473688"/>
                  <a:gd name="connsiteX252" fmla="*/ 482945 w 4466629"/>
                  <a:gd name="connsiteY252" fmla="*/ 2274686 h 4473688"/>
                  <a:gd name="connsiteX253" fmla="*/ 567173 w 4466629"/>
                  <a:gd name="connsiteY253" fmla="*/ 2302769 h 4473688"/>
                  <a:gd name="connsiteX254" fmla="*/ 567173 w 4466629"/>
                  <a:gd name="connsiteY254" fmla="*/ 2021943 h 4473688"/>
                  <a:gd name="connsiteX255" fmla="*/ 539097 w 4466629"/>
                  <a:gd name="connsiteY255" fmla="*/ 1319880 h 4473688"/>
                  <a:gd name="connsiteX256" fmla="*/ 539097 w 4466629"/>
                  <a:gd name="connsiteY256" fmla="*/ 1151384 h 4473688"/>
                  <a:gd name="connsiteX257" fmla="*/ 539097 w 4466629"/>
                  <a:gd name="connsiteY257" fmla="*/ 982889 h 4473688"/>
                  <a:gd name="connsiteX258" fmla="*/ 651401 w 4466629"/>
                  <a:gd name="connsiteY258" fmla="*/ 954807 h 4473688"/>
                  <a:gd name="connsiteX259" fmla="*/ 819858 w 4466629"/>
                  <a:gd name="connsiteY259" fmla="*/ 954807 h 4473688"/>
                  <a:gd name="connsiteX260" fmla="*/ 791782 w 4466629"/>
                  <a:gd name="connsiteY260" fmla="*/ 336991 h 4473688"/>
                  <a:gd name="connsiteX261" fmla="*/ 1156771 w 4466629"/>
                  <a:gd name="connsiteY261" fmla="*/ 336991 h 4473688"/>
                  <a:gd name="connsiteX262" fmla="*/ 1858673 w 4466629"/>
                  <a:gd name="connsiteY262" fmla="*/ 336991 h 4473688"/>
                  <a:gd name="connsiteX263" fmla="*/ 2195586 w 4466629"/>
                  <a:gd name="connsiteY263" fmla="*/ 336991 h 4473688"/>
                  <a:gd name="connsiteX264" fmla="*/ 2392119 w 4466629"/>
                  <a:gd name="connsiteY264" fmla="*/ 336991 h 4473688"/>
                  <a:gd name="connsiteX265" fmla="*/ 2476347 w 4466629"/>
                  <a:gd name="connsiteY265" fmla="*/ 336991 h 4473688"/>
                  <a:gd name="connsiteX266" fmla="*/ 2532499 w 4466629"/>
                  <a:gd name="connsiteY266" fmla="*/ 280826 h 4473688"/>
                  <a:gd name="connsiteX267" fmla="*/ 2560575 w 4466629"/>
                  <a:gd name="connsiteY267" fmla="*/ 336991 h 4473688"/>
                  <a:gd name="connsiteX268" fmla="*/ 2897488 w 4466629"/>
                  <a:gd name="connsiteY268" fmla="*/ 336991 h 4473688"/>
                  <a:gd name="connsiteX269" fmla="*/ 2953640 w 4466629"/>
                  <a:gd name="connsiteY269" fmla="*/ 336991 h 4473688"/>
                  <a:gd name="connsiteX270" fmla="*/ 3009793 w 4466629"/>
                  <a:gd name="connsiteY270" fmla="*/ 393156 h 4473688"/>
                  <a:gd name="connsiteX271" fmla="*/ 3094021 w 4466629"/>
                  <a:gd name="connsiteY271" fmla="*/ 421238 h 4473688"/>
                  <a:gd name="connsiteX272" fmla="*/ 3178249 w 4466629"/>
                  <a:gd name="connsiteY272" fmla="*/ 421238 h 4473688"/>
                  <a:gd name="connsiteX273" fmla="*/ 3234401 w 4466629"/>
                  <a:gd name="connsiteY273" fmla="*/ 336991 h 4473688"/>
                  <a:gd name="connsiteX274" fmla="*/ 3234401 w 4466629"/>
                  <a:gd name="connsiteY274" fmla="*/ 280826 h 4473688"/>
                  <a:gd name="connsiteX275" fmla="*/ 3318629 w 4466629"/>
                  <a:gd name="connsiteY275" fmla="*/ 280826 h 4473688"/>
                  <a:gd name="connsiteX276" fmla="*/ 3374782 w 4466629"/>
                  <a:gd name="connsiteY276" fmla="*/ 252743 h 4473688"/>
                  <a:gd name="connsiteX277" fmla="*/ 3402858 w 4466629"/>
                  <a:gd name="connsiteY277" fmla="*/ 168495 h 4473688"/>
                  <a:gd name="connsiteX278" fmla="*/ 3430934 w 4466629"/>
                  <a:gd name="connsiteY278" fmla="*/ 84248 h 4473688"/>
                  <a:gd name="connsiteX279" fmla="*/ 3487086 w 4466629"/>
                  <a:gd name="connsiteY279" fmla="*/ 112330 h 4473688"/>
                  <a:gd name="connsiteX280" fmla="*/ 3543238 w 4466629"/>
                  <a:gd name="connsiteY280" fmla="*/ 84248 h 4473688"/>
                  <a:gd name="connsiteX281" fmla="*/ 3599390 w 4466629"/>
                  <a:gd name="connsiteY281" fmla="*/ 0 h 447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4466629" h="4473688">
                    <a:moveTo>
                      <a:pt x="4441673" y="1544540"/>
                    </a:moveTo>
                    <a:cubicBezTo>
                      <a:pt x="4448692" y="1544540"/>
                      <a:pt x="4452202" y="1546295"/>
                      <a:pt x="4453518" y="1548928"/>
                    </a:cubicBezTo>
                    <a:lnTo>
                      <a:pt x="4452992" y="1552781"/>
                    </a:lnTo>
                    <a:close/>
                    <a:moveTo>
                      <a:pt x="4385521" y="1488375"/>
                    </a:moveTo>
                    <a:cubicBezTo>
                      <a:pt x="4385521" y="1516457"/>
                      <a:pt x="4385521" y="1516457"/>
                      <a:pt x="4357445" y="1516457"/>
                    </a:cubicBezTo>
                    <a:cubicBezTo>
                      <a:pt x="4385521" y="1516457"/>
                      <a:pt x="4385521" y="1488375"/>
                      <a:pt x="4385521" y="1488375"/>
                    </a:cubicBezTo>
                    <a:close/>
                    <a:moveTo>
                      <a:pt x="4068654" y="626622"/>
                    </a:moveTo>
                    <a:lnTo>
                      <a:pt x="4073174" y="631857"/>
                    </a:lnTo>
                    <a:cubicBezTo>
                      <a:pt x="4076684" y="638878"/>
                      <a:pt x="4076684" y="645899"/>
                      <a:pt x="4076684" y="645899"/>
                    </a:cubicBezTo>
                    <a:close/>
                    <a:moveTo>
                      <a:pt x="4048607" y="617816"/>
                    </a:moveTo>
                    <a:cubicBezTo>
                      <a:pt x="4048607" y="617816"/>
                      <a:pt x="4076684" y="645899"/>
                      <a:pt x="4076684" y="645899"/>
                    </a:cubicBezTo>
                    <a:cubicBezTo>
                      <a:pt x="4076684" y="673981"/>
                      <a:pt x="4048607" y="645899"/>
                      <a:pt x="4048607" y="617816"/>
                    </a:cubicBezTo>
                    <a:close/>
                    <a:moveTo>
                      <a:pt x="4048607" y="603774"/>
                    </a:moveTo>
                    <a:lnTo>
                      <a:pt x="4048607" y="603775"/>
                    </a:lnTo>
                    <a:cubicBezTo>
                      <a:pt x="4055627" y="610795"/>
                      <a:pt x="4062646" y="617816"/>
                      <a:pt x="4067910" y="624837"/>
                    </a:cubicBezTo>
                    <a:lnTo>
                      <a:pt x="4068654" y="626622"/>
                    </a:lnTo>
                    <a:lnTo>
                      <a:pt x="4064839" y="622204"/>
                    </a:lnTo>
                    <a:cubicBezTo>
                      <a:pt x="4060891" y="619571"/>
                      <a:pt x="4055626" y="617816"/>
                      <a:pt x="4048607" y="617816"/>
                    </a:cubicBezTo>
                    <a:close/>
                    <a:moveTo>
                      <a:pt x="4048607" y="589733"/>
                    </a:moveTo>
                    <a:cubicBezTo>
                      <a:pt x="4048607" y="589733"/>
                      <a:pt x="4048607" y="589733"/>
                      <a:pt x="4048607" y="601581"/>
                    </a:cubicBezTo>
                    <a:lnTo>
                      <a:pt x="4048607" y="603774"/>
                    </a:lnTo>
                    <a:lnTo>
                      <a:pt x="4036050" y="590073"/>
                    </a:lnTo>
                    <a:close/>
                    <a:moveTo>
                      <a:pt x="3599390" y="0"/>
                    </a:moveTo>
                    <a:cubicBezTo>
                      <a:pt x="3627466" y="28083"/>
                      <a:pt x="3627466" y="56165"/>
                      <a:pt x="3655543" y="84248"/>
                    </a:cubicBezTo>
                    <a:cubicBezTo>
                      <a:pt x="3655543" y="84248"/>
                      <a:pt x="3655543" y="56165"/>
                      <a:pt x="3655543" y="56165"/>
                    </a:cubicBezTo>
                    <a:cubicBezTo>
                      <a:pt x="3655543" y="84248"/>
                      <a:pt x="3655543" y="112330"/>
                      <a:pt x="3683619" y="112330"/>
                    </a:cubicBezTo>
                    <a:cubicBezTo>
                      <a:pt x="3683619" y="112330"/>
                      <a:pt x="3711695" y="140413"/>
                      <a:pt x="3711695" y="140413"/>
                    </a:cubicBezTo>
                    <a:cubicBezTo>
                      <a:pt x="3739771" y="140413"/>
                      <a:pt x="3767847" y="140413"/>
                      <a:pt x="3795923" y="168495"/>
                    </a:cubicBezTo>
                    <a:cubicBezTo>
                      <a:pt x="3795923" y="168495"/>
                      <a:pt x="3795923" y="196578"/>
                      <a:pt x="3823999" y="196578"/>
                    </a:cubicBezTo>
                    <a:cubicBezTo>
                      <a:pt x="3823999" y="224660"/>
                      <a:pt x="3823999" y="252743"/>
                      <a:pt x="3852075" y="252743"/>
                    </a:cubicBezTo>
                    <a:cubicBezTo>
                      <a:pt x="3880151" y="252743"/>
                      <a:pt x="3880151" y="280826"/>
                      <a:pt x="3908227" y="280826"/>
                    </a:cubicBezTo>
                    <a:cubicBezTo>
                      <a:pt x="3908227" y="280826"/>
                      <a:pt x="3992455" y="336991"/>
                      <a:pt x="3964379" y="336991"/>
                    </a:cubicBezTo>
                    <a:cubicBezTo>
                      <a:pt x="3964379" y="365073"/>
                      <a:pt x="3964379" y="365073"/>
                      <a:pt x="3964379" y="393156"/>
                    </a:cubicBezTo>
                    <a:cubicBezTo>
                      <a:pt x="3964379" y="393156"/>
                      <a:pt x="3964379" y="421238"/>
                      <a:pt x="3964379" y="421238"/>
                    </a:cubicBezTo>
                    <a:cubicBezTo>
                      <a:pt x="3964379" y="477403"/>
                      <a:pt x="3992455" y="505486"/>
                      <a:pt x="4020531" y="561651"/>
                    </a:cubicBezTo>
                    <a:cubicBezTo>
                      <a:pt x="4020531" y="568672"/>
                      <a:pt x="4024041" y="575692"/>
                      <a:pt x="4029305" y="582713"/>
                    </a:cubicBezTo>
                    <a:lnTo>
                      <a:pt x="4036050" y="590073"/>
                    </a:lnTo>
                    <a:lnTo>
                      <a:pt x="4032376" y="590172"/>
                    </a:lnTo>
                    <a:cubicBezTo>
                      <a:pt x="4020531" y="591489"/>
                      <a:pt x="4020531" y="596754"/>
                      <a:pt x="4020531" y="617816"/>
                    </a:cubicBezTo>
                    <a:cubicBezTo>
                      <a:pt x="4020531" y="617816"/>
                      <a:pt x="4048607" y="617816"/>
                      <a:pt x="4048607" y="645899"/>
                    </a:cubicBezTo>
                    <a:cubicBezTo>
                      <a:pt x="4048607" y="645899"/>
                      <a:pt x="4020531" y="645899"/>
                      <a:pt x="4020531" y="645899"/>
                    </a:cubicBezTo>
                    <a:cubicBezTo>
                      <a:pt x="4020531" y="645899"/>
                      <a:pt x="4048607" y="645899"/>
                      <a:pt x="4048607" y="673981"/>
                    </a:cubicBezTo>
                    <a:cubicBezTo>
                      <a:pt x="4048607" y="673981"/>
                      <a:pt x="4048607" y="673981"/>
                      <a:pt x="4048607" y="702064"/>
                    </a:cubicBezTo>
                    <a:cubicBezTo>
                      <a:pt x="4048607" y="730146"/>
                      <a:pt x="4048607" y="758229"/>
                      <a:pt x="4076684" y="786311"/>
                    </a:cubicBezTo>
                    <a:cubicBezTo>
                      <a:pt x="4076684" y="814394"/>
                      <a:pt x="4076684" y="814394"/>
                      <a:pt x="4048607" y="842476"/>
                    </a:cubicBezTo>
                    <a:cubicBezTo>
                      <a:pt x="4048607" y="842476"/>
                      <a:pt x="4048607" y="870559"/>
                      <a:pt x="4076684" y="898641"/>
                    </a:cubicBezTo>
                    <a:cubicBezTo>
                      <a:pt x="4076684" y="926724"/>
                      <a:pt x="4076684" y="954807"/>
                      <a:pt x="4076684" y="954807"/>
                    </a:cubicBezTo>
                    <a:cubicBezTo>
                      <a:pt x="4076684" y="982889"/>
                      <a:pt x="4076684" y="1010972"/>
                      <a:pt x="4076684" y="1039054"/>
                    </a:cubicBezTo>
                    <a:cubicBezTo>
                      <a:pt x="4104760" y="1067137"/>
                      <a:pt x="4076684" y="1095219"/>
                      <a:pt x="4104760" y="1123302"/>
                    </a:cubicBezTo>
                    <a:cubicBezTo>
                      <a:pt x="4104760" y="1151384"/>
                      <a:pt x="4132836" y="1207549"/>
                      <a:pt x="4132836" y="1235632"/>
                    </a:cubicBezTo>
                    <a:cubicBezTo>
                      <a:pt x="4132836" y="1263714"/>
                      <a:pt x="4132836" y="1263714"/>
                      <a:pt x="4132836" y="1263714"/>
                    </a:cubicBezTo>
                    <a:cubicBezTo>
                      <a:pt x="4132836" y="1291797"/>
                      <a:pt x="4132836" y="1291797"/>
                      <a:pt x="4132836" y="1319880"/>
                    </a:cubicBezTo>
                    <a:cubicBezTo>
                      <a:pt x="4160912" y="1319880"/>
                      <a:pt x="4160912" y="1347962"/>
                      <a:pt x="4160912" y="1347962"/>
                    </a:cubicBezTo>
                    <a:cubicBezTo>
                      <a:pt x="4188988" y="1376045"/>
                      <a:pt x="4217064" y="1347962"/>
                      <a:pt x="4217064" y="1376045"/>
                    </a:cubicBezTo>
                    <a:cubicBezTo>
                      <a:pt x="4245140" y="1376045"/>
                      <a:pt x="4245140" y="1376045"/>
                      <a:pt x="4245140" y="1404127"/>
                    </a:cubicBezTo>
                    <a:cubicBezTo>
                      <a:pt x="4245140" y="1376045"/>
                      <a:pt x="4245140" y="1376045"/>
                      <a:pt x="4245140" y="1376045"/>
                    </a:cubicBezTo>
                    <a:cubicBezTo>
                      <a:pt x="4245140" y="1404127"/>
                      <a:pt x="4273217" y="1404127"/>
                      <a:pt x="4301293" y="1432210"/>
                    </a:cubicBezTo>
                    <a:cubicBezTo>
                      <a:pt x="4301293" y="1432210"/>
                      <a:pt x="4329369" y="1460292"/>
                      <a:pt x="4329369" y="1460292"/>
                    </a:cubicBezTo>
                    <a:cubicBezTo>
                      <a:pt x="4329369" y="1488375"/>
                      <a:pt x="4329369" y="1516457"/>
                      <a:pt x="4357445" y="1516457"/>
                    </a:cubicBezTo>
                    <a:cubicBezTo>
                      <a:pt x="4385521" y="1516457"/>
                      <a:pt x="4413597" y="1544540"/>
                      <a:pt x="4413597" y="1516457"/>
                    </a:cubicBezTo>
                    <a:cubicBezTo>
                      <a:pt x="4413597" y="1516457"/>
                      <a:pt x="4413597" y="1544540"/>
                      <a:pt x="4441673" y="1544540"/>
                    </a:cubicBezTo>
                    <a:cubicBezTo>
                      <a:pt x="4441673" y="1544540"/>
                      <a:pt x="4441673" y="1544540"/>
                      <a:pt x="4441673" y="1572623"/>
                    </a:cubicBezTo>
                    <a:cubicBezTo>
                      <a:pt x="4441673" y="1572623"/>
                      <a:pt x="4448692" y="1565602"/>
                      <a:pt x="4452202" y="1558581"/>
                    </a:cubicBezTo>
                    <a:lnTo>
                      <a:pt x="4452992" y="1552781"/>
                    </a:lnTo>
                    <a:lnTo>
                      <a:pt x="4457795" y="1556278"/>
                    </a:lnTo>
                    <a:cubicBezTo>
                      <a:pt x="4484664" y="1586225"/>
                      <a:pt x="4441673" y="1632298"/>
                      <a:pt x="4441673" y="1656870"/>
                    </a:cubicBezTo>
                    <a:cubicBezTo>
                      <a:pt x="4413597" y="1656870"/>
                      <a:pt x="4413597" y="1656870"/>
                      <a:pt x="4413597" y="1684953"/>
                    </a:cubicBezTo>
                    <a:cubicBezTo>
                      <a:pt x="4413597" y="1684953"/>
                      <a:pt x="4385521" y="1684953"/>
                      <a:pt x="4385521" y="1713035"/>
                    </a:cubicBezTo>
                    <a:cubicBezTo>
                      <a:pt x="4385521" y="1713035"/>
                      <a:pt x="4385521" y="1713035"/>
                      <a:pt x="4385521" y="1741118"/>
                    </a:cubicBezTo>
                    <a:cubicBezTo>
                      <a:pt x="4385521" y="1741118"/>
                      <a:pt x="4385521" y="1713035"/>
                      <a:pt x="4357445" y="1713035"/>
                    </a:cubicBezTo>
                    <a:cubicBezTo>
                      <a:pt x="4357445" y="1713035"/>
                      <a:pt x="4357445" y="1769200"/>
                      <a:pt x="4329369" y="1741118"/>
                    </a:cubicBezTo>
                    <a:cubicBezTo>
                      <a:pt x="4329369" y="1713035"/>
                      <a:pt x="4301293" y="1741118"/>
                      <a:pt x="4301293" y="1741118"/>
                    </a:cubicBezTo>
                    <a:cubicBezTo>
                      <a:pt x="4301293" y="1769200"/>
                      <a:pt x="4273217" y="1741118"/>
                      <a:pt x="4273217" y="1741118"/>
                    </a:cubicBezTo>
                    <a:cubicBezTo>
                      <a:pt x="4245140" y="1741118"/>
                      <a:pt x="4245140" y="1769200"/>
                      <a:pt x="4217064" y="1769200"/>
                    </a:cubicBezTo>
                    <a:cubicBezTo>
                      <a:pt x="4217064" y="1797283"/>
                      <a:pt x="4188988" y="1797283"/>
                      <a:pt x="4188988" y="1797283"/>
                    </a:cubicBezTo>
                    <a:cubicBezTo>
                      <a:pt x="4188988" y="1797283"/>
                      <a:pt x="4188988" y="1825365"/>
                      <a:pt x="4188988" y="1825365"/>
                    </a:cubicBezTo>
                    <a:cubicBezTo>
                      <a:pt x="4188988" y="1825365"/>
                      <a:pt x="4188988" y="1881530"/>
                      <a:pt x="4160912" y="1881530"/>
                    </a:cubicBezTo>
                    <a:cubicBezTo>
                      <a:pt x="4160912" y="1881530"/>
                      <a:pt x="4132836" y="1881530"/>
                      <a:pt x="4132836" y="1881530"/>
                    </a:cubicBezTo>
                    <a:cubicBezTo>
                      <a:pt x="4132836" y="1881530"/>
                      <a:pt x="4104760" y="1881530"/>
                      <a:pt x="4104760" y="1881530"/>
                    </a:cubicBezTo>
                    <a:cubicBezTo>
                      <a:pt x="4104760" y="1881530"/>
                      <a:pt x="4048607" y="1853448"/>
                      <a:pt x="4048607" y="1881530"/>
                    </a:cubicBezTo>
                    <a:cubicBezTo>
                      <a:pt x="4048607" y="1881530"/>
                      <a:pt x="4048607" y="1909613"/>
                      <a:pt x="4048607" y="1909613"/>
                    </a:cubicBezTo>
                    <a:cubicBezTo>
                      <a:pt x="4048607" y="1909613"/>
                      <a:pt x="4048607" y="1937695"/>
                      <a:pt x="4048607" y="1937695"/>
                    </a:cubicBezTo>
                    <a:cubicBezTo>
                      <a:pt x="4048607" y="1965778"/>
                      <a:pt x="4048607" y="1965778"/>
                      <a:pt x="4048607" y="1993861"/>
                    </a:cubicBezTo>
                    <a:cubicBezTo>
                      <a:pt x="4020531" y="2021943"/>
                      <a:pt x="4020531" y="2050026"/>
                      <a:pt x="4048607" y="2050026"/>
                    </a:cubicBezTo>
                    <a:cubicBezTo>
                      <a:pt x="4048607" y="2078108"/>
                      <a:pt x="4048607" y="2106191"/>
                      <a:pt x="4048607" y="2134273"/>
                    </a:cubicBezTo>
                    <a:cubicBezTo>
                      <a:pt x="4020531" y="2162356"/>
                      <a:pt x="4020531" y="2218521"/>
                      <a:pt x="3992455" y="2274686"/>
                    </a:cubicBezTo>
                    <a:cubicBezTo>
                      <a:pt x="3992455" y="2302769"/>
                      <a:pt x="3964379" y="2302769"/>
                      <a:pt x="3964379" y="2330851"/>
                    </a:cubicBezTo>
                    <a:cubicBezTo>
                      <a:pt x="3964379" y="2358934"/>
                      <a:pt x="3964379" y="2358934"/>
                      <a:pt x="3964379" y="2358934"/>
                    </a:cubicBezTo>
                    <a:cubicBezTo>
                      <a:pt x="3964379" y="2387016"/>
                      <a:pt x="3964379" y="2387016"/>
                      <a:pt x="3964379" y="2387016"/>
                    </a:cubicBezTo>
                    <a:cubicBezTo>
                      <a:pt x="3964379" y="2415099"/>
                      <a:pt x="3936303" y="2443181"/>
                      <a:pt x="3936303" y="2443181"/>
                    </a:cubicBezTo>
                    <a:cubicBezTo>
                      <a:pt x="3936303" y="2471264"/>
                      <a:pt x="3936303" y="2499347"/>
                      <a:pt x="3936303" y="2527429"/>
                    </a:cubicBezTo>
                    <a:cubicBezTo>
                      <a:pt x="3936303" y="2583594"/>
                      <a:pt x="3936303" y="2611677"/>
                      <a:pt x="3936303" y="2667842"/>
                    </a:cubicBezTo>
                    <a:cubicBezTo>
                      <a:pt x="3964379" y="2695924"/>
                      <a:pt x="3964379" y="2724007"/>
                      <a:pt x="3964379" y="2752089"/>
                    </a:cubicBezTo>
                    <a:cubicBezTo>
                      <a:pt x="3936303" y="2780172"/>
                      <a:pt x="3936303" y="2808254"/>
                      <a:pt x="3936303" y="2836337"/>
                    </a:cubicBezTo>
                    <a:cubicBezTo>
                      <a:pt x="3936303" y="2864419"/>
                      <a:pt x="3936303" y="2864419"/>
                      <a:pt x="3936303" y="2892502"/>
                    </a:cubicBezTo>
                    <a:cubicBezTo>
                      <a:pt x="3936303" y="2920584"/>
                      <a:pt x="3936303" y="2948667"/>
                      <a:pt x="3908227" y="2948667"/>
                    </a:cubicBezTo>
                    <a:cubicBezTo>
                      <a:pt x="3908227" y="2976750"/>
                      <a:pt x="3880151" y="3004832"/>
                      <a:pt x="3880151" y="3032915"/>
                    </a:cubicBezTo>
                    <a:cubicBezTo>
                      <a:pt x="3880151" y="3060997"/>
                      <a:pt x="3880151" y="3089080"/>
                      <a:pt x="3880151" y="3117162"/>
                    </a:cubicBezTo>
                    <a:cubicBezTo>
                      <a:pt x="3880151" y="3117162"/>
                      <a:pt x="3852075" y="3145245"/>
                      <a:pt x="3852075" y="3173327"/>
                    </a:cubicBezTo>
                    <a:cubicBezTo>
                      <a:pt x="3880151" y="3173327"/>
                      <a:pt x="3880151" y="3173327"/>
                      <a:pt x="3880151" y="3201410"/>
                    </a:cubicBezTo>
                    <a:cubicBezTo>
                      <a:pt x="3880151" y="3201410"/>
                      <a:pt x="3880151" y="3229493"/>
                      <a:pt x="3852075" y="3229493"/>
                    </a:cubicBezTo>
                    <a:cubicBezTo>
                      <a:pt x="3852075" y="3229493"/>
                      <a:pt x="3852075" y="3201410"/>
                      <a:pt x="3852075" y="3201410"/>
                    </a:cubicBezTo>
                    <a:cubicBezTo>
                      <a:pt x="3823999" y="3201410"/>
                      <a:pt x="3823999" y="3201410"/>
                      <a:pt x="3795923" y="3229493"/>
                    </a:cubicBezTo>
                    <a:cubicBezTo>
                      <a:pt x="3795923" y="3229493"/>
                      <a:pt x="3767847" y="3229493"/>
                      <a:pt x="3739771" y="3229493"/>
                    </a:cubicBezTo>
                    <a:cubicBezTo>
                      <a:pt x="3739771" y="3229493"/>
                      <a:pt x="3739771" y="3257575"/>
                      <a:pt x="3739771" y="3257575"/>
                    </a:cubicBezTo>
                    <a:cubicBezTo>
                      <a:pt x="3711695" y="3285658"/>
                      <a:pt x="3711695" y="3341823"/>
                      <a:pt x="3683619" y="3369905"/>
                    </a:cubicBezTo>
                    <a:cubicBezTo>
                      <a:pt x="3655543" y="3397988"/>
                      <a:pt x="3655543" y="3426070"/>
                      <a:pt x="3655543" y="3426070"/>
                    </a:cubicBezTo>
                    <a:cubicBezTo>
                      <a:pt x="3627466" y="3454153"/>
                      <a:pt x="3627466" y="3454153"/>
                      <a:pt x="3599390" y="3482235"/>
                    </a:cubicBezTo>
                    <a:cubicBezTo>
                      <a:pt x="3543238" y="3510318"/>
                      <a:pt x="3599390" y="3538400"/>
                      <a:pt x="3599390" y="3594565"/>
                    </a:cubicBezTo>
                    <a:cubicBezTo>
                      <a:pt x="3571314" y="3594565"/>
                      <a:pt x="3571314" y="3622648"/>
                      <a:pt x="3571314" y="3650731"/>
                    </a:cubicBezTo>
                    <a:cubicBezTo>
                      <a:pt x="3543238" y="3650731"/>
                      <a:pt x="3571314" y="3678813"/>
                      <a:pt x="3571314" y="3678813"/>
                    </a:cubicBezTo>
                    <a:cubicBezTo>
                      <a:pt x="3571314" y="3706896"/>
                      <a:pt x="3543238" y="3734978"/>
                      <a:pt x="3543238" y="3763061"/>
                    </a:cubicBezTo>
                    <a:cubicBezTo>
                      <a:pt x="3543238" y="3763061"/>
                      <a:pt x="3571314" y="3791143"/>
                      <a:pt x="3543238" y="3791143"/>
                    </a:cubicBezTo>
                    <a:cubicBezTo>
                      <a:pt x="3543238" y="3791143"/>
                      <a:pt x="3543238" y="3819226"/>
                      <a:pt x="3515162" y="3819226"/>
                    </a:cubicBezTo>
                    <a:cubicBezTo>
                      <a:pt x="3515162" y="3819226"/>
                      <a:pt x="3487086" y="3819226"/>
                      <a:pt x="3487086" y="3791143"/>
                    </a:cubicBezTo>
                    <a:cubicBezTo>
                      <a:pt x="3487086" y="3791143"/>
                      <a:pt x="3459010" y="3763061"/>
                      <a:pt x="3430934" y="3791143"/>
                    </a:cubicBezTo>
                    <a:cubicBezTo>
                      <a:pt x="3430934" y="3791143"/>
                      <a:pt x="3402858" y="3819226"/>
                      <a:pt x="3402858" y="3847308"/>
                    </a:cubicBezTo>
                    <a:cubicBezTo>
                      <a:pt x="3402858" y="3847308"/>
                      <a:pt x="3374782" y="3875391"/>
                      <a:pt x="3374782" y="3875391"/>
                    </a:cubicBezTo>
                    <a:cubicBezTo>
                      <a:pt x="3374782" y="3931556"/>
                      <a:pt x="3402858" y="3959639"/>
                      <a:pt x="3402858" y="3987721"/>
                    </a:cubicBezTo>
                    <a:cubicBezTo>
                      <a:pt x="3402858" y="4015804"/>
                      <a:pt x="3374782" y="4015804"/>
                      <a:pt x="3374782" y="4043886"/>
                    </a:cubicBezTo>
                    <a:cubicBezTo>
                      <a:pt x="3353725" y="4086010"/>
                      <a:pt x="3332667" y="4143930"/>
                      <a:pt x="3323455" y="4193952"/>
                    </a:cubicBezTo>
                    <a:lnTo>
                      <a:pt x="3318780" y="4239010"/>
                    </a:lnTo>
                    <a:lnTo>
                      <a:pt x="3292278" y="4242907"/>
                    </a:lnTo>
                    <a:lnTo>
                      <a:pt x="3287515" y="4184170"/>
                    </a:lnTo>
                    <a:lnTo>
                      <a:pt x="3325615" y="4127020"/>
                    </a:lnTo>
                    <a:lnTo>
                      <a:pt x="3316090" y="4104795"/>
                    </a:lnTo>
                    <a:lnTo>
                      <a:pt x="3314503" y="4041295"/>
                    </a:lnTo>
                    <a:lnTo>
                      <a:pt x="3241478" y="3973032"/>
                    </a:lnTo>
                    <a:lnTo>
                      <a:pt x="3160515" y="3892070"/>
                    </a:lnTo>
                    <a:lnTo>
                      <a:pt x="3125590" y="3871432"/>
                    </a:lnTo>
                    <a:lnTo>
                      <a:pt x="3085903" y="3852382"/>
                    </a:lnTo>
                    <a:lnTo>
                      <a:pt x="3095428" y="3823807"/>
                    </a:lnTo>
                    <a:lnTo>
                      <a:pt x="3073203" y="3592032"/>
                    </a:lnTo>
                    <a:lnTo>
                      <a:pt x="3084315" y="3531707"/>
                    </a:lnTo>
                    <a:lnTo>
                      <a:pt x="3095428" y="3466620"/>
                    </a:lnTo>
                    <a:lnTo>
                      <a:pt x="3103365" y="3457095"/>
                    </a:lnTo>
                    <a:lnTo>
                      <a:pt x="3106540" y="3395182"/>
                    </a:lnTo>
                    <a:lnTo>
                      <a:pt x="2966840" y="3392007"/>
                    </a:lnTo>
                    <a:lnTo>
                      <a:pt x="2979540" y="3460270"/>
                    </a:lnTo>
                    <a:lnTo>
                      <a:pt x="2793803" y="3460270"/>
                    </a:lnTo>
                    <a:lnTo>
                      <a:pt x="2862065" y="3547582"/>
                    </a:lnTo>
                    <a:lnTo>
                      <a:pt x="2871590" y="3701570"/>
                    </a:lnTo>
                    <a:lnTo>
                      <a:pt x="2898578" y="3753957"/>
                    </a:lnTo>
                    <a:lnTo>
                      <a:pt x="2754115" y="3877782"/>
                    </a:lnTo>
                    <a:lnTo>
                      <a:pt x="2728715" y="3960332"/>
                    </a:lnTo>
                    <a:lnTo>
                      <a:pt x="2631878" y="4060345"/>
                    </a:lnTo>
                    <a:lnTo>
                      <a:pt x="2558853" y="4141307"/>
                    </a:lnTo>
                    <a:lnTo>
                      <a:pt x="2503290" y="4147657"/>
                    </a:lnTo>
                    <a:lnTo>
                      <a:pt x="2446140" y="4157182"/>
                    </a:lnTo>
                    <a:lnTo>
                      <a:pt x="2366765" y="4080982"/>
                    </a:lnTo>
                    <a:lnTo>
                      <a:pt x="2230240" y="3993670"/>
                    </a:lnTo>
                    <a:lnTo>
                      <a:pt x="2134990" y="4047645"/>
                    </a:lnTo>
                    <a:lnTo>
                      <a:pt x="2123878" y="4119082"/>
                    </a:lnTo>
                    <a:lnTo>
                      <a:pt x="2084190" y="4149245"/>
                    </a:lnTo>
                    <a:lnTo>
                      <a:pt x="2046090" y="4161945"/>
                    </a:lnTo>
                    <a:lnTo>
                      <a:pt x="2028628" y="4171470"/>
                    </a:lnTo>
                    <a:cubicBezTo>
                      <a:pt x="2028628" y="4171470"/>
                      <a:pt x="2023217" y="4172110"/>
                      <a:pt x="2020690" y="4173057"/>
                    </a:cubicBezTo>
                    <a:cubicBezTo>
                      <a:pt x="2018904" y="4173727"/>
                      <a:pt x="2017515" y="4175174"/>
                      <a:pt x="2015928" y="4176232"/>
                    </a:cubicBezTo>
                    <a:cubicBezTo>
                      <a:pt x="2013282" y="4176761"/>
                      <a:pt x="2010624" y="4177235"/>
                      <a:pt x="2007990" y="4177820"/>
                    </a:cubicBezTo>
                    <a:cubicBezTo>
                      <a:pt x="2004279" y="4178645"/>
                      <a:pt x="1999529" y="4179268"/>
                      <a:pt x="1996878" y="4182582"/>
                    </a:cubicBezTo>
                    <a:cubicBezTo>
                      <a:pt x="1995833" y="4183889"/>
                      <a:pt x="1995819" y="4185757"/>
                      <a:pt x="1995290" y="4187345"/>
                    </a:cubicBezTo>
                    <a:cubicBezTo>
                      <a:pt x="1993910" y="4187690"/>
                      <a:pt x="1985953" y="4189506"/>
                      <a:pt x="1984178" y="4190520"/>
                    </a:cubicBezTo>
                    <a:cubicBezTo>
                      <a:pt x="1980331" y="4192719"/>
                      <a:pt x="1968024" y="4203685"/>
                      <a:pt x="1966715" y="4204807"/>
                    </a:cubicBezTo>
                    <a:lnTo>
                      <a:pt x="1925440" y="4246082"/>
                    </a:lnTo>
                    <a:lnTo>
                      <a:pt x="1922265" y="4279420"/>
                    </a:lnTo>
                    <a:lnTo>
                      <a:pt x="1709540" y="4287357"/>
                    </a:lnTo>
                    <a:lnTo>
                      <a:pt x="1658740" y="4204807"/>
                    </a:lnTo>
                    <a:lnTo>
                      <a:pt x="1573015" y="4195282"/>
                    </a:lnTo>
                    <a:lnTo>
                      <a:pt x="1492053" y="4190520"/>
                    </a:lnTo>
                    <a:lnTo>
                      <a:pt x="1446015" y="4190520"/>
                    </a:lnTo>
                    <a:lnTo>
                      <a:pt x="1395215" y="4219095"/>
                    </a:lnTo>
                    <a:lnTo>
                      <a:pt x="1347590" y="4238145"/>
                    </a:lnTo>
                    <a:lnTo>
                      <a:pt x="1320603" y="4238145"/>
                    </a:lnTo>
                    <a:lnTo>
                      <a:pt x="1301553" y="4233382"/>
                    </a:lnTo>
                    <a:lnTo>
                      <a:pt x="1274565" y="4188932"/>
                    </a:lnTo>
                    <a:lnTo>
                      <a:pt x="1203128" y="4100032"/>
                    </a:lnTo>
                    <a:lnTo>
                      <a:pt x="1171378" y="4079395"/>
                    </a:lnTo>
                    <a:lnTo>
                      <a:pt x="1157090" y="4039707"/>
                    </a:lnTo>
                    <a:lnTo>
                      <a:pt x="1145978" y="4022245"/>
                    </a:lnTo>
                    <a:lnTo>
                      <a:pt x="1126928" y="4025420"/>
                    </a:lnTo>
                    <a:lnTo>
                      <a:pt x="1134865" y="3947632"/>
                    </a:lnTo>
                    <a:lnTo>
                      <a:pt x="1082478" y="3952395"/>
                    </a:lnTo>
                    <a:lnTo>
                      <a:pt x="1050728" y="3958745"/>
                    </a:lnTo>
                    <a:lnTo>
                      <a:pt x="1012628" y="3971445"/>
                    </a:lnTo>
                    <a:lnTo>
                      <a:pt x="912615" y="3985732"/>
                    </a:lnTo>
                    <a:lnTo>
                      <a:pt x="887215" y="4033357"/>
                    </a:lnTo>
                    <a:lnTo>
                      <a:pt x="885628" y="4066695"/>
                    </a:lnTo>
                    <a:cubicBezTo>
                      <a:pt x="885628" y="4066695"/>
                      <a:pt x="889198" y="4068380"/>
                      <a:pt x="890390" y="4069870"/>
                    </a:cubicBezTo>
                    <a:cubicBezTo>
                      <a:pt x="891435" y="4071177"/>
                      <a:pt x="891230" y="4073135"/>
                      <a:pt x="891978" y="4074632"/>
                    </a:cubicBezTo>
                    <a:cubicBezTo>
                      <a:pt x="892831" y="4076339"/>
                      <a:pt x="894095" y="4077807"/>
                      <a:pt x="895153" y="4079395"/>
                    </a:cubicBezTo>
                    <a:cubicBezTo>
                      <a:pt x="893565" y="4080453"/>
                      <a:pt x="891856" y="4081349"/>
                      <a:pt x="890390" y="4082570"/>
                    </a:cubicBezTo>
                    <a:cubicBezTo>
                      <a:pt x="888665" y="4084007"/>
                      <a:pt x="887522" y="4086127"/>
                      <a:pt x="885628" y="4087332"/>
                    </a:cubicBezTo>
                    <a:cubicBezTo>
                      <a:pt x="881635" y="4089873"/>
                      <a:pt x="877161" y="4091565"/>
                      <a:pt x="872928" y="4093682"/>
                    </a:cubicBezTo>
                    <a:lnTo>
                      <a:pt x="826890" y="4127020"/>
                    </a:lnTo>
                    <a:lnTo>
                      <a:pt x="830065" y="4225445"/>
                    </a:lnTo>
                    <a:lnTo>
                      <a:pt x="799903" y="4261957"/>
                    </a:lnTo>
                    <a:lnTo>
                      <a:pt x="801490" y="4319107"/>
                    </a:lnTo>
                    <a:lnTo>
                      <a:pt x="764978" y="4376257"/>
                    </a:lnTo>
                    <a:lnTo>
                      <a:pt x="768153" y="4422295"/>
                    </a:lnTo>
                    <a:lnTo>
                      <a:pt x="747515" y="4434995"/>
                    </a:lnTo>
                    <a:lnTo>
                      <a:pt x="722115" y="4422295"/>
                    </a:lnTo>
                    <a:lnTo>
                      <a:pt x="656039" y="4473688"/>
                    </a:lnTo>
                    <a:lnTo>
                      <a:pt x="651401" y="4465124"/>
                    </a:lnTo>
                    <a:cubicBezTo>
                      <a:pt x="651401" y="4437042"/>
                      <a:pt x="623325" y="4465124"/>
                      <a:pt x="623325" y="4465124"/>
                    </a:cubicBezTo>
                    <a:cubicBezTo>
                      <a:pt x="595249" y="4465124"/>
                      <a:pt x="567173" y="4437042"/>
                      <a:pt x="567173" y="4437042"/>
                    </a:cubicBezTo>
                    <a:cubicBezTo>
                      <a:pt x="539097" y="4437042"/>
                      <a:pt x="511021" y="4437042"/>
                      <a:pt x="511021" y="4437042"/>
                    </a:cubicBezTo>
                    <a:cubicBezTo>
                      <a:pt x="482945" y="4437042"/>
                      <a:pt x="454869" y="4465124"/>
                      <a:pt x="454869" y="4437042"/>
                    </a:cubicBezTo>
                    <a:cubicBezTo>
                      <a:pt x="454869" y="4437042"/>
                      <a:pt x="482945" y="4408959"/>
                      <a:pt x="482945" y="4380877"/>
                    </a:cubicBezTo>
                    <a:cubicBezTo>
                      <a:pt x="482945" y="4352794"/>
                      <a:pt x="482945" y="4380877"/>
                      <a:pt x="454869" y="4380877"/>
                    </a:cubicBezTo>
                    <a:cubicBezTo>
                      <a:pt x="454869" y="4380877"/>
                      <a:pt x="454869" y="4352794"/>
                      <a:pt x="454869" y="4352794"/>
                    </a:cubicBezTo>
                    <a:cubicBezTo>
                      <a:pt x="454869" y="4324712"/>
                      <a:pt x="454869" y="4324712"/>
                      <a:pt x="454869" y="4296629"/>
                    </a:cubicBezTo>
                    <a:cubicBezTo>
                      <a:pt x="482945" y="4296629"/>
                      <a:pt x="482945" y="4296629"/>
                      <a:pt x="482945" y="4268547"/>
                    </a:cubicBezTo>
                    <a:cubicBezTo>
                      <a:pt x="511021" y="4268547"/>
                      <a:pt x="482945" y="4240464"/>
                      <a:pt x="482945" y="4212381"/>
                    </a:cubicBezTo>
                    <a:cubicBezTo>
                      <a:pt x="482945" y="4184299"/>
                      <a:pt x="511021" y="4184299"/>
                      <a:pt x="511021" y="4156216"/>
                    </a:cubicBezTo>
                    <a:cubicBezTo>
                      <a:pt x="511021" y="4100051"/>
                      <a:pt x="482945" y="4071969"/>
                      <a:pt x="454869" y="4015804"/>
                    </a:cubicBezTo>
                    <a:cubicBezTo>
                      <a:pt x="426793" y="3987721"/>
                      <a:pt x="398717" y="3931556"/>
                      <a:pt x="370640" y="3903473"/>
                    </a:cubicBezTo>
                    <a:cubicBezTo>
                      <a:pt x="342564" y="3847308"/>
                      <a:pt x="314488" y="3847308"/>
                      <a:pt x="286412" y="3791143"/>
                    </a:cubicBezTo>
                    <a:cubicBezTo>
                      <a:pt x="258336" y="3763061"/>
                      <a:pt x="314488" y="3706896"/>
                      <a:pt x="314488" y="3678813"/>
                    </a:cubicBezTo>
                    <a:cubicBezTo>
                      <a:pt x="314488" y="3650731"/>
                      <a:pt x="286412" y="3622648"/>
                      <a:pt x="286412" y="3622648"/>
                    </a:cubicBezTo>
                    <a:cubicBezTo>
                      <a:pt x="286412" y="3622648"/>
                      <a:pt x="258336" y="3622648"/>
                      <a:pt x="258336" y="3622648"/>
                    </a:cubicBezTo>
                    <a:cubicBezTo>
                      <a:pt x="230260" y="3594565"/>
                      <a:pt x="174108" y="3566483"/>
                      <a:pt x="202184" y="3510318"/>
                    </a:cubicBezTo>
                    <a:cubicBezTo>
                      <a:pt x="202184" y="3510318"/>
                      <a:pt x="202184" y="3482235"/>
                      <a:pt x="202184" y="3454153"/>
                    </a:cubicBezTo>
                    <a:cubicBezTo>
                      <a:pt x="202184" y="3454153"/>
                      <a:pt x="202184" y="3426070"/>
                      <a:pt x="202184" y="3426070"/>
                    </a:cubicBezTo>
                    <a:cubicBezTo>
                      <a:pt x="202184" y="3426070"/>
                      <a:pt x="174108" y="3426070"/>
                      <a:pt x="174108" y="3426070"/>
                    </a:cubicBezTo>
                    <a:cubicBezTo>
                      <a:pt x="174108" y="3397988"/>
                      <a:pt x="174108" y="3397988"/>
                      <a:pt x="174108" y="3369905"/>
                    </a:cubicBezTo>
                    <a:cubicBezTo>
                      <a:pt x="174108" y="3369905"/>
                      <a:pt x="174108" y="3341823"/>
                      <a:pt x="146032" y="3341823"/>
                    </a:cubicBezTo>
                    <a:cubicBezTo>
                      <a:pt x="146032" y="3313740"/>
                      <a:pt x="146032" y="3285658"/>
                      <a:pt x="146032" y="3257575"/>
                    </a:cubicBezTo>
                    <a:cubicBezTo>
                      <a:pt x="174108" y="3229493"/>
                      <a:pt x="146032" y="3229493"/>
                      <a:pt x="117956" y="3229493"/>
                    </a:cubicBezTo>
                    <a:cubicBezTo>
                      <a:pt x="117956" y="3229493"/>
                      <a:pt x="89880" y="3201410"/>
                      <a:pt x="89880" y="3229493"/>
                    </a:cubicBezTo>
                    <a:cubicBezTo>
                      <a:pt x="61804" y="3285658"/>
                      <a:pt x="-22425" y="3229493"/>
                      <a:pt x="5651" y="3173327"/>
                    </a:cubicBezTo>
                    <a:cubicBezTo>
                      <a:pt x="5651" y="3145245"/>
                      <a:pt x="33727" y="3089080"/>
                      <a:pt x="33727" y="3089080"/>
                    </a:cubicBezTo>
                    <a:cubicBezTo>
                      <a:pt x="61804" y="3060997"/>
                      <a:pt x="89880" y="3060997"/>
                      <a:pt x="117956" y="3032915"/>
                    </a:cubicBezTo>
                    <a:cubicBezTo>
                      <a:pt x="117956" y="3004832"/>
                      <a:pt x="89880" y="3004832"/>
                      <a:pt x="89880" y="2976750"/>
                    </a:cubicBezTo>
                    <a:cubicBezTo>
                      <a:pt x="89880" y="2976750"/>
                      <a:pt x="89880" y="2948667"/>
                      <a:pt x="89880" y="2948667"/>
                    </a:cubicBezTo>
                    <a:cubicBezTo>
                      <a:pt x="89880" y="2948667"/>
                      <a:pt x="61804" y="2920584"/>
                      <a:pt x="61804" y="2920584"/>
                    </a:cubicBezTo>
                    <a:cubicBezTo>
                      <a:pt x="61804" y="2892502"/>
                      <a:pt x="61804" y="2892502"/>
                      <a:pt x="61804" y="2864419"/>
                    </a:cubicBezTo>
                    <a:cubicBezTo>
                      <a:pt x="89880" y="2836337"/>
                      <a:pt x="89880" y="2836337"/>
                      <a:pt x="117956" y="2808254"/>
                    </a:cubicBezTo>
                    <a:cubicBezTo>
                      <a:pt x="117956" y="2808254"/>
                      <a:pt x="146032" y="2808254"/>
                      <a:pt x="146032" y="2808254"/>
                    </a:cubicBezTo>
                    <a:cubicBezTo>
                      <a:pt x="146032" y="2808254"/>
                      <a:pt x="174108" y="2780172"/>
                      <a:pt x="174108" y="2780172"/>
                    </a:cubicBezTo>
                    <a:cubicBezTo>
                      <a:pt x="174108" y="2780172"/>
                      <a:pt x="174108" y="2780172"/>
                      <a:pt x="174108" y="2752089"/>
                    </a:cubicBezTo>
                    <a:cubicBezTo>
                      <a:pt x="146032" y="2752089"/>
                      <a:pt x="174108" y="2724007"/>
                      <a:pt x="146032" y="2695924"/>
                    </a:cubicBezTo>
                    <a:cubicBezTo>
                      <a:pt x="146032" y="2695924"/>
                      <a:pt x="146032" y="2667842"/>
                      <a:pt x="146032" y="2667842"/>
                    </a:cubicBezTo>
                    <a:cubicBezTo>
                      <a:pt x="146032" y="2667842"/>
                      <a:pt x="146032" y="2667842"/>
                      <a:pt x="146032" y="2639759"/>
                    </a:cubicBezTo>
                    <a:cubicBezTo>
                      <a:pt x="146032" y="2639759"/>
                      <a:pt x="174108" y="2611677"/>
                      <a:pt x="174108" y="2611677"/>
                    </a:cubicBezTo>
                    <a:cubicBezTo>
                      <a:pt x="174108" y="2611677"/>
                      <a:pt x="202184" y="2611677"/>
                      <a:pt x="202184" y="2611677"/>
                    </a:cubicBezTo>
                    <a:cubicBezTo>
                      <a:pt x="230260" y="2583594"/>
                      <a:pt x="202184" y="2583594"/>
                      <a:pt x="202184" y="2555512"/>
                    </a:cubicBezTo>
                    <a:cubicBezTo>
                      <a:pt x="230260" y="2555512"/>
                      <a:pt x="230260" y="2555512"/>
                      <a:pt x="230260" y="2527429"/>
                    </a:cubicBezTo>
                    <a:cubicBezTo>
                      <a:pt x="230260" y="2527429"/>
                      <a:pt x="230260" y="2527429"/>
                      <a:pt x="230260" y="2499347"/>
                    </a:cubicBezTo>
                    <a:cubicBezTo>
                      <a:pt x="258336" y="2499347"/>
                      <a:pt x="286412" y="2471264"/>
                      <a:pt x="286412" y="2471264"/>
                    </a:cubicBezTo>
                    <a:cubicBezTo>
                      <a:pt x="286412" y="2443181"/>
                      <a:pt x="286412" y="2415099"/>
                      <a:pt x="286412" y="2387016"/>
                    </a:cubicBezTo>
                    <a:cubicBezTo>
                      <a:pt x="286412" y="2387016"/>
                      <a:pt x="258336" y="2358934"/>
                      <a:pt x="286412" y="2330851"/>
                    </a:cubicBezTo>
                    <a:cubicBezTo>
                      <a:pt x="314488" y="2302769"/>
                      <a:pt x="314488" y="2274686"/>
                      <a:pt x="370640" y="2302769"/>
                    </a:cubicBezTo>
                    <a:cubicBezTo>
                      <a:pt x="398717" y="2302769"/>
                      <a:pt x="454869" y="2274686"/>
                      <a:pt x="482945" y="2274686"/>
                    </a:cubicBezTo>
                    <a:cubicBezTo>
                      <a:pt x="511021" y="2274686"/>
                      <a:pt x="539097" y="2302769"/>
                      <a:pt x="567173" y="2302769"/>
                    </a:cubicBezTo>
                    <a:cubicBezTo>
                      <a:pt x="567173" y="2302769"/>
                      <a:pt x="567173" y="2050026"/>
                      <a:pt x="567173" y="2021943"/>
                    </a:cubicBezTo>
                    <a:cubicBezTo>
                      <a:pt x="567173" y="1797283"/>
                      <a:pt x="539097" y="1544540"/>
                      <a:pt x="539097" y="1319880"/>
                    </a:cubicBezTo>
                    <a:cubicBezTo>
                      <a:pt x="539097" y="1263714"/>
                      <a:pt x="539097" y="1207549"/>
                      <a:pt x="539097" y="1151384"/>
                    </a:cubicBezTo>
                    <a:cubicBezTo>
                      <a:pt x="539097" y="1095219"/>
                      <a:pt x="539097" y="1039054"/>
                      <a:pt x="539097" y="982889"/>
                    </a:cubicBezTo>
                    <a:cubicBezTo>
                      <a:pt x="539097" y="954807"/>
                      <a:pt x="623325" y="982889"/>
                      <a:pt x="651401" y="954807"/>
                    </a:cubicBezTo>
                    <a:cubicBezTo>
                      <a:pt x="707553" y="954807"/>
                      <a:pt x="763706" y="954807"/>
                      <a:pt x="819858" y="954807"/>
                    </a:cubicBezTo>
                    <a:cubicBezTo>
                      <a:pt x="791782" y="758229"/>
                      <a:pt x="791782" y="561651"/>
                      <a:pt x="791782" y="336991"/>
                    </a:cubicBezTo>
                    <a:cubicBezTo>
                      <a:pt x="904086" y="336991"/>
                      <a:pt x="1016390" y="336991"/>
                      <a:pt x="1156771" y="336991"/>
                    </a:cubicBezTo>
                    <a:cubicBezTo>
                      <a:pt x="1381380" y="336991"/>
                      <a:pt x="1605988" y="336991"/>
                      <a:pt x="1858673" y="336991"/>
                    </a:cubicBezTo>
                    <a:cubicBezTo>
                      <a:pt x="1970977" y="336991"/>
                      <a:pt x="2083282" y="336991"/>
                      <a:pt x="2195586" y="336991"/>
                    </a:cubicBezTo>
                    <a:cubicBezTo>
                      <a:pt x="2251738" y="336991"/>
                      <a:pt x="2307890" y="336991"/>
                      <a:pt x="2392119" y="336991"/>
                    </a:cubicBezTo>
                    <a:cubicBezTo>
                      <a:pt x="2392119" y="336991"/>
                      <a:pt x="2448271" y="365073"/>
                      <a:pt x="2476347" y="336991"/>
                    </a:cubicBezTo>
                    <a:cubicBezTo>
                      <a:pt x="2476347" y="336991"/>
                      <a:pt x="2504423" y="252743"/>
                      <a:pt x="2532499" y="280826"/>
                    </a:cubicBezTo>
                    <a:cubicBezTo>
                      <a:pt x="2532499" y="336991"/>
                      <a:pt x="2476347" y="336991"/>
                      <a:pt x="2560575" y="336991"/>
                    </a:cubicBezTo>
                    <a:cubicBezTo>
                      <a:pt x="2672879" y="336991"/>
                      <a:pt x="2785184" y="336991"/>
                      <a:pt x="2897488" y="336991"/>
                    </a:cubicBezTo>
                    <a:cubicBezTo>
                      <a:pt x="2925564" y="336991"/>
                      <a:pt x="2925564" y="336991"/>
                      <a:pt x="2953640" y="336991"/>
                    </a:cubicBezTo>
                    <a:cubicBezTo>
                      <a:pt x="2981716" y="365073"/>
                      <a:pt x="3009793" y="365073"/>
                      <a:pt x="3009793" y="393156"/>
                    </a:cubicBezTo>
                    <a:cubicBezTo>
                      <a:pt x="3037869" y="421238"/>
                      <a:pt x="3065945" y="449321"/>
                      <a:pt x="3094021" y="421238"/>
                    </a:cubicBezTo>
                    <a:cubicBezTo>
                      <a:pt x="3122097" y="421238"/>
                      <a:pt x="3178249" y="421238"/>
                      <a:pt x="3178249" y="421238"/>
                    </a:cubicBezTo>
                    <a:cubicBezTo>
                      <a:pt x="3206325" y="421238"/>
                      <a:pt x="3206325" y="336991"/>
                      <a:pt x="3234401" y="336991"/>
                    </a:cubicBezTo>
                    <a:cubicBezTo>
                      <a:pt x="3206325" y="336991"/>
                      <a:pt x="3234401" y="308908"/>
                      <a:pt x="3234401" y="280826"/>
                    </a:cubicBezTo>
                    <a:cubicBezTo>
                      <a:pt x="3262477" y="280826"/>
                      <a:pt x="3318629" y="280826"/>
                      <a:pt x="3318629" y="280826"/>
                    </a:cubicBezTo>
                    <a:cubicBezTo>
                      <a:pt x="3346706" y="280826"/>
                      <a:pt x="3374782" y="280826"/>
                      <a:pt x="3374782" y="252743"/>
                    </a:cubicBezTo>
                    <a:cubicBezTo>
                      <a:pt x="3402858" y="224660"/>
                      <a:pt x="3402858" y="196578"/>
                      <a:pt x="3402858" y="168495"/>
                    </a:cubicBezTo>
                    <a:cubicBezTo>
                      <a:pt x="3430934" y="140413"/>
                      <a:pt x="3430934" y="112330"/>
                      <a:pt x="3430934" y="84248"/>
                    </a:cubicBezTo>
                    <a:cubicBezTo>
                      <a:pt x="3459010" y="84248"/>
                      <a:pt x="3487086" y="112330"/>
                      <a:pt x="3487086" y="112330"/>
                    </a:cubicBezTo>
                    <a:cubicBezTo>
                      <a:pt x="3515162" y="112330"/>
                      <a:pt x="3515162" y="84248"/>
                      <a:pt x="3543238" y="84248"/>
                    </a:cubicBezTo>
                    <a:cubicBezTo>
                      <a:pt x="3571314" y="56165"/>
                      <a:pt x="3599390" y="28083"/>
                      <a:pt x="3599390"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499" name="Sri Lanka">
                <a:extLst>
                  <a:ext uri="{FF2B5EF4-FFF2-40B4-BE49-F238E27FC236}">
                    <a16:creationId xmlns:a16="http://schemas.microsoft.com/office/drawing/2014/main" id="{D21D5A79-A4D0-6C93-7DD6-4041212B0A42}"/>
                  </a:ext>
                </a:extLst>
              </p:cNvPr>
              <p:cNvSpPr>
                <a:spLocks noEditPoints="1"/>
              </p:cNvSpPr>
              <p:nvPr/>
            </p:nvSpPr>
            <p:spPr bwMode="auto">
              <a:xfrm>
                <a:off x="8423501" y="3661105"/>
                <a:ext cx="81353" cy="152905"/>
              </a:xfrm>
              <a:custGeom>
                <a:avLst/>
                <a:gdLst/>
                <a:ahLst/>
                <a:cxnLst>
                  <a:cxn ang="0">
                    <a:pos x="22" y="27"/>
                  </a:cxn>
                  <a:cxn ang="0">
                    <a:pos x="21" y="25"/>
                  </a:cxn>
                  <a:cxn ang="0">
                    <a:pos x="20" y="23"/>
                  </a:cxn>
                  <a:cxn ang="0">
                    <a:pos x="21" y="24"/>
                  </a:cxn>
                  <a:cxn ang="0">
                    <a:pos x="19" y="21"/>
                  </a:cxn>
                  <a:cxn ang="0">
                    <a:pos x="18" y="19"/>
                  </a:cxn>
                  <a:cxn ang="0">
                    <a:pos x="17" y="17"/>
                  </a:cxn>
                  <a:cxn ang="0">
                    <a:pos x="17" y="16"/>
                  </a:cxn>
                  <a:cxn ang="0">
                    <a:pos x="15" y="15"/>
                  </a:cxn>
                  <a:cxn ang="0">
                    <a:pos x="15" y="15"/>
                  </a:cxn>
                  <a:cxn ang="0">
                    <a:pos x="16" y="14"/>
                  </a:cxn>
                  <a:cxn ang="0">
                    <a:pos x="15" y="13"/>
                  </a:cxn>
                  <a:cxn ang="0">
                    <a:pos x="15" y="12"/>
                  </a:cxn>
                  <a:cxn ang="0">
                    <a:pos x="13" y="10"/>
                  </a:cxn>
                  <a:cxn ang="0">
                    <a:pos x="12" y="9"/>
                  </a:cxn>
                  <a:cxn ang="0">
                    <a:pos x="12" y="8"/>
                  </a:cxn>
                  <a:cxn ang="0">
                    <a:pos x="11" y="7"/>
                  </a:cxn>
                  <a:cxn ang="0">
                    <a:pos x="11" y="6"/>
                  </a:cxn>
                  <a:cxn ang="0">
                    <a:pos x="8" y="3"/>
                  </a:cxn>
                  <a:cxn ang="0">
                    <a:pos x="5" y="0"/>
                  </a:cxn>
                  <a:cxn ang="0">
                    <a:pos x="7" y="3"/>
                  </a:cxn>
                  <a:cxn ang="0">
                    <a:pos x="4" y="1"/>
                  </a:cxn>
                  <a:cxn ang="0">
                    <a:pos x="4" y="0"/>
                  </a:cxn>
                  <a:cxn ang="0">
                    <a:pos x="4" y="3"/>
                  </a:cxn>
                  <a:cxn ang="0">
                    <a:pos x="5" y="3"/>
                  </a:cxn>
                  <a:cxn ang="0">
                    <a:pos x="6" y="3"/>
                  </a:cxn>
                  <a:cxn ang="0">
                    <a:pos x="7" y="4"/>
                  </a:cxn>
                  <a:cxn ang="0">
                    <a:pos x="6" y="4"/>
                  </a:cxn>
                  <a:cxn ang="0">
                    <a:pos x="4" y="3"/>
                  </a:cxn>
                  <a:cxn ang="0">
                    <a:pos x="4" y="6"/>
                  </a:cxn>
                  <a:cxn ang="0">
                    <a:pos x="3" y="10"/>
                  </a:cxn>
                  <a:cxn ang="0">
                    <a:pos x="3" y="13"/>
                  </a:cxn>
                  <a:cxn ang="0">
                    <a:pos x="2" y="17"/>
                  </a:cxn>
                  <a:cxn ang="0">
                    <a:pos x="2" y="19"/>
                  </a:cxn>
                  <a:cxn ang="0">
                    <a:pos x="1" y="19"/>
                  </a:cxn>
                  <a:cxn ang="0">
                    <a:pos x="1" y="17"/>
                  </a:cxn>
                  <a:cxn ang="0">
                    <a:pos x="2" y="27"/>
                  </a:cxn>
                  <a:cxn ang="0">
                    <a:pos x="3" y="30"/>
                  </a:cxn>
                  <a:cxn ang="0">
                    <a:pos x="3" y="31"/>
                  </a:cxn>
                  <a:cxn ang="0">
                    <a:pos x="4" y="37"/>
                  </a:cxn>
                  <a:cxn ang="0">
                    <a:pos x="7" y="42"/>
                  </a:cxn>
                  <a:cxn ang="0">
                    <a:pos x="9" y="43"/>
                  </a:cxn>
                  <a:cxn ang="0">
                    <a:pos x="10" y="43"/>
                  </a:cxn>
                  <a:cxn ang="0">
                    <a:pos x="12" y="42"/>
                  </a:cxn>
                  <a:cxn ang="0">
                    <a:pos x="15" y="41"/>
                  </a:cxn>
                  <a:cxn ang="0">
                    <a:pos x="16" y="40"/>
                  </a:cxn>
                  <a:cxn ang="0">
                    <a:pos x="18" y="40"/>
                  </a:cxn>
                  <a:cxn ang="0">
                    <a:pos x="22" y="34"/>
                  </a:cxn>
                  <a:cxn ang="0">
                    <a:pos x="17" y="18"/>
                  </a:cxn>
                  <a:cxn ang="0">
                    <a:pos x="17" y="18"/>
                  </a:cxn>
                  <a:cxn ang="0">
                    <a:pos x="21" y="23"/>
                  </a:cxn>
                  <a:cxn ang="0">
                    <a:pos x="21" y="25"/>
                  </a:cxn>
                  <a:cxn ang="0">
                    <a:pos x="2" y="2"/>
                  </a:cxn>
                  <a:cxn ang="0">
                    <a:pos x="2" y="3"/>
                  </a:cxn>
                  <a:cxn ang="0">
                    <a:pos x="1" y="9"/>
                  </a:cxn>
                  <a:cxn ang="0">
                    <a:pos x="1" y="8"/>
                  </a:cxn>
                  <a:cxn ang="0">
                    <a:pos x="2" y="9"/>
                  </a:cxn>
                  <a:cxn ang="0">
                    <a:pos x="1" y="9"/>
                  </a:cxn>
                  <a:cxn ang="0">
                    <a:pos x="2" y="2"/>
                  </a:cxn>
                  <a:cxn ang="0">
                    <a:pos x="0" y="3"/>
                  </a:cxn>
                  <a:cxn ang="0">
                    <a:pos x="0" y="4"/>
                  </a:cxn>
                </a:cxnLst>
                <a:rect l="0" t="0" r="r" b="b"/>
                <a:pathLst>
                  <a:path w="23" h="43">
                    <a:moveTo>
                      <a:pt x="22" y="28"/>
                    </a:moveTo>
                    <a:cubicBezTo>
                      <a:pt x="22" y="27"/>
                      <a:pt x="22" y="26"/>
                      <a:pt x="22" y="27"/>
                    </a:cubicBezTo>
                    <a:cubicBezTo>
                      <a:pt x="22" y="26"/>
                      <a:pt x="21" y="26"/>
                      <a:pt x="21" y="26"/>
                    </a:cubicBezTo>
                    <a:cubicBezTo>
                      <a:pt x="21" y="26"/>
                      <a:pt x="21" y="25"/>
                      <a:pt x="21" y="25"/>
                    </a:cubicBezTo>
                    <a:cubicBezTo>
                      <a:pt x="21" y="25"/>
                      <a:pt x="21" y="24"/>
                      <a:pt x="21" y="25"/>
                    </a:cubicBezTo>
                    <a:cubicBezTo>
                      <a:pt x="21" y="24"/>
                      <a:pt x="20" y="23"/>
                      <a:pt x="20" y="23"/>
                    </a:cubicBezTo>
                    <a:cubicBezTo>
                      <a:pt x="20" y="23"/>
                      <a:pt x="19" y="23"/>
                      <a:pt x="20" y="23"/>
                    </a:cubicBezTo>
                    <a:cubicBezTo>
                      <a:pt x="20" y="23"/>
                      <a:pt x="20" y="24"/>
                      <a:pt x="21" y="24"/>
                    </a:cubicBezTo>
                    <a:cubicBezTo>
                      <a:pt x="21" y="23"/>
                      <a:pt x="20" y="23"/>
                      <a:pt x="20" y="23"/>
                    </a:cubicBezTo>
                    <a:cubicBezTo>
                      <a:pt x="20" y="22"/>
                      <a:pt x="19" y="22"/>
                      <a:pt x="19" y="21"/>
                    </a:cubicBezTo>
                    <a:cubicBezTo>
                      <a:pt x="19" y="21"/>
                      <a:pt x="19" y="21"/>
                      <a:pt x="18" y="20"/>
                    </a:cubicBezTo>
                    <a:cubicBezTo>
                      <a:pt x="18" y="20"/>
                      <a:pt x="18" y="19"/>
                      <a:pt x="18" y="19"/>
                    </a:cubicBezTo>
                    <a:cubicBezTo>
                      <a:pt x="18" y="19"/>
                      <a:pt x="18" y="19"/>
                      <a:pt x="18" y="19"/>
                    </a:cubicBezTo>
                    <a:cubicBezTo>
                      <a:pt x="18" y="19"/>
                      <a:pt x="18" y="18"/>
                      <a:pt x="17" y="17"/>
                    </a:cubicBezTo>
                    <a:cubicBezTo>
                      <a:pt x="17" y="17"/>
                      <a:pt x="17" y="16"/>
                      <a:pt x="17" y="16"/>
                    </a:cubicBezTo>
                    <a:cubicBezTo>
                      <a:pt x="17" y="16"/>
                      <a:pt x="17" y="16"/>
                      <a:pt x="17" y="16"/>
                    </a:cubicBezTo>
                    <a:cubicBezTo>
                      <a:pt x="17" y="16"/>
                      <a:pt x="17" y="13"/>
                      <a:pt x="16" y="15"/>
                    </a:cubicBezTo>
                    <a:cubicBezTo>
                      <a:pt x="16" y="16"/>
                      <a:pt x="16" y="15"/>
                      <a:pt x="15" y="15"/>
                    </a:cubicBezTo>
                    <a:cubicBezTo>
                      <a:pt x="15" y="15"/>
                      <a:pt x="15" y="15"/>
                      <a:pt x="15" y="15"/>
                    </a:cubicBezTo>
                    <a:cubicBezTo>
                      <a:pt x="14" y="14"/>
                      <a:pt x="15" y="15"/>
                      <a:pt x="15" y="15"/>
                    </a:cubicBezTo>
                    <a:cubicBezTo>
                      <a:pt x="16" y="15"/>
                      <a:pt x="15" y="14"/>
                      <a:pt x="15" y="14"/>
                    </a:cubicBezTo>
                    <a:cubicBezTo>
                      <a:pt x="16" y="14"/>
                      <a:pt x="16" y="14"/>
                      <a:pt x="16" y="14"/>
                    </a:cubicBezTo>
                    <a:cubicBezTo>
                      <a:pt x="16" y="14"/>
                      <a:pt x="16" y="14"/>
                      <a:pt x="15" y="14"/>
                    </a:cubicBezTo>
                    <a:cubicBezTo>
                      <a:pt x="16" y="13"/>
                      <a:pt x="15" y="13"/>
                      <a:pt x="15" y="13"/>
                    </a:cubicBezTo>
                    <a:cubicBezTo>
                      <a:pt x="15" y="13"/>
                      <a:pt x="15" y="13"/>
                      <a:pt x="15" y="13"/>
                    </a:cubicBezTo>
                    <a:cubicBezTo>
                      <a:pt x="15" y="12"/>
                      <a:pt x="15" y="12"/>
                      <a:pt x="15" y="12"/>
                    </a:cubicBezTo>
                    <a:cubicBezTo>
                      <a:pt x="15" y="12"/>
                      <a:pt x="14" y="11"/>
                      <a:pt x="14" y="11"/>
                    </a:cubicBezTo>
                    <a:cubicBezTo>
                      <a:pt x="14" y="11"/>
                      <a:pt x="13" y="10"/>
                      <a:pt x="13" y="10"/>
                    </a:cubicBezTo>
                    <a:cubicBezTo>
                      <a:pt x="13" y="10"/>
                      <a:pt x="13" y="10"/>
                      <a:pt x="13" y="10"/>
                    </a:cubicBezTo>
                    <a:cubicBezTo>
                      <a:pt x="13" y="10"/>
                      <a:pt x="12" y="9"/>
                      <a:pt x="12" y="9"/>
                    </a:cubicBezTo>
                    <a:cubicBezTo>
                      <a:pt x="12" y="9"/>
                      <a:pt x="13" y="9"/>
                      <a:pt x="13" y="9"/>
                    </a:cubicBezTo>
                    <a:cubicBezTo>
                      <a:pt x="13" y="9"/>
                      <a:pt x="12" y="8"/>
                      <a:pt x="12" y="8"/>
                    </a:cubicBezTo>
                    <a:cubicBezTo>
                      <a:pt x="12" y="8"/>
                      <a:pt x="12" y="8"/>
                      <a:pt x="12" y="8"/>
                    </a:cubicBezTo>
                    <a:cubicBezTo>
                      <a:pt x="12" y="7"/>
                      <a:pt x="12" y="7"/>
                      <a:pt x="11" y="7"/>
                    </a:cubicBezTo>
                    <a:cubicBezTo>
                      <a:pt x="11" y="7"/>
                      <a:pt x="11" y="6"/>
                      <a:pt x="11" y="7"/>
                    </a:cubicBezTo>
                    <a:cubicBezTo>
                      <a:pt x="11" y="7"/>
                      <a:pt x="10" y="6"/>
                      <a:pt x="11" y="6"/>
                    </a:cubicBezTo>
                    <a:cubicBezTo>
                      <a:pt x="11" y="6"/>
                      <a:pt x="11" y="6"/>
                      <a:pt x="11" y="6"/>
                    </a:cubicBezTo>
                    <a:cubicBezTo>
                      <a:pt x="10" y="5"/>
                      <a:pt x="9" y="4"/>
                      <a:pt x="8" y="3"/>
                    </a:cubicBezTo>
                    <a:cubicBezTo>
                      <a:pt x="7" y="2"/>
                      <a:pt x="6" y="2"/>
                      <a:pt x="6" y="1"/>
                    </a:cubicBezTo>
                    <a:cubicBezTo>
                      <a:pt x="5" y="0"/>
                      <a:pt x="5" y="0"/>
                      <a:pt x="5" y="0"/>
                    </a:cubicBezTo>
                    <a:cubicBezTo>
                      <a:pt x="5" y="0"/>
                      <a:pt x="4" y="1"/>
                      <a:pt x="5" y="1"/>
                    </a:cubicBezTo>
                    <a:cubicBezTo>
                      <a:pt x="6" y="1"/>
                      <a:pt x="7" y="2"/>
                      <a:pt x="7" y="3"/>
                    </a:cubicBezTo>
                    <a:cubicBezTo>
                      <a:pt x="6" y="3"/>
                      <a:pt x="6" y="2"/>
                      <a:pt x="5" y="1"/>
                    </a:cubicBezTo>
                    <a:cubicBezTo>
                      <a:pt x="5" y="1"/>
                      <a:pt x="5" y="1"/>
                      <a:pt x="4" y="1"/>
                    </a:cubicBezTo>
                    <a:cubicBezTo>
                      <a:pt x="4" y="1"/>
                      <a:pt x="4" y="0"/>
                      <a:pt x="4" y="0"/>
                    </a:cubicBezTo>
                    <a:cubicBezTo>
                      <a:pt x="4" y="0"/>
                      <a:pt x="4" y="0"/>
                      <a:pt x="4" y="0"/>
                    </a:cubicBezTo>
                    <a:cubicBezTo>
                      <a:pt x="3" y="0"/>
                      <a:pt x="2" y="0"/>
                      <a:pt x="2" y="1"/>
                    </a:cubicBezTo>
                    <a:cubicBezTo>
                      <a:pt x="3" y="2"/>
                      <a:pt x="4" y="3"/>
                      <a:pt x="4" y="3"/>
                    </a:cubicBezTo>
                    <a:cubicBezTo>
                      <a:pt x="4" y="3"/>
                      <a:pt x="4" y="2"/>
                      <a:pt x="4" y="2"/>
                    </a:cubicBezTo>
                    <a:cubicBezTo>
                      <a:pt x="4" y="2"/>
                      <a:pt x="5" y="3"/>
                      <a:pt x="5" y="3"/>
                    </a:cubicBezTo>
                    <a:cubicBezTo>
                      <a:pt x="5" y="3"/>
                      <a:pt x="4" y="2"/>
                      <a:pt x="5" y="2"/>
                    </a:cubicBezTo>
                    <a:cubicBezTo>
                      <a:pt x="5" y="2"/>
                      <a:pt x="6" y="3"/>
                      <a:pt x="6" y="3"/>
                    </a:cubicBezTo>
                    <a:cubicBezTo>
                      <a:pt x="7" y="4"/>
                      <a:pt x="8" y="3"/>
                      <a:pt x="9" y="4"/>
                    </a:cubicBezTo>
                    <a:cubicBezTo>
                      <a:pt x="8" y="5"/>
                      <a:pt x="8" y="4"/>
                      <a:pt x="7" y="4"/>
                    </a:cubicBezTo>
                    <a:cubicBezTo>
                      <a:pt x="7" y="4"/>
                      <a:pt x="6" y="5"/>
                      <a:pt x="6" y="4"/>
                    </a:cubicBezTo>
                    <a:cubicBezTo>
                      <a:pt x="6" y="4"/>
                      <a:pt x="6" y="4"/>
                      <a:pt x="6" y="4"/>
                    </a:cubicBezTo>
                    <a:cubicBezTo>
                      <a:pt x="6" y="4"/>
                      <a:pt x="5" y="4"/>
                      <a:pt x="5" y="3"/>
                    </a:cubicBezTo>
                    <a:cubicBezTo>
                      <a:pt x="5" y="3"/>
                      <a:pt x="4" y="3"/>
                      <a:pt x="4" y="3"/>
                    </a:cubicBezTo>
                    <a:cubicBezTo>
                      <a:pt x="4" y="4"/>
                      <a:pt x="6" y="4"/>
                      <a:pt x="4" y="5"/>
                    </a:cubicBezTo>
                    <a:cubicBezTo>
                      <a:pt x="4" y="5"/>
                      <a:pt x="4" y="5"/>
                      <a:pt x="4" y="6"/>
                    </a:cubicBezTo>
                    <a:cubicBezTo>
                      <a:pt x="5" y="6"/>
                      <a:pt x="5" y="7"/>
                      <a:pt x="4" y="7"/>
                    </a:cubicBezTo>
                    <a:cubicBezTo>
                      <a:pt x="4" y="8"/>
                      <a:pt x="4" y="9"/>
                      <a:pt x="3" y="10"/>
                    </a:cubicBezTo>
                    <a:cubicBezTo>
                      <a:pt x="3" y="10"/>
                      <a:pt x="3" y="11"/>
                      <a:pt x="3" y="12"/>
                    </a:cubicBezTo>
                    <a:cubicBezTo>
                      <a:pt x="3" y="12"/>
                      <a:pt x="3" y="13"/>
                      <a:pt x="3" y="13"/>
                    </a:cubicBezTo>
                    <a:cubicBezTo>
                      <a:pt x="3" y="14"/>
                      <a:pt x="3" y="14"/>
                      <a:pt x="3" y="14"/>
                    </a:cubicBezTo>
                    <a:cubicBezTo>
                      <a:pt x="2" y="14"/>
                      <a:pt x="2" y="16"/>
                      <a:pt x="2" y="17"/>
                    </a:cubicBezTo>
                    <a:cubicBezTo>
                      <a:pt x="2" y="17"/>
                      <a:pt x="2" y="18"/>
                      <a:pt x="2" y="18"/>
                    </a:cubicBezTo>
                    <a:cubicBezTo>
                      <a:pt x="2" y="18"/>
                      <a:pt x="2" y="19"/>
                      <a:pt x="2" y="19"/>
                    </a:cubicBezTo>
                    <a:cubicBezTo>
                      <a:pt x="2" y="19"/>
                      <a:pt x="2" y="21"/>
                      <a:pt x="2" y="21"/>
                    </a:cubicBezTo>
                    <a:cubicBezTo>
                      <a:pt x="1" y="20"/>
                      <a:pt x="1" y="19"/>
                      <a:pt x="1" y="19"/>
                    </a:cubicBezTo>
                    <a:cubicBezTo>
                      <a:pt x="1" y="18"/>
                      <a:pt x="2" y="18"/>
                      <a:pt x="2" y="18"/>
                    </a:cubicBezTo>
                    <a:cubicBezTo>
                      <a:pt x="2" y="18"/>
                      <a:pt x="1" y="17"/>
                      <a:pt x="1" y="17"/>
                    </a:cubicBezTo>
                    <a:cubicBezTo>
                      <a:pt x="0" y="19"/>
                      <a:pt x="2" y="22"/>
                      <a:pt x="2" y="24"/>
                    </a:cubicBezTo>
                    <a:cubicBezTo>
                      <a:pt x="2" y="25"/>
                      <a:pt x="2" y="26"/>
                      <a:pt x="2" y="27"/>
                    </a:cubicBezTo>
                    <a:cubicBezTo>
                      <a:pt x="3" y="28"/>
                      <a:pt x="2" y="29"/>
                      <a:pt x="3" y="29"/>
                    </a:cubicBezTo>
                    <a:cubicBezTo>
                      <a:pt x="3" y="29"/>
                      <a:pt x="3" y="30"/>
                      <a:pt x="3" y="30"/>
                    </a:cubicBezTo>
                    <a:cubicBezTo>
                      <a:pt x="3" y="30"/>
                      <a:pt x="3" y="29"/>
                      <a:pt x="2" y="29"/>
                    </a:cubicBezTo>
                    <a:cubicBezTo>
                      <a:pt x="2" y="30"/>
                      <a:pt x="3" y="31"/>
                      <a:pt x="3" y="31"/>
                    </a:cubicBezTo>
                    <a:cubicBezTo>
                      <a:pt x="3" y="32"/>
                      <a:pt x="3" y="32"/>
                      <a:pt x="3" y="33"/>
                    </a:cubicBezTo>
                    <a:cubicBezTo>
                      <a:pt x="3" y="34"/>
                      <a:pt x="4" y="35"/>
                      <a:pt x="4" y="37"/>
                    </a:cubicBezTo>
                    <a:cubicBezTo>
                      <a:pt x="4" y="37"/>
                      <a:pt x="5" y="38"/>
                      <a:pt x="5" y="39"/>
                    </a:cubicBezTo>
                    <a:cubicBezTo>
                      <a:pt x="5" y="40"/>
                      <a:pt x="6" y="42"/>
                      <a:pt x="7" y="42"/>
                    </a:cubicBezTo>
                    <a:cubicBezTo>
                      <a:pt x="7" y="42"/>
                      <a:pt x="8" y="43"/>
                      <a:pt x="8" y="43"/>
                    </a:cubicBezTo>
                    <a:cubicBezTo>
                      <a:pt x="9" y="43"/>
                      <a:pt x="9" y="43"/>
                      <a:pt x="9" y="43"/>
                    </a:cubicBezTo>
                    <a:cubicBezTo>
                      <a:pt x="10" y="43"/>
                      <a:pt x="10" y="43"/>
                      <a:pt x="10" y="43"/>
                    </a:cubicBezTo>
                    <a:cubicBezTo>
                      <a:pt x="10" y="43"/>
                      <a:pt x="10" y="43"/>
                      <a:pt x="10" y="43"/>
                    </a:cubicBezTo>
                    <a:cubicBezTo>
                      <a:pt x="11" y="43"/>
                      <a:pt x="11" y="43"/>
                      <a:pt x="11" y="43"/>
                    </a:cubicBezTo>
                    <a:cubicBezTo>
                      <a:pt x="12" y="43"/>
                      <a:pt x="12" y="42"/>
                      <a:pt x="12" y="42"/>
                    </a:cubicBezTo>
                    <a:cubicBezTo>
                      <a:pt x="13" y="42"/>
                      <a:pt x="13" y="42"/>
                      <a:pt x="14" y="41"/>
                    </a:cubicBezTo>
                    <a:cubicBezTo>
                      <a:pt x="14" y="41"/>
                      <a:pt x="15" y="41"/>
                      <a:pt x="15" y="41"/>
                    </a:cubicBezTo>
                    <a:cubicBezTo>
                      <a:pt x="16" y="41"/>
                      <a:pt x="16" y="41"/>
                      <a:pt x="16" y="41"/>
                    </a:cubicBezTo>
                    <a:cubicBezTo>
                      <a:pt x="16" y="41"/>
                      <a:pt x="16" y="40"/>
                      <a:pt x="16" y="40"/>
                    </a:cubicBezTo>
                    <a:cubicBezTo>
                      <a:pt x="16" y="40"/>
                      <a:pt x="17" y="40"/>
                      <a:pt x="17" y="40"/>
                    </a:cubicBezTo>
                    <a:cubicBezTo>
                      <a:pt x="17" y="40"/>
                      <a:pt x="17" y="40"/>
                      <a:pt x="18" y="40"/>
                    </a:cubicBezTo>
                    <a:cubicBezTo>
                      <a:pt x="18" y="40"/>
                      <a:pt x="19" y="39"/>
                      <a:pt x="20" y="38"/>
                    </a:cubicBezTo>
                    <a:cubicBezTo>
                      <a:pt x="21" y="37"/>
                      <a:pt x="22" y="35"/>
                      <a:pt x="22" y="34"/>
                    </a:cubicBezTo>
                    <a:cubicBezTo>
                      <a:pt x="23" y="32"/>
                      <a:pt x="23" y="30"/>
                      <a:pt x="22" y="28"/>
                    </a:cubicBezTo>
                    <a:close/>
                    <a:moveTo>
                      <a:pt x="17" y="18"/>
                    </a:moveTo>
                    <a:cubicBezTo>
                      <a:pt x="18" y="19"/>
                      <a:pt x="18" y="19"/>
                      <a:pt x="18" y="19"/>
                    </a:cubicBezTo>
                    <a:cubicBezTo>
                      <a:pt x="17" y="19"/>
                      <a:pt x="17" y="19"/>
                      <a:pt x="17" y="18"/>
                    </a:cubicBezTo>
                    <a:close/>
                    <a:moveTo>
                      <a:pt x="21" y="25"/>
                    </a:moveTo>
                    <a:cubicBezTo>
                      <a:pt x="21" y="24"/>
                      <a:pt x="21" y="24"/>
                      <a:pt x="21" y="23"/>
                    </a:cubicBezTo>
                    <a:cubicBezTo>
                      <a:pt x="21" y="24"/>
                      <a:pt x="22" y="26"/>
                      <a:pt x="22" y="26"/>
                    </a:cubicBezTo>
                    <a:cubicBezTo>
                      <a:pt x="21" y="26"/>
                      <a:pt x="21" y="25"/>
                      <a:pt x="21" y="25"/>
                    </a:cubicBezTo>
                    <a:close/>
                    <a:moveTo>
                      <a:pt x="2" y="2"/>
                    </a:moveTo>
                    <a:cubicBezTo>
                      <a:pt x="2" y="2"/>
                      <a:pt x="2" y="2"/>
                      <a:pt x="2" y="2"/>
                    </a:cubicBezTo>
                    <a:cubicBezTo>
                      <a:pt x="2" y="2"/>
                      <a:pt x="3" y="2"/>
                      <a:pt x="3" y="2"/>
                    </a:cubicBezTo>
                    <a:cubicBezTo>
                      <a:pt x="3" y="3"/>
                      <a:pt x="3" y="3"/>
                      <a:pt x="2" y="3"/>
                    </a:cubicBezTo>
                    <a:cubicBezTo>
                      <a:pt x="2" y="2"/>
                      <a:pt x="2" y="2"/>
                      <a:pt x="2" y="2"/>
                    </a:cubicBezTo>
                    <a:close/>
                    <a:moveTo>
                      <a:pt x="1" y="9"/>
                    </a:moveTo>
                    <a:cubicBezTo>
                      <a:pt x="1" y="9"/>
                      <a:pt x="1" y="8"/>
                      <a:pt x="1" y="8"/>
                    </a:cubicBezTo>
                    <a:cubicBezTo>
                      <a:pt x="1" y="8"/>
                      <a:pt x="1" y="8"/>
                      <a:pt x="1" y="8"/>
                    </a:cubicBezTo>
                    <a:cubicBezTo>
                      <a:pt x="2" y="8"/>
                      <a:pt x="2" y="9"/>
                      <a:pt x="3" y="9"/>
                    </a:cubicBezTo>
                    <a:cubicBezTo>
                      <a:pt x="2" y="9"/>
                      <a:pt x="2" y="9"/>
                      <a:pt x="2" y="9"/>
                    </a:cubicBezTo>
                    <a:cubicBezTo>
                      <a:pt x="2" y="9"/>
                      <a:pt x="3" y="10"/>
                      <a:pt x="2" y="10"/>
                    </a:cubicBezTo>
                    <a:cubicBezTo>
                      <a:pt x="2" y="10"/>
                      <a:pt x="2" y="9"/>
                      <a:pt x="1" y="9"/>
                    </a:cubicBezTo>
                    <a:close/>
                    <a:moveTo>
                      <a:pt x="2" y="1"/>
                    </a:moveTo>
                    <a:cubicBezTo>
                      <a:pt x="2" y="1"/>
                      <a:pt x="2" y="1"/>
                      <a:pt x="2" y="2"/>
                    </a:cubicBezTo>
                    <a:cubicBezTo>
                      <a:pt x="2" y="2"/>
                      <a:pt x="1" y="1"/>
                      <a:pt x="2" y="1"/>
                    </a:cubicBezTo>
                    <a:close/>
                    <a:moveTo>
                      <a:pt x="0" y="3"/>
                    </a:moveTo>
                    <a:cubicBezTo>
                      <a:pt x="0" y="4"/>
                      <a:pt x="1" y="4"/>
                      <a:pt x="0" y="4"/>
                    </a:cubicBezTo>
                    <a:cubicBezTo>
                      <a:pt x="0" y="4"/>
                      <a:pt x="0" y="4"/>
                      <a:pt x="0" y="4"/>
                    </a:cubicBezTo>
                    <a:cubicBezTo>
                      <a:pt x="0" y="4"/>
                      <a:pt x="0" y="3"/>
                      <a:pt x="0" y="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0" name="Spain">
                <a:extLst>
                  <a:ext uri="{FF2B5EF4-FFF2-40B4-BE49-F238E27FC236}">
                    <a16:creationId xmlns:a16="http://schemas.microsoft.com/office/drawing/2014/main" id="{F1CFA2AC-40D1-0049-3E18-9D4EFE9EB669}"/>
                  </a:ext>
                </a:extLst>
              </p:cNvPr>
              <p:cNvSpPr>
                <a:spLocks noEditPoints="1"/>
              </p:cNvSpPr>
              <p:nvPr/>
            </p:nvSpPr>
            <p:spPr bwMode="auto">
              <a:xfrm>
                <a:off x="5102704" y="2338862"/>
                <a:ext cx="757667" cy="631226"/>
              </a:xfrm>
              <a:custGeom>
                <a:avLst/>
                <a:gdLst/>
                <a:ahLst/>
                <a:cxnLst>
                  <a:cxn ang="0">
                    <a:pos x="40" y="166"/>
                  </a:cxn>
                  <a:cxn ang="0">
                    <a:pos x="41" y="169"/>
                  </a:cxn>
                  <a:cxn ang="0">
                    <a:pos x="18" y="167"/>
                  </a:cxn>
                  <a:cxn ang="0">
                    <a:pos x="18" y="170"/>
                  </a:cxn>
                  <a:cxn ang="0">
                    <a:pos x="2" y="178"/>
                  </a:cxn>
                  <a:cxn ang="0">
                    <a:pos x="41" y="164"/>
                  </a:cxn>
                  <a:cxn ang="0">
                    <a:pos x="26" y="172"/>
                  </a:cxn>
                  <a:cxn ang="0">
                    <a:pos x="27" y="174"/>
                  </a:cxn>
                  <a:cxn ang="0">
                    <a:pos x="188" y="53"/>
                  </a:cxn>
                  <a:cxn ang="0">
                    <a:pos x="212" y="41"/>
                  </a:cxn>
                  <a:cxn ang="0">
                    <a:pos x="210" y="43"/>
                  </a:cxn>
                  <a:cxn ang="0">
                    <a:pos x="204" y="43"/>
                  </a:cxn>
                  <a:cxn ang="0">
                    <a:pos x="197" y="47"/>
                  </a:cxn>
                  <a:cxn ang="0">
                    <a:pos x="205" y="44"/>
                  </a:cxn>
                  <a:cxn ang="0">
                    <a:pos x="197" y="15"/>
                  </a:cxn>
                  <a:cxn ang="0">
                    <a:pos x="189" y="13"/>
                  </a:cxn>
                  <a:cxn ang="0">
                    <a:pos x="176" y="13"/>
                  </a:cxn>
                  <a:cxn ang="0">
                    <a:pos x="168" y="10"/>
                  </a:cxn>
                  <a:cxn ang="0">
                    <a:pos x="160" y="5"/>
                  </a:cxn>
                  <a:cxn ang="0">
                    <a:pos x="148" y="5"/>
                  </a:cxn>
                  <a:cxn ang="0">
                    <a:pos x="144" y="4"/>
                  </a:cxn>
                  <a:cxn ang="0">
                    <a:pos x="130" y="3"/>
                  </a:cxn>
                  <a:cxn ang="0">
                    <a:pos x="119" y="3"/>
                  </a:cxn>
                  <a:cxn ang="0">
                    <a:pos x="108" y="2"/>
                  </a:cxn>
                  <a:cxn ang="0">
                    <a:pos x="104" y="4"/>
                  </a:cxn>
                  <a:cxn ang="0">
                    <a:pos x="100" y="6"/>
                  </a:cxn>
                  <a:cxn ang="0">
                    <a:pos x="95" y="9"/>
                  </a:cxn>
                  <a:cxn ang="0">
                    <a:pos x="97" y="11"/>
                  </a:cxn>
                  <a:cxn ang="0">
                    <a:pos x="98" y="13"/>
                  </a:cxn>
                  <a:cxn ang="0">
                    <a:pos x="98" y="16"/>
                  </a:cxn>
                  <a:cxn ang="0">
                    <a:pos x="99" y="17"/>
                  </a:cxn>
                  <a:cxn ang="0">
                    <a:pos x="97" y="21"/>
                  </a:cxn>
                  <a:cxn ang="0">
                    <a:pos x="103" y="21"/>
                  </a:cxn>
                  <a:cxn ang="0">
                    <a:pos x="110" y="22"/>
                  </a:cxn>
                  <a:cxn ang="0">
                    <a:pos x="117" y="21"/>
                  </a:cxn>
                  <a:cxn ang="0">
                    <a:pos x="119" y="27"/>
                  </a:cxn>
                  <a:cxn ang="0">
                    <a:pos x="114" y="35"/>
                  </a:cxn>
                  <a:cxn ang="0">
                    <a:pos x="112" y="45"/>
                  </a:cxn>
                  <a:cxn ang="0">
                    <a:pos x="111" y="51"/>
                  </a:cxn>
                  <a:cxn ang="0">
                    <a:pos x="109" y="60"/>
                  </a:cxn>
                  <a:cxn ang="0">
                    <a:pos x="107" y="66"/>
                  </a:cxn>
                  <a:cxn ang="0">
                    <a:pos x="111" y="73"/>
                  </a:cxn>
                  <a:cxn ang="0">
                    <a:pos x="117" y="76"/>
                  </a:cxn>
                  <a:cxn ang="0">
                    <a:pos x="117" y="82"/>
                  </a:cxn>
                  <a:cxn ang="0">
                    <a:pos x="123" y="85"/>
                  </a:cxn>
                  <a:cxn ang="0">
                    <a:pos x="136" y="78"/>
                  </a:cxn>
                  <a:cxn ang="0">
                    <a:pos x="148" y="78"/>
                  </a:cxn>
                  <a:cxn ang="0">
                    <a:pos x="157" y="75"/>
                  </a:cxn>
                  <a:cxn ang="0">
                    <a:pos x="164" y="69"/>
                  </a:cxn>
                  <a:cxn ang="0">
                    <a:pos x="167" y="66"/>
                  </a:cxn>
                  <a:cxn ang="0">
                    <a:pos x="172" y="58"/>
                  </a:cxn>
                  <a:cxn ang="0">
                    <a:pos x="175" y="43"/>
                  </a:cxn>
                  <a:cxn ang="0">
                    <a:pos x="183" y="34"/>
                  </a:cxn>
                  <a:cxn ang="0">
                    <a:pos x="192" y="28"/>
                  </a:cxn>
                  <a:cxn ang="0">
                    <a:pos x="204" y="19"/>
                  </a:cxn>
                </a:cxnLst>
                <a:rect l="0" t="0" r="r" b="b"/>
                <a:pathLst>
                  <a:path w="214" h="178">
                    <a:moveTo>
                      <a:pt x="5" y="165"/>
                    </a:moveTo>
                    <a:cubicBezTo>
                      <a:pt x="5" y="166"/>
                      <a:pt x="5" y="167"/>
                      <a:pt x="4" y="168"/>
                    </a:cubicBezTo>
                    <a:cubicBezTo>
                      <a:pt x="4" y="168"/>
                      <a:pt x="4" y="169"/>
                      <a:pt x="4" y="168"/>
                    </a:cubicBezTo>
                    <a:cubicBezTo>
                      <a:pt x="3" y="168"/>
                      <a:pt x="4" y="168"/>
                      <a:pt x="3" y="167"/>
                    </a:cubicBezTo>
                    <a:cubicBezTo>
                      <a:pt x="3" y="166"/>
                      <a:pt x="2" y="165"/>
                      <a:pt x="3" y="164"/>
                    </a:cubicBezTo>
                    <a:cubicBezTo>
                      <a:pt x="4" y="164"/>
                      <a:pt x="5" y="164"/>
                      <a:pt x="5" y="165"/>
                    </a:cubicBezTo>
                    <a:close/>
                    <a:moveTo>
                      <a:pt x="40" y="166"/>
                    </a:moveTo>
                    <a:cubicBezTo>
                      <a:pt x="39" y="167"/>
                      <a:pt x="39" y="168"/>
                      <a:pt x="38" y="169"/>
                    </a:cubicBezTo>
                    <a:cubicBezTo>
                      <a:pt x="38" y="170"/>
                      <a:pt x="38" y="171"/>
                      <a:pt x="37" y="172"/>
                    </a:cubicBezTo>
                    <a:cubicBezTo>
                      <a:pt x="37" y="172"/>
                      <a:pt x="36" y="172"/>
                      <a:pt x="36" y="172"/>
                    </a:cubicBezTo>
                    <a:cubicBezTo>
                      <a:pt x="35" y="172"/>
                      <a:pt x="35" y="172"/>
                      <a:pt x="35" y="173"/>
                    </a:cubicBezTo>
                    <a:cubicBezTo>
                      <a:pt x="35" y="173"/>
                      <a:pt x="36" y="173"/>
                      <a:pt x="36" y="173"/>
                    </a:cubicBezTo>
                    <a:cubicBezTo>
                      <a:pt x="37" y="172"/>
                      <a:pt x="38" y="172"/>
                      <a:pt x="39" y="171"/>
                    </a:cubicBezTo>
                    <a:cubicBezTo>
                      <a:pt x="40" y="171"/>
                      <a:pt x="41" y="170"/>
                      <a:pt x="41" y="169"/>
                    </a:cubicBezTo>
                    <a:cubicBezTo>
                      <a:pt x="41" y="169"/>
                      <a:pt x="42" y="167"/>
                      <a:pt x="41" y="166"/>
                    </a:cubicBezTo>
                    <a:cubicBezTo>
                      <a:pt x="41" y="165"/>
                      <a:pt x="40" y="165"/>
                      <a:pt x="40" y="166"/>
                    </a:cubicBezTo>
                    <a:close/>
                    <a:moveTo>
                      <a:pt x="9" y="171"/>
                    </a:moveTo>
                    <a:cubicBezTo>
                      <a:pt x="8" y="171"/>
                      <a:pt x="8" y="173"/>
                      <a:pt x="9" y="173"/>
                    </a:cubicBezTo>
                    <a:cubicBezTo>
                      <a:pt x="10" y="173"/>
                      <a:pt x="11" y="173"/>
                      <a:pt x="11" y="172"/>
                    </a:cubicBezTo>
                    <a:cubicBezTo>
                      <a:pt x="10" y="172"/>
                      <a:pt x="10" y="171"/>
                      <a:pt x="9" y="171"/>
                    </a:cubicBezTo>
                    <a:close/>
                    <a:moveTo>
                      <a:pt x="18" y="167"/>
                    </a:moveTo>
                    <a:cubicBezTo>
                      <a:pt x="17" y="167"/>
                      <a:pt x="17" y="169"/>
                      <a:pt x="16" y="169"/>
                    </a:cubicBezTo>
                    <a:cubicBezTo>
                      <a:pt x="15" y="169"/>
                      <a:pt x="14" y="169"/>
                      <a:pt x="13" y="169"/>
                    </a:cubicBezTo>
                    <a:cubicBezTo>
                      <a:pt x="12" y="170"/>
                      <a:pt x="13" y="171"/>
                      <a:pt x="13" y="171"/>
                    </a:cubicBezTo>
                    <a:cubicBezTo>
                      <a:pt x="13" y="172"/>
                      <a:pt x="14" y="172"/>
                      <a:pt x="14" y="173"/>
                    </a:cubicBezTo>
                    <a:cubicBezTo>
                      <a:pt x="14" y="173"/>
                      <a:pt x="14" y="174"/>
                      <a:pt x="14" y="174"/>
                    </a:cubicBezTo>
                    <a:cubicBezTo>
                      <a:pt x="15" y="173"/>
                      <a:pt x="16" y="173"/>
                      <a:pt x="17" y="172"/>
                    </a:cubicBezTo>
                    <a:cubicBezTo>
                      <a:pt x="17" y="171"/>
                      <a:pt x="17" y="170"/>
                      <a:pt x="18" y="170"/>
                    </a:cubicBezTo>
                    <a:cubicBezTo>
                      <a:pt x="18" y="169"/>
                      <a:pt x="20" y="168"/>
                      <a:pt x="20" y="168"/>
                    </a:cubicBezTo>
                    <a:cubicBezTo>
                      <a:pt x="20" y="167"/>
                      <a:pt x="19" y="167"/>
                      <a:pt x="18" y="167"/>
                    </a:cubicBezTo>
                    <a:close/>
                    <a:moveTo>
                      <a:pt x="2" y="176"/>
                    </a:moveTo>
                    <a:cubicBezTo>
                      <a:pt x="1" y="176"/>
                      <a:pt x="1" y="176"/>
                      <a:pt x="1" y="176"/>
                    </a:cubicBezTo>
                    <a:cubicBezTo>
                      <a:pt x="1" y="176"/>
                      <a:pt x="0" y="176"/>
                      <a:pt x="0" y="176"/>
                    </a:cubicBezTo>
                    <a:cubicBezTo>
                      <a:pt x="0" y="177"/>
                      <a:pt x="1" y="177"/>
                      <a:pt x="1" y="177"/>
                    </a:cubicBezTo>
                    <a:cubicBezTo>
                      <a:pt x="1" y="177"/>
                      <a:pt x="1" y="177"/>
                      <a:pt x="2" y="178"/>
                    </a:cubicBezTo>
                    <a:cubicBezTo>
                      <a:pt x="2" y="177"/>
                      <a:pt x="3" y="176"/>
                      <a:pt x="3" y="176"/>
                    </a:cubicBezTo>
                    <a:cubicBezTo>
                      <a:pt x="3" y="175"/>
                      <a:pt x="2" y="176"/>
                      <a:pt x="2" y="176"/>
                    </a:cubicBezTo>
                    <a:close/>
                    <a:moveTo>
                      <a:pt x="45" y="160"/>
                    </a:moveTo>
                    <a:cubicBezTo>
                      <a:pt x="45" y="160"/>
                      <a:pt x="45" y="161"/>
                      <a:pt x="44" y="161"/>
                    </a:cubicBezTo>
                    <a:cubicBezTo>
                      <a:pt x="44" y="161"/>
                      <a:pt x="44" y="161"/>
                      <a:pt x="44" y="161"/>
                    </a:cubicBezTo>
                    <a:cubicBezTo>
                      <a:pt x="43" y="161"/>
                      <a:pt x="42" y="162"/>
                      <a:pt x="42" y="162"/>
                    </a:cubicBezTo>
                    <a:cubicBezTo>
                      <a:pt x="42" y="163"/>
                      <a:pt x="42" y="163"/>
                      <a:pt x="41" y="164"/>
                    </a:cubicBezTo>
                    <a:cubicBezTo>
                      <a:pt x="41" y="164"/>
                      <a:pt x="42" y="164"/>
                      <a:pt x="42" y="164"/>
                    </a:cubicBezTo>
                    <a:cubicBezTo>
                      <a:pt x="43" y="164"/>
                      <a:pt x="43" y="164"/>
                      <a:pt x="44" y="163"/>
                    </a:cubicBezTo>
                    <a:cubicBezTo>
                      <a:pt x="44" y="163"/>
                      <a:pt x="45" y="163"/>
                      <a:pt x="45" y="162"/>
                    </a:cubicBezTo>
                    <a:cubicBezTo>
                      <a:pt x="45" y="162"/>
                      <a:pt x="46" y="161"/>
                      <a:pt x="46" y="161"/>
                    </a:cubicBezTo>
                    <a:cubicBezTo>
                      <a:pt x="46" y="160"/>
                      <a:pt x="45" y="160"/>
                      <a:pt x="45" y="160"/>
                    </a:cubicBezTo>
                    <a:close/>
                    <a:moveTo>
                      <a:pt x="26" y="173"/>
                    </a:moveTo>
                    <a:cubicBezTo>
                      <a:pt x="26" y="173"/>
                      <a:pt x="26" y="172"/>
                      <a:pt x="26" y="172"/>
                    </a:cubicBezTo>
                    <a:cubicBezTo>
                      <a:pt x="26" y="172"/>
                      <a:pt x="26" y="172"/>
                      <a:pt x="26" y="172"/>
                    </a:cubicBezTo>
                    <a:cubicBezTo>
                      <a:pt x="25" y="172"/>
                      <a:pt x="25" y="172"/>
                      <a:pt x="24" y="172"/>
                    </a:cubicBezTo>
                    <a:cubicBezTo>
                      <a:pt x="23" y="172"/>
                      <a:pt x="24" y="173"/>
                      <a:pt x="23" y="173"/>
                    </a:cubicBezTo>
                    <a:cubicBezTo>
                      <a:pt x="22" y="174"/>
                      <a:pt x="22" y="174"/>
                      <a:pt x="22" y="175"/>
                    </a:cubicBezTo>
                    <a:cubicBezTo>
                      <a:pt x="23" y="176"/>
                      <a:pt x="24" y="176"/>
                      <a:pt x="24" y="176"/>
                    </a:cubicBezTo>
                    <a:cubicBezTo>
                      <a:pt x="25" y="176"/>
                      <a:pt x="26" y="176"/>
                      <a:pt x="26" y="176"/>
                    </a:cubicBezTo>
                    <a:cubicBezTo>
                      <a:pt x="26" y="175"/>
                      <a:pt x="26" y="175"/>
                      <a:pt x="27" y="174"/>
                    </a:cubicBezTo>
                    <a:cubicBezTo>
                      <a:pt x="27" y="174"/>
                      <a:pt x="26" y="173"/>
                      <a:pt x="26" y="173"/>
                    </a:cubicBezTo>
                    <a:close/>
                    <a:moveTo>
                      <a:pt x="186" y="53"/>
                    </a:moveTo>
                    <a:cubicBezTo>
                      <a:pt x="186" y="53"/>
                      <a:pt x="186" y="53"/>
                      <a:pt x="185" y="53"/>
                    </a:cubicBezTo>
                    <a:cubicBezTo>
                      <a:pt x="185" y="53"/>
                      <a:pt x="185" y="54"/>
                      <a:pt x="186" y="54"/>
                    </a:cubicBezTo>
                    <a:cubicBezTo>
                      <a:pt x="186" y="54"/>
                      <a:pt x="187" y="53"/>
                      <a:pt x="187" y="54"/>
                    </a:cubicBezTo>
                    <a:cubicBezTo>
                      <a:pt x="187" y="54"/>
                      <a:pt x="187" y="54"/>
                      <a:pt x="187" y="53"/>
                    </a:cubicBezTo>
                    <a:cubicBezTo>
                      <a:pt x="188" y="53"/>
                      <a:pt x="188" y="53"/>
                      <a:pt x="188" y="53"/>
                    </a:cubicBezTo>
                    <a:cubicBezTo>
                      <a:pt x="189" y="52"/>
                      <a:pt x="189" y="52"/>
                      <a:pt x="189" y="52"/>
                    </a:cubicBezTo>
                    <a:cubicBezTo>
                      <a:pt x="189" y="50"/>
                      <a:pt x="186" y="52"/>
                      <a:pt x="186" y="53"/>
                    </a:cubicBezTo>
                    <a:close/>
                    <a:moveTo>
                      <a:pt x="214" y="43"/>
                    </a:moveTo>
                    <a:cubicBezTo>
                      <a:pt x="213" y="43"/>
                      <a:pt x="213" y="43"/>
                      <a:pt x="213" y="42"/>
                    </a:cubicBezTo>
                    <a:cubicBezTo>
                      <a:pt x="213" y="42"/>
                      <a:pt x="213" y="42"/>
                      <a:pt x="213" y="42"/>
                    </a:cubicBezTo>
                    <a:cubicBezTo>
                      <a:pt x="213" y="42"/>
                      <a:pt x="213" y="42"/>
                      <a:pt x="213" y="42"/>
                    </a:cubicBezTo>
                    <a:cubicBezTo>
                      <a:pt x="213" y="41"/>
                      <a:pt x="212" y="41"/>
                      <a:pt x="212" y="41"/>
                    </a:cubicBezTo>
                    <a:cubicBezTo>
                      <a:pt x="212" y="41"/>
                      <a:pt x="212" y="41"/>
                      <a:pt x="212" y="41"/>
                    </a:cubicBezTo>
                    <a:cubicBezTo>
                      <a:pt x="212" y="41"/>
                      <a:pt x="212" y="41"/>
                      <a:pt x="212" y="41"/>
                    </a:cubicBezTo>
                    <a:cubicBezTo>
                      <a:pt x="212" y="41"/>
                      <a:pt x="211" y="41"/>
                      <a:pt x="211" y="41"/>
                    </a:cubicBezTo>
                    <a:cubicBezTo>
                      <a:pt x="211" y="41"/>
                      <a:pt x="210" y="41"/>
                      <a:pt x="210" y="41"/>
                    </a:cubicBezTo>
                    <a:cubicBezTo>
                      <a:pt x="210" y="41"/>
                      <a:pt x="209" y="41"/>
                      <a:pt x="209" y="42"/>
                    </a:cubicBezTo>
                    <a:cubicBezTo>
                      <a:pt x="209" y="42"/>
                      <a:pt x="209" y="42"/>
                      <a:pt x="209" y="42"/>
                    </a:cubicBezTo>
                    <a:cubicBezTo>
                      <a:pt x="209" y="43"/>
                      <a:pt x="209" y="43"/>
                      <a:pt x="210" y="43"/>
                    </a:cubicBezTo>
                    <a:cubicBezTo>
                      <a:pt x="211" y="43"/>
                      <a:pt x="212" y="44"/>
                      <a:pt x="213" y="44"/>
                    </a:cubicBezTo>
                    <a:cubicBezTo>
                      <a:pt x="214" y="44"/>
                      <a:pt x="214" y="43"/>
                      <a:pt x="213" y="43"/>
                    </a:cubicBezTo>
                    <a:cubicBezTo>
                      <a:pt x="213" y="43"/>
                      <a:pt x="214" y="43"/>
                      <a:pt x="214" y="43"/>
                    </a:cubicBezTo>
                    <a:close/>
                    <a:moveTo>
                      <a:pt x="205" y="44"/>
                    </a:moveTo>
                    <a:cubicBezTo>
                      <a:pt x="205" y="44"/>
                      <a:pt x="204" y="45"/>
                      <a:pt x="203" y="44"/>
                    </a:cubicBezTo>
                    <a:cubicBezTo>
                      <a:pt x="203" y="44"/>
                      <a:pt x="203" y="44"/>
                      <a:pt x="203" y="44"/>
                    </a:cubicBezTo>
                    <a:cubicBezTo>
                      <a:pt x="204" y="44"/>
                      <a:pt x="204" y="43"/>
                      <a:pt x="204" y="43"/>
                    </a:cubicBezTo>
                    <a:cubicBezTo>
                      <a:pt x="204" y="43"/>
                      <a:pt x="203" y="43"/>
                      <a:pt x="203" y="43"/>
                    </a:cubicBezTo>
                    <a:cubicBezTo>
                      <a:pt x="203" y="43"/>
                      <a:pt x="204" y="43"/>
                      <a:pt x="204" y="42"/>
                    </a:cubicBezTo>
                    <a:cubicBezTo>
                      <a:pt x="203" y="42"/>
                      <a:pt x="203" y="43"/>
                      <a:pt x="202" y="43"/>
                    </a:cubicBezTo>
                    <a:cubicBezTo>
                      <a:pt x="202" y="43"/>
                      <a:pt x="202" y="43"/>
                      <a:pt x="201" y="43"/>
                    </a:cubicBezTo>
                    <a:cubicBezTo>
                      <a:pt x="200" y="43"/>
                      <a:pt x="199" y="44"/>
                      <a:pt x="198" y="45"/>
                    </a:cubicBezTo>
                    <a:cubicBezTo>
                      <a:pt x="198" y="45"/>
                      <a:pt x="195" y="46"/>
                      <a:pt x="196" y="47"/>
                    </a:cubicBezTo>
                    <a:cubicBezTo>
                      <a:pt x="196" y="47"/>
                      <a:pt x="197" y="47"/>
                      <a:pt x="197" y="47"/>
                    </a:cubicBezTo>
                    <a:cubicBezTo>
                      <a:pt x="197" y="47"/>
                      <a:pt x="197" y="48"/>
                      <a:pt x="197" y="48"/>
                    </a:cubicBezTo>
                    <a:cubicBezTo>
                      <a:pt x="198" y="47"/>
                      <a:pt x="199" y="46"/>
                      <a:pt x="199" y="47"/>
                    </a:cubicBezTo>
                    <a:cubicBezTo>
                      <a:pt x="200" y="48"/>
                      <a:pt x="199" y="49"/>
                      <a:pt x="200" y="49"/>
                    </a:cubicBezTo>
                    <a:cubicBezTo>
                      <a:pt x="201" y="49"/>
                      <a:pt x="201" y="49"/>
                      <a:pt x="202" y="49"/>
                    </a:cubicBezTo>
                    <a:cubicBezTo>
                      <a:pt x="202" y="49"/>
                      <a:pt x="202" y="50"/>
                      <a:pt x="202" y="50"/>
                    </a:cubicBezTo>
                    <a:cubicBezTo>
                      <a:pt x="203" y="50"/>
                      <a:pt x="204" y="49"/>
                      <a:pt x="204" y="48"/>
                    </a:cubicBezTo>
                    <a:cubicBezTo>
                      <a:pt x="204" y="47"/>
                      <a:pt x="207" y="45"/>
                      <a:pt x="205" y="44"/>
                    </a:cubicBezTo>
                    <a:close/>
                    <a:moveTo>
                      <a:pt x="204" y="15"/>
                    </a:moveTo>
                    <a:cubicBezTo>
                      <a:pt x="204" y="15"/>
                      <a:pt x="203" y="15"/>
                      <a:pt x="203" y="15"/>
                    </a:cubicBezTo>
                    <a:cubicBezTo>
                      <a:pt x="203" y="15"/>
                      <a:pt x="202" y="15"/>
                      <a:pt x="202" y="15"/>
                    </a:cubicBezTo>
                    <a:cubicBezTo>
                      <a:pt x="201" y="15"/>
                      <a:pt x="201" y="15"/>
                      <a:pt x="200" y="15"/>
                    </a:cubicBezTo>
                    <a:cubicBezTo>
                      <a:pt x="200" y="16"/>
                      <a:pt x="199" y="16"/>
                      <a:pt x="200" y="16"/>
                    </a:cubicBezTo>
                    <a:cubicBezTo>
                      <a:pt x="200" y="16"/>
                      <a:pt x="199" y="16"/>
                      <a:pt x="198" y="16"/>
                    </a:cubicBezTo>
                    <a:cubicBezTo>
                      <a:pt x="198" y="16"/>
                      <a:pt x="197" y="16"/>
                      <a:pt x="197" y="15"/>
                    </a:cubicBezTo>
                    <a:cubicBezTo>
                      <a:pt x="196" y="15"/>
                      <a:pt x="195" y="15"/>
                      <a:pt x="195" y="16"/>
                    </a:cubicBezTo>
                    <a:cubicBezTo>
                      <a:pt x="195" y="16"/>
                      <a:pt x="194" y="16"/>
                      <a:pt x="194" y="16"/>
                    </a:cubicBezTo>
                    <a:cubicBezTo>
                      <a:pt x="194" y="16"/>
                      <a:pt x="193" y="15"/>
                      <a:pt x="193" y="15"/>
                    </a:cubicBezTo>
                    <a:cubicBezTo>
                      <a:pt x="193" y="15"/>
                      <a:pt x="192" y="15"/>
                      <a:pt x="192" y="15"/>
                    </a:cubicBezTo>
                    <a:cubicBezTo>
                      <a:pt x="191" y="14"/>
                      <a:pt x="190" y="16"/>
                      <a:pt x="189" y="15"/>
                    </a:cubicBezTo>
                    <a:cubicBezTo>
                      <a:pt x="189" y="15"/>
                      <a:pt x="189" y="14"/>
                      <a:pt x="189" y="14"/>
                    </a:cubicBezTo>
                    <a:cubicBezTo>
                      <a:pt x="189" y="14"/>
                      <a:pt x="189" y="13"/>
                      <a:pt x="189" y="13"/>
                    </a:cubicBezTo>
                    <a:cubicBezTo>
                      <a:pt x="188" y="12"/>
                      <a:pt x="187" y="13"/>
                      <a:pt x="186" y="12"/>
                    </a:cubicBezTo>
                    <a:cubicBezTo>
                      <a:pt x="186" y="11"/>
                      <a:pt x="185" y="12"/>
                      <a:pt x="185" y="11"/>
                    </a:cubicBezTo>
                    <a:cubicBezTo>
                      <a:pt x="184" y="11"/>
                      <a:pt x="184" y="11"/>
                      <a:pt x="183" y="11"/>
                    </a:cubicBezTo>
                    <a:cubicBezTo>
                      <a:pt x="182" y="10"/>
                      <a:pt x="182" y="12"/>
                      <a:pt x="182" y="13"/>
                    </a:cubicBezTo>
                    <a:cubicBezTo>
                      <a:pt x="181" y="12"/>
                      <a:pt x="180" y="13"/>
                      <a:pt x="180" y="12"/>
                    </a:cubicBezTo>
                    <a:cubicBezTo>
                      <a:pt x="179" y="12"/>
                      <a:pt x="179" y="13"/>
                      <a:pt x="178" y="12"/>
                    </a:cubicBezTo>
                    <a:cubicBezTo>
                      <a:pt x="178" y="12"/>
                      <a:pt x="177" y="13"/>
                      <a:pt x="176" y="13"/>
                    </a:cubicBezTo>
                    <a:cubicBezTo>
                      <a:pt x="176" y="13"/>
                      <a:pt x="175" y="12"/>
                      <a:pt x="175" y="11"/>
                    </a:cubicBezTo>
                    <a:cubicBezTo>
                      <a:pt x="174" y="12"/>
                      <a:pt x="174" y="11"/>
                      <a:pt x="173" y="11"/>
                    </a:cubicBezTo>
                    <a:cubicBezTo>
                      <a:pt x="173" y="11"/>
                      <a:pt x="172" y="11"/>
                      <a:pt x="172" y="11"/>
                    </a:cubicBezTo>
                    <a:cubicBezTo>
                      <a:pt x="171" y="12"/>
                      <a:pt x="171" y="11"/>
                      <a:pt x="171" y="11"/>
                    </a:cubicBezTo>
                    <a:cubicBezTo>
                      <a:pt x="171" y="11"/>
                      <a:pt x="170" y="11"/>
                      <a:pt x="170" y="10"/>
                    </a:cubicBezTo>
                    <a:cubicBezTo>
                      <a:pt x="170" y="10"/>
                      <a:pt x="170" y="10"/>
                      <a:pt x="170" y="10"/>
                    </a:cubicBezTo>
                    <a:cubicBezTo>
                      <a:pt x="170" y="9"/>
                      <a:pt x="169" y="10"/>
                      <a:pt x="168" y="10"/>
                    </a:cubicBezTo>
                    <a:cubicBezTo>
                      <a:pt x="168" y="10"/>
                      <a:pt x="167" y="9"/>
                      <a:pt x="167" y="9"/>
                    </a:cubicBezTo>
                    <a:cubicBezTo>
                      <a:pt x="167" y="9"/>
                      <a:pt x="165" y="8"/>
                      <a:pt x="165" y="8"/>
                    </a:cubicBezTo>
                    <a:cubicBezTo>
                      <a:pt x="165" y="8"/>
                      <a:pt x="165" y="9"/>
                      <a:pt x="164" y="9"/>
                    </a:cubicBezTo>
                    <a:cubicBezTo>
                      <a:pt x="163" y="9"/>
                      <a:pt x="164" y="8"/>
                      <a:pt x="164" y="7"/>
                    </a:cubicBezTo>
                    <a:cubicBezTo>
                      <a:pt x="165" y="6"/>
                      <a:pt x="164" y="6"/>
                      <a:pt x="163" y="6"/>
                    </a:cubicBezTo>
                    <a:cubicBezTo>
                      <a:pt x="162" y="6"/>
                      <a:pt x="162" y="6"/>
                      <a:pt x="161" y="6"/>
                    </a:cubicBezTo>
                    <a:cubicBezTo>
                      <a:pt x="161" y="5"/>
                      <a:pt x="161" y="5"/>
                      <a:pt x="160" y="5"/>
                    </a:cubicBezTo>
                    <a:cubicBezTo>
                      <a:pt x="160" y="6"/>
                      <a:pt x="159" y="6"/>
                      <a:pt x="158" y="6"/>
                    </a:cubicBezTo>
                    <a:cubicBezTo>
                      <a:pt x="157" y="6"/>
                      <a:pt x="156" y="6"/>
                      <a:pt x="155" y="5"/>
                    </a:cubicBezTo>
                    <a:cubicBezTo>
                      <a:pt x="155" y="5"/>
                      <a:pt x="153" y="4"/>
                      <a:pt x="153" y="5"/>
                    </a:cubicBezTo>
                    <a:cubicBezTo>
                      <a:pt x="153" y="4"/>
                      <a:pt x="152" y="4"/>
                      <a:pt x="151" y="4"/>
                    </a:cubicBezTo>
                    <a:cubicBezTo>
                      <a:pt x="151" y="5"/>
                      <a:pt x="151" y="5"/>
                      <a:pt x="150" y="5"/>
                    </a:cubicBezTo>
                    <a:cubicBezTo>
                      <a:pt x="150" y="5"/>
                      <a:pt x="150" y="6"/>
                      <a:pt x="150" y="6"/>
                    </a:cubicBezTo>
                    <a:cubicBezTo>
                      <a:pt x="150" y="6"/>
                      <a:pt x="149" y="5"/>
                      <a:pt x="148" y="5"/>
                    </a:cubicBezTo>
                    <a:cubicBezTo>
                      <a:pt x="148" y="5"/>
                      <a:pt x="147" y="5"/>
                      <a:pt x="146" y="4"/>
                    </a:cubicBezTo>
                    <a:cubicBezTo>
                      <a:pt x="146" y="5"/>
                      <a:pt x="146" y="5"/>
                      <a:pt x="146" y="5"/>
                    </a:cubicBezTo>
                    <a:cubicBezTo>
                      <a:pt x="146" y="4"/>
                      <a:pt x="146" y="5"/>
                      <a:pt x="147" y="4"/>
                    </a:cubicBezTo>
                    <a:cubicBezTo>
                      <a:pt x="147" y="4"/>
                      <a:pt x="146" y="4"/>
                      <a:pt x="145" y="4"/>
                    </a:cubicBezTo>
                    <a:cubicBezTo>
                      <a:pt x="145" y="4"/>
                      <a:pt x="145" y="4"/>
                      <a:pt x="144" y="4"/>
                    </a:cubicBezTo>
                    <a:cubicBezTo>
                      <a:pt x="144" y="4"/>
                      <a:pt x="144" y="5"/>
                      <a:pt x="143" y="5"/>
                    </a:cubicBezTo>
                    <a:cubicBezTo>
                      <a:pt x="143" y="4"/>
                      <a:pt x="143" y="4"/>
                      <a:pt x="144" y="4"/>
                    </a:cubicBezTo>
                    <a:cubicBezTo>
                      <a:pt x="143" y="3"/>
                      <a:pt x="142" y="4"/>
                      <a:pt x="142" y="4"/>
                    </a:cubicBezTo>
                    <a:cubicBezTo>
                      <a:pt x="142" y="4"/>
                      <a:pt x="141" y="4"/>
                      <a:pt x="141" y="5"/>
                    </a:cubicBezTo>
                    <a:cubicBezTo>
                      <a:pt x="141" y="4"/>
                      <a:pt x="138" y="5"/>
                      <a:pt x="138" y="5"/>
                    </a:cubicBezTo>
                    <a:cubicBezTo>
                      <a:pt x="138" y="5"/>
                      <a:pt x="137" y="5"/>
                      <a:pt x="136" y="5"/>
                    </a:cubicBezTo>
                    <a:cubicBezTo>
                      <a:pt x="135" y="5"/>
                      <a:pt x="134" y="4"/>
                      <a:pt x="133" y="4"/>
                    </a:cubicBezTo>
                    <a:cubicBezTo>
                      <a:pt x="133" y="4"/>
                      <a:pt x="132" y="4"/>
                      <a:pt x="131" y="4"/>
                    </a:cubicBezTo>
                    <a:cubicBezTo>
                      <a:pt x="130" y="4"/>
                      <a:pt x="130" y="3"/>
                      <a:pt x="130" y="3"/>
                    </a:cubicBezTo>
                    <a:cubicBezTo>
                      <a:pt x="129" y="3"/>
                      <a:pt x="129" y="4"/>
                      <a:pt x="129" y="4"/>
                    </a:cubicBezTo>
                    <a:cubicBezTo>
                      <a:pt x="130" y="3"/>
                      <a:pt x="128" y="3"/>
                      <a:pt x="128" y="3"/>
                    </a:cubicBezTo>
                    <a:cubicBezTo>
                      <a:pt x="127" y="3"/>
                      <a:pt x="127" y="3"/>
                      <a:pt x="126" y="2"/>
                    </a:cubicBezTo>
                    <a:cubicBezTo>
                      <a:pt x="126" y="2"/>
                      <a:pt x="125" y="3"/>
                      <a:pt x="124" y="3"/>
                    </a:cubicBezTo>
                    <a:cubicBezTo>
                      <a:pt x="124" y="3"/>
                      <a:pt x="123" y="3"/>
                      <a:pt x="123" y="3"/>
                    </a:cubicBezTo>
                    <a:cubicBezTo>
                      <a:pt x="123" y="3"/>
                      <a:pt x="122" y="3"/>
                      <a:pt x="122" y="3"/>
                    </a:cubicBezTo>
                    <a:cubicBezTo>
                      <a:pt x="121" y="3"/>
                      <a:pt x="120" y="3"/>
                      <a:pt x="119" y="3"/>
                    </a:cubicBezTo>
                    <a:cubicBezTo>
                      <a:pt x="118" y="3"/>
                      <a:pt x="115" y="2"/>
                      <a:pt x="115" y="4"/>
                    </a:cubicBezTo>
                    <a:cubicBezTo>
                      <a:pt x="115" y="4"/>
                      <a:pt x="115" y="3"/>
                      <a:pt x="115" y="3"/>
                    </a:cubicBezTo>
                    <a:cubicBezTo>
                      <a:pt x="114" y="3"/>
                      <a:pt x="113" y="3"/>
                      <a:pt x="113" y="3"/>
                    </a:cubicBezTo>
                    <a:cubicBezTo>
                      <a:pt x="114" y="2"/>
                      <a:pt x="110" y="0"/>
                      <a:pt x="110" y="2"/>
                    </a:cubicBezTo>
                    <a:cubicBezTo>
                      <a:pt x="110" y="1"/>
                      <a:pt x="110" y="1"/>
                      <a:pt x="109" y="1"/>
                    </a:cubicBezTo>
                    <a:cubicBezTo>
                      <a:pt x="109" y="1"/>
                      <a:pt x="110" y="1"/>
                      <a:pt x="110" y="1"/>
                    </a:cubicBezTo>
                    <a:cubicBezTo>
                      <a:pt x="109" y="1"/>
                      <a:pt x="108" y="2"/>
                      <a:pt x="108" y="2"/>
                    </a:cubicBezTo>
                    <a:cubicBezTo>
                      <a:pt x="108" y="2"/>
                      <a:pt x="108" y="1"/>
                      <a:pt x="108" y="1"/>
                    </a:cubicBezTo>
                    <a:cubicBezTo>
                      <a:pt x="107" y="1"/>
                      <a:pt x="106" y="2"/>
                      <a:pt x="106" y="2"/>
                    </a:cubicBezTo>
                    <a:cubicBezTo>
                      <a:pt x="106" y="2"/>
                      <a:pt x="105" y="2"/>
                      <a:pt x="105" y="3"/>
                    </a:cubicBezTo>
                    <a:cubicBezTo>
                      <a:pt x="105" y="3"/>
                      <a:pt x="104" y="3"/>
                      <a:pt x="104" y="3"/>
                    </a:cubicBezTo>
                    <a:cubicBezTo>
                      <a:pt x="104" y="3"/>
                      <a:pt x="104" y="4"/>
                      <a:pt x="103" y="4"/>
                    </a:cubicBezTo>
                    <a:cubicBezTo>
                      <a:pt x="104" y="4"/>
                      <a:pt x="105" y="4"/>
                      <a:pt x="105" y="4"/>
                    </a:cubicBezTo>
                    <a:cubicBezTo>
                      <a:pt x="105" y="4"/>
                      <a:pt x="104" y="4"/>
                      <a:pt x="104" y="4"/>
                    </a:cubicBezTo>
                    <a:cubicBezTo>
                      <a:pt x="104" y="5"/>
                      <a:pt x="105" y="5"/>
                      <a:pt x="105" y="5"/>
                    </a:cubicBezTo>
                    <a:cubicBezTo>
                      <a:pt x="105" y="5"/>
                      <a:pt x="104" y="5"/>
                      <a:pt x="104" y="6"/>
                    </a:cubicBezTo>
                    <a:cubicBezTo>
                      <a:pt x="104" y="5"/>
                      <a:pt x="104" y="5"/>
                      <a:pt x="104" y="5"/>
                    </a:cubicBezTo>
                    <a:cubicBezTo>
                      <a:pt x="103" y="5"/>
                      <a:pt x="103" y="5"/>
                      <a:pt x="103" y="5"/>
                    </a:cubicBezTo>
                    <a:cubicBezTo>
                      <a:pt x="103" y="5"/>
                      <a:pt x="103" y="5"/>
                      <a:pt x="103" y="5"/>
                    </a:cubicBezTo>
                    <a:cubicBezTo>
                      <a:pt x="102" y="5"/>
                      <a:pt x="102" y="6"/>
                      <a:pt x="101" y="6"/>
                    </a:cubicBezTo>
                    <a:cubicBezTo>
                      <a:pt x="101" y="6"/>
                      <a:pt x="100" y="6"/>
                      <a:pt x="100" y="6"/>
                    </a:cubicBezTo>
                    <a:cubicBezTo>
                      <a:pt x="100" y="6"/>
                      <a:pt x="99" y="5"/>
                      <a:pt x="99" y="6"/>
                    </a:cubicBezTo>
                    <a:cubicBezTo>
                      <a:pt x="99" y="6"/>
                      <a:pt x="98" y="6"/>
                      <a:pt x="98" y="6"/>
                    </a:cubicBezTo>
                    <a:cubicBezTo>
                      <a:pt x="98" y="6"/>
                      <a:pt x="98" y="7"/>
                      <a:pt x="98" y="7"/>
                    </a:cubicBezTo>
                    <a:cubicBezTo>
                      <a:pt x="98" y="7"/>
                      <a:pt x="98" y="7"/>
                      <a:pt x="97" y="7"/>
                    </a:cubicBezTo>
                    <a:cubicBezTo>
                      <a:pt x="97" y="7"/>
                      <a:pt x="97" y="7"/>
                      <a:pt x="96" y="7"/>
                    </a:cubicBezTo>
                    <a:cubicBezTo>
                      <a:pt x="96" y="7"/>
                      <a:pt x="95" y="8"/>
                      <a:pt x="96" y="8"/>
                    </a:cubicBezTo>
                    <a:cubicBezTo>
                      <a:pt x="96" y="8"/>
                      <a:pt x="95" y="8"/>
                      <a:pt x="95" y="9"/>
                    </a:cubicBezTo>
                    <a:cubicBezTo>
                      <a:pt x="95" y="9"/>
                      <a:pt x="95" y="9"/>
                      <a:pt x="95" y="10"/>
                    </a:cubicBezTo>
                    <a:cubicBezTo>
                      <a:pt x="95" y="10"/>
                      <a:pt x="95" y="10"/>
                      <a:pt x="95" y="10"/>
                    </a:cubicBezTo>
                    <a:cubicBezTo>
                      <a:pt x="95" y="10"/>
                      <a:pt x="96" y="10"/>
                      <a:pt x="96" y="10"/>
                    </a:cubicBezTo>
                    <a:cubicBezTo>
                      <a:pt x="96" y="10"/>
                      <a:pt x="96" y="10"/>
                      <a:pt x="96" y="11"/>
                    </a:cubicBezTo>
                    <a:cubicBezTo>
                      <a:pt x="96" y="11"/>
                      <a:pt x="96" y="11"/>
                      <a:pt x="96" y="11"/>
                    </a:cubicBezTo>
                    <a:cubicBezTo>
                      <a:pt x="96" y="11"/>
                      <a:pt x="95" y="12"/>
                      <a:pt x="96" y="12"/>
                    </a:cubicBezTo>
                    <a:cubicBezTo>
                      <a:pt x="96" y="12"/>
                      <a:pt x="97" y="11"/>
                      <a:pt x="97" y="11"/>
                    </a:cubicBezTo>
                    <a:cubicBezTo>
                      <a:pt x="97" y="12"/>
                      <a:pt x="98" y="11"/>
                      <a:pt x="98" y="11"/>
                    </a:cubicBezTo>
                    <a:cubicBezTo>
                      <a:pt x="98" y="11"/>
                      <a:pt x="98" y="11"/>
                      <a:pt x="98" y="12"/>
                    </a:cubicBezTo>
                    <a:cubicBezTo>
                      <a:pt x="98" y="12"/>
                      <a:pt x="97" y="12"/>
                      <a:pt x="97" y="12"/>
                    </a:cubicBezTo>
                    <a:cubicBezTo>
                      <a:pt x="97" y="12"/>
                      <a:pt x="97" y="13"/>
                      <a:pt x="96" y="13"/>
                    </a:cubicBezTo>
                    <a:cubicBezTo>
                      <a:pt x="96" y="14"/>
                      <a:pt x="96" y="13"/>
                      <a:pt x="97" y="14"/>
                    </a:cubicBezTo>
                    <a:cubicBezTo>
                      <a:pt x="97" y="14"/>
                      <a:pt x="96" y="14"/>
                      <a:pt x="97" y="14"/>
                    </a:cubicBezTo>
                    <a:cubicBezTo>
                      <a:pt x="97" y="14"/>
                      <a:pt x="97" y="13"/>
                      <a:pt x="98" y="13"/>
                    </a:cubicBezTo>
                    <a:cubicBezTo>
                      <a:pt x="98" y="13"/>
                      <a:pt x="98" y="13"/>
                      <a:pt x="98" y="13"/>
                    </a:cubicBezTo>
                    <a:cubicBezTo>
                      <a:pt x="98" y="13"/>
                      <a:pt x="98" y="13"/>
                      <a:pt x="98" y="13"/>
                    </a:cubicBezTo>
                    <a:cubicBezTo>
                      <a:pt x="99" y="13"/>
                      <a:pt x="99" y="13"/>
                      <a:pt x="99" y="12"/>
                    </a:cubicBezTo>
                    <a:cubicBezTo>
                      <a:pt x="99" y="13"/>
                      <a:pt x="98" y="14"/>
                      <a:pt x="99" y="15"/>
                    </a:cubicBezTo>
                    <a:cubicBezTo>
                      <a:pt x="98" y="15"/>
                      <a:pt x="98" y="15"/>
                      <a:pt x="98" y="15"/>
                    </a:cubicBezTo>
                    <a:cubicBezTo>
                      <a:pt x="98" y="14"/>
                      <a:pt x="97" y="15"/>
                      <a:pt x="97" y="15"/>
                    </a:cubicBezTo>
                    <a:cubicBezTo>
                      <a:pt x="97" y="15"/>
                      <a:pt x="98" y="16"/>
                      <a:pt x="98" y="16"/>
                    </a:cubicBezTo>
                    <a:cubicBezTo>
                      <a:pt x="99" y="16"/>
                      <a:pt x="99" y="15"/>
                      <a:pt x="100" y="15"/>
                    </a:cubicBezTo>
                    <a:cubicBezTo>
                      <a:pt x="99" y="16"/>
                      <a:pt x="99" y="16"/>
                      <a:pt x="98" y="16"/>
                    </a:cubicBezTo>
                    <a:cubicBezTo>
                      <a:pt x="98" y="16"/>
                      <a:pt x="98" y="17"/>
                      <a:pt x="98" y="17"/>
                    </a:cubicBezTo>
                    <a:cubicBezTo>
                      <a:pt x="98" y="17"/>
                      <a:pt x="98" y="17"/>
                      <a:pt x="98" y="17"/>
                    </a:cubicBezTo>
                    <a:cubicBezTo>
                      <a:pt x="98" y="17"/>
                      <a:pt x="98" y="17"/>
                      <a:pt x="98" y="17"/>
                    </a:cubicBezTo>
                    <a:cubicBezTo>
                      <a:pt x="98" y="17"/>
                      <a:pt x="98" y="17"/>
                      <a:pt x="99" y="17"/>
                    </a:cubicBezTo>
                    <a:cubicBezTo>
                      <a:pt x="99" y="17"/>
                      <a:pt x="99" y="17"/>
                      <a:pt x="99" y="17"/>
                    </a:cubicBezTo>
                    <a:cubicBezTo>
                      <a:pt x="100" y="17"/>
                      <a:pt x="100" y="16"/>
                      <a:pt x="100" y="16"/>
                    </a:cubicBezTo>
                    <a:cubicBezTo>
                      <a:pt x="100" y="16"/>
                      <a:pt x="100" y="17"/>
                      <a:pt x="100" y="17"/>
                    </a:cubicBezTo>
                    <a:cubicBezTo>
                      <a:pt x="100" y="17"/>
                      <a:pt x="99" y="17"/>
                      <a:pt x="99" y="17"/>
                    </a:cubicBezTo>
                    <a:cubicBezTo>
                      <a:pt x="99" y="18"/>
                      <a:pt x="98" y="18"/>
                      <a:pt x="98" y="18"/>
                    </a:cubicBezTo>
                    <a:cubicBezTo>
                      <a:pt x="98" y="19"/>
                      <a:pt x="98" y="19"/>
                      <a:pt x="97" y="19"/>
                    </a:cubicBezTo>
                    <a:cubicBezTo>
                      <a:pt x="97" y="19"/>
                      <a:pt x="97" y="20"/>
                      <a:pt x="97" y="20"/>
                    </a:cubicBezTo>
                    <a:cubicBezTo>
                      <a:pt x="97" y="20"/>
                      <a:pt x="97" y="21"/>
                      <a:pt x="97" y="21"/>
                    </a:cubicBezTo>
                    <a:cubicBezTo>
                      <a:pt x="98" y="21"/>
                      <a:pt x="98" y="21"/>
                      <a:pt x="98" y="21"/>
                    </a:cubicBezTo>
                    <a:cubicBezTo>
                      <a:pt x="99" y="20"/>
                      <a:pt x="100" y="19"/>
                      <a:pt x="101" y="19"/>
                    </a:cubicBezTo>
                    <a:cubicBezTo>
                      <a:pt x="101" y="19"/>
                      <a:pt x="102" y="19"/>
                      <a:pt x="102" y="19"/>
                    </a:cubicBezTo>
                    <a:cubicBezTo>
                      <a:pt x="103" y="19"/>
                      <a:pt x="103" y="19"/>
                      <a:pt x="103" y="18"/>
                    </a:cubicBezTo>
                    <a:cubicBezTo>
                      <a:pt x="104" y="19"/>
                      <a:pt x="103" y="19"/>
                      <a:pt x="104" y="19"/>
                    </a:cubicBezTo>
                    <a:cubicBezTo>
                      <a:pt x="104" y="19"/>
                      <a:pt x="104" y="20"/>
                      <a:pt x="104" y="20"/>
                    </a:cubicBezTo>
                    <a:cubicBezTo>
                      <a:pt x="104" y="20"/>
                      <a:pt x="103" y="21"/>
                      <a:pt x="103" y="21"/>
                    </a:cubicBezTo>
                    <a:cubicBezTo>
                      <a:pt x="103" y="22"/>
                      <a:pt x="104" y="22"/>
                      <a:pt x="104" y="22"/>
                    </a:cubicBezTo>
                    <a:cubicBezTo>
                      <a:pt x="104" y="22"/>
                      <a:pt x="105" y="22"/>
                      <a:pt x="105" y="21"/>
                    </a:cubicBezTo>
                    <a:cubicBezTo>
                      <a:pt x="105" y="21"/>
                      <a:pt x="106" y="21"/>
                      <a:pt x="106" y="21"/>
                    </a:cubicBezTo>
                    <a:cubicBezTo>
                      <a:pt x="106" y="21"/>
                      <a:pt x="106" y="21"/>
                      <a:pt x="106" y="22"/>
                    </a:cubicBezTo>
                    <a:cubicBezTo>
                      <a:pt x="106" y="22"/>
                      <a:pt x="107" y="21"/>
                      <a:pt x="107" y="21"/>
                    </a:cubicBezTo>
                    <a:cubicBezTo>
                      <a:pt x="107" y="21"/>
                      <a:pt x="109" y="21"/>
                      <a:pt x="108" y="22"/>
                    </a:cubicBezTo>
                    <a:cubicBezTo>
                      <a:pt x="109" y="22"/>
                      <a:pt x="110" y="21"/>
                      <a:pt x="110" y="22"/>
                    </a:cubicBezTo>
                    <a:cubicBezTo>
                      <a:pt x="110" y="22"/>
                      <a:pt x="110" y="22"/>
                      <a:pt x="111" y="22"/>
                    </a:cubicBezTo>
                    <a:cubicBezTo>
                      <a:pt x="111" y="22"/>
                      <a:pt x="112" y="22"/>
                      <a:pt x="112" y="21"/>
                    </a:cubicBezTo>
                    <a:cubicBezTo>
                      <a:pt x="113" y="21"/>
                      <a:pt x="112" y="20"/>
                      <a:pt x="113" y="20"/>
                    </a:cubicBezTo>
                    <a:cubicBezTo>
                      <a:pt x="113" y="20"/>
                      <a:pt x="113" y="21"/>
                      <a:pt x="113" y="21"/>
                    </a:cubicBezTo>
                    <a:cubicBezTo>
                      <a:pt x="114" y="21"/>
                      <a:pt x="114" y="20"/>
                      <a:pt x="114" y="20"/>
                    </a:cubicBezTo>
                    <a:cubicBezTo>
                      <a:pt x="115" y="20"/>
                      <a:pt x="115" y="21"/>
                      <a:pt x="116" y="20"/>
                    </a:cubicBezTo>
                    <a:cubicBezTo>
                      <a:pt x="116" y="20"/>
                      <a:pt x="116" y="21"/>
                      <a:pt x="117" y="21"/>
                    </a:cubicBezTo>
                    <a:cubicBezTo>
                      <a:pt x="117" y="21"/>
                      <a:pt x="117" y="21"/>
                      <a:pt x="118" y="21"/>
                    </a:cubicBezTo>
                    <a:cubicBezTo>
                      <a:pt x="118" y="20"/>
                      <a:pt x="118" y="21"/>
                      <a:pt x="118" y="21"/>
                    </a:cubicBezTo>
                    <a:cubicBezTo>
                      <a:pt x="118" y="21"/>
                      <a:pt x="118" y="22"/>
                      <a:pt x="118" y="22"/>
                    </a:cubicBezTo>
                    <a:cubicBezTo>
                      <a:pt x="117" y="24"/>
                      <a:pt x="119" y="23"/>
                      <a:pt x="120" y="24"/>
                    </a:cubicBezTo>
                    <a:cubicBezTo>
                      <a:pt x="120" y="24"/>
                      <a:pt x="121" y="24"/>
                      <a:pt x="121" y="25"/>
                    </a:cubicBezTo>
                    <a:cubicBezTo>
                      <a:pt x="120" y="26"/>
                      <a:pt x="120" y="26"/>
                      <a:pt x="119" y="27"/>
                    </a:cubicBezTo>
                    <a:cubicBezTo>
                      <a:pt x="119" y="27"/>
                      <a:pt x="119" y="26"/>
                      <a:pt x="119" y="27"/>
                    </a:cubicBezTo>
                    <a:cubicBezTo>
                      <a:pt x="119" y="27"/>
                      <a:pt x="119" y="27"/>
                      <a:pt x="118" y="28"/>
                    </a:cubicBezTo>
                    <a:cubicBezTo>
                      <a:pt x="118" y="28"/>
                      <a:pt x="118" y="28"/>
                      <a:pt x="117" y="28"/>
                    </a:cubicBezTo>
                    <a:cubicBezTo>
                      <a:pt x="116" y="28"/>
                      <a:pt x="116" y="30"/>
                      <a:pt x="115" y="30"/>
                    </a:cubicBezTo>
                    <a:cubicBezTo>
                      <a:pt x="115" y="31"/>
                      <a:pt x="114" y="31"/>
                      <a:pt x="114" y="31"/>
                    </a:cubicBezTo>
                    <a:cubicBezTo>
                      <a:pt x="114" y="31"/>
                      <a:pt x="114" y="32"/>
                      <a:pt x="115" y="32"/>
                    </a:cubicBezTo>
                    <a:cubicBezTo>
                      <a:pt x="115" y="32"/>
                      <a:pt x="115" y="33"/>
                      <a:pt x="115" y="33"/>
                    </a:cubicBezTo>
                    <a:cubicBezTo>
                      <a:pt x="114" y="34"/>
                      <a:pt x="115" y="35"/>
                      <a:pt x="114" y="35"/>
                    </a:cubicBezTo>
                    <a:cubicBezTo>
                      <a:pt x="114" y="36"/>
                      <a:pt x="115" y="36"/>
                      <a:pt x="114" y="37"/>
                    </a:cubicBezTo>
                    <a:cubicBezTo>
                      <a:pt x="114" y="37"/>
                      <a:pt x="114" y="37"/>
                      <a:pt x="114" y="38"/>
                    </a:cubicBezTo>
                    <a:cubicBezTo>
                      <a:pt x="115" y="39"/>
                      <a:pt x="113" y="39"/>
                      <a:pt x="112" y="39"/>
                    </a:cubicBezTo>
                    <a:cubicBezTo>
                      <a:pt x="112" y="40"/>
                      <a:pt x="113" y="40"/>
                      <a:pt x="113" y="41"/>
                    </a:cubicBezTo>
                    <a:cubicBezTo>
                      <a:pt x="113" y="41"/>
                      <a:pt x="114" y="42"/>
                      <a:pt x="113" y="42"/>
                    </a:cubicBezTo>
                    <a:cubicBezTo>
                      <a:pt x="113" y="43"/>
                      <a:pt x="113" y="43"/>
                      <a:pt x="112" y="44"/>
                    </a:cubicBezTo>
                    <a:cubicBezTo>
                      <a:pt x="112" y="44"/>
                      <a:pt x="112" y="45"/>
                      <a:pt x="112" y="45"/>
                    </a:cubicBezTo>
                    <a:cubicBezTo>
                      <a:pt x="111" y="46"/>
                      <a:pt x="110" y="45"/>
                      <a:pt x="110" y="46"/>
                    </a:cubicBezTo>
                    <a:cubicBezTo>
                      <a:pt x="109" y="46"/>
                      <a:pt x="108" y="46"/>
                      <a:pt x="107" y="45"/>
                    </a:cubicBezTo>
                    <a:cubicBezTo>
                      <a:pt x="107" y="46"/>
                      <a:pt x="108" y="47"/>
                      <a:pt x="109" y="48"/>
                    </a:cubicBezTo>
                    <a:cubicBezTo>
                      <a:pt x="110" y="48"/>
                      <a:pt x="109" y="48"/>
                      <a:pt x="109" y="49"/>
                    </a:cubicBezTo>
                    <a:cubicBezTo>
                      <a:pt x="109" y="49"/>
                      <a:pt x="110" y="49"/>
                      <a:pt x="110" y="50"/>
                    </a:cubicBezTo>
                    <a:cubicBezTo>
                      <a:pt x="110" y="50"/>
                      <a:pt x="109" y="50"/>
                      <a:pt x="110" y="51"/>
                    </a:cubicBezTo>
                    <a:cubicBezTo>
                      <a:pt x="110" y="51"/>
                      <a:pt x="111" y="51"/>
                      <a:pt x="111" y="51"/>
                    </a:cubicBezTo>
                    <a:cubicBezTo>
                      <a:pt x="111" y="52"/>
                      <a:pt x="112" y="51"/>
                      <a:pt x="112" y="52"/>
                    </a:cubicBezTo>
                    <a:cubicBezTo>
                      <a:pt x="112" y="53"/>
                      <a:pt x="112" y="53"/>
                      <a:pt x="111" y="53"/>
                    </a:cubicBezTo>
                    <a:cubicBezTo>
                      <a:pt x="111" y="54"/>
                      <a:pt x="111" y="54"/>
                      <a:pt x="111" y="54"/>
                    </a:cubicBezTo>
                    <a:cubicBezTo>
                      <a:pt x="110" y="55"/>
                      <a:pt x="109" y="55"/>
                      <a:pt x="109" y="56"/>
                    </a:cubicBezTo>
                    <a:cubicBezTo>
                      <a:pt x="109" y="57"/>
                      <a:pt x="109" y="57"/>
                      <a:pt x="109" y="58"/>
                    </a:cubicBezTo>
                    <a:cubicBezTo>
                      <a:pt x="108" y="58"/>
                      <a:pt x="108" y="59"/>
                      <a:pt x="109" y="59"/>
                    </a:cubicBezTo>
                    <a:cubicBezTo>
                      <a:pt x="109" y="59"/>
                      <a:pt x="109" y="60"/>
                      <a:pt x="109" y="60"/>
                    </a:cubicBezTo>
                    <a:cubicBezTo>
                      <a:pt x="110" y="61"/>
                      <a:pt x="110" y="61"/>
                      <a:pt x="110" y="62"/>
                    </a:cubicBezTo>
                    <a:cubicBezTo>
                      <a:pt x="110" y="62"/>
                      <a:pt x="112" y="61"/>
                      <a:pt x="112" y="62"/>
                    </a:cubicBezTo>
                    <a:cubicBezTo>
                      <a:pt x="111" y="62"/>
                      <a:pt x="111" y="63"/>
                      <a:pt x="111" y="63"/>
                    </a:cubicBezTo>
                    <a:cubicBezTo>
                      <a:pt x="111" y="64"/>
                      <a:pt x="110" y="63"/>
                      <a:pt x="110" y="63"/>
                    </a:cubicBezTo>
                    <a:cubicBezTo>
                      <a:pt x="110" y="63"/>
                      <a:pt x="110" y="64"/>
                      <a:pt x="109" y="64"/>
                    </a:cubicBezTo>
                    <a:cubicBezTo>
                      <a:pt x="109" y="64"/>
                      <a:pt x="109" y="64"/>
                      <a:pt x="109" y="64"/>
                    </a:cubicBezTo>
                    <a:cubicBezTo>
                      <a:pt x="109" y="65"/>
                      <a:pt x="108" y="66"/>
                      <a:pt x="107" y="66"/>
                    </a:cubicBezTo>
                    <a:cubicBezTo>
                      <a:pt x="107" y="67"/>
                      <a:pt x="107" y="67"/>
                      <a:pt x="106" y="68"/>
                    </a:cubicBezTo>
                    <a:cubicBezTo>
                      <a:pt x="106" y="68"/>
                      <a:pt x="106" y="68"/>
                      <a:pt x="106" y="69"/>
                    </a:cubicBezTo>
                    <a:cubicBezTo>
                      <a:pt x="106" y="69"/>
                      <a:pt x="106" y="69"/>
                      <a:pt x="106" y="70"/>
                    </a:cubicBezTo>
                    <a:cubicBezTo>
                      <a:pt x="106" y="70"/>
                      <a:pt x="107" y="71"/>
                      <a:pt x="106" y="71"/>
                    </a:cubicBezTo>
                    <a:cubicBezTo>
                      <a:pt x="106" y="72"/>
                      <a:pt x="107" y="73"/>
                      <a:pt x="107" y="72"/>
                    </a:cubicBezTo>
                    <a:cubicBezTo>
                      <a:pt x="107" y="72"/>
                      <a:pt x="109" y="73"/>
                      <a:pt x="109" y="72"/>
                    </a:cubicBezTo>
                    <a:cubicBezTo>
                      <a:pt x="109" y="72"/>
                      <a:pt x="110" y="73"/>
                      <a:pt x="111" y="73"/>
                    </a:cubicBezTo>
                    <a:cubicBezTo>
                      <a:pt x="111" y="72"/>
                      <a:pt x="111" y="72"/>
                      <a:pt x="111" y="72"/>
                    </a:cubicBezTo>
                    <a:cubicBezTo>
                      <a:pt x="111" y="72"/>
                      <a:pt x="111" y="72"/>
                      <a:pt x="111" y="72"/>
                    </a:cubicBezTo>
                    <a:cubicBezTo>
                      <a:pt x="111" y="72"/>
                      <a:pt x="111" y="72"/>
                      <a:pt x="111" y="73"/>
                    </a:cubicBezTo>
                    <a:cubicBezTo>
                      <a:pt x="111" y="73"/>
                      <a:pt x="112" y="73"/>
                      <a:pt x="112" y="73"/>
                    </a:cubicBezTo>
                    <a:cubicBezTo>
                      <a:pt x="113" y="74"/>
                      <a:pt x="114" y="74"/>
                      <a:pt x="115" y="75"/>
                    </a:cubicBezTo>
                    <a:cubicBezTo>
                      <a:pt x="115" y="75"/>
                      <a:pt x="116" y="77"/>
                      <a:pt x="116" y="77"/>
                    </a:cubicBezTo>
                    <a:cubicBezTo>
                      <a:pt x="116" y="76"/>
                      <a:pt x="116" y="75"/>
                      <a:pt x="117" y="76"/>
                    </a:cubicBezTo>
                    <a:cubicBezTo>
                      <a:pt x="116" y="75"/>
                      <a:pt x="116" y="77"/>
                      <a:pt x="116" y="77"/>
                    </a:cubicBezTo>
                    <a:cubicBezTo>
                      <a:pt x="115" y="78"/>
                      <a:pt x="115" y="78"/>
                      <a:pt x="115" y="79"/>
                    </a:cubicBezTo>
                    <a:cubicBezTo>
                      <a:pt x="116" y="79"/>
                      <a:pt x="117" y="79"/>
                      <a:pt x="117" y="80"/>
                    </a:cubicBezTo>
                    <a:cubicBezTo>
                      <a:pt x="117" y="80"/>
                      <a:pt x="117" y="80"/>
                      <a:pt x="117" y="80"/>
                    </a:cubicBezTo>
                    <a:cubicBezTo>
                      <a:pt x="117" y="80"/>
                      <a:pt x="117" y="81"/>
                      <a:pt x="117" y="80"/>
                    </a:cubicBezTo>
                    <a:cubicBezTo>
                      <a:pt x="116" y="80"/>
                      <a:pt x="117" y="80"/>
                      <a:pt x="116" y="80"/>
                    </a:cubicBezTo>
                    <a:cubicBezTo>
                      <a:pt x="117" y="80"/>
                      <a:pt x="117" y="81"/>
                      <a:pt x="117" y="82"/>
                    </a:cubicBezTo>
                    <a:cubicBezTo>
                      <a:pt x="117" y="82"/>
                      <a:pt x="117" y="82"/>
                      <a:pt x="117" y="82"/>
                    </a:cubicBezTo>
                    <a:cubicBezTo>
                      <a:pt x="118" y="82"/>
                      <a:pt x="118" y="83"/>
                      <a:pt x="118" y="83"/>
                    </a:cubicBezTo>
                    <a:cubicBezTo>
                      <a:pt x="118" y="84"/>
                      <a:pt x="119" y="84"/>
                      <a:pt x="119" y="84"/>
                    </a:cubicBezTo>
                    <a:cubicBezTo>
                      <a:pt x="120" y="84"/>
                      <a:pt x="120" y="84"/>
                      <a:pt x="120" y="85"/>
                    </a:cubicBezTo>
                    <a:cubicBezTo>
                      <a:pt x="121" y="85"/>
                      <a:pt x="121" y="85"/>
                      <a:pt x="122" y="85"/>
                    </a:cubicBezTo>
                    <a:cubicBezTo>
                      <a:pt x="122" y="85"/>
                      <a:pt x="122" y="86"/>
                      <a:pt x="123" y="86"/>
                    </a:cubicBezTo>
                    <a:cubicBezTo>
                      <a:pt x="123" y="85"/>
                      <a:pt x="123" y="85"/>
                      <a:pt x="123" y="85"/>
                    </a:cubicBezTo>
                    <a:cubicBezTo>
                      <a:pt x="124" y="85"/>
                      <a:pt x="124" y="83"/>
                      <a:pt x="125" y="84"/>
                    </a:cubicBezTo>
                    <a:cubicBezTo>
                      <a:pt x="125" y="82"/>
                      <a:pt x="127" y="80"/>
                      <a:pt x="129" y="80"/>
                    </a:cubicBezTo>
                    <a:cubicBezTo>
                      <a:pt x="130" y="80"/>
                      <a:pt x="130" y="80"/>
                      <a:pt x="131" y="80"/>
                    </a:cubicBezTo>
                    <a:cubicBezTo>
                      <a:pt x="131" y="80"/>
                      <a:pt x="132" y="80"/>
                      <a:pt x="132" y="79"/>
                    </a:cubicBezTo>
                    <a:cubicBezTo>
                      <a:pt x="132" y="79"/>
                      <a:pt x="133" y="79"/>
                      <a:pt x="133" y="79"/>
                    </a:cubicBezTo>
                    <a:cubicBezTo>
                      <a:pt x="133" y="78"/>
                      <a:pt x="133" y="78"/>
                      <a:pt x="133" y="78"/>
                    </a:cubicBezTo>
                    <a:cubicBezTo>
                      <a:pt x="134" y="77"/>
                      <a:pt x="136" y="78"/>
                      <a:pt x="136" y="78"/>
                    </a:cubicBezTo>
                    <a:cubicBezTo>
                      <a:pt x="137" y="78"/>
                      <a:pt x="137" y="78"/>
                      <a:pt x="138" y="78"/>
                    </a:cubicBezTo>
                    <a:cubicBezTo>
                      <a:pt x="138" y="78"/>
                      <a:pt x="139" y="77"/>
                      <a:pt x="139" y="77"/>
                    </a:cubicBezTo>
                    <a:cubicBezTo>
                      <a:pt x="140" y="78"/>
                      <a:pt x="140" y="77"/>
                      <a:pt x="141" y="78"/>
                    </a:cubicBezTo>
                    <a:cubicBezTo>
                      <a:pt x="142" y="78"/>
                      <a:pt x="143" y="78"/>
                      <a:pt x="144" y="78"/>
                    </a:cubicBezTo>
                    <a:cubicBezTo>
                      <a:pt x="145" y="77"/>
                      <a:pt x="146" y="77"/>
                      <a:pt x="147" y="78"/>
                    </a:cubicBezTo>
                    <a:cubicBezTo>
                      <a:pt x="147" y="78"/>
                      <a:pt x="148" y="78"/>
                      <a:pt x="148" y="78"/>
                    </a:cubicBezTo>
                    <a:cubicBezTo>
                      <a:pt x="148" y="78"/>
                      <a:pt x="148" y="78"/>
                      <a:pt x="148" y="78"/>
                    </a:cubicBezTo>
                    <a:cubicBezTo>
                      <a:pt x="148" y="78"/>
                      <a:pt x="149" y="78"/>
                      <a:pt x="149" y="78"/>
                    </a:cubicBezTo>
                    <a:cubicBezTo>
                      <a:pt x="150" y="78"/>
                      <a:pt x="150" y="77"/>
                      <a:pt x="150" y="77"/>
                    </a:cubicBezTo>
                    <a:cubicBezTo>
                      <a:pt x="151" y="77"/>
                      <a:pt x="151" y="77"/>
                      <a:pt x="151" y="77"/>
                    </a:cubicBezTo>
                    <a:cubicBezTo>
                      <a:pt x="152" y="77"/>
                      <a:pt x="152" y="76"/>
                      <a:pt x="152" y="76"/>
                    </a:cubicBezTo>
                    <a:cubicBezTo>
                      <a:pt x="153" y="77"/>
                      <a:pt x="153" y="78"/>
                      <a:pt x="154" y="77"/>
                    </a:cubicBezTo>
                    <a:cubicBezTo>
                      <a:pt x="155" y="77"/>
                      <a:pt x="155" y="76"/>
                      <a:pt x="156" y="76"/>
                    </a:cubicBezTo>
                    <a:cubicBezTo>
                      <a:pt x="156" y="75"/>
                      <a:pt x="156" y="75"/>
                      <a:pt x="157" y="75"/>
                    </a:cubicBezTo>
                    <a:cubicBezTo>
                      <a:pt x="157" y="75"/>
                      <a:pt x="157" y="74"/>
                      <a:pt x="157" y="74"/>
                    </a:cubicBezTo>
                    <a:cubicBezTo>
                      <a:pt x="157" y="73"/>
                      <a:pt x="158" y="72"/>
                      <a:pt x="157" y="72"/>
                    </a:cubicBezTo>
                    <a:cubicBezTo>
                      <a:pt x="158" y="72"/>
                      <a:pt x="159" y="71"/>
                      <a:pt x="159" y="71"/>
                    </a:cubicBezTo>
                    <a:cubicBezTo>
                      <a:pt x="159" y="70"/>
                      <a:pt x="160" y="70"/>
                      <a:pt x="160" y="70"/>
                    </a:cubicBezTo>
                    <a:cubicBezTo>
                      <a:pt x="161" y="69"/>
                      <a:pt x="161" y="69"/>
                      <a:pt x="162" y="69"/>
                    </a:cubicBezTo>
                    <a:cubicBezTo>
                      <a:pt x="163" y="69"/>
                      <a:pt x="163" y="68"/>
                      <a:pt x="163" y="69"/>
                    </a:cubicBezTo>
                    <a:cubicBezTo>
                      <a:pt x="164" y="69"/>
                      <a:pt x="164" y="69"/>
                      <a:pt x="164" y="69"/>
                    </a:cubicBezTo>
                    <a:cubicBezTo>
                      <a:pt x="164" y="68"/>
                      <a:pt x="165" y="68"/>
                      <a:pt x="165" y="68"/>
                    </a:cubicBezTo>
                    <a:cubicBezTo>
                      <a:pt x="165" y="68"/>
                      <a:pt x="165" y="69"/>
                      <a:pt x="166" y="69"/>
                    </a:cubicBezTo>
                    <a:cubicBezTo>
                      <a:pt x="166" y="69"/>
                      <a:pt x="166" y="68"/>
                      <a:pt x="166" y="68"/>
                    </a:cubicBezTo>
                    <a:cubicBezTo>
                      <a:pt x="167" y="68"/>
                      <a:pt x="168" y="68"/>
                      <a:pt x="168" y="68"/>
                    </a:cubicBezTo>
                    <a:cubicBezTo>
                      <a:pt x="168" y="68"/>
                      <a:pt x="167" y="66"/>
                      <a:pt x="167" y="66"/>
                    </a:cubicBezTo>
                    <a:cubicBezTo>
                      <a:pt x="167" y="67"/>
                      <a:pt x="168" y="68"/>
                      <a:pt x="167" y="67"/>
                    </a:cubicBezTo>
                    <a:cubicBezTo>
                      <a:pt x="166" y="67"/>
                      <a:pt x="167" y="66"/>
                      <a:pt x="167" y="66"/>
                    </a:cubicBezTo>
                    <a:cubicBezTo>
                      <a:pt x="167" y="65"/>
                      <a:pt x="167" y="65"/>
                      <a:pt x="168" y="64"/>
                    </a:cubicBezTo>
                    <a:cubicBezTo>
                      <a:pt x="168" y="64"/>
                      <a:pt x="168" y="64"/>
                      <a:pt x="168" y="63"/>
                    </a:cubicBezTo>
                    <a:cubicBezTo>
                      <a:pt x="168" y="63"/>
                      <a:pt x="168" y="63"/>
                      <a:pt x="168" y="62"/>
                    </a:cubicBezTo>
                    <a:cubicBezTo>
                      <a:pt x="169" y="62"/>
                      <a:pt x="169" y="62"/>
                      <a:pt x="169" y="62"/>
                    </a:cubicBezTo>
                    <a:cubicBezTo>
                      <a:pt x="170" y="61"/>
                      <a:pt x="169" y="60"/>
                      <a:pt x="170" y="60"/>
                    </a:cubicBezTo>
                    <a:cubicBezTo>
                      <a:pt x="171" y="60"/>
                      <a:pt x="171" y="59"/>
                      <a:pt x="171" y="59"/>
                    </a:cubicBezTo>
                    <a:cubicBezTo>
                      <a:pt x="171" y="59"/>
                      <a:pt x="171" y="59"/>
                      <a:pt x="172" y="58"/>
                    </a:cubicBezTo>
                    <a:cubicBezTo>
                      <a:pt x="173" y="58"/>
                      <a:pt x="173" y="58"/>
                      <a:pt x="174" y="57"/>
                    </a:cubicBezTo>
                    <a:cubicBezTo>
                      <a:pt x="175" y="57"/>
                      <a:pt x="175" y="57"/>
                      <a:pt x="176" y="56"/>
                    </a:cubicBezTo>
                    <a:cubicBezTo>
                      <a:pt x="177" y="55"/>
                      <a:pt x="175" y="54"/>
                      <a:pt x="174" y="54"/>
                    </a:cubicBezTo>
                    <a:cubicBezTo>
                      <a:pt x="173" y="53"/>
                      <a:pt x="173" y="52"/>
                      <a:pt x="173" y="51"/>
                    </a:cubicBezTo>
                    <a:cubicBezTo>
                      <a:pt x="172" y="50"/>
                      <a:pt x="172" y="49"/>
                      <a:pt x="172" y="48"/>
                    </a:cubicBezTo>
                    <a:cubicBezTo>
                      <a:pt x="172" y="47"/>
                      <a:pt x="173" y="46"/>
                      <a:pt x="173" y="45"/>
                    </a:cubicBezTo>
                    <a:cubicBezTo>
                      <a:pt x="174" y="45"/>
                      <a:pt x="174" y="44"/>
                      <a:pt x="175" y="43"/>
                    </a:cubicBezTo>
                    <a:cubicBezTo>
                      <a:pt x="175" y="42"/>
                      <a:pt x="175" y="42"/>
                      <a:pt x="175" y="42"/>
                    </a:cubicBezTo>
                    <a:cubicBezTo>
                      <a:pt x="176" y="41"/>
                      <a:pt x="176" y="41"/>
                      <a:pt x="176" y="41"/>
                    </a:cubicBezTo>
                    <a:cubicBezTo>
                      <a:pt x="177" y="40"/>
                      <a:pt x="177" y="39"/>
                      <a:pt x="178" y="39"/>
                    </a:cubicBezTo>
                    <a:cubicBezTo>
                      <a:pt x="179" y="37"/>
                      <a:pt x="180" y="35"/>
                      <a:pt x="182" y="35"/>
                    </a:cubicBezTo>
                    <a:cubicBezTo>
                      <a:pt x="182" y="35"/>
                      <a:pt x="180" y="36"/>
                      <a:pt x="181" y="36"/>
                    </a:cubicBezTo>
                    <a:cubicBezTo>
                      <a:pt x="182" y="36"/>
                      <a:pt x="182" y="35"/>
                      <a:pt x="182" y="35"/>
                    </a:cubicBezTo>
                    <a:cubicBezTo>
                      <a:pt x="182" y="35"/>
                      <a:pt x="183" y="34"/>
                      <a:pt x="183" y="34"/>
                    </a:cubicBezTo>
                    <a:cubicBezTo>
                      <a:pt x="183" y="34"/>
                      <a:pt x="183" y="34"/>
                      <a:pt x="182" y="33"/>
                    </a:cubicBezTo>
                    <a:cubicBezTo>
                      <a:pt x="182" y="33"/>
                      <a:pt x="182" y="33"/>
                      <a:pt x="182" y="33"/>
                    </a:cubicBezTo>
                    <a:cubicBezTo>
                      <a:pt x="182" y="34"/>
                      <a:pt x="181" y="33"/>
                      <a:pt x="182" y="33"/>
                    </a:cubicBezTo>
                    <a:cubicBezTo>
                      <a:pt x="183" y="32"/>
                      <a:pt x="183" y="32"/>
                      <a:pt x="184" y="31"/>
                    </a:cubicBezTo>
                    <a:cubicBezTo>
                      <a:pt x="184" y="30"/>
                      <a:pt x="185" y="30"/>
                      <a:pt x="186" y="30"/>
                    </a:cubicBezTo>
                    <a:cubicBezTo>
                      <a:pt x="186" y="30"/>
                      <a:pt x="187" y="30"/>
                      <a:pt x="187" y="30"/>
                    </a:cubicBezTo>
                    <a:cubicBezTo>
                      <a:pt x="189" y="29"/>
                      <a:pt x="190" y="29"/>
                      <a:pt x="192" y="28"/>
                    </a:cubicBezTo>
                    <a:cubicBezTo>
                      <a:pt x="193" y="28"/>
                      <a:pt x="194" y="28"/>
                      <a:pt x="195" y="28"/>
                    </a:cubicBezTo>
                    <a:cubicBezTo>
                      <a:pt x="195" y="27"/>
                      <a:pt x="195" y="26"/>
                      <a:pt x="196" y="26"/>
                    </a:cubicBezTo>
                    <a:cubicBezTo>
                      <a:pt x="197" y="25"/>
                      <a:pt x="199" y="25"/>
                      <a:pt x="201" y="24"/>
                    </a:cubicBezTo>
                    <a:cubicBezTo>
                      <a:pt x="201" y="23"/>
                      <a:pt x="201" y="23"/>
                      <a:pt x="202" y="23"/>
                    </a:cubicBezTo>
                    <a:cubicBezTo>
                      <a:pt x="202" y="23"/>
                      <a:pt x="202" y="23"/>
                      <a:pt x="203" y="22"/>
                    </a:cubicBezTo>
                    <a:cubicBezTo>
                      <a:pt x="203" y="22"/>
                      <a:pt x="204" y="22"/>
                      <a:pt x="204" y="21"/>
                    </a:cubicBezTo>
                    <a:cubicBezTo>
                      <a:pt x="204" y="21"/>
                      <a:pt x="204" y="20"/>
                      <a:pt x="204" y="19"/>
                    </a:cubicBezTo>
                    <a:cubicBezTo>
                      <a:pt x="204" y="19"/>
                      <a:pt x="204" y="19"/>
                      <a:pt x="204" y="18"/>
                    </a:cubicBezTo>
                    <a:cubicBezTo>
                      <a:pt x="203" y="18"/>
                      <a:pt x="204" y="17"/>
                      <a:pt x="204" y="17"/>
                    </a:cubicBezTo>
                    <a:cubicBezTo>
                      <a:pt x="205" y="18"/>
                      <a:pt x="205" y="17"/>
                      <a:pt x="205" y="17"/>
                    </a:cubicBezTo>
                    <a:cubicBezTo>
                      <a:pt x="205" y="16"/>
                      <a:pt x="203" y="16"/>
                      <a:pt x="204" y="1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1" name="South Sudan">
                <a:extLst>
                  <a:ext uri="{FF2B5EF4-FFF2-40B4-BE49-F238E27FC236}">
                    <a16:creationId xmlns:a16="http://schemas.microsoft.com/office/drawing/2014/main" id="{503B251D-150D-6C29-1A44-3549AF0A8485}"/>
                  </a:ext>
                </a:extLst>
              </p:cNvPr>
              <p:cNvSpPr>
                <a:spLocks noChangeAspect="1"/>
              </p:cNvSpPr>
              <p:nvPr/>
            </p:nvSpPr>
            <p:spPr bwMode="auto">
              <a:xfrm>
                <a:off x="6521079" y="3572757"/>
                <a:ext cx="409794" cy="339362"/>
              </a:xfrm>
              <a:custGeom>
                <a:avLst/>
                <a:gdLst>
                  <a:gd name="connsiteX0" fmla="*/ 2343515 w 3228750"/>
                  <a:gd name="connsiteY0" fmla="*/ 0 h 2673822"/>
                  <a:gd name="connsiteX1" fmla="*/ 2483215 w 3228750"/>
                  <a:gd name="connsiteY1" fmla="*/ 3175 h 2673822"/>
                  <a:gd name="connsiteX2" fmla="*/ 2480040 w 3228750"/>
                  <a:gd name="connsiteY2" fmla="*/ 65088 h 2673822"/>
                  <a:gd name="connsiteX3" fmla="*/ 2472103 w 3228750"/>
                  <a:gd name="connsiteY3" fmla="*/ 74613 h 2673822"/>
                  <a:gd name="connsiteX4" fmla="*/ 2460990 w 3228750"/>
                  <a:gd name="connsiteY4" fmla="*/ 139700 h 2673822"/>
                  <a:gd name="connsiteX5" fmla="*/ 2449878 w 3228750"/>
                  <a:gd name="connsiteY5" fmla="*/ 200025 h 2673822"/>
                  <a:gd name="connsiteX6" fmla="*/ 2472103 w 3228750"/>
                  <a:gd name="connsiteY6" fmla="*/ 431800 h 2673822"/>
                  <a:gd name="connsiteX7" fmla="*/ 2462578 w 3228750"/>
                  <a:gd name="connsiteY7" fmla="*/ 460375 h 2673822"/>
                  <a:gd name="connsiteX8" fmla="*/ 2502265 w 3228750"/>
                  <a:gd name="connsiteY8" fmla="*/ 479425 h 2673822"/>
                  <a:gd name="connsiteX9" fmla="*/ 2537190 w 3228750"/>
                  <a:gd name="connsiteY9" fmla="*/ 500063 h 2673822"/>
                  <a:gd name="connsiteX10" fmla="*/ 2618153 w 3228750"/>
                  <a:gd name="connsiteY10" fmla="*/ 581025 h 2673822"/>
                  <a:gd name="connsiteX11" fmla="*/ 2691178 w 3228750"/>
                  <a:gd name="connsiteY11" fmla="*/ 649288 h 2673822"/>
                  <a:gd name="connsiteX12" fmla="*/ 2692765 w 3228750"/>
                  <a:gd name="connsiteY12" fmla="*/ 712788 h 2673822"/>
                  <a:gd name="connsiteX13" fmla="*/ 2702290 w 3228750"/>
                  <a:gd name="connsiteY13" fmla="*/ 735013 h 2673822"/>
                  <a:gd name="connsiteX14" fmla="*/ 2664190 w 3228750"/>
                  <a:gd name="connsiteY14" fmla="*/ 792163 h 2673822"/>
                  <a:gd name="connsiteX15" fmla="*/ 2668953 w 3228750"/>
                  <a:gd name="connsiteY15" fmla="*/ 850900 h 2673822"/>
                  <a:gd name="connsiteX16" fmla="*/ 2695455 w 3228750"/>
                  <a:gd name="connsiteY16" fmla="*/ 847003 h 2673822"/>
                  <a:gd name="connsiteX17" fmla="*/ 2695304 w 3228750"/>
                  <a:gd name="connsiteY17" fmla="*/ 848457 h 2673822"/>
                  <a:gd name="connsiteX18" fmla="*/ 2723381 w 3228750"/>
                  <a:gd name="connsiteY18" fmla="*/ 1073117 h 2673822"/>
                  <a:gd name="connsiteX19" fmla="*/ 2695304 w 3228750"/>
                  <a:gd name="connsiteY19" fmla="*/ 1129282 h 2673822"/>
                  <a:gd name="connsiteX20" fmla="*/ 2667228 w 3228750"/>
                  <a:gd name="connsiteY20" fmla="*/ 1157365 h 2673822"/>
                  <a:gd name="connsiteX21" fmla="*/ 2639152 w 3228750"/>
                  <a:gd name="connsiteY21" fmla="*/ 1157365 h 2673822"/>
                  <a:gd name="connsiteX22" fmla="*/ 2583000 w 3228750"/>
                  <a:gd name="connsiteY22" fmla="*/ 1129282 h 2673822"/>
                  <a:gd name="connsiteX23" fmla="*/ 2554924 w 3228750"/>
                  <a:gd name="connsiteY23" fmla="*/ 1129282 h 2673822"/>
                  <a:gd name="connsiteX24" fmla="*/ 2526848 w 3228750"/>
                  <a:gd name="connsiteY24" fmla="*/ 1129282 h 2673822"/>
                  <a:gd name="connsiteX25" fmla="*/ 2470696 w 3228750"/>
                  <a:gd name="connsiteY25" fmla="*/ 1157365 h 2673822"/>
                  <a:gd name="connsiteX26" fmla="*/ 2470696 w 3228750"/>
                  <a:gd name="connsiteY26" fmla="*/ 1185448 h 2673822"/>
                  <a:gd name="connsiteX27" fmla="*/ 2470696 w 3228750"/>
                  <a:gd name="connsiteY27" fmla="*/ 1213530 h 2673822"/>
                  <a:gd name="connsiteX28" fmla="*/ 2470696 w 3228750"/>
                  <a:gd name="connsiteY28" fmla="*/ 1241613 h 2673822"/>
                  <a:gd name="connsiteX29" fmla="*/ 2442620 w 3228750"/>
                  <a:gd name="connsiteY29" fmla="*/ 1269695 h 2673822"/>
                  <a:gd name="connsiteX30" fmla="*/ 2414544 w 3228750"/>
                  <a:gd name="connsiteY30" fmla="*/ 1297778 h 2673822"/>
                  <a:gd name="connsiteX31" fmla="*/ 2442620 w 3228750"/>
                  <a:gd name="connsiteY31" fmla="*/ 1353943 h 2673822"/>
                  <a:gd name="connsiteX32" fmla="*/ 2498772 w 3228750"/>
                  <a:gd name="connsiteY32" fmla="*/ 1353943 h 2673822"/>
                  <a:gd name="connsiteX33" fmla="*/ 2554924 w 3228750"/>
                  <a:gd name="connsiteY33" fmla="*/ 1353943 h 2673822"/>
                  <a:gd name="connsiteX34" fmla="*/ 2583000 w 3228750"/>
                  <a:gd name="connsiteY34" fmla="*/ 1382025 h 2673822"/>
                  <a:gd name="connsiteX35" fmla="*/ 2639152 w 3228750"/>
                  <a:gd name="connsiteY35" fmla="*/ 1410108 h 2673822"/>
                  <a:gd name="connsiteX36" fmla="*/ 2695304 w 3228750"/>
                  <a:gd name="connsiteY36" fmla="*/ 1494355 h 2673822"/>
                  <a:gd name="connsiteX37" fmla="*/ 2751457 w 3228750"/>
                  <a:gd name="connsiteY37" fmla="*/ 1550521 h 2673822"/>
                  <a:gd name="connsiteX38" fmla="*/ 2751457 w 3228750"/>
                  <a:gd name="connsiteY38" fmla="*/ 1578603 h 2673822"/>
                  <a:gd name="connsiteX39" fmla="*/ 2807609 w 3228750"/>
                  <a:gd name="connsiteY39" fmla="*/ 1606686 h 2673822"/>
                  <a:gd name="connsiteX40" fmla="*/ 2835685 w 3228750"/>
                  <a:gd name="connsiteY40" fmla="*/ 1634768 h 2673822"/>
                  <a:gd name="connsiteX41" fmla="*/ 2863761 w 3228750"/>
                  <a:gd name="connsiteY41" fmla="*/ 1662851 h 2673822"/>
                  <a:gd name="connsiteX42" fmla="*/ 2919913 w 3228750"/>
                  <a:gd name="connsiteY42" fmla="*/ 1775181 h 2673822"/>
                  <a:gd name="connsiteX43" fmla="*/ 2947989 w 3228750"/>
                  <a:gd name="connsiteY43" fmla="*/ 1831346 h 2673822"/>
                  <a:gd name="connsiteX44" fmla="*/ 2976065 w 3228750"/>
                  <a:gd name="connsiteY44" fmla="*/ 1887511 h 2673822"/>
                  <a:gd name="connsiteX45" fmla="*/ 2976065 w 3228750"/>
                  <a:gd name="connsiteY45" fmla="*/ 1943676 h 2673822"/>
                  <a:gd name="connsiteX46" fmla="*/ 3004141 w 3228750"/>
                  <a:gd name="connsiteY46" fmla="*/ 1971759 h 2673822"/>
                  <a:gd name="connsiteX47" fmla="*/ 3004141 w 3228750"/>
                  <a:gd name="connsiteY47" fmla="*/ 1999841 h 2673822"/>
                  <a:gd name="connsiteX48" fmla="*/ 3032218 w 3228750"/>
                  <a:gd name="connsiteY48" fmla="*/ 2056006 h 2673822"/>
                  <a:gd name="connsiteX49" fmla="*/ 3060294 w 3228750"/>
                  <a:gd name="connsiteY49" fmla="*/ 2084089 h 2673822"/>
                  <a:gd name="connsiteX50" fmla="*/ 3088370 w 3228750"/>
                  <a:gd name="connsiteY50" fmla="*/ 2084089 h 2673822"/>
                  <a:gd name="connsiteX51" fmla="*/ 3116446 w 3228750"/>
                  <a:gd name="connsiteY51" fmla="*/ 2084089 h 2673822"/>
                  <a:gd name="connsiteX52" fmla="*/ 3172598 w 3228750"/>
                  <a:gd name="connsiteY52" fmla="*/ 2084089 h 2673822"/>
                  <a:gd name="connsiteX53" fmla="*/ 3200674 w 3228750"/>
                  <a:gd name="connsiteY53" fmla="*/ 2112171 h 2673822"/>
                  <a:gd name="connsiteX54" fmla="*/ 3200674 w 3228750"/>
                  <a:gd name="connsiteY54" fmla="*/ 2140254 h 2673822"/>
                  <a:gd name="connsiteX55" fmla="*/ 3172598 w 3228750"/>
                  <a:gd name="connsiteY55" fmla="*/ 2196419 h 2673822"/>
                  <a:gd name="connsiteX56" fmla="*/ 3228750 w 3228750"/>
                  <a:gd name="connsiteY56" fmla="*/ 2308749 h 2673822"/>
                  <a:gd name="connsiteX57" fmla="*/ 3200674 w 3228750"/>
                  <a:gd name="connsiteY57" fmla="*/ 2308749 h 2673822"/>
                  <a:gd name="connsiteX58" fmla="*/ 3144522 w 3228750"/>
                  <a:gd name="connsiteY58" fmla="*/ 2308749 h 2673822"/>
                  <a:gd name="connsiteX59" fmla="*/ 3116446 w 3228750"/>
                  <a:gd name="connsiteY59" fmla="*/ 2280667 h 2673822"/>
                  <a:gd name="connsiteX60" fmla="*/ 3116446 w 3228750"/>
                  <a:gd name="connsiteY60" fmla="*/ 2224502 h 2673822"/>
                  <a:gd name="connsiteX61" fmla="*/ 3060294 w 3228750"/>
                  <a:gd name="connsiteY61" fmla="*/ 2196419 h 2673822"/>
                  <a:gd name="connsiteX62" fmla="*/ 3068355 w 3228750"/>
                  <a:gd name="connsiteY62" fmla="*/ 2180294 h 2673822"/>
                  <a:gd name="connsiteX63" fmla="*/ 3069468 w 3228750"/>
                  <a:gd name="connsiteY63" fmla="*/ 2178068 h 2673822"/>
                  <a:gd name="connsiteX64" fmla="*/ 3070823 w 3228750"/>
                  <a:gd name="connsiteY64" fmla="*/ 2175357 h 2673822"/>
                  <a:gd name="connsiteX65" fmla="*/ 3072139 w 3228750"/>
                  <a:gd name="connsiteY65" fmla="*/ 2172724 h 2673822"/>
                  <a:gd name="connsiteX66" fmla="*/ 3069468 w 3228750"/>
                  <a:gd name="connsiteY66" fmla="*/ 2178068 h 2673822"/>
                  <a:gd name="connsiteX67" fmla="*/ 3064242 w 3228750"/>
                  <a:gd name="connsiteY67" fmla="*/ 2188521 h 2673822"/>
                  <a:gd name="connsiteX68" fmla="*/ 3060294 w 3228750"/>
                  <a:gd name="connsiteY68" fmla="*/ 2196419 h 2673822"/>
                  <a:gd name="connsiteX69" fmla="*/ 3004141 w 3228750"/>
                  <a:gd name="connsiteY69" fmla="*/ 2196419 h 2673822"/>
                  <a:gd name="connsiteX70" fmla="*/ 2947989 w 3228750"/>
                  <a:gd name="connsiteY70" fmla="*/ 2224502 h 2673822"/>
                  <a:gd name="connsiteX71" fmla="*/ 2807609 w 3228750"/>
                  <a:gd name="connsiteY71" fmla="*/ 2308749 h 2673822"/>
                  <a:gd name="connsiteX72" fmla="*/ 2723381 w 3228750"/>
                  <a:gd name="connsiteY72" fmla="*/ 2421079 h 2673822"/>
                  <a:gd name="connsiteX73" fmla="*/ 2611076 w 3228750"/>
                  <a:gd name="connsiteY73" fmla="*/ 2561492 h 2673822"/>
                  <a:gd name="connsiteX74" fmla="*/ 2554924 w 3228750"/>
                  <a:gd name="connsiteY74" fmla="*/ 2589575 h 2673822"/>
                  <a:gd name="connsiteX75" fmla="*/ 2470696 w 3228750"/>
                  <a:gd name="connsiteY75" fmla="*/ 2589575 h 2673822"/>
                  <a:gd name="connsiteX76" fmla="*/ 2442620 w 3228750"/>
                  <a:gd name="connsiteY76" fmla="*/ 2561492 h 2673822"/>
                  <a:gd name="connsiteX77" fmla="*/ 2386468 w 3228750"/>
                  <a:gd name="connsiteY77" fmla="*/ 2589575 h 2673822"/>
                  <a:gd name="connsiteX78" fmla="*/ 2246087 w 3228750"/>
                  <a:gd name="connsiteY78" fmla="*/ 2617657 h 2673822"/>
                  <a:gd name="connsiteX79" fmla="*/ 2218011 w 3228750"/>
                  <a:gd name="connsiteY79" fmla="*/ 2617657 h 2673822"/>
                  <a:gd name="connsiteX80" fmla="*/ 2218011 w 3228750"/>
                  <a:gd name="connsiteY80" fmla="*/ 2645740 h 2673822"/>
                  <a:gd name="connsiteX81" fmla="*/ 2189935 w 3228750"/>
                  <a:gd name="connsiteY81" fmla="*/ 2673822 h 2673822"/>
                  <a:gd name="connsiteX82" fmla="*/ 2161859 w 3228750"/>
                  <a:gd name="connsiteY82" fmla="*/ 2645740 h 2673822"/>
                  <a:gd name="connsiteX83" fmla="*/ 2133783 w 3228750"/>
                  <a:gd name="connsiteY83" fmla="*/ 2617657 h 2673822"/>
                  <a:gd name="connsiteX84" fmla="*/ 2105707 w 3228750"/>
                  <a:gd name="connsiteY84" fmla="*/ 2561492 h 2673822"/>
                  <a:gd name="connsiteX85" fmla="*/ 2077631 w 3228750"/>
                  <a:gd name="connsiteY85" fmla="*/ 2589575 h 2673822"/>
                  <a:gd name="connsiteX86" fmla="*/ 2021478 w 3228750"/>
                  <a:gd name="connsiteY86" fmla="*/ 2617657 h 2673822"/>
                  <a:gd name="connsiteX87" fmla="*/ 1937250 w 3228750"/>
                  <a:gd name="connsiteY87" fmla="*/ 2589575 h 2673822"/>
                  <a:gd name="connsiteX88" fmla="*/ 1853022 w 3228750"/>
                  <a:gd name="connsiteY88" fmla="*/ 2673822 h 2673822"/>
                  <a:gd name="connsiteX89" fmla="*/ 1853022 w 3228750"/>
                  <a:gd name="connsiteY89" fmla="*/ 2645740 h 2673822"/>
                  <a:gd name="connsiteX90" fmla="*/ 1824946 w 3228750"/>
                  <a:gd name="connsiteY90" fmla="*/ 2617657 h 2673822"/>
                  <a:gd name="connsiteX91" fmla="*/ 1768794 w 3228750"/>
                  <a:gd name="connsiteY91" fmla="*/ 2617657 h 2673822"/>
                  <a:gd name="connsiteX92" fmla="*/ 1768794 w 3228750"/>
                  <a:gd name="connsiteY92" fmla="*/ 2561492 h 2673822"/>
                  <a:gd name="connsiteX93" fmla="*/ 1712641 w 3228750"/>
                  <a:gd name="connsiteY93" fmla="*/ 2533410 h 2673822"/>
                  <a:gd name="connsiteX94" fmla="*/ 1656489 w 3228750"/>
                  <a:gd name="connsiteY94" fmla="*/ 2533410 h 2673822"/>
                  <a:gd name="connsiteX95" fmla="*/ 1656489 w 3228750"/>
                  <a:gd name="connsiteY95" fmla="*/ 2477244 h 2673822"/>
                  <a:gd name="connsiteX96" fmla="*/ 1628413 w 3228750"/>
                  <a:gd name="connsiteY96" fmla="*/ 2449162 h 2673822"/>
                  <a:gd name="connsiteX97" fmla="*/ 1600337 w 3228750"/>
                  <a:gd name="connsiteY97" fmla="*/ 2449162 h 2673822"/>
                  <a:gd name="connsiteX98" fmla="*/ 1600337 w 3228750"/>
                  <a:gd name="connsiteY98" fmla="*/ 2421079 h 2673822"/>
                  <a:gd name="connsiteX99" fmla="*/ 1544185 w 3228750"/>
                  <a:gd name="connsiteY99" fmla="*/ 2364914 h 2673822"/>
                  <a:gd name="connsiteX100" fmla="*/ 1544185 w 3228750"/>
                  <a:gd name="connsiteY100" fmla="*/ 2336832 h 2673822"/>
                  <a:gd name="connsiteX101" fmla="*/ 1516109 w 3228750"/>
                  <a:gd name="connsiteY101" fmla="*/ 2308749 h 2673822"/>
                  <a:gd name="connsiteX102" fmla="*/ 1459957 w 3228750"/>
                  <a:gd name="connsiteY102" fmla="*/ 2308749 h 2673822"/>
                  <a:gd name="connsiteX103" fmla="*/ 1459957 w 3228750"/>
                  <a:gd name="connsiteY103" fmla="*/ 2336832 h 2673822"/>
                  <a:gd name="connsiteX104" fmla="*/ 1431881 w 3228750"/>
                  <a:gd name="connsiteY104" fmla="*/ 2392997 h 2673822"/>
                  <a:gd name="connsiteX105" fmla="*/ 1403805 w 3228750"/>
                  <a:gd name="connsiteY105" fmla="*/ 2392997 h 2673822"/>
                  <a:gd name="connsiteX106" fmla="*/ 1375728 w 3228750"/>
                  <a:gd name="connsiteY106" fmla="*/ 2392997 h 2673822"/>
                  <a:gd name="connsiteX107" fmla="*/ 1347652 w 3228750"/>
                  <a:gd name="connsiteY107" fmla="*/ 2364914 h 2673822"/>
                  <a:gd name="connsiteX108" fmla="*/ 1291500 w 3228750"/>
                  <a:gd name="connsiteY108" fmla="*/ 2364914 h 2673822"/>
                  <a:gd name="connsiteX109" fmla="*/ 1263424 w 3228750"/>
                  <a:gd name="connsiteY109" fmla="*/ 2336832 h 2673822"/>
                  <a:gd name="connsiteX110" fmla="*/ 1235348 w 3228750"/>
                  <a:gd name="connsiteY110" fmla="*/ 2364914 h 2673822"/>
                  <a:gd name="connsiteX111" fmla="*/ 1207272 w 3228750"/>
                  <a:gd name="connsiteY111" fmla="*/ 2421079 h 2673822"/>
                  <a:gd name="connsiteX112" fmla="*/ 1179196 w 3228750"/>
                  <a:gd name="connsiteY112" fmla="*/ 2421079 h 2673822"/>
                  <a:gd name="connsiteX113" fmla="*/ 1151120 w 3228750"/>
                  <a:gd name="connsiteY113" fmla="*/ 2392997 h 2673822"/>
                  <a:gd name="connsiteX114" fmla="*/ 1094968 w 3228750"/>
                  <a:gd name="connsiteY114" fmla="*/ 2392997 h 2673822"/>
                  <a:gd name="connsiteX115" fmla="*/ 1066891 w 3228750"/>
                  <a:gd name="connsiteY115" fmla="*/ 2336832 h 2673822"/>
                  <a:gd name="connsiteX116" fmla="*/ 1010739 w 3228750"/>
                  <a:gd name="connsiteY116" fmla="*/ 2336832 h 2673822"/>
                  <a:gd name="connsiteX117" fmla="*/ 1010739 w 3228750"/>
                  <a:gd name="connsiteY117" fmla="*/ 2280667 h 2673822"/>
                  <a:gd name="connsiteX118" fmla="*/ 982663 w 3228750"/>
                  <a:gd name="connsiteY118" fmla="*/ 2252584 h 2673822"/>
                  <a:gd name="connsiteX119" fmla="*/ 954587 w 3228750"/>
                  <a:gd name="connsiteY119" fmla="*/ 2224502 h 2673822"/>
                  <a:gd name="connsiteX120" fmla="*/ 926511 w 3228750"/>
                  <a:gd name="connsiteY120" fmla="*/ 2196419 h 2673822"/>
                  <a:gd name="connsiteX121" fmla="*/ 870359 w 3228750"/>
                  <a:gd name="connsiteY121" fmla="*/ 2140254 h 2673822"/>
                  <a:gd name="connsiteX122" fmla="*/ 870359 w 3228750"/>
                  <a:gd name="connsiteY122" fmla="*/ 2084089 h 2673822"/>
                  <a:gd name="connsiteX123" fmla="*/ 870359 w 3228750"/>
                  <a:gd name="connsiteY123" fmla="*/ 2027924 h 2673822"/>
                  <a:gd name="connsiteX124" fmla="*/ 842283 w 3228750"/>
                  <a:gd name="connsiteY124" fmla="*/ 1999841 h 2673822"/>
                  <a:gd name="connsiteX125" fmla="*/ 814207 w 3228750"/>
                  <a:gd name="connsiteY125" fmla="*/ 1971759 h 2673822"/>
                  <a:gd name="connsiteX126" fmla="*/ 786131 w 3228750"/>
                  <a:gd name="connsiteY126" fmla="*/ 1943676 h 2673822"/>
                  <a:gd name="connsiteX127" fmla="*/ 758055 w 3228750"/>
                  <a:gd name="connsiteY127" fmla="*/ 1943676 h 2673822"/>
                  <a:gd name="connsiteX128" fmla="*/ 758055 w 3228750"/>
                  <a:gd name="connsiteY128" fmla="*/ 1915594 h 2673822"/>
                  <a:gd name="connsiteX129" fmla="*/ 701902 w 3228750"/>
                  <a:gd name="connsiteY129" fmla="*/ 1887511 h 2673822"/>
                  <a:gd name="connsiteX130" fmla="*/ 673826 w 3228750"/>
                  <a:gd name="connsiteY130" fmla="*/ 1859429 h 2673822"/>
                  <a:gd name="connsiteX131" fmla="*/ 645750 w 3228750"/>
                  <a:gd name="connsiteY131" fmla="*/ 1859429 h 2673822"/>
                  <a:gd name="connsiteX132" fmla="*/ 673826 w 3228750"/>
                  <a:gd name="connsiteY132" fmla="*/ 1831346 h 2673822"/>
                  <a:gd name="connsiteX133" fmla="*/ 645750 w 3228750"/>
                  <a:gd name="connsiteY133" fmla="*/ 1803263 h 2673822"/>
                  <a:gd name="connsiteX134" fmla="*/ 617674 w 3228750"/>
                  <a:gd name="connsiteY134" fmla="*/ 1803263 h 2673822"/>
                  <a:gd name="connsiteX135" fmla="*/ 589598 w 3228750"/>
                  <a:gd name="connsiteY135" fmla="*/ 1775181 h 2673822"/>
                  <a:gd name="connsiteX136" fmla="*/ 617674 w 3228750"/>
                  <a:gd name="connsiteY136" fmla="*/ 1719016 h 2673822"/>
                  <a:gd name="connsiteX137" fmla="*/ 589598 w 3228750"/>
                  <a:gd name="connsiteY137" fmla="*/ 1662851 h 2673822"/>
                  <a:gd name="connsiteX138" fmla="*/ 533446 w 3228750"/>
                  <a:gd name="connsiteY138" fmla="*/ 1634768 h 2673822"/>
                  <a:gd name="connsiteX139" fmla="*/ 533446 w 3228750"/>
                  <a:gd name="connsiteY139" fmla="*/ 1578603 h 2673822"/>
                  <a:gd name="connsiteX140" fmla="*/ 477294 w 3228750"/>
                  <a:gd name="connsiteY140" fmla="*/ 1550521 h 2673822"/>
                  <a:gd name="connsiteX141" fmla="*/ 364989 w 3228750"/>
                  <a:gd name="connsiteY141" fmla="*/ 1494355 h 2673822"/>
                  <a:gd name="connsiteX142" fmla="*/ 308837 w 3228750"/>
                  <a:gd name="connsiteY142" fmla="*/ 1438190 h 2673822"/>
                  <a:gd name="connsiteX143" fmla="*/ 308837 w 3228750"/>
                  <a:gd name="connsiteY143" fmla="*/ 1410108 h 2673822"/>
                  <a:gd name="connsiteX144" fmla="*/ 308837 w 3228750"/>
                  <a:gd name="connsiteY144" fmla="*/ 1353943 h 2673822"/>
                  <a:gd name="connsiteX145" fmla="*/ 280761 w 3228750"/>
                  <a:gd name="connsiteY145" fmla="*/ 1297778 h 2673822"/>
                  <a:gd name="connsiteX146" fmla="*/ 252685 w 3228750"/>
                  <a:gd name="connsiteY146" fmla="*/ 1297778 h 2673822"/>
                  <a:gd name="connsiteX147" fmla="*/ 196533 w 3228750"/>
                  <a:gd name="connsiteY147" fmla="*/ 1241613 h 2673822"/>
                  <a:gd name="connsiteX148" fmla="*/ 140381 w 3228750"/>
                  <a:gd name="connsiteY148" fmla="*/ 1213530 h 2673822"/>
                  <a:gd name="connsiteX149" fmla="*/ 112305 w 3228750"/>
                  <a:gd name="connsiteY149" fmla="*/ 1213530 h 2673822"/>
                  <a:gd name="connsiteX150" fmla="*/ 84228 w 3228750"/>
                  <a:gd name="connsiteY150" fmla="*/ 1185448 h 2673822"/>
                  <a:gd name="connsiteX151" fmla="*/ 0 w 3228750"/>
                  <a:gd name="connsiteY151" fmla="*/ 1157365 h 2673822"/>
                  <a:gd name="connsiteX152" fmla="*/ 28076 w 3228750"/>
                  <a:gd name="connsiteY152" fmla="*/ 1073117 h 2673822"/>
                  <a:gd name="connsiteX153" fmla="*/ 32714 w 3228750"/>
                  <a:gd name="connsiteY153" fmla="*/ 1081681 h 2673822"/>
                  <a:gd name="connsiteX154" fmla="*/ 98790 w 3228750"/>
                  <a:gd name="connsiteY154" fmla="*/ 1030288 h 2673822"/>
                  <a:gd name="connsiteX155" fmla="*/ 124190 w 3228750"/>
                  <a:gd name="connsiteY155" fmla="*/ 1042988 h 2673822"/>
                  <a:gd name="connsiteX156" fmla="*/ 144828 w 3228750"/>
                  <a:gd name="connsiteY156" fmla="*/ 1030288 h 2673822"/>
                  <a:gd name="connsiteX157" fmla="*/ 141653 w 3228750"/>
                  <a:gd name="connsiteY157" fmla="*/ 984250 h 2673822"/>
                  <a:gd name="connsiteX158" fmla="*/ 178165 w 3228750"/>
                  <a:gd name="connsiteY158" fmla="*/ 927100 h 2673822"/>
                  <a:gd name="connsiteX159" fmla="*/ 176578 w 3228750"/>
                  <a:gd name="connsiteY159" fmla="*/ 869950 h 2673822"/>
                  <a:gd name="connsiteX160" fmla="*/ 206740 w 3228750"/>
                  <a:gd name="connsiteY160" fmla="*/ 833438 h 2673822"/>
                  <a:gd name="connsiteX161" fmla="*/ 203565 w 3228750"/>
                  <a:gd name="connsiteY161" fmla="*/ 735013 h 2673822"/>
                  <a:gd name="connsiteX162" fmla="*/ 249603 w 3228750"/>
                  <a:gd name="connsiteY162" fmla="*/ 701675 h 2673822"/>
                  <a:gd name="connsiteX163" fmla="*/ 262303 w 3228750"/>
                  <a:gd name="connsiteY163" fmla="*/ 695325 h 2673822"/>
                  <a:gd name="connsiteX164" fmla="*/ 267065 w 3228750"/>
                  <a:gd name="connsiteY164" fmla="*/ 690563 h 2673822"/>
                  <a:gd name="connsiteX165" fmla="*/ 271828 w 3228750"/>
                  <a:gd name="connsiteY165" fmla="*/ 687388 h 2673822"/>
                  <a:gd name="connsiteX166" fmla="*/ 268653 w 3228750"/>
                  <a:gd name="connsiteY166" fmla="*/ 682625 h 2673822"/>
                  <a:gd name="connsiteX167" fmla="*/ 267065 w 3228750"/>
                  <a:gd name="connsiteY167" fmla="*/ 677863 h 2673822"/>
                  <a:gd name="connsiteX168" fmla="*/ 262303 w 3228750"/>
                  <a:gd name="connsiteY168" fmla="*/ 674688 h 2673822"/>
                  <a:gd name="connsiteX169" fmla="*/ 263890 w 3228750"/>
                  <a:gd name="connsiteY169" fmla="*/ 641350 h 2673822"/>
                  <a:gd name="connsiteX170" fmla="*/ 289290 w 3228750"/>
                  <a:gd name="connsiteY170" fmla="*/ 593725 h 2673822"/>
                  <a:gd name="connsiteX171" fmla="*/ 389303 w 3228750"/>
                  <a:gd name="connsiteY171" fmla="*/ 579438 h 2673822"/>
                  <a:gd name="connsiteX172" fmla="*/ 427403 w 3228750"/>
                  <a:gd name="connsiteY172" fmla="*/ 566738 h 2673822"/>
                  <a:gd name="connsiteX173" fmla="*/ 459153 w 3228750"/>
                  <a:gd name="connsiteY173" fmla="*/ 560388 h 2673822"/>
                  <a:gd name="connsiteX174" fmla="*/ 511540 w 3228750"/>
                  <a:gd name="connsiteY174" fmla="*/ 555625 h 2673822"/>
                  <a:gd name="connsiteX175" fmla="*/ 503603 w 3228750"/>
                  <a:gd name="connsiteY175" fmla="*/ 633413 h 2673822"/>
                  <a:gd name="connsiteX176" fmla="*/ 522653 w 3228750"/>
                  <a:gd name="connsiteY176" fmla="*/ 630238 h 2673822"/>
                  <a:gd name="connsiteX177" fmla="*/ 533765 w 3228750"/>
                  <a:gd name="connsiteY177" fmla="*/ 647700 h 2673822"/>
                  <a:gd name="connsiteX178" fmla="*/ 548053 w 3228750"/>
                  <a:gd name="connsiteY178" fmla="*/ 687388 h 2673822"/>
                  <a:gd name="connsiteX179" fmla="*/ 579803 w 3228750"/>
                  <a:gd name="connsiteY179" fmla="*/ 708025 h 2673822"/>
                  <a:gd name="connsiteX180" fmla="*/ 651240 w 3228750"/>
                  <a:gd name="connsiteY180" fmla="*/ 796925 h 2673822"/>
                  <a:gd name="connsiteX181" fmla="*/ 678228 w 3228750"/>
                  <a:gd name="connsiteY181" fmla="*/ 841375 h 2673822"/>
                  <a:gd name="connsiteX182" fmla="*/ 697278 w 3228750"/>
                  <a:gd name="connsiteY182" fmla="*/ 846138 h 2673822"/>
                  <a:gd name="connsiteX183" fmla="*/ 724265 w 3228750"/>
                  <a:gd name="connsiteY183" fmla="*/ 846138 h 2673822"/>
                  <a:gd name="connsiteX184" fmla="*/ 771890 w 3228750"/>
                  <a:gd name="connsiteY184" fmla="*/ 827088 h 2673822"/>
                  <a:gd name="connsiteX185" fmla="*/ 822690 w 3228750"/>
                  <a:gd name="connsiteY185" fmla="*/ 798513 h 2673822"/>
                  <a:gd name="connsiteX186" fmla="*/ 868728 w 3228750"/>
                  <a:gd name="connsiteY186" fmla="*/ 798513 h 2673822"/>
                  <a:gd name="connsiteX187" fmla="*/ 949690 w 3228750"/>
                  <a:gd name="connsiteY187" fmla="*/ 803275 h 2673822"/>
                  <a:gd name="connsiteX188" fmla="*/ 1035415 w 3228750"/>
                  <a:gd name="connsiteY188" fmla="*/ 812800 h 2673822"/>
                  <a:gd name="connsiteX189" fmla="*/ 1086215 w 3228750"/>
                  <a:gd name="connsiteY189" fmla="*/ 895350 h 2673822"/>
                  <a:gd name="connsiteX190" fmla="*/ 1298940 w 3228750"/>
                  <a:gd name="connsiteY190" fmla="*/ 887413 h 2673822"/>
                  <a:gd name="connsiteX191" fmla="*/ 1302115 w 3228750"/>
                  <a:gd name="connsiteY191" fmla="*/ 854075 h 2673822"/>
                  <a:gd name="connsiteX192" fmla="*/ 1343390 w 3228750"/>
                  <a:gd name="connsiteY192" fmla="*/ 812800 h 2673822"/>
                  <a:gd name="connsiteX193" fmla="*/ 1360853 w 3228750"/>
                  <a:gd name="connsiteY193" fmla="*/ 798513 h 2673822"/>
                  <a:gd name="connsiteX194" fmla="*/ 1371965 w 3228750"/>
                  <a:gd name="connsiteY194" fmla="*/ 795338 h 2673822"/>
                  <a:gd name="connsiteX195" fmla="*/ 1373553 w 3228750"/>
                  <a:gd name="connsiteY195" fmla="*/ 790575 h 2673822"/>
                  <a:gd name="connsiteX196" fmla="*/ 1384665 w 3228750"/>
                  <a:gd name="connsiteY196" fmla="*/ 785813 h 2673822"/>
                  <a:gd name="connsiteX197" fmla="*/ 1392603 w 3228750"/>
                  <a:gd name="connsiteY197" fmla="*/ 784225 h 2673822"/>
                  <a:gd name="connsiteX198" fmla="*/ 1397365 w 3228750"/>
                  <a:gd name="connsiteY198" fmla="*/ 781050 h 2673822"/>
                  <a:gd name="connsiteX199" fmla="*/ 1405303 w 3228750"/>
                  <a:gd name="connsiteY199" fmla="*/ 779463 h 2673822"/>
                  <a:gd name="connsiteX200" fmla="*/ 1422765 w 3228750"/>
                  <a:gd name="connsiteY200" fmla="*/ 769938 h 2673822"/>
                  <a:gd name="connsiteX201" fmla="*/ 1460865 w 3228750"/>
                  <a:gd name="connsiteY201" fmla="*/ 757238 h 2673822"/>
                  <a:gd name="connsiteX202" fmla="*/ 1500553 w 3228750"/>
                  <a:gd name="connsiteY202" fmla="*/ 727075 h 2673822"/>
                  <a:gd name="connsiteX203" fmla="*/ 1511665 w 3228750"/>
                  <a:gd name="connsiteY203" fmla="*/ 655638 h 2673822"/>
                  <a:gd name="connsiteX204" fmla="*/ 1606915 w 3228750"/>
                  <a:gd name="connsiteY204" fmla="*/ 601663 h 2673822"/>
                  <a:gd name="connsiteX205" fmla="*/ 1743440 w 3228750"/>
                  <a:gd name="connsiteY205" fmla="*/ 688975 h 2673822"/>
                  <a:gd name="connsiteX206" fmla="*/ 1822815 w 3228750"/>
                  <a:gd name="connsiteY206" fmla="*/ 765175 h 2673822"/>
                  <a:gd name="connsiteX207" fmla="*/ 1879965 w 3228750"/>
                  <a:gd name="connsiteY207" fmla="*/ 755650 h 2673822"/>
                  <a:gd name="connsiteX208" fmla="*/ 1935528 w 3228750"/>
                  <a:gd name="connsiteY208" fmla="*/ 749300 h 2673822"/>
                  <a:gd name="connsiteX209" fmla="*/ 2008553 w 3228750"/>
                  <a:gd name="connsiteY209" fmla="*/ 668338 h 2673822"/>
                  <a:gd name="connsiteX210" fmla="*/ 2105390 w 3228750"/>
                  <a:gd name="connsiteY210" fmla="*/ 568325 h 2673822"/>
                  <a:gd name="connsiteX211" fmla="*/ 2130790 w 3228750"/>
                  <a:gd name="connsiteY211" fmla="*/ 485775 h 2673822"/>
                  <a:gd name="connsiteX212" fmla="*/ 2275253 w 3228750"/>
                  <a:gd name="connsiteY212" fmla="*/ 361950 h 2673822"/>
                  <a:gd name="connsiteX213" fmla="*/ 2248265 w 3228750"/>
                  <a:gd name="connsiteY213" fmla="*/ 309563 h 2673822"/>
                  <a:gd name="connsiteX214" fmla="*/ 2238740 w 3228750"/>
                  <a:gd name="connsiteY214" fmla="*/ 155575 h 2673822"/>
                  <a:gd name="connsiteX215" fmla="*/ 2170478 w 3228750"/>
                  <a:gd name="connsiteY215" fmla="*/ 68263 h 2673822"/>
                  <a:gd name="connsiteX216" fmla="*/ 2356215 w 3228750"/>
                  <a:gd name="connsiteY216" fmla="*/ 68263 h 2673822"/>
                  <a:gd name="connsiteX217" fmla="*/ 2343515 w 3228750"/>
                  <a:gd name="connsiteY217" fmla="*/ 0 h 267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3228750" h="2673822">
                    <a:moveTo>
                      <a:pt x="2343515" y="0"/>
                    </a:moveTo>
                    <a:lnTo>
                      <a:pt x="2483215" y="3175"/>
                    </a:lnTo>
                    <a:lnTo>
                      <a:pt x="2480040" y="65088"/>
                    </a:lnTo>
                    <a:lnTo>
                      <a:pt x="2472103" y="74613"/>
                    </a:lnTo>
                    <a:lnTo>
                      <a:pt x="2460990" y="139700"/>
                    </a:lnTo>
                    <a:lnTo>
                      <a:pt x="2449878" y="200025"/>
                    </a:lnTo>
                    <a:lnTo>
                      <a:pt x="2472103" y="431800"/>
                    </a:lnTo>
                    <a:lnTo>
                      <a:pt x="2462578" y="460375"/>
                    </a:lnTo>
                    <a:lnTo>
                      <a:pt x="2502265" y="479425"/>
                    </a:lnTo>
                    <a:lnTo>
                      <a:pt x="2537190" y="500063"/>
                    </a:lnTo>
                    <a:lnTo>
                      <a:pt x="2618153" y="581025"/>
                    </a:lnTo>
                    <a:lnTo>
                      <a:pt x="2691178" y="649288"/>
                    </a:lnTo>
                    <a:lnTo>
                      <a:pt x="2692765" y="712788"/>
                    </a:lnTo>
                    <a:lnTo>
                      <a:pt x="2702290" y="735013"/>
                    </a:lnTo>
                    <a:lnTo>
                      <a:pt x="2664190" y="792163"/>
                    </a:lnTo>
                    <a:lnTo>
                      <a:pt x="2668953" y="850900"/>
                    </a:lnTo>
                    <a:lnTo>
                      <a:pt x="2695455" y="847003"/>
                    </a:lnTo>
                    <a:lnTo>
                      <a:pt x="2695304" y="848457"/>
                    </a:lnTo>
                    <a:cubicBezTo>
                      <a:pt x="2723381" y="932705"/>
                      <a:pt x="2723381" y="988870"/>
                      <a:pt x="2723381" y="1073117"/>
                    </a:cubicBezTo>
                    <a:cubicBezTo>
                      <a:pt x="2723381" y="1101200"/>
                      <a:pt x="2723381" y="1101200"/>
                      <a:pt x="2695304" y="1129282"/>
                    </a:cubicBezTo>
                    <a:cubicBezTo>
                      <a:pt x="2695304" y="1129282"/>
                      <a:pt x="2667228" y="1129282"/>
                      <a:pt x="2667228" y="1157365"/>
                    </a:cubicBezTo>
                    <a:cubicBezTo>
                      <a:pt x="2639152" y="1157365"/>
                      <a:pt x="2639152" y="1157365"/>
                      <a:pt x="2639152" y="1157365"/>
                    </a:cubicBezTo>
                    <a:cubicBezTo>
                      <a:pt x="2611076" y="1185448"/>
                      <a:pt x="2611076" y="1157365"/>
                      <a:pt x="2583000" y="1129282"/>
                    </a:cubicBezTo>
                    <a:cubicBezTo>
                      <a:pt x="2583000" y="1129282"/>
                      <a:pt x="2583000" y="1129282"/>
                      <a:pt x="2554924" y="1129282"/>
                    </a:cubicBezTo>
                    <a:cubicBezTo>
                      <a:pt x="2554924" y="1129282"/>
                      <a:pt x="2554924" y="1129282"/>
                      <a:pt x="2526848" y="1129282"/>
                    </a:cubicBezTo>
                    <a:cubicBezTo>
                      <a:pt x="2498772" y="1157365"/>
                      <a:pt x="2498772" y="1129282"/>
                      <a:pt x="2470696" y="1157365"/>
                    </a:cubicBezTo>
                    <a:cubicBezTo>
                      <a:pt x="2470696" y="1157365"/>
                      <a:pt x="2470696" y="1157365"/>
                      <a:pt x="2470696" y="1185448"/>
                    </a:cubicBezTo>
                    <a:cubicBezTo>
                      <a:pt x="2470696" y="1213530"/>
                      <a:pt x="2470696" y="1213530"/>
                      <a:pt x="2470696" y="1213530"/>
                    </a:cubicBezTo>
                    <a:cubicBezTo>
                      <a:pt x="2470696" y="1213530"/>
                      <a:pt x="2470696" y="1213530"/>
                      <a:pt x="2470696" y="1241613"/>
                    </a:cubicBezTo>
                    <a:cubicBezTo>
                      <a:pt x="2470696" y="1241613"/>
                      <a:pt x="2442620" y="1241613"/>
                      <a:pt x="2442620" y="1269695"/>
                    </a:cubicBezTo>
                    <a:cubicBezTo>
                      <a:pt x="2442620" y="1269695"/>
                      <a:pt x="2414544" y="1297778"/>
                      <a:pt x="2414544" y="1297778"/>
                    </a:cubicBezTo>
                    <a:cubicBezTo>
                      <a:pt x="2414544" y="1325860"/>
                      <a:pt x="2414544" y="1353943"/>
                      <a:pt x="2442620" y="1353943"/>
                    </a:cubicBezTo>
                    <a:cubicBezTo>
                      <a:pt x="2470696" y="1353943"/>
                      <a:pt x="2470696" y="1353943"/>
                      <a:pt x="2498772" y="1353943"/>
                    </a:cubicBezTo>
                    <a:cubicBezTo>
                      <a:pt x="2498772" y="1353943"/>
                      <a:pt x="2526848" y="1353943"/>
                      <a:pt x="2554924" y="1353943"/>
                    </a:cubicBezTo>
                    <a:cubicBezTo>
                      <a:pt x="2554924" y="1353943"/>
                      <a:pt x="2554924" y="1382025"/>
                      <a:pt x="2583000" y="1382025"/>
                    </a:cubicBezTo>
                    <a:cubicBezTo>
                      <a:pt x="2611076" y="1382025"/>
                      <a:pt x="2611076" y="1382025"/>
                      <a:pt x="2639152" y="1410108"/>
                    </a:cubicBezTo>
                    <a:cubicBezTo>
                      <a:pt x="2667228" y="1438190"/>
                      <a:pt x="2695304" y="1438190"/>
                      <a:pt x="2695304" y="1494355"/>
                    </a:cubicBezTo>
                    <a:cubicBezTo>
                      <a:pt x="2695304" y="1522438"/>
                      <a:pt x="2723381" y="1522438"/>
                      <a:pt x="2751457" y="1550521"/>
                    </a:cubicBezTo>
                    <a:cubicBezTo>
                      <a:pt x="2751457" y="1550521"/>
                      <a:pt x="2751457" y="1550521"/>
                      <a:pt x="2751457" y="1578603"/>
                    </a:cubicBezTo>
                    <a:cubicBezTo>
                      <a:pt x="2779533" y="1606686"/>
                      <a:pt x="2779533" y="1606686"/>
                      <a:pt x="2807609" y="1606686"/>
                    </a:cubicBezTo>
                    <a:cubicBezTo>
                      <a:pt x="2807609" y="1606686"/>
                      <a:pt x="2835685" y="1634768"/>
                      <a:pt x="2835685" y="1634768"/>
                    </a:cubicBezTo>
                    <a:cubicBezTo>
                      <a:pt x="2835685" y="1662851"/>
                      <a:pt x="2835685" y="1662851"/>
                      <a:pt x="2863761" y="1662851"/>
                    </a:cubicBezTo>
                    <a:cubicBezTo>
                      <a:pt x="2891837" y="1662851"/>
                      <a:pt x="2919913" y="1747098"/>
                      <a:pt x="2919913" y="1775181"/>
                    </a:cubicBezTo>
                    <a:cubicBezTo>
                      <a:pt x="2919913" y="1803263"/>
                      <a:pt x="2919913" y="1803263"/>
                      <a:pt x="2947989" y="1831346"/>
                    </a:cubicBezTo>
                    <a:cubicBezTo>
                      <a:pt x="2947989" y="1859429"/>
                      <a:pt x="2947989" y="1859429"/>
                      <a:pt x="2976065" y="1887511"/>
                    </a:cubicBezTo>
                    <a:cubicBezTo>
                      <a:pt x="2976065" y="1915594"/>
                      <a:pt x="2976065" y="1915594"/>
                      <a:pt x="2976065" y="1943676"/>
                    </a:cubicBezTo>
                    <a:cubicBezTo>
                      <a:pt x="2976065" y="1971759"/>
                      <a:pt x="2976065" y="1971759"/>
                      <a:pt x="3004141" y="1971759"/>
                    </a:cubicBezTo>
                    <a:cubicBezTo>
                      <a:pt x="3004141" y="1999841"/>
                      <a:pt x="3004141" y="1999841"/>
                      <a:pt x="3004141" y="1999841"/>
                    </a:cubicBezTo>
                    <a:cubicBezTo>
                      <a:pt x="3004141" y="2027924"/>
                      <a:pt x="3032218" y="2027924"/>
                      <a:pt x="3032218" y="2056006"/>
                    </a:cubicBezTo>
                    <a:cubicBezTo>
                      <a:pt x="3060294" y="2056006"/>
                      <a:pt x="3032218" y="2084089"/>
                      <a:pt x="3060294" y="2084089"/>
                    </a:cubicBezTo>
                    <a:cubicBezTo>
                      <a:pt x="3060294" y="2112171"/>
                      <a:pt x="3088370" y="2084089"/>
                      <a:pt x="3088370" y="2084089"/>
                    </a:cubicBezTo>
                    <a:cubicBezTo>
                      <a:pt x="3088370" y="2056006"/>
                      <a:pt x="3116446" y="2084089"/>
                      <a:pt x="3116446" y="2084089"/>
                    </a:cubicBezTo>
                    <a:cubicBezTo>
                      <a:pt x="3144522" y="2084089"/>
                      <a:pt x="3144522" y="2084089"/>
                      <a:pt x="3172598" y="2084089"/>
                    </a:cubicBezTo>
                    <a:cubicBezTo>
                      <a:pt x="3172598" y="2084089"/>
                      <a:pt x="3200674" y="2112171"/>
                      <a:pt x="3200674" y="2112171"/>
                    </a:cubicBezTo>
                    <a:cubicBezTo>
                      <a:pt x="3172598" y="2140254"/>
                      <a:pt x="3200674" y="2140254"/>
                      <a:pt x="3200674" y="2140254"/>
                    </a:cubicBezTo>
                    <a:cubicBezTo>
                      <a:pt x="3200674" y="2168336"/>
                      <a:pt x="3172598" y="2196419"/>
                      <a:pt x="3172598" y="2196419"/>
                    </a:cubicBezTo>
                    <a:cubicBezTo>
                      <a:pt x="3172598" y="2252584"/>
                      <a:pt x="3200674" y="2280667"/>
                      <a:pt x="3228750" y="2308749"/>
                    </a:cubicBezTo>
                    <a:cubicBezTo>
                      <a:pt x="3228750" y="2308749"/>
                      <a:pt x="3228750" y="2308749"/>
                      <a:pt x="3200674" y="2308749"/>
                    </a:cubicBezTo>
                    <a:cubicBezTo>
                      <a:pt x="3200674" y="2336832"/>
                      <a:pt x="3172598" y="2336832"/>
                      <a:pt x="3144522" y="2308749"/>
                    </a:cubicBezTo>
                    <a:cubicBezTo>
                      <a:pt x="3144522" y="2308749"/>
                      <a:pt x="3116446" y="2280667"/>
                      <a:pt x="3116446" y="2280667"/>
                    </a:cubicBezTo>
                    <a:cubicBezTo>
                      <a:pt x="3116446" y="2252584"/>
                      <a:pt x="3116446" y="2224502"/>
                      <a:pt x="3116446" y="2224502"/>
                    </a:cubicBezTo>
                    <a:cubicBezTo>
                      <a:pt x="3088370" y="2224502"/>
                      <a:pt x="3088370" y="2224502"/>
                      <a:pt x="3060294" y="2196419"/>
                    </a:cubicBezTo>
                    <a:cubicBezTo>
                      <a:pt x="3063804" y="2189399"/>
                      <a:pt x="3066436" y="2184133"/>
                      <a:pt x="3068355" y="2180294"/>
                    </a:cubicBezTo>
                    <a:lnTo>
                      <a:pt x="3069468" y="2178068"/>
                    </a:lnTo>
                    <a:lnTo>
                      <a:pt x="3070823" y="2175357"/>
                    </a:lnTo>
                    <a:cubicBezTo>
                      <a:pt x="3072577" y="2171847"/>
                      <a:pt x="3073455" y="2170092"/>
                      <a:pt x="3072139" y="2172724"/>
                    </a:cubicBezTo>
                    <a:lnTo>
                      <a:pt x="3069468" y="2178068"/>
                    </a:lnTo>
                    <a:lnTo>
                      <a:pt x="3064242" y="2188521"/>
                    </a:lnTo>
                    <a:cubicBezTo>
                      <a:pt x="3062049" y="2192909"/>
                      <a:pt x="3060294" y="2196419"/>
                      <a:pt x="3060294" y="2196419"/>
                    </a:cubicBezTo>
                    <a:cubicBezTo>
                      <a:pt x="3032218" y="2196419"/>
                      <a:pt x="3032218" y="2196419"/>
                      <a:pt x="3004141" y="2196419"/>
                    </a:cubicBezTo>
                    <a:cubicBezTo>
                      <a:pt x="2976065" y="2224502"/>
                      <a:pt x="2976065" y="2224502"/>
                      <a:pt x="2947989" y="2224502"/>
                    </a:cubicBezTo>
                    <a:cubicBezTo>
                      <a:pt x="2891837" y="2252584"/>
                      <a:pt x="2863761" y="2280667"/>
                      <a:pt x="2807609" y="2308749"/>
                    </a:cubicBezTo>
                    <a:cubicBezTo>
                      <a:pt x="2779533" y="2336832"/>
                      <a:pt x="2751457" y="2392997"/>
                      <a:pt x="2723381" y="2421079"/>
                    </a:cubicBezTo>
                    <a:cubicBezTo>
                      <a:pt x="2667228" y="2477244"/>
                      <a:pt x="2639152" y="2505327"/>
                      <a:pt x="2611076" y="2561492"/>
                    </a:cubicBezTo>
                    <a:cubicBezTo>
                      <a:pt x="2583000" y="2589575"/>
                      <a:pt x="2583000" y="2589575"/>
                      <a:pt x="2554924" y="2589575"/>
                    </a:cubicBezTo>
                    <a:cubicBezTo>
                      <a:pt x="2526848" y="2589575"/>
                      <a:pt x="2498772" y="2589575"/>
                      <a:pt x="2470696" y="2589575"/>
                    </a:cubicBezTo>
                    <a:cubicBezTo>
                      <a:pt x="2470696" y="2589575"/>
                      <a:pt x="2442620" y="2561492"/>
                      <a:pt x="2442620" y="2561492"/>
                    </a:cubicBezTo>
                    <a:cubicBezTo>
                      <a:pt x="2414544" y="2561492"/>
                      <a:pt x="2386468" y="2561492"/>
                      <a:pt x="2386468" y="2589575"/>
                    </a:cubicBezTo>
                    <a:cubicBezTo>
                      <a:pt x="2330315" y="2589575"/>
                      <a:pt x="2274163" y="2589575"/>
                      <a:pt x="2246087" y="2617657"/>
                    </a:cubicBezTo>
                    <a:cubicBezTo>
                      <a:pt x="2246087" y="2617657"/>
                      <a:pt x="2218011" y="2617657"/>
                      <a:pt x="2218011" y="2617657"/>
                    </a:cubicBezTo>
                    <a:cubicBezTo>
                      <a:pt x="2218011" y="2645740"/>
                      <a:pt x="2218011" y="2645740"/>
                      <a:pt x="2218011" y="2645740"/>
                    </a:cubicBezTo>
                    <a:cubicBezTo>
                      <a:pt x="2218011" y="2673822"/>
                      <a:pt x="2218011" y="2673822"/>
                      <a:pt x="2189935" y="2673822"/>
                    </a:cubicBezTo>
                    <a:cubicBezTo>
                      <a:pt x="2189935" y="2645740"/>
                      <a:pt x="2189935" y="2645740"/>
                      <a:pt x="2161859" y="2645740"/>
                    </a:cubicBezTo>
                    <a:cubicBezTo>
                      <a:pt x="2161859" y="2645740"/>
                      <a:pt x="2133783" y="2645740"/>
                      <a:pt x="2133783" y="2617657"/>
                    </a:cubicBezTo>
                    <a:cubicBezTo>
                      <a:pt x="2133783" y="2617657"/>
                      <a:pt x="2105707" y="2561492"/>
                      <a:pt x="2105707" y="2561492"/>
                    </a:cubicBezTo>
                    <a:cubicBezTo>
                      <a:pt x="2077631" y="2589575"/>
                      <a:pt x="2077631" y="2589575"/>
                      <a:pt x="2077631" y="2589575"/>
                    </a:cubicBezTo>
                    <a:cubicBezTo>
                      <a:pt x="2077631" y="2589575"/>
                      <a:pt x="2021478" y="2617657"/>
                      <a:pt x="2021478" y="2617657"/>
                    </a:cubicBezTo>
                    <a:cubicBezTo>
                      <a:pt x="1993402" y="2617657"/>
                      <a:pt x="1965326" y="2561492"/>
                      <a:pt x="1937250" y="2589575"/>
                    </a:cubicBezTo>
                    <a:cubicBezTo>
                      <a:pt x="1881098" y="2589575"/>
                      <a:pt x="1853022" y="2617657"/>
                      <a:pt x="1853022" y="2673822"/>
                    </a:cubicBezTo>
                    <a:cubicBezTo>
                      <a:pt x="1853022" y="2673822"/>
                      <a:pt x="1853022" y="2645740"/>
                      <a:pt x="1853022" y="2645740"/>
                    </a:cubicBezTo>
                    <a:cubicBezTo>
                      <a:pt x="1853022" y="2645740"/>
                      <a:pt x="1824946" y="2645740"/>
                      <a:pt x="1824946" y="2617657"/>
                    </a:cubicBezTo>
                    <a:cubicBezTo>
                      <a:pt x="1824946" y="2617657"/>
                      <a:pt x="1768794" y="2645740"/>
                      <a:pt x="1768794" y="2617657"/>
                    </a:cubicBezTo>
                    <a:cubicBezTo>
                      <a:pt x="1768794" y="2617657"/>
                      <a:pt x="1768794" y="2561492"/>
                      <a:pt x="1768794" y="2561492"/>
                    </a:cubicBezTo>
                    <a:cubicBezTo>
                      <a:pt x="1740718" y="2561492"/>
                      <a:pt x="1712641" y="2533410"/>
                      <a:pt x="1712641" y="2533410"/>
                    </a:cubicBezTo>
                    <a:cubicBezTo>
                      <a:pt x="1712641" y="2533410"/>
                      <a:pt x="1684565" y="2533410"/>
                      <a:pt x="1656489" y="2533410"/>
                    </a:cubicBezTo>
                    <a:cubicBezTo>
                      <a:pt x="1656489" y="2505327"/>
                      <a:pt x="1656489" y="2505327"/>
                      <a:pt x="1656489" y="2477244"/>
                    </a:cubicBezTo>
                    <a:cubicBezTo>
                      <a:pt x="1656489" y="2477244"/>
                      <a:pt x="1628413" y="2477244"/>
                      <a:pt x="1628413" y="2449162"/>
                    </a:cubicBezTo>
                    <a:cubicBezTo>
                      <a:pt x="1628413" y="2449162"/>
                      <a:pt x="1600337" y="2449162"/>
                      <a:pt x="1600337" y="2449162"/>
                    </a:cubicBezTo>
                    <a:cubicBezTo>
                      <a:pt x="1600337" y="2421079"/>
                      <a:pt x="1600337" y="2421079"/>
                      <a:pt x="1600337" y="2421079"/>
                    </a:cubicBezTo>
                    <a:cubicBezTo>
                      <a:pt x="1544185" y="2392997"/>
                      <a:pt x="1544185" y="2392997"/>
                      <a:pt x="1544185" y="2364914"/>
                    </a:cubicBezTo>
                    <a:cubicBezTo>
                      <a:pt x="1572261" y="2336832"/>
                      <a:pt x="1544185" y="2336832"/>
                      <a:pt x="1544185" y="2336832"/>
                    </a:cubicBezTo>
                    <a:cubicBezTo>
                      <a:pt x="1516109" y="2336832"/>
                      <a:pt x="1516109" y="2308749"/>
                      <a:pt x="1516109" y="2308749"/>
                    </a:cubicBezTo>
                    <a:cubicBezTo>
                      <a:pt x="1488033" y="2308749"/>
                      <a:pt x="1488033" y="2308749"/>
                      <a:pt x="1459957" y="2308749"/>
                    </a:cubicBezTo>
                    <a:cubicBezTo>
                      <a:pt x="1459957" y="2308749"/>
                      <a:pt x="1459957" y="2336832"/>
                      <a:pt x="1459957" y="2336832"/>
                    </a:cubicBezTo>
                    <a:cubicBezTo>
                      <a:pt x="1459957" y="2336832"/>
                      <a:pt x="1431881" y="2392997"/>
                      <a:pt x="1431881" y="2392997"/>
                    </a:cubicBezTo>
                    <a:cubicBezTo>
                      <a:pt x="1403805" y="2392997"/>
                      <a:pt x="1403805" y="2392997"/>
                      <a:pt x="1403805" y="2392997"/>
                    </a:cubicBezTo>
                    <a:cubicBezTo>
                      <a:pt x="1403805" y="2421079"/>
                      <a:pt x="1375728" y="2392997"/>
                      <a:pt x="1375728" y="2392997"/>
                    </a:cubicBezTo>
                    <a:cubicBezTo>
                      <a:pt x="1375728" y="2364914"/>
                      <a:pt x="1347652" y="2364914"/>
                      <a:pt x="1347652" y="2364914"/>
                    </a:cubicBezTo>
                    <a:cubicBezTo>
                      <a:pt x="1319576" y="2364914"/>
                      <a:pt x="1319576" y="2364914"/>
                      <a:pt x="1291500" y="2364914"/>
                    </a:cubicBezTo>
                    <a:cubicBezTo>
                      <a:pt x="1291500" y="2364914"/>
                      <a:pt x="1291500" y="2336832"/>
                      <a:pt x="1263424" y="2336832"/>
                    </a:cubicBezTo>
                    <a:cubicBezTo>
                      <a:pt x="1263424" y="2336832"/>
                      <a:pt x="1263424" y="2364914"/>
                      <a:pt x="1235348" y="2364914"/>
                    </a:cubicBezTo>
                    <a:cubicBezTo>
                      <a:pt x="1235348" y="2392997"/>
                      <a:pt x="1207272" y="2392997"/>
                      <a:pt x="1207272" y="2421079"/>
                    </a:cubicBezTo>
                    <a:cubicBezTo>
                      <a:pt x="1179196" y="2421079"/>
                      <a:pt x="1179196" y="2421079"/>
                      <a:pt x="1179196" y="2421079"/>
                    </a:cubicBezTo>
                    <a:cubicBezTo>
                      <a:pt x="1151120" y="2421079"/>
                      <a:pt x="1179196" y="2392997"/>
                      <a:pt x="1151120" y="2392997"/>
                    </a:cubicBezTo>
                    <a:cubicBezTo>
                      <a:pt x="1123044" y="2392997"/>
                      <a:pt x="1123044" y="2392997"/>
                      <a:pt x="1094968" y="2392997"/>
                    </a:cubicBezTo>
                    <a:cubicBezTo>
                      <a:pt x="1066891" y="2364914"/>
                      <a:pt x="1094968" y="2336832"/>
                      <a:pt x="1066891" y="2336832"/>
                    </a:cubicBezTo>
                    <a:cubicBezTo>
                      <a:pt x="1066891" y="2336832"/>
                      <a:pt x="1038815" y="2336832"/>
                      <a:pt x="1010739" y="2336832"/>
                    </a:cubicBezTo>
                    <a:cubicBezTo>
                      <a:pt x="1010739" y="2308749"/>
                      <a:pt x="1010739" y="2308749"/>
                      <a:pt x="1010739" y="2280667"/>
                    </a:cubicBezTo>
                    <a:cubicBezTo>
                      <a:pt x="1010739" y="2280667"/>
                      <a:pt x="982663" y="2280667"/>
                      <a:pt x="982663" y="2252584"/>
                    </a:cubicBezTo>
                    <a:cubicBezTo>
                      <a:pt x="982663" y="2224502"/>
                      <a:pt x="954587" y="2252584"/>
                      <a:pt x="954587" y="2224502"/>
                    </a:cubicBezTo>
                    <a:cubicBezTo>
                      <a:pt x="926511" y="2224502"/>
                      <a:pt x="926511" y="2196419"/>
                      <a:pt x="926511" y="2196419"/>
                    </a:cubicBezTo>
                    <a:cubicBezTo>
                      <a:pt x="898435" y="2168336"/>
                      <a:pt x="898435" y="2140254"/>
                      <a:pt x="870359" y="2140254"/>
                    </a:cubicBezTo>
                    <a:cubicBezTo>
                      <a:pt x="870359" y="2112171"/>
                      <a:pt x="870359" y="2084089"/>
                      <a:pt x="870359" y="2084089"/>
                    </a:cubicBezTo>
                    <a:cubicBezTo>
                      <a:pt x="870359" y="2056006"/>
                      <a:pt x="870359" y="2027924"/>
                      <a:pt x="870359" y="2027924"/>
                    </a:cubicBezTo>
                    <a:cubicBezTo>
                      <a:pt x="870359" y="2027924"/>
                      <a:pt x="842283" y="2027924"/>
                      <a:pt x="842283" y="1999841"/>
                    </a:cubicBezTo>
                    <a:cubicBezTo>
                      <a:pt x="842283" y="1971759"/>
                      <a:pt x="842283" y="1971759"/>
                      <a:pt x="814207" y="1971759"/>
                    </a:cubicBezTo>
                    <a:cubicBezTo>
                      <a:pt x="814207" y="1971759"/>
                      <a:pt x="814207" y="1943676"/>
                      <a:pt x="786131" y="1943676"/>
                    </a:cubicBezTo>
                    <a:cubicBezTo>
                      <a:pt x="758055" y="1943676"/>
                      <a:pt x="758055" y="1915594"/>
                      <a:pt x="758055" y="1943676"/>
                    </a:cubicBezTo>
                    <a:cubicBezTo>
                      <a:pt x="758055" y="1943676"/>
                      <a:pt x="758055" y="1915594"/>
                      <a:pt x="758055" y="1915594"/>
                    </a:cubicBezTo>
                    <a:cubicBezTo>
                      <a:pt x="729978" y="1915594"/>
                      <a:pt x="729978" y="1887511"/>
                      <a:pt x="701902" y="1887511"/>
                    </a:cubicBezTo>
                    <a:cubicBezTo>
                      <a:pt x="673826" y="1887511"/>
                      <a:pt x="673826" y="1887511"/>
                      <a:pt x="673826" y="1859429"/>
                    </a:cubicBezTo>
                    <a:cubicBezTo>
                      <a:pt x="645750" y="1859429"/>
                      <a:pt x="645750" y="1859429"/>
                      <a:pt x="645750" y="1859429"/>
                    </a:cubicBezTo>
                    <a:cubicBezTo>
                      <a:pt x="645750" y="1859429"/>
                      <a:pt x="673826" y="1859429"/>
                      <a:pt x="673826" y="1831346"/>
                    </a:cubicBezTo>
                    <a:cubicBezTo>
                      <a:pt x="645750" y="1831346"/>
                      <a:pt x="645750" y="1803263"/>
                      <a:pt x="645750" y="1803263"/>
                    </a:cubicBezTo>
                    <a:cubicBezTo>
                      <a:pt x="645750" y="1803263"/>
                      <a:pt x="645750" y="1803263"/>
                      <a:pt x="617674" y="1803263"/>
                    </a:cubicBezTo>
                    <a:cubicBezTo>
                      <a:pt x="617674" y="1803263"/>
                      <a:pt x="589598" y="1775181"/>
                      <a:pt x="589598" y="1775181"/>
                    </a:cubicBezTo>
                    <a:cubicBezTo>
                      <a:pt x="589598" y="1747098"/>
                      <a:pt x="617674" y="1719016"/>
                      <a:pt x="617674" y="1719016"/>
                    </a:cubicBezTo>
                    <a:cubicBezTo>
                      <a:pt x="617674" y="1690933"/>
                      <a:pt x="589598" y="1690933"/>
                      <a:pt x="589598" y="1662851"/>
                    </a:cubicBezTo>
                    <a:cubicBezTo>
                      <a:pt x="589598" y="1662851"/>
                      <a:pt x="561522" y="1634768"/>
                      <a:pt x="533446" y="1634768"/>
                    </a:cubicBezTo>
                    <a:cubicBezTo>
                      <a:pt x="533446" y="1606686"/>
                      <a:pt x="533446" y="1606686"/>
                      <a:pt x="533446" y="1578603"/>
                    </a:cubicBezTo>
                    <a:cubicBezTo>
                      <a:pt x="505370" y="1578603"/>
                      <a:pt x="477294" y="1578603"/>
                      <a:pt x="477294" y="1550521"/>
                    </a:cubicBezTo>
                    <a:cubicBezTo>
                      <a:pt x="449218" y="1522438"/>
                      <a:pt x="393065" y="1522438"/>
                      <a:pt x="364989" y="1494355"/>
                    </a:cubicBezTo>
                    <a:cubicBezTo>
                      <a:pt x="336913" y="1466273"/>
                      <a:pt x="336913" y="1438190"/>
                      <a:pt x="308837" y="1438190"/>
                    </a:cubicBezTo>
                    <a:cubicBezTo>
                      <a:pt x="308837" y="1438190"/>
                      <a:pt x="280761" y="1410108"/>
                      <a:pt x="308837" y="1410108"/>
                    </a:cubicBezTo>
                    <a:cubicBezTo>
                      <a:pt x="336913" y="1382025"/>
                      <a:pt x="336913" y="1382025"/>
                      <a:pt x="308837" y="1353943"/>
                    </a:cubicBezTo>
                    <a:cubicBezTo>
                      <a:pt x="308837" y="1353943"/>
                      <a:pt x="308837" y="1297778"/>
                      <a:pt x="280761" y="1297778"/>
                    </a:cubicBezTo>
                    <a:cubicBezTo>
                      <a:pt x="252685" y="1297778"/>
                      <a:pt x="252685" y="1297778"/>
                      <a:pt x="252685" y="1297778"/>
                    </a:cubicBezTo>
                    <a:cubicBezTo>
                      <a:pt x="224609" y="1269695"/>
                      <a:pt x="224609" y="1241613"/>
                      <a:pt x="196533" y="1241613"/>
                    </a:cubicBezTo>
                    <a:cubicBezTo>
                      <a:pt x="196533" y="1213530"/>
                      <a:pt x="168457" y="1213530"/>
                      <a:pt x="140381" y="1213530"/>
                    </a:cubicBezTo>
                    <a:cubicBezTo>
                      <a:pt x="140381" y="1213530"/>
                      <a:pt x="112305" y="1213530"/>
                      <a:pt x="112305" y="1213530"/>
                    </a:cubicBezTo>
                    <a:cubicBezTo>
                      <a:pt x="112305" y="1213530"/>
                      <a:pt x="112305" y="1213530"/>
                      <a:pt x="84228" y="1185448"/>
                    </a:cubicBezTo>
                    <a:cubicBezTo>
                      <a:pt x="56152" y="1185448"/>
                      <a:pt x="0" y="1185448"/>
                      <a:pt x="0" y="1157365"/>
                    </a:cubicBezTo>
                    <a:cubicBezTo>
                      <a:pt x="28076" y="1129282"/>
                      <a:pt x="56152" y="1101200"/>
                      <a:pt x="28076" y="1073117"/>
                    </a:cubicBezTo>
                    <a:lnTo>
                      <a:pt x="32714" y="1081681"/>
                    </a:lnTo>
                    <a:lnTo>
                      <a:pt x="98790" y="1030288"/>
                    </a:lnTo>
                    <a:lnTo>
                      <a:pt x="124190" y="1042988"/>
                    </a:lnTo>
                    <a:lnTo>
                      <a:pt x="144828" y="1030288"/>
                    </a:lnTo>
                    <a:lnTo>
                      <a:pt x="141653" y="984250"/>
                    </a:lnTo>
                    <a:lnTo>
                      <a:pt x="178165" y="927100"/>
                    </a:lnTo>
                    <a:lnTo>
                      <a:pt x="176578" y="869950"/>
                    </a:lnTo>
                    <a:lnTo>
                      <a:pt x="206740" y="833438"/>
                    </a:lnTo>
                    <a:lnTo>
                      <a:pt x="203565" y="735013"/>
                    </a:lnTo>
                    <a:lnTo>
                      <a:pt x="249603" y="701675"/>
                    </a:lnTo>
                    <a:cubicBezTo>
                      <a:pt x="253836" y="699558"/>
                      <a:pt x="258310" y="697866"/>
                      <a:pt x="262303" y="695325"/>
                    </a:cubicBezTo>
                    <a:cubicBezTo>
                      <a:pt x="264197" y="694120"/>
                      <a:pt x="265340" y="692000"/>
                      <a:pt x="267065" y="690563"/>
                    </a:cubicBezTo>
                    <a:cubicBezTo>
                      <a:pt x="268531" y="689342"/>
                      <a:pt x="270240" y="688446"/>
                      <a:pt x="271828" y="687388"/>
                    </a:cubicBezTo>
                    <a:cubicBezTo>
                      <a:pt x="270770" y="685800"/>
                      <a:pt x="269506" y="684332"/>
                      <a:pt x="268653" y="682625"/>
                    </a:cubicBezTo>
                    <a:cubicBezTo>
                      <a:pt x="267905" y="681128"/>
                      <a:pt x="268110" y="679170"/>
                      <a:pt x="267065" y="677863"/>
                    </a:cubicBezTo>
                    <a:cubicBezTo>
                      <a:pt x="265873" y="676373"/>
                      <a:pt x="262303" y="674688"/>
                      <a:pt x="262303" y="674688"/>
                    </a:cubicBezTo>
                    <a:lnTo>
                      <a:pt x="263890" y="641350"/>
                    </a:lnTo>
                    <a:lnTo>
                      <a:pt x="289290" y="593725"/>
                    </a:lnTo>
                    <a:lnTo>
                      <a:pt x="389303" y="579438"/>
                    </a:lnTo>
                    <a:lnTo>
                      <a:pt x="427403" y="566738"/>
                    </a:lnTo>
                    <a:lnTo>
                      <a:pt x="459153" y="560388"/>
                    </a:lnTo>
                    <a:lnTo>
                      <a:pt x="511540" y="555625"/>
                    </a:lnTo>
                    <a:lnTo>
                      <a:pt x="503603" y="633413"/>
                    </a:lnTo>
                    <a:lnTo>
                      <a:pt x="522653" y="630238"/>
                    </a:lnTo>
                    <a:lnTo>
                      <a:pt x="533765" y="647700"/>
                    </a:lnTo>
                    <a:lnTo>
                      <a:pt x="548053" y="687388"/>
                    </a:lnTo>
                    <a:lnTo>
                      <a:pt x="579803" y="708025"/>
                    </a:lnTo>
                    <a:lnTo>
                      <a:pt x="651240" y="796925"/>
                    </a:lnTo>
                    <a:lnTo>
                      <a:pt x="678228" y="841375"/>
                    </a:lnTo>
                    <a:lnTo>
                      <a:pt x="697278" y="846138"/>
                    </a:lnTo>
                    <a:lnTo>
                      <a:pt x="724265" y="846138"/>
                    </a:lnTo>
                    <a:lnTo>
                      <a:pt x="771890" y="827088"/>
                    </a:lnTo>
                    <a:lnTo>
                      <a:pt x="822690" y="798513"/>
                    </a:lnTo>
                    <a:lnTo>
                      <a:pt x="868728" y="798513"/>
                    </a:lnTo>
                    <a:lnTo>
                      <a:pt x="949690" y="803275"/>
                    </a:lnTo>
                    <a:lnTo>
                      <a:pt x="1035415" y="812800"/>
                    </a:lnTo>
                    <a:lnTo>
                      <a:pt x="1086215" y="895350"/>
                    </a:lnTo>
                    <a:lnTo>
                      <a:pt x="1298940" y="887413"/>
                    </a:lnTo>
                    <a:lnTo>
                      <a:pt x="1302115" y="854075"/>
                    </a:lnTo>
                    <a:lnTo>
                      <a:pt x="1343390" y="812800"/>
                    </a:lnTo>
                    <a:cubicBezTo>
                      <a:pt x="1344699" y="811678"/>
                      <a:pt x="1357006" y="800712"/>
                      <a:pt x="1360853" y="798513"/>
                    </a:cubicBezTo>
                    <a:cubicBezTo>
                      <a:pt x="1362628" y="797499"/>
                      <a:pt x="1370585" y="795683"/>
                      <a:pt x="1371965" y="795338"/>
                    </a:cubicBezTo>
                    <a:cubicBezTo>
                      <a:pt x="1372494" y="793750"/>
                      <a:pt x="1372508" y="791882"/>
                      <a:pt x="1373553" y="790575"/>
                    </a:cubicBezTo>
                    <a:cubicBezTo>
                      <a:pt x="1376204" y="787261"/>
                      <a:pt x="1380954" y="786638"/>
                      <a:pt x="1384665" y="785813"/>
                    </a:cubicBezTo>
                    <a:cubicBezTo>
                      <a:pt x="1387299" y="785228"/>
                      <a:pt x="1389957" y="784754"/>
                      <a:pt x="1392603" y="784225"/>
                    </a:cubicBezTo>
                    <a:cubicBezTo>
                      <a:pt x="1394190" y="783167"/>
                      <a:pt x="1395579" y="781720"/>
                      <a:pt x="1397365" y="781050"/>
                    </a:cubicBezTo>
                    <a:cubicBezTo>
                      <a:pt x="1399892" y="780103"/>
                      <a:pt x="1405303" y="779463"/>
                      <a:pt x="1405303" y="779463"/>
                    </a:cubicBezTo>
                    <a:lnTo>
                      <a:pt x="1422765" y="769938"/>
                    </a:lnTo>
                    <a:lnTo>
                      <a:pt x="1460865" y="757238"/>
                    </a:lnTo>
                    <a:lnTo>
                      <a:pt x="1500553" y="727075"/>
                    </a:lnTo>
                    <a:lnTo>
                      <a:pt x="1511665" y="655638"/>
                    </a:lnTo>
                    <a:lnTo>
                      <a:pt x="1606915" y="601663"/>
                    </a:lnTo>
                    <a:lnTo>
                      <a:pt x="1743440" y="688975"/>
                    </a:lnTo>
                    <a:lnTo>
                      <a:pt x="1822815" y="765175"/>
                    </a:lnTo>
                    <a:lnTo>
                      <a:pt x="1879965" y="755650"/>
                    </a:lnTo>
                    <a:lnTo>
                      <a:pt x="1935528" y="749300"/>
                    </a:lnTo>
                    <a:lnTo>
                      <a:pt x="2008553" y="668338"/>
                    </a:lnTo>
                    <a:lnTo>
                      <a:pt x="2105390" y="568325"/>
                    </a:lnTo>
                    <a:lnTo>
                      <a:pt x="2130790" y="485775"/>
                    </a:lnTo>
                    <a:lnTo>
                      <a:pt x="2275253" y="361950"/>
                    </a:lnTo>
                    <a:lnTo>
                      <a:pt x="2248265" y="309563"/>
                    </a:lnTo>
                    <a:lnTo>
                      <a:pt x="2238740" y="155575"/>
                    </a:lnTo>
                    <a:lnTo>
                      <a:pt x="2170478" y="68263"/>
                    </a:lnTo>
                    <a:lnTo>
                      <a:pt x="2356215" y="68263"/>
                    </a:lnTo>
                    <a:lnTo>
                      <a:pt x="2343515" y="0"/>
                    </a:ln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2" name="South Africa">
                <a:extLst>
                  <a:ext uri="{FF2B5EF4-FFF2-40B4-BE49-F238E27FC236}">
                    <a16:creationId xmlns:a16="http://schemas.microsoft.com/office/drawing/2014/main" id="{342B6953-D8F2-673C-AF38-C09F6E5C34EA}"/>
                  </a:ext>
                </a:extLst>
              </p:cNvPr>
              <p:cNvSpPr>
                <a:spLocks noEditPoints="1"/>
              </p:cNvSpPr>
              <p:nvPr/>
            </p:nvSpPr>
            <p:spPr bwMode="auto">
              <a:xfrm>
                <a:off x="6253416" y="4905914"/>
                <a:ext cx="637107" cy="963502"/>
              </a:xfrm>
              <a:custGeom>
                <a:avLst/>
                <a:gdLst/>
                <a:ahLst/>
                <a:cxnLst>
                  <a:cxn ang="0">
                    <a:pos x="149" y="69"/>
                  </a:cxn>
                  <a:cxn ang="0">
                    <a:pos x="143" y="75"/>
                  </a:cxn>
                  <a:cxn ang="0">
                    <a:pos x="136" y="86"/>
                  </a:cxn>
                  <a:cxn ang="0">
                    <a:pos x="122" y="103"/>
                  </a:cxn>
                  <a:cxn ang="0">
                    <a:pos x="107" y="118"/>
                  </a:cxn>
                  <a:cxn ang="0">
                    <a:pos x="82" y="131"/>
                  </a:cxn>
                  <a:cxn ang="0">
                    <a:pos x="70" y="132"/>
                  </a:cxn>
                  <a:cxn ang="0">
                    <a:pos x="59" y="132"/>
                  </a:cxn>
                  <a:cxn ang="0">
                    <a:pos x="51" y="132"/>
                  </a:cxn>
                  <a:cxn ang="0">
                    <a:pos x="41" y="135"/>
                  </a:cxn>
                  <a:cxn ang="0">
                    <a:pos x="30" y="139"/>
                  </a:cxn>
                  <a:cxn ang="0">
                    <a:pos x="23" y="134"/>
                  </a:cxn>
                  <a:cxn ang="0">
                    <a:pos x="17" y="133"/>
                  </a:cxn>
                  <a:cxn ang="0">
                    <a:pos x="17" y="130"/>
                  </a:cxn>
                  <a:cxn ang="0">
                    <a:pos x="13" y="120"/>
                  </a:cxn>
                  <a:cxn ang="0">
                    <a:pos x="16" y="113"/>
                  </a:cxn>
                  <a:cxn ang="0">
                    <a:pos x="6" y="87"/>
                  </a:cxn>
                  <a:cxn ang="0">
                    <a:pos x="1" y="73"/>
                  </a:cxn>
                  <a:cxn ang="0">
                    <a:pos x="3" y="67"/>
                  </a:cxn>
                  <a:cxn ang="0">
                    <a:pos x="7" y="67"/>
                  </a:cxn>
                  <a:cxn ang="0">
                    <a:pos x="10" y="73"/>
                  </a:cxn>
                  <a:cxn ang="0">
                    <a:pos x="22" y="74"/>
                  </a:cxn>
                  <a:cxn ang="0">
                    <a:pos x="28" y="73"/>
                  </a:cxn>
                  <a:cxn ang="0">
                    <a:pos x="33" y="59"/>
                  </a:cxn>
                  <a:cxn ang="0">
                    <a:pos x="40" y="36"/>
                  </a:cxn>
                  <a:cxn ang="0">
                    <a:pos x="41" y="40"/>
                  </a:cxn>
                  <a:cxn ang="0">
                    <a:pos x="39" y="49"/>
                  </a:cxn>
                  <a:cxn ang="0">
                    <a:pos x="50" y="51"/>
                  </a:cxn>
                  <a:cxn ang="0">
                    <a:pos x="57" y="45"/>
                  </a:cxn>
                  <a:cxn ang="0">
                    <a:pos x="60" y="39"/>
                  </a:cxn>
                  <a:cxn ang="0">
                    <a:pos x="66" y="35"/>
                  </a:cxn>
                  <a:cxn ang="0">
                    <a:pos x="72" y="39"/>
                  </a:cxn>
                  <a:cxn ang="0">
                    <a:pos x="80" y="40"/>
                  </a:cxn>
                  <a:cxn ang="0">
                    <a:pos x="92" y="29"/>
                  </a:cxn>
                  <a:cxn ang="0">
                    <a:pos x="100" y="19"/>
                  </a:cxn>
                  <a:cxn ang="0">
                    <a:pos x="102" y="16"/>
                  </a:cxn>
                  <a:cxn ang="0">
                    <a:pos x="106" y="13"/>
                  </a:cxn>
                  <a:cxn ang="0">
                    <a:pos x="110" y="9"/>
                  </a:cxn>
                  <a:cxn ang="0">
                    <a:pos x="119" y="4"/>
                  </a:cxn>
                  <a:cxn ang="0">
                    <a:pos x="131" y="2"/>
                  </a:cxn>
                  <a:cxn ang="0">
                    <a:pos x="142" y="3"/>
                  </a:cxn>
                  <a:cxn ang="0">
                    <a:pos x="146" y="19"/>
                  </a:cxn>
                  <a:cxn ang="0">
                    <a:pos x="147" y="37"/>
                  </a:cxn>
                  <a:cxn ang="0">
                    <a:pos x="137" y="45"/>
                  </a:cxn>
                  <a:cxn ang="0">
                    <a:pos x="138" y="55"/>
                  </a:cxn>
                  <a:cxn ang="0">
                    <a:pos x="147" y="52"/>
                  </a:cxn>
                  <a:cxn ang="0">
                    <a:pos x="120" y="77"/>
                  </a:cxn>
                  <a:cxn ang="0">
                    <a:pos x="115" y="73"/>
                  </a:cxn>
                  <a:cxn ang="0">
                    <a:pos x="110" y="73"/>
                  </a:cxn>
                  <a:cxn ang="0">
                    <a:pos x="104" y="78"/>
                  </a:cxn>
                  <a:cxn ang="0">
                    <a:pos x="98" y="83"/>
                  </a:cxn>
                  <a:cxn ang="0">
                    <a:pos x="101" y="89"/>
                  </a:cxn>
                  <a:cxn ang="0">
                    <a:pos x="108" y="94"/>
                  </a:cxn>
                  <a:cxn ang="0">
                    <a:pos x="112" y="88"/>
                  </a:cxn>
                  <a:cxn ang="0">
                    <a:pos x="119" y="83"/>
                  </a:cxn>
                </a:cxnLst>
                <a:rect l="0" t="0" r="r" b="b"/>
                <a:pathLst>
                  <a:path w="180" h="272">
                    <a:moveTo>
                      <a:pt x="179" y="272"/>
                    </a:moveTo>
                    <a:cubicBezTo>
                      <a:pt x="179" y="272"/>
                      <a:pt x="178" y="272"/>
                      <a:pt x="177" y="272"/>
                    </a:cubicBezTo>
                    <a:cubicBezTo>
                      <a:pt x="176" y="272"/>
                      <a:pt x="177" y="270"/>
                      <a:pt x="179" y="271"/>
                    </a:cubicBezTo>
                    <a:cubicBezTo>
                      <a:pt x="179" y="271"/>
                      <a:pt x="180" y="272"/>
                      <a:pt x="179" y="272"/>
                    </a:cubicBezTo>
                    <a:close/>
                    <a:moveTo>
                      <a:pt x="152" y="61"/>
                    </a:moveTo>
                    <a:cubicBezTo>
                      <a:pt x="151" y="64"/>
                      <a:pt x="151" y="67"/>
                      <a:pt x="149" y="69"/>
                    </a:cubicBezTo>
                    <a:cubicBezTo>
                      <a:pt x="150" y="69"/>
                      <a:pt x="148" y="72"/>
                      <a:pt x="148" y="72"/>
                    </a:cubicBezTo>
                    <a:cubicBezTo>
                      <a:pt x="147" y="73"/>
                      <a:pt x="147" y="74"/>
                      <a:pt x="146" y="74"/>
                    </a:cubicBezTo>
                    <a:cubicBezTo>
                      <a:pt x="145" y="74"/>
                      <a:pt x="145" y="74"/>
                      <a:pt x="145" y="74"/>
                    </a:cubicBezTo>
                    <a:cubicBezTo>
                      <a:pt x="145" y="74"/>
                      <a:pt x="146" y="74"/>
                      <a:pt x="146" y="74"/>
                    </a:cubicBezTo>
                    <a:cubicBezTo>
                      <a:pt x="146" y="74"/>
                      <a:pt x="145" y="75"/>
                      <a:pt x="145" y="75"/>
                    </a:cubicBezTo>
                    <a:cubicBezTo>
                      <a:pt x="144" y="75"/>
                      <a:pt x="144" y="75"/>
                      <a:pt x="143" y="75"/>
                    </a:cubicBezTo>
                    <a:cubicBezTo>
                      <a:pt x="142" y="75"/>
                      <a:pt x="141" y="78"/>
                      <a:pt x="141" y="78"/>
                    </a:cubicBezTo>
                    <a:cubicBezTo>
                      <a:pt x="139" y="79"/>
                      <a:pt x="138" y="81"/>
                      <a:pt x="137" y="82"/>
                    </a:cubicBezTo>
                    <a:cubicBezTo>
                      <a:pt x="137" y="83"/>
                      <a:pt x="136" y="84"/>
                      <a:pt x="136" y="85"/>
                    </a:cubicBezTo>
                    <a:cubicBezTo>
                      <a:pt x="136" y="85"/>
                      <a:pt x="136" y="85"/>
                      <a:pt x="136" y="85"/>
                    </a:cubicBezTo>
                    <a:cubicBezTo>
                      <a:pt x="136" y="86"/>
                      <a:pt x="135" y="85"/>
                      <a:pt x="135" y="86"/>
                    </a:cubicBezTo>
                    <a:cubicBezTo>
                      <a:pt x="135" y="86"/>
                      <a:pt x="136" y="86"/>
                      <a:pt x="136" y="86"/>
                    </a:cubicBezTo>
                    <a:cubicBezTo>
                      <a:pt x="136" y="86"/>
                      <a:pt x="135" y="87"/>
                      <a:pt x="134" y="87"/>
                    </a:cubicBezTo>
                    <a:cubicBezTo>
                      <a:pt x="134" y="88"/>
                      <a:pt x="134" y="88"/>
                      <a:pt x="133" y="89"/>
                    </a:cubicBezTo>
                    <a:cubicBezTo>
                      <a:pt x="132" y="91"/>
                      <a:pt x="131" y="92"/>
                      <a:pt x="130" y="94"/>
                    </a:cubicBezTo>
                    <a:cubicBezTo>
                      <a:pt x="130" y="96"/>
                      <a:pt x="129" y="97"/>
                      <a:pt x="128" y="98"/>
                    </a:cubicBezTo>
                    <a:cubicBezTo>
                      <a:pt x="127" y="100"/>
                      <a:pt x="125" y="101"/>
                      <a:pt x="124" y="102"/>
                    </a:cubicBezTo>
                    <a:cubicBezTo>
                      <a:pt x="123" y="103"/>
                      <a:pt x="123" y="103"/>
                      <a:pt x="122" y="103"/>
                    </a:cubicBezTo>
                    <a:cubicBezTo>
                      <a:pt x="122" y="104"/>
                      <a:pt x="121" y="105"/>
                      <a:pt x="121" y="105"/>
                    </a:cubicBezTo>
                    <a:cubicBezTo>
                      <a:pt x="119" y="106"/>
                      <a:pt x="118" y="107"/>
                      <a:pt x="117" y="108"/>
                    </a:cubicBezTo>
                    <a:cubicBezTo>
                      <a:pt x="116" y="109"/>
                      <a:pt x="115" y="111"/>
                      <a:pt x="114" y="112"/>
                    </a:cubicBezTo>
                    <a:cubicBezTo>
                      <a:pt x="113" y="113"/>
                      <a:pt x="112" y="114"/>
                      <a:pt x="110" y="116"/>
                    </a:cubicBezTo>
                    <a:cubicBezTo>
                      <a:pt x="110" y="116"/>
                      <a:pt x="109" y="117"/>
                      <a:pt x="108" y="117"/>
                    </a:cubicBezTo>
                    <a:cubicBezTo>
                      <a:pt x="108" y="118"/>
                      <a:pt x="107" y="118"/>
                      <a:pt x="107" y="118"/>
                    </a:cubicBezTo>
                    <a:cubicBezTo>
                      <a:pt x="106" y="120"/>
                      <a:pt x="104" y="120"/>
                      <a:pt x="103" y="121"/>
                    </a:cubicBezTo>
                    <a:cubicBezTo>
                      <a:pt x="100" y="123"/>
                      <a:pt x="97" y="126"/>
                      <a:pt x="94" y="127"/>
                    </a:cubicBezTo>
                    <a:cubicBezTo>
                      <a:pt x="93" y="127"/>
                      <a:pt x="91" y="128"/>
                      <a:pt x="90" y="128"/>
                    </a:cubicBezTo>
                    <a:cubicBezTo>
                      <a:pt x="88" y="128"/>
                      <a:pt x="86" y="127"/>
                      <a:pt x="85" y="128"/>
                    </a:cubicBezTo>
                    <a:cubicBezTo>
                      <a:pt x="84" y="128"/>
                      <a:pt x="82" y="130"/>
                      <a:pt x="83" y="131"/>
                    </a:cubicBezTo>
                    <a:cubicBezTo>
                      <a:pt x="84" y="132"/>
                      <a:pt x="82" y="131"/>
                      <a:pt x="82" y="131"/>
                    </a:cubicBezTo>
                    <a:cubicBezTo>
                      <a:pt x="81" y="131"/>
                      <a:pt x="77" y="129"/>
                      <a:pt x="77" y="131"/>
                    </a:cubicBezTo>
                    <a:cubicBezTo>
                      <a:pt x="76" y="131"/>
                      <a:pt x="77" y="132"/>
                      <a:pt x="76" y="132"/>
                    </a:cubicBezTo>
                    <a:cubicBezTo>
                      <a:pt x="76" y="132"/>
                      <a:pt x="76" y="133"/>
                      <a:pt x="76" y="133"/>
                    </a:cubicBezTo>
                    <a:cubicBezTo>
                      <a:pt x="76" y="133"/>
                      <a:pt x="73" y="133"/>
                      <a:pt x="73" y="133"/>
                    </a:cubicBezTo>
                    <a:cubicBezTo>
                      <a:pt x="72" y="133"/>
                      <a:pt x="72" y="132"/>
                      <a:pt x="72" y="132"/>
                    </a:cubicBezTo>
                    <a:cubicBezTo>
                      <a:pt x="71" y="132"/>
                      <a:pt x="71" y="132"/>
                      <a:pt x="70" y="132"/>
                    </a:cubicBezTo>
                    <a:cubicBezTo>
                      <a:pt x="69" y="131"/>
                      <a:pt x="68" y="131"/>
                      <a:pt x="67" y="131"/>
                    </a:cubicBezTo>
                    <a:cubicBezTo>
                      <a:pt x="66" y="131"/>
                      <a:pt x="65" y="131"/>
                      <a:pt x="63" y="131"/>
                    </a:cubicBezTo>
                    <a:cubicBezTo>
                      <a:pt x="63" y="131"/>
                      <a:pt x="62" y="132"/>
                      <a:pt x="63" y="132"/>
                    </a:cubicBezTo>
                    <a:cubicBezTo>
                      <a:pt x="62" y="132"/>
                      <a:pt x="61" y="132"/>
                      <a:pt x="60" y="132"/>
                    </a:cubicBezTo>
                    <a:cubicBezTo>
                      <a:pt x="60" y="132"/>
                      <a:pt x="59" y="131"/>
                      <a:pt x="59" y="131"/>
                    </a:cubicBezTo>
                    <a:cubicBezTo>
                      <a:pt x="59" y="132"/>
                      <a:pt x="59" y="132"/>
                      <a:pt x="59" y="132"/>
                    </a:cubicBezTo>
                    <a:cubicBezTo>
                      <a:pt x="59" y="132"/>
                      <a:pt x="58" y="132"/>
                      <a:pt x="57" y="131"/>
                    </a:cubicBezTo>
                    <a:cubicBezTo>
                      <a:pt x="57" y="131"/>
                      <a:pt x="57" y="131"/>
                      <a:pt x="57" y="131"/>
                    </a:cubicBezTo>
                    <a:cubicBezTo>
                      <a:pt x="56" y="131"/>
                      <a:pt x="57" y="131"/>
                      <a:pt x="57" y="131"/>
                    </a:cubicBezTo>
                    <a:cubicBezTo>
                      <a:pt x="56" y="131"/>
                      <a:pt x="55" y="131"/>
                      <a:pt x="55" y="131"/>
                    </a:cubicBezTo>
                    <a:cubicBezTo>
                      <a:pt x="54" y="131"/>
                      <a:pt x="54" y="132"/>
                      <a:pt x="53" y="132"/>
                    </a:cubicBezTo>
                    <a:cubicBezTo>
                      <a:pt x="52" y="132"/>
                      <a:pt x="52" y="132"/>
                      <a:pt x="51" y="132"/>
                    </a:cubicBezTo>
                    <a:cubicBezTo>
                      <a:pt x="51" y="132"/>
                      <a:pt x="50" y="133"/>
                      <a:pt x="51" y="133"/>
                    </a:cubicBezTo>
                    <a:cubicBezTo>
                      <a:pt x="51" y="133"/>
                      <a:pt x="50" y="133"/>
                      <a:pt x="49" y="133"/>
                    </a:cubicBezTo>
                    <a:cubicBezTo>
                      <a:pt x="49" y="134"/>
                      <a:pt x="49" y="134"/>
                      <a:pt x="49" y="135"/>
                    </a:cubicBezTo>
                    <a:cubicBezTo>
                      <a:pt x="48" y="136"/>
                      <a:pt x="47" y="135"/>
                      <a:pt x="46" y="135"/>
                    </a:cubicBezTo>
                    <a:cubicBezTo>
                      <a:pt x="45" y="135"/>
                      <a:pt x="44" y="136"/>
                      <a:pt x="43" y="136"/>
                    </a:cubicBezTo>
                    <a:cubicBezTo>
                      <a:pt x="42" y="135"/>
                      <a:pt x="41" y="135"/>
                      <a:pt x="41" y="135"/>
                    </a:cubicBezTo>
                    <a:cubicBezTo>
                      <a:pt x="40" y="135"/>
                      <a:pt x="39" y="135"/>
                      <a:pt x="39" y="135"/>
                    </a:cubicBezTo>
                    <a:cubicBezTo>
                      <a:pt x="39" y="135"/>
                      <a:pt x="39" y="136"/>
                      <a:pt x="38" y="136"/>
                    </a:cubicBezTo>
                    <a:cubicBezTo>
                      <a:pt x="38" y="136"/>
                      <a:pt x="36" y="136"/>
                      <a:pt x="36" y="136"/>
                    </a:cubicBezTo>
                    <a:cubicBezTo>
                      <a:pt x="35" y="137"/>
                      <a:pt x="34" y="137"/>
                      <a:pt x="34" y="138"/>
                    </a:cubicBezTo>
                    <a:cubicBezTo>
                      <a:pt x="33" y="138"/>
                      <a:pt x="32" y="139"/>
                      <a:pt x="32" y="140"/>
                    </a:cubicBezTo>
                    <a:cubicBezTo>
                      <a:pt x="31" y="140"/>
                      <a:pt x="30" y="140"/>
                      <a:pt x="30" y="139"/>
                    </a:cubicBezTo>
                    <a:cubicBezTo>
                      <a:pt x="30" y="139"/>
                      <a:pt x="28" y="139"/>
                      <a:pt x="28" y="139"/>
                    </a:cubicBezTo>
                    <a:cubicBezTo>
                      <a:pt x="28" y="140"/>
                      <a:pt x="27" y="139"/>
                      <a:pt x="27" y="138"/>
                    </a:cubicBezTo>
                    <a:cubicBezTo>
                      <a:pt x="26" y="138"/>
                      <a:pt x="26" y="138"/>
                      <a:pt x="25" y="138"/>
                    </a:cubicBezTo>
                    <a:cubicBezTo>
                      <a:pt x="25" y="137"/>
                      <a:pt x="26" y="135"/>
                      <a:pt x="24" y="135"/>
                    </a:cubicBezTo>
                    <a:cubicBezTo>
                      <a:pt x="24" y="135"/>
                      <a:pt x="24" y="136"/>
                      <a:pt x="23" y="135"/>
                    </a:cubicBezTo>
                    <a:cubicBezTo>
                      <a:pt x="23" y="135"/>
                      <a:pt x="23" y="135"/>
                      <a:pt x="23" y="134"/>
                    </a:cubicBezTo>
                    <a:cubicBezTo>
                      <a:pt x="23" y="135"/>
                      <a:pt x="23" y="135"/>
                      <a:pt x="22" y="135"/>
                    </a:cubicBezTo>
                    <a:cubicBezTo>
                      <a:pt x="22" y="135"/>
                      <a:pt x="21" y="135"/>
                      <a:pt x="20" y="135"/>
                    </a:cubicBezTo>
                    <a:cubicBezTo>
                      <a:pt x="20" y="134"/>
                      <a:pt x="21" y="134"/>
                      <a:pt x="21" y="133"/>
                    </a:cubicBezTo>
                    <a:cubicBezTo>
                      <a:pt x="20" y="133"/>
                      <a:pt x="21" y="133"/>
                      <a:pt x="20" y="132"/>
                    </a:cubicBezTo>
                    <a:cubicBezTo>
                      <a:pt x="20" y="131"/>
                      <a:pt x="18" y="132"/>
                      <a:pt x="18" y="132"/>
                    </a:cubicBezTo>
                    <a:cubicBezTo>
                      <a:pt x="17" y="132"/>
                      <a:pt x="17" y="132"/>
                      <a:pt x="17" y="133"/>
                    </a:cubicBezTo>
                    <a:cubicBezTo>
                      <a:pt x="17" y="133"/>
                      <a:pt x="17" y="133"/>
                      <a:pt x="17" y="134"/>
                    </a:cubicBezTo>
                    <a:cubicBezTo>
                      <a:pt x="17" y="134"/>
                      <a:pt x="17" y="134"/>
                      <a:pt x="17" y="135"/>
                    </a:cubicBezTo>
                    <a:cubicBezTo>
                      <a:pt x="16" y="135"/>
                      <a:pt x="17" y="134"/>
                      <a:pt x="16" y="133"/>
                    </a:cubicBezTo>
                    <a:cubicBezTo>
                      <a:pt x="16" y="133"/>
                      <a:pt x="16" y="133"/>
                      <a:pt x="16" y="132"/>
                    </a:cubicBezTo>
                    <a:cubicBezTo>
                      <a:pt x="16" y="132"/>
                      <a:pt x="16" y="132"/>
                      <a:pt x="16" y="132"/>
                    </a:cubicBezTo>
                    <a:cubicBezTo>
                      <a:pt x="16" y="132"/>
                      <a:pt x="16" y="130"/>
                      <a:pt x="17" y="130"/>
                    </a:cubicBezTo>
                    <a:cubicBezTo>
                      <a:pt x="18" y="130"/>
                      <a:pt x="17" y="127"/>
                      <a:pt x="17" y="127"/>
                    </a:cubicBezTo>
                    <a:cubicBezTo>
                      <a:pt x="16" y="126"/>
                      <a:pt x="16" y="126"/>
                      <a:pt x="16" y="125"/>
                    </a:cubicBezTo>
                    <a:cubicBezTo>
                      <a:pt x="15" y="124"/>
                      <a:pt x="15" y="124"/>
                      <a:pt x="14" y="123"/>
                    </a:cubicBezTo>
                    <a:cubicBezTo>
                      <a:pt x="14" y="123"/>
                      <a:pt x="12" y="121"/>
                      <a:pt x="13" y="121"/>
                    </a:cubicBezTo>
                    <a:cubicBezTo>
                      <a:pt x="13" y="121"/>
                      <a:pt x="14" y="122"/>
                      <a:pt x="14" y="122"/>
                    </a:cubicBezTo>
                    <a:cubicBezTo>
                      <a:pt x="14" y="122"/>
                      <a:pt x="13" y="119"/>
                      <a:pt x="13" y="120"/>
                    </a:cubicBezTo>
                    <a:cubicBezTo>
                      <a:pt x="12" y="121"/>
                      <a:pt x="12" y="119"/>
                      <a:pt x="12" y="118"/>
                    </a:cubicBezTo>
                    <a:cubicBezTo>
                      <a:pt x="12" y="118"/>
                      <a:pt x="12" y="118"/>
                      <a:pt x="12" y="118"/>
                    </a:cubicBezTo>
                    <a:cubicBezTo>
                      <a:pt x="12" y="118"/>
                      <a:pt x="12" y="116"/>
                      <a:pt x="13" y="117"/>
                    </a:cubicBezTo>
                    <a:cubicBezTo>
                      <a:pt x="14" y="117"/>
                      <a:pt x="14" y="118"/>
                      <a:pt x="14" y="117"/>
                    </a:cubicBezTo>
                    <a:cubicBezTo>
                      <a:pt x="15" y="117"/>
                      <a:pt x="16" y="116"/>
                      <a:pt x="16" y="116"/>
                    </a:cubicBezTo>
                    <a:cubicBezTo>
                      <a:pt x="16" y="115"/>
                      <a:pt x="17" y="114"/>
                      <a:pt x="16" y="113"/>
                    </a:cubicBezTo>
                    <a:cubicBezTo>
                      <a:pt x="16" y="113"/>
                      <a:pt x="17" y="112"/>
                      <a:pt x="17" y="111"/>
                    </a:cubicBezTo>
                    <a:cubicBezTo>
                      <a:pt x="16" y="109"/>
                      <a:pt x="16" y="108"/>
                      <a:pt x="16" y="106"/>
                    </a:cubicBezTo>
                    <a:cubicBezTo>
                      <a:pt x="15" y="105"/>
                      <a:pt x="14" y="103"/>
                      <a:pt x="13" y="102"/>
                    </a:cubicBezTo>
                    <a:cubicBezTo>
                      <a:pt x="12" y="101"/>
                      <a:pt x="11" y="99"/>
                      <a:pt x="10" y="97"/>
                    </a:cubicBezTo>
                    <a:cubicBezTo>
                      <a:pt x="10" y="96"/>
                      <a:pt x="9" y="94"/>
                      <a:pt x="8" y="93"/>
                    </a:cubicBezTo>
                    <a:cubicBezTo>
                      <a:pt x="7" y="91"/>
                      <a:pt x="7" y="89"/>
                      <a:pt x="6" y="87"/>
                    </a:cubicBezTo>
                    <a:cubicBezTo>
                      <a:pt x="6" y="86"/>
                      <a:pt x="5" y="84"/>
                      <a:pt x="5" y="82"/>
                    </a:cubicBezTo>
                    <a:cubicBezTo>
                      <a:pt x="5" y="81"/>
                      <a:pt x="4" y="80"/>
                      <a:pt x="4" y="80"/>
                    </a:cubicBezTo>
                    <a:cubicBezTo>
                      <a:pt x="4" y="79"/>
                      <a:pt x="4" y="78"/>
                      <a:pt x="3" y="77"/>
                    </a:cubicBezTo>
                    <a:cubicBezTo>
                      <a:pt x="3" y="77"/>
                      <a:pt x="2" y="76"/>
                      <a:pt x="2" y="75"/>
                    </a:cubicBezTo>
                    <a:cubicBezTo>
                      <a:pt x="2" y="75"/>
                      <a:pt x="1" y="75"/>
                      <a:pt x="1" y="74"/>
                    </a:cubicBezTo>
                    <a:cubicBezTo>
                      <a:pt x="1" y="74"/>
                      <a:pt x="1" y="73"/>
                      <a:pt x="1" y="73"/>
                    </a:cubicBezTo>
                    <a:cubicBezTo>
                      <a:pt x="0" y="72"/>
                      <a:pt x="0" y="71"/>
                      <a:pt x="1" y="71"/>
                    </a:cubicBezTo>
                    <a:cubicBezTo>
                      <a:pt x="1" y="71"/>
                      <a:pt x="2" y="70"/>
                      <a:pt x="2" y="70"/>
                    </a:cubicBezTo>
                    <a:cubicBezTo>
                      <a:pt x="2" y="71"/>
                      <a:pt x="3" y="70"/>
                      <a:pt x="3" y="70"/>
                    </a:cubicBezTo>
                    <a:cubicBezTo>
                      <a:pt x="3" y="69"/>
                      <a:pt x="3" y="69"/>
                      <a:pt x="3" y="68"/>
                    </a:cubicBezTo>
                    <a:cubicBezTo>
                      <a:pt x="3" y="68"/>
                      <a:pt x="3" y="68"/>
                      <a:pt x="3" y="68"/>
                    </a:cubicBezTo>
                    <a:cubicBezTo>
                      <a:pt x="3" y="68"/>
                      <a:pt x="3" y="67"/>
                      <a:pt x="3" y="67"/>
                    </a:cubicBezTo>
                    <a:cubicBezTo>
                      <a:pt x="3" y="67"/>
                      <a:pt x="4" y="67"/>
                      <a:pt x="4" y="67"/>
                    </a:cubicBezTo>
                    <a:cubicBezTo>
                      <a:pt x="4" y="67"/>
                      <a:pt x="4" y="67"/>
                      <a:pt x="4" y="67"/>
                    </a:cubicBezTo>
                    <a:cubicBezTo>
                      <a:pt x="4" y="67"/>
                      <a:pt x="4" y="67"/>
                      <a:pt x="4" y="67"/>
                    </a:cubicBezTo>
                    <a:cubicBezTo>
                      <a:pt x="4" y="66"/>
                      <a:pt x="4" y="66"/>
                      <a:pt x="5" y="66"/>
                    </a:cubicBezTo>
                    <a:cubicBezTo>
                      <a:pt x="5" y="66"/>
                      <a:pt x="6" y="65"/>
                      <a:pt x="6" y="65"/>
                    </a:cubicBezTo>
                    <a:cubicBezTo>
                      <a:pt x="6" y="66"/>
                      <a:pt x="7" y="66"/>
                      <a:pt x="7" y="67"/>
                    </a:cubicBezTo>
                    <a:cubicBezTo>
                      <a:pt x="7" y="67"/>
                      <a:pt x="7" y="68"/>
                      <a:pt x="8" y="68"/>
                    </a:cubicBezTo>
                    <a:cubicBezTo>
                      <a:pt x="8" y="67"/>
                      <a:pt x="8" y="68"/>
                      <a:pt x="9" y="68"/>
                    </a:cubicBezTo>
                    <a:cubicBezTo>
                      <a:pt x="9" y="69"/>
                      <a:pt x="9" y="69"/>
                      <a:pt x="8" y="70"/>
                    </a:cubicBezTo>
                    <a:cubicBezTo>
                      <a:pt x="8" y="70"/>
                      <a:pt x="9" y="71"/>
                      <a:pt x="9" y="72"/>
                    </a:cubicBezTo>
                    <a:cubicBezTo>
                      <a:pt x="9" y="72"/>
                      <a:pt x="8" y="73"/>
                      <a:pt x="9" y="73"/>
                    </a:cubicBezTo>
                    <a:cubicBezTo>
                      <a:pt x="9" y="73"/>
                      <a:pt x="10" y="72"/>
                      <a:pt x="10" y="73"/>
                    </a:cubicBezTo>
                    <a:cubicBezTo>
                      <a:pt x="11" y="73"/>
                      <a:pt x="11" y="73"/>
                      <a:pt x="11" y="73"/>
                    </a:cubicBezTo>
                    <a:cubicBezTo>
                      <a:pt x="11" y="74"/>
                      <a:pt x="11" y="73"/>
                      <a:pt x="12" y="73"/>
                    </a:cubicBezTo>
                    <a:cubicBezTo>
                      <a:pt x="12" y="73"/>
                      <a:pt x="13" y="73"/>
                      <a:pt x="13" y="73"/>
                    </a:cubicBezTo>
                    <a:cubicBezTo>
                      <a:pt x="14" y="74"/>
                      <a:pt x="15" y="75"/>
                      <a:pt x="17" y="75"/>
                    </a:cubicBezTo>
                    <a:cubicBezTo>
                      <a:pt x="17" y="75"/>
                      <a:pt x="18" y="75"/>
                      <a:pt x="19" y="75"/>
                    </a:cubicBezTo>
                    <a:cubicBezTo>
                      <a:pt x="20" y="74"/>
                      <a:pt x="21" y="74"/>
                      <a:pt x="22" y="74"/>
                    </a:cubicBezTo>
                    <a:cubicBezTo>
                      <a:pt x="22" y="74"/>
                      <a:pt x="23" y="74"/>
                      <a:pt x="23" y="74"/>
                    </a:cubicBezTo>
                    <a:cubicBezTo>
                      <a:pt x="23" y="75"/>
                      <a:pt x="23" y="75"/>
                      <a:pt x="24" y="75"/>
                    </a:cubicBezTo>
                    <a:cubicBezTo>
                      <a:pt x="24" y="75"/>
                      <a:pt x="25" y="76"/>
                      <a:pt x="25" y="75"/>
                    </a:cubicBezTo>
                    <a:cubicBezTo>
                      <a:pt x="25" y="75"/>
                      <a:pt x="26" y="75"/>
                      <a:pt x="26" y="75"/>
                    </a:cubicBezTo>
                    <a:cubicBezTo>
                      <a:pt x="26" y="74"/>
                      <a:pt x="25" y="73"/>
                      <a:pt x="26" y="73"/>
                    </a:cubicBezTo>
                    <a:cubicBezTo>
                      <a:pt x="27" y="73"/>
                      <a:pt x="27" y="73"/>
                      <a:pt x="28" y="73"/>
                    </a:cubicBezTo>
                    <a:cubicBezTo>
                      <a:pt x="28" y="72"/>
                      <a:pt x="28" y="72"/>
                      <a:pt x="29" y="71"/>
                    </a:cubicBezTo>
                    <a:cubicBezTo>
                      <a:pt x="29" y="71"/>
                      <a:pt x="30" y="71"/>
                      <a:pt x="31" y="70"/>
                    </a:cubicBezTo>
                    <a:cubicBezTo>
                      <a:pt x="31" y="70"/>
                      <a:pt x="32" y="70"/>
                      <a:pt x="32" y="70"/>
                    </a:cubicBezTo>
                    <a:cubicBezTo>
                      <a:pt x="33" y="70"/>
                      <a:pt x="33" y="69"/>
                      <a:pt x="33" y="69"/>
                    </a:cubicBezTo>
                    <a:cubicBezTo>
                      <a:pt x="33" y="68"/>
                      <a:pt x="33" y="67"/>
                      <a:pt x="33" y="66"/>
                    </a:cubicBezTo>
                    <a:cubicBezTo>
                      <a:pt x="33" y="63"/>
                      <a:pt x="33" y="61"/>
                      <a:pt x="33" y="59"/>
                    </a:cubicBezTo>
                    <a:cubicBezTo>
                      <a:pt x="33" y="55"/>
                      <a:pt x="34" y="51"/>
                      <a:pt x="34" y="46"/>
                    </a:cubicBezTo>
                    <a:cubicBezTo>
                      <a:pt x="34" y="41"/>
                      <a:pt x="34" y="35"/>
                      <a:pt x="34" y="29"/>
                    </a:cubicBezTo>
                    <a:cubicBezTo>
                      <a:pt x="35" y="31"/>
                      <a:pt x="37" y="32"/>
                      <a:pt x="38" y="33"/>
                    </a:cubicBezTo>
                    <a:cubicBezTo>
                      <a:pt x="38" y="34"/>
                      <a:pt x="38" y="34"/>
                      <a:pt x="38" y="34"/>
                    </a:cubicBezTo>
                    <a:cubicBezTo>
                      <a:pt x="39" y="35"/>
                      <a:pt x="39" y="35"/>
                      <a:pt x="39" y="36"/>
                    </a:cubicBezTo>
                    <a:cubicBezTo>
                      <a:pt x="39" y="36"/>
                      <a:pt x="39" y="36"/>
                      <a:pt x="40" y="36"/>
                    </a:cubicBezTo>
                    <a:cubicBezTo>
                      <a:pt x="40" y="37"/>
                      <a:pt x="40" y="37"/>
                      <a:pt x="40" y="37"/>
                    </a:cubicBezTo>
                    <a:cubicBezTo>
                      <a:pt x="40" y="37"/>
                      <a:pt x="40" y="37"/>
                      <a:pt x="40" y="37"/>
                    </a:cubicBezTo>
                    <a:cubicBezTo>
                      <a:pt x="40" y="37"/>
                      <a:pt x="40" y="37"/>
                      <a:pt x="40" y="38"/>
                    </a:cubicBezTo>
                    <a:cubicBezTo>
                      <a:pt x="40" y="38"/>
                      <a:pt x="40" y="38"/>
                      <a:pt x="40" y="39"/>
                    </a:cubicBezTo>
                    <a:cubicBezTo>
                      <a:pt x="40" y="39"/>
                      <a:pt x="40" y="39"/>
                      <a:pt x="40" y="40"/>
                    </a:cubicBezTo>
                    <a:cubicBezTo>
                      <a:pt x="41" y="40"/>
                      <a:pt x="41" y="40"/>
                      <a:pt x="41" y="40"/>
                    </a:cubicBezTo>
                    <a:cubicBezTo>
                      <a:pt x="41" y="41"/>
                      <a:pt x="41" y="41"/>
                      <a:pt x="41" y="41"/>
                    </a:cubicBezTo>
                    <a:cubicBezTo>
                      <a:pt x="41" y="41"/>
                      <a:pt x="41" y="41"/>
                      <a:pt x="41" y="41"/>
                    </a:cubicBezTo>
                    <a:cubicBezTo>
                      <a:pt x="41" y="41"/>
                      <a:pt x="41" y="42"/>
                      <a:pt x="41" y="42"/>
                    </a:cubicBezTo>
                    <a:cubicBezTo>
                      <a:pt x="41" y="42"/>
                      <a:pt x="41" y="43"/>
                      <a:pt x="42" y="44"/>
                    </a:cubicBezTo>
                    <a:cubicBezTo>
                      <a:pt x="42" y="45"/>
                      <a:pt x="41" y="46"/>
                      <a:pt x="41" y="47"/>
                    </a:cubicBezTo>
                    <a:cubicBezTo>
                      <a:pt x="40" y="48"/>
                      <a:pt x="39" y="48"/>
                      <a:pt x="39" y="49"/>
                    </a:cubicBezTo>
                    <a:cubicBezTo>
                      <a:pt x="40" y="50"/>
                      <a:pt x="39" y="50"/>
                      <a:pt x="39" y="51"/>
                    </a:cubicBezTo>
                    <a:cubicBezTo>
                      <a:pt x="39" y="52"/>
                      <a:pt x="40" y="52"/>
                      <a:pt x="40" y="53"/>
                    </a:cubicBezTo>
                    <a:cubicBezTo>
                      <a:pt x="40" y="52"/>
                      <a:pt x="42" y="52"/>
                      <a:pt x="43" y="52"/>
                    </a:cubicBezTo>
                    <a:cubicBezTo>
                      <a:pt x="44" y="53"/>
                      <a:pt x="45" y="52"/>
                      <a:pt x="46" y="52"/>
                    </a:cubicBezTo>
                    <a:cubicBezTo>
                      <a:pt x="47" y="52"/>
                      <a:pt x="48" y="53"/>
                      <a:pt x="49" y="52"/>
                    </a:cubicBezTo>
                    <a:cubicBezTo>
                      <a:pt x="50" y="52"/>
                      <a:pt x="50" y="52"/>
                      <a:pt x="50" y="51"/>
                    </a:cubicBezTo>
                    <a:cubicBezTo>
                      <a:pt x="50" y="51"/>
                      <a:pt x="50" y="51"/>
                      <a:pt x="50" y="50"/>
                    </a:cubicBezTo>
                    <a:cubicBezTo>
                      <a:pt x="51" y="50"/>
                      <a:pt x="51" y="50"/>
                      <a:pt x="52" y="50"/>
                    </a:cubicBezTo>
                    <a:cubicBezTo>
                      <a:pt x="53" y="50"/>
                      <a:pt x="53" y="50"/>
                      <a:pt x="53" y="49"/>
                    </a:cubicBezTo>
                    <a:cubicBezTo>
                      <a:pt x="54" y="48"/>
                      <a:pt x="54" y="47"/>
                      <a:pt x="55" y="47"/>
                    </a:cubicBezTo>
                    <a:cubicBezTo>
                      <a:pt x="56" y="47"/>
                      <a:pt x="56" y="46"/>
                      <a:pt x="56" y="46"/>
                    </a:cubicBezTo>
                    <a:cubicBezTo>
                      <a:pt x="57" y="45"/>
                      <a:pt x="57" y="46"/>
                      <a:pt x="57" y="45"/>
                    </a:cubicBezTo>
                    <a:cubicBezTo>
                      <a:pt x="58" y="45"/>
                      <a:pt x="58" y="44"/>
                      <a:pt x="59" y="44"/>
                    </a:cubicBezTo>
                    <a:cubicBezTo>
                      <a:pt x="59" y="44"/>
                      <a:pt x="59" y="43"/>
                      <a:pt x="59" y="43"/>
                    </a:cubicBezTo>
                    <a:cubicBezTo>
                      <a:pt x="59" y="43"/>
                      <a:pt x="59" y="43"/>
                      <a:pt x="59" y="43"/>
                    </a:cubicBezTo>
                    <a:cubicBezTo>
                      <a:pt x="60" y="42"/>
                      <a:pt x="59" y="42"/>
                      <a:pt x="59" y="42"/>
                    </a:cubicBezTo>
                    <a:cubicBezTo>
                      <a:pt x="59" y="41"/>
                      <a:pt x="60" y="41"/>
                      <a:pt x="60" y="41"/>
                    </a:cubicBezTo>
                    <a:cubicBezTo>
                      <a:pt x="59" y="41"/>
                      <a:pt x="60" y="39"/>
                      <a:pt x="60" y="39"/>
                    </a:cubicBezTo>
                    <a:cubicBezTo>
                      <a:pt x="60" y="38"/>
                      <a:pt x="60" y="38"/>
                      <a:pt x="61" y="37"/>
                    </a:cubicBezTo>
                    <a:cubicBezTo>
                      <a:pt x="61" y="37"/>
                      <a:pt x="61" y="37"/>
                      <a:pt x="61" y="37"/>
                    </a:cubicBezTo>
                    <a:cubicBezTo>
                      <a:pt x="61" y="37"/>
                      <a:pt x="61" y="36"/>
                      <a:pt x="62" y="36"/>
                    </a:cubicBezTo>
                    <a:cubicBezTo>
                      <a:pt x="62" y="36"/>
                      <a:pt x="62" y="35"/>
                      <a:pt x="63" y="35"/>
                    </a:cubicBezTo>
                    <a:cubicBezTo>
                      <a:pt x="63" y="36"/>
                      <a:pt x="64" y="35"/>
                      <a:pt x="65" y="35"/>
                    </a:cubicBezTo>
                    <a:cubicBezTo>
                      <a:pt x="65" y="35"/>
                      <a:pt x="66" y="35"/>
                      <a:pt x="66" y="35"/>
                    </a:cubicBezTo>
                    <a:cubicBezTo>
                      <a:pt x="66" y="35"/>
                      <a:pt x="66" y="35"/>
                      <a:pt x="66" y="35"/>
                    </a:cubicBezTo>
                    <a:cubicBezTo>
                      <a:pt x="67" y="35"/>
                      <a:pt x="67" y="35"/>
                      <a:pt x="67" y="35"/>
                    </a:cubicBezTo>
                    <a:cubicBezTo>
                      <a:pt x="67" y="36"/>
                      <a:pt x="67" y="36"/>
                      <a:pt x="67" y="36"/>
                    </a:cubicBezTo>
                    <a:cubicBezTo>
                      <a:pt x="68" y="36"/>
                      <a:pt x="69" y="37"/>
                      <a:pt x="70" y="38"/>
                    </a:cubicBezTo>
                    <a:cubicBezTo>
                      <a:pt x="70" y="38"/>
                      <a:pt x="70" y="39"/>
                      <a:pt x="71" y="39"/>
                    </a:cubicBezTo>
                    <a:cubicBezTo>
                      <a:pt x="71" y="39"/>
                      <a:pt x="72" y="39"/>
                      <a:pt x="72" y="39"/>
                    </a:cubicBezTo>
                    <a:cubicBezTo>
                      <a:pt x="72" y="39"/>
                      <a:pt x="73" y="39"/>
                      <a:pt x="73" y="39"/>
                    </a:cubicBezTo>
                    <a:cubicBezTo>
                      <a:pt x="74" y="39"/>
                      <a:pt x="74" y="40"/>
                      <a:pt x="75" y="40"/>
                    </a:cubicBezTo>
                    <a:cubicBezTo>
                      <a:pt x="75" y="40"/>
                      <a:pt x="75" y="40"/>
                      <a:pt x="76" y="40"/>
                    </a:cubicBezTo>
                    <a:cubicBezTo>
                      <a:pt x="76" y="40"/>
                      <a:pt x="76" y="40"/>
                      <a:pt x="76" y="40"/>
                    </a:cubicBezTo>
                    <a:cubicBezTo>
                      <a:pt x="77" y="41"/>
                      <a:pt x="78" y="41"/>
                      <a:pt x="79" y="41"/>
                    </a:cubicBezTo>
                    <a:cubicBezTo>
                      <a:pt x="79" y="41"/>
                      <a:pt x="80" y="41"/>
                      <a:pt x="80" y="40"/>
                    </a:cubicBezTo>
                    <a:cubicBezTo>
                      <a:pt x="81" y="40"/>
                      <a:pt x="81" y="40"/>
                      <a:pt x="82" y="40"/>
                    </a:cubicBezTo>
                    <a:cubicBezTo>
                      <a:pt x="84" y="41"/>
                      <a:pt x="85" y="40"/>
                      <a:pt x="86" y="39"/>
                    </a:cubicBezTo>
                    <a:cubicBezTo>
                      <a:pt x="87" y="38"/>
                      <a:pt x="87" y="36"/>
                      <a:pt x="88" y="35"/>
                    </a:cubicBezTo>
                    <a:cubicBezTo>
                      <a:pt x="89" y="33"/>
                      <a:pt x="90" y="32"/>
                      <a:pt x="89" y="30"/>
                    </a:cubicBezTo>
                    <a:cubicBezTo>
                      <a:pt x="89" y="30"/>
                      <a:pt x="89" y="29"/>
                      <a:pt x="90" y="29"/>
                    </a:cubicBezTo>
                    <a:cubicBezTo>
                      <a:pt x="90" y="29"/>
                      <a:pt x="91" y="29"/>
                      <a:pt x="92" y="29"/>
                    </a:cubicBezTo>
                    <a:cubicBezTo>
                      <a:pt x="92" y="28"/>
                      <a:pt x="93" y="28"/>
                      <a:pt x="94" y="28"/>
                    </a:cubicBezTo>
                    <a:cubicBezTo>
                      <a:pt x="94" y="28"/>
                      <a:pt x="95" y="28"/>
                      <a:pt x="95" y="27"/>
                    </a:cubicBezTo>
                    <a:cubicBezTo>
                      <a:pt x="96" y="26"/>
                      <a:pt x="97" y="25"/>
                      <a:pt x="98" y="25"/>
                    </a:cubicBezTo>
                    <a:cubicBezTo>
                      <a:pt x="98" y="24"/>
                      <a:pt x="99" y="24"/>
                      <a:pt x="99" y="23"/>
                    </a:cubicBezTo>
                    <a:cubicBezTo>
                      <a:pt x="99" y="23"/>
                      <a:pt x="99" y="22"/>
                      <a:pt x="99" y="21"/>
                    </a:cubicBezTo>
                    <a:cubicBezTo>
                      <a:pt x="100" y="20"/>
                      <a:pt x="100" y="20"/>
                      <a:pt x="100" y="19"/>
                    </a:cubicBezTo>
                    <a:cubicBezTo>
                      <a:pt x="100" y="18"/>
                      <a:pt x="100" y="17"/>
                      <a:pt x="101" y="17"/>
                    </a:cubicBezTo>
                    <a:cubicBezTo>
                      <a:pt x="101" y="17"/>
                      <a:pt x="101" y="18"/>
                      <a:pt x="101" y="17"/>
                    </a:cubicBezTo>
                    <a:cubicBezTo>
                      <a:pt x="101" y="17"/>
                      <a:pt x="101" y="17"/>
                      <a:pt x="101" y="17"/>
                    </a:cubicBezTo>
                    <a:cubicBezTo>
                      <a:pt x="101" y="16"/>
                      <a:pt x="102" y="16"/>
                      <a:pt x="102" y="16"/>
                    </a:cubicBezTo>
                    <a:cubicBezTo>
                      <a:pt x="102" y="16"/>
                      <a:pt x="102" y="16"/>
                      <a:pt x="102" y="16"/>
                    </a:cubicBezTo>
                    <a:cubicBezTo>
                      <a:pt x="102" y="16"/>
                      <a:pt x="102" y="16"/>
                      <a:pt x="102" y="16"/>
                    </a:cubicBezTo>
                    <a:cubicBezTo>
                      <a:pt x="102" y="16"/>
                      <a:pt x="102" y="15"/>
                      <a:pt x="103" y="15"/>
                    </a:cubicBezTo>
                    <a:cubicBezTo>
                      <a:pt x="103" y="15"/>
                      <a:pt x="103" y="15"/>
                      <a:pt x="103" y="15"/>
                    </a:cubicBezTo>
                    <a:cubicBezTo>
                      <a:pt x="104" y="15"/>
                      <a:pt x="104" y="15"/>
                      <a:pt x="104" y="14"/>
                    </a:cubicBezTo>
                    <a:cubicBezTo>
                      <a:pt x="104" y="14"/>
                      <a:pt x="105" y="14"/>
                      <a:pt x="104" y="14"/>
                    </a:cubicBezTo>
                    <a:cubicBezTo>
                      <a:pt x="105" y="15"/>
                      <a:pt x="105" y="14"/>
                      <a:pt x="106" y="14"/>
                    </a:cubicBezTo>
                    <a:cubicBezTo>
                      <a:pt x="106" y="14"/>
                      <a:pt x="106" y="13"/>
                      <a:pt x="106" y="13"/>
                    </a:cubicBezTo>
                    <a:cubicBezTo>
                      <a:pt x="106" y="12"/>
                      <a:pt x="107" y="12"/>
                      <a:pt x="107" y="12"/>
                    </a:cubicBezTo>
                    <a:cubicBezTo>
                      <a:pt x="108" y="12"/>
                      <a:pt x="108" y="13"/>
                      <a:pt x="108" y="12"/>
                    </a:cubicBezTo>
                    <a:cubicBezTo>
                      <a:pt x="108" y="12"/>
                      <a:pt x="108" y="12"/>
                      <a:pt x="108" y="11"/>
                    </a:cubicBezTo>
                    <a:cubicBezTo>
                      <a:pt x="109" y="11"/>
                      <a:pt x="109" y="11"/>
                      <a:pt x="109" y="11"/>
                    </a:cubicBezTo>
                    <a:cubicBezTo>
                      <a:pt x="110" y="10"/>
                      <a:pt x="109" y="10"/>
                      <a:pt x="110" y="10"/>
                    </a:cubicBezTo>
                    <a:cubicBezTo>
                      <a:pt x="110" y="9"/>
                      <a:pt x="110" y="9"/>
                      <a:pt x="110" y="9"/>
                    </a:cubicBezTo>
                    <a:cubicBezTo>
                      <a:pt x="111" y="9"/>
                      <a:pt x="111" y="8"/>
                      <a:pt x="111" y="8"/>
                    </a:cubicBezTo>
                    <a:cubicBezTo>
                      <a:pt x="112" y="8"/>
                      <a:pt x="112" y="7"/>
                      <a:pt x="112" y="6"/>
                    </a:cubicBezTo>
                    <a:cubicBezTo>
                      <a:pt x="113" y="6"/>
                      <a:pt x="113" y="6"/>
                      <a:pt x="113" y="6"/>
                    </a:cubicBezTo>
                    <a:cubicBezTo>
                      <a:pt x="114" y="5"/>
                      <a:pt x="115" y="5"/>
                      <a:pt x="115" y="5"/>
                    </a:cubicBezTo>
                    <a:cubicBezTo>
                      <a:pt x="116" y="5"/>
                      <a:pt x="117" y="5"/>
                      <a:pt x="118" y="4"/>
                    </a:cubicBezTo>
                    <a:cubicBezTo>
                      <a:pt x="118" y="4"/>
                      <a:pt x="118" y="4"/>
                      <a:pt x="119" y="4"/>
                    </a:cubicBezTo>
                    <a:cubicBezTo>
                      <a:pt x="119" y="4"/>
                      <a:pt x="119" y="4"/>
                      <a:pt x="120" y="3"/>
                    </a:cubicBezTo>
                    <a:cubicBezTo>
                      <a:pt x="120" y="2"/>
                      <a:pt x="120" y="2"/>
                      <a:pt x="121" y="2"/>
                    </a:cubicBezTo>
                    <a:cubicBezTo>
                      <a:pt x="122" y="1"/>
                      <a:pt x="122" y="1"/>
                      <a:pt x="123" y="1"/>
                    </a:cubicBezTo>
                    <a:cubicBezTo>
                      <a:pt x="124" y="1"/>
                      <a:pt x="125" y="1"/>
                      <a:pt x="125" y="1"/>
                    </a:cubicBezTo>
                    <a:cubicBezTo>
                      <a:pt x="125" y="0"/>
                      <a:pt x="126" y="1"/>
                      <a:pt x="127" y="1"/>
                    </a:cubicBezTo>
                    <a:cubicBezTo>
                      <a:pt x="128" y="0"/>
                      <a:pt x="129" y="2"/>
                      <a:pt x="131" y="2"/>
                    </a:cubicBezTo>
                    <a:cubicBezTo>
                      <a:pt x="132" y="2"/>
                      <a:pt x="132" y="3"/>
                      <a:pt x="133" y="3"/>
                    </a:cubicBezTo>
                    <a:cubicBezTo>
                      <a:pt x="134" y="3"/>
                      <a:pt x="134" y="3"/>
                      <a:pt x="135" y="3"/>
                    </a:cubicBezTo>
                    <a:cubicBezTo>
                      <a:pt x="136" y="2"/>
                      <a:pt x="137" y="2"/>
                      <a:pt x="138" y="2"/>
                    </a:cubicBezTo>
                    <a:cubicBezTo>
                      <a:pt x="138" y="2"/>
                      <a:pt x="139" y="2"/>
                      <a:pt x="139" y="3"/>
                    </a:cubicBezTo>
                    <a:cubicBezTo>
                      <a:pt x="139" y="3"/>
                      <a:pt x="140" y="3"/>
                      <a:pt x="140" y="3"/>
                    </a:cubicBezTo>
                    <a:cubicBezTo>
                      <a:pt x="141" y="3"/>
                      <a:pt x="141" y="3"/>
                      <a:pt x="142" y="3"/>
                    </a:cubicBezTo>
                    <a:cubicBezTo>
                      <a:pt x="142" y="4"/>
                      <a:pt x="142" y="5"/>
                      <a:pt x="142" y="5"/>
                    </a:cubicBezTo>
                    <a:cubicBezTo>
                      <a:pt x="142" y="7"/>
                      <a:pt x="143" y="9"/>
                      <a:pt x="144" y="11"/>
                    </a:cubicBezTo>
                    <a:cubicBezTo>
                      <a:pt x="144" y="11"/>
                      <a:pt x="144" y="12"/>
                      <a:pt x="144" y="13"/>
                    </a:cubicBezTo>
                    <a:cubicBezTo>
                      <a:pt x="144" y="14"/>
                      <a:pt x="143" y="14"/>
                      <a:pt x="144" y="15"/>
                    </a:cubicBezTo>
                    <a:cubicBezTo>
                      <a:pt x="144" y="16"/>
                      <a:pt x="144" y="16"/>
                      <a:pt x="145" y="17"/>
                    </a:cubicBezTo>
                    <a:cubicBezTo>
                      <a:pt x="145" y="17"/>
                      <a:pt x="145" y="18"/>
                      <a:pt x="146" y="19"/>
                    </a:cubicBezTo>
                    <a:cubicBezTo>
                      <a:pt x="146" y="20"/>
                      <a:pt x="146" y="20"/>
                      <a:pt x="147" y="21"/>
                    </a:cubicBezTo>
                    <a:cubicBezTo>
                      <a:pt x="147" y="22"/>
                      <a:pt x="146" y="22"/>
                      <a:pt x="147" y="23"/>
                    </a:cubicBezTo>
                    <a:cubicBezTo>
                      <a:pt x="147" y="24"/>
                      <a:pt x="147" y="25"/>
                      <a:pt x="148" y="26"/>
                    </a:cubicBezTo>
                    <a:cubicBezTo>
                      <a:pt x="148" y="27"/>
                      <a:pt x="147" y="28"/>
                      <a:pt x="147" y="29"/>
                    </a:cubicBezTo>
                    <a:cubicBezTo>
                      <a:pt x="147" y="31"/>
                      <a:pt x="147" y="32"/>
                      <a:pt x="147" y="34"/>
                    </a:cubicBezTo>
                    <a:cubicBezTo>
                      <a:pt x="147" y="35"/>
                      <a:pt x="147" y="36"/>
                      <a:pt x="147" y="37"/>
                    </a:cubicBezTo>
                    <a:cubicBezTo>
                      <a:pt x="147" y="38"/>
                      <a:pt x="147" y="39"/>
                      <a:pt x="147" y="39"/>
                    </a:cubicBezTo>
                    <a:cubicBezTo>
                      <a:pt x="147" y="40"/>
                      <a:pt x="146" y="40"/>
                      <a:pt x="146" y="41"/>
                    </a:cubicBezTo>
                    <a:cubicBezTo>
                      <a:pt x="146" y="41"/>
                      <a:pt x="147" y="42"/>
                      <a:pt x="146" y="43"/>
                    </a:cubicBezTo>
                    <a:cubicBezTo>
                      <a:pt x="146" y="43"/>
                      <a:pt x="143" y="41"/>
                      <a:pt x="143" y="41"/>
                    </a:cubicBezTo>
                    <a:cubicBezTo>
                      <a:pt x="142" y="40"/>
                      <a:pt x="141" y="40"/>
                      <a:pt x="140" y="41"/>
                    </a:cubicBezTo>
                    <a:cubicBezTo>
                      <a:pt x="138" y="42"/>
                      <a:pt x="138" y="43"/>
                      <a:pt x="137" y="45"/>
                    </a:cubicBezTo>
                    <a:cubicBezTo>
                      <a:pt x="137" y="46"/>
                      <a:pt x="135" y="47"/>
                      <a:pt x="135" y="49"/>
                    </a:cubicBezTo>
                    <a:cubicBezTo>
                      <a:pt x="135" y="50"/>
                      <a:pt x="135" y="50"/>
                      <a:pt x="135" y="51"/>
                    </a:cubicBezTo>
                    <a:cubicBezTo>
                      <a:pt x="135" y="52"/>
                      <a:pt x="136" y="52"/>
                      <a:pt x="136" y="51"/>
                    </a:cubicBezTo>
                    <a:cubicBezTo>
                      <a:pt x="136" y="52"/>
                      <a:pt x="136" y="52"/>
                      <a:pt x="137" y="53"/>
                    </a:cubicBezTo>
                    <a:cubicBezTo>
                      <a:pt x="137" y="53"/>
                      <a:pt x="137" y="54"/>
                      <a:pt x="137" y="54"/>
                    </a:cubicBezTo>
                    <a:cubicBezTo>
                      <a:pt x="137" y="55"/>
                      <a:pt x="138" y="55"/>
                      <a:pt x="138" y="55"/>
                    </a:cubicBezTo>
                    <a:cubicBezTo>
                      <a:pt x="138" y="56"/>
                      <a:pt x="139" y="56"/>
                      <a:pt x="139" y="57"/>
                    </a:cubicBezTo>
                    <a:cubicBezTo>
                      <a:pt x="140" y="57"/>
                      <a:pt x="142" y="58"/>
                      <a:pt x="143" y="57"/>
                    </a:cubicBezTo>
                    <a:cubicBezTo>
                      <a:pt x="143" y="57"/>
                      <a:pt x="146" y="58"/>
                      <a:pt x="146" y="57"/>
                    </a:cubicBezTo>
                    <a:cubicBezTo>
                      <a:pt x="146" y="57"/>
                      <a:pt x="146" y="56"/>
                      <a:pt x="146" y="55"/>
                    </a:cubicBezTo>
                    <a:cubicBezTo>
                      <a:pt x="146" y="55"/>
                      <a:pt x="146" y="54"/>
                      <a:pt x="146" y="53"/>
                    </a:cubicBezTo>
                    <a:cubicBezTo>
                      <a:pt x="146" y="53"/>
                      <a:pt x="146" y="52"/>
                      <a:pt x="147" y="52"/>
                    </a:cubicBezTo>
                    <a:cubicBezTo>
                      <a:pt x="147" y="52"/>
                      <a:pt x="147" y="52"/>
                      <a:pt x="148" y="52"/>
                    </a:cubicBezTo>
                    <a:cubicBezTo>
                      <a:pt x="148" y="52"/>
                      <a:pt x="149" y="52"/>
                      <a:pt x="150" y="52"/>
                    </a:cubicBezTo>
                    <a:cubicBezTo>
                      <a:pt x="151" y="52"/>
                      <a:pt x="153" y="52"/>
                      <a:pt x="155" y="52"/>
                    </a:cubicBezTo>
                    <a:cubicBezTo>
                      <a:pt x="154" y="55"/>
                      <a:pt x="153" y="58"/>
                      <a:pt x="152" y="61"/>
                    </a:cubicBezTo>
                    <a:close/>
                    <a:moveTo>
                      <a:pt x="120" y="78"/>
                    </a:moveTo>
                    <a:cubicBezTo>
                      <a:pt x="120" y="78"/>
                      <a:pt x="120" y="77"/>
                      <a:pt x="120" y="77"/>
                    </a:cubicBezTo>
                    <a:cubicBezTo>
                      <a:pt x="120" y="77"/>
                      <a:pt x="119" y="77"/>
                      <a:pt x="119" y="76"/>
                    </a:cubicBezTo>
                    <a:cubicBezTo>
                      <a:pt x="119" y="76"/>
                      <a:pt x="118" y="76"/>
                      <a:pt x="118" y="76"/>
                    </a:cubicBezTo>
                    <a:cubicBezTo>
                      <a:pt x="118" y="76"/>
                      <a:pt x="118" y="75"/>
                      <a:pt x="118" y="75"/>
                    </a:cubicBezTo>
                    <a:cubicBezTo>
                      <a:pt x="118" y="75"/>
                      <a:pt x="117" y="75"/>
                      <a:pt x="117" y="75"/>
                    </a:cubicBezTo>
                    <a:cubicBezTo>
                      <a:pt x="117" y="75"/>
                      <a:pt x="117" y="74"/>
                      <a:pt x="116" y="74"/>
                    </a:cubicBezTo>
                    <a:cubicBezTo>
                      <a:pt x="116" y="73"/>
                      <a:pt x="116" y="74"/>
                      <a:pt x="115" y="73"/>
                    </a:cubicBezTo>
                    <a:cubicBezTo>
                      <a:pt x="115" y="73"/>
                      <a:pt x="115" y="73"/>
                      <a:pt x="115" y="73"/>
                    </a:cubicBezTo>
                    <a:cubicBezTo>
                      <a:pt x="115" y="73"/>
                      <a:pt x="115" y="72"/>
                      <a:pt x="115" y="72"/>
                    </a:cubicBezTo>
                    <a:cubicBezTo>
                      <a:pt x="114" y="72"/>
                      <a:pt x="115" y="72"/>
                      <a:pt x="114" y="71"/>
                    </a:cubicBezTo>
                    <a:cubicBezTo>
                      <a:pt x="114" y="71"/>
                      <a:pt x="114" y="72"/>
                      <a:pt x="113" y="72"/>
                    </a:cubicBezTo>
                    <a:cubicBezTo>
                      <a:pt x="113" y="72"/>
                      <a:pt x="112" y="72"/>
                      <a:pt x="112" y="72"/>
                    </a:cubicBezTo>
                    <a:cubicBezTo>
                      <a:pt x="111" y="72"/>
                      <a:pt x="111" y="73"/>
                      <a:pt x="110" y="73"/>
                    </a:cubicBezTo>
                    <a:cubicBezTo>
                      <a:pt x="109" y="73"/>
                      <a:pt x="109" y="74"/>
                      <a:pt x="108" y="74"/>
                    </a:cubicBezTo>
                    <a:cubicBezTo>
                      <a:pt x="108" y="75"/>
                      <a:pt x="108" y="75"/>
                      <a:pt x="107" y="74"/>
                    </a:cubicBezTo>
                    <a:cubicBezTo>
                      <a:pt x="107" y="74"/>
                      <a:pt x="107" y="75"/>
                      <a:pt x="107" y="75"/>
                    </a:cubicBezTo>
                    <a:cubicBezTo>
                      <a:pt x="106" y="75"/>
                      <a:pt x="106" y="75"/>
                      <a:pt x="106" y="75"/>
                    </a:cubicBezTo>
                    <a:cubicBezTo>
                      <a:pt x="105" y="75"/>
                      <a:pt x="105" y="76"/>
                      <a:pt x="105" y="76"/>
                    </a:cubicBezTo>
                    <a:cubicBezTo>
                      <a:pt x="104" y="77"/>
                      <a:pt x="104" y="77"/>
                      <a:pt x="104" y="78"/>
                    </a:cubicBezTo>
                    <a:cubicBezTo>
                      <a:pt x="104" y="78"/>
                      <a:pt x="103" y="78"/>
                      <a:pt x="103" y="78"/>
                    </a:cubicBezTo>
                    <a:cubicBezTo>
                      <a:pt x="103" y="79"/>
                      <a:pt x="103" y="79"/>
                      <a:pt x="102" y="79"/>
                    </a:cubicBezTo>
                    <a:cubicBezTo>
                      <a:pt x="102" y="80"/>
                      <a:pt x="102" y="80"/>
                      <a:pt x="102" y="81"/>
                    </a:cubicBezTo>
                    <a:cubicBezTo>
                      <a:pt x="101" y="81"/>
                      <a:pt x="101" y="82"/>
                      <a:pt x="100" y="82"/>
                    </a:cubicBezTo>
                    <a:cubicBezTo>
                      <a:pt x="100" y="82"/>
                      <a:pt x="99" y="82"/>
                      <a:pt x="99" y="83"/>
                    </a:cubicBezTo>
                    <a:cubicBezTo>
                      <a:pt x="98" y="83"/>
                      <a:pt x="98" y="83"/>
                      <a:pt x="98" y="83"/>
                    </a:cubicBezTo>
                    <a:cubicBezTo>
                      <a:pt x="98" y="83"/>
                      <a:pt x="99" y="83"/>
                      <a:pt x="99" y="84"/>
                    </a:cubicBezTo>
                    <a:cubicBezTo>
                      <a:pt x="99" y="84"/>
                      <a:pt x="99" y="85"/>
                      <a:pt x="99" y="86"/>
                    </a:cubicBezTo>
                    <a:cubicBezTo>
                      <a:pt x="100" y="86"/>
                      <a:pt x="100" y="87"/>
                      <a:pt x="101" y="88"/>
                    </a:cubicBezTo>
                    <a:cubicBezTo>
                      <a:pt x="101" y="88"/>
                      <a:pt x="101" y="88"/>
                      <a:pt x="101" y="88"/>
                    </a:cubicBezTo>
                    <a:cubicBezTo>
                      <a:pt x="101" y="88"/>
                      <a:pt x="101" y="88"/>
                      <a:pt x="101" y="89"/>
                    </a:cubicBezTo>
                    <a:cubicBezTo>
                      <a:pt x="101" y="89"/>
                      <a:pt x="101" y="89"/>
                      <a:pt x="101" y="89"/>
                    </a:cubicBezTo>
                    <a:cubicBezTo>
                      <a:pt x="101" y="90"/>
                      <a:pt x="101" y="90"/>
                      <a:pt x="101" y="90"/>
                    </a:cubicBezTo>
                    <a:cubicBezTo>
                      <a:pt x="101" y="90"/>
                      <a:pt x="102" y="90"/>
                      <a:pt x="102" y="90"/>
                    </a:cubicBezTo>
                    <a:cubicBezTo>
                      <a:pt x="102" y="91"/>
                      <a:pt x="103" y="91"/>
                      <a:pt x="103" y="91"/>
                    </a:cubicBezTo>
                    <a:cubicBezTo>
                      <a:pt x="103" y="92"/>
                      <a:pt x="104" y="93"/>
                      <a:pt x="105" y="94"/>
                    </a:cubicBezTo>
                    <a:cubicBezTo>
                      <a:pt x="105" y="94"/>
                      <a:pt x="106" y="94"/>
                      <a:pt x="106" y="94"/>
                    </a:cubicBezTo>
                    <a:cubicBezTo>
                      <a:pt x="106" y="94"/>
                      <a:pt x="107" y="94"/>
                      <a:pt x="108" y="94"/>
                    </a:cubicBezTo>
                    <a:cubicBezTo>
                      <a:pt x="108" y="94"/>
                      <a:pt x="108" y="93"/>
                      <a:pt x="108" y="92"/>
                    </a:cubicBezTo>
                    <a:cubicBezTo>
                      <a:pt x="109" y="92"/>
                      <a:pt x="109" y="92"/>
                      <a:pt x="109" y="91"/>
                    </a:cubicBezTo>
                    <a:cubicBezTo>
                      <a:pt x="109" y="91"/>
                      <a:pt x="110" y="91"/>
                      <a:pt x="109" y="90"/>
                    </a:cubicBezTo>
                    <a:cubicBezTo>
                      <a:pt x="109" y="90"/>
                      <a:pt x="109" y="90"/>
                      <a:pt x="110" y="90"/>
                    </a:cubicBezTo>
                    <a:cubicBezTo>
                      <a:pt x="110" y="90"/>
                      <a:pt x="110" y="89"/>
                      <a:pt x="111" y="89"/>
                    </a:cubicBezTo>
                    <a:cubicBezTo>
                      <a:pt x="111" y="88"/>
                      <a:pt x="112" y="89"/>
                      <a:pt x="112" y="88"/>
                    </a:cubicBezTo>
                    <a:cubicBezTo>
                      <a:pt x="112" y="88"/>
                      <a:pt x="113" y="88"/>
                      <a:pt x="114" y="88"/>
                    </a:cubicBezTo>
                    <a:cubicBezTo>
                      <a:pt x="115" y="88"/>
                      <a:pt x="116" y="87"/>
                      <a:pt x="117" y="87"/>
                    </a:cubicBezTo>
                    <a:cubicBezTo>
                      <a:pt x="118" y="86"/>
                      <a:pt x="118" y="86"/>
                      <a:pt x="118" y="86"/>
                    </a:cubicBezTo>
                    <a:cubicBezTo>
                      <a:pt x="118" y="85"/>
                      <a:pt x="118" y="85"/>
                      <a:pt x="118" y="85"/>
                    </a:cubicBezTo>
                    <a:cubicBezTo>
                      <a:pt x="118" y="84"/>
                      <a:pt x="118" y="84"/>
                      <a:pt x="118" y="83"/>
                    </a:cubicBezTo>
                    <a:cubicBezTo>
                      <a:pt x="119" y="83"/>
                      <a:pt x="119" y="83"/>
                      <a:pt x="119" y="83"/>
                    </a:cubicBezTo>
                    <a:cubicBezTo>
                      <a:pt x="120" y="82"/>
                      <a:pt x="120" y="82"/>
                      <a:pt x="120" y="82"/>
                    </a:cubicBezTo>
                    <a:cubicBezTo>
                      <a:pt x="120" y="81"/>
                      <a:pt x="120" y="81"/>
                      <a:pt x="121" y="81"/>
                    </a:cubicBezTo>
                    <a:cubicBezTo>
                      <a:pt x="122" y="80"/>
                      <a:pt x="121" y="78"/>
                      <a:pt x="120" y="7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3" name="Somalia">
                <a:extLst>
                  <a:ext uri="{FF2B5EF4-FFF2-40B4-BE49-F238E27FC236}">
                    <a16:creationId xmlns:a16="http://schemas.microsoft.com/office/drawing/2014/main" id="{8DCC42D3-185E-277B-3944-999A0A7AB034}"/>
                  </a:ext>
                </a:extLst>
              </p:cNvPr>
              <p:cNvSpPr>
                <a:spLocks/>
              </p:cNvSpPr>
              <p:nvPr/>
            </p:nvSpPr>
            <p:spPr bwMode="auto">
              <a:xfrm>
                <a:off x="7104502" y="3577800"/>
                <a:ext cx="351874" cy="533201"/>
              </a:xfrm>
              <a:custGeom>
                <a:avLst/>
                <a:gdLst>
                  <a:gd name="connsiteX0" fmla="*/ 418990 w 626893"/>
                  <a:gd name="connsiteY0" fmla="*/ 274318 h 949942"/>
                  <a:gd name="connsiteX1" fmla="*/ 418516 w 626893"/>
                  <a:gd name="connsiteY1" fmla="*/ 275472 h 949942"/>
                  <a:gd name="connsiteX2" fmla="*/ 421327 w 626893"/>
                  <a:gd name="connsiteY2" fmla="*/ 275472 h 949942"/>
                  <a:gd name="connsiteX3" fmla="*/ 422366 w 626893"/>
                  <a:gd name="connsiteY3" fmla="*/ 274318 h 949942"/>
                  <a:gd name="connsiteX4" fmla="*/ 582328 w 626893"/>
                  <a:gd name="connsiteY4" fmla="*/ 438 h 949942"/>
                  <a:gd name="connsiteX5" fmla="*/ 586268 w 626893"/>
                  <a:gd name="connsiteY5" fmla="*/ 2806 h 949942"/>
                  <a:gd name="connsiteX6" fmla="*/ 605180 w 626893"/>
                  <a:gd name="connsiteY6" fmla="*/ 9120 h 949942"/>
                  <a:gd name="connsiteX7" fmla="*/ 617788 w 626893"/>
                  <a:gd name="connsiteY7" fmla="*/ 15434 h 949942"/>
                  <a:gd name="connsiteX8" fmla="*/ 611484 w 626893"/>
                  <a:gd name="connsiteY8" fmla="*/ 21750 h 949942"/>
                  <a:gd name="connsiteX9" fmla="*/ 605180 w 626893"/>
                  <a:gd name="connsiteY9" fmla="*/ 28064 h 949942"/>
                  <a:gd name="connsiteX10" fmla="*/ 605180 w 626893"/>
                  <a:gd name="connsiteY10" fmla="*/ 47006 h 949942"/>
                  <a:gd name="connsiteX11" fmla="*/ 605180 w 626893"/>
                  <a:gd name="connsiteY11" fmla="*/ 53320 h 949942"/>
                  <a:gd name="connsiteX12" fmla="*/ 611484 w 626893"/>
                  <a:gd name="connsiteY12" fmla="*/ 59634 h 949942"/>
                  <a:gd name="connsiteX13" fmla="*/ 605180 w 626893"/>
                  <a:gd name="connsiteY13" fmla="*/ 72264 h 949942"/>
                  <a:gd name="connsiteX14" fmla="*/ 611484 w 626893"/>
                  <a:gd name="connsiteY14" fmla="*/ 84892 h 949942"/>
                  <a:gd name="connsiteX15" fmla="*/ 611484 w 626893"/>
                  <a:gd name="connsiteY15" fmla="*/ 91206 h 949942"/>
                  <a:gd name="connsiteX16" fmla="*/ 611484 w 626893"/>
                  <a:gd name="connsiteY16" fmla="*/ 97520 h 949942"/>
                  <a:gd name="connsiteX17" fmla="*/ 605180 w 626893"/>
                  <a:gd name="connsiteY17" fmla="*/ 103834 h 949942"/>
                  <a:gd name="connsiteX18" fmla="*/ 605180 w 626893"/>
                  <a:gd name="connsiteY18" fmla="*/ 110148 h 949942"/>
                  <a:gd name="connsiteX19" fmla="*/ 617788 w 626893"/>
                  <a:gd name="connsiteY19" fmla="*/ 103834 h 949942"/>
                  <a:gd name="connsiteX20" fmla="*/ 611484 w 626893"/>
                  <a:gd name="connsiteY20" fmla="*/ 97520 h 949942"/>
                  <a:gd name="connsiteX21" fmla="*/ 624092 w 626893"/>
                  <a:gd name="connsiteY21" fmla="*/ 103834 h 949942"/>
                  <a:gd name="connsiteX22" fmla="*/ 624092 w 626893"/>
                  <a:gd name="connsiteY22" fmla="*/ 110148 h 949942"/>
                  <a:gd name="connsiteX23" fmla="*/ 617788 w 626893"/>
                  <a:gd name="connsiteY23" fmla="*/ 110148 h 949942"/>
                  <a:gd name="connsiteX24" fmla="*/ 611484 w 626893"/>
                  <a:gd name="connsiteY24" fmla="*/ 110148 h 949942"/>
                  <a:gd name="connsiteX25" fmla="*/ 598876 w 626893"/>
                  <a:gd name="connsiteY25" fmla="*/ 122778 h 949942"/>
                  <a:gd name="connsiteX26" fmla="*/ 598876 w 626893"/>
                  <a:gd name="connsiteY26" fmla="*/ 135406 h 949942"/>
                  <a:gd name="connsiteX27" fmla="*/ 592572 w 626893"/>
                  <a:gd name="connsiteY27" fmla="*/ 148034 h 949942"/>
                  <a:gd name="connsiteX28" fmla="*/ 592572 w 626893"/>
                  <a:gd name="connsiteY28" fmla="*/ 166976 h 949942"/>
                  <a:gd name="connsiteX29" fmla="*/ 592572 w 626893"/>
                  <a:gd name="connsiteY29" fmla="*/ 179606 h 949942"/>
                  <a:gd name="connsiteX30" fmla="*/ 586268 w 626893"/>
                  <a:gd name="connsiteY30" fmla="*/ 192234 h 949942"/>
                  <a:gd name="connsiteX31" fmla="*/ 579964 w 626893"/>
                  <a:gd name="connsiteY31" fmla="*/ 204862 h 949942"/>
                  <a:gd name="connsiteX32" fmla="*/ 573660 w 626893"/>
                  <a:gd name="connsiteY32" fmla="*/ 211176 h 949942"/>
                  <a:gd name="connsiteX33" fmla="*/ 567356 w 626893"/>
                  <a:gd name="connsiteY33" fmla="*/ 223804 h 949942"/>
                  <a:gd name="connsiteX34" fmla="*/ 567356 w 626893"/>
                  <a:gd name="connsiteY34" fmla="*/ 236434 h 949942"/>
                  <a:gd name="connsiteX35" fmla="*/ 561052 w 626893"/>
                  <a:gd name="connsiteY35" fmla="*/ 249062 h 949942"/>
                  <a:gd name="connsiteX36" fmla="*/ 548444 w 626893"/>
                  <a:gd name="connsiteY36" fmla="*/ 268004 h 949942"/>
                  <a:gd name="connsiteX37" fmla="*/ 535838 w 626893"/>
                  <a:gd name="connsiteY37" fmla="*/ 280632 h 949942"/>
                  <a:gd name="connsiteX38" fmla="*/ 535838 w 626893"/>
                  <a:gd name="connsiteY38" fmla="*/ 293262 h 949942"/>
                  <a:gd name="connsiteX39" fmla="*/ 523230 w 626893"/>
                  <a:gd name="connsiteY39" fmla="*/ 324832 h 949942"/>
                  <a:gd name="connsiteX40" fmla="*/ 504318 w 626893"/>
                  <a:gd name="connsiteY40" fmla="*/ 356404 h 949942"/>
                  <a:gd name="connsiteX41" fmla="*/ 491710 w 626893"/>
                  <a:gd name="connsiteY41" fmla="*/ 387976 h 949942"/>
                  <a:gd name="connsiteX42" fmla="*/ 491710 w 626893"/>
                  <a:gd name="connsiteY42" fmla="*/ 400604 h 949942"/>
                  <a:gd name="connsiteX43" fmla="*/ 485406 w 626893"/>
                  <a:gd name="connsiteY43" fmla="*/ 419546 h 949942"/>
                  <a:gd name="connsiteX44" fmla="*/ 447582 w 626893"/>
                  <a:gd name="connsiteY44" fmla="*/ 482688 h 949942"/>
                  <a:gd name="connsiteX45" fmla="*/ 428670 w 626893"/>
                  <a:gd name="connsiteY45" fmla="*/ 514260 h 949942"/>
                  <a:gd name="connsiteX46" fmla="*/ 409758 w 626893"/>
                  <a:gd name="connsiteY46" fmla="*/ 539516 h 949942"/>
                  <a:gd name="connsiteX47" fmla="*/ 365630 w 626893"/>
                  <a:gd name="connsiteY47" fmla="*/ 596344 h 949942"/>
                  <a:gd name="connsiteX48" fmla="*/ 346718 w 626893"/>
                  <a:gd name="connsiteY48" fmla="*/ 621602 h 949942"/>
                  <a:gd name="connsiteX49" fmla="*/ 321502 w 626893"/>
                  <a:gd name="connsiteY49" fmla="*/ 646858 h 949942"/>
                  <a:gd name="connsiteX50" fmla="*/ 296286 w 626893"/>
                  <a:gd name="connsiteY50" fmla="*/ 672116 h 949942"/>
                  <a:gd name="connsiteX51" fmla="*/ 271070 w 626893"/>
                  <a:gd name="connsiteY51" fmla="*/ 691058 h 949942"/>
                  <a:gd name="connsiteX52" fmla="*/ 239550 w 626893"/>
                  <a:gd name="connsiteY52" fmla="*/ 703686 h 949942"/>
                  <a:gd name="connsiteX53" fmla="*/ 214336 w 626893"/>
                  <a:gd name="connsiteY53" fmla="*/ 728944 h 949942"/>
                  <a:gd name="connsiteX54" fmla="*/ 195424 w 626893"/>
                  <a:gd name="connsiteY54" fmla="*/ 747886 h 949942"/>
                  <a:gd name="connsiteX55" fmla="*/ 182816 w 626893"/>
                  <a:gd name="connsiteY55" fmla="*/ 760516 h 949942"/>
                  <a:gd name="connsiteX56" fmla="*/ 170208 w 626893"/>
                  <a:gd name="connsiteY56" fmla="*/ 766830 h 949942"/>
                  <a:gd name="connsiteX57" fmla="*/ 157600 w 626893"/>
                  <a:gd name="connsiteY57" fmla="*/ 779458 h 949942"/>
                  <a:gd name="connsiteX58" fmla="*/ 151296 w 626893"/>
                  <a:gd name="connsiteY58" fmla="*/ 792086 h 949942"/>
                  <a:gd name="connsiteX59" fmla="*/ 126080 w 626893"/>
                  <a:gd name="connsiteY59" fmla="*/ 823658 h 949942"/>
                  <a:gd name="connsiteX60" fmla="*/ 100864 w 626893"/>
                  <a:gd name="connsiteY60" fmla="*/ 848914 h 949942"/>
                  <a:gd name="connsiteX61" fmla="*/ 94560 w 626893"/>
                  <a:gd name="connsiteY61" fmla="*/ 861542 h 949942"/>
                  <a:gd name="connsiteX62" fmla="*/ 88256 w 626893"/>
                  <a:gd name="connsiteY62" fmla="*/ 867858 h 949942"/>
                  <a:gd name="connsiteX63" fmla="*/ 69344 w 626893"/>
                  <a:gd name="connsiteY63" fmla="*/ 886800 h 949942"/>
                  <a:gd name="connsiteX64" fmla="*/ 63040 w 626893"/>
                  <a:gd name="connsiteY64" fmla="*/ 899428 h 949942"/>
                  <a:gd name="connsiteX65" fmla="*/ 63040 w 626893"/>
                  <a:gd name="connsiteY65" fmla="*/ 905742 h 949942"/>
                  <a:gd name="connsiteX66" fmla="*/ 56736 w 626893"/>
                  <a:gd name="connsiteY66" fmla="*/ 912056 h 949942"/>
                  <a:gd name="connsiteX67" fmla="*/ 50432 w 626893"/>
                  <a:gd name="connsiteY67" fmla="*/ 912056 h 949942"/>
                  <a:gd name="connsiteX68" fmla="*/ 50432 w 626893"/>
                  <a:gd name="connsiteY68" fmla="*/ 918372 h 949942"/>
                  <a:gd name="connsiteX69" fmla="*/ 50432 w 626893"/>
                  <a:gd name="connsiteY69" fmla="*/ 931000 h 949942"/>
                  <a:gd name="connsiteX70" fmla="*/ 37824 w 626893"/>
                  <a:gd name="connsiteY70" fmla="*/ 949942 h 949942"/>
                  <a:gd name="connsiteX71" fmla="*/ 25216 w 626893"/>
                  <a:gd name="connsiteY71" fmla="*/ 918372 h 949942"/>
                  <a:gd name="connsiteX72" fmla="*/ 12608 w 626893"/>
                  <a:gd name="connsiteY72" fmla="*/ 905742 h 949942"/>
                  <a:gd name="connsiteX73" fmla="*/ 0 w 626893"/>
                  <a:gd name="connsiteY73" fmla="*/ 893114 h 949942"/>
                  <a:gd name="connsiteX74" fmla="*/ 0 w 626893"/>
                  <a:gd name="connsiteY74" fmla="*/ 861542 h 949942"/>
                  <a:gd name="connsiteX75" fmla="*/ 0 w 626893"/>
                  <a:gd name="connsiteY75" fmla="*/ 823658 h 949942"/>
                  <a:gd name="connsiteX76" fmla="*/ 0 w 626893"/>
                  <a:gd name="connsiteY76" fmla="*/ 665802 h 949942"/>
                  <a:gd name="connsiteX77" fmla="*/ 0 w 626893"/>
                  <a:gd name="connsiteY77" fmla="*/ 634230 h 949942"/>
                  <a:gd name="connsiteX78" fmla="*/ 12608 w 626893"/>
                  <a:gd name="connsiteY78" fmla="*/ 621602 h 949942"/>
                  <a:gd name="connsiteX79" fmla="*/ 25216 w 626893"/>
                  <a:gd name="connsiteY79" fmla="*/ 608974 h 949942"/>
                  <a:gd name="connsiteX80" fmla="*/ 44128 w 626893"/>
                  <a:gd name="connsiteY80" fmla="*/ 577402 h 949942"/>
                  <a:gd name="connsiteX81" fmla="*/ 56736 w 626893"/>
                  <a:gd name="connsiteY81" fmla="*/ 552146 h 949942"/>
                  <a:gd name="connsiteX82" fmla="*/ 81952 w 626893"/>
                  <a:gd name="connsiteY82" fmla="*/ 539516 h 949942"/>
                  <a:gd name="connsiteX83" fmla="*/ 113472 w 626893"/>
                  <a:gd name="connsiteY83" fmla="*/ 533202 h 949942"/>
                  <a:gd name="connsiteX84" fmla="*/ 119776 w 626893"/>
                  <a:gd name="connsiteY84" fmla="*/ 520574 h 949942"/>
                  <a:gd name="connsiteX85" fmla="*/ 126080 w 626893"/>
                  <a:gd name="connsiteY85" fmla="*/ 514260 h 949942"/>
                  <a:gd name="connsiteX86" fmla="*/ 157600 w 626893"/>
                  <a:gd name="connsiteY86" fmla="*/ 495318 h 949942"/>
                  <a:gd name="connsiteX87" fmla="*/ 170208 w 626893"/>
                  <a:gd name="connsiteY87" fmla="*/ 489002 h 949942"/>
                  <a:gd name="connsiteX88" fmla="*/ 182816 w 626893"/>
                  <a:gd name="connsiteY88" fmla="*/ 489002 h 949942"/>
                  <a:gd name="connsiteX89" fmla="*/ 189120 w 626893"/>
                  <a:gd name="connsiteY89" fmla="*/ 489002 h 949942"/>
                  <a:gd name="connsiteX90" fmla="*/ 239550 w 626893"/>
                  <a:gd name="connsiteY90" fmla="*/ 489002 h 949942"/>
                  <a:gd name="connsiteX91" fmla="*/ 252158 w 626893"/>
                  <a:gd name="connsiteY91" fmla="*/ 482688 h 949942"/>
                  <a:gd name="connsiteX92" fmla="*/ 264766 w 626893"/>
                  <a:gd name="connsiteY92" fmla="*/ 463746 h 949942"/>
                  <a:gd name="connsiteX93" fmla="*/ 296286 w 626893"/>
                  <a:gd name="connsiteY93" fmla="*/ 419546 h 949942"/>
                  <a:gd name="connsiteX94" fmla="*/ 356962 w 626893"/>
                  <a:gd name="connsiteY94" fmla="*/ 346932 h 949942"/>
                  <a:gd name="connsiteX95" fmla="*/ 416839 w 626893"/>
                  <a:gd name="connsiteY95" fmla="*/ 280454 h 949942"/>
                  <a:gd name="connsiteX96" fmla="*/ 379822 w 626893"/>
                  <a:gd name="connsiteY96" fmla="*/ 280454 h 949942"/>
                  <a:gd name="connsiteX97" fmla="*/ 348302 w 626893"/>
                  <a:gd name="connsiteY97" fmla="*/ 280454 h 949942"/>
                  <a:gd name="connsiteX98" fmla="*/ 278958 w 626893"/>
                  <a:gd name="connsiteY98" fmla="*/ 255198 h 949942"/>
                  <a:gd name="connsiteX99" fmla="*/ 209616 w 626893"/>
                  <a:gd name="connsiteY99" fmla="*/ 223626 h 949942"/>
                  <a:gd name="connsiteX100" fmla="*/ 178096 w 626893"/>
                  <a:gd name="connsiteY100" fmla="*/ 217312 h 949942"/>
                  <a:gd name="connsiteX101" fmla="*/ 152880 w 626893"/>
                  <a:gd name="connsiteY101" fmla="*/ 192056 h 949942"/>
                  <a:gd name="connsiteX102" fmla="*/ 140272 w 626893"/>
                  <a:gd name="connsiteY102" fmla="*/ 179426 h 949942"/>
                  <a:gd name="connsiteX103" fmla="*/ 127664 w 626893"/>
                  <a:gd name="connsiteY103" fmla="*/ 160484 h 949942"/>
                  <a:gd name="connsiteX104" fmla="*/ 121360 w 626893"/>
                  <a:gd name="connsiteY104" fmla="*/ 154170 h 949942"/>
                  <a:gd name="connsiteX105" fmla="*/ 115056 w 626893"/>
                  <a:gd name="connsiteY105" fmla="*/ 147856 h 949942"/>
                  <a:gd name="connsiteX106" fmla="*/ 108752 w 626893"/>
                  <a:gd name="connsiteY106" fmla="*/ 135228 h 949942"/>
                  <a:gd name="connsiteX107" fmla="*/ 102448 w 626893"/>
                  <a:gd name="connsiteY107" fmla="*/ 128914 h 949942"/>
                  <a:gd name="connsiteX108" fmla="*/ 96144 w 626893"/>
                  <a:gd name="connsiteY108" fmla="*/ 116284 h 949942"/>
                  <a:gd name="connsiteX109" fmla="*/ 89840 w 626893"/>
                  <a:gd name="connsiteY109" fmla="*/ 103656 h 949942"/>
                  <a:gd name="connsiteX110" fmla="*/ 96144 w 626893"/>
                  <a:gd name="connsiteY110" fmla="*/ 97342 h 949942"/>
                  <a:gd name="connsiteX111" fmla="*/ 96144 w 626893"/>
                  <a:gd name="connsiteY111" fmla="*/ 84714 h 949942"/>
                  <a:gd name="connsiteX112" fmla="*/ 102448 w 626893"/>
                  <a:gd name="connsiteY112" fmla="*/ 84714 h 949942"/>
                  <a:gd name="connsiteX113" fmla="*/ 102448 w 626893"/>
                  <a:gd name="connsiteY113" fmla="*/ 78400 h 949942"/>
                  <a:gd name="connsiteX114" fmla="*/ 108752 w 626893"/>
                  <a:gd name="connsiteY114" fmla="*/ 65770 h 949942"/>
                  <a:gd name="connsiteX115" fmla="*/ 121360 w 626893"/>
                  <a:gd name="connsiteY115" fmla="*/ 46828 h 949942"/>
                  <a:gd name="connsiteX116" fmla="*/ 127664 w 626893"/>
                  <a:gd name="connsiteY116" fmla="*/ 40514 h 949942"/>
                  <a:gd name="connsiteX117" fmla="*/ 133968 w 626893"/>
                  <a:gd name="connsiteY117" fmla="*/ 46828 h 949942"/>
                  <a:gd name="connsiteX118" fmla="*/ 140272 w 626893"/>
                  <a:gd name="connsiteY118" fmla="*/ 46828 h 949942"/>
                  <a:gd name="connsiteX119" fmla="*/ 140272 w 626893"/>
                  <a:gd name="connsiteY119" fmla="*/ 59456 h 949942"/>
                  <a:gd name="connsiteX120" fmla="*/ 146576 w 626893"/>
                  <a:gd name="connsiteY120" fmla="*/ 65770 h 949942"/>
                  <a:gd name="connsiteX121" fmla="*/ 159184 w 626893"/>
                  <a:gd name="connsiteY121" fmla="*/ 91028 h 949942"/>
                  <a:gd name="connsiteX122" fmla="*/ 184400 w 626893"/>
                  <a:gd name="connsiteY122" fmla="*/ 109970 h 949942"/>
                  <a:gd name="connsiteX123" fmla="*/ 209616 w 626893"/>
                  <a:gd name="connsiteY123" fmla="*/ 116284 h 949942"/>
                  <a:gd name="connsiteX124" fmla="*/ 234830 w 626893"/>
                  <a:gd name="connsiteY124" fmla="*/ 109970 h 949942"/>
                  <a:gd name="connsiteX125" fmla="*/ 241134 w 626893"/>
                  <a:gd name="connsiteY125" fmla="*/ 103656 h 949942"/>
                  <a:gd name="connsiteX126" fmla="*/ 253742 w 626893"/>
                  <a:gd name="connsiteY126" fmla="*/ 97342 h 949942"/>
                  <a:gd name="connsiteX127" fmla="*/ 272654 w 626893"/>
                  <a:gd name="connsiteY127" fmla="*/ 84714 h 949942"/>
                  <a:gd name="connsiteX128" fmla="*/ 278958 w 626893"/>
                  <a:gd name="connsiteY128" fmla="*/ 84714 h 949942"/>
                  <a:gd name="connsiteX129" fmla="*/ 285262 w 626893"/>
                  <a:gd name="connsiteY129" fmla="*/ 84714 h 949942"/>
                  <a:gd name="connsiteX130" fmla="*/ 297870 w 626893"/>
                  <a:gd name="connsiteY130" fmla="*/ 91028 h 949942"/>
                  <a:gd name="connsiteX131" fmla="*/ 304174 w 626893"/>
                  <a:gd name="connsiteY131" fmla="*/ 91028 h 949942"/>
                  <a:gd name="connsiteX132" fmla="*/ 316782 w 626893"/>
                  <a:gd name="connsiteY132" fmla="*/ 97342 h 949942"/>
                  <a:gd name="connsiteX133" fmla="*/ 329390 w 626893"/>
                  <a:gd name="connsiteY133" fmla="*/ 91028 h 949942"/>
                  <a:gd name="connsiteX134" fmla="*/ 348302 w 626893"/>
                  <a:gd name="connsiteY134" fmla="*/ 78400 h 949942"/>
                  <a:gd name="connsiteX135" fmla="*/ 373518 w 626893"/>
                  <a:gd name="connsiteY135" fmla="*/ 65770 h 949942"/>
                  <a:gd name="connsiteX136" fmla="*/ 392430 w 626893"/>
                  <a:gd name="connsiteY136" fmla="*/ 65770 h 949942"/>
                  <a:gd name="connsiteX137" fmla="*/ 405038 w 626893"/>
                  <a:gd name="connsiteY137" fmla="*/ 65770 h 949942"/>
                  <a:gd name="connsiteX138" fmla="*/ 417646 w 626893"/>
                  <a:gd name="connsiteY138" fmla="*/ 65770 h 949942"/>
                  <a:gd name="connsiteX139" fmla="*/ 430254 w 626893"/>
                  <a:gd name="connsiteY139" fmla="*/ 59456 h 949942"/>
                  <a:gd name="connsiteX140" fmla="*/ 436558 w 626893"/>
                  <a:gd name="connsiteY140" fmla="*/ 53142 h 949942"/>
                  <a:gd name="connsiteX141" fmla="*/ 455470 w 626893"/>
                  <a:gd name="connsiteY141" fmla="*/ 53142 h 949942"/>
                  <a:gd name="connsiteX142" fmla="*/ 468078 w 626893"/>
                  <a:gd name="connsiteY142" fmla="*/ 59456 h 949942"/>
                  <a:gd name="connsiteX143" fmla="*/ 469126 w 626893"/>
                  <a:gd name="connsiteY143" fmla="*/ 59106 h 949942"/>
                  <a:gd name="connsiteX144" fmla="*/ 469002 w 626893"/>
                  <a:gd name="connsiteY144" fmla="*/ 51420 h 949942"/>
                  <a:gd name="connsiteX145" fmla="*/ 472798 w 626893"/>
                  <a:gd name="connsiteY145" fmla="*/ 53320 h 949942"/>
                  <a:gd name="connsiteX146" fmla="*/ 491710 w 626893"/>
                  <a:gd name="connsiteY146" fmla="*/ 47006 h 949942"/>
                  <a:gd name="connsiteX147" fmla="*/ 504318 w 626893"/>
                  <a:gd name="connsiteY147" fmla="*/ 47006 h 949942"/>
                  <a:gd name="connsiteX148" fmla="*/ 510622 w 626893"/>
                  <a:gd name="connsiteY148" fmla="*/ 40692 h 949942"/>
                  <a:gd name="connsiteX149" fmla="*/ 529534 w 626893"/>
                  <a:gd name="connsiteY149" fmla="*/ 34378 h 949942"/>
                  <a:gd name="connsiteX150" fmla="*/ 542142 w 626893"/>
                  <a:gd name="connsiteY150" fmla="*/ 34378 h 949942"/>
                  <a:gd name="connsiteX151" fmla="*/ 548444 w 626893"/>
                  <a:gd name="connsiteY151" fmla="*/ 28064 h 949942"/>
                  <a:gd name="connsiteX152" fmla="*/ 567356 w 626893"/>
                  <a:gd name="connsiteY152" fmla="*/ 21750 h 949942"/>
                  <a:gd name="connsiteX153" fmla="*/ 573660 w 626893"/>
                  <a:gd name="connsiteY153" fmla="*/ 2806 h 949942"/>
                  <a:gd name="connsiteX154" fmla="*/ 582328 w 626893"/>
                  <a:gd name="connsiteY154" fmla="*/ 438 h 94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626893" h="949942">
                    <a:moveTo>
                      <a:pt x="418990" y="274318"/>
                    </a:moveTo>
                    <a:lnTo>
                      <a:pt x="418516" y="275472"/>
                    </a:lnTo>
                    <a:lnTo>
                      <a:pt x="421327" y="275472"/>
                    </a:lnTo>
                    <a:lnTo>
                      <a:pt x="422366" y="274318"/>
                    </a:lnTo>
                    <a:close/>
                    <a:moveTo>
                      <a:pt x="582328" y="438"/>
                    </a:moveTo>
                    <a:cubicBezTo>
                      <a:pt x="584692" y="-351"/>
                      <a:pt x="586268" y="-351"/>
                      <a:pt x="586268" y="2806"/>
                    </a:cubicBezTo>
                    <a:cubicBezTo>
                      <a:pt x="592572" y="2806"/>
                      <a:pt x="598876" y="9120"/>
                      <a:pt x="605180" y="9120"/>
                    </a:cubicBezTo>
                    <a:cubicBezTo>
                      <a:pt x="611484" y="9120"/>
                      <a:pt x="617788" y="9120"/>
                      <a:pt x="617788" y="15434"/>
                    </a:cubicBezTo>
                    <a:cubicBezTo>
                      <a:pt x="611484" y="15434"/>
                      <a:pt x="611484" y="21750"/>
                      <a:pt x="611484" y="21750"/>
                    </a:cubicBezTo>
                    <a:cubicBezTo>
                      <a:pt x="611484" y="28064"/>
                      <a:pt x="611484" y="28064"/>
                      <a:pt x="605180" y="28064"/>
                    </a:cubicBezTo>
                    <a:cubicBezTo>
                      <a:pt x="605180" y="34378"/>
                      <a:pt x="605180" y="40692"/>
                      <a:pt x="605180" y="47006"/>
                    </a:cubicBezTo>
                    <a:cubicBezTo>
                      <a:pt x="605180" y="47006"/>
                      <a:pt x="605180" y="53320"/>
                      <a:pt x="605180" y="53320"/>
                    </a:cubicBezTo>
                    <a:cubicBezTo>
                      <a:pt x="605180" y="59634"/>
                      <a:pt x="611484" y="59634"/>
                      <a:pt x="611484" y="59634"/>
                    </a:cubicBezTo>
                    <a:cubicBezTo>
                      <a:pt x="611484" y="65948"/>
                      <a:pt x="605180" y="65948"/>
                      <a:pt x="605180" y="72264"/>
                    </a:cubicBezTo>
                    <a:cubicBezTo>
                      <a:pt x="605180" y="72264"/>
                      <a:pt x="611484" y="78578"/>
                      <a:pt x="611484" y="84892"/>
                    </a:cubicBezTo>
                    <a:cubicBezTo>
                      <a:pt x="611484" y="84892"/>
                      <a:pt x="611484" y="91206"/>
                      <a:pt x="611484" y="91206"/>
                    </a:cubicBezTo>
                    <a:cubicBezTo>
                      <a:pt x="611484" y="97520"/>
                      <a:pt x="611484" y="97520"/>
                      <a:pt x="611484" y="97520"/>
                    </a:cubicBezTo>
                    <a:cubicBezTo>
                      <a:pt x="605180" y="97520"/>
                      <a:pt x="611484" y="103834"/>
                      <a:pt x="605180" y="103834"/>
                    </a:cubicBezTo>
                    <a:cubicBezTo>
                      <a:pt x="605180" y="103834"/>
                      <a:pt x="598876" y="110148"/>
                      <a:pt x="605180" y="110148"/>
                    </a:cubicBezTo>
                    <a:cubicBezTo>
                      <a:pt x="605180" y="110148"/>
                      <a:pt x="611484" y="110148"/>
                      <a:pt x="617788" y="103834"/>
                    </a:cubicBezTo>
                    <a:cubicBezTo>
                      <a:pt x="611484" y="103834"/>
                      <a:pt x="611484" y="103834"/>
                      <a:pt x="611484" y="97520"/>
                    </a:cubicBezTo>
                    <a:cubicBezTo>
                      <a:pt x="617788" y="103834"/>
                      <a:pt x="617788" y="103834"/>
                      <a:pt x="624092" y="103834"/>
                    </a:cubicBezTo>
                    <a:cubicBezTo>
                      <a:pt x="624092" y="103834"/>
                      <a:pt x="630396" y="103834"/>
                      <a:pt x="624092" y="110148"/>
                    </a:cubicBezTo>
                    <a:cubicBezTo>
                      <a:pt x="624092" y="110148"/>
                      <a:pt x="624092" y="110148"/>
                      <a:pt x="617788" y="110148"/>
                    </a:cubicBezTo>
                    <a:cubicBezTo>
                      <a:pt x="617788" y="110148"/>
                      <a:pt x="611484" y="110148"/>
                      <a:pt x="611484" y="110148"/>
                    </a:cubicBezTo>
                    <a:cubicBezTo>
                      <a:pt x="598876" y="110148"/>
                      <a:pt x="592572" y="110148"/>
                      <a:pt x="598876" y="122778"/>
                    </a:cubicBezTo>
                    <a:cubicBezTo>
                      <a:pt x="598876" y="129092"/>
                      <a:pt x="598876" y="129092"/>
                      <a:pt x="598876" y="135406"/>
                    </a:cubicBezTo>
                    <a:cubicBezTo>
                      <a:pt x="598876" y="141720"/>
                      <a:pt x="592572" y="148034"/>
                      <a:pt x="592572" y="148034"/>
                    </a:cubicBezTo>
                    <a:cubicBezTo>
                      <a:pt x="592572" y="154348"/>
                      <a:pt x="592572" y="160662"/>
                      <a:pt x="592572" y="166976"/>
                    </a:cubicBezTo>
                    <a:cubicBezTo>
                      <a:pt x="592572" y="173290"/>
                      <a:pt x="592572" y="173290"/>
                      <a:pt x="592572" y="179606"/>
                    </a:cubicBezTo>
                    <a:cubicBezTo>
                      <a:pt x="592572" y="185920"/>
                      <a:pt x="586268" y="185920"/>
                      <a:pt x="586268" y="192234"/>
                    </a:cubicBezTo>
                    <a:cubicBezTo>
                      <a:pt x="579964" y="192234"/>
                      <a:pt x="586268" y="198548"/>
                      <a:pt x="579964" y="204862"/>
                    </a:cubicBezTo>
                    <a:cubicBezTo>
                      <a:pt x="579964" y="204862"/>
                      <a:pt x="573660" y="204862"/>
                      <a:pt x="573660" y="211176"/>
                    </a:cubicBezTo>
                    <a:cubicBezTo>
                      <a:pt x="573660" y="211176"/>
                      <a:pt x="567356" y="217490"/>
                      <a:pt x="567356" y="223804"/>
                    </a:cubicBezTo>
                    <a:cubicBezTo>
                      <a:pt x="567356" y="230120"/>
                      <a:pt x="561052" y="230120"/>
                      <a:pt x="567356" y="236434"/>
                    </a:cubicBezTo>
                    <a:cubicBezTo>
                      <a:pt x="567356" y="242748"/>
                      <a:pt x="561052" y="242748"/>
                      <a:pt x="561052" y="249062"/>
                    </a:cubicBezTo>
                    <a:cubicBezTo>
                      <a:pt x="554748" y="255376"/>
                      <a:pt x="554748" y="261690"/>
                      <a:pt x="548444" y="268004"/>
                    </a:cubicBezTo>
                    <a:cubicBezTo>
                      <a:pt x="542142" y="274318"/>
                      <a:pt x="535838" y="274318"/>
                      <a:pt x="535838" y="280632"/>
                    </a:cubicBezTo>
                    <a:cubicBezTo>
                      <a:pt x="535838" y="286948"/>
                      <a:pt x="535838" y="286948"/>
                      <a:pt x="535838" y="293262"/>
                    </a:cubicBezTo>
                    <a:cubicBezTo>
                      <a:pt x="529534" y="305890"/>
                      <a:pt x="529534" y="312204"/>
                      <a:pt x="523230" y="324832"/>
                    </a:cubicBezTo>
                    <a:cubicBezTo>
                      <a:pt x="516926" y="337462"/>
                      <a:pt x="510622" y="343776"/>
                      <a:pt x="504318" y="356404"/>
                    </a:cubicBezTo>
                    <a:cubicBezTo>
                      <a:pt x="498014" y="362718"/>
                      <a:pt x="491710" y="375346"/>
                      <a:pt x="491710" y="387976"/>
                    </a:cubicBezTo>
                    <a:cubicBezTo>
                      <a:pt x="491710" y="394290"/>
                      <a:pt x="491710" y="394290"/>
                      <a:pt x="491710" y="400604"/>
                    </a:cubicBezTo>
                    <a:cubicBezTo>
                      <a:pt x="491710" y="406918"/>
                      <a:pt x="485406" y="413232"/>
                      <a:pt x="485406" y="419546"/>
                    </a:cubicBezTo>
                    <a:cubicBezTo>
                      <a:pt x="472798" y="438488"/>
                      <a:pt x="460190" y="457432"/>
                      <a:pt x="447582" y="482688"/>
                    </a:cubicBezTo>
                    <a:cubicBezTo>
                      <a:pt x="441278" y="489002"/>
                      <a:pt x="434974" y="501632"/>
                      <a:pt x="428670" y="514260"/>
                    </a:cubicBezTo>
                    <a:cubicBezTo>
                      <a:pt x="422366" y="520574"/>
                      <a:pt x="416062" y="533202"/>
                      <a:pt x="409758" y="539516"/>
                    </a:cubicBezTo>
                    <a:cubicBezTo>
                      <a:pt x="397150" y="558460"/>
                      <a:pt x="384542" y="577402"/>
                      <a:pt x="365630" y="596344"/>
                    </a:cubicBezTo>
                    <a:cubicBezTo>
                      <a:pt x="359326" y="602660"/>
                      <a:pt x="353022" y="608974"/>
                      <a:pt x="346718" y="621602"/>
                    </a:cubicBezTo>
                    <a:cubicBezTo>
                      <a:pt x="340414" y="627916"/>
                      <a:pt x="327806" y="640544"/>
                      <a:pt x="321502" y="646858"/>
                    </a:cubicBezTo>
                    <a:cubicBezTo>
                      <a:pt x="315198" y="653174"/>
                      <a:pt x="308894" y="665802"/>
                      <a:pt x="296286" y="672116"/>
                    </a:cubicBezTo>
                    <a:cubicBezTo>
                      <a:pt x="289982" y="678430"/>
                      <a:pt x="277374" y="684744"/>
                      <a:pt x="271070" y="691058"/>
                    </a:cubicBezTo>
                    <a:cubicBezTo>
                      <a:pt x="258462" y="697372"/>
                      <a:pt x="252158" y="697372"/>
                      <a:pt x="239550" y="703686"/>
                    </a:cubicBezTo>
                    <a:cubicBezTo>
                      <a:pt x="233248" y="710002"/>
                      <a:pt x="220640" y="722630"/>
                      <a:pt x="214336" y="728944"/>
                    </a:cubicBezTo>
                    <a:cubicBezTo>
                      <a:pt x="208032" y="735258"/>
                      <a:pt x="201728" y="741572"/>
                      <a:pt x="195424" y="747886"/>
                    </a:cubicBezTo>
                    <a:cubicBezTo>
                      <a:pt x="189120" y="754200"/>
                      <a:pt x="189120" y="754200"/>
                      <a:pt x="182816" y="760516"/>
                    </a:cubicBezTo>
                    <a:cubicBezTo>
                      <a:pt x="176512" y="760516"/>
                      <a:pt x="176512" y="766830"/>
                      <a:pt x="170208" y="766830"/>
                    </a:cubicBezTo>
                    <a:cubicBezTo>
                      <a:pt x="170208" y="773144"/>
                      <a:pt x="163904" y="779458"/>
                      <a:pt x="157600" y="779458"/>
                    </a:cubicBezTo>
                    <a:cubicBezTo>
                      <a:pt x="157600" y="785772"/>
                      <a:pt x="151296" y="792086"/>
                      <a:pt x="151296" y="792086"/>
                    </a:cubicBezTo>
                    <a:cubicBezTo>
                      <a:pt x="138688" y="804714"/>
                      <a:pt x="132384" y="811030"/>
                      <a:pt x="126080" y="823658"/>
                    </a:cubicBezTo>
                    <a:cubicBezTo>
                      <a:pt x="119776" y="829972"/>
                      <a:pt x="113472" y="842600"/>
                      <a:pt x="100864" y="848914"/>
                    </a:cubicBezTo>
                    <a:cubicBezTo>
                      <a:pt x="100864" y="855228"/>
                      <a:pt x="94560" y="855228"/>
                      <a:pt x="94560" y="861542"/>
                    </a:cubicBezTo>
                    <a:cubicBezTo>
                      <a:pt x="94560" y="861542"/>
                      <a:pt x="88256" y="867858"/>
                      <a:pt x="88256" y="867858"/>
                    </a:cubicBezTo>
                    <a:cubicBezTo>
                      <a:pt x="81952" y="880486"/>
                      <a:pt x="75648" y="886800"/>
                      <a:pt x="69344" y="886800"/>
                    </a:cubicBezTo>
                    <a:cubicBezTo>
                      <a:pt x="69344" y="893114"/>
                      <a:pt x="63040" y="899428"/>
                      <a:pt x="63040" y="899428"/>
                    </a:cubicBezTo>
                    <a:cubicBezTo>
                      <a:pt x="63040" y="899428"/>
                      <a:pt x="63040" y="905742"/>
                      <a:pt x="63040" y="905742"/>
                    </a:cubicBezTo>
                    <a:cubicBezTo>
                      <a:pt x="56736" y="905742"/>
                      <a:pt x="56736" y="912056"/>
                      <a:pt x="56736" y="912056"/>
                    </a:cubicBezTo>
                    <a:cubicBezTo>
                      <a:pt x="56736" y="918372"/>
                      <a:pt x="50432" y="912056"/>
                      <a:pt x="50432" y="912056"/>
                    </a:cubicBezTo>
                    <a:cubicBezTo>
                      <a:pt x="50432" y="918372"/>
                      <a:pt x="56736" y="918372"/>
                      <a:pt x="50432" y="918372"/>
                    </a:cubicBezTo>
                    <a:cubicBezTo>
                      <a:pt x="50432" y="924686"/>
                      <a:pt x="50432" y="924686"/>
                      <a:pt x="50432" y="931000"/>
                    </a:cubicBezTo>
                    <a:cubicBezTo>
                      <a:pt x="44128" y="937314"/>
                      <a:pt x="37824" y="943628"/>
                      <a:pt x="37824" y="949942"/>
                    </a:cubicBezTo>
                    <a:cubicBezTo>
                      <a:pt x="37824" y="937314"/>
                      <a:pt x="25216" y="931000"/>
                      <a:pt x="25216" y="918372"/>
                    </a:cubicBezTo>
                    <a:cubicBezTo>
                      <a:pt x="18912" y="918372"/>
                      <a:pt x="12608" y="912056"/>
                      <a:pt x="12608" y="905742"/>
                    </a:cubicBezTo>
                    <a:cubicBezTo>
                      <a:pt x="6304" y="899428"/>
                      <a:pt x="6304" y="899428"/>
                      <a:pt x="0" y="893114"/>
                    </a:cubicBezTo>
                    <a:cubicBezTo>
                      <a:pt x="0" y="880486"/>
                      <a:pt x="0" y="874172"/>
                      <a:pt x="0" y="861542"/>
                    </a:cubicBezTo>
                    <a:cubicBezTo>
                      <a:pt x="0" y="848914"/>
                      <a:pt x="0" y="836286"/>
                      <a:pt x="0" y="823658"/>
                    </a:cubicBezTo>
                    <a:cubicBezTo>
                      <a:pt x="0" y="773144"/>
                      <a:pt x="0" y="716316"/>
                      <a:pt x="0" y="665802"/>
                    </a:cubicBezTo>
                    <a:cubicBezTo>
                      <a:pt x="0" y="659488"/>
                      <a:pt x="0" y="646858"/>
                      <a:pt x="0" y="634230"/>
                    </a:cubicBezTo>
                    <a:cubicBezTo>
                      <a:pt x="6304" y="634230"/>
                      <a:pt x="6304" y="627916"/>
                      <a:pt x="12608" y="621602"/>
                    </a:cubicBezTo>
                    <a:cubicBezTo>
                      <a:pt x="12608" y="621602"/>
                      <a:pt x="18912" y="615288"/>
                      <a:pt x="25216" y="608974"/>
                    </a:cubicBezTo>
                    <a:cubicBezTo>
                      <a:pt x="31520" y="602660"/>
                      <a:pt x="37824" y="590030"/>
                      <a:pt x="44128" y="577402"/>
                    </a:cubicBezTo>
                    <a:cubicBezTo>
                      <a:pt x="44128" y="571088"/>
                      <a:pt x="56736" y="558460"/>
                      <a:pt x="56736" y="552146"/>
                    </a:cubicBezTo>
                    <a:cubicBezTo>
                      <a:pt x="63040" y="539516"/>
                      <a:pt x="75648" y="539516"/>
                      <a:pt x="81952" y="539516"/>
                    </a:cubicBezTo>
                    <a:cubicBezTo>
                      <a:pt x="94560" y="539516"/>
                      <a:pt x="107168" y="539516"/>
                      <a:pt x="113472" y="533202"/>
                    </a:cubicBezTo>
                    <a:cubicBezTo>
                      <a:pt x="119776" y="533202"/>
                      <a:pt x="119776" y="526888"/>
                      <a:pt x="119776" y="520574"/>
                    </a:cubicBezTo>
                    <a:cubicBezTo>
                      <a:pt x="119776" y="520574"/>
                      <a:pt x="126080" y="514260"/>
                      <a:pt x="126080" y="514260"/>
                    </a:cubicBezTo>
                    <a:cubicBezTo>
                      <a:pt x="138688" y="507946"/>
                      <a:pt x="144992" y="501632"/>
                      <a:pt x="157600" y="495318"/>
                    </a:cubicBezTo>
                    <a:cubicBezTo>
                      <a:pt x="163904" y="495318"/>
                      <a:pt x="170208" y="489002"/>
                      <a:pt x="170208" y="489002"/>
                    </a:cubicBezTo>
                    <a:cubicBezTo>
                      <a:pt x="176512" y="489002"/>
                      <a:pt x="176512" y="489002"/>
                      <a:pt x="182816" y="489002"/>
                    </a:cubicBezTo>
                    <a:cubicBezTo>
                      <a:pt x="182816" y="489002"/>
                      <a:pt x="189120" y="489002"/>
                      <a:pt x="189120" y="489002"/>
                    </a:cubicBezTo>
                    <a:cubicBezTo>
                      <a:pt x="208032" y="489002"/>
                      <a:pt x="220640" y="489002"/>
                      <a:pt x="239550" y="489002"/>
                    </a:cubicBezTo>
                    <a:cubicBezTo>
                      <a:pt x="245854" y="489002"/>
                      <a:pt x="245854" y="482688"/>
                      <a:pt x="252158" y="482688"/>
                    </a:cubicBezTo>
                    <a:cubicBezTo>
                      <a:pt x="252158" y="476374"/>
                      <a:pt x="258462" y="470060"/>
                      <a:pt x="264766" y="463746"/>
                    </a:cubicBezTo>
                    <a:cubicBezTo>
                      <a:pt x="277374" y="451118"/>
                      <a:pt x="283678" y="432174"/>
                      <a:pt x="296286" y="419546"/>
                    </a:cubicBezTo>
                    <a:cubicBezTo>
                      <a:pt x="315198" y="394289"/>
                      <a:pt x="335686" y="370611"/>
                      <a:pt x="356962" y="346932"/>
                    </a:cubicBezTo>
                    <a:lnTo>
                      <a:pt x="416839" y="280454"/>
                    </a:lnTo>
                    <a:lnTo>
                      <a:pt x="379822" y="280454"/>
                    </a:lnTo>
                    <a:cubicBezTo>
                      <a:pt x="373518" y="280454"/>
                      <a:pt x="360910" y="286768"/>
                      <a:pt x="348302" y="280454"/>
                    </a:cubicBezTo>
                    <a:cubicBezTo>
                      <a:pt x="323086" y="267826"/>
                      <a:pt x="304174" y="261512"/>
                      <a:pt x="278958" y="255198"/>
                    </a:cubicBezTo>
                    <a:cubicBezTo>
                      <a:pt x="253742" y="242570"/>
                      <a:pt x="234830" y="236256"/>
                      <a:pt x="209616" y="223626"/>
                    </a:cubicBezTo>
                    <a:cubicBezTo>
                      <a:pt x="197008" y="223626"/>
                      <a:pt x="190704" y="217312"/>
                      <a:pt x="178096" y="217312"/>
                    </a:cubicBezTo>
                    <a:cubicBezTo>
                      <a:pt x="171792" y="210998"/>
                      <a:pt x="159184" y="198370"/>
                      <a:pt x="152880" y="192056"/>
                    </a:cubicBezTo>
                    <a:cubicBezTo>
                      <a:pt x="152880" y="185742"/>
                      <a:pt x="140272" y="192056"/>
                      <a:pt x="140272" y="179426"/>
                    </a:cubicBezTo>
                    <a:cubicBezTo>
                      <a:pt x="133968" y="173112"/>
                      <a:pt x="127664" y="166798"/>
                      <a:pt x="127664" y="160484"/>
                    </a:cubicBezTo>
                    <a:cubicBezTo>
                      <a:pt x="127664" y="160484"/>
                      <a:pt x="127664" y="154170"/>
                      <a:pt x="121360" y="154170"/>
                    </a:cubicBezTo>
                    <a:cubicBezTo>
                      <a:pt x="121360" y="147856"/>
                      <a:pt x="115056" y="147856"/>
                      <a:pt x="115056" y="147856"/>
                    </a:cubicBezTo>
                    <a:cubicBezTo>
                      <a:pt x="115056" y="141542"/>
                      <a:pt x="115056" y="141542"/>
                      <a:pt x="108752" y="135228"/>
                    </a:cubicBezTo>
                    <a:cubicBezTo>
                      <a:pt x="108752" y="135228"/>
                      <a:pt x="102448" y="135228"/>
                      <a:pt x="102448" y="128914"/>
                    </a:cubicBezTo>
                    <a:cubicBezTo>
                      <a:pt x="102448" y="122598"/>
                      <a:pt x="96144" y="116284"/>
                      <a:pt x="96144" y="116284"/>
                    </a:cubicBezTo>
                    <a:cubicBezTo>
                      <a:pt x="96144" y="109970"/>
                      <a:pt x="89840" y="109970"/>
                      <a:pt x="89840" y="103656"/>
                    </a:cubicBezTo>
                    <a:cubicBezTo>
                      <a:pt x="89840" y="97342"/>
                      <a:pt x="89840" y="97342"/>
                      <a:pt x="96144" y="97342"/>
                    </a:cubicBezTo>
                    <a:cubicBezTo>
                      <a:pt x="96144" y="97342"/>
                      <a:pt x="96144" y="91028"/>
                      <a:pt x="96144" y="84714"/>
                    </a:cubicBezTo>
                    <a:cubicBezTo>
                      <a:pt x="102448" y="84714"/>
                      <a:pt x="102448" y="84714"/>
                      <a:pt x="102448" y="84714"/>
                    </a:cubicBezTo>
                    <a:cubicBezTo>
                      <a:pt x="102448" y="78400"/>
                      <a:pt x="102448" y="78400"/>
                      <a:pt x="102448" y="78400"/>
                    </a:cubicBezTo>
                    <a:cubicBezTo>
                      <a:pt x="108752" y="72084"/>
                      <a:pt x="108752" y="65770"/>
                      <a:pt x="108752" y="65770"/>
                    </a:cubicBezTo>
                    <a:cubicBezTo>
                      <a:pt x="115056" y="59456"/>
                      <a:pt x="115056" y="53142"/>
                      <a:pt x="121360" y="46828"/>
                    </a:cubicBezTo>
                    <a:cubicBezTo>
                      <a:pt x="121360" y="40514"/>
                      <a:pt x="127664" y="46828"/>
                      <a:pt x="127664" y="40514"/>
                    </a:cubicBezTo>
                    <a:cubicBezTo>
                      <a:pt x="127664" y="40514"/>
                      <a:pt x="127664" y="46828"/>
                      <a:pt x="133968" y="46828"/>
                    </a:cubicBezTo>
                    <a:cubicBezTo>
                      <a:pt x="133968" y="53142"/>
                      <a:pt x="140272" y="46828"/>
                      <a:pt x="140272" y="46828"/>
                    </a:cubicBezTo>
                    <a:cubicBezTo>
                      <a:pt x="140272" y="53142"/>
                      <a:pt x="140272" y="53142"/>
                      <a:pt x="140272" y="59456"/>
                    </a:cubicBezTo>
                    <a:cubicBezTo>
                      <a:pt x="140272" y="59456"/>
                      <a:pt x="140272" y="65770"/>
                      <a:pt x="146576" y="65770"/>
                    </a:cubicBezTo>
                    <a:cubicBezTo>
                      <a:pt x="146576" y="72084"/>
                      <a:pt x="152880" y="84714"/>
                      <a:pt x="159184" y="91028"/>
                    </a:cubicBezTo>
                    <a:cubicBezTo>
                      <a:pt x="165488" y="97342"/>
                      <a:pt x="171792" y="103656"/>
                      <a:pt x="184400" y="109970"/>
                    </a:cubicBezTo>
                    <a:cubicBezTo>
                      <a:pt x="190704" y="116284"/>
                      <a:pt x="197008" y="116284"/>
                      <a:pt x="209616" y="116284"/>
                    </a:cubicBezTo>
                    <a:cubicBezTo>
                      <a:pt x="215920" y="109970"/>
                      <a:pt x="228528" y="116284"/>
                      <a:pt x="234830" y="109970"/>
                    </a:cubicBezTo>
                    <a:cubicBezTo>
                      <a:pt x="234830" y="109970"/>
                      <a:pt x="241134" y="103656"/>
                      <a:pt x="241134" y="103656"/>
                    </a:cubicBezTo>
                    <a:cubicBezTo>
                      <a:pt x="247438" y="103656"/>
                      <a:pt x="247438" y="97342"/>
                      <a:pt x="253742" y="97342"/>
                    </a:cubicBezTo>
                    <a:cubicBezTo>
                      <a:pt x="260046" y="97342"/>
                      <a:pt x="266350" y="91028"/>
                      <a:pt x="272654" y="84714"/>
                    </a:cubicBezTo>
                    <a:cubicBezTo>
                      <a:pt x="278958" y="84714"/>
                      <a:pt x="278958" y="84714"/>
                      <a:pt x="278958" y="84714"/>
                    </a:cubicBezTo>
                    <a:cubicBezTo>
                      <a:pt x="285262" y="84714"/>
                      <a:pt x="285262" y="84714"/>
                      <a:pt x="285262" y="84714"/>
                    </a:cubicBezTo>
                    <a:cubicBezTo>
                      <a:pt x="291566" y="91028"/>
                      <a:pt x="291566" y="91028"/>
                      <a:pt x="297870" y="91028"/>
                    </a:cubicBezTo>
                    <a:cubicBezTo>
                      <a:pt x="297870" y="91028"/>
                      <a:pt x="304174" y="91028"/>
                      <a:pt x="304174" y="91028"/>
                    </a:cubicBezTo>
                    <a:cubicBezTo>
                      <a:pt x="310478" y="91028"/>
                      <a:pt x="310478" y="97342"/>
                      <a:pt x="316782" y="97342"/>
                    </a:cubicBezTo>
                    <a:cubicBezTo>
                      <a:pt x="323086" y="97342"/>
                      <a:pt x="323086" y="91028"/>
                      <a:pt x="329390" y="91028"/>
                    </a:cubicBezTo>
                    <a:cubicBezTo>
                      <a:pt x="335694" y="91028"/>
                      <a:pt x="341998" y="84714"/>
                      <a:pt x="348302" y="78400"/>
                    </a:cubicBezTo>
                    <a:cubicBezTo>
                      <a:pt x="354606" y="72084"/>
                      <a:pt x="360910" y="65770"/>
                      <a:pt x="373518" y="65770"/>
                    </a:cubicBezTo>
                    <a:cubicBezTo>
                      <a:pt x="379822" y="59456"/>
                      <a:pt x="386126" y="59456"/>
                      <a:pt x="392430" y="65770"/>
                    </a:cubicBezTo>
                    <a:cubicBezTo>
                      <a:pt x="392430" y="65770"/>
                      <a:pt x="398734" y="65770"/>
                      <a:pt x="405038" y="65770"/>
                    </a:cubicBezTo>
                    <a:cubicBezTo>
                      <a:pt x="405038" y="65770"/>
                      <a:pt x="411342" y="65770"/>
                      <a:pt x="417646" y="65770"/>
                    </a:cubicBezTo>
                    <a:cubicBezTo>
                      <a:pt x="423950" y="65770"/>
                      <a:pt x="423950" y="59456"/>
                      <a:pt x="430254" y="59456"/>
                    </a:cubicBezTo>
                    <a:cubicBezTo>
                      <a:pt x="430254" y="59456"/>
                      <a:pt x="430254" y="53142"/>
                      <a:pt x="436558" y="53142"/>
                    </a:cubicBezTo>
                    <a:cubicBezTo>
                      <a:pt x="442862" y="53142"/>
                      <a:pt x="449166" y="53142"/>
                      <a:pt x="455470" y="53142"/>
                    </a:cubicBezTo>
                    <a:cubicBezTo>
                      <a:pt x="455470" y="53142"/>
                      <a:pt x="461774" y="53142"/>
                      <a:pt x="468078" y="59456"/>
                    </a:cubicBezTo>
                    <a:lnTo>
                      <a:pt x="469126" y="59106"/>
                    </a:lnTo>
                    <a:lnTo>
                      <a:pt x="469002" y="51420"/>
                    </a:lnTo>
                    <a:lnTo>
                      <a:pt x="472798" y="53320"/>
                    </a:lnTo>
                    <a:cubicBezTo>
                      <a:pt x="479102" y="53320"/>
                      <a:pt x="485406" y="47006"/>
                      <a:pt x="491710" y="47006"/>
                    </a:cubicBezTo>
                    <a:cubicBezTo>
                      <a:pt x="498014" y="47006"/>
                      <a:pt x="498014" y="47006"/>
                      <a:pt x="504318" y="47006"/>
                    </a:cubicBezTo>
                    <a:cubicBezTo>
                      <a:pt x="504318" y="40692"/>
                      <a:pt x="510622" y="40692"/>
                      <a:pt x="510622" y="40692"/>
                    </a:cubicBezTo>
                    <a:cubicBezTo>
                      <a:pt x="516926" y="34378"/>
                      <a:pt x="523230" y="40692"/>
                      <a:pt x="529534" y="34378"/>
                    </a:cubicBezTo>
                    <a:cubicBezTo>
                      <a:pt x="535838" y="34378"/>
                      <a:pt x="535838" y="34378"/>
                      <a:pt x="542142" y="34378"/>
                    </a:cubicBezTo>
                    <a:cubicBezTo>
                      <a:pt x="542142" y="34378"/>
                      <a:pt x="548444" y="28064"/>
                      <a:pt x="548444" y="28064"/>
                    </a:cubicBezTo>
                    <a:cubicBezTo>
                      <a:pt x="554748" y="28064"/>
                      <a:pt x="561052" y="21750"/>
                      <a:pt x="567356" y="21750"/>
                    </a:cubicBezTo>
                    <a:cubicBezTo>
                      <a:pt x="573660" y="15434"/>
                      <a:pt x="567356" y="2806"/>
                      <a:pt x="573660" y="2806"/>
                    </a:cubicBezTo>
                    <a:cubicBezTo>
                      <a:pt x="576812" y="2806"/>
                      <a:pt x="579964" y="1227"/>
                      <a:pt x="582328" y="43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4" name="Solomon Islands">
                <a:extLst>
                  <a:ext uri="{FF2B5EF4-FFF2-40B4-BE49-F238E27FC236}">
                    <a16:creationId xmlns:a16="http://schemas.microsoft.com/office/drawing/2014/main" id="{1A58C489-6B19-A79C-F81F-04446F51CD3C}"/>
                  </a:ext>
                </a:extLst>
              </p:cNvPr>
              <p:cNvSpPr>
                <a:spLocks noEditPoints="1"/>
              </p:cNvSpPr>
              <p:nvPr/>
            </p:nvSpPr>
            <p:spPr bwMode="auto">
              <a:xfrm>
                <a:off x="11025837" y="4221759"/>
                <a:ext cx="393047" cy="283268"/>
              </a:xfrm>
              <a:custGeom>
                <a:avLst/>
                <a:gdLst/>
                <a:ahLst/>
                <a:cxnLst>
                  <a:cxn ang="0">
                    <a:pos x="16" y="41"/>
                  </a:cxn>
                  <a:cxn ang="0">
                    <a:pos x="69" y="42"/>
                  </a:cxn>
                  <a:cxn ang="0">
                    <a:pos x="40" y="40"/>
                  </a:cxn>
                  <a:cxn ang="0">
                    <a:pos x="31" y="34"/>
                  </a:cxn>
                  <a:cxn ang="0">
                    <a:pos x="31" y="37"/>
                  </a:cxn>
                  <a:cxn ang="0">
                    <a:pos x="32" y="38"/>
                  </a:cxn>
                  <a:cxn ang="0">
                    <a:pos x="40" y="43"/>
                  </a:cxn>
                  <a:cxn ang="0">
                    <a:pos x="19" y="38"/>
                  </a:cxn>
                  <a:cxn ang="0">
                    <a:pos x="19" y="41"/>
                  </a:cxn>
                  <a:cxn ang="0">
                    <a:pos x="21" y="45"/>
                  </a:cxn>
                  <a:cxn ang="0">
                    <a:pos x="17" y="46"/>
                  </a:cxn>
                  <a:cxn ang="0">
                    <a:pos x="40" y="51"/>
                  </a:cxn>
                  <a:cxn ang="0">
                    <a:pos x="16" y="31"/>
                  </a:cxn>
                  <a:cxn ang="0">
                    <a:pos x="19" y="31"/>
                  </a:cxn>
                  <a:cxn ang="0">
                    <a:pos x="15" y="26"/>
                  </a:cxn>
                  <a:cxn ang="0">
                    <a:pos x="13" y="28"/>
                  </a:cxn>
                  <a:cxn ang="0">
                    <a:pos x="37" y="74"/>
                  </a:cxn>
                  <a:cxn ang="0">
                    <a:pos x="54" y="51"/>
                  </a:cxn>
                  <a:cxn ang="0">
                    <a:pos x="53" y="49"/>
                  </a:cxn>
                  <a:cxn ang="0">
                    <a:pos x="52" y="45"/>
                  </a:cxn>
                  <a:cxn ang="0">
                    <a:pos x="48" y="42"/>
                  </a:cxn>
                  <a:cxn ang="0">
                    <a:pos x="50" y="49"/>
                  </a:cxn>
                  <a:cxn ang="0">
                    <a:pos x="52" y="53"/>
                  </a:cxn>
                  <a:cxn ang="0">
                    <a:pos x="61" y="66"/>
                  </a:cxn>
                  <a:cxn ang="0">
                    <a:pos x="57" y="64"/>
                  </a:cxn>
                  <a:cxn ang="0">
                    <a:pos x="55" y="66"/>
                  </a:cxn>
                  <a:cxn ang="0">
                    <a:pos x="60" y="69"/>
                  </a:cxn>
                  <a:cxn ang="0">
                    <a:pos x="43" y="50"/>
                  </a:cxn>
                  <a:cxn ang="0">
                    <a:pos x="33" y="49"/>
                  </a:cxn>
                  <a:cxn ang="0">
                    <a:pos x="55" y="57"/>
                  </a:cxn>
                  <a:cxn ang="0">
                    <a:pos x="6" y="25"/>
                  </a:cxn>
                  <a:cxn ang="0">
                    <a:pos x="22" y="32"/>
                  </a:cxn>
                  <a:cxn ang="0">
                    <a:pos x="10" y="37"/>
                  </a:cxn>
                  <a:cxn ang="0">
                    <a:pos x="11" y="35"/>
                  </a:cxn>
                  <a:cxn ang="0">
                    <a:pos x="23" y="44"/>
                  </a:cxn>
                  <a:cxn ang="0">
                    <a:pos x="24" y="46"/>
                  </a:cxn>
                  <a:cxn ang="0">
                    <a:pos x="60" y="59"/>
                  </a:cxn>
                  <a:cxn ang="0">
                    <a:pos x="48" y="57"/>
                  </a:cxn>
                  <a:cxn ang="0">
                    <a:pos x="43" y="54"/>
                  </a:cxn>
                  <a:cxn ang="0">
                    <a:pos x="38" y="56"/>
                  </a:cxn>
                  <a:cxn ang="0">
                    <a:pos x="43" y="58"/>
                  </a:cxn>
                  <a:cxn ang="0">
                    <a:pos x="111" y="60"/>
                  </a:cxn>
                  <a:cxn ang="0">
                    <a:pos x="39" y="44"/>
                  </a:cxn>
                  <a:cxn ang="0">
                    <a:pos x="15" y="40"/>
                  </a:cxn>
                  <a:cxn ang="0">
                    <a:pos x="27" y="34"/>
                  </a:cxn>
                  <a:cxn ang="0">
                    <a:pos x="3" y="27"/>
                  </a:cxn>
                  <a:cxn ang="0">
                    <a:pos x="43" y="78"/>
                  </a:cxn>
                  <a:cxn ang="0">
                    <a:pos x="42" y="79"/>
                  </a:cxn>
                  <a:cxn ang="0">
                    <a:pos x="25" y="47"/>
                  </a:cxn>
                  <a:cxn ang="0">
                    <a:pos x="45" y="51"/>
                  </a:cxn>
                  <a:cxn ang="0">
                    <a:pos x="44" y="51"/>
                  </a:cxn>
                  <a:cxn ang="0">
                    <a:pos x="40" y="10"/>
                  </a:cxn>
                  <a:cxn ang="0">
                    <a:pos x="42" y="11"/>
                  </a:cxn>
                </a:cxnLst>
                <a:rect l="0" t="0" r="r" b="b"/>
                <a:pathLst>
                  <a:path w="111" h="80">
                    <a:moveTo>
                      <a:pt x="19" y="46"/>
                    </a:moveTo>
                    <a:cubicBezTo>
                      <a:pt x="19" y="46"/>
                      <a:pt x="20" y="47"/>
                      <a:pt x="19" y="47"/>
                    </a:cubicBezTo>
                    <a:cubicBezTo>
                      <a:pt x="19" y="47"/>
                      <a:pt x="17" y="46"/>
                      <a:pt x="18" y="46"/>
                    </a:cubicBezTo>
                    <a:cubicBezTo>
                      <a:pt x="18" y="46"/>
                      <a:pt x="19" y="46"/>
                      <a:pt x="19" y="46"/>
                    </a:cubicBezTo>
                    <a:close/>
                    <a:moveTo>
                      <a:pt x="16" y="41"/>
                    </a:moveTo>
                    <a:cubicBezTo>
                      <a:pt x="16" y="40"/>
                      <a:pt x="16" y="40"/>
                      <a:pt x="15" y="40"/>
                    </a:cubicBezTo>
                    <a:cubicBezTo>
                      <a:pt x="15" y="40"/>
                      <a:pt x="15" y="41"/>
                      <a:pt x="16" y="41"/>
                    </a:cubicBezTo>
                    <a:close/>
                    <a:moveTo>
                      <a:pt x="69" y="42"/>
                    </a:moveTo>
                    <a:cubicBezTo>
                      <a:pt x="69" y="42"/>
                      <a:pt x="69" y="42"/>
                      <a:pt x="69" y="42"/>
                    </a:cubicBezTo>
                    <a:cubicBezTo>
                      <a:pt x="69" y="42"/>
                      <a:pt x="69" y="42"/>
                      <a:pt x="69" y="42"/>
                    </a:cubicBezTo>
                    <a:close/>
                    <a:moveTo>
                      <a:pt x="40" y="43"/>
                    </a:moveTo>
                    <a:cubicBezTo>
                      <a:pt x="40" y="43"/>
                      <a:pt x="41" y="45"/>
                      <a:pt x="41" y="44"/>
                    </a:cubicBezTo>
                    <a:cubicBezTo>
                      <a:pt x="42" y="44"/>
                      <a:pt x="40" y="43"/>
                      <a:pt x="41" y="42"/>
                    </a:cubicBezTo>
                    <a:cubicBezTo>
                      <a:pt x="41" y="42"/>
                      <a:pt x="41" y="42"/>
                      <a:pt x="41" y="42"/>
                    </a:cubicBezTo>
                    <a:cubicBezTo>
                      <a:pt x="41" y="41"/>
                      <a:pt x="40" y="41"/>
                      <a:pt x="40" y="40"/>
                    </a:cubicBezTo>
                    <a:cubicBezTo>
                      <a:pt x="39" y="40"/>
                      <a:pt x="38" y="38"/>
                      <a:pt x="37" y="38"/>
                    </a:cubicBezTo>
                    <a:cubicBezTo>
                      <a:pt x="36" y="38"/>
                      <a:pt x="36" y="37"/>
                      <a:pt x="35" y="37"/>
                    </a:cubicBezTo>
                    <a:cubicBezTo>
                      <a:pt x="35" y="37"/>
                      <a:pt x="35" y="37"/>
                      <a:pt x="34" y="37"/>
                    </a:cubicBezTo>
                    <a:cubicBezTo>
                      <a:pt x="34" y="36"/>
                      <a:pt x="33" y="36"/>
                      <a:pt x="33" y="36"/>
                    </a:cubicBezTo>
                    <a:cubicBezTo>
                      <a:pt x="32" y="35"/>
                      <a:pt x="32" y="34"/>
                      <a:pt x="31" y="34"/>
                    </a:cubicBezTo>
                    <a:cubicBezTo>
                      <a:pt x="31" y="33"/>
                      <a:pt x="30" y="34"/>
                      <a:pt x="30" y="34"/>
                    </a:cubicBezTo>
                    <a:cubicBezTo>
                      <a:pt x="29" y="33"/>
                      <a:pt x="28" y="33"/>
                      <a:pt x="29" y="34"/>
                    </a:cubicBezTo>
                    <a:cubicBezTo>
                      <a:pt x="29" y="34"/>
                      <a:pt x="30" y="34"/>
                      <a:pt x="30" y="35"/>
                    </a:cubicBezTo>
                    <a:cubicBezTo>
                      <a:pt x="30" y="35"/>
                      <a:pt x="30" y="36"/>
                      <a:pt x="30" y="36"/>
                    </a:cubicBezTo>
                    <a:cubicBezTo>
                      <a:pt x="30" y="36"/>
                      <a:pt x="30" y="36"/>
                      <a:pt x="31" y="37"/>
                    </a:cubicBezTo>
                    <a:cubicBezTo>
                      <a:pt x="31" y="37"/>
                      <a:pt x="31" y="37"/>
                      <a:pt x="31" y="37"/>
                    </a:cubicBezTo>
                    <a:cubicBezTo>
                      <a:pt x="31" y="37"/>
                      <a:pt x="31" y="37"/>
                      <a:pt x="31" y="37"/>
                    </a:cubicBezTo>
                    <a:cubicBezTo>
                      <a:pt x="31" y="37"/>
                      <a:pt x="31" y="37"/>
                      <a:pt x="32" y="37"/>
                    </a:cubicBezTo>
                    <a:cubicBezTo>
                      <a:pt x="32" y="37"/>
                      <a:pt x="32" y="37"/>
                      <a:pt x="32" y="37"/>
                    </a:cubicBezTo>
                    <a:cubicBezTo>
                      <a:pt x="32" y="38"/>
                      <a:pt x="32" y="38"/>
                      <a:pt x="32" y="38"/>
                    </a:cubicBezTo>
                    <a:cubicBezTo>
                      <a:pt x="32" y="38"/>
                      <a:pt x="33" y="39"/>
                      <a:pt x="33" y="39"/>
                    </a:cubicBezTo>
                    <a:cubicBezTo>
                      <a:pt x="34" y="39"/>
                      <a:pt x="34" y="39"/>
                      <a:pt x="34" y="39"/>
                    </a:cubicBezTo>
                    <a:cubicBezTo>
                      <a:pt x="35" y="40"/>
                      <a:pt x="36" y="40"/>
                      <a:pt x="36" y="41"/>
                    </a:cubicBezTo>
                    <a:cubicBezTo>
                      <a:pt x="37" y="41"/>
                      <a:pt x="38" y="42"/>
                      <a:pt x="38" y="42"/>
                    </a:cubicBezTo>
                    <a:cubicBezTo>
                      <a:pt x="39" y="42"/>
                      <a:pt x="40" y="43"/>
                      <a:pt x="40" y="43"/>
                    </a:cubicBezTo>
                    <a:close/>
                    <a:moveTo>
                      <a:pt x="22" y="44"/>
                    </a:moveTo>
                    <a:cubicBezTo>
                      <a:pt x="23" y="43"/>
                      <a:pt x="22" y="42"/>
                      <a:pt x="21" y="41"/>
                    </a:cubicBezTo>
                    <a:cubicBezTo>
                      <a:pt x="21" y="40"/>
                      <a:pt x="21" y="41"/>
                      <a:pt x="20" y="41"/>
                    </a:cubicBezTo>
                    <a:cubicBezTo>
                      <a:pt x="20" y="41"/>
                      <a:pt x="20" y="40"/>
                      <a:pt x="20" y="40"/>
                    </a:cubicBezTo>
                    <a:cubicBezTo>
                      <a:pt x="20" y="39"/>
                      <a:pt x="20" y="37"/>
                      <a:pt x="19" y="38"/>
                    </a:cubicBezTo>
                    <a:cubicBezTo>
                      <a:pt x="18" y="38"/>
                      <a:pt x="17" y="39"/>
                      <a:pt x="17" y="40"/>
                    </a:cubicBezTo>
                    <a:cubicBezTo>
                      <a:pt x="17" y="41"/>
                      <a:pt x="16" y="40"/>
                      <a:pt x="16" y="41"/>
                    </a:cubicBezTo>
                    <a:cubicBezTo>
                      <a:pt x="16" y="41"/>
                      <a:pt x="16" y="42"/>
                      <a:pt x="16" y="42"/>
                    </a:cubicBezTo>
                    <a:cubicBezTo>
                      <a:pt x="17" y="42"/>
                      <a:pt x="17" y="41"/>
                      <a:pt x="17" y="41"/>
                    </a:cubicBezTo>
                    <a:cubicBezTo>
                      <a:pt x="18" y="41"/>
                      <a:pt x="18" y="41"/>
                      <a:pt x="19" y="41"/>
                    </a:cubicBezTo>
                    <a:cubicBezTo>
                      <a:pt x="19" y="41"/>
                      <a:pt x="20" y="42"/>
                      <a:pt x="20" y="43"/>
                    </a:cubicBezTo>
                    <a:cubicBezTo>
                      <a:pt x="19" y="43"/>
                      <a:pt x="19" y="42"/>
                      <a:pt x="19" y="42"/>
                    </a:cubicBezTo>
                    <a:cubicBezTo>
                      <a:pt x="19" y="43"/>
                      <a:pt x="19" y="43"/>
                      <a:pt x="20" y="44"/>
                    </a:cubicBezTo>
                    <a:cubicBezTo>
                      <a:pt x="20" y="44"/>
                      <a:pt x="21" y="44"/>
                      <a:pt x="21" y="44"/>
                    </a:cubicBezTo>
                    <a:cubicBezTo>
                      <a:pt x="21" y="45"/>
                      <a:pt x="21" y="45"/>
                      <a:pt x="21" y="45"/>
                    </a:cubicBezTo>
                    <a:cubicBezTo>
                      <a:pt x="22" y="45"/>
                      <a:pt x="21" y="44"/>
                      <a:pt x="22" y="45"/>
                    </a:cubicBezTo>
                    <a:cubicBezTo>
                      <a:pt x="22" y="45"/>
                      <a:pt x="22" y="44"/>
                      <a:pt x="22" y="44"/>
                    </a:cubicBezTo>
                    <a:close/>
                    <a:moveTo>
                      <a:pt x="17" y="43"/>
                    </a:moveTo>
                    <a:cubicBezTo>
                      <a:pt x="16" y="43"/>
                      <a:pt x="15" y="44"/>
                      <a:pt x="16" y="45"/>
                    </a:cubicBezTo>
                    <a:cubicBezTo>
                      <a:pt x="16" y="45"/>
                      <a:pt x="16" y="46"/>
                      <a:pt x="17" y="46"/>
                    </a:cubicBezTo>
                    <a:cubicBezTo>
                      <a:pt x="17" y="46"/>
                      <a:pt x="17" y="46"/>
                      <a:pt x="17" y="46"/>
                    </a:cubicBezTo>
                    <a:cubicBezTo>
                      <a:pt x="16" y="45"/>
                      <a:pt x="17" y="45"/>
                      <a:pt x="17" y="44"/>
                    </a:cubicBezTo>
                    <a:cubicBezTo>
                      <a:pt x="18" y="44"/>
                      <a:pt x="17" y="42"/>
                      <a:pt x="17" y="43"/>
                    </a:cubicBezTo>
                    <a:close/>
                    <a:moveTo>
                      <a:pt x="40" y="51"/>
                    </a:moveTo>
                    <a:cubicBezTo>
                      <a:pt x="41" y="50"/>
                      <a:pt x="39" y="50"/>
                      <a:pt x="40" y="51"/>
                    </a:cubicBezTo>
                    <a:close/>
                    <a:moveTo>
                      <a:pt x="1" y="31"/>
                    </a:moveTo>
                    <a:cubicBezTo>
                      <a:pt x="0" y="31"/>
                      <a:pt x="0" y="32"/>
                      <a:pt x="1" y="32"/>
                    </a:cubicBezTo>
                    <a:cubicBezTo>
                      <a:pt x="1" y="32"/>
                      <a:pt x="1" y="31"/>
                      <a:pt x="1" y="31"/>
                    </a:cubicBezTo>
                    <a:close/>
                    <a:moveTo>
                      <a:pt x="15" y="30"/>
                    </a:moveTo>
                    <a:cubicBezTo>
                      <a:pt x="15" y="30"/>
                      <a:pt x="16" y="30"/>
                      <a:pt x="16" y="31"/>
                    </a:cubicBezTo>
                    <a:cubicBezTo>
                      <a:pt x="16" y="31"/>
                      <a:pt x="16" y="31"/>
                      <a:pt x="16" y="31"/>
                    </a:cubicBezTo>
                    <a:cubicBezTo>
                      <a:pt x="17" y="31"/>
                      <a:pt x="17" y="31"/>
                      <a:pt x="18" y="31"/>
                    </a:cubicBezTo>
                    <a:cubicBezTo>
                      <a:pt x="18" y="32"/>
                      <a:pt x="18" y="32"/>
                      <a:pt x="19" y="32"/>
                    </a:cubicBezTo>
                    <a:cubicBezTo>
                      <a:pt x="19" y="32"/>
                      <a:pt x="19" y="32"/>
                      <a:pt x="19" y="31"/>
                    </a:cubicBezTo>
                    <a:cubicBezTo>
                      <a:pt x="20" y="31"/>
                      <a:pt x="20" y="30"/>
                      <a:pt x="19" y="31"/>
                    </a:cubicBezTo>
                    <a:cubicBezTo>
                      <a:pt x="18" y="31"/>
                      <a:pt x="18" y="30"/>
                      <a:pt x="18" y="30"/>
                    </a:cubicBezTo>
                    <a:cubicBezTo>
                      <a:pt x="17" y="30"/>
                      <a:pt x="18" y="30"/>
                      <a:pt x="17" y="29"/>
                    </a:cubicBezTo>
                    <a:cubicBezTo>
                      <a:pt x="17" y="29"/>
                      <a:pt x="17" y="29"/>
                      <a:pt x="17" y="29"/>
                    </a:cubicBezTo>
                    <a:cubicBezTo>
                      <a:pt x="16" y="29"/>
                      <a:pt x="17" y="27"/>
                      <a:pt x="16" y="26"/>
                    </a:cubicBezTo>
                    <a:cubicBezTo>
                      <a:pt x="15" y="26"/>
                      <a:pt x="15" y="26"/>
                      <a:pt x="15" y="26"/>
                    </a:cubicBezTo>
                    <a:cubicBezTo>
                      <a:pt x="14" y="25"/>
                      <a:pt x="14" y="25"/>
                      <a:pt x="13" y="25"/>
                    </a:cubicBezTo>
                    <a:cubicBezTo>
                      <a:pt x="12" y="24"/>
                      <a:pt x="12" y="23"/>
                      <a:pt x="11" y="23"/>
                    </a:cubicBezTo>
                    <a:cubicBezTo>
                      <a:pt x="9" y="23"/>
                      <a:pt x="10" y="25"/>
                      <a:pt x="11" y="25"/>
                    </a:cubicBezTo>
                    <a:cubicBezTo>
                      <a:pt x="11" y="26"/>
                      <a:pt x="12" y="26"/>
                      <a:pt x="12" y="26"/>
                    </a:cubicBezTo>
                    <a:cubicBezTo>
                      <a:pt x="13" y="27"/>
                      <a:pt x="13" y="28"/>
                      <a:pt x="13" y="28"/>
                    </a:cubicBezTo>
                    <a:cubicBezTo>
                      <a:pt x="14" y="29"/>
                      <a:pt x="14" y="29"/>
                      <a:pt x="15" y="30"/>
                    </a:cubicBezTo>
                    <a:cubicBezTo>
                      <a:pt x="15" y="30"/>
                      <a:pt x="15" y="30"/>
                      <a:pt x="15" y="30"/>
                    </a:cubicBezTo>
                    <a:close/>
                    <a:moveTo>
                      <a:pt x="37" y="74"/>
                    </a:moveTo>
                    <a:cubicBezTo>
                      <a:pt x="37" y="74"/>
                      <a:pt x="38" y="75"/>
                      <a:pt x="38" y="75"/>
                    </a:cubicBezTo>
                    <a:cubicBezTo>
                      <a:pt x="38" y="74"/>
                      <a:pt x="37" y="74"/>
                      <a:pt x="37" y="74"/>
                    </a:cubicBezTo>
                    <a:close/>
                    <a:moveTo>
                      <a:pt x="55" y="55"/>
                    </a:moveTo>
                    <a:cubicBezTo>
                      <a:pt x="55" y="54"/>
                      <a:pt x="54" y="54"/>
                      <a:pt x="54" y="53"/>
                    </a:cubicBezTo>
                    <a:cubicBezTo>
                      <a:pt x="54" y="53"/>
                      <a:pt x="54" y="52"/>
                      <a:pt x="54" y="52"/>
                    </a:cubicBezTo>
                    <a:cubicBezTo>
                      <a:pt x="54" y="52"/>
                      <a:pt x="54" y="52"/>
                      <a:pt x="54" y="52"/>
                    </a:cubicBezTo>
                    <a:cubicBezTo>
                      <a:pt x="54" y="52"/>
                      <a:pt x="54" y="52"/>
                      <a:pt x="54" y="51"/>
                    </a:cubicBezTo>
                    <a:cubicBezTo>
                      <a:pt x="54" y="51"/>
                      <a:pt x="54" y="51"/>
                      <a:pt x="54" y="51"/>
                    </a:cubicBezTo>
                    <a:cubicBezTo>
                      <a:pt x="54" y="51"/>
                      <a:pt x="54" y="51"/>
                      <a:pt x="54" y="51"/>
                    </a:cubicBezTo>
                    <a:cubicBezTo>
                      <a:pt x="54" y="50"/>
                      <a:pt x="54" y="50"/>
                      <a:pt x="54" y="50"/>
                    </a:cubicBezTo>
                    <a:cubicBezTo>
                      <a:pt x="54" y="50"/>
                      <a:pt x="54" y="49"/>
                      <a:pt x="53" y="49"/>
                    </a:cubicBezTo>
                    <a:cubicBezTo>
                      <a:pt x="53" y="49"/>
                      <a:pt x="53" y="49"/>
                      <a:pt x="53" y="49"/>
                    </a:cubicBezTo>
                    <a:cubicBezTo>
                      <a:pt x="53" y="48"/>
                      <a:pt x="53" y="48"/>
                      <a:pt x="52" y="48"/>
                    </a:cubicBezTo>
                    <a:cubicBezTo>
                      <a:pt x="52" y="48"/>
                      <a:pt x="52" y="48"/>
                      <a:pt x="52" y="47"/>
                    </a:cubicBezTo>
                    <a:cubicBezTo>
                      <a:pt x="52" y="47"/>
                      <a:pt x="52" y="48"/>
                      <a:pt x="51" y="47"/>
                    </a:cubicBezTo>
                    <a:cubicBezTo>
                      <a:pt x="51" y="47"/>
                      <a:pt x="51" y="47"/>
                      <a:pt x="52" y="46"/>
                    </a:cubicBezTo>
                    <a:cubicBezTo>
                      <a:pt x="52" y="46"/>
                      <a:pt x="52" y="45"/>
                      <a:pt x="52" y="45"/>
                    </a:cubicBezTo>
                    <a:cubicBezTo>
                      <a:pt x="52" y="44"/>
                      <a:pt x="52" y="44"/>
                      <a:pt x="51" y="44"/>
                    </a:cubicBezTo>
                    <a:cubicBezTo>
                      <a:pt x="51" y="44"/>
                      <a:pt x="51" y="43"/>
                      <a:pt x="51" y="43"/>
                    </a:cubicBezTo>
                    <a:cubicBezTo>
                      <a:pt x="51" y="43"/>
                      <a:pt x="50" y="41"/>
                      <a:pt x="50" y="42"/>
                    </a:cubicBezTo>
                    <a:cubicBezTo>
                      <a:pt x="50" y="42"/>
                      <a:pt x="50" y="42"/>
                      <a:pt x="49" y="42"/>
                    </a:cubicBezTo>
                    <a:cubicBezTo>
                      <a:pt x="49" y="42"/>
                      <a:pt x="48" y="42"/>
                      <a:pt x="48" y="42"/>
                    </a:cubicBezTo>
                    <a:cubicBezTo>
                      <a:pt x="48" y="43"/>
                      <a:pt x="50" y="44"/>
                      <a:pt x="49" y="44"/>
                    </a:cubicBezTo>
                    <a:cubicBezTo>
                      <a:pt x="49" y="45"/>
                      <a:pt x="49" y="45"/>
                      <a:pt x="49" y="45"/>
                    </a:cubicBezTo>
                    <a:cubicBezTo>
                      <a:pt x="49" y="46"/>
                      <a:pt x="49" y="46"/>
                      <a:pt x="49" y="47"/>
                    </a:cubicBezTo>
                    <a:cubicBezTo>
                      <a:pt x="49" y="47"/>
                      <a:pt x="49" y="48"/>
                      <a:pt x="49" y="48"/>
                    </a:cubicBezTo>
                    <a:cubicBezTo>
                      <a:pt x="50" y="48"/>
                      <a:pt x="50" y="49"/>
                      <a:pt x="50" y="49"/>
                    </a:cubicBezTo>
                    <a:cubicBezTo>
                      <a:pt x="50" y="50"/>
                      <a:pt x="50" y="50"/>
                      <a:pt x="50" y="51"/>
                    </a:cubicBezTo>
                    <a:cubicBezTo>
                      <a:pt x="50" y="51"/>
                      <a:pt x="51" y="51"/>
                      <a:pt x="51" y="51"/>
                    </a:cubicBezTo>
                    <a:cubicBezTo>
                      <a:pt x="51" y="52"/>
                      <a:pt x="51" y="52"/>
                      <a:pt x="51" y="52"/>
                    </a:cubicBezTo>
                    <a:cubicBezTo>
                      <a:pt x="51" y="52"/>
                      <a:pt x="52" y="52"/>
                      <a:pt x="52" y="52"/>
                    </a:cubicBezTo>
                    <a:cubicBezTo>
                      <a:pt x="52" y="52"/>
                      <a:pt x="52" y="53"/>
                      <a:pt x="52" y="53"/>
                    </a:cubicBezTo>
                    <a:cubicBezTo>
                      <a:pt x="53" y="53"/>
                      <a:pt x="53" y="55"/>
                      <a:pt x="54" y="56"/>
                    </a:cubicBezTo>
                    <a:cubicBezTo>
                      <a:pt x="55" y="57"/>
                      <a:pt x="55" y="55"/>
                      <a:pt x="55" y="55"/>
                    </a:cubicBezTo>
                    <a:close/>
                    <a:moveTo>
                      <a:pt x="62" y="68"/>
                    </a:moveTo>
                    <a:cubicBezTo>
                      <a:pt x="62" y="68"/>
                      <a:pt x="62" y="68"/>
                      <a:pt x="62" y="67"/>
                    </a:cubicBezTo>
                    <a:cubicBezTo>
                      <a:pt x="62" y="67"/>
                      <a:pt x="61" y="67"/>
                      <a:pt x="61" y="66"/>
                    </a:cubicBezTo>
                    <a:cubicBezTo>
                      <a:pt x="61" y="66"/>
                      <a:pt x="61" y="65"/>
                      <a:pt x="61" y="65"/>
                    </a:cubicBezTo>
                    <a:cubicBezTo>
                      <a:pt x="60" y="65"/>
                      <a:pt x="60" y="66"/>
                      <a:pt x="60" y="65"/>
                    </a:cubicBezTo>
                    <a:cubicBezTo>
                      <a:pt x="59" y="65"/>
                      <a:pt x="59" y="65"/>
                      <a:pt x="59" y="65"/>
                    </a:cubicBezTo>
                    <a:cubicBezTo>
                      <a:pt x="59" y="65"/>
                      <a:pt x="58" y="65"/>
                      <a:pt x="58" y="65"/>
                    </a:cubicBezTo>
                    <a:cubicBezTo>
                      <a:pt x="58" y="65"/>
                      <a:pt x="57" y="65"/>
                      <a:pt x="57" y="64"/>
                    </a:cubicBezTo>
                    <a:cubicBezTo>
                      <a:pt x="56" y="64"/>
                      <a:pt x="56" y="63"/>
                      <a:pt x="54" y="63"/>
                    </a:cubicBezTo>
                    <a:cubicBezTo>
                      <a:pt x="53" y="62"/>
                      <a:pt x="53" y="62"/>
                      <a:pt x="53" y="63"/>
                    </a:cubicBezTo>
                    <a:cubicBezTo>
                      <a:pt x="53" y="64"/>
                      <a:pt x="54" y="64"/>
                      <a:pt x="55" y="64"/>
                    </a:cubicBezTo>
                    <a:cubicBezTo>
                      <a:pt x="55" y="64"/>
                      <a:pt x="55" y="65"/>
                      <a:pt x="55" y="65"/>
                    </a:cubicBezTo>
                    <a:cubicBezTo>
                      <a:pt x="55" y="65"/>
                      <a:pt x="55" y="66"/>
                      <a:pt x="55" y="66"/>
                    </a:cubicBezTo>
                    <a:cubicBezTo>
                      <a:pt x="55" y="66"/>
                      <a:pt x="56" y="67"/>
                      <a:pt x="56" y="67"/>
                    </a:cubicBezTo>
                    <a:cubicBezTo>
                      <a:pt x="56" y="67"/>
                      <a:pt x="57" y="68"/>
                      <a:pt x="58" y="68"/>
                    </a:cubicBezTo>
                    <a:cubicBezTo>
                      <a:pt x="58" y="68"/>
                      <a:pt x="58" y="68"/>
                      <a:pt x="58" y="68"/>
                    </a:cubicBezTo>
                    <a:cubicBezTo>
                      <a:pt x="58" y="69"/>
                      <a:pt x="59" y="69"/>
                      <a:pt x="59" y="69"/>
                    </a:cubicBezTo>
                    <a:cubicBezTo>
                      <a:pt x="59" y="69"/>
                      <a:pt x="60" y="69"/>
                      <a:pt x="60" y="69"/>
                    </a:cubicBezTo>
                    <a:cubicBezTo>
                      <a:pt x="61" y="69"/>
                      <a:pt x="61" y="69"/>
                      <a:pt x="62" y="69"/>
                    </a:cubicBezTo>
                    <a:cubicBezTo>
                      <a:pt x="62" y="69"/>
                      <a:pt x="62" y="69"/>
                      <a:pt x="63" y="69"/>
                    </a:cubicBezTo>
                    <a:cubicBezTo>
                      <a:pt x="63" y="69"/>
                      <a:pt x="61" y="70"/>
                      <a:pt x="62" y="68"/>
                    </a:cubicBezTo>
                    <a:close/>
                    <a:moveTo>
                      <a:pt x="43" y="50"/>
                    </a:moveTo>
                    <a:cubicBezTo>
                      <a:pt x="43" y="50"/>
                      <a:pt x="43" y="50"/>
                      <a:pt x="43" y="50"/>
                    </a:cubicBezTo>
                    <a:cubicBezTo>
                      <a:pt x="43" y="50"/>
                      <a:pt x="43" y="50"/>
                      <a:pt x="43" y="50"/>
                    </a:cubicBezTo>
                    <a:close/>
                    <a:moveTo>
                      <a:pt x="33" y="49"/>
                    </a:moveTo>
                    <a:cubicBezTo>
                      <a:pt x="34" y="50"/>
                      <a:pt x="32" y="50"/>
                      <a:pt x="33" y="50"/>
                    </a:cubicBezTo>
                    <a:cubicBezTo>
                      <a:pt x="33" y="50"/>
                      <a:pt x="35" y="49"/>
                      <a:pt x="34" y="49"/>
                    </a:cubicBezTo>
                    <a:cubicBezTo>
                      <a:pt x="34" y="49"/>
                      <a:pt x="34" y="49"/>
                      <a:pt x="33" y="49"/>
                    </a:cubicBezTo>
                    <a:close/>
                    <a:moveTo>
                      <a:pt x="10" y="38"/>
                    </a:moveTo>
                    <a:cubicBezTo>
                      <a:pt x="9" y="38"/>
                      <a:pt x="10" y="40"/>
                      <a:pt x="10" y="40"/>
                    </a:cubicBezTo>
                    <a:cubicBezTo>
                      <a:pt x="10" y="40"/>
                      <a:pt x="11" y="38"/>
                      <a:pt x="10" y="38"/>
                    </a:cubicBezTo>
                    <a:close/>
                    <a:moveTo>
                      <a:pt x="55" y="55"/>
                    </a:moveTo>
                    <a:cubicBezTo>
                      <a:pt x="55" y="55"/>
                      <a:pt x="55" y="56"/>
                      <a:pt x="55" y="57"/>
                    </a:cubicBezTo>
                    <a:cubicBezTo>
                      <a:pt x="55" y="58"/>
                      <a:pt x="55" y="57"/>
                      <a:pt x="56" y="57"/>
                    </a:cubicBezTo>
                    <a:cubicBezTo>
                      <a:pt x="56" y="57"/>
                      <a:pt x="56" y="58"/>
                      <a:pt x="56" y="58"/>
                    </a:cubicBezTo>
                    <a:cubicBezTo>
                      <a:pt x="57" y="57"/>
                      <a:pt x="55" y="54"/>
                      <a:pt x="55" y="53"/>
                    </a:cubicBezTo>
                    <a:cubicBezTo>
                      <a:pt x="55" y="54"/>
                      <a:pt x="55" y="54"/>
                      <a:pt x="55" y="55"/>
                    </a:cubicBezTo>
                    <a:close/>
                    <a:moveTo>
                      <a:pt x="6" y="25"/>
                    </a:moveTo>
                    <a:cubicBezTo>
                      <a:pt x="6" y="25"/>
                      <a:pt x="5" y="25"/>
                      <a:pt x="6" y="25"/>
                    </a:cubicBezTo>
                    <a:close/>
                    <a:moveTo>
                      <a:pt x="22" y="32"/>
                    </a:moveTo>
                    <a:cubicBezTo>
                      <a:pt x="22" y="32"/>
                      <a:pt x="22" y="32"/>
                      <a:pt x="22" y="32"/>
                    </a:cubicBezTo>
                    <a:cubicBezTo>
                      <a:pt x="21" y="31"/>
                      <a:pt x="21" y="32"/>
                      <a:pt x="21" y="32"/>
                    </a:cubicBezTo>
                    <a:cubicBezTo>
                      <a:pt x="22" y="32"/>
                      <a:pt x="22" y="33"/>
                      <a:pt x="22" y="32"/>
                    </a:cubicBezTo>
                    <a:close/>
                    <a:moveTo>
                      <a:pt x="11" y="35"/>
                    </a:moveTo>
                    <a:cubicBezTo>
                      <a:pt x="11" y="34"/>
                      <a:pt x="11" y="34"/>
                      <a:pt x="11" y="34"/>
                    </a:cubicBezTo>
                    <a:cubicBezTo>
                      <a:pt x="10" y="33"/>
                      <a:pt x="9" y="34"/>
                      <a:pt x="10" y="35"/>
                    </a:cubicBezTo>
                    <a:cubicBezTo>
                      <a:pt x="10" y="35"/>
                      <a:pt x="10" y="36"/>
                      <a:pt x="10" y="36"/>
                    </a:cubicBezTo>
                    <a:cubicBezTo>
                      <a:pt x="10" y="36"/>
                      <a:pt x="10" y="36"/>
                      <a:pt x="10" y="37"/>
                    </a:cubicBezTo>
                    <a:cubicBezTo>
                      <a:pt x="11" y="37"/>
                      <a:pt x="11" y="37"/>
                      <a:pt x="11" y="37"/>
                    </a:cubicBezTo>
                    <a:cubicBezTo>
                      <a:pt x="11" y="37"/>
                      <a:pt x="11" y="37"/>
                      <a:pt x="11" y="38"/>
                    </a:cubicBezTo>
                    <a:cubicBezTo>
                      <a:pt x="11" y="37"/>
                      <a:pt x="11" y="37"/>
                      <a:pt x="12" y="36"/>
                    </a:cubicBezTo>
                    <a:cubicBezTo>
                      <a:pt x="12" y="36"/>
                      <a:pt x="12" y="36"/>
                      <a:pt x="12" y="35"/>
                    </a:cubicBezTo>
                    <a:cubicBezTo>
                      <a:pt x="13" y="35"/>
                      <a:pt x="12" y="35"/>
                      <a:pt x="11" y="35"/>
                    </a:cubicBezTo>
                    <a:close/>
                    <a:moveTo>
                      <a:pt x="27" y="32"/>
                    </a:moveTo>
                    <a:cubicBezTo>
                      <a:pt x="27" y="33"/>
                      <a:pt x="28" y="33"/>
                      <a:pt x="28" y="33"/>
                    </a:cubicBezTo>
                    <a:cubicBezTo>
                      <a:pt x="29" y="32"/>
                      <a:pt x="27" y="33"/>
                      <a:pt x="27" y="32"/>
                    </a:cubicBezTo>
                    <a:close/>
                    <a:moveTo>
                      <a:pt x="24" y="44"/>
                    </a:moveTo>
                    <a:cubicBezTo>
                      <a:pt x="24" y="44"/>
                      <a:pt x="23" y="44"/>
                      <a:pt x="23" y="44"/>
                    </a:cubicBezTo>
                    <a:cubicBezTo>
                      <a:pt x="23" y="44"/>
                      <a:pt x="23" y="44"/>
                      <a:pt x="23" y="44"/>
                    </a:cubicBezTo>
                    <a:cubicBezTo>
                      <a:pt x="23" y="44"/>
                      <a:pt x="23" y="44"/>
                      <a:pt x="23" y="44"/>
                    </a:cubicBezTo>
                    <a:cubicBezTo>
                      <a:pt x="22" y="45"/>
                      <a:pt x="22" y="44"/>
                      <a:pt x="22" y="45"/>
                    </a:cubicBezTo>
                    <a:cubicBezTo>
                      <a:pt x="22" y="46"/>
                      <a:pt x="22" y="46"/>
                      <a:pt x="23" y="47"/>
                    </a:cubicBezTo>
                    <a:cubicBezTo>
                      <a:pt x="23" y="47"/>
                      <a:pt x="24" y="46"/>
                      <a:pt x="24" y="46"/>
                    </a:cubicBezTo>
                    <a:cubicBezTo>
                      <a:pt x="24" y="46"/>
                      <a:pt x="24" y="45"/>
                      <a:pt x="24" y="45"/>
                    </a:cubicBezTo>
                    <a:cubicBezTo>
                      <a:pt x="24" y="45"/>
                      <a:pt x="24" y="45"/>
                      <a:pt x="24" y="45"/>
                    </a:cubicBezTo>
                    <a:cubicBezTo>
                      <a:pt x="24" y="45"/>
                      <a:pt x="25" y="44"/>
                      <a:pt x="24" y="44"/>
                    </a:cubicBezTo>
                    <a:close/>
                    <a:moveTo>
                      <a:pt x="60" y="57"/>
                    </a:moveTo>
                    <a:cubicBezTo>
                      <a:pt x="60" y="57"/>
                      <a:pt x="60" y="58"/>
                      <a:pt x="60" y="59"/>
                    </a:cubicBezTo>
                    <a:cubicBezTo>
                      <a:pt x="61" y="58"/>
                      <a:pt x="60" y="57"/>
                      <a:pt x="60" y="57"/>
                    </a:cubicBezTo>
                    <a:close/>
                    <a:moveTo>
                      <a:pt x="110" y="59"/>
                    </a:moveTo>
                    <a:cubicBezTo>
                      <a:pt x="110" y="59"/>
                      <a:pt x="110" y="59"/>
                      <a:pt x="110" y="59"/>
                    </a:cubicBezTo>
                    <a:cubicBezTo>
                      <a:pt x="110" y="59"/>
                      <a:pt x="110" y="59"/>
                      <a:pt x="110" y="59"/>
                    </a:cubicBezTo>
                    <a:close/>
                    <a:moveTo>
                      <a:pt x="48" y="57"/>
                    </a:moveTo>
                    <a:cubicBezTo>
                      <a:pt x="48" y="56"/>
                      <a:pt x="48" y="56"/>
                      <a:pt x="47" y="55"/>
                    </a:cubicBezTo>
                    <a:cubicBezTo>
                      <a:pt x="47" y="55"/>
                      <a:pt x="46" y="55"/>
                      <a:pt x="46" y="55"/>
                    </a:cubicBezTo>
                    <a:cubicBezTo>
                      <a:pt x="46" y="55"/>
                      <a:pt x="46" y="55"/>
                      <a:pt x="46" y="54"/>
                    </a:cubicBezTo>
                    <a:cubicBezTo>
                      <a:pt x="46" y="54"/>
                      <a:pt x="46" y="54"/>
                      <a:pt x="45" y="54"/>
                    </a:cubicBezTo>
                    <a:cubicBezTo>
                      <a:pt x="45" y="54"/>
                      <a:pt x="44" y="54"/>
                      <a:pt x="43" y="54"/>
                    </a:cubicBezTo>
                    <a:cubicBezTo>
                      <a:pt x="43" y="54"/>
                      <a:pt x="42" y="54"/>
                      <a:pt x="41" y="54"/>
                    </a:cubicBezTo>
                    <a:cubicBezTo>
                      <a:pt x="41" y="54"/>
                      <a:pt x="40" y="53"/>
                      <a:pt x="40" y="53"/>
                    </a:cubicBezTo>
                    <a:cubicBezTo>
                      <a:pt x="39" y="52"/>
                      <a:pt x="38" y="52"/>
                      <a:pt x="38" y="53"/>
                    </a:cubicBezTo>
                    <a:cubicBezTo>
                      <a:pt x="38" y="54"/>
                      <a:pt x="38" y="55"/>
                      <a:pt x="38" y="55"/>
                    </a:cubicBezTo>
                    <a:cubicBezTo>
                      <a:pt x="38" y="55"/>
                      <a:pt x="38" y="56"/>
                      <a:pt x="38" y="56"/>
                    </a:cubicBezTo>
                    <a:cubicBezTo>
                      <a:pt x="38" y="56"/>
                      <a:pt x="38" y="57"/>
                      <a:pt x="39" y="57"/>
                    </a:cubicBezTo>
                    <a:cubicBezTo>
                      <a:pt x="39" y="57"/>
                      <a:pt x="39" y="58"/>
                      <a:pt x="40" y="58"/>
                    </a:cubicBezTo>
                    <a:cubicBezTo>
                      <a:pt x="40" y="58"/>
                      <a:pt x="40" y="58"/>
                      <a:pt x="40" y="58"/>
                    </a:cubicBezTo>
                    <a:cubicBezTo>
                      <a:pt x="41" y="58"/>
                      <a:pt x="42" y="58"/>
                      <a:pt x="43" y="58"/>
                    </a:cubicBezTo>
                    <a:cubicBezTo>
                      <a:pt x="43" y="58"/>
                      <a:pt x="43" y="58"/>
                      <a:pt x="43" y="58"/>
                    </a:cubicBezTo>
                    <a:cubicBezTo>
                      <a:pt x="44" y="58"/>
                      <a:pt x="44" y="58"/>
                      <a:pt x="45" y="59"/>
                    </a:cubicBezTo>
                    <a:cubicBezTo>
                      <a:pt x="46" y="59"/>
                      <a:pt x="47" y="59"/>
                      <a:pt x="47" y="60"/>
                    </a:cubicBezTo>
                    <a:cubicBezTo>
                      <a:pt x="48" y="59"/>
                      <a:pt x="49" y="59"/>
                      <a:pt x="49" y="58"/>
                    </a:cubicBezTo>
                    <a:cubicBezTo>
                      <a:pt x="49" y="57"/>
                      <a:pt x="48" y="57"/>
                      <a:pt x="48" y="57"/>
                    </a:cubicBezTo>
                    <a:close/>
                    <a:moveTo>
                      <a:pt x="111" y="60"/>
                    </a:moveTo>
                    <a:cubicBezTo>
                      <a:pt x="111" y="60"/>
                      <a:pt x="111" y="60"/>
                      <a:pt x="111" y="60"/>
                    </a:cubicBezTo>
                    <a:cubicBezTo>
                      <a:pt x="111" y="60"/>
                      <a:pt x="111" y="60"/>
                      <a:pt x="111" y="60"/>
                    </a:cubicBezTo>
                    <a:close/>
                    <a:moveTo>
                      <a:pt x="39" y="42"/>
                    </a:moveTo>
                    <a:cubicBezTo>
                      <a:pt x="38" y="42"/>
                      <a:pt x="38" y="43"/>
                      <a:pt x="38" y="43"/>
                    </a:cubicBezTo>
                    <a:cubicBezTo>
                      <a:pt x="39" y="44"/>
                      <a:pt x="39" y="44"/>
                      <a:pt x="39" y="44"/>
                    </a:cubicBezTo>
                    <a:cubicBezTo>
                      <a:pt x="40" y="44"/>
                      <a:pt x="39" y="44"/>
                      <a:pt x="39" y="43"/>
                    </a:cubicBezTo>
                    <a:cubicBezTo>
                      <a:pt x="39" y="43"/>
                      <a:pt x="39" y="42"/>
                      <a:pt x="39" y="42"/>
                    </a:cubicBezTo>
                    <a:close/>
                    <a:moveTo>
                      <a:pt x="15" y="37"/>
                    </a:moveTo>
                    <a:cubicBezTo>
                      <a:pt x="14" y="36"/>
                      <a:pt x="13" y="38"/>
                      <a:pt x="14" y="38"/>
                    </a:cubicBezTo>
                    <a:cubicBezTo>
                      <a:pt x="14" y="39"/>
                      <a:pt x="15" y="39"/>
                      <a:pt x="15" y="40"/>
                    </a:cubicBezTo>
                    <a:cubicBezTo>
                      <a:pt x="16" y="39"/>
                      <a:pt x="16" y="37"/>
                      <a:pt x="15" y="37"/>
                    </a:cubicBezTo>
                    <a:close/>
                    <a:moveTo>
                      <a:pt x="27" y="34"/>
                    </a:moveTo>
                    <a:cubicBezTo>
                      <a:pt x="27" y="34"/>
                      <a:pt x="28" y="35"/>
                      <a:pt x="28" y="34"/>
                    </a:cubicBezTo>
                    <a:cubicBezTo>
                      <a:pt x="28" y="34"/>
                      <a:pt x="29" y="34"/>
                      <a:pt x="29" y="34"/>
                    </a:cubicBezTo>
                    <a:cubicBezTo>
                      <a:pt x="29" y="34"/>
                      <a:pt x="28" y="34"/>
                      <a:pt x="27" y="34"/>
                    </a:cubicBezTo>
                    <a:close/>
                    <a:moveTo>
                      <a:pt x="3" y="27"/>
                    </a:moveTo>
                    <a:cubicBezTo>
                      <a:pt x="2" y="27"/>
                      <a:pt x="3" y="27"/>
                      <a:pt x="2" y="28"/>
                    </a:cubicBezTo>
                    <a:cubicBezTo>
                      <a:pt x="2" y="28"/>
                      <a:pt x="2" y="28"/>
                      <a:pt x="3" y="29"/>
                    </a:cubicBezTo>
                    <a:cubicBezTo>
                      <a:pt x="3" y="28"/>
                      <a:pt x="4" y="28"/>
                      <a:pt x="4" y="28"/>
                    </a:cubicBezTo>
                    <a:cubicBezTo>
                      <a:pt x="4" y="27"/>
                      <a:pt x="3" y="27"/>
                      <a:pt x="3" y="27"/>
                    </a:cubicBezTo>
                    <a:close/>
                    <a:moveTo>
                      <a:pt x="14" y="40"/>
                    </a:moveTo>
                    <a:cubicBezTo>
                      <a:pt x="14" y="41"/>
                      <a:pt x="15" y="42"/>
                      <a:pt x="15" y="42"/>
                    </a:cubicBezTo>
                    <a:cubicBezTo>
                      <a:pt x="15" y="42"/>
                      <a:pt x="15" y="41"/>
                      <a:pt x="15" y="41"/>
                    </a:cubicBezTo>
                    <a:cubicBezTo>
                      <a:pt x="15" y="41"/>
                      <a:pt x="14" y="40"/>
                      <a:pt x="14" y="40"/>
                    </a:cubicBezTo>
                    <a:close/>
                    <a:moveTo>
                      <a:pt x="43" y="78"/>
                    </a:moveTo>
                    <a:cubicBezTo>
                      <a:pt x="42" y="78"/>
                      <a:pt x="41" y="78"/>
                      <a:pt x="40" y="77"/>
                    </a:cubicBezTo>
                    <a:cubicBezTo>
                      <a:pt x="40" y="77"/>
                      <a:pt x="39" y="76"/>
                      <a:pt x="39" y="77"/>
                    </a:cubicBezTo>
                    <a:cubicBezTo>
                      <a:pt x="39" y="78"/>
                      <a:pt x="39" y="78"/>
                      <a:pt x="40" y="78"/>
                    </a:cubicBezTo>
                    <a:cubicBezTo>
                      <a:pt x="40" y="79"/>
                      <a:pt x="41" y="78"/>
                      <a:pt x="41" y="78"/>
                    </a:cubicBezTo>
                    <a:cubicBezTo>
                      <a:pt x="42" y="79"/>
                      <a:pt x="41" y="79"/>
                      <a:pt x="42" y="79"/>
                    </a:cubicBezTo>
                    <a:cubicBezTo>
                      <a:pt x="42" y="79"/>
                      <a:pt x="42" y="79"/>
                      <a:pt x="42" y="79"/>
                    </a:cubicBezTo>
                    <a:cubicBezTo>
                      <a:pt x="43" y="80"/>
                      <a:pt x="43" y="80"/>
                      <a:pt x="43" y="80"/>
                    </a:cubicBezTo>
                    <a:cubicBezTo>
                      <a:pt x="43" y="80"/>
                      <a:pt x="44" y="80"/>
                      <a:pt x="44" y="80"/>
                    </a:cubicBezTo>
                    <a:cubicBezTo>
                      <a:pt x="44" y="79"/>
                      <a:pt x="43" y="79"/>
                      <a:pt x="43" y="78"/>
                    </a:cubicBezTo>
                    <a:close/>
                    <a:moveTo>
                      <a:pt x="25" y="47"/>
                    </a:moveTo>
                    <a:cubicBezTo>
                      <a:pt x="26" y="47"/>
                      <a:pt x="25" y="47"/>
                      <a:pt x="25" y="46"/>
                    </a:cubicBezTo>
                    <a:cubicBezTo>
                      <a:pt x="25" y="46"/>
                      <a:pt x="24" y="47"/>
                      <a:pt x="25" y="47"/>
                    </a:cubicBezTo>
                    <a:close/>
                    <a:moveTo>
                      <a:pt x="44" y="51"/>
                    </a:moveTo>
                    <a:cubicBezTo>
                      <a:pt x="44" y="51"/>
                      <a:pt x="44" y="51"/>
                      <a:pt x="44" y="51"/>
                    </a:cubicBezTo>
                    <a:cubicBezTo>
                      <a:pt x="44" y="51"/>
                      <a:pt x="45" y="51"/>
                      <a:pt x="45" y="51"/>
                    </a:cubicBezTo>
                    <a:cubicBezTo>
                      <a:pt x="45" y="51"/>
                      <a:pt x="45" y="51"/>
                      <a:pt x="45" y="51"/>
                    </a:cubicBezTo>
                    <a:cubicBezTo>
                      <a:pt x="46" y="51"/>
                      <a:pt x="46" y="51"/>
                      <a:pt x="46" y="50"/>
                    </a:cubicBezTo>
                    <a:cubicBezTo>
                      <a:pt x="45" y="50"/>
                      <a:pt x="45" y="50"/>
                      <a:pt x="45" y="50"/>
                    </a:cubicBezTo>
                    <a:cubicBezTo>
                      <a:pt x="45" y="50"/>
                      <a:pt x="44" y="51"/>
                      <a:pt x="44" y="51"/>
                    </a:cubicBezTo>
                    <a:close/>
                    <a:moveTo>
                      <a:pt x="44" y="51"/>
                    </a:moveTo>
                    <a:cubicBezTo>
                      <a:pt x="46" y="50"/>
                      <a:pt x="44" y="49"/>
                      <a:pt x="44" y="49"/>
                    </a:cubicBezTo>
                    <a:cubicBezTo>
                      <a:pt x="43" y="49"/>
                      <a:pt x="43" y="50"/>
                      <a:pt x="43" y="50"/>
                    </a:cubicBezTo>
                    <a:cubicBezTo>
                      <a:pt x="43" y="50"/>
                      <a:pt x="44" y="50"/>
                      <a:pt x="44" y="50"/>
                    </a:cubicBezTo>
                    <a:cubicBezTo>
                      <a:pt x="44" y="50"/>
                      <a:pt x="44" y="50"/>
                      <a:pt x="44" y="51"/>
                    </a:cubicBezTo>
                    <a:close/>
                    <a:moveTo>
                      <a:pt x="40" y="10"/>
                    </a:moveTo>
                    <a:cubicBezTo>
                      <a:pt x="40" y="10"/>
                      <a:pt x="41" y="11"/>
                      <a:pt x="41" y="11"/>
                    </a:cubicBezTo>
                    <a:cubicBezTo>
                      <a:pt x="41" y="11"/>
                      <a:pt x="41" y="10"/>
                      <a:pt x="40" y="10"/>
                    </a:cubicBezTo>
                    <a:close/>
                    <a:moveTo>
                      <a:pt x="42" y="11"/>
                    </a:moveTo>
                    <a:cubicBezTo>
                      <a:pt x="42" y="11"/>
                      <a:pt x="43" y="11"/>
                      <a:pt x="43" y="11"/>
                    </a:cubicBezTo>
                    <a:cubicBezTo>
                      <a:pt x="42" y="11"/>
                      <a:pt x="42" y="11"/>
                      <a:pt x="42" y="11"/>
                    </a:cubicBezTo>
                    <a:close/>
                    <a:moveTo>
                      <a:pt x="41" y="1"/>
                    </a:moveTo>
                    <a:cubicBezTo>
                      <a:pt x="41" y="0"/>
                      <a:pt x="41" y="0"/>
                      <a:pt x="41" y="0"/>
                    </a:cubicBezTo>
                    <a:cubicBezTo>
                      <a:pt x="41" y="0"/>
                      <a:pt x="41" y="0"/>
                      <a:pt x="41"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5" name="Slovenia">
                <a:extLst>
                  <a:ext uri="{FF2B5EF4-FFF2-40B4-BE49-F238E27FC236}">
                    <a16:creationId xmlns:a16="http://schemas.microsoft.com/office/drawing/2014/main" id="{74F6C15A-FF60-FF00-DE67-680387FADFB2}"/>
                  </a:ext>
                </a:extLst>
              </p:cNvPr>
              <p:cNvSpPr>
                <a:spLocks/>
              </p:cNvSpPr>
              <p:nvPr/>
            </p:nvSpPr>
            <p:spPr bwMode="auto">
              <a:xfrm>
                <a:off x="6143639" y="2222226"/>
                <a:ext cx="95076" cy="56849"/>
              </a:xfrm>
              <a:custGeom>
                <a:avLst/>
                <a:gdLst/>
                <a:ahLst/>
                <a:cxnLst>
                  <a:cxn ang="0">
                    <a:pos x="26" y="4"/>
                  </a:cxn>
                  <a:cxn ang="0">
                    <a:pos x="26" y="2"/>
                  </a:cxn>
                  <a:cxn ang="0">
                    <a:pos x="25" y="0"/>
                  </a:cxn>
                  <a:cxn ang="0">
                    <a:pos x="22" y="1"/>
                  </a:cxn>
                  <a:cxn ang="0">
                    <a:pos x="21" y="2"/>
                  </a:cxn>
                  <a:cxn ang="0">
                    <a:pos x="18" y="3"/>
                  </a:cxn>
                  <a:cxn ang="0">
                    <a:pos x="16" y="3"/>
                  </a:cxn>
                  <a:cxn ang="0">
                    <a:pos x="12" y="4"/>
                  </a:cxn>
                  <a:cxn ang="0">
                    <a:pos x="8" y="5"/>
                  </a:cxn>
                  <a:cxn ang="0">
                    <a:pos x="5" y="4"/>
                  </a:cxn>
                  <a:cxn ang="0">
                    <a:pos x="1" y="5"/>
                  </a:cxn>
                  <a:cxn ang="0">
                    <a:pos x="0" y="7"/>
                  </a:cxn>
                  <a:cxn ang="0">
                    <a:pos x="1" y="7"/>
                  </a:cxn>
                  <a:cxn ang="0">
                    <a:pos x="1" y="9"/>
                  </a:cxn>
                  <a:cxn ang="0">
                    <a:pos x="2" y="12"/>
                  </a:cxn>
                  <a:cxn ang="0">
                    <a:pos x="4" y="13"/>
                  </a:cxn>
                  <a:cxn ang="0">
                    <a:pos x="3" y="14"/>
                  </a:cxn>
                  <a:cxn ang="0">
                    <a:pos x="2" y="16"/>
                  </a:cxn>
                  <a:cxn ang="0">
                    <a:pos x="5" y="16"/>
                  </a:cxn>
                  <a:cxn ang="0">
                    <a:pos x="7" y="15"/>
                  </a:cxn>
                  <a:cxn ang="0">
                    <a:pos x="10" y="14"/>
                  </a:cxn>
                  <a:cxn ang="0">
                    <a:pos x="11" y="15"/>
                  </a:cxn>
                  <a:cxn ang="0">
                    <a:pos x="15" y="15"/>
                  </a:cxn>
                  <a:cxn ang="0">
                    <a:pos x="17" y="15"/>
                  </a:cxn>
                  <a:cxn ang="0">
                    <a:pos x="17" y="14"/>
                  </a:cxn>
                  <a:cxn ang="0">
                    <a:pos x="16" y="13"/>
                  </a:cxn>
                  <a:cxn ang="0">
                    <a:pos x="19" y="12"/>
                  </a:cxn>
                  <a:cxn ang="0">
                    <a:pos x="20" y="9"/>
                  </a:cxn>
                  <a:cxn ang="0">
                    <a:pos x="20" y="7"/>
                  </a:cxn>
                  <a:cxn ang="0">
                    <a:pos x="22" y="7"/>
                  </a:cxn>
                  <a:cxn ang="0">
                    <a:pos x="24" y="5"/>
                  </a:cxn>
                  <a:cxn ang="0">
                    <a:pos x="24" y="5"/>
                  </a:cxn>
                </a:cxnLst>
                <a:rect l="0" t="0" r="r" b="b"/>
                <a:pathLst>
                  <a:path w="27" h="16">
                    <a:moveTo>
                      <a:pt x="27" y="5"/>
                    </a:moveTo>
                    <a:cubicBezTo>
                      <a:pt x="27" y="4"/>
                      <a:pt x="27" y="4"/>
                      <a:pt x="26" y="4"/>
                    </a:cubicBezTo>
                    <a:cubicBezTo>
                      <a:pt x="26" y="3"/>
                      <a:pt x="26" y="3"/>
                      <a:pt x="26" y="3"/>
                    </a:cubicBezTo>
                    <a:cubicBezTo>
                      <a:pt x="25" y="2"/>
                      <a:pt x="26" y="3"/>
                      <a:pt x="26" y="2"/>
                    </a:cubicBezTo>
                    <a:cubicBezTo>
                      <a:pt x="26" y="2"/>
                      <a:pt x="25" y="2"/>
                      <a:pt x="25" y="2"/>
                    </a:cubicBezTo>
                    <a:cubicBezTo>
                      <a:pt x="25" y="1"/>
                      <a:pt x="25" y="1"/>
                      <a:pt x="25" y="0"/>
                    </a:cubicBezTo>
                    <a:cubicBezTo>
                      <a:pt x="24" y="0"/>
                      <a:pt x="24" y="0"/>
                      <a:pt x="24" y="0"/>
                    </a:cubicBezTo>
                    <a:cubicBezTo>
                      <a:pt x="23" y="0"/>
                      <a:pt x="22" y="0"/>
                      <a:pt x="22" y="1"/>
                    </a:cubicBezTo>
                    <a:cubicBezTo>
                      <a:pt x="22" y="2"/>
                      <a:pt x="23" y="2"/>
                      <a:pt x="23" y="3"/>
                    </a:cubicBezTo>
                    <a:cubicBezTo>
                      <a:pt x="22" y="2"/>
                      <a:pt x="22" y="2"/>
                      <a:pt x="21" y="2"/>
                    </a:cubicBezTo>
                    <a:cubicBezTo>
                      <a:pt x="21" y="2"/>
                      <a:pt x="20" y="2"/>
                      <a:pt x="20" y="2"/>
                    </a:cubicBezTo>
                    <a:cubicBezTo>
                      <a:pt x="19" y="2"/>
                      <a:pt x="18" y="2"/>
                      <a:pt x="18" y="3"/>
                    </a:cubicBezTo>
                    <a:cubicBezTo>
                      <a:pt x="18" y="3"/>
                      <a:pt x="18" y="3"/>
                      <a:pt x="17" y="3"/>
                    </a:cubicBezTo>
                    <a:cubicBezTo>
                      <a:pt x="17" y="3"/>
                      <a:pt x="17" y="3"/>
                      <a:pt x="16" y="3"/>
                    </a:cubicBezTo>
                    <a:cubicBezTo>
                      <a:pt x="15" y="3"/>
                      <a:pt x="14" y="2"/>
                      <a:pt x="13" y="3"/>
                    </a:cubicBezTo>
                    <a:cubicBezTo>
                      <a:pt x="13" y="2"/>
                      <a:pt x="12" y="4"/>
                      <a:pt x="12" y="4"/>
                    </a:cubicBezTo>
                    <a:cubicBezTo>
                      <a:pt x="11" y="5"/>
                      <a:pt x="10" y="5"/>
                      <a:pt x="10" y="6"/>
                    </a:cubicBezTo>
                    <a:cubicBezTo>
                      <a:pt x="9" y="5"/>
                      <a:pt x="9" y="5"/>
                      <a:pt x="8" y="5"/>
                    </a:cubicBezTo>
                    <a:cubicBezTo>
                      <a:pt x="7" y="5"/>
                      <a:pt x="7" y="5"/>
                      <a:pt x="6" y="5"/>
                    </a:cubicBezTo>
                    <a:cubicBezTo>
                      <a:pt x="6" y="5"/>
                      <a:pt x="5" y="4"/>
                      <a:pt x="5" y="4"/>
                    </a:cubicBezTo>
                    <a:cubicBezTo>
                      <a:pt x="4" y="4"/>
                      <a:pt x="3" y="4"/>
                      <a:pt x="3" y="4"/>
                    </a:cubicBezTo>
                    <a:cubicBezTo>
                      <a:pt x="2" y="5"/>
                      <a:pt x="2" y="5"/>
                      <a:pt x="1" y="5"/>
                    </a:cubicBezTo>
                    <a:cubicBezTo>
                      <a:pt x="0" y="6"/>
                      <a:pt x="0" y="6"/>
                      <a:pt x="0" y="6"/>
                    </a:cubicBezTo>
                    <a:cubicBezTo>
                      <a:pt x="0" y="7"/>
                      <a:pt x="0" y="8"/>
                      <a:pt x="0" y="7"/>
                    </a:cubicBezTo>
                    <a:cubicBezTo>
                      <a:pt x="0" y="7"/>
                      <a:pt x="0" y="7"/>
                      <a:pt x="1" y="7"/>
                    </a:cubicBezTo>
                    <a:cubicBezTo>
                      <a:pt x="1" y="7"/>
                      <a:pt x="1" y="7"/>
                      <a:pt x="1" y="7"/>
                    </a:cubicBezTo>
                    <a:cubicBezTo>
                      <a:pt x="1" y="8"/>
                      <a:pt x="2" y="8"/>
                      <a:pt x="2" y="8"/>
                    </a:cubicBezTo>
                    <a:cubicBezTo>
                      <a:pt x="2" y="8"/>
                      <a:pt x="1" y="9"/>
                      <a:pt x="1" y="9"/>
                    </a:cubicBezTo>
                    <a:cubicBezTo>
                      <a:pt x="1" y="9"/>
                      <a:pt x="0" y="10"/>
                      <a:pt x="1" y="10"/>
                    </a:cubicBezTo>
                    <a:cubicBezTo>
                      <a:pt x="3" y="10"/>
                      <a:pt x="1" y="11"/>
                      <a:pt x="2" y="12"/>
                    </a:cubicBezTo>
                    <a:cubicBezTo>
                      <a:pt x="2" y="12"/>
                      <a:pt x="2" y="12"/>
                      <a:pt x="3" y="12"/>
                    </a:cubicBezTo>
                    <a:cubicBezTo>
                      <a:pt x="3" y="12"/>
                      <a:pt x="3" y="12"/>
                      <a:pt x="4" y="13"/>
                    </a:cubicBezTo>
                    <a:cubicBezTo>
                      <a:pt x="4" y="13"/>
                      <a:pt x="4" y="14"/>
                      <a:pt x="4" y="14"/>
                    </a:cubicBezTo>
                    <a:cubicBezTo>
                      <a:pt x="4" y="14"/>
                      <a:pt x="3" y="14"/>
                      <a:pt x="3" y="14"/>
                    </a:cubicBezTo>
                    <a:cubicBezTo>
                      <a:pt x="4" y="15"/>
                      <a:pt x="2" y="15"/>
                      <a:pt x="1" y="15"/>
                    </a:cubicBezTo>
                    <a:cubicBezTo>
                      <a:pt x="2" y="15"/>
                      <a:pt x="2" y="15"/>
                      <a:pt x="2" y="16"/>
                    </a:cubicBezTo>
                    <a:cubicBezTo>
                      <a:pt x="3" y="16"/>
                      <a:pt x="3" y="15"/>
                      <a:pt x="4" y="16"/>
                    </a:cubicBezTo>
                    <a:cubicBezTo>
                      <a:pt x="4" y="16"/>
                      <a:pt x="5" y="16"/>
                      <a:pt x="5" y="16"/>
                    </a:cubicBezTo>
                    <a:cubicBezTo>
                      <a:pt x="5" y="16"/>
                      <a:pt x="5" y="15"/>
                      <a:pt x="5" y="15"/>
                    </a:cubicBezTo>
                    <a:cubicBezTo>
                      <a:pt x="6" y="15"/>
                      <a:pt x="6" y="15"/>
                      <a:pt x="7" y="15"/>
                    </a:cubicBezTo>
                    <a:cubicBezTo>
                      <a:pt x="7" y="15"/>
                      <a:pt x="7" y="15"/>
                      <a:pt x="8" y="15"/>
                    </a:cubicBezTo>
                    <a:cubicBezTo>
                      <a:pt x="9" y="15"/>
                      <a:pt x="9" y="14"/>
                      <a:pt x="10" y="14"/>
                    </a:cubicBezTo>
                    <a:cubicBezTo>
                      <a:pt x="10" y="13"/>
                      <a:pt x="10" y="13"/>
                      <a:pt x="11" y="14"/>
                    </a:cubicBezTo>
                    <a:cubicBezTo>
                      <a:pt x="11" y="14"/>
                      <a:pt x="11" y="15"/>
                      <a:pt x="11" y="15"/>
                    </a:cubicBezTo>
                    <a:cubicBezTo>
                      <a:pt x="12" y="15"/>
                      <a:pt x="12" y="16"/>
                      <a:pt x="13" y="15"/>
                    </a:cubicBezTo>
                    <a:cubicBezTo>
                      <a:pt x="13" y="15"/>
                      <a:pt x="14" y="15"/>
                      <a:pt x="15" y="15"/>
                    </a:cubicBezTo>
                    <a:cubicBezTo>
                      <a:pt x="15" y="16"/>
                      <a:pt x="15" y="16"/>
                      <a:pt x="16" y="16"/>
                    </a:cubicBezTo>
                    <a:cubicBezTo>
                      <a:pt x="16" y="15"/>
                      <a:pt x="17" y="16"/>
                      <a:pt x="17" y="15"/>
                    </a:cubicBezTo>
                    <a:cubicBezTo>
                      <a:pt x="17" y="15"/>
                      <a:pt x="16" y="15"/>
                      <a:pt x="16" y="14"/>
                    </a:cubicBezTo>
                    <a:cubicBezTo>
                      <a:pt x="16" y="14"/>
                      <a:pt x="17" y="13"/>
                      <a:pt x="17" y="14"/>
                    </a:cubicBezTo>
                    <a:cubicBezTo>
                      <a:pt x="17" y="13"/>
                      <a:pt x="17" y="13"/>
                      <a:pt x="17" y="13"/>
                    </a:cubicBezTo>
                    <a:cubicBezTo>
                      <a:pt x="16" y="13"/>
                      <a:pt x="16" y="13"/>
                      <a:pt x="16" y="13"/>
                    </a:cubicBezTo>
                    <a:cubicBezTo>
                      <a:pt x="16" y="12"/>
                      <a:pt x="17" y="12"/>
                      <a:pt x="18" y="12"/>
                    </a:cubicBezTo>
                    <a:cubicBezTo>
                      <a:pt x="18" y="12"/>
                      <a:pt x="18" y="12"/>
                      <a:pt x="19" y="12"/>
                    </a:cubicBezTo>
                    <a:cubicBezTo>
                      <a:pt x="20" y="12"/>
                      <a:pt x="20" y="11"/>
                      <a:pt x="20" y="10"/>
                    </a:cubicBezTo>
                    <a:cubicBezTo>
                      <a:pt x="20" y="10"/>
                      <a:pt x="20" y="9"/>
                      <a:pt x="20" y="9"/>
                    </a:cubicBezTo>
                    <a:cubicBezTo>
                      <a:pt x="20" y="9"/>
                      <a:pt x="19" y="9"/>
                      <a:pt x="19" y="9"/>
                    </a:cubicBezTo>
                    <a:cubicBezTo>
                      <a:pt x="18" y="8"/>
                      <a:pt x="19" y="7"/>
                      <a:pt x="20" y="7"/>
                    </a:cubicBezTo>
                    <a:cubicBezTo>
                      <a:pt x="20" y="7"/>
                      <a:pt x="21" y="7"/>
                      <a:pt x="21" y="7"/>
                    </a:cubicBezTo>
                    <a:cubicBezTo>
                      <a:pt x="21" y="7"/>
                      <a:pt x="21" y="7"/>
                      <a:pt x="22" y="7"/>
                    </a:cubicBezTo>
                    <a:cubicBezTo>
                      <a:pt x="22" y="7"/>
                      <a:pt x="23" y="6"/>
                      <a:pt x="23" y="6"/>
                    </a:cubicBezTo>
                    <a:cubicBezTo>
                      <a:pt x="23" y="6"/>
                      <a:pt x="23" y="5"/>
                      <a:pt x="24" y="5"/>
                    </a:cubicBezTo>
                    <a:cubicBezTo>
                      <a:pt x="24" y="5"/>
                      <a:pt x="24" y="6"/>
                      <a:pt x="24" y="6"/>
                    </a:cubicBezTo>
                    <a:cubicBezTo>
                      <a:pt x="25" y="6"/>
                      <a:pt x="25" y="5"/>
                      <a:pt x="24" y="5"/>
                    </a:cubicBezTo>
                    <a:cubicBezTo>
                      <a:pt x="24" y="3"/>
                      <a:pt x="27" y="5"/>
                      <a:pt x="27" y="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6" name="Slovakia">
                <a:extLst>
                  <a:ext uri="{FF2B5EF4-FFF2-40B4-BE49-F238E27FC236}">
                    <a16:creationId xmlns:a16="http://schemas.microsoft.com/office/drawing/2014/main" id="{708523F8-34E1-95C8-3D5B-128D8DE35A29}"/>
                  </a:ext>
                </a:extLst>
              </p:cNvPr>
              <p:cNvSpPr>
                <a:spLocks/>
              </p:cNvSpPr>
              <p:nvPr/>
            </p:nvSpPr>
            <p:spPr bwMode="auto">
              <a:xfrm>
                <a:off x="6245578" y="2115385"/>
                <a:ext cx="170548" cy="74493"/>
              </a:xfrm>
              <a:custGeom>
                <a:avLst/>
                <a:gdLst/>
                <a:ahLst/>
                <a:cxnLst>
                  <a:cxn ang="0">
                    <a:pos x="44" y="5"/>
                  </a:cxn>
                  <a:cxn ang="0">
                    <a:pos x="41" y="4"/>
                  </a:cxn>
                  <a:cxn ang="0">
                    <a:pos x="40" y="3"/>
                  </a:cxn>
                  <a:cxn ang="0">
                    <a:pos x="36" y="3"/>
                  </a:cxn>
                  <a:cxn ang="0">
                    <a:pos x="35" y="3"/>
                  </a:cxn>
                  <a:cxn ang="0">
                    <a:pos x="33" y="4"/>
                  </a:cxn>
                  <a:cxn ang="0">
                    <a:pos x="30" y="3"/>
                  </a:cxn>
                  <a:cxn ang="0">
                    <a:pos x="27" y="4"/>
                  </a:cxn>
                  <a:cxn ang="0">
                    <a:pos x="26" y="5"/>
                  </a:cxn>
                  <a:cxn ang="0">
                    <a:pos x="25" y="5"/>
                  </a:cxn>
                  <a:cxn ang="0">
                    <a:pos x="24" y="3"/>
                  </a:cxn>
                  <a:cxn ang="0">
                    <a:pos x="21" y="1"/>
                  </a:cxn>
                  <a:cxn ang="0">
                    <a:pos x="19" y="3"/>
                  </a:cxn>
                  <a:cxn ang="0">
                    <a:pos x="16" y="2"/>
                  </a:cxn>
                  <a:cxn ang="0">
                    <a:pos x="13" y="3"/>
                  </a:cxn>
                  <a:cxn ang="0">
                    <a:pos x="10" y="7"/>
                  </a:cxn>
                  <a:cxn ang="0">
                    <a:pos x="8" y="8"/>
                  </a:cxn>
                  <a:cxn ang="0">
                    <a:pos x="5" y="9"/>
                  </a:cxn>
                  <a:cxn ang="0">
                    <a:pos x="4" y="9"/>
                  </a:cxn>
                  <a:cxn ang="0">
                    <a:pos x="1" y="10"/>
                  </a:cxn>
                  <a:cxn ang="0">
                    <a:pos x="0" y="14"/>
                  </a:cxn>
                  <a:cxn ang="0">
                    <a:pos x="1" y="17"/>
                  </a:cxn>
                  <a:cxn ang="0">
                    <a:pos x="3" y="18"/>
                  </a:cxn>
                  <a:cxn ang="0">
                    <a:pos x="3" y="18"/>
                  </a:cxn>
                  <a:cxn ang="0">
                    <a:pos x="5" y="19"/>
                  </a:cxn>
                  <a:cxn ang="0">
                    <a:pos x="9" y="21"/>
                  </a:cxn>
                  <a:cxn ang="0">
                    <a:pos x="14" y="21"/>
                  </a:cxn>
                  <a:cxn ang="0">
                    <a:pos x="17" y="20"/>
                  </a:cxn>
                  <a:cxn ang="0">
                    <a:pos x="18" y="17"/>
                  </a:cxn>
                  <a:cxn ang="0">
                    <a:pos x="22" y="17"/>
                  </a:cxn>
                  <a:cxn ang="0">
                    <a:pos x="26" y="17"/>
                  </a:cxn>
                  <a:cxn ang="0">
                    <a:pos x="28" y="15"/>
                  </a:cxn>
                  <a:cxn ang="0">
                    <a:pos x="30" y="14"/>
                  </a:cxn>
                  <a:cxn ang="0">
                    <a:pos x="32" y="12"/>
                  </a:cxn>
                  <a:cxn ang="0">
                    <a:pos x="37" y="13"/>
                  </a:cxn>
                  <a:cxn ang="0">
                    <a:pos x="40" y="13"/>
                  </a:cxn>
                  <a:cxn ang="0">
                    <a:pos x="43" y="14"/>
                  </a:cxn>
                  <a:cxn ang="0">
                    <a:pos x="46" y="11"/>
                  </a:cxn>
                  <a:cxn ang="0">
                    <a:pos x="47" y="9"/>
                  </a:cxn>
                  <a:cxn ang="0">
                    <a:pos x="48" y="7"/>
                  </a:cxn>
                </a:cxnLst>
                <a:rect l="0" t="0" r="r" b="b"/>
                <a:pathLst>
                  <a:path w="48" h="21">
                    <a:moveTo>
                      <a:pt x="46" y="6"/>
                    </a:moveTo>
                    <a:cubicBezTo>
                      <a:pt x="45" y="6"/>
                      <a:pt x="45" y="6"/>
                      <a:pt x="44" y="5"/>
                    </a:cubicBezTo>
                    <a:cubicBezTo>
                      <a:pt x="43" y="5"/>
                      <a:pt x="43" y="5"/>
                      <a:pt x="43" y="4"/>
                    </a:cubicBezTo>
                    <a:cubicBezTo>
                      <a:pt x="43" y="4"/>
                      <a:pt x="42" y="4"/>
                      <a:pt x="41" y="4"/>
                    </a:cubicBezTo>
                    <a:cubicBezTo>
                      <a:pt x="41" y="3"/>
                      <a:pt x="41" y="4"/>
                      <a:pt x="41" y="4"/>
                    </a:cubicBezTo>
                    <a:cubicBezTo>
                      <a:pt x="41" y="3"/>
                      <a:pt x="41" y="3"/>
                      <a:pt x="40" y="3"/>
                    </a:cubicBezTo>
                    <a:cubicBezTo>
                      <a:pt x="40" y="3"/>
                      <a:pt x="39" y="3"/>
                      <a:pt x="38" y="3"/>
                    </a:cubicBezTo>
                    <a:cubicBezTo>
                      <a:pt x="37" y="3"/>
                      <a:pt x="37" y="3"/>
                      <a:pt x="36" y="3"/>
                    </a:cubicBezTo>
                    <a:cubicBezTo>
                      <a:pt x="36" y="3"/>
                      <a:pt x="36" y="3"/>
                      <a:pt x="35" y="3"/>
                    </a:cubicBezTo>
                    <a:cubicBezTo>
                      <a:pt x="35" y="3"/>
                      <a:pt x="35" y="3"/>
                      <a:pt x="35" y="3"/>
                    </a:cubicBezTo>
                    <a:cubicBezTo>
                      <a:pt x="35" y="4"/>
                      <a:pt x="35" y="4"/>
                      <a:pt x="35" y="4"/>
                    </a:cubicBezTo>
                    <a:cubicBezTo>
                      <a:pt x="34" y="4"/>
                      <a:pt x="34" y="4"/>
                      <a:pt x="33" y="4"/>
                    </a:cubicBezTo>
                    <a:cubicBezTo>
                      <a:pt x="33" y="4"/>
                      <a:pt x="33" y="3"/>
                      <a:pt x="32" y="3"/>
                    </a:cubicBezTo>
                    <a:cubicBezTo>
                      <a:pt x="32" y="3"/>
                      <a:pt x="31" y="3"/>
                      <a:pt x="30" y="3"/>
                    </a:cubicBezTo>
                    <a:cubicBezTo>
                      <a:pt x="30" y="3"/>
                      <a:pt x="29" y="3"/>
                      <a:pt x="29" y="4"/>
                    </a:cubicBezTo>
                    <a:cubicBezTo>
                      <a:pt x="29" y="4"/>
                      <a:pt x="28" y="4"/>
                      <a:pt x="27" y="4"/>
                    </a:cubicBezTo>
                    <a:cubicBezTo>
                      <a:pt x="27" y="5"/>
                      <a:pt x="27" y="6"/>
                      <a:pt x="27" y="6"/>
                    </a:cubicBezTo>
                    <a:cubicBezTo>
                      <a:pt x="26" y="6"/>
                      <a:pt x="26" y="5"/>
                      <a:pt x="26" y="5"/>
                    </a:cubicBezTo>
                    <a:cubicBezTo>
                      <a:pt x="25" y="5"/>
                      <a:pt x="24" y="6"/>
                      <a:pt x="24" y="5"/>
                    </a:cubicBezTo>
                    <a:cubicBezTo>
                      <a:pt x="24" y="5"/>
                      <a:pt x="25" y="5"/>
                      <a:pt x="25" y="5"/>
                    </a:cubicBezTo>
                    <a:cubicBezTo>
                      <a:pt x="25" y="4"/>
                      <a:pt x="25" y="4"/>
                      <a:pt x="24" y="4"/>
                    </a:cubicBezTo>
                    <a:cubicBezTo>
                      <a:pt x="24" y="4"/>
                      <a:pt x="24" y="3"/>
                      <a:pt x="24" y="3"/>
                    </a:cubicBezTo>
                    <a:cubicBezTo>
                      <a:pt x="23" y="3"/>
                      <a:pt x="23" y="3"/>
                      <a:pt x="23" y="3"/>
                    </a:cubicBezTo>
                    <a:cubicBezTo>
                      <a:pt x="22" y="3"/>
                      <a:pt x="22" y="0"/>
                      <a:pt x="21" y="1"/>
                    </a:cubicBezTo>
                    <a:cubicBezTo>
                      <a:pt x="21" y="2"/>
                      <a:pt x="20" y="2"/>
                      <a:pt x="20" y="2"/>
                    </a:cubicBezTo>
                    <a:cubicBezTo>
                      <a:pt x="19" y="3"/>
                      <a:pt x="19" y="3"/>
                      <a:pt x="19" y="3"/>
                    </a:cubicBezTo>
                    <a:cubicBezTo>
                      <a:pt x="18" y="3"/>
                      <a:pt x="17" y="4"/>
                      <a:pt x="17" y="3"/>
                    </a:cubicBezTo>
                    <a:cubicBezTo>
                      <a:pt x="17" y="2"/>
                      <a:pt x="17" y="2"/>
                      <a:pt x="16" y="2"/>
                    </a:cubicBezTo>
                    <a:cubicBezTo>
                      <a:pt x="16" y="2"/>
                      <a:pt x="15" y="2"/>
                      <a:pt x="14" y="2"/>
                    </a:cubicBezTo>
                    <a:cubicBezTo>
                      <a:pt x="14" y="3"/>
                      <a:pt x="13" y="3"/>
                      <a:pt x="13" y="3"/>
                    </a:cubicBezTo>
                    <a:cubicBezTo>
                      <a:pt x="13" y="4"/>
                      <a:pt x="11" y="5"/>
                      <a:pt x="10" y="5"/>
                    </a:cubicBezTo>
                    <a:cubicBezTo>
                      <a:pt x="10" y="6"/>
                      <a:pt x="10" y="6"/>
                      <a:pt x="10" y="7"/>
                    </a:cubicBezTo>
                    <a:cubicBezTo>
                      <a:pt x="10" y="7"/>
                      <a:pt x="10" y="7"/>
                      <a:pt x="9" y="7"/>
                    </a:cubicBezTo>
                    <a:cubicBezTo>
                      <a:pt x="8" y="7"/>
                      <a:pt x="9" y="8"/>
                      <a:pt x="8" y="8"/>
                    </a:cubicBezTo>
                    <a:cubicBezTo>
                      <a:pt x="8" y="8"/>
                      <a:pt x="8" y="9"/>
                      <a:pt x="7" y="9"/>
                    </a:cubicBezTo>
                    <a:cubicBezTo>
                      <a:pt x="7" y="9"/>
                      <a:pt x="6" y="10"/>
                      <a:pt x="5" y="9"/>
                    </a:cubicBezTo>
                    <a:cubicBezTo>
                      <a:pt x="5" y="9"/>
                      <a:pt x="5" y="9"/>
                      <a:pt x="5" y="9"/>
                    </a:cubicBezTo>
                    <a:cubicBezTo>
                      <a:pt x="5" y="9"/>
                      <a:pt x="5" y="9"/>
                      <a:pt x="4" y="9"/>
                    </a:cubicBezTo>
                    <a:cubicBezTo>
                      <a:pt x="4" y="9"/>
                      <a:pt x="3" y="9"/>
                      <a:pt x="3" y="9"/>
                    </a:cubicBezTo>
                    <a:cubicBezTo>
                      <a:pt x="2" y="9"/>
                      <a:pt x="2" y="9"/>
                      <a:pt x="1" y="10"/>
                    </a:cubicBezTo>
                    <a:cubicBezTo>
                      <a:pt x="1" y="11"/>
                      <a:pt x="1" y="11"/>
                      <a:pt x="1" y="12"/>
                    </a:cubicBezTo>
                    <a:cubicBezTo>
                      <a:pt x="1" y="12"/>
                      <a:pt x="0" y="13"/>
                      <a:pt x="0" y="14"/>
                    </a:cubicBezTo>
                    <a:cubicBezTo>
                      <a:pt x="0" y="14"/>
                      <a:pt x="0" y="15"/>
                      <a:pt x="0" y="15"/>
                    </a:cubicBezTo>
                    <a:cubicBezTo>
                      <a:pt x="1" y="16"/>
                      <a:pt x="1" y="16"/>
                      <a:pt x="1" y="17"/>
                    </a:cubicBezTo>
                    <a:cubicBezTo>
                      <a:pt x="2" y="17"/>
                      <a:pt x="2" y="17"/>
                      <a:pt x="2" y="18"/>
                    </a:cubicBezTo>
                    <a:cubicBezTo>
                      <a:pt x="2" y="18"/>
                      <a:pt x="3" y="18"/>
                      <a:pt x="3" y="18"/>
                    </a:cubicBezTo>
                    <a:cubicBezTo>
                      <a:pt x="3" y="18"/>
                      <a:pt x="2" y="18"/>
                      <a:pt x="2" y="17"/>
                    </a:cubicBezTo>
                    <a:cubicBezTo>
                      <a:pt x="2" y="17"/>
                      <a:pt x="3" y="18"/>
                      <a:pt x="3" y="18"/>
                    </a:cubicBezTo>
                    <a:cubicBezTo>
                      <a:pt x="3" y="18"/>
                      <a:pt x="5" y="18"/>
                      <a:pt x="4" y="18"/>
                    </a:cubicBezTo>
                    <a:cubicBezTo>
                      <a:pt x="4" y="18"/>
                      <a:pt x="5" y="19"/>
                      <a:pt x="5" y="19"/>
                    </a:cubicBezTo>
                    <a:cubicBezTo>
                      <a:pt x="5" y="19"/>
                      <a:pt x="6" y="20"/>
                      <a:pt x="6" y="20"/>
                    </a:cubicBezTo>
                    <a:cubicBezTo>
                      <a:pt x="7" y="20"/>
                      <a:pt x="8" y="21"/>
                      <a:pt x="9" y="21"/>
                    </a:cubicBezTo>
                    <a:cubicBezTo>
                      <a:pt x="10" y="21"/>
                      <a:pt x="11" y="21"/>
                      <a:pt x="12" y="21"/>
                    </a:cubicBezTo>
                    <a:cubicBezTo>
                      <a:pt x="13" y="21"/>
                      <a:pt x="14" y="21"/>
                      <a:pt x="14" y="21"/>
                    </a:cubicBezTo>
                    <a:cubicBezTo>
                      <a:pt x="15" y="21"/>
                      <a:pt x="15" y="21"/>
                      <a:pt x="16" y="21"/>
                    </a:cubicBezTo>
                    <a:cubicBezTo>
                      <a:pt x="16" y="20"/>
                      <a:pt x="17" y="20"/>
                      <a:pt x="17" y="20"/>
                    </a:cubicBezTo>
                    <a:cubicBezTo>
                      <a:pt x="17" y="19"/>
                      <a:pt x="16" y="19"/>
                      <a:pt x="16" y="19"/>
                    </a:cubicBezTo>
                    <a:cubicBezTo>
                      <a:pt x="17" y="18"/>
                      <a:pt x="17" y="18"/>
                      <a:pt x="18" y="17"/>
                    </a:cubicBezTo>
                    <a:cubicBezTo>
                      <a:pt x="19" y="17"/>
                      <a:pt x="20" y="18"/>
                      <a:pt x="20" y="17"/>
                    </a:cubicBezTo>
                    <a:cubicBezTo>
                      <a:pt x="21" y="17"/>
                      <a:pt x="22" y="17"/>
                      <a:pt x="22" y="17"/>
                    </a:cubicBezTo>
                    <a:cubicBezTo>
                      <a:pt x="23" y="16"/>
                      <a:pt x="23" y="16"/>
                      <a:pt x="24" y="16"/>
                    </a:cubicBezTo>
                    <a:cubicBezTo>
                      <a:pt x="25" y="16"/>
                      <a:pt x="25" y="16"/>
                      <a:pt x="26" y="17"/>
                    </a:cubicBezTo>
                    <a:cubicBezTo>
                      <a:pt x="26" y="17"/>
                      <a:pt x="27" y="17"/>
                      <a:pt x="27" y="16"/>
                    </a:cubicBezTo>
                    <a:cubicBezTo>
                      <a:pt x="28" y="16"/>
                      <a:pt x="28" y="16"/>
                      <a:pt x="28" y="15"/>
                    </a:cubicBezTo>
                    <a:cubicBezTo>
                      <a:pt x="29" y="15"/>
                      <a:pt x="29" y="16"/>
                      <a:pt x="30" y="15"/>
                    </a:cubicBezTo>
                    <a:cubicBezTo>
                      <a:pt x="30" y="15"/>
                      <a:pt x="30" y="14"/>
                      <a:pt x="30" y="14"/>
                    </a:cubicBezTo>
                    <a:cubicBezTo>
                      <a:pt x="30" y="13"/>
                      <a:pt x="31" y="13"/>
                      <a:pt x="31" y="13"/>
                    </a:cubicBezTo>
                    <a:cubicBezTo>
                      <a:pt x="31" y="12"/>
                      <a:pt x="32" y="12"/>
                      <a:pt x="32" y="12"/>
                    </a:cubicBezTo>
                    <a:cubicBezTo>
                      <a:pt x="33" y="12"/>
                      <a:pt x="34" y="12"/>
                      <a:pt x="35" y="13"/>
                    </a:cubicBezTo>
                    <a:cubicBezTo>
                      <a:pt x="36" y="13"/>
                      <a:pt x="36" y="13"/>
                      <a:pt x="37" y="13"/>
                    </a:cubicBezTo>
                    <a:cubicBezTo>
                      <a:pt x="37" y="13"/>
                      <a:pt x="38" y="13"/>
                      <a:pt x="38" y="12"/>
                    </a:cubicBezTo>
                    <a:cubicBezTo>
                      <a:pt x="39" y="12"/>
                      <a:pt x="39" y="12"/>
                      <a:pt x="40" y="13"/>
                    </a:cubicBezTo>
                    <a:cubicBezTo>
                      <a:pt x="40" y="13"/>
                      <a:pt x="40" y="13"/>
                      <a:pt x="41" y="13"/>
                    </a:cubicBezTo>
                    <a:cubicBezTo>
                      <a:pt x="41" y="14"/>
                      <a:pt x="42" y="15"/>
                      <a:pt x="43" y="14"/>
                    </a:cubicBezTo>
                    <a:cubicBezTo>
                      <a:pt x="44" y="14"/>
                      <a:pt x="45" y="15"/>
                      <a:pt x="45" y="13"/>
                    </a:cubicBezTo>
                    <a:cubicBezTo>
                      <a:pt x="45" y="12"/>
                      <a:pt x="46" y="12"/>
                      <a:pt x="46" y="11"/>
                    </a:cubicBezTo>
                    <a:cubicBezTo>
                      <a:pt x="46" y="11"/>
                      <a:pt x="46" y="10"/>
                      <a:pt x="47" y="9"/>
                    </a:cubicBezTo>
                    <a:cubicBezTo>
                      <a:pt x="47" y="9"/>
                      <a:pt x="46" y="9"/>
                      <a:pt x="47" y="9"/>
                    </a:cubicBezTo>
                    <a:cubicBezTo>
                      <a:pt x="47" y="9"/>
                      <a:pt x="47" y="8"/>
                      <a:pt x="47" y="8"/>
                    </a:cubicBezTo>
                    <a:cubicBezTo>
                      <a:pt x="48" y="7"/>
                      <a:pt x="48" y="7"/>
                      <a:pt x="48" y="7"/>
                    </a:cubicBezTo>
                    <a:cubicBezTo>
                      <a:pt x="47" y="7"/>
                      <a:pt x="47" y="6"/>
                      <a:pt x="46" y="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7" name="Singapore">
                <a:extLst>
                  <a:ext uri="{FF2B5EF4-FFF2-40B4-BE49-F238E27FC236}">
                    <a16:creationId xmlns:a16="http://schemas.microsoft.com/office/drawing/2014/main" id="{6863682B-0D03-C9E7-1E6F-068028D50A21}"/>
                  </a:ext>
                </a:extLst>
              </p:cNvPr>
              <p:cNvSpPr>
                <a:spLocks/>
              </p:cNvSpPr>
              <p:nvPr/>
            </p:nvSpPr>
            <p:spPr bwMode="auto">
              <a:xfrm>
                <a:off x="9255658" y="3987501"/>
                <a:ext cx="13723" cy="6860"/>
              </a:xfrm>
              <a:custGeom>
                <a:avLst/>
                <a:gdLst/>
                <a:ahLst/>
                <a:cxnLst>
                  <a:cxn ang="0">
                    <a:pos x="3" y="1"/>
                  </a:cxn>
                  <a:cxn ang="0">
                    <a:pos x="2" y="0"/>
                  </a:cxn>
                  <a:cxn ang="0">
                    <a:pos x="1" y="1"/>
                  </a:cxn>
                  <a:cxn ang="0">
                    <a:pos x="0" y="2"/>
                  </a:cxn>
                  <a:cxn ang="0">
                    <a:pos x="1" y="2"/>
                  </a:cxn>
                  <a:cxn ang="0">
                    <a:pos x="2" y="2"/>
                  </a:cxn>
                  <a:cxn ang="0">
                    <a:pos x="3" y="2"/>
                  </a:cxn>
                  <a:cxn ang="0">
                    <a:pos x="3" y="2"/>
                  </a:cxn>
                  <a:cxn ang="0">
                    <a:pos x="4" y="1"/>
                  </a:cxn>
                  <a:cxn ang="0">
                    <a:pos x="3" y="1"/>
                  </a:cxn>
                </a:cxnLst>
                <a:rect l="0" t="0" r="r" b="b"/>
                <a:pathLst>
                  <a:path w="4" h="2">
                    <a:moveTo>
                      <a:pt x="3" y="1"/>
                    </a:moveTo>
                    <a:cubicBezTo>
                      <a:pt x="3" y="1"/>
                      <a:pt x="2" y="0"/>
                      <a:pt x="2" y="0"/>
                    </a:cubicBezTo>
                    <a:cubicBezTo>
                      <a:pt x="2" y="0"/>
                      <a:pt x="1" y="1"/>
                      <a:pt x="1" y="1"/>
                    </a:cubicBezTo>
                    <a:cubicBezTo>
                      <a:pt x="1" y="1"/>
                      <a:pt x="0" y="1"/>
                      <a:pt x="0" y="2"/>
                    </a:cubicBezTo>
                    <a:cubicBezTo>
                      <a:pt x="1" y="2"/>
                      <a:pt x="1" y="2"/>
                      <a:pt x="1" y="2"/>
                    </a:cubicBezTo>
                    <a:cubicBezTo>
                      <a:pt x="2" y="2"/>
                      <a:pt x="2" y="2"/>
                      <a:pt x="2" y="2"/>
                    </a:cubicBezTo>
                    <a:cubicBezTo>
                      <a:pt x="2" y="2"/>
                      <a:pt x="2" y="2"/>
                      <a:pt x="3" y="2"/>
                    </a:cubicBezTo>
                    <a:cubicBezTo>
                      <a:pt x="3" y="2"/>
                      <a:pt x="3" y="2"/>
                      <a:pt x="3" y="2"/>
                    </a:cubicBezTo>
                    <a:cubicBezTo>
                      <a:pt x="4" y="2"/>
                      <a:pt x="4" y="1"/>
                      <a:pt x="4" y="1"/>
                    </a:cubicBezTo>
                    <a:cubicBezTo>
                      <a:pt x="3" y="1"/>
                      <a:pt x="3" y="1"/>
                      <a:pt x="3"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8" name="Sierra Leone">
                <a:extLst>
                  <a:ext uri="{FF2B5EF4-FFF2-40B4-BE49-F238E27FC236}">
                    <a16:creationId xmlns:a16="http://schemas.microsoft.com/office/drawing/2014/main" id="{FF8CE268-7119-BE2F-CAF3-1EAE0CD65D97}"/>
                  </a:ext>
                </a:extLst>
              </p:cNvPr>
              <p:cNvSpPr>
                <a:spLocks noEditPoints="1"/>
              </p:cNvSpPr>
              <p:nvPr/>
            </p:nvSpPr>
            <p:spPr bwMode="auto">
              <a:xfrm>
                <a:off x="5240906" y="3654244"/>
                <a:ext cx="101936" cy="123501"/>
              </a:xfrm>
              <a:custGeom>
                <a:avLst/>
                <a:gdLst/>
                <a:ahLst/>
                <a:cxnLst>
                  <a:cxn ang="0">
                    <a:pos x="28" y="17"/>
                  </a:cxn>
                  <a:cxn ang="0">
                    <a:pos x="25" y="19"/>
                  </a:cxn>
                  <a:cxn ang="0">
                    <a:pos x="27" y="16"/>
                  </a:cxn>
                  <a:cxn ang="0">
                    <a:pos x="26" y="12"/>
                  </a:cxn>
                  <a:cxn ang="0">
                    <a:pos x="25" y="10"/>
                  </a:cxn>
                  <a:cxn ang="0">
                    <a:pos x="25" y="7"/>
                  </a:cxn>
                  <a:cxn ang="0">
                    <a:pos x="24" y="5"/>
                  </a:cxn>
                  <a:cxn ang="0">
                    <a:pos x="22" y="3"/>
                  </a:cxn>
                  <a:cxn ang="0">
                    <a:pos x="21" y="1"/>
                  </a:cxn>
                  <a:cxn ang="0">
                    <a:pos x="14" y="1"/>
                  </a:cxn>
                  <a:cxn ang="0">
                    <a:pos x="11" y="1"/>
                  </a:cxn>
                  <a:cxn ang="0">
                    <a:pos x="8" y="3"/>
                  </a:cxn>
                  <a:cxn ang="0">
                    <a:pos x="6" y="6"/>
                  </a:cxn>
                  <a:cxn ang="0">
                    <a:pos x="6" y="7"/>
                  </a:cxn>
                  <a:cxn ang="0">
                    <a:pos x="4" y="8"/>
                  </a:cxn>
                  <a:cxn ang="0">
                    <a:pos x="3" y="10"/>
                  </a:cxn>
                  <a:cxn ang="0">
                    <a:pos x="0" y="12"/>
                  </a:cxn>
                  <a:cxn ang="0">
                    <a:pos x="2" y="13"/>
                  </a:cxn>
                  <a:cxn ang="0">
                    <a:pos x="1" y="13"/>
                  </a:cxn>
                  <a:cxn ang="0">
                    <a:pos x="2" y="17"/>
                  </a:cxn>
                  <a:cxn ang="0">
                    <a:pos x="2" y="15"/>
                  </a:cxn>
                  <a:cxn ang="0">
                    <a:pos x="4" y="15"/>
                  </a:cxn>
                  <a:cxn ang="0">
                    <a:pos x="3" y="16"/>
                  </a:cxn>
                  <a:cxn ang="0">
                    <a:pos x="2" y="18"/>
                  </a:cxn>
                  <a:cxn ang="0">
                    <a:pos x="0" y="17"/>
                  </a:cxn>
                  <a:cxn ang="0">
                    <a:pos x="1" y="19"/>
                  </a:cxn>
                  <a:cxn ang="0">
                    <a:pos x="3" y="20"/>
                  </a:cxn>
                  <a:cxn ang="0">
                    <a:pos x="4" y="22"/>
                  </a:cxn>
                  <a:cxn ang="0">
                    <a:pos x="3" y="23"/>
                  </a:cxn>
                  <a:cxn ang="0">
                    <a:pos x="5" y="25"/>
                  </a:cxn>
                  <a:cxn ang="0">
                    <a:pos x="6" y="26"/>
                  </a:cxn>
                  <a:cxn ang="0">
                    <a:pos x="8" y="25"/>
                  </a:cxn>
                  <a:cxn ang="0">
                    <a:pos x="8" y="26"/>
                  </a:cxn>
                  <a:cxn ang="0">
                    <a:pos x="10" y="27"/>
                  </a:cxn>
                  <a:cxn ang="0">
                    <a:pos x="8" y="28"/>
                  </a:cxn>
                  <a:cxn ang="0">
                    <a:pos x="8" y="29"/>
                  </a:cxn>
                  <a:cxn ang="0">
                    <a:pos x="12" y="31"/>
                  </a:cxn>
                  <a:cxn ang="0">
                    <a:pos x="16" y="33"/>
                  </a:cxn>
                  <a:cxn ang="0">
                    <a:pos x="17" y="33"/>
                  </a:cxn>
                  <a:cxn ang="0">
                    <a:pos x="19" y="32"/>
                  </a:cxn>
                  <a:cxn ang="0">
                    <a:pos x="21" y="30"/>
                  </a:cxn>
                  <a:cxn ang="0">
                    <a:pos x="24" y="27"/>
                  </a:cxn>
                  <a:cxn ang="0">
                    <a:pos x="26" y="24"/>
                  </a:cxn>
                  <a:cxn ang="0">
                    <a:pos x="28" y="21"/>
                  </a:cxn>
                  <a:cxn ang="0">
                    <a:pos x="29" y="17"/>
                  </a:cxn>
                  <a:cxn ang="0">
                    <a:pos x="3" y="13"/>
                  </a:cxn>
                  <a:cxn ang="0">
                    <a:pos x="8" y="28"/>
                  </a:cxn>
                  <a:cxn ang="0">
                    <a:pos x="7" y="28"/>
                  </a:cxn>
                  <a:cxn ang="0">
                    <a:pos x="4" y="27"/>
                  </a:cxn>
                </a:cxnLst>
                <a:rect l="0" t="0" r="r" b="b"/>
                <a:pathLst>
                  <a:path w="29" h="35">
                    <a:moveTo>
                      <a:pt x="29" y="17"/>
                    </a:moveTo>
                    <a:cubicBezTo>
                      <a:pt x="29" y="17"/>
                      <a:pt x="29" y="17"/>
                      <a:pt x="28" y="17"/>
                    </a:cubicBezTo>
                    <a:cubicBezTo>
                      <a:pt x="28" y="17"/>
                      <a:pt x="27" y="19"/>
                      <a:pt x="27" y="19"/>
                    </a:cubicBezTo>
                    <a:cubicBezTo>
                      <a:pt x="26" y="18"/>
                      <a:pt x="25" y="19"/>
                      <a:pt x="25" y="19"/>
                    </a:cubicBezTo>
                    <a:cubicBezTo>
                      <a:pt x="25" y="19"/>
                      <a:pt x="26" y="18"/>
                      <a:pt x="26" y="17"/>
                    </a:cubicBezTo>
                    <a:cubicBezTo>
                      <a:pt x="26" y="17"/>
                      <a:pt x="26" y="16"/>
                      <a:pt x="27" y="16"/>
                    </a:cubicBezTo>
                    <a:cubicBezTo>
                      <a:pt x="28" y="15"/>
                      <a:pt x="27" y="14"/>
                      <a:pt x="27" y="14"/>
                    </a:cubicBezTo>
                    <a:cubicBezTo>
                      <a:pt x="26" y="13"/>
                      <a:pt x="26" y="12"/>
                      <a:pt x="26" y="12"/>
                    </a:cubicBezTo>
                    <a:cubicBezTo>
                      <a:pt x="26" y="11"/>
                      <a:pt x="27" y="11"/>
                      <a:pt x="26" y="10"/>
                    </a:cubicBezTo>
                    <a:cubicBezTo>
                      <a:pt x="25" y="10"/>
                      <a:pt x="25" y="10"/>
                      <a:pt x="25" y="10"/>
                    </a:cubicBezTo>
                    <a:cubicBezTo>
                      <a:pt x="25" y="9"/>
                      <a:pt x="26" y="9"/>
                      <a:pt x="26" y="8"/>
                    </a:cubicBezTo>
                    <a:cubicBezTo>
                      <a:pt x="26" y="8"/>
                      <a:pt x="25" y="8"/>
                      <a:pt x="25" y="7"/>
                    </a:cubicBezTo>
                    <a:cubicBezTo>
                      <a:pt x="25" y="7"/>
                      <a:pt x="25" y="7"/>
                      <a:pt x="24" y="7"/>
                    </a:cubicBezTo>
                    <a:cubicBezTo>
                      <a:pt x="24" y="7"/>
                      <a:pt x="24" y="6"/>
                      <a:pt x="24" y="5"/>
                    </a:cubicBezTo>
                    <a:cubicBezTo>
                      <a:pt x="24" y="5"/>
                      <a:pt x="23" y="5"/>
                      <a:pt x="23" y="4"/>
                    </a:cubicBezTo>
                    <a:cubicBezTo>
                      <a:pt x="23" y="4"/>
                      <a:pt x="23" y="3"/>
                      <a:pt x="22" y="3"/>
                    </a:cubicBezTo>
                    <a:cubicBezTo>
                      <a:pt x="22" y="2"/>
                      <a:pt x="21" y="2"/>
                      <a:pt x="21" y="1"/>
                    </a:cubicBezTo>
                    <a:cubicBezTo>
                      <a:pt x="21" y="1"/>
                      <a:pt x="21" y="1"/>
                      <a:pt x="21" y="1"/>
                    </a:cubicBezTo>
                    <a:cubicBezTo>
                      <a:pt x="20" y="0"/>
                      <a:pt x="18" y="0"/>
                      <a:pt x="18" y="0"/>
                    </a:cubicBezTo>
                    <a:cubicBezTo>
                      <a:pt x="17" y="0"/>
                      <a:pt x="14" y="0"/>
                      <a:pt x="14" y="1"/>
                    </a:cubicBezTo>
                    <a:cubicBezTo>
                      <a:pt x="14" y="1"/>
                      <a:pt x="13" y="1"/>
                      <a:pt x="13" y="2"/>
                    </a:cubicBezTo>
                    <a:cubicBezTo>
                      <a:pt x="12" y="2"/>
                      <a:pt x="11" y="2"/>
                      <a:pt x="11" y="1"/>
                    </a:cubicBezTo>
                    <a:cubicBezTo>
                      <a:pt x="10" y="1"/>
                      <a:pt x="10" y="1"/>
                      <a:pt x="9" y="1"/>
                    </a:cubicBezTo>
                    <a:cubicBezTo>
                      <a:pt x="8" y="2"/>
                      <a:pt x="8" y="2"/>
                      <a:pt x="8" y="3"/>
                    </a:cubicBezTo>
                    <a:cubicBezTo>
                      <a:pt x="8" y="3"/>
                      <a:pt x="7" y="4"/>
                      <a:pt x="7" y="4"/>
                    </a:cubicBezTo>
                    <a:cubicBezTo>
                      <a:pt x="7" y="5"/>
                      <a:pt x="6" y="6"/>
                      <a:pt x="6" y="6"/>
                    </a:cubicBezTo>
                    <a:cubicBezTo>
                      <a:pt x="6" y="6"/>
                      <a:pt x="6" y="7"/>
                      <a:pt x="6" y="7"/>
                    </a:cubicBezTo>
                    <a:cubicBezTo>
                      <a:pt x="5" y="7"/>
                      <a:pt x="6" y="7"/>
                      <a:pt x="6" y="7"/>
                    </a:cubicBezTo>
                    <a:cubicBezTo>
                      <a:pt x="5" y="8"/>
                      <a:pt x="5" y="8"/>
                      <a:pt x="4" y="8"/>
                    </a:cubicBezTo>
                    <a:cubicBezTo>
                      <a:pt x="4" y="8"/>
                      <a:pt x="4" y="8"/>
                      <a:pt x="4" y="8"/>
                    </a:cubicBezTo>
                    <a:cubicBezTo>
                      <a:pt x="3" y="9"/>
                      <a:pt x="4" y="9"/>
                      <a:pt x="4" y="9"/>
                    </a:cubicBezTo>
                    <a:cubicBezTo>
                      <a:pt x="4" y="10"/>
                      <a:pt x="3" y="10"/>
                      <a:pt x="3" y="10"/>
                    </a:cubicBezTo>
                    <a:cubicBezTo>
                      <a:pt x="2" y="11"/>
                      <a:pt x="2" y="11"/>
                      <a:pt x="1" y="10"/>
                    </a:cubicBezTo>
                    <a:cubicBezTo>
                      <a:pt x="1" y="10"/>
                      <a:pt x="0" y="11"/>
                      <a:pt x="0" y="12"/>
                    </a:cubicBezTo>
                    <a:cubicBezTo>
                      <a:pt x="0" y="12"/>
                      <a:pt x="2" y="12"/>
                      <a:pt x="2" y="12"/>
                    </a:cubicBezTo>
                    <a:cubicBezTo>
                      <a:pt x="2" y="12"/>
                      <a:pt x="1" y="12"/>
                      <a:pt x="2" y="13"/>
                    </a:cubicBezTo>
                    <a:cubicBezTo>
                      <a:pt x="2" y="13"/>
                      <a:pt x="2" y="13"/>
                      <a:pt x="2" y="13"/>
                    </a:cubicBezTo>
                    <a:cubicBezTo>
                      <a:pt x="1" y="13"/>
                      <a:pt x="1" y="13"/>
                      <a:pt x="1" y="13"/>
                    </a:cubicBezTo>
                    <a:cubicBezTo>
                      <a:pt x="0" y="14"/>
                      <a:pt x="1" y="15"/>
                      <a:pt x="1" y="15"/>
                    </a:cubicBezTo>
                    <a:cubicBezTo>
                      <a:pt x="1" y="15"/>
                      <a:pt x="1" y="17"/>
                      <a:pt x="2" y="17"/>
                    </a:cubicBezTo>
                    <a:cubicBezTo>
                      <a:pt x="2" y="16"/>
                      <a:pt x="2" y="16"/>
                      <a:pt x="1" y="15"/>
                    </a:cubicBezTo>
                    <a:cubicBezTo>
                      <a:pt x="2" y="15"/>
                      <a:pt x="2" y="16"/>
                      <a:pt x="2" y="15"/>
                    </a:cubicBezTo>
                    <a:cubicBezTo>
                      <a:pt x="3" y="15"/>
                      <a:pt x="2" y="16"/>
                      <a:pt x="3" y="16"/>
                    </a:cubicBezTo>
                    <a:cubicBezTo>
                      <a:pt x="3" y="16"/>
                      <a:pt x="4" y="16"/>
                      <a:pt x="4" y="15"/>
                    </a:cubicBezTo>
                    <a:cubicBezTo>
                      <a:pt x="4" y="15"/>
                      <a:pt x="3" y="16"/>
                      <a:pt x="4" y="16"/>
                    </a:cubicBezTo>
                    <a:cubicBezTo>
                      <a:pt x="4" y="16"/>
                      <a:pt x="3" y="16"/>
                      <a:pt x="3" y="16"/>
                    </a:cubicBezTo>
                    <a:cubicBezTo>
                      <a:pt x="3" y="16"/>
                      <a:pt x="3" y="17"/>
                      <a:pt x="2" y="17"/>
                    </a:cubicBezTo>
                    <a:cubicBezTo>
                      <a:pt x="2" y="17"/>
                      <a:pt x="1" y="18"/>
                      <a:pt x="2" y="18"/>
                    </a:cubicBezTo>
                    <a:cubicBezTo>
                      <a:pt x="2" y="18"/>
                      <a:pt x="2" y="18"/>
                      <a:pt x="3" y="18"/>
                    </a:cubicBezTo>
                    <a:cubicBezTo>
                      <a:pt x="2" y="18"/>
                      <a:pt x="0" y="16"/>
                      <a:pt x="0" y="17"/>
                    </a:cubicBezTo>
                    <a:cubicBezTo>
                      <a:pt x="0" y="18"/>
                      <a:pt x="0" y="18"/>
                      <a:pt x="0" y="18"/>
                    </a:cubicBezTo>
                    <a:cubicBezTo>
                      <a:pt x="1" y="18"/>
                      <a:pt x="1" y="18"/>
                      <a:pt x="1" y="19"/>
                    </a:cubicBezTo>
                    <a:cubicBezTo>
                      <a:pt x="1" y="19"/>
                      <a:pt x="1" y="20"/>
                      <a:pt x="1" y="20"/>
                    </a:cubicBezTo>
                    <a:cubicBezTo>
                      <a:pt x="2" y="20"/>
                      <a:pt x="3" y="20"/>
                      <a:pt x="3" y="20"/>
                    </a:cubicBezTo>
                    <a:cubicBezTo>
                      <a:pt x="3" y="20"/>
                      <a:pt x="4" y="21"/>
                      <a:pt x="4" y="21"/>
                    </a:cubicBezTo>
                    <a:cubicBezTo>
                      <a:pt x="4" y="22"/>
                      <a:pt x="4" y="22"/>
                      <a:pt x="4" y="22"/>
                    </a:cubicBezTo>
                    <a:cubicBezTo>
                      <a:pt x="4" y="23"/>
                      <a:pt x="4" y="23"/>
                      <a:pt x="5" y="23"/>
                    </a:cubicBezTo>
                    <a:cubicBezTo>
                      <a:pt x="4" y="23"/>
                      <a:pt x="4" y="23"/>
                      <a:pt x="3" y="23"/>
                    </a:cubicBezTo>
                    <a:cubicBezTo>
                      <a:pt x="3" y="23"/>
                      <a:pt x="4" y="24"/>
                      <a:pt x="4" y="24"/>
                    </a:cubicBezTo>
                    <a:cubicBezTo>
                      <a:pt x="4" y="24"/>
                      <a:pt x="4" y="25"/>
                      <a:pt x="5" y="25"/>
                    </a:cubicBezTo>
                    <a:cubicBezTo>
                      <a:pt x="5" y="25"/>
                      <a:pt x="5" y="24"/>
                      <a:pt x="5" y="24"/>
                    </a:cubicBezTo>
                    <a:cubicBezTo>
                      <a:pt x="4" y="25"/>
                      <a:pt x="6" y="26"/>
                      <a:pt x="6" y="26"/>
                    </a:cubicBezTo>
                    <a:cubicBezTo>
                      <a:pt x="7" y="26"/>
                      <a:pt x="7" y="26"/>
                      <a:pt x="7" y="26"/>
                    </a:cubicBezTo>
                    <a:cubicBezTo>
                      <a:pt x="7" y="26"/>
                      <a:pt x="8" y="25"/>
                      <a:pt x="8" y="25"/>
                    </a:cubicBezTo>
                    <a:cubicBezTo>
                      <a:pt x="8" y="25"/>
                      <a:pt x="7" y="26"/>
                      <a:pt x="7" y="26"/>
                    </a:cubicBezTo>
                    <a:cubicBezTo>
                      <a:pt x="7" y="26"/>
                      <a:pt x="7" y="27"/>
                      <a:pt x="8" y="26"/>
                    </a:cubicBezTo>
                    <a:cubicBezTo>
                      <a:pt x="8" y="27"/>
                      <a:pt x="8" y="27"/>
                      <a:pt x="9" y="27"/>
                    </a:cubicBezTo>
                    <a:cubicBezTo>
                      <a:pt x="10" y="27"/>
                      <a:pt x="10" y="27"/>
                      <a:pt x="10" y="27"/>
                    </a:cubicBezTo>
                    <a:cubicBezTo>
                      <a:pt x="11" y="27"/>
                      <a:pt x="11" y="27"/>
                      <a:pt x="10" y="27"/>
                    </a:cubicBezTo>
                    <a:cubicBezTo>
                      <a:pt x="10" y="28"/>
                      <a:pt x="9" y="27"/>
                      <a:pt x="8" y="28"/>
                    </a:cubicBezTo>
                    <a:cubicBezTo>
                      <a:pt x="7" y="28"/>
                      <a:pt x="9" y="29"/>
                      <a:pt x="9" y="29"/>
                    </a:cubicBezTo>
                    <a:cubicBezTo>
                      <a:pt x="9" y="29"/>
                      <a:pt x="8" y="29"/>
                      <a:pt x="8" y="29"/>
                    </a:cubicBezTo>
                    <a:cubicBezTo>
                      <a:pt x="7" y="29"/>
                      <a:pt x="8" y="29"/>
                      <a:pt x="8" y="29"/>
                    </a:cubicBezTo>
                    <a:cubicBezTo>
                      <a:pt x="9" y="30"/>
                      <a:pt x="11" y="30"/>
                      <a:pt x="12" y="31"/>
                    </a:cubicBezTo>
                    <a:cubicBezTo>
                      <a:pt x="13" y="31"/>
                      <a:pt x="13" y="31"/>
                      <a:pt x="15" y="32"/>
                    </a:cubicBezTo>
                    <a:cubicBezTo>
                      <a:pt x="15" y="32"/>
                      <a:pt x="15" y="33"/>
                      <a:pt x="16" y="33"/>
                    </a:cubicBezTo>
                    <a:cubicBezTo>
                      <a:pt x="16" y="33"/>
                      <a:pt x="16" y="33"/>
                      <a:pt x="16" y="33"/>
                    </a:cubicBezTo>
                    <a:cubicBezTo>
                      <a:pt x="16" y="33"/>
                      <a:pt x="16" y="33"/>
                      <a:pt x="17" y="33"/>
                    </a:cubicBezTo>
                    <a:cubicBezTo>
                      <a:pt x="17" y="34"/>
                      <a:pt x="18" y="35"/>
                      <a:pt x="18" y="34"/>
                    </a:cubicBezTo>
                    <a:cubicBezTo>
                      <a:pt x="18" y="33"/>
                      <a:pt x="18" y="32"/>
                      <a:pt x="19" y="32"/>
                    </a:cubicBezTo>
                    <a:cubicBezTo>
                      <a:pt x="19" y="32"/>
                      <a:pt x="19" y="32"/>
                      <a:pt x="19" y="32"/>
                    </a:cubicBezTo>
                    <a:cubicBezTo>
                      <a:pt x="18" y="31"/>
                      <a:pt x="21" y="30"/>
                      <a:pt x="21" y="30"/>
                    </a:cubicBezTo>
                    <a:cubicBezTo>
                      <a:pt x="21" y="29"/>
                      <a:pt x="22" y="29"/>
                      <a:pt x="22" y="28"/>
                    </a:cubicBezTo>
                    <a:cubicBezTo>
                      <a:pt x="23" y="28"/>
                      <a:pt x="23" y="28"/>
                      <a:pt x="24" y="27"/>
                    </a:cubicBezTo>
                    <a:cubicBezTo>
                      <a:pt x="24" y="27"/>
                      <a:pt x="24" y="26"/>
                      <a:pt x="25" y="26"/>
                    </a:cubicBezTo>
                    <a:cubicBezTo>
                      <a:pt x="25" y="25"/>
                      <a:pt x="26" y="25"/>
                      <a:pt x="26" y="24"/>
                    </a:cubicBezTo>
                    <a:cubicBezTo>
                      <a:pt x="26" y="23"/>
                      <a:pt x="26" y="22"/>
                      <a:pt x="27" y="21"/>
                    </a:cubicBezTo>
                    <a:cubicBezTo>
                      <a:pt x="27" y="21"/>
                      <a:pt x="28" y="21"/>
                      <a:pt x="28" y="21"/>
                    </a:cubicBezTo>
                    <a:cubicBezTo>
                      <a:pt x="29" y="21"/>
                      <a:pt x="29" y="20"/>
                      <a:pt x="29" y="19"/>
                    </a:cubicBezTo>
                    <a:cubicBezTo>
                      <a:pt x="29" y="18"/>
                      <a:pt x="29" y="18"/>
                      <a:pt x="29" y="17"/>
                    </a:cubicBezTo>
                    <a:close/>
                    <a:moveTo>
                      <a:pt x="2" y="13"/>
                    </a:moveTo>
                    <a:cubicBezTo>
                      <a:pt x="3" y="13"/>
                      <a:pt x="3" y="13"/>
                      <a:pt x="3" y="13"/>
                    </a:cubicBezTo>
                    <a:cubicBezTo>
                      <a:pt x="3" y="13"/>
                      <a:pt x="3" y="13"/>
                      <a:pt x="2" y="13"/>
                    </a:cubicBezTo>
                    <a:close/>
                    <a:moveTo>
                      <a:pt x="8" y="28"/>
                    </a:moveTo>
                    <a:cubicBezTo>
                      <a:pt x="8" y="28"/>
                      <a:pt x="7" y="29"/>
                      <a:pt x="7" y="29"/>
                    </a:cubicBezTo>
                    <a:cubicBezTo>
                      <a:pt x="7" y="29"/>
                      <a:pt x="7" y="28"/>
                      <a:pt x="7" y="28"/>
                    </a:cubicBezTo>
                    <a:cubicBezTo>
                      <a:pt x="6" y="28"/>
                      <a:pt x="4" y="27"/>
                      <a:pt x="3" y="27"/>
                    </a:cubicBezTo>
                    <a:cubicBezTo>
                      <a:pt x="4" y="27"/>
                      <a:pt x="4" y="27"/>
                      <a:pt x="4" y="27"/>
                    </a:cubicBezTo>
                    <a:cubicBezTo>
                      <a:pt x="5" y="26"/>
                      <a:pt x="8" y="26"/>
                      <a:pt x="8" y="2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09" name="Seychelles">
                <a:extLst>
                  <a:ext uri="{FF2B5EF4-FFF2-40B4-BE49-F238E27FC236}">
                    <a16:creationId xmlns:a16="http://schemas.microsoft.com/office/drawing/2014/main" id="{1EE66CE8-3BB0-01D7-601E-61511DF20418}"/>
                  </a:ext>
                </a:extLst>
              </p:cNvPr>
              <p:cNvSpPr>
                <a:spLocks noEditPoints="1"/>
              </p:cNvSpPr>
              <p:nvPr/>
            </p:nvSpPr>
            <p:spPr bwMode="auto">
              <a:xfrm>
                <a:off x="7276708" y="4193334"/>
                <a:ext cx="349919" cy="233279"/>
              </a:xfrm>
              <a:custGeom>
                <a:avLst/>
                <a:gdLst/>
                <a:ahLst/>
                <a:cxnLst>
                  <a:cxn ang="0">
                    <a:pos x="2" y="61"/>
                  </a:cxn>
                  <a:cxn ang="0">
                    <a:pos x="1" y="61"/>
                  </a:cxn>
                  <a:cxn ang="0">
                    <a:pos x="2" y="61"/>
                  </a:cxn>
                  <a:cxn ang="0">
                    <a:pos x="47" y="63"/>
                  </a:cxn>
                  <a:cxn ang="0">
                    <a:pos x="47" y="63"/>
                  </a:cxn>
                  <a:cxn ang="0">
                    <a:pos x="47" y="63"/>
                  </a:cxn>
                  <a:cxn ang="0">
                    <a:pos x="13" y="65"/>
                  </a:cxn>
                  <a:cxn ang="0">
                    <a:pos x="13" y="65"/>
                  </a:cxn>
                  <a:cxn ang="0">
                    <a:pos x="13" y="65"/>
                  </a:cxn>
                  <a:cxn ang="0">
                    <a:pos x="3" y="65"/>
                  </a:cxn>
                  <a:cxn ang="0">
                    <a:pos x="3" y="65"/>
                  </a:cxn>
                  <a:cxn ang="0">
                    <a:pos x="89" y="8"/>
                  </a:cxn>
                  <a:cxn ang="0">
                    <a:pos x="89" y="8"/>
                  </a:cxn>
                  <a:cxn ang="0">
                    <a:pos x="67" y="16"/>
                  </a:cxn>
                  <a:cxn ang="0">
                    <a:pos x="67" y="17"/>
                  </a:cxn>
                  <a:cxn ang="0">
                    <a:pos x="67" y="17"/>
                  </a:cxn>
                  <a:cxn ang="0">
                    <a:pos x="67" y="16"/>
                  </a:cxn>
                  <a:cxn ang="0">
                    <a:pos x="67" y="16"/>
                  </a:cxn>
                  <a:cxn ang="0">
                    <a:pos x="47" y="59"/>
                  </a:cxn>
                  <a:cxn ang="0">
                    <a:pos x="47" y="60"/>
                  </a:cxn>
                  <a:cxn ang="0">
                    <a:pos x="47" y="59"/>
                  </a:cxn>
                  <a:cxn ang="0">
                    <a:pos x="93" y="0"/>
                  </a:cxn>
                  <a:cxn ang="0">
                    <a:pos x="93" y="0"/>
                  </a:cxn>
                  <a:cxn ang="0">
                    <a:pos x="93" y="0"/>
                  </a:cxn>
                  <a:cxn ang="0">
                    <a:pos x="94" y="6"/>
                  </a:cxn>
                  <a:cxn ang="0">
                    <a:pos x="95" y="6"/>
                  </a:cxn>
                  <a:cxn ang="0">
                    <a:pos x="94" y="5"/>
                  </a:cxn>
                  <a:cxn ang="0">
                    <a:pos x="94" y="6"/>
                  </a:cxn>
                  <a:cxn ang="0">
                    <a:pos x="64" y="35"/>
                  </a:cxn>
                  <a:cxn ang="0">
                    <a:pos x="64" y="35"/>
                  </a:cxn>
                  <a:cxn ang="0">
                    <a:pos x="64" y="35"/>
                  </a:cxn>
                  <a:cxn ang="0">
                    <a:pos x="90" y="23"/>
                  </a:cxn>
                  <a:cxn ang="0">
                    <a:pos x="90" y="23"/>
                  </a:cxn>
                  <a:cxn ang="0">
                    <a:pos x="90" y="23"/>
                  </a:cxn>
                  <a:cxn ang="0">
                    <a:pos x="98" y="37"/>
                  </a:cxn>
                  <a:cxn ang="0">
                    <a:pos x="99" y="36"/>
                  </a:cxn>
                  <a:cxn ang="0">
                    <a:pos x="98" y="37"/>
                  </a:cxn>
                  <a:cxn ang="0">
                    <a:pos x="3" y="61"/>
                  </a:cxn>
                  <a:cxn ang="0">
                    <a:pos x="3" y="61"/>
                  </a:cxn>
                  <a:cxn ang="0">
                    <a:pos x="0" y="61"/>
                  </a:cxn>
                  <a:cxn ang="0">
                    <a:pos x="1" y="62"/>
                  </a:cxn>
                  <a:cxn ang="0">
                    <a:pos x="2" y="62"/>
                  </a:cxn>
                  <a:cxn ang="0">
                    <a:pos x="3" y="62"/>
                  </a:cxn>
                  <a:cxn ang="0">
                    <a:pos x="3" y="61"/>
                  </a:cxn>
                  <a:cxn ang="0">
                    <a:pos x="91" y="9"/>
                  </a:cxn>
                  <a:cxn ang="0">
                    <a:pos x="91" y="8"/>
                  </a:cxn>
                  <a:cxn ang="0">
                    <a:pos x="91" y="9"/>
                  </a:cxn>
                  <a:cxn ang="0">
                    <a:pos x="91" y="9"/>
                  </a:cxn>
                  <a:cxn ang="0">
                    <a:pos x="92" y="10"/>
                  </a:cxn>
                  <a:cxn ang="0">
                    <a:pos x="91" y="10"/>
                  </a:cxn>
                  <a:cxn ang="0">
                    <a:pos x="92" y="11"/>
                  </a:cxn>
                  <a:cxn ang="0">
                    <a:pos x="92" y="9"/>
                  </a:cxn>
                  <a:cxn ang="0">
                    <a:pos x="91" y="9"/>
                  </a:cxn>
                </a:cxnLst>
                <a:rect l="0" t="0" r="r" b="b"/>
                <a:pathLst>
                  <a:path w="99" h="66">
                    <a:moveTo>
                      <a:pt x="2" y="61"/>
                    </a:moveTo>
                    <a:cubicBezTo>
                      <a:pt x="2" y="61"/>
                      <a:pt x="2" y="61"/>
                      <a:pt x="1" y="61"/>
                    </a:cubicBezTo>
                    <a:cubicBezTo>
                      <a:pt x="2" y="61"/>
                      <a:pt x="3" y="61"/>
                      <a:pt x="2" y="61"/>
                    </a:cubicBezTo>
                    <a:close/>
                    <a:moveTo>
                      <a:pt x="47" y="63"/>
                    </a:moveTo>
                    <a:cubicBezTo>
                      <a:pt x="47" y="63"/>
                      <a:pt x="47" y="63"/>
                      <a:pt x="47" y="63"/>
                    </a:cubicBezTo>
                    <a:cubicBezTo>
                      <a:pt x="47" y="63"/>
                      <a:pt x="47" y="63"/>
                      <a:pt x="47" y="63"/>
                    </a:cubicBezTo>
                    <a:close/>
                    <a:moveTo>
                      <a:pt x="13" y="65"/>
                    </a:moveTo>
                    <a:cubicBezTo>
                      <a:pt x="13" y="65"/>
                      <a:pt x="13" y="65"/>
                      <a:pt x="13" y="65"/>
                    </a:cubicBezTo>
                    <a:cubicBezTo>
                      <a:pt x="13" y="65"/>
                      <a:pt x="13" y="65"/>
                      <a:pt x="13" y="65"/>
                    </a:cubicBezTo>
                    <a:close/>
                    <a:moveTo>
                      <a:pt x="3" y="65"/>
                    </a:moveTo>
                    <a:cubicBezTo>
                      <a:pt x="3" y="65"/>
                      <a:pt x="3" y="66"/>
                      <a:pt x="3" y="65"/>
                    </a:cubicBezTo>
                    <a:close/>
                    <a:moveTo>
                      <a:pt x="89" y="8"/>
                    </a:moveTo>
                    <a:cubicBezTo>
                      <a:pt x="90" y="7"/>
                      <a:pt x="88" y="7"/>
                      <a:pt x="89" y="8"/>
                    </a:cubicBezTo>
                    <a:close/>
                    <a:moveTo>
                      <a:pt x="67" y="16"/>
                    </a:moveTo>
                    <a:cubicBezTo>
                      <a:pt x="67" y="16"/>
                      <a:pt x="67" y="17"/>
                      <a:pt x="67" y="17"/>
                    </a:cubicBezTo>
                    <a:cubicBezTo>
                      <a:pt x="67" y="17"/>
                      <a:pt x="67" y="17"/>
                      <a:pt x="67" y="17"/>
                    </a:cubicBezTo>
                    <a:cubicBezTo>
                      <a:pt x="67" y="17"/>
                      <a:pt x="67" y="16"/>
                      <a:pt x="67" y="16"/>
                    </a:cubicBezTo>
                    <a:cubicBezTo>
                      <a:pt x="67" y="16"/>
                      <a:pt x="66" y="16"/>
                      <a:pt x="67" y="16"/>
                    </a:cubicBezTo>
                    <a:close/>
                    <a:moveTo>
                      <a:pt x="47" y="59"/>
                    </a:moveTo>
                    <a:cubicBezTo>
                      <a:pt x="47" y="59"/>
                      <a:pt x="47" y="60"/>
                      <a:pt x="47" y="60"/>
                    </a:cubicBezTo>
                    <a:cubicBezTo>
                      <a:pt x="47" y="60"/>
                      <a:pt x="47" y="59"/>
                      <a:pt x="47" y="59"/>
                    </a:cubicBezTo>
                    <a:close/>
                    <a:moveTo>
                      <a:pt x="93" y="0"/>
                    </a:moveTo>
                    <a:cubicBezTo>
                      <a:pt x="93" y="0"/>
                      <a:pt x="93" y="0"/>
                      <a:pt x="93" y="0"/>
                    </a:cubicBezTo>
                    <a:cubicBezTo>
                      <a:pt x="93" y="0"/>
                      <a:pt x="93" y="0"/>
                      <a:pt x="93" y="0"/>
                    </a:cubicBezTo>
                    <a:close/>
                    <a:moveTo>
                      <a:pt x="94" y="6"/>
                    </a:moveTo>
                    <a:cubicBezTo>
                      <a:pt x="94" y="6"/>
                      <a:pt x="94" y="6"/>
                      <a:pt x="95" y="6"/>
                    </a:cubicBezTo>
                    <a:cubicBezTo>
                      <a:pt x="94" y="6"/>
                      <a:pt x="94" y="5"/>
                      <a:pt x="94" y="5"/>
                    </a:cubicBezTo>
                    <a:cubicBezTo>
                      <a:pt x="93" y="6"/>
                      <a:pt x="94" y="6"/>
                      <a:pt x="94" y="6"/>
                    </a:cubicBezTo>
                    <a:close/>
                    <a:moveTo>
                      <a:pt x="64" y="35"/>
                    </a:moveTo>
                    <a:cubicBezTo>
                      <a:pt x="64" y="35"/>
                      <a:pt x="64" y="35"/>
                      <a:pt x="64" y="35"/>
                    </a:cubicBezTo>
                    <a:cubicBezTo>
                      <a:pt x="64" y="35"/>
                      <a:pt x="64" y="35"/>
                      <a:pt x="64" y="35"/>
                    </a:cubicBezTo>
                    <a:close/>
                    <a:moveTo>
                      <a:pt x="90" y="23"/>
                    </a:moveTo>
                    <a:cubicBezTo>
                      <a:pt x="90" y="23"/>
                      <a:pt x="90" y="23"/>
                      <a:pt x="90" y="23"/>
                    </a:cubicBezTo>
                    <a:cubicBezTo>
                      <a:pt x="90" y="23"/>
                      <a:pt x="90" y="23"/>
                      <a:pt x="90" y="23"/>
                    </a:cubicBezTo>
                    <a:close/>
                    <a:moveTo>
                      <a:pt x="98" y="37"/>
                    </a:moveTo>
                    <a:cubicBezTo>
                      <a:pt x="98" y="37"/>
                      <a:pt x="99" y="37"/>
                      <a:pt x="99" y="36"/>
                    </a:cubicBezTo>
                    <a:cubicBezTo>
                      <a:pt x="98" y="37"/>
                      <a:pt x="98" y="37"/>
                      <a:pt x="98" y="37"/>
                    </a:cubicBezTo>
                    <a:close/>
                    <a:moveTo>
                      <a:pt x="3" y="61"/>
                    </a:moveTo>
                    <a:cubicBezTo>
                      <a:pt x="3" y="61"/>
                      <a:pt x="3" y="61"/>
                      <a:pt x="3" y="61"/>
                    </a:cubicBezTo>
                    <a:cubicBezTo>
                      <a:pt x="2" y="61"/>
                      <a:pt x="1" y="62"/>
                      <a:pt x="0" y="61"/>
                    </a:cubicBezTo>
                    <a:cubicBezTo>
                      <a:pt x="0" y="62"/>
                      <a:pt x="1" y="62"/>
                      <a:pt x="1" y="62"/>
                    </a:cubicBezTo>
                    <a:cubicBezTo>
                      <a:pt x="1" y="62"/>
                      <a:pt x="2" y="62"/>
                      <a:pt x="2" y="62"/>
                    </a:cubicBezTo>
                    <a:cubicBezTo>
                      <a:pt x="2" y="62"/>
                      <a:pt x="3" y="62"/>
                      <a:pt x="3" y="62"/>
                    </a:cubicBezTo>
                    <a:cubicBezTo>
                      <a:pt x="4" y="62"/>
                      <a:pt x="4" y="61"/>
                      <a:pt x="3" y="61"/>
                    </a:cubicBezTo>
                    <a:close/>
                    <a:moveTo>
                      <a:pt x="91" y="9"/>
                    </a:moveTo>
                    <a:cubicBezTo>
                      <a:pt x="91" y="8"/>
                      <a:pt x="92" y="8"/>
                      <a:pt x="91" y="8"/>
                    </a:cubicBezTo>
                    <a:cubicBezTo>
                      <a:pt x="91" y="8"/>
                      <a:pt x="91" y="9"/>
                      <a:pt x="91" y="9"/>
                    </a:cubicBezTo>
                    <a:cubicBezTo>
                      <a:pt x="90" y="9"/>
                      <a:pt x="91" y="9"/>
                      <a:pt x="91" y="9"/>
                    </a:cubicBezTo>
                    <a:cubicBezTo>
                      <a:pt x="91" y="10"/>
                      <a:pt x="91" y="10"/>
                      <a:pt x="92" y="10"/>
                    </a:cubicBezTo>
                    <a:cubicBezTo>
                      <a:pt x="92" y="10"/>
                      <a:pt x="91" y="10"/>
                      <a:pt x="91" y="10"/>
                    </a:cubicBezTo>
                    <a:cubicBezTo>
                      <a:pt x="92" y="11"/>
                      <a:pt x="92" y="11"/>
                      <a:pt x="92" y="11"/>
                    </a:cubicBezTo>
                    <a:cubicBezTo>
                      <a:pt x="92" y="11"/>
                      <a:pt x="92" y="10"/>
                      <a:pt x="92" y="9"/>
                    </a:cubicBezTo>
                    <a:cubicBezTo>
                      <a:pt x="92" y="9"/>
                      <a:pt x="91" y="9"/>
                      <a:pt x="91" y="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0" name="Serbia">
                <a:extLst>
                  <a:ext uri="{FF2B5EF4-FFF2-40B4-BE49-F238E27FC236}">
                    <a16:creationId xmlns:a16="http://schemas.microsoft.com/office/drawing/2014/main" id="{FB3A5B44-0A3E-AFB2-9EE9-9E9D44128329}"/>
                  </a:ext>
                </a:extLst>
              </p:cNvPr>
              <p:cNvSpPr>
                <a:spLocks/>
              </p:cNvSpPr>
              <p:nvPr/>
            </p:nvSpPr>
            <p:spPr bwMode="auto">
              <a:xfrm>
                <a:off x="6310266" y="2250649"/>
                <a:ext cx="134283" cy="148985"/>
              </a:xfrm>
              <a:custGeom>
                <a:avLst/>
                <a:gdLst/>
                <a:ahLst/>
                <a:cxnLst>
                  <a:cxn ang="0">
                    <a:pos x="35" y="30"/>
                  </a:cxn>
                  <a:cxn ang="0">
                    <a:pos x="32" y="25"/>
                  </a:cxn>
                  <a:cxn ang="0">
                    <a:pos x="34" y="21"/>
                  </a:cxn>
                  <a:cxn ang="0">
                    <a:pos x="32" y="18"/>
                  </a:cxn>
                  <a:cxn ang="0">
                    <a:pos x="35" y="17"/>
                  </a:cxn>
                  <a:cxn ang="0">
                    <a:pos x="31" y="16"/>
                  </a:cxn>
                  <a:cxn ang="0">
                    <a:pos x="25" y="15"/>
                  </a:cxn>
                  <a:cxn ang="0">
                    <a:pos x="22" y="12"/>
                  </a:cxn>
                  <a:cxn ang="0">
                    <a:pos x="23" y="10"/>
                  </a:cxn>
                  <a:cxn ang="0">
                    <a:pos x="19" y="9"/>
                  </a:cxn>
                  <a:cxn ang="0">
                    <a:pos x="17" y="5"/>
                  </a:cxn>
                  <a:cxn ang="0">
                    <a:pos x="13" y="2"/>
                  </a:cxn>
                  <a:cxn ang="0">
                    <a:pos x="8" y="0"/>
                  </a:cxn>
                  <a:cxn ang="0">
                    <a:pos x="4" y="2"/>
                  </a:cxn>
                  <a:cxn ang="0">
                    <a:pos x="2" y="2"/>
                  </a:cxn>
                  <a:cxn ang="0">
                    <a:pos x="0" y="3"/>
                  </a:cxn>
                  <a:cxn ang="0">
                    <a:pos x="1" y="7"/>
                  </a:cxn>
                  <a:cxn ang="0">
                    <a:pos x="2" y="8"/>
                  </a:cxn>
                  <a:cxn ang="0">
                    <a:pos x="3" y="9"/>
                  </a:cxn>
                  <a:cxn ang="0">
                    <a:pos x="3" y="10"/>
                  </a:cxn>
                  <a:cxn ang="0">
                    <a:pos x="3" y="12"/>
                  </a:cxn>
                  <a:cxn ang="0">
                    <a:pos x="2" y="14"/>
                  </a:cxn>
                  <a:cxn ang="0">
                    <a:pos x="5" y="16"/>
                  </a:cxn>
                  <a:cxn ang="0">
                    <a:pos x="3" y="19"/>
                  </a:cxn>
                  <a:cxn ang="0">
                    <a:pos x="6" y="22"/>
                  </a:cxn>
                  <a:cxn ang="0">
                    <a:pos x="5" y="24"/>
                  </a:cxn>
                  <a:cxn ang="0">
                    <a:pos x="6" y="28"/>
                  </a:cxn>
                  <a:cxn ang="0">
                    <a:pos x="6" y="30"/>
                  </a:cxn>
                  <a:cxn ang="0">
                    <a:pos x="11" y="33"/>
                  </a:cxn>
                  <a:cxn ang="0">
                    <a:pos x="13" y="35"/>
                  </a:cxn>
                  <a:cxn ang="0">
                    <a:pos x="15" y="35"/>
                  </a:cxn>
                  <a:cxn ang="0">
                    <a:pos x="16" y="33"/>
                  </a:cxn>
                  <a:cxn ang="0">
                    <a:pos x="17" y="31"/>
                  </a:cxn>
                  <a:cxn ang="0">
                    <a:pos x="18" y="30"/>
                  </a:cxn>
                  <a:cxn ang="0">
                    <a:pos x="20" y="31"/>
                  </a:cxn>
                  <a:cxn ang="0">
                    <a:pos x="22" y="33"/>
                  </a:cxn>
                  <a:cxn ang="0">
                    <a:pos x="24" y="34"/>
                  </a:cxn>
                  <a:cxn ang="0">
                    <a:pos x="26" y="36"/>
                  </a:cxn>
                  <a:cxn ang="0">
                    <a:pos x="26" y="38"/>
                  </a:cxn>
                  <a:cxn ang="0">
                    <a:pos x="26" y="41"/>
                  </a:cxn>
                  <a:cxn ang="0">
                    <a:pos x="28" y="42"/>
                  </a:cxn>
                  <a:cxn ang="0">
                    <a:pos x="33" y="41"/>
                  </a:cxn>
                  <a:cxn ang="0">
                    <a:pos x="34" y="37"/>
                  </a:cxn>
                  <a:cxn ang="0">
                    <a:pos x="37" y="33"/>
                  </a:cxn>
                </a:cxnLst>
                <a:rect l="0" t="0" r="r" b="b"/>
                <a:pathLst>
                  <a:path w="38" h="42">
                    <a:moveTo>
                      <a:pt x="38" y="32"/>
                    </a:moveTo>
                    <a:cubicBezTo>
                      <a:pt x="37" y="32"/>
                      <a:pt x="37" y="32"/>
                      <a:pt x="36" y="31"/>
                    </a:cubicBezTo>
                    <a:cubicBezTo>
                      <a:pt x="36" y="31"/>
                      <a:pt x="36" y="30"/>
                      <a:pt x="35" y="30"/>
                    </a:cubicBezTo>
                    <a:cubicBezTo>
                      <a:pt x="34" y="29"/>
                      <a:pt x="33" y="29"/>
                      <a:pt x="33" y="28"/>
                    </a:cubicBezTo>
                    <a:cubicBezTo>
                      <a:pt x="33" y="28"/>
                      <a:pt x="33" y="27"/>
                      <a:pt x="32" y="27"/>
                    </a:cubicBezTo>
                    <a:cubicBezTo>
                      <a:pt x="32" y="26"/>
                      <a:pt x="32" y="25"/>
                      <a:pt x="32" y="25"/>
                    </a:cubicBezTo>
                    <a:cubicBezTo>
                      <a:pt x="32" y="24"/>
                      <a:pt x="32" y="23"/>
                      <a:pt x="32" y="23"/>
                    </a:cubicBezTo>
                    <a:cubicBezTo>
                      <a:pt x="33" y="23"/>
                      <a:pt x="33" y="23"/>
                      <a:pt x="34" y="22"/>
                    </a:cubicBezTo>
                    <a:cubicBezTo>
                      <a:pt x="34" y="22"/>
                      <a:pt x="34" y="21"/>
                      <a:pt x="34" y="21"/>
                    </a:cubicBezTo>
                    <a:cubicBezTo>
                      <a:pt x="34" y="21"/>
                      <a:pt x="34" y="20"/>
                      <a:pt x="34" y="20"/>
                    </a:cubicBezTo>
                    <a:cubicBezTo>
                      <a:pt x="33" y="20"/>
                      <a:pt x="33" y="19"/>
                      <a:pt x="33" y="19"/>
                    </a:cubicBezTo>
                    <a:cubicBezTo>
                      <a:pt x="33" y="19"/>
                      <a:pt x="32" y="18"/>
                      <a:pt x="32" y="18"/>
                    </a:cubicBezTo>
                    <a:cubicBezTo>
                      <a:pt x="33" y="18"/>
                      <a:pt x="33" y="18"/>
                      <a:pt x="33" y="18"/>
                    </a:cubicBezTo>
                    <a:cubicBezTo>
                      <a:pt x="33" y="18"/>
                      <a:pt x="33" y="17"/>
                      <a:pt x="34" y="17"/>
                    </a:cubicBezTo>
                    <a:cubicBezTo>
                      <a:pt x="34" y="18"/>
                      <a:pt x="35" y="18"/>
                      <a:pt x="35" y="17"/>
                    </a:cubicBezTo>
                    <a:cubicBezTo>
                      <a:pt x="34" y="17"/>
                      <a:pt x="34" y="17"/>
                      <a:pt x="33" y="16"/>
                    </a:cubicBezTo>
                    <a:cubicBezTo>
                      <a:pt x="33" y="16"/>
                      <a:pt x="32" y="15"/>
                      <a:pt x="32" y="16"/>
                    </a:cubicBezTo>
                    <a:cubicBezTo>
                      <a:pt x="32" y="16"/>
                      <a:pt x="31" y="16"/>
                      <a:pt x="31" y="16"/>
                    </a:cubicBezTo>
                    <a:cubicBezTo>
                      <a:pt x="30" y="17"/>
                      <a:pt x="30" y="19"/>
                      <a:pt x="28" y="17"/>
                    </a:cubicBezTo>
                    <a:cubicBezTo>
                      <a:pt x="28" y="16"/>
                      <a:pt x="26" y="16"/>
                      <a:pt x="25" y="16"/>
                    </a:cubicBezTo>
                    <a:cubicBezTo>
                      <a:pt x="25" y="16"/>
                      <a:pt x="25" y="16"/>
                      <a:pt x="25" y="15"/>
                    </a:cubicBezTo>
                    <a:cubicBezTo>
                      <a:pt x="24" y="15"/>
                      <a:pt x="23" y="15"/>
                      <a:pt x="23" y="15"/>
                    </a:cubicBezTo>
                    <a:cubicBezTo>
                      <a:pt x="21" y="14"/>
                      <a:pt x="25" y="14"/>
                      <a:pt x="24" y="13"/>
                    </a:cubicBezTo>
                    <a:cubicBezTo>
                      <a:pt x="24" y="13"/>
                      <a:pt x="22" y="13"/>
                      <a:pt x="22" y="12"/>
                    </a:cubicBezTo>
                    <a:cubicBezTo>
                      <a:pt x="22" y="12"/>
                      <a:pt x="23" y="12"/>
                      <a:pt x="23" y="12"/>
                    </a:cubicBezTo>
                    <a:cubicBezTo>
                      <a:pt x="23" y="12"/>
                      <a:pt x="23" y="12"/>
                      <a:pt x="23" y="12"/>
                    </a:cubicBezTo>
                    <a:cubicBezTo>
                      <a:pt x="23" y="11"/>
                      <a:pt x="24" y="11"/>
                      <a:pt x="23" y="10"/>
                    </a:cubicBezTo>
                    <a:cubicBezTo>
                      <a:pt x="22" y="10"/>
                      <a:pt x="21" y="10"/>
                      <a:pt x="21" y="9"/>
                    </a:cubicBezTo>
                    <a:cubicBezTo>
                      <a:pt x="20" y="9"/>
                      <a:pt x="20" y="9"/>
                      <a:pt x="20" y="9"/>
                    </a:cubicBezTo>
                    <a:cubicBezTo>
                      <a:pt x="19" y="9"/>
                      <a:pt x="19" y="9"/>
                      <a:pt x="19" y="9"/>
                    </a:cubicBezTo>
                    <a:cubicBezTo>
                      <a:pt x="18" y="8"/>
                      <a:pt x="17" y="7"/>
                      <a:pt x="17" y="7"/>
                    </a:cubicBezTo>
                    <a:cubicBezTo>
                      <a:pt x="18" y="7"/>
                      <a:pt x="17" y="6"/>
                      <a:pt x="17" y="6"/>
                    </a:cubicBezTo>
                    <a:cubicBezTo>
                      <a:pt x="17" y="6"/>
                      <a:pt x="17" y="6"/>
                      <a:pt x="17" y="5"/>
                    </a:cubicBezTo>
                    <a:cubicBezTo>
                      <a:pt x="17" y="5"/>
                      <a:pt x="17" y="4"/>
                      <a:pt x="17" y="4"/>
                    </a:cubicBezTo>
                    <a:cubicBezTo>
                      <a:pt x="16" y="5"/>
                      <a:pt x="16" y="3"/>
                      <a:pt x="15" y="3"/>
                    </a:cubicBezTo>
                    <a:cubicBezTo>
                      <a:pt x="15" y="3"/>
                      <a:pt x="14" y="2"/>
                      <a:pt x="13" y="2"/>
                    </a:cubicBezTo>
                    <a:cubicBezTo>
                      <a:pt x="13" y="1"/>
                      <a:pt x="12" y="0"/>
                      <a:pt x="11" y="0"/>
                    </a:cubicBezTo>
                    <a:cubicBezTo>
                      <a:pt x="11" y="0"/>
                      <a:pt x="10" y="0"/>
                      <a:pt x="10" y="0"/>
                    </a:cubicBezTo>
                    <a:cubicBezTo>
                      <a:pt x="9" y="0"/>
                      <a:pt x="8" y="0"/>
                      <a:pt x="8" y="0"/>
                    </a:cubicBezTo>
                    <a:cubicBezTo>
                      <a:pt x="7" y="0"/>
                      <a:pt x="6" y="0"/>
                      <a:pt x="5" y="0"/>
                    </a:cubicBezTo>
                    <a:cubicBezTo>
                      <a:pt x="5" y="1"/>
                      <a:pt x="5" y="1"/>
                      <a:pt x="4" y="1"/>
                    </a:cubicBezTo>
                    <a:cubicBezTo>
                      <a:pt x="4" y="1"/>
                      <a:pt x="4" y="2"/>
                      <a:pt x="4" y="2"/>
                    </a:cubicBezTo>
                    <a:cubicBezTo>
                      <a:pt x="4" y="2"/>
                      <a:pt x="3" y="2"/>
                      <a:pt x="3" y="2"/>
                    </a:cubicBezTo>
                    <a:cubicBezTo>
                      <a:pt x="2" y="2"/>
                      <a:pt x="2" y="1"/>
                      <a:pt x="2" y="1"/>
                    </a:cubicBezTo>
                    <a:cubicBezTo>
                      <a:pt x="2" y="2"/>
                      <a:pt x="2" y="2"/>
                      <a:pt x="2" y="2"/>
                    </a:cubicBezTo>
                    <a:cubicBezTo>
                      <a:pt x="1" y="2"/>
                      <a:pt x="1" y="2"/>
                      <a:pt x="1" y="2"/>
                    </a:cubicBezTo>
                    <a:cubicBezTo>
                      <a:pt x="1" y="2"/>
                      <a:pt x="1" y="2"/>
                      <a:pt x="1" y="2"/>
                    </a:cubicBezTo>
                    <a:cubicBezTo>
                      <a:pt x="0" y="3"/>
                      <a:pt x="0" y="3"/>
                      <a:pt x="0" y="3"/>
                    </a:cubicBezTo>
                    <a:cubicBezTo>
                      <a:pt x="0" y="3"/>
                      <a:pt x="1" y="4"/>
                      <a:pt x="1" y="5"/>
                    </a:cubicBezTo>
                    <a:cubicBezTo>
                      <a:pt x="0" y="5"/>
                      <a:pt x="1" y="5"/>
                      <a:pt x="1" y="6"/>
                    </a:cubicBezTo>
                    <a:cubicBezTo>
                      <a:pt x="1" y="6"/>
                      <a:pt x="1" y="7"/>
                      <a:pt x="1" y="7"/>
                    </a:cubicBezTo>
                    <a:cubicBezTo>
                      <a:pt x="2" y="7"/>
                      <a:pt x="2" y="7"/>
                      <a:pt x="2" y="7"/>
                    </a:cubicBezTo>
                    <a:cubicBezTo>
                      <a:pt x="2" y="7"/>
                      <a:pt x="2" y="7"/>
                      <a:pt x="1" y="7"/>
                    </a:cubicBezTo>
                    <a:cubicBezTo>
                      <a:pt x="1" y="7"/>
                      <a:pt x="2" y="8"/>
                      <a:pt x="2" y="8"/>
                    </a:cubicBezTo>
                    <a:cubicBezTo>
                      <a:pt x="1" y="8"/>
                      <a:pt x="1" y="8"/>
                      <a:pt x="2" y="9"/>
                    </a:cubicBezTo>
                    <a:cubicBezTo>
                      <a:pt x="2" y="9"/>
                      <a:pt x="2" y="9"/>
                      <a:pt x="2" y="9"/>
                    </a:cubicBezTo>
                    <a:cubicBezTo>
                      <a:pt x="3" y="9"/>
                      <a:pt x="3" y="9"/>
                      <a:pt x="3" y="9"/>
                    </a:cubicBezTo>
                    <a:cubicBezTo>
                      <a:pt x="3" y="10"/>
                      <a:pt x="6" y="10"/>
                      <a:pt x="5" y="10"/>
                    </a:cubicBezTo>
                    <a:cubicBezTo>
                      <a:pt x="5" y="11"/>
                      <a:pt x="4" y="10"/>
                      <a:pt x="4" y="11"/>
                    </a:cubicBezTo>
                    <a:cubicBezTo>
                      <a:pt x="4" y="11"/>
                      <a:pt x="3" y="10"/>
                      <a:pt x="3" y="10"/>
                    </a:cubicBezTo>
                    <a:cubicBezTo>
                      <a:pt x="3" y="10"/>
                      <a:pt x="3" y="11"/>
                      <a:pt x="3" y="11"/>
                    </a:cubicBezTo>
                    <a:cubicBezTo>
                      <a:pt x="3" y="11"/>
                      <a:pt x="2" y="11"/>
                      <a:pt x="2" y="11"/>
                    </a:cubicBezTo>
                    <a:cubicBezTo>
                      <a:pt x="2" y="11"/>
                      <a:pt x="3" y="12"/>
                      <a:pt x="3" y="12"/>
                    </a:cubicBezTo>
                    <a:cubicBezTo>
                      <a:pt x="3" y="13"/>
                      <a:pt x="3" y="13"/>
                      <a:pt x="3" y="13"/>
                    </a:cubicBezTo>
                    <a:cubicBezTo>
                      <a:pt x="3" y="13"/>
                      <a:pt x="2" y="13"/>
                      <a:pt x="2" y="13"/>
                    </a:cubicBezTo>
                    <a:cubicBezTo>
                      <a:pt x="2" y="14"/>
                      <a:pt x="2" y="14"/>
                      <a:pt x="2" y="14"/>
                    </a:cubicBezTo>
                    <a:cubicBezTo>
                      <a:pt x="3" y="14"/>
                      <a:pt x="3" y="14"/>
                      <a:pt x="4" y="13"/>
                    </a:cubicBezTo>
                    <a:cubicBezTo>
                      <a:pt x="5" y="13"/>
                      <a:pt x="5" y="14"/>
                      <a:pt x="5" y="15"/>
                    </a:cubicBezTo>
                    <a:cubicBezTo>
                      <a:pt x="5" y="15"/>
                      <a:pt x="5" y="15"/>
                      <a:pt x="5" y="16"/>
                    </a:cubicBezTo>
                    <a:cubicBezTo>
                      <a:pt x="4" y="16"/>
                      <a:pt x="4" y="16"/>
                      <a:pt x="4" y="16"/>
                    </a:cubicBezTo>
                    <a:cubicBezTo>
                      <a:pt x="4" y="17"/>
                      <a:pt x="4" y="17"/>
                      <a:pt x="3" y="18"/>
                    </a:cubicBezTo>
                    <a:cubicBezTo>
                      <a:pt x="3" y="18"/>
                      <a:pt x="4" y="19"/>
                      <a:pt x="3" y="19"/>
                    </a:cubicBezTo>
                    <a:cubicBezTo>
                      <a:pt x="3" y="19"/>
                      <a:pt x="3" y="20"/>
                      <a:pt x="4" y="20"/>
                    </a:cubicBezTo>
                    <a:cubicBezTo>
                      <a:pt x="4" y="20"/>
                      <a:pt x="5" y="20"/>
                      <a:pt x="5" y="21"/>
                    </a:cubicBezTo>
                    <a:cubicBezTo>
                      <a:pt x="5" y="21"/>
                      <a:pt x="6" y="22"/>
                      <a:pt x="6" y="22"/>
                    </a:cubicBezTo>
                    <a:cubicBezTo>
                      <a:pt x="6" y="22"/>
                      <a:pt x="7" y="23"/>
                      <a:pt x="7" y="23"/>
                    </a:cubicBezTo>
                    <a:cubicBezTo>
                      <a:pt x="8" y="23"/>
                      <a:pt x="7" y="23"/>
                      <a:pt x="7" y="24"/>
                    </a:cubicBezTo>
                    <a:cubicBezTo>
                      <a:pt x="6" y="24"/>
                      <a:pt x="6" y="24"/>
                      <a:pt x="5" y="24"/>
                    </a:cubicBezTo>
                    <a:cubicBezTo>
                      <a:pt x="5" y="23"/>
                      <a:pt x="4" y="23"/>
                      <a:pt x="5" y="24"/>
                    </a:cubicBezTo>
                    <a:cubicBezTo>
                      <a:pt x="6" y="25"/>
                      <a:pt x="7" y="26"/>
                      <a:pt x="7" y="27"/>
                    </a:cubicBezTo>
                    <a:cubicBezTo>
                      <a:pt x="7" y="28"/>
                      <a:pt x="7" y="28"/>
                      <a:pt x="6" y="28"/>
                    </a:cubicBezTo>
                    <a:cubicBezTo>
                      <a:pt x="6" y="28"/>
                      <a:pt x="6" y="28"/>
                      <a:pt x="5" y="28"/>
                    </a:cubicBezTo>
                    <a:cubicBezTo>
                      <a:pt x="5" y="28"/>
                      <a:pt x="4" y="28"/>
                      <a:pt x="4" y="29"/>
                    </a:cubicBezTo>
                    <a:cubicBezTo>
                      <a:pt x="4" y="29"/>
                      <a:pt x="6" y="30"/>
                      <a:pt x="6" y="30"/>
                    </a:cubicBezTo>
                    <a:cubicBezTo>
                      <a:pt x="7" y="31"/>
                      <a:pt x="7" y="32"/>
                      <a:pt x="9" y="32"/>
                    </a:cubicBezTo>
                    <a:cubicBezTo>
                      <a:pt x="9" y="32"/>
                      <a:pt x="9" y="33"/>
                      <a:pt x="10" y="33"/>
                    </a:cubicBezTo>
                    <a:cubicBezTo>
                      <a:pt x="10" y="33"/>
                      <a:pt x="10" y="33"/>
                      <a:pt x="11" y="33"/>
                    </a:cubicBezTo>
                    <a:cubicBezTo>
                      <a:pt x="11" y="33"/>
                      <a:pt x="11" y="33"/>
                      <a:pt x="11" y="33"/>
                    </a:cubicBezTo>
                    <a:cubicBezTo>
                      <a:pt x="11" y="33"/>
                      <a:pt x="12" y="34"/>
                      <a:pt x="12" y="34"/>
                    </a:cubicBezTo>
                    <a:cubicBezTo>
                      <a:pt x="12" y="34"/>
                      <a:pt x="13" y="34"/>
                      <a:pt x="13" y="35"/>
                    </a:cubicBezTo>
                    <a:cubicBezTo>
                      <a:pt x="13" y="35"/>
                      <a:pt x="14" y="35"/>
                      <a:pt x="14" y="35"/>
                    </a:cubicBezTo>
                    <a:cubicBezTo>
                      <a:pt x="14" y="35"/>
                      <a:pt x="14" y="35"/>
                      <a:pt x="14" y="35"/>
                    </a:cubicBezTo>
                    <a:cubicBezTo>
                      <a:pt x="15" y="35"/>
                      <a:pt x="15" y="35"/>
                      <a:pt x="15" y="35"/>
                    </a:cubicBezTo>
                    <a:cubicBezTo>
                      <a:pt x="16" y="34"/>
                      <a:pt x="16" y="34"/>
                      <a:pt x="16" y="34"/>
                    </a:cubicBezTo>
                    <a:cubicBezTo>
                      <a:pt x="16" y="34"/>
                      <a:pt x="16" y="34"/>
                      <a:pt x="16" y="34"/>
                    </a:cubicBezTo>
                    <a:cubicBezTo>
                      <a:pt x="16" y="33"/>
                      <a:pt x="16" y="33"/>
                      <a:pt x="16" y="33"/>
                    </a:cubicBezTo>
                    <a:cubicBezTo>
                      <a:pt x="16" y="33"/>
                      <a:pt x="16" y="33"/>
                      <a:pt x="16" y="33"/>
                    </a:cubicBezTo>
                    <a:cubicBezTo>
                      <a:pt x="17" y="32"/>
                      <a:pt x="17" y="32"/>
                      <a:pt x="17" y="32"/>
                    </a:cubicBezTo>
                    <a:cubicBezTo>
                      <a:pt x="17" y="31"/>
                      <a:pt x="17" y="31"/>
                      <a:pt x="17" y="31"/>
                    </a:cubicBezTo>
                    <a:cubicBezTo>
                      <a:pt x="17" y="31"/>
                      <a:pt x="17" y="31"/>
                      <a:pt x="17" y="31"/>
                    </a:cubicBezTo>
                    <a:cubicBezTo>
                      <a:pt x="17" y="30"/>
                      <a:pt x="17" y="30"/>
                      <a:pt x="17" y="30"/>
                    </a:cubicBezTo>
                    <a:cubicBezTo>
                      <a:pt x="18" y="30"/>
                      <a:pt x="18" y="30"/>
                      <a:pt x="18" y="30"/>
                    </a:cubicBezTo>
                    <a:cubicBezTo>
                      <a:pt x="19" y="30"/>
                      <a:pt x="19" y="30"/>
                      <a:pt x="19" y="30"/>
                    </a:cubicBezTo>
                    <a:cubicBezTo>
                      <a:pt x="19" y="31"/>
                      <a:pt x="19" y="31"/>
                      <a:pt x="19" y="31"/>
                    </a:cubicBezTo>
                    <a:cubicBezTo>
                      <a:pt x="20" y="31"/>
                      <a:pt x="20" y="31"/>
                      <a:pt x="20" y="31"/>
                    </a:cubicBezTo>
                    <a:cubicBezTo>
                      <a:pt x="21" y="32"/>
                      <a:pt x="21" y="32"/>
                      <a:pt x="21" y="32"/>
                    </a:cubicBezTo>
                    <a:cubicBezTo>
                      <a:pt x="22" y="33"/>
                      <a:pt x="22" y="33"/>
                      <a:pt x="22" y="33"/>
                    </a:cubicBezTo>
                    <a:cubicBezTo>
                      <a:pt x="22" y="33"/>
                      <a:pt x="22" y="33"/>
                      <a:pt x="22" y="33"/>
                    </a:cubicBezTo>
                    <a:cubicBezTo>
                      <a:pt x="22" y="33"/>
                      <a:pt x="22" y="33"/>
                      <a:pt x="22" y="33"/>
                    </a:cubicBezTo>
                    <a:cubicBezTo>
                      <a:pt x="23" y="34"/>
                      <a:pt x="23" y="34"/>
                      <a:pt x="23" y="34"/>
                    </a:cubicBezTo>
                    <a:cubicBezTo>
                      <a:pt x="24" y="34"/>
                      <a:pt x="24" y="34"/>
                      <a:pt x="24" y="34"/>
                    </a:cubicBezTo>
                    <a:cubicBezTo>
                      <a:pt x="24" y="35"/>
                      <a:pt x="24" y="35"/>
                      <a:pt x="24" y="35"/>
                    </a:cubicBezTo>
                    <a:cubicBezTo>
                      <a:pt x="25" y="35"/>
                      <a:pt x="25" y="35"/>
                      <a:pt x="25" y="35"/>
                    </a:cubicBezTo>
                    <a:cubicBezTo>
                      <a:pt x="26" y="36"/>
                      <a:pt x="26" y="36"/>
                      <a:pt x="26" y="36"/>
                    </a:cubicBezTo>
                    <a:cubicBezTo>
                      <a:pt x="27" y="36"/>
                      <a:pt x="27" y="36"/>
                      <a:pt x="27" y="36"/>
                    </a:cubicBezTo>
                    <a:cubicBezTo>
                      <a:pt x="27" y="37"/>
                      <a:pt x="27" y="37"/>
                      <a:pt x="27" y="37"/>
                    </a:cubicBezTo>
                    <a:cubicBezTo>
                      <a:pt x="26" y="38"/>
                      <a:pt x="26" y="38"/>
                      <a:pt x="26" y="38"/>
                    </a:cubicBezTo>
                    <a:cubicBezTo>
                      <a:pt x="26" y="39"/>
                      <a:pt x="26" y="39"/>
                      <a:pt x="26" y="39"/>
                    </a:cubicBezTo>
                    <a:cubicBezTo>
                      <a:pt x="25" y="40"/>
                      <a:pt x="25" y="40"/>
                      <a:pt x="25" y="40"/>
                    </a:cubicBezTo>
                    <a:cubicBezTo>
                      <a:pt x="26" y="41"/>
                      <a:pt x="26" y="41"/>
                      <a:pt x="26" y="41"/>
                    </a:cubicBezTo>
                    <a:cubicBezTo>
                      <a:pt x="27" y="42"/>
                      <a:pt x="27" y="42"/>
                      <a:pt x="27" y="42"/>
                    </a:cubicBezTo>
                    <a:cubicBezTo>
                      <a:pt x="27" y="42"/>
                      <a:pt x="26" y="42"/>
                      <a:pt x="26" y="42"/>
                    </a:cubicBezTo>
                    <a:cubicBezTo>
                      <a:pt x="27" y="42"/>
                      <a:pt x="27" y="42"/>
                      <a:pt x="28" y="42"/>
                    </a:cubicBezTo>
                    <a:cubicBezTo>
                      <a:pt x="29" y="41"/>
                      <a:pt x="29" y="41"/>
                      <a:pt x="30" y="41"/>
                    </a:cubicBezTo>
                    <a:cubicBezTo>
                      <a:pt x="30" y="42"/>
                      <a:pt x="31" y="41"/>
                      <a:pt x="32" y="41"/>
                    </a:cubicBezTo>
                    <a:cubicBezTo>
                      <a:pt x="32" y="42"/>
                      <a:pt x="33" y="42"/>
                      <a:pt x="33" y="41"/>
                    </a:cubicBezTo>
                    <a:cubicBezTo>
                      <a:pt x="34" y="41"/>
                      <a:pt x="34" y="41"/>
                      <a:pt x="34" y="41"/>
                    </a:cubicBezTo>
                    <a:cubicBezTo>
                      <a:pt x="35" y="40"/>
                      <a:pt x="34" y="39"/>
                      <a:pt x="33" y="39"/>
                    </a:cubicBezTo>
                    <a:cubicBezTo>
                      <a:pt x="33" y="38"/>
                      <a:pt x="34" y="37"/>
                      <a:pt x="34" y="37"/>
                    </a:cubicBezTo>
                    <a:cubicBezTo>
                      <a:pt x="34" y="37"/>
                      <a:pt x="33" y="36"/>
                      <a:pt x="33" y="36"/>
                    </a:cubicBezTo>
                    <a:cubicBezTo>
                      <a:pt x="34" y="35"/>
                      <a:pt x="36" y="36"/>
                      <a:pt x="36" y="35"/>
                    </a:cubicBezTo>
                    <a:cubicBezTo>
                      <a:pt x="36" y="34"/>
                      <a:pt x="37" y="34"/>
                      <a:pt x="37" y="33"/>
                    </a:cubicBezTo>
                    <a:cubicBezTo>
                      <a:pt x="38" y="33"/>
                      <a:pt x="38" y="32"/>
                      <a:pt x="38" y="3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1" name="Senegal">
                <a:extLst>
                  <a:ext uri="{FF2B5EF4-FFF2-40B4-BE49-F238E27FC236}">
                    <a16:creationId xmlns:a16="http://schemas.microsoft.com/office/drawing/2014/main" id="{C0FDF1F1-BFDB-AC99-7666-C6001753FDBA}"/>
                  </a:ext>
                </a:extLst>
              </p:cNvPr>
              <p:cNvSpPr>
                <a:spLocks/>
              </p:cNvSpPr>
              <p:nvPr/>
            </p:nvSpPr>
            <p:spPr bwMode="auto">
              <a:xfrm>
                <a:off x="5102705" y="3395481"/>
                <a:ext cx="208775" cy="169569"/>
              </a:xfrm>
              <a:custGeom>
                <a:avLst/>
                <a:gdLst/>
                <a:ahLst/>
                <a:cxnLst>
                  <a:cxn ang="0">
                    <a:pos x="58" y="44"/>
                  </a:cxn>
                  <a:cxn ang="0">
                    <a:pos x="58" y="41"/>
                  </a:cxn>
                  <a:cxn ang="0">
                    <a:pos x="58" y="39"/>
                  </a:cxn>
                  <a:cxn ang="0">
                    <a:pos x="56" y="36"/>
                  </a:cxn>
                  <a:cxn ang="0">
                    <a:pos x="54" y="35"/>
                  </a:cxn>
                  <a:cxn ang="0">
                    <a:pos x="53" y="31"/>
                  </a:cxn>
                  <a:cxn ang="0">
                    <a:pos x="52" y="26"/>
                  </a:cxn>
                  <a:cxn ang="0">
                    <a:pos x="51" y="24"/>
                  </a:cxn>
                  <a:cxn ang="0">
                    <a:pos x="47" y="17"/>
                  </a:cxn>
                  <a:cxn ang="0">
                    <a:pos x="45" y="15"/>
                  </a:cxn>
                  <a:cxn ang="0">
                    <a:pos x="43" y="12"/>
                  </a:cxn>
                  <a:cxn ang="0">
                    <a:pos x="41" y="10"/>
                  </a:cxn>
                  <a:cxn ang="0">
                    <a:pos x="39" y="6"/>
                  </a:cxn>
                  <a:cxn ang="0">
                    <a:pos x="37" y="5"/>
                  </a:cxn>
                  <a:cxn ang="0">
                    <a:pos x="34" y="4"/>
                  </a:cxn>
                  <a:cxn ang="0">
                    <a:pos x="32" y="1"/>
                  </a:cxn>
                  <a:cxn ang="0">
                    <a:pos x="29" y="1"/>
                  </a:cxn>
                  <a:cxn ang="0">
                    <a:pos x="25" y="0"/>
                  </a:cxn>
                  <a:cxn ang="0">
                    <a:pos x="24" y="1"/>
                  </a:cxn>
                  <a:cxn ang="0">
                    <a:pos x="20" y="1"/>
                  </a:cxn>
                  <a:cxn ang="0">
                    <a:pos x="17" y="2"/>
                  </a:cxn>
                  <a:cxn ang="0">
                    <a:pos x="12" y="2"/>
                  </a:cxn>
                  <a:cxn ang="0">
                    <a:pos x="10" y="7"/>
                  </a:cxn>
                  <a:cxn ang="0">
                    <a:pos x="6" y="16"/>
                  </a:cxn>
                  <a:cxn ang="0">
                    <a:pos x="0" y="21"/>
                  </a:cxn>
                  <a:cxn ang="0">
                    <a:pos x="4" y="24"/>
                  </a:cxn>
                  <a:cxn ang="0">
                    <a:pos x="7" y="29"/>
                  </a:cxn>
                  <a:cxn ang="0">
                    <a:pos x="8" y="28"/>
                  </a:cxn>
                  <a:cxn ang="0">
                    <a:pos x="10" y="28"/>
                  </a:cxn>
                  <a:cxn ang="0">
                    <a:pos x="10" y="28"/>
                  </a:cxn>
                  <a:cxn ang="0">
                    <a:pos x="8" y="30"/>
                  </a:cxn>
                  <a:cxn ang="0">
                    <a:pos x="8" y="31"/>
                  </a:cxn>
                  <a:cxn ang="0">
                    <a:pos x="9" y="32"/>
                  </a:cxn>
                  <a:cxn ang="0">
                    <a:pos x="9" y="32"/>
                  </a:cxn>
                  <a:cxn ang="0">
                    <a:pos x="15" y="34"/>
                  </a:cxn>
                  <a:cxn ang="0">
                    <a:pos x="21" y="32"/>
                  </a:cxn>
                  <a:cxn ang="0">
                    <a:pos x="27" y="34"/>
                  </a:cxn>
                  <a:cxn ang="0">
                    <a:pos x="33" y="34"/>
                  </a:cxn>
                  <a:cxn ang="0">
                    <a:pos x="31" y="38"/>
                  </a:cxn>
                  <a:cxn ang="0">
                    <a:pos x="27" y="36"/>
                  </a:cxn>
                  <a:cxn ang="0">
                    <a:pos x="22" y="34"/>
                  </a:cxn>
                  <a:cxn ang="0">
                    <a:pos x="18" y="36"/>
                  </a:cxn>
                  <a:cxn ang="0">
                    <a:pos x="12" y="39"/>
                  </a:cxn>
                  <a:cxn ang="0">
                    <a:pos x="7" y="41"/>
                  </a:cxn>
                  <a:cxn ang="0">
                    <a:pos x="7" y="43"/>
                  </a:cxn>
                  <a:cxn ang="0">
                    <a:pos x="7" y="45"/>
                  </a:cxn>
                  <a:cxn ang="0">
                    <a:pos x="8" y="44"/>
                  </a:cxn>
                  <a:cxn ang="0">
                    <a:pos x="9" y="44"/>
                  </a:cxn>
                  <a:cxn ang="0">
                    <a:pos x="12" y="45"/>
                  </a:cxn>
                  <a:cxn ang="0">
                    <a:pos x="18" y="45"/>
                  </a:cxn>
                  <a:cxn ang="0">
                    <a:pos x="19" y="43"/>
                  </a:cxn>
                  <a:cxn ang="0">
                    <a:pos x="16" y="45"/>
                  </a:cxn>
                  <a:cxn ang="0">
                    <a:pos x="11" y="45"/>
                  </a:cxn>
                  <a:cxn ang="0">
                    <a:pos x="8" y="45"/>
                  </a:cxn>
                  <a:cxn ang="0">
                    <a:pos x="7" y="48"/>
                  </a:cxn>
                  <a:cxn ang="0">
                    <a:pos x="17" y="46"/>
                  </a:cxn>
                  <a:cxn ang="0">
                    <a:pos x="35" y="44"/>
                  </a:cxn>
                  <a:cxn ang="0">
                    <a:pos x="43" y="46"/>
                  </a:cxn>
                  <a:cxn ang="0">
                    <a:pos x="47" y="47"/>
                  </a:cxn>
                  <a:cxn ang="0">
                    <a:pos x="51" y="48"/>
                  </a:cxn>
                  <a:cxn ang="0">
                    <a:pos x="55" y="47"/>
                  </a:cxn>
                  <a:cxn ang="0">
                    <a:pos x="59" y="46"/>
                  </a:cxn>
                </a:cxnLst>
                <a:rect l="0" t="0" r="r" b="b"/>
                <a:pathLst>
                  <a:path w="59" h="48">
                    <a:moveTo>
                      <a:pt x="58" y="45"/>
                    </a:moveTo>
                    <a:cubicBezTo>
                      <a:pt x="58" y="45"/>
                      <a:pt x="58" y="45"/>
                      <a:pt x="58" y="44"/>
                    </a:cubicBezTo>
                    <a:cubicBezTo>
                      <a:pt x="58" y="44"/>
                      <a:pt x="58" y="44"/>
                      <a:pt x="58" y="44"/>
                    </a:cubicBezTo>
                    <a:cubicBezTo>
                      <a:pt x="58" y="43"/>
                      <a:pt x="58" y="43"/>
                      <a:pt x="58" y="43"/>
                    </a:cubicBezTo>
                    <a:cubicBezTo>
                      <a:pt x="58" y="43"/>
                      <a:pt x="58" y="42"/>
                      <a:pt x="58" y="42"/>
                    </a:cubicBezTo>
                    <a:cubicBezTo>
                      <a:pt x="58" y="42"/>
                      <a:pt x="58" y="41"/>
                      <a:pt x="58" y="41"/>
                    </a:cubicBezTo>
                    <a:cubicBezTo>
                      <a:pt x="58" y="41"/>
                      <a:pt x="58" y="41"/>
                      <a:pt x="58" y="41"/>
                    </a:cubicBezTo>
                    <a:cubicBezTo>
                      <a:pt x="59" y="41"/>
                      <a:pt x="59" y="41"/>
                      <a:pt x="58" y="40"/>
                    </a:cubicBezTo>
                    <a:cubicBezTo>
                      <a:pt x="58" y="41"/>
                      <a:pt x="58" y="39"/>
                      <a:pt x="58" y="39"/>
                    </a:cubicBezTo>
                    <a:cubicBezTo>
                      <a:pt x="57" y="39"/>
                      <a:pt x="57" y="38"/>
                      <a:pt x="57" y="38"/>
                    </a:cubicBezTo>
                    <a:cubicBezTo>
                      <a:pt x="57" y="38"/>
                      <a:pt x="57" y="38"/>
                      <a:pt x="57" y="37"/>
                    </a:cubicBezTo>
                    <a:cubicBezTo>
                      <a:pt x="57" y="37"/>
                      <a:pt x="56" y="37"/>
                      <a:pt x="56" y="36"/>
                    </a:cubicBezTo>
                    <a:cubicBezTo>
                      <a:pt x="56" y="36"/>
                      <a:pt x="56" y="36"/>
                      <a:pt x="55" y="36"/>
                    </a:cubicBezTo>
                    <a:cubicBezTo>
                      <a:pt x="55" y="36"/>
                      <a:pt x="55" y="38"/>
                      <a:pt x="54" y="36"/>
                    </a:cubicBezTo>
                    <a:cubicBezTo>
                      <a:pt x="54" y="36"/>
                      <a:pt x="54" y="36"/>
                      <a:pt x="54" y="35"/>
                    </a:cubicBezTo>
                    <a:cubicBezTo>
                      <a:pt x="53" y="35"/>
                      <a:pt x="53" y="34"/>
                      <a:pt x="52" y="34"/>
                    </a:cubicBezTo>
                    <a:cubicBezTo>
                      <a:pt x="52" y="34"/>
                      <a:pt x="52" y="33"/>
                      <a:pt x="52" y="33"/>
                    </a:cubicBezTo>
                    <a:cubicBezTo>
                      <a:pt x="52" y="32"/>
                      <a:pt x="53" y="32"/>
                      <a:pt x="53" y="31"/>
                    </a:cubicBezTo>
                    <a:cubicBezTo>
                      <a:pt x="53" y="31"/>
                      <a:pt x="53" y="30"/>
                      <a:pt x="53" y="30"/>
                    </a:cubicBezTo>
                    <a:cubicBezTo>
                      <a:pt x="53" y="29"/>
                      <a:pt x="53" y="28"/>
                      <a:pt x="53" y="28"/>
                    </a:cubicBezTo>
                    <a:cubicBezTo>
                      <a:pt x="53" y="27"/>
                      <a:pt x="53" y="26"/>
                      <a:pt x="52" y="26"/>
                    </a:cubicBezTo>
                    <a:cubicBezTo>
                      <a:pt x="52" y="26"/>
                      <a:pt x="52" y="26"/>
                      <a:pt x="52" y="26"/>
                    </a:cubicBezTo>
                    <a:cubicBezTo>
                      <a:pt x="52" y="25"/>
                      <a:pt x="52" y="25"/>
                      <a:pt x="51" y="25"/>
                    </a:cubicBezTo>
                    <a:cubicBezTo>
                      <a:pt x="51" y="25"/>
                      <a:pt x="51" y="24"/>
                      <a:pt x="51" y="24"/>
                    </a:cubicBezTo>
                    <a:cubicBezTo>
                      <a:pt x="51" y="23"/>
                      <a:pt x="51" y="23"/>
                      <a:pt x="51" y="22"/>
                    </a:cubicBezTo>
                    <a:cubicBezTo>
                      <a:pt x="51" y="21"/>
                      <a:pt x="50" y="21"/>
                      <a:pt x="49" y="20"/>
                    </a:cubicBezTo>
                    <a:cubicBezTo>
                      <a:pt x="48" y="19"/>
                      <a:pt x="48" y="17"/>
                      <a:pt x="47" y="17"/>
                    </a:cubicBezTo>
                    <a:cubicBezTo>
                      <a:pt x="46" y="17"/>
                      <a:pt x="46" y="17"/>
                      <a:pt x="46" y="16"/>
                    </a:cubicBezTo>
                    <a:cubicBezTo>
                      <a:pt x="45" y="16"/>
                      <a:pt x="45" y="16"/>
                      <a:pt x="45" y="16"/>
                    </a:cubicBezTo>
                    <a:cubicBezTo>
                      <a:pt x="45" y="15"/>
                      <a:pt x="45" y="15"/>
                      <a:pt x="45" y="15"/>
                    </a:cubicBezTo>
                    <a:cubicBezTo>
                      <a:pt x="45" y="14"/>
                      <a:pt x="44" y="14"/>
                      <a:pt x="44" y="14"/>
                    </a:cubicBezTo>
                    <a:cubicBezTo>
                      <a:pt x="44" y="13"/>
                      <a:pt x="44" y="13"/>
                      <a:pt x="43" y="13"/>
                    </a:cubicBezTo>
                    <a:cubicBezTo>
                      <a:pt x="42" y="13"/>
                      <a:pt x="43" y="12"/>
                      <a:pt x="43" y="12"/>
                    </a:cubicBezTo>
                    <a:cubicBezTo>
                      <a:pt x="42" y="11"/>
                      <a:pt x="41" y="12"/>
                      <a:pt x="41" y="11"/>
                    </a:cubicBezTo>
                    <a:cubicBezTo>
                      <a:pt x="41" y="11"/>
                      <a:pt x="41" y="11"/>
                      <a:pt x="41" y="11"/>
                    </a:cubicBezTo>
                    <a:cubicBezTo>
                      <a:pt x="42" y="10"/>
                      <a:pt x="41" y="10"/>
                      <a:pt x="41" y="10"/>
                    </a:cubicBezTo>
                    <a:cubicBezTo>
                      <a:pt x="41" y="9"/>
                      <a:pt x="41" y="9"/>
                      <a:pt x="40" y="8"/>
                    </a:cubicBezTo>
                    <a:cubicBezTo>
                      <a:pt x="40" y="7"/>
                      <a:pt x="40" y="7"/>
                      <a:pt x="39" y="6"/>
                    </a:cubicBezTo>
                    <a:cubicBezTo>
                      <a:pt x="39" y="6"/>
                      <a:pt x="39" y="7"/>
                      <a:pt x="39" y="6"/>
                    </a:cubicBezTo>
                    <a:cubicBezTo>
                      <a:pt x="39" y="6"/>
                      <a:pt x="39" y="6"/>
                      <a:pt x="39" y="6"/>
                    </a:cubicBezTo>
                    <a:cubicBezTo>
                      <a:pt x="38" y="6"/>
                      <a:pt x="38" y="6"/>
                      <a:pt x="38" y="6"/>
                    </a:cubicBezTo>
                    <a:cubicBezTo>
                      <a:pt x="37" y="7"/>
                      <a:pt x="37" y="6"/>
                      <a:pt x="37" y="5"/>
                    </a:cubicBezTo>
                    <a:cubicBezTo>
                      <a:pt x="37" y="5"/>
                      <a:pt x="36" y="7"/>
                      <a:pt x="35" y="6"/>
                    </a:cubicBezTo>
                    <a:cubicBezTo>
                      <a:pt x="35" y="5"/>
                      <a:pt x="35" y="5"/>
                      <a:pt x="34" y="5"/>
                    </a:cubicBezTo>
                    <a:cubicBezTo>
                      <a:pt x="34" y="4"/>
                      <a:pt x="35" y="4"/>
                      <a:pt x="34" y="4"/>
                    </a:cubicBezTo>
                    <a:cubicBezTo>
                      <a:pt x="34" y="3"/>
                      <a:pt x="34" y="3"/>
                      <a:pt x="33" y="3"/>
                    </a:cubicBezTo>
                    <a:cubicBezTo>
                      <a:pt x="33" y="2"/>
                      <a:pt x="33" y="2"/>
                      <a:pt x="33" y="2"/>
                    </a:cubicBezTo>
                    <a:cubicBezTo>
                      <a:pt x="32" y="1"/>
                      <a:pt x="32" y="2"/>
                      <a:pt x="32" y="1"/>
                    </a:cubicBezTo>
                    <a:cubicBezTo>
                      <a:pt x="32" y="1"/>
                      <a:pt x="32" y="1"/>
                      <a:pt x="32" y="1"/>
                    </a:cubicBezTo>
                    <a:cubicBezTo>
                      <a:pt x="31" y="1"/>
                      <a:pt x="31" y="1"/>
                      <a:pt x="31" y="1"/>
                    </a:cubicBezTo>
                    <a:cubicBezTo>
                      <a:pt x="31" y="0"/>
                      <a:pt x="29" y="1"/>
                      <a:pt x="29" y="1"/>
                    </a:cubicBezTo>
                    <a:cubicBezTo>
                      <a:pt x="28" y="1"/>
                      <a:pt x="27" y="0"/>
                      <a:pt x="27" y="0"/>
                    </a:cubicBezTo>
                    <a:cubicBezTo>
                      <a:pt x="26" y="0"/>
                      <a:pt x="26" y="0"/>
                      <a:pt x="26" y="0"/>
                    </a:cubicBezTo>
                    <a:cubicBezTo>
                      <a:pt x="25" y="0"/>
                      <a:pt x="25" y="0"/>
                      <a:pt x="25" y="0"/>
                    </a:cubicBezTo>
                    <a:cubicBezTo>
                      <a:pt x="25" y="0"/>
                      <a:pt x="25" y="0"/>
                      <a:pt x="25" y="0"/>
                    </a:cubicBezTo>
                    <a:cubicBezTo>
                      <a:pt x="24" y="1"/>
                      <a:pt x="24" y="0"/>
                      <a:pt x="24" y="0"/>
                    </a:cubicBezTo>
                    <a:cubicBezTo>
                      <a:pt x="24" y="0"/>
                      <a:pt x="24" y="0"/>
                      <a:pt x="24" y="1"/>
                    </a:cubicBezTo>
                    <a:cubicBezTo>
                      <a:pt x="24" y="1"/>
                      <a:pt x="23" y="1"/>
                      <a:pt x="23" y="1"/>
                    </a:cubicBezTo>
                    <a:cubicBezTo>
                      <a:pt x="23" y="1"/>
                      <a:pt x="21" y="1"/>
                      <a:pt x="21" y="1"/>
                    </a:cubicBezTo>
                    <a:cubicBezTo>
                      <a:pt x="20" y="1"/>
                      <a:pt x="20" y="1"/>
                      <a:pt x="20" y="1"/>
                    </a:cubicBezTo>
                    <a:cubicBezTo>
                      <a:pt x="20" y="2"/>
                      <a:pt x="20" y="2"/>
                      <a:pt x="19" y="2"/>
                    </a:cubicBezTo>
                    <a:cubicBezTo>
                      <a:pt x="19" y="2"/>
                      <a:pt x="18" y="2"/>
                      <a:pt x="18" y="2"/>
                    </a:cubicBezTo>
                    <a:cubicBezTo>
                      <a:pt x="17" y="2"/>
                      <a:pt x="17" y="2"/>
                      <a:pt x="17" y="2"/>
                    </a:cubicBezTo>
                    <a:cubicBezTo>
                      <a:pt x="16" y="2"/>
                      <a:pt x="15" y="2"/>
                      <a:pt x="14" y="2"/>
                    </a:cubicBezTo>
                    <a:cubicBezTo>
                      <a:pt x="14" y="1"/>
                      <a:pt x="14" y="2"/>
                      <a:pt x="13" y="2"/>
                    </a:cubicBezTo>
                    <a:cubicBezTo>
                      <a:pt x="13" y="2"/>
                      <a:pt x="13" y="1"/>
                      <a:pt x="12" y="2"/>
                    </a:cubicBezTo>
                    <a:cubicBezTo>
                      <a:pt x="12" y="3"/>
                      <a:pt x="12" y="4"/>
                      <a:pt x="11" y="5"/>
                    </a:cubicBezTo>
                    <a:cubicBezTo>
                      <a:pt x="11" y="5"/>
                      <a:pt x="11" y="5"/>
                      <a:pt x="11" y="6"/>
                    </a:cubicBezTo>
                    <a:cubicBezTo>
                      <a:pt x="10" y="6"/>
                      <a:pt x="11" y="6"/>
                      <a:pt x="10" y="7"/>
                    </a:cubicBezTo>
                    <a:cubicBezTo>
                      <a:pt x="10" y="6"/>
                      <a:pt x="10" y="6"/>
                      <a:pt x="10" y="7"/>
                    </a:cubicBezTo>
                    <a:cubicBezTo>
                      <a:pt x="10" y="9"/>
                      <a:pt x="10" y="10"/>
                      <a:pt x="9" y="12"/>
                    </a:cubicBezTo>
                    <a:cubicBezTo>
                      <a:pt x="8" y="13"/>
                      <a:pt x="7" y="14"/>
                      <a:pt x="6" y="16"/>
                    </a:cubicBezTo>
                    <a:cubicBezTo>
                      <a:pt x="5" y="17"/>
                      <a:pt x="4" y="18"/>
                      <a:pt x="3" y="19"/>
                    </a:cubicBezTo>
                    <a:cubicBezTo>
                      <a:pt x="3" y="20"/>
                      <a:pt x="2" y="20"/>
                      <a:pt x="1" y="21"/>
                    </a:cubicBezTo>
                    <a:cubicBezTo>
                      <a:pt x="1" y="21"/>
                      <a:pt x="0" y="21"/>
                      <a:pt x="0" y="21"/>
                    </a:cubicBezTo>
                    <a:cubicBezTo>
                      <a:pt x="0" y="21"/>
                      <a:pt x="1" y="23"/>
                      <a:pt x="1" y="22"/>
                    </a:cubicBezTo>
                    <a:cubicBezTo>
                      <a:pt x="1" y="21"/>
                      <a:pt x="1" y="21"/>
                      <a:pt x="2" y="21"/>
                    </a:cubicBezTo>
                    <a:cubicBezTo>
                      <a:pt x="3" y="22"/>
                      <a:pt x="3" y="23"/>
                      <a:pt x="4" y="24"/>
                    </a:cubicBezTo>
                    <a:cubicBezTo>
                      <a:pt x="4" y="25"/>
                      <a:pt x="5" y="25"/>
                      <a:pt x="5" y="25"/>
                    </a:cubicBezTo>
                    <a:cubicBezTo>
                      <a:pt x="5" y="26"/>
                      <a:pt x="6" y="26"/>
                      <a:pt x="6" y="27"/>
                    </a:cubicBezTo>
                    <a:cubicBezTo>
                      <a:pt x="6" y="28"/>
                      <a:pt x="7" y="28"/>
                      <a:pt x="7" y="29"/>
                    </a:cubicBezTo>
                    <a:cubicBezTo>
                      <a:pt x="7" y="29"/>
                      <a:pt x="7" y="30"/>
                      <a:pt x="7" y="31"/>
                    </a:cubicBezTo>
                    <a:cubicBezTo>
                      <a:pt x="7" y="30"/>
                      <a:pt x="7" y="30"/>
                      <a:pt x="7" y="29"/>
                    </a:cubicBezTo>
                    <a:cubicBezTo>
                      <a:pt x="7" y="29"/>
                      <a:pt x="8" y="29"/>
                      <a:pt x="8" y="28"/>
                    </a:cubicBezTo>
                    <a:cubicBezTo>
                      <a:pt x="8" y="29"/>
                      <a:pt x="8" y="29"/>
                      <a:pt x="7" y="29"/>
                    </a:cubicBezTo>
                    <a:cubicBezTo>
                      <a:pt x="8" y="30"/>
                      <a:pt x="8" y="29"/>
                      <a:pt x="9" y="29"/>
                    </a:cubicBezTo>
                    <a:cubicBezTo>
                      <a:pt x="9" y="28"/>
                      <a:pt x="9" y="28"/>
                      <a:pt x="10" y="28"/>
                    </a:cubicBezTo>
                    <a:cubicBezTo>
                      <a:pt x="10" y="28"/>
                      <a:pt x="10" y="27"/>
                      <a:pt x="10" y="27"/>
                    </a:cubicBezTo>
                    <a:cubicBezTo>
                      <a:pt x="10" y="28"/>
                      <a:pt x="11" y="28"/>
                      <a:pt x="11" y="28"/>
                    </a:cubicBezTo>
                    <a:cubicBezTo>
                      <a:pt x="11" y="28"/>
                      <a:pt x="10" y="28"/>
                      <a:pt x="10" y="28"/>
                    </a:cubicBezTo>
                    <a:cubicBezTo>
                      <a:pt x="10" y="28"/>
                      <a:pt x="10" y="28"/>
                      <a:pt x="9" y="28"/>
                    </a:cubicBezTo>
                    <a:cubicBezTo>
                      <a:pt x="9" y="28"/>
                      <a:pt x="8" y="29"/>
                      <a:pt x="9" y="29"/>
                    </a:cubicBezTo>
                    <a:cubicBezTo>
                      <a:pt x="9" y="29"/>
                      <a:pt x="8" y="30"/>
                      <a:pt x="8" y="30"/>
                    </a:cubicBezTo>
                    <a:cubicBezTo>
                      <a:pt x="8" y="29"/>
                      <a:pt x="7" y="30"/>
                      <a:pt x="7" y="30"/>
                    </a:cubicBezTo>
                    <a:cubicBezTo>
                      <a:pt x="7" y="31"/>
                      <a:pt x="7" y="32"/>
                      <a:pt x="7" y="32"/>
                    </a:cubicBezTo>
                    <a:cubicBezTo>
                      <a:pt x="8" y="32"/>
                      <a:pt x="8" y="31"/>
                      <a:pt x="8" y="31"/>
                    </a:cubicBezTo>
                    <a:cubicBezTo>
                      <a:pt x="8" y="31"/>
                      <a:pt x="8" y="31"/>
                      <a:pt x="9" y="31"/>
                    </a:cubicBezTo>
                    <a:cubicBezTo>
                      <a:pt x="9" y="31"/>
                      <a:pt x="9" y="30"/>
                      <a:pt x="10" y="29"/>
                    </a:cubicBezTo>
                    <a:cubicBezTo>
                      <a:pt x="9" y="30"/>
                      <a:pt x="9" y="31"/>
                      <a:pt x="9" y="32"/>
                    </a:cubicBezTo>
                    <a:cubicBezTo>
                      <a:pt x="9" y="31"/>
                      <a:pt x="9" y="31"/>
                      <a:pt x="9" y="31"/>
                    </a:cubicBezTo>
                    <a:cubicBezTo>
                      <a:pt x="8" y="32"/>
                      <a:pt x="8" y="32"/>
                      <a:pt x="8" y="33"/>
                    </a:cubicBezTo>
                    <a:cubicBezTo>
                      <a:pt x="8" y="34"/>
                      <a:pt x="9" y="32"/>
                      <a:pt x="9" y="32"/>
                    </a:cubicBezTo>
                    <a:cubicBezTo>
                      <a:pt x="10" y="32"/>
                      <a:pt x="9" y="34"/>
                      <a:pt x="9" y="34"/>
                    </a:cubicBezTo>
                    <a:cubicBezTo>
                      <a:pt x="9" y="34"/>
                      <a:pt x="10" y="34"/>
                      <a:pt x="10" y="34"/>
                    </a:cubicBezTo>
                    <a:cubicBezTo>
                      <a:pt x="12" y="34"/>
                      <a:pt x="13" y="34"/>
                      <a:pt x="15" y="34"/>
                    </a:cubicBezTo>
                    <a:cubicBezTo>
                      <a:pt x="16" y="34"/>
                      <a:pt x="18" y="34"/>
                      <a:pt x="19" y="34"/>
                    </a:cubicBezTo>
                    <a:cubicBezTo>
                      <a:pt x="19" y="34"/>
                      <a:pt x="19" y="33"/>
                      <a:pt x="19" y="33"/>
                    </a:cubicBezTo>
                    <a:cubicBezTo>
                      <a:pt x="20" y="32"/>
                      <a:pt x="20" y="31"/>
                      <a:pt x="21" y="32"/>
                    </a:cubicBezTo>
                    <a:cubicBezTo>
                      <a:pt x="22" y="32"/>
                      <a:pt x="22" y="32"/>
                      <a:pt x="23" y="32"/>
                    </a:cubicBezTo>
                    <a:cubicBezTo>
                      <a:pt x="24" y="31"/>
                      <a:pt x="25" y="31"/>
                      <a:pt x="26" y="33"/>
                    </a:cubicBezTo>
                    <a:cubicBezTo>
                      <a:pt x="26" y="33"/>
                      <a:pt x="26" y="34"/>
                      <a:pt x="27" y="34"/>
                    </a:cubicBezTo>
                    <a:cubicBezTo>
                      <a:pt x="27" y="34"/>
                      <a:pt x="27" y="33"/>
                      <a:pt x="28" y="33"/>
                    </a:cubicBezTo>
                    <a:cubicBezTo>
                      <a:pt x="29" y="33"/>
                      <a:pt x="29" y="35"/>
                      <a:pt x="30" y="35"/>
                    </a:cubicBezTo>
                    <a:cubicBezTo>
                      <a:pt x="31" y="36"/>
                      <a:pt x="32" y="34"/>
                      <a:pt x="33" y="34"/>
                    </a:cubicBezTo>
                    <a:cubicBezTo>
                      <a:pt x="35" y="34"/>
                      <a:pt x="36" y="36"/>
                      <a:pt x="35" y="37"/>
                    </a:cubicBezTo>
                    <a:cubicBezTo>
                      <a:pt x="34" y="37"/>
                      <a:pt x="33" y="37"/>
                      <a:pt x="33" y="37"/>
                    </a:cubicBezTo>
                    <a:cubicBezTo>
                      <a:pt x="32" y="37"/>
                      <a:pt x="32" y="38"/>
                      <a:pt x="31" y="38"/>
                    </a:cubicBezTo>
                    <a:cubicBezTo>
                      <a:pt x="31" y="38"/>
                      <a:pt x="30" y="38"/>
                      <a:pt x="30" y="38"/>
                    </a:cubicBezTo>
                    <a:cubicBezTo>
                      <a:pt x="29" y="38"/>
                      <a:pt x="29" y="37"/>
                      <a:pt x="29" y="37"/>
                    </a:cubicBezTo>
                    <a:cubicBezTo>
                      <a:pt x="29" y="37"/>
                      <a:pt x="28" y="36"/>
                      <a:pt x="27" y="36"/>
                    </a:cubicBezTo>
                    <a:cubicBezTo>
                      <a:pt x="27" y="36"/>
                      <a:pt x="27" y="36"/>
                      <a:pt x="26" y="36"/>
                    </a:cubicBezTo>
                    <a:cubicBezTo>
                      <a:pt x="25" y="35"/>
                      <a:pt x="25" y="35"/>
                      <a:pt x="24" y="35"/>
                    </a:cubicBezTo>
                    <a:cubicBezTo>
                      <a:pt x="24" y="35"/>
                      <a:pt x="23" y="34"/>
                      <a:pt x="22" y="34"/>
                    </a:cubicBezTo>
                    <a:cubicBezTo>
                      <a:pt x="22" y="34"/>
                      <a:pt x="22" y="35"/>
                      <a:pt x="22" y="36"/>
                    </a:cubicBezTo>
                    <a:cubicBezTo>
                      <a:pt x="21" y="36"/>
                      <a:pt x="21" y="36"/>
                      <a:pt x="20" y="36"/>
                    </a:cubicBezTo>
                    <a:cubicBezTo>
                      <a:pt x="19" y="36"/>
                      <a:pt x="19" y="36"/>
                      <a:pt x="18" y="36"/>
                    </a:cubicBezTo>
                    <a:cubicBezTo>
                      <a:pt x="17" y="37"/>
                      <a:pt x="17" y="36"/>
                      <a:pt x="16" y="37"/>
                    </a:cubicBezTo>
                    <a:cubicBezTo>
                      <a:pt x="16" y="37"/>
                      <a:pt x="16" y="38"/>
                      <a:pt x="16" y="38"/>
                    </a:cubicBezTo>
                    <a:cubicBezTo>
                      <a:pt x="16" y="39"/>
                      <a:pt x="13" y="39"/>
                      <a:pt x="12" y="39"/>
                    </a:cubicBezTo>
                    <a:cubicBezTo>
                      <a:pt x="11" y="39"/>
                      <a:pt x="9" y="39"/>
                      <a:pt x="8" y="39"/>
                    </a:cubicBezTo>
                    <a:cubicBezTo>
                      <a:pt x="8" y="39"/>
                      <a:pt x="7" y="39"/>
                      <a:pt x="7" y="39"/>
                    </a:cubicBezTo>
                    <a:cubicBezTo>
                      <a:pt x="7" y="40"/>
                      <a:pt x="7" y="41"/>
                      <a:pt x="7" y="41"/>
                    </a:cubicBezTo>
                    <a:cubicBezTo>
                      <a:pt x="7" y="42"/>
                      <a:pt x="6" y="43"/>
                      <a:pt x="6" y="43"/>
                    </a:cubicBezTo>
                    <a:cubicBezTo>
                      <a:pt x="6" y="43"/>
                      <a:pt x="6" y="43"/>
                      <a:pt x="6" y="44"/>
                    </a:cubicBezTo>
                    <a:cubicBezTo>
                      <a:pt x="6" y="44"/>
                      <a:pt x="7" y="43"/>
                      <a:pt x="7" y="43"/>
                    </a:cubicBezTo>
                    <a:cubicBezTo>
                      <a:pt x="7" y="43"/>
                      <a:pt x="7" y="43"/>
                      <a:pt x="7" y="44"/>
                    </a:cubicBezTo>
                    <a:cubicBezTo>
                      <a:pt x="7" y="44"/>
                      <a:pt x="6" y="44"/>
                      <a:pt x="6" y="44"/>
                    </a:cubicBezTo>
                    <a:cubicBezTo>
                      <a:pt x="6" y="45"/>
                      <a:pt x="6" y="45"/>
                      <a:pt x="7" y="45"/>
                    </a:cubicBezTo>
                    <a:cubicBezTo>
                      <a:pt x="7" y="45"/>
                      <a:pt x="8" y="45"/>
                      <a:pt x="8" y="44"/>
                    </a:cubicBezTo>
                    <a:cubicBezTo>
                      <a:pt x="8" y="43"/>
                      <a:pt x="8" y="43"/>
                      <a:pt x="8" y="43"/>
                    </a:cubicBezTo>
                    <a:cubicBezTo>
                      <a:pt x="8" y="43"/>
                      <a:pt x="8" y="43"/>
                      <a:pt x="8" y="44"/>
                    </a:cubicBezTo>
                    <a:cubicBezTo>
                      <a:pt x="8" y="44"/>
                      <a:pt x="8" y="44"/>
                      <a:pt x="8" y="44"/>
                    </a:cubicBezTo>
                    <a:cubicBezTo>
                      <a:pt x="8" y="44"/>
                      <a:pt x="9" y="44"/>
                      <a:pt x="9" y="44"/>
                    </a:cubicBezTo>
                    <a:cubicBezTo>
                      <a:pt x="9" y="44"/>
                      <a:pt x="9" y="44"/>
                      <a:pt x="9" y="44"/>
                    </a:cubicBezTo>
                    <a:cubicBezTo>
                      <a:pt x="9" y="44"/>
                      <a:pt x="9" y="44"/>
                      <a:pt x="9" y="45"/>
                    </a:cubicBezTo>
                    <a:cubicBezTo>
                      <a:pt x="10" y="45"/>
                      <a:pt x="10" y="45"/>
                      <a:pt x="10" y="45"/>
                    </a:cubicBezTo>
                    <a:cubicBezTo>
                      <a:pt x="11" y="45"/>
                      <a:pt x="12" y="45"/>
                      <a:pt x="12" y="45"/>
                    </a:cubicBezTo>
                    <a:cubicBezTo>
                      <a:pt x="13" y="44"/>
                      <a:pt x="13" y="44"/>
                      <a:pt x="14" y="43"/>
                    </a:cubicBezTo>
                    <a:cubicBezTo>
                      <a:pt x="14" y="46"/>
                      <a:pt x="17" y="44"/>
                      <a:pt x="17" y="45"/>
                    </a:cubicBezTo>
                    <a:cubicBezTo>
                      <a:pt x="17" y="45"/>
                      <a:pt x="18" y="45"/>
                      <a:pt x="18" y="45"/>
                    </a:cubicBezTo>
                    <a:cubicBezTo>
                      <a:pt x="18" y="44"/>
                      <a:pt x="18" y="44"/>
                      <a:pt x="18" y="44"/>
                    </a:cubicBezTo>
                    <a:cubicBezTo>
                      <a:pt x="18" y="42"/>
                      <a:pt x="19" y="43"/>
                      <a:pt x="20" y="42"/>
                    </a:cubicBezTo>
                    <a:cubicBezTo>
                      <a:pt x="20" y="43"/>
                      <a:pt x="19" y="43"/>
                      <a:pt x="19" y="43"/>
                    </a:cubicBezTo>
                    <a:cubicBezTo>
                      <a:pt x="18" y="43"/>
                      <a:pt x="18" y="43"/>
                      <a:pt x="18" y="44"/>
                    </a:cubicBezTo>
                    <a:cubicBezTo>
                      <a:pt x="19" y="45"/>
                      <a:pt x="18" y="45"/>
                      <a:pt x="17" y="46"/>
                    </a:cubicBezTo>
                    <a:cubicBezTo>
                      <a:pt x="17" y="46"/>
                      <a:pt x="17" y="44"/>
                      <a:pt x="16" y="45"/>
                    </a:cubicBezTo>
                    <a:cubicBezTo>
                      <a:pt x="16" y="45"/>
                      <a:pt x="15" y="45"/>
                      <a:pt x="14" y="45"/>
                    </a:cubicBezTo>
                    <a:cubicBezTo>
                      <a:pt x="13" y="44"/>
                      <a:pt x="13" y="45"/>
                      <a:pt x="12" y="45"/>
                    </a:cubicBezTo>
                    <a:cubicBezTo>
                      <a:pt x="11" y="45"/>
                      <a:pt x="11" y="45"/>
                      <a:pt x="11" y="45"/>
                    </a:cubicBezTo>
                    <a:cubicBezTo>
                      <a:pt x="10" y="45"/>
                      <a:pt x="10" y="45"/>
                      <a:pt x="10" y="45"/>
                    </a:cubicBezTo>
                    <a:cubicBezTo>
                      <a:pt x="9" y="45"/>
                      <a:pt x="9" y="45"/>
                      <a:pt x="9" y="45"/>
                    </a:cubicBezTo>
                    <a:cubicBezTo>
                      <a:pt x="8" y="45"/>
                      <a:pt x="8" y="44"/>
                      <a:pt x="8" y="45"/>
                    </a:cubicBezTo>
                    <a:cubicBezTo>
                      <a:pt x="8" y="45"/>
                      <a:pt x="8" y="45"/>
                      <a:pt x="7" y="45"/>
                    </a:cubicBezTo>
                    <a:cubicBezTo>
                      <a:pt x="7" y="45"/>
                      <a:pt x="7" y="45"/>
                      <a:pt x="7" y="45"/>
                    </a:cubicBezTo>
                    <a:cubicBezTo>
                      <a:pt x="6" y="46"/>
                      <a:pt x="6" y="47"/>
                      <a:pt x="7" y="48"/>
                    </a:cubicBezTo>
                    <a:cubicBezTo>
                      <a:pt x="7" y="47"/>
                      <a:pt x="8" y="47"/>
                      <a:pt x="9" y="48"/>
                    </a:cubicBezTo>
                    <a:cubicBezTo>
                      <a:pt x="10" y="48"/>
                      <a:pt x="10" y="47"/>
                      <a:pt x="11" y="47"/>
                    </a:cubicBezTo>
                    <a:cubicBezTo>
                      <a:pt x="13" y="46"/>
                      <a:pt x="15" y="47"/>
                      <a:pt x="17" y="46"/>
                    </a:cubicBezTo>
                    <a:cubicBezTo>
                      <a:pt x="19" y="46"/>
                      <a:pt x="20" y="44"/>
                      <a:pt x="22" y="44"/>
                    </a:cubicBezTo>
                    <a:cubicBezTo>
                      <a:pt x="24" y="44"/>
                      <a:pt x="26" y="44"/>
                      <a:pt x="28" y="44"/>
                    </a:cubicBezTo>
                    <a:cubicBezTo>
                      <a:pt x="31" y="44"/>
                      <a:pt x="32" y="44"/>
                      <a:pt x="35" y="44"/>
                    </a:cubicBezTo>
                    <a:cubicBezTo>
                      <a:pt x="36" y="44"/>
                      <a:pt x="38" y="44"/>
                      <a:pt x="39" y="44"/>
                    </a:cubicBezTo>
                    <a:cubicBezTo>
                      <a:pt x="40" y="44"/>
                      <a:pt x="42" y="44"/>
                      <a:pt x="42" y="44"/>
                    </a:cubicBezTo>
                    <a:cubicBezTo>
                      <a:pt x="43" y="45"/>
                      <a:pt x="41" y="46"/>
                      <a:pt x="43" y="46"/>
                    </a:cubicBezTo>
                    <a:cubicBezTo>
                      <a:pt x="43" y="46"/>
                      <a:pt x="43" y="45"/>
                      <a:pt x="44" y="46"/>
                    </a:cubicBezTo>
                    <a:cubicBezTo>
                      <a:pt x="44" y="46"/>
                      <a:pt x="45" y="46"/>
                      <a:pt x="45" y="46"/>
                    </a:cubicBezTo>
                    <a:cubicBezTo>
                      <a:pt x="46" y="47"/>
                      <a:pt x="47" y="46"/>
                      <a:pt x="47" y="47"/>
                    </a:cubicBezTo>
                    <a:cubicBezTo>
                      <a:pt x="47" y="47"/>
                      <a:pt x="48" y="47"/>
                      <a:pt x="48" y="47"/>
                    </a:cubicBezTo>
                    <a:cubicBezTo>
                      <a:pt x="49" y="47"/>
                      <a:pt x="49" y="48"/>
                      <a:pt x="49" y="48"/>
                    </a:cubicBezTo>
                    <a:cubicBezTo>
                      <a:pt x="50" y="48"/>
                      <a:pt x="50" y="48"/>
                      <a:pt x="51" y="48"/>
                    </a:cubicBezTo>
                    <a:cubicBezTo>
                      <a:pt x="51" y="47"/>
                      <a:pt x="51" y="47"/>
                      <a:pt x="52" y="47"/>
                    </a:cubicBezTo>
                    <a:cubicBezTo>
                      <a:pt x="52" y="47"/>
                      <a:pt x="53" y="47"/>
                      <a:pt x="53" y="47"/>
                    </a:cubicBezTo>
                    <a:cubicBezTo>
                      <a:pt x="54" y="47"/>
                      <a:pt x="54" y="47"/>
                      <a:pt x="55" y="47"/>
                    </a:cubicBezTo>
                    <a:cubicBezTo>
                      <a:pt x="55" y="47"/>
                      <a:pt x="56" y="47"/>
                      <a:pt x="56" y="47"/>
                    </a:cubicBezTo>
                    <a:cubicBezTo>
                      <a:pt x="57" y="47"/>
                      <a:pt x="58" y="47"/>
                      <a:pt x="58" y="47"/>
                    </a:cubicBezTo>
                    <a:cubicBezTo>
                      <a:pt x="58" y="47"/>
                      <a:pt x="59" y="46"/>
                      <a:pt x="59" y="46"/>
                    </a:cubicBezTo>
                    <a:cubicBezTo>
                      <a:pt x="59" y="46"/>
                      <a:pt x="58" y="46"/>
                      <a:pt x="58" y="46"/>
                    </a:cubicBezTo>
                    <a:cubicBezTo>
                      <a:pt x="58" y="46"/>
                      <a:pt x="58" y="45"/>
                      <a:pt x="58" y="4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2" name="Saudi Arabia">
                <a:extLst>
                  <a:ext uri="{FF2B5EF4-FFF2-40B4-BE49-F238E27FC236}">
                    <a16:creationId xmlns:a16="http://schemas.microsoft.com/office/drawing/2014/main" id="{30EE1CD0-738F-82A3-C2C1-07C847127E04}"/>
                  </a:ext>
                </a:extLst>
              </p:cNvPr>
              <p:cNvSpPr>
                <a:spLocks noEditPoints="1"/>
              </p:cNvSpPr>
              <p:nvPr/>
            </p:nvSpPr>
            <p:spPr bwMode="auto">
              <a:xfrm>
                <a:off x="6855236" y="2792681"/>
                <a:ext cx="718462" cy="613583"/>
              </a:xfrm>
              <a:custGeom>
                <a:avLst/>
                <a:gdLst/>
                <a:ahLst/>
                <a:cxnLst>
                  <a:cxn ang="0">
                    <a:pos x="199" y="133"/>
                  </a:cxn>
                  <a:cxn ang="0">
                    <a:pos x="155" y="147"/>
                  </a:cxn>
                  <a:cxn ang="0">
                    <a:pos x="132" y="158"/>
                  </a:cxn>
                  <a:cxn ang="0">
                    <a:pos x="118" y="164"/>
                  </a:cxn>
                  <a:cxn ang="0">
                    <a:pos x="96" y="163"/>
                  </a:cxn>
                  <a:cxn ang="0">
                    <a:pos x="91" y="161"/>
                  </a:cxn>
                  <a:cxn ang="0">
                    <a:pos x="87" y="166"/>
                  </a:cxn>
                  <a:cxn ang="0">
                    <a:pos x="84" y="173"/>
                  </a:cxn>
                  <a:cxn ang="0">
                    <a:pos x="80" y="165"/>
                  </a:cxn>
                  <a:cxn ang="0">
                    <a:pos x="75" y="158"/>
                  </a:cxn>
                  <a:cxn ang="0">
                    <a:pos x="71" y="153"/>
                  </a:cxn>
                  <a:cxn ang="0">
                    <a:pos x="67" y="144"/>
                  </a:cxn>
                  <a:cxn ang="0">
                    <a:pos x="63" y="138"/>
                  </a:cxn>
                  <a:cxn ang="0">
                    <a:pos x="58" y="132"/>
                  </a:cxn>
                  <a:cxn ang="0">
                    <a:pos x="51" y="127"/>
                  </a:cxn>
                  <a:cxn ang="0">
                    <a:pos x="48" y="123"/>
                  </a:cxn>
                  <a:cxn ang="0">
                    <a:pos x="47" y="117"/>
                  </a:cxn>
                  <a:cxn ang="0">
                    <a:pos x="45" y="111"/>
                  </a:cxn>
                  <a:cxn ang="0">
                    <a:pos x="46" y="107"/>
                  </a:cxn>
                  <a:cxn ang="0">
                    <a:pos x="44" y="103"/>
                  </a:cxn>
                  <a:cxn ang="0">
                    <a:pos x="43" y="99"/>
                  </a:cxn>
                  <a:cxn ang="0">
                    <a:pos x="37" y="91"/>
                  </a:cxn>
                  <a:cxn ang="0">
                    <a:pos x="33" y="88"/>
                  </a:cxn>
                  <a:cxn ang="0">
                    <a:pos x="28" y="83"/>
                  </a:cxn>
                  <a:cxn ang="0">
                    <a:pos x="25" y="75"/>
                  </a:cxn>
                  <a:cxn ang="0">
                    <a:pos x="21" y="70"/>
                  </a:cxn>
                  <a:cxn ang="0">
                    <a:pos x="14" y="58"/>
                  </a:cxn>
                  <a:cxn ang="0">
                    <a:pos x="8" y="49"/>
                  </a:cxn>
                  <a:cxn ang="0">
                    <a:pos x="4" y="44"/>
                  </a:cxn>
                  <a:cxn ang="0">
                    <a:pos x="2" y="44"/>
                  </a:cxn>
                  <a:cxn ang="0">
                    <a:pos x="1" y="42"/>
                  </a:cxn>
                  <a:cxn ang="0">
                    <a:pos x="2" y="31"/>
                  </a:cxn>
                  <a:cxn ang="0">
                    <a:pos x="17" y="29"/>
                  </a:cxn>
                  <a:cxn ang="0">
                    <a:pos x="27" y="20"/>
                  </a:cxn>
                  <a:cxn ang="0">
                    <a:pos x="39" y="0"/>
                  </a:cxn>
                  <a:cxn ang="0">
                    <a:pos x="66" y="11"/>
                  </a:cxn>
                  <a:cxn ang="0">
                    <a:pos x="89" y="29"/>
                  </a:cxn>
                  <a:cxn ang="0">
                    <a:pos x="110" y="34"/>
                  </a:cxn>
                  <a:cxn ang="0">
                    <a:pos x="125" y="40"/>
                  </a:cxn>
                  <a:cxn ang="0">
                    <a:pos x="131" y="43"/>
                  </a:cxn>
                  <a:cxn ang="0">
                    <a:pos x="133" y="47"/>
                  </a:cxn>
                  <a:cxn ang="0">
                    <a:pos x="133" y="49"/>
                  </a:cxn>
                  <a:cxn ang="0">
                    <a:pos x="135" y="50"/>
                  </a:cxn>
                  <a:cxn ang="0">
                    <a:pos x="138" y="52"/>
                  </a:cxn>
                  <a:cxn ang="0">
                    <a:pos x="138" y="53"/>
                  </a:cxn>
                  <a:cxn ang="0">
                    <a:pos x="141" y="55"/>
                  </a:cxn>
                  <a:cxn ang="0">
                    <a:pos x="146" y="60"/>
                  </a:cxn>
                  <a:cxn ang="0">
                    <a:pos x="146" y="65"/>
                  </a:cxn>
                  <a:cxn ang="0">
                    <a:pos x="148" y="71"/>
                  </a:cxn>
                  <a:cxn ang="0">
                    <a:pos x="153" y="78"/>
                  </a:cxn>
                  <a:cxn ang="0">
                    <a:pos x="158" y="83"/>
                  </a:cxn>
                  <a:cxn ang="0">
                    <a:pos x="160" y="86"/>
                  </a:cxn>
                  <a:cxn ang="0">
                    <a:pos x="173" y="101"/>
                  </a:cxn>
                  <a:cxn ang="0">
                    <a:pos x="201" y="109"/>
                  </a:cxn>
                  <a:cxn ang="0">
                    <a:pos x="74" y="168"/>
                  </a:cxn>
                  <a:cxn ang="0">
                    <a:pos x="77" y="171"/>
                  </a:cxn>
                  <a:cxn ang="0">
                    <a:pos x="75" y="166"/>
                  </a:cxn>
                  <a:cxn ang="0">
                    <a:pos x="75" y="168"/>
                  </a:cxn>
                  <a:cxn ang="0">
                    <a:pos x="75" y="166"/>
                  </a:cxn>
                </a:cxnLst>
                <a:rect l="0" t="0" r="r" b="b"/>
                <a:pathLst>
                  <a:path w="203" h="173">
                    <a:moveTo>
                      <a:pt x="202" y="114"/>
                    </a:moveTo>
                    <a:cubicBezTo>
                      <a:pt x="202" y="116"/>
                      <a:pt x="202" y="118"/>
                      <a:pt x="201" y="120"/>
                    </a:cubicBezTo>
                    <a:cubicBezTo>
                      <a:pt x="201" y="122"/>
                      <a:pt x="201" y="124"/>
                      <a:pt x="200" y="126"/>
                    </a:cubicBezTo>
                    <a:cubicBezTo>
                      <a:pt x="200" y="128"/>
                      <a:pt x="199" y="130"/>
                      <a:pt x="199" y="132"/>
                    </a:cubicBezTo>
                    <a:cubicBezTo>
                      <a:pt x="199" y="132"/>
                      <a:pt x="199" y="133"/>
                      <a:pt x="199" y="133"/>
                    </a:cubicBezTo>
                    <a:cubicBezTo>
                      <a:pt x="198" y="134"/>
                      <a:pt x="197" y="134"/>
                      <a:pt x="196" y="134"/>
                    </a:cubicBezTo>
                    <a:cubicBezTo>
                      <a:pt x="194" y="135"/>
                      <a:pt x="192" y="136"/>
                      <a:pt x="190" y="137"/>
                    </a:cubicBezTo>
                    <a:cubicBezTo>
                      <a:pt x="186" y="138"/>
                      <a:pt x="182" y="140"/>
                      <a:pt x="178" y="141"/>
                    </a:cubicBezTo>
                    <a:cubicBezTo>
                      <a:pt x="175" y="143"/>
                      <a:pt x="171" y="144"/>
                      <a:pt x="167" y="145"/>
                    </a:cubicBezTo>
                    <a:cubicBezTo>
                      <a:pt x="163" y="146"/>
                      <a:pt x="159" y="147"/>
                      <a:pt x="155" y="147"/>
                    </a:cubicBezTo>
                    <a:cubicBezTo>
                      <a:pt x="153" y="148"/>
                      <a:pt x="151" y="148"/>
                      <a:pt x="149" y="148"/>
                    </a:cubicBezTo>
                    <a:cubicBezTo>
                      <a:pt x="147" y="148"/>
                      <a:pt x="145" y="148"/>
                      <a:pt x="143" y="149"/>
                    </a:cubicBezTo>
                    <a:cubicBezTo>
                      <a:pt x="142" y="149"/>
                      <a:pt x="140" y="151"/>
                      <a:pt x="138" y="152"/>
                    </a:cubicBezTo>
                    <a:cubicBezTo>
                      <a:pt x="137" y="152"/>
                      <a:pt x="135" y="153"/>
                      <a:pt x="134" y="154"/>
                    </a:cubicBezTo>
                    <a:cubicBezTo>
                      <a:pt x="133" y="155"/>
                      <a:pt x="133" y="157"/>
                      <a:pt x="132" y="158"/>
                    </a:cubicBezTo>
                    <a:cubicBezTo>
                      <a:pt x="131" y="160"/>
                      <a:pt x="130" y="162"/>
                      <a:pt x="129" y="163"/>
                    </a:cubicBezTo>
                    <a:cubicBezTo>
                      <a:pt x="129" y="164"/>
                      <a:pt x="128" y="165"/>
                      <a:pt x="127" y="166"/>
                    </a:cubicBezTo>
                    <a:cubicBezTo>
                      <a:pt x="126" y="167"/>
                      <a:pt x="125" y="168"/>
                      <a:pt x="123" y="166"/>
                    </a:cubicBezTo>
                    <a:cubicBezTo>
                      <a:pt x="122" y="166"/>
                      <a:pt x="121" y="164"/>
                      <a:pt x="120" y="164"/>
                    </a:cubicBezTo>
                    <a:cubicBezTo>
                      <a:pt x="119" y="164"/>
                      <a:pt x="118" y="164"/>
                      <a:pt x="118" y="164"/>
                    </a:cubicBezTo>
                    <a:cubicBezTo>
                      <a:pt x="117" y="164"/>
                      <a:pt x="115" y="164"/>
                      <a:pt x="114" y="163"/>
                    </a:cubicBezTo>
                    <a:cubicBezTo>
                      <a:pt x="112" y="163"/>
                      <a:pt x="110" y="163"/>
                      <a:pt x="109" y="162"/>
                    </a:cubicBezTo>
                    <a:cubicBezTo>
                      <a:pt x="107" y="162"/>
                      <a:pt x="105" y="162"/>
                      <a:pt x="103" y="162"/>
                    </a:cubicBezTo>
                    <a:cubicBezTo>
                      <a:pt x="101" y="162"/>
                      <a:pt x="99" y="162"/>
                      <a:pt x="97" y="162"/>
                    </a:cubicBezTo>
                    <a:cubicBezTo>
                      <a:pt x="97" y="162"/>
                      <a:pt x="97" y="162"/>
                      <a:pt x="96" y="163"/>
                    </a:cubicBezTo>
                    <a:cubicBezTo>
                      <a:pt x="96" y="163"/>
                      <a:pt x="96" y="163"/>
                      <a:pt x="96" y="162"/>
                    </a:cubicBezTo>
                    <a:cubicBezTo>
                      <a:pt x="95" y="162"/>
                      <a:pt x="95" y="163"/>
                      <a:pt x="95" y="163"/>
                    </a:cubicBezTo>
                    <a:cubicBezTo>
                      <a:pt x="94" y="163"/>
                      <a:pt x="95" y="163"/>
                      <a:pt x="94" y="163"/>
                    </a:cubicBezTo>
                    <a:cubicBezTo>
                      <a:pt x="94" y="162"/>
                      <a:pt x="93" y="163"/>
                      <a:pt x="93" y="163"/>
                    </a:cubicBezTo>
                    <a:cubicBezTo>
                      <a:pt x="92" y="162"/>
                      <a:pt x="92" y="162"/>
                      <a:pt x="91" y="161"/>
                    </a:cubicBezTo>
                    <a:cubicBezTo>
                      <a:pt x="91" y="161"/>
                      <a:pt x="90" y="161"/>
                      <a:pt x="89" y="161"/>
                    </a:cubicBezTo>
                    <a:cubicBezTo>
                      <a:pt x="88" y="161"/>
                      <a:pt x="88" y="162"/>
                      <a:pt x="88" y="162"/>
                    </a:cubicBezTo>
                    <a:cubicBezTo>
                      <a:pt x="87" y="163"/>
                      <a:pt x="88" y="163"/>
                      <a:pt x="88" y="163"/>
                    </a:cubicBezTo>
                    <a:cubicBezTo>
                      <a:pt x="88" y="163"/>
                      <a:pt x="88" y="164"/>
                      <a:pt x="88" y="164"/>
                    </a:cubicBezTo>
                    <a:cubicBezTo>
                      <a:pt x="87" y="164"/>
                      <a:pt x="87" y="165"/>
                      <a:pt x="87" y="166"/>
                    </a:cubicBezTo>
                    <a:cubicBezTo>
                      <a:pt x="87" y="167"/>
                      <a:pt x="87" y="168"/>
                      <a:pt x="88" y="168"/>
                    </a:cubicBezTo>
                    <a:cubicBezTo>
                      <a:pt x="88" y="169"/>
                      <a:pt x="87" y="169"/>
                      <a:pt x="88" y="170"/>
                    </a:cubicBezTo>
                    <a:cubicBezTo>
                      <a:pt x="88" y="170"/>
                      <a:pt x="87" y="170"/>
                      <a:pt x="87" y="170"/>
                    </a:cubicBezTo>
                    <a:cubicBezTo>
                      <a:pt x="86" y="171"/>
                      <a:pt x="87" y="171"/>
                      <a:pt x="86" y="172"/>
                    </a:cubicBezTo>
                    <a:cubicBezTo>
                      <a:pt x="85" y="172"/>
                      <a:pt x="85" y="173"/>
                      <a:pt x="84" y="173"/>
                    </a:cubicBezTo>
                    <a:cubicBezTo>
                      <a:pt x="84" y="173"/>
                      <a:pt x="84" y="173"/>
                      <a:pt x="84" y="172"/>
                    </a:cubicBezTo>
                    <a:cubicBezTo>
                      <a:pt x="83" y="172"/>
                      <a:pt x="83" y="171"/>
                      <a:pt x="83" y="171"/>
                    </a:cubicBezTo>
                    <a:cubicBezTo>
                      <a:pt x="83" y="169"/>
                      <a:pt x="82" y="169"/>
                      <a:pt x="82" y="168"/>
                    </a:cubicBezTo>
                    <a:cubicBezTo>
                      <a:pt x="81" y="167"/>
                      <a:pt x="82" y="167"/>
                      <a:pt x="81" y="166"/>
                    </a:cubicBezTo>
                    <a:cubicBezTo>
                      <a:pt x="80" y="166"/>
                      <a:pt x="80" y="166"/>
                      <a:pt x="80" y="165"/>
                    </a:cubicBezTo>
                    <a:cubicBezTo>
                      <a:pt x="80" y="165"/>
                      <a:pt x="80" y="164"/>
                      <a:pt x="79" y="164"/>
                    </a:cubicBezTo>
                    <a:cubicBezTo>
                      <a:pt x="79" y="165"/>
                      <a:pt x="80" y="166"/>
                      <a:pt x="80" y="166"/>
                    </a:cubicBezTo>
                    <a:cubicBezTo>
                      <a:pt x="80" y="166"/>
                      <a:pt x="79" y="164"/>
                      <a:pt x="79" y="164"/>
                    </a:cubicBezTo>
                    <a:cubicBezTo>
                      <a:pt x="79" y="163"/>
                      <a:pt x="79" y="162"/>
                      <a:pt x="79" y="161"/>
                    </a:cubicBezTo>
                    <a:cubicBezTo>
                      <a:pt x="78" y="160"/>
                      <a:pt x="76" y="159"/>
                      <a:pt x="75" y="158"/>
                    </a:cubicBezTo>
                    <a:cubicBezTo>
                      <a:pt x="75" y="158"/>
                      <a:pt x="75" y="158"/>
                      <a:pt x="75" y="158"/>
                    </a:cubicBezTo>
                    <a:cubicBezTo>
                      <a:pt x="74" y="157"/>
                      <a:pt x="74" y="157"/>
                      <a:pt x="74" y="157"/>
                    </a:cubicBezTo>
                    <a:cubicBezTo>
                      <a:pt x="73" y="157"/>
                      <a:pt x="73" y="156"/>
                      <a:pt x="72" y="155"/>
                    </a:cubicBezTo>
                    <a:cubicBezTo>
                      <a:pt x="72" y="155"/>
                      <a:pt x="72" y="154"/>
                      <a:pt x="71" y="154"/>
                    </a:cubicBezTo>
                    <a:cubicBezTo>
                      <a:pt x="71" y="154"/>
                      <a:pt x="71" y="153"/>
                      <a:pt x="71" y="153"/>
                    </a:cubicBezTo>
                    <a:cubicBezTo>
                      <a:pt x="71" y="153"/>
                      <a:pt x="71" y="153"/>
                      <a:pt x="71" y="152"/>
                    </a:cubicBezTo>
                    <a:cubicBezTo>
                      <a:pt x="70" y="152"/>
                      <a:pt x="70" y="151"/>
                      <a:pt x="70" y="150"/>
                    </a:cubicBezTo>
                    <a:cubicBezTo>
                      <a:pt x="69" y="149"/>
                      <a:pt x="69" y="149"/>
                      <a:pt x="68" y="149"/>
                    </a:cubicBezTo>
                    <a:cubicBezTo>
                      <a:pt x="68" y="148"/>
                      <a:pt x="68" y="147"/>
                      <a:pt x="68" y="147"/>
                    </a:cubicBezTo>
                    <a:cubicBezTo>
                      <a:pt x="68" y="146"/>
                      <a:pt x="67" y="146"/>
                      <a:pt x="67" y="144"/>
                    </a:cubicBezTo>
                    <a:cubicBezTo>
                      <a:pt x="67" y="143"/>
                      <a:pt x="67" y="144"/>
                      <a:pt x="66" y="143"/>
                    </a:cubicBezTo>
                    <a:cubicBezTo>
                      <a:pt x="66" y="143"/>
                      <a:pt x="66" y="142"/>
                      <a:pt x="65" y="141"/>
                    </a:cubicBezTo>
                    <a:cubicBezTo>
                      <a:pt x="65" y="141"/>
                      <a:pt x="65" y="140"/>
                      <a:pt x="65" y="139"/>
                    </a:cubicBezTo>
                    <a:cubicBezTo>
                      <a:pt x="65" y="139"/>
                      <a:pt x="63" y="138"/>
                      <a:pt x="63" y="138"/>
                    </a:cubicBezTo>
                    <a:cubicBezTo>
                      <a:pt x="63" y="138"/>
                      <a:pt x="63" y="138"/>
                      <a:pt x="63" y="138"/>
                    </a:cubicBezTo>
                    <a:cubicBezTo>
                      <a:pt x="63" y="137"/>
                      <a:pt x="63" y="136"/>
                      <a:pt x="63" y="136"/>
                    </a:cubicBezTo>
                    <a:cubicBezTo>
                      <a:pt x="63" y="136"/>
                      <a:pt x="62" y="135"/>
                      <a:pt x="62" y="136"/>
                    </a:cubicBezTo>
                    <a:cubicBezTo>
                      <a:pt x="62" y="136"/>
                      <a:pt x="61" y="135"/>
                      <a:pt x="61" y="134"/>
                    </a:cubicBezTo>
                    <a:cubicBezTo>
                      <a:pt x="61" y="134"/>
                      <a:pt x="59" y="133"/>
                      <a:pt x="59" y="133"/>
                    </a:cubicBezTo>
                    <a:cubicBezTo>
                      <a:pt x="58" y="132"/>
                      <a:pt x="58" y="132"/>
                      <a:pt x="58" y="132"/>
                    </a:cubicBezTo>
                    <a:cubicBezTo>
                      <a:pt x="58" y="131"/>
                      <a:pt x="57" y="131"/>
                      <a:pt x="57" y="131"/>
                    </a:cubicBezTo>
                    <a:cubicBezTo>
                      <a:pt x="56" y="130"/>
                      <a:pt x="55" y="130"/>
                      <a:pt x="54" y="130"/>
                    </a:cubicBezTo>
                    <a:cubicBezTo>
                      <a:pt x="55" y="130"/>
                      <a:pt x="55" y="130"/>
                      <a:pt x="55" y="131"/>
                    </a:cubicBezTo>
                    <a:cubicBezTo>
                      <a:pt x="54" y="130"/>
                      <a:pt x="52" y="129"/>
                      <a:pt x="52" y="128"/>
                    </a:cubicBezTo>
                    <a:cubicBezTo>
                      <a:pt x="51" y="127"/>
                      <a:pt x="51" y="127"/>
                      <a:pt x="51" y="127"/>
                    </a:cubicBezTo>
                    <a:cubicBezTo>
                      <a:pt x="51" y="126"/>
                      <a:pt x="51" y="125"/>
                      <a:pt x="50" y="125"/>
                    </a:cubicBezTo>
                    <a:cubicBezTo>
                      <a:pt x="50" y="126"/>
                      <a:pt x="50" y="125"/>
                      <a:pt x="50" y="125"/>
                    </a:cubicBezTo>
                    <a:cubicBezTo>
                      <a:pt x="50" y="125"/>
                      <a:pt x="50" y="124"/>
                      <a:pt x="49" y="124"/>
                    </a:cubicBezTo>
                    <a:cubicBezTo>
                      <a:pt x="49" y="124"/>
                      <a:pt x="48" y="124"/>
                      <a:pt x="49" y="124"/>
                    </a:cubicBezTo>
                    <a:cubicBezTo>
                      <a:pt x="49" y="123"/>
                      <a:pt x="49" y="123"/>
                      <a:pt x="48" y="123"/>
                    </a:cubicBezTo>
                    <a:cubicBezTo>
                      <a:pt x="48" y="123"/>
                      <a:pt x="48" y="123"/>
                      <a:pt x="48" y="122"/>
                    </a:cubicBezTo>
                    <a:cubicBezTo>
                      <a:pt x="48" y="122"/>
                      <a:pt x="47" y="122"/>
                      <a:pt x="47" y="121"/>
                    </a:cubicBezTo>
                    <a:cubicBezTo>
                      <a:pt x="47" y="121"/>
                      <a:pt x="47" y="120"/>
                      <a:pt x="47" y="120"/>
                    </a:cubicBezTo>
                    <a:cubicBezTo>
                      <a:pt x="46" y="119"/>
                      <a:pt x="46" y="119"/>
                      <a:pt x="47" y="118"/>
                    </a:cubicBezTo>
                    <a:cubicBezTo>
                      <a:pt x="47" y="118"/>
                      <a:pt x="47" y="117"/>
                      <a:pt x="47" y="117"/>
                    </a:cubicBezTo>
                    <a:cubicBezTo>
                      <a:pt x="47" y="117"/>
                      <a:pt x="47" y="117"/>
                      <a:pt x="46" y="117"/>
                    </a:cubicBezTo>
                    <a:cubicBezTo>
                      <a:pt x="46" y="117"/>
                      <a:pt x="46" y="114"/>
                      <a:pt x="46" y="114"/>
                    </a:cubicBezTo>
                    <a:cubicBezTo>
                      <a:pt x="46" y="115"/>
                      <a:pt x="45" y="113"/>
                      <a:pt x="45" y="112"/>
                    </a:cubicBezTo>
                    <a:cubicBezTo>
                      <a:pt x="45" y="112"/>
                      <a:pt x="45" y="113"/>
                      <a:pt x="45" y="113"/>
                    </a:cubicBezTo>
                    <a:cubicBezTo>
                      <a:pt x="45" y="113"/>
                      <a:pt x="45" y="112"/>
                      <a:pt x="45" y="111"/>
                    </a:cubicBezTo>
                    <a:cubicBezTo>
                      <a:pt x="45" y="111"/>
                      <a:pt x="45" y="110"/>
                      <a:pt x="45" y="110"/>
                    </a:cubicBezTo>
                    <a:cubicBezTo>
                      <a:pt x="45" y="110"/>
                      <a:pt x="45" y="110"/>
                      <a:pt x="45" y="110"/>
                    </a:cubicBezTo>
                    <a:cubicBezTo>
                      <a:pt x="45" y="109"/>
                      <a:pt x="45" y="109"/>
                      <a:pt x="46" y="108"/>
                    </a:cubicBezTo>
                    <a:cubicBezTo>
                      <a:pt x="46" y="108"/>
                      <a:pt x="46" y="107"/>
                      <a:pt x="46" y="107"/>
                    </a:cubicBezTo>
                    <a:cubicBezTo>
                      <a:pt x="46" y="107"/>
                      <a:pt x="46" y="107"/>
                      <a:pt x="46" y="107"/>
                    </a:cubicBezTo>
                    <a:cubicBezTo>
                      <a:pt x="45" y="107"/>
                      <a:pt x="46" y="106"/>
                      <a:pt x="45" y="106"/>
                    </a:cubicBezTo>
                    <a:cubicBezTo>
                      <a:pt x="45" y="105"/>
                      <a:pt x="45" y="105"/>
                      <a:pt x="45" y="104"/>
                    </a:cubicBezTo>
                    <a:cubicBezTo>
                      <a:pt x="45" y="104"/>
                      <a:pt x="44" y="104"/>
                      <a:pt x="45" y="103"/>
                    </a:cubicBezTo>
                    <a:cubicBezTo>
                      <a:pt x="45" y="103"/>
                      <a:pt x="44" y="102"/>
                      <a:pt x="44" y="102"/>
                    </a:cubicBezTo>
                    <a:cubicBezTo>
                      <a:pt x="44" y="103"/>
                      <a:pt x="44" y="103"/>
                      <a:pt x="44" y="103"/>
                    </a:cubicBezTo>
                    <a:cubicBezTo>
                      <a:pt x="44" y="103"/>
                      <a:pt x="43" y="102"/>
                      <a:pt x="43" y="101"/>
                    </a:cubicBezTo>
                    <a:cubicBezTo>
                      <a:pt x="44" y="101"/>
                      <a:pt x="44" y="102"/>
                      <a:pt x="44" y="102"/>
                    </a:cubicBezTo>
                    <a:cubicBezTo>
                      <a:pt x="44" y="103"/>
                      <a:pt x="44" y="102"/>
                      <a:pt x="44" y="102"/>
                    </a:cubicBezTo>
                    <a:cubicBezTo>
                      <a:pt x="44" y="101"/>
                      <a:pt x="43" y="101"/>
                      <a:pt x="43" y="101"/>
                    </a:cubicBezTo>
                    <a:cubicBezTo>
                      <a:pt x="42" y="101"/>
                      <a:pt x="43" y="100"/>
                      <a:pt x="43" y="99"/>
                    </a:cubicBezTo>
                    <a:cubicBezTo>
                      <a:pt x="43" y="98"/>
                      <a:pt x="42" y="98"/>
                      <a:pt x="41" y="97"/>
                    </a:cubicBezTo>
                    <a:cubicBezTo>
                      <a:pt x="41" y="97"/>
                      <a:pt x="41" y="94"/>
                      <a:pt x="40" y="94"/>
                    </a:cubicBezTo>
                    <a:cubicBezTo>
                      <a:pt x="40" y="94"/>
                      <a:pt x="40" y="95"/>
                      <a:pt x="40" y="95"/>
                    </a:cubicBezTo>
                    <a:cubicBezTo>
                      <a:pt x="40" y="95"/>
                      <a:pt x="39" y="92"/>
                      <a:pt x="39" y="92"/>
                    </a:cubicBezTo>
                    <a:cubicBezTo>
                      <a:pt x="38" y="91"/>
                      <a:pt x="38" y="91"/>
                      <a:pt x="37" y="91"/>
                    </a:cubicBezTo>
                    <a:cubicBezTo>
                      <a:pt x="37" y="90"/>
                      <a:pt x="36" y="90"/>
                      <a:pt x="36" y="89"/>
                    </a:cubicBezTo>
                    <a:cubicBezTo>
                      <a:pt x="35" y="89"/>
                      <a:pt x="34" y="88"/>
                      <a:pt x="34" y="88"/>
                    </a:cubicBezTo>
                    <a:cubicBezTo>
                      <a:pt x="34" y="88"/>
                      <a:pt x="34" y="88"/>
                      <a:pt x="34" y="88"/>
                    </a:cubicBezTo>
                    <a:cubicBezTo>
                      <a:pt x="34" y="88"/>
                      <a:pt x="34" y="87"/>
                      <a:pt x="34" y="87"/>
                    </a:cubicBezTo>
                    <a:cubicBezTo>
                      <a:pt x="33" y="87"/>
                      <a:pt x="34" y="88"/>
                      <a:pt x="33" y="88"/>
                    </a:cubicBezTo>
                    <a:cubicBezTo>
                      <a:pt x="33" y="88"/>
                      <a:pt x="32" y="87"/>
                      <a:pt x="32" y="87"/>
                    </a:cubicBezTo>
                    <a:cubicBezTo>
                      <a:pt x="32" y="86"/>
                      <a:pt x="31" y="86"/>
                      <a:pt x="31" y="87"/>
                    </a:cubicBezTo>
                    <a:cubicBezTo>
                      <a:pt x="31" y="87"/>
                      <a:pt x="29" y="86"/>
                      <a:pt x="29" y="86"/>
                    </a:cubicBezTo>
                    <a:cubicBezTo>
                      <a:pt x="29" y="85"/>
                      <a:pt x="29" y="85"/>
                      <a:pt x="29" y="85"/>
                    </a:cubicBezTo>
                    <a:cubicBezTo>
                      <a:pt x="29" y="84"/>
                      <a:pt x="28" y="84"/>
                      <a:pt x="28" y="83"/>
                    </a:cubicBezTo>
                    <a:cubicBezTo>
                      <a:pt x="28" y="82"/>
                      <a:pt x="27" y="81"/>
                      <a:pt x="26" y="81"/>
                    </a:cubicBezTo>
                    <a:cubicBezTo>
                      <a:pt x="26" y="80"/>
                      <a:pt x="26" y="80"/>
                      <a:pt x="27" y="80"/>
                    </a:cubicBezTo>
                    <a:cubicBezTo>
                      <a:pt x="27" y="80"/>
                      <a:pt x="27" y="80"/>
                      <a:pt x="27" y="79"/>
                    </a:cubicBezTo>
                    <a:cubicBezTo>
                      <a:pt x="27" y="78"/>
                      <a:pt x="27" y="77"/>
                      <a:pt x="26" y="76"/>
                    </a:cubicBezTo>
                    <a:cubicBezTo>
                      <a:pt x="26" y="76"/>
                      <a:pt x="26" y="76"/>
                      <a:pt x="25" y="75"/>
                    </a:cubicBezTo>
                    <a:cubicBezTo>
                      <a:pt x="25" y="75"/>
                      <a:pt x="25" y="74"/>
                      <a:pt x="25" y="73"/>
                    </a:cubicBezTo>
                    <a:cubicBezTo>
                      <a:pt x="24" y="73"/>
                      <a:pt x="24" y="72"/>
                      <a:pt x="24" y="72"/>
                    </a:cubicBezTo>
                    <a:cubicBezTo>
                      <a:pt x="23" y="72"/>
                      <a:pt x="22" y="70"/>
                      <a:pt x="22" y="70"/>
                    </a:cubicBezTo>
                    <a:cubicBezTo>
                      <a:pt x="22" y="70"/>
                      <a:pt x="22" y="71"/>
                      <a:pt x="22" y="71"/>
                    </a:cubicBezTo>
                    <a:cubicBezTo>
                      <a:pt x="22" y="71"/>
                      <a:pt x="21" y="70"/>
                      <a:pt x="21" y="70"/>
                    </a:cubicBezTo>
                    <a:cubicBezTo>
                      <a:pt x="21" y="69"/>
                      <a:pt x="21" y="69"/>
                      <a:pt x="21" y="68"/>
                    </a:cubicBezTo>
                    <a:cubicBezTo>
                      <a:pt x="22" y="67"/>
                      <a:pt x="20" y="67"/>
                      <a:pt x="19" y="66"/>
                    </a:cubicBezTo>
                    <a:cubicBezTo>
                      <a:pt x="18" y="65"/>
                      <a:pt x="18" y="63"/>
                      <a:pt x="17" y="62"/>
                    </a:cubicBezTo>
                    <a:cubicBezTo>
                      <a:pt x="16" y="61"/>
                      <a:pt x="16" y="60"/>
                      <a:pt x="15" y="60"/>
                    </a:cubicBezTo>
                    <a:cubicBezTo>
                      <a:pt x="15" y="59"/>
                      <a:pt x="15" y="58"/>
                      <a:pt x="14" y="58"/>
                    </a:cubicBezTo>
                    <a:cubicBezTo>
                      <a:pt x="14" y="57"/>
                      <a:pt x="13" y="57"/>
                      <a:pt x="13" y="56"/>
                    </a:cubicBezTo>
                    <a:cubicBezTo>
                      <a:pt x="12" y="55"/>
                      <a:pt x="12" y="55"/>
                      <a:pt x="12" y="54"/>
                    </a:cubicBezTo>
                    <a:cubicBezTo>
                      <a:pt x="11" y="53"/>
                      <a:pt x="9" y="52"/>
                      <a:pt x="9" y="51"/>
                    </a:cubicBezTo>
                    <a:cubicBezTo>
                      <a:pt x="9" y="50"/>
                      <a:pt x="9" y="50"/>
                      <a:pt x="9" y="50"/>
                    </a:cubicBezTo>
                    <a:cubicBezTo>
                      <a:pt x="8" y="49"/>
                      <a:pt x="8" y="49"/>
                      <a:pt x="8" y="49"/>
                    </a:cubicBezTo>
                    <a:cubicBezTo>
                      <a:pt x="8" y="48"/>
                      <a:pt x="7" y="47"/>
                      <a:pt x="7" y="47"/>
                    </a:cubicBezTo>
                    <a:cubicBezTo>
                      <a:pt x="6" y="46"/>
                      <a:pt x="6" y="46"/>
                      <a:pt x="6" y="46"/>
                    </a:cubicBezTo>
                    <a:cubicBezTo>
                      <a:pt x="5" y="45"/>
                      <a:pt x="6" y="45"/>
                      <a:pt x="6" y="45"/>
                    </a:cubicBezTo>
                    <a:cubicBezTo>
                      <a:pt x="6" y="45"/>
                      <a:pt x="5" y="45"/>
                      <a:pt x="5" y="45"/>
                    </a:cubicBezTo>
                    <a:cubicBezTo>
                      <a:pt x="5" y="45"/>
                      <a:pt x="4" y="44"/>
                      <a:pt x="4" y="44"/>
                    </a:cubicBezTo>
                    <a:cubicBezTo>
                      <a:pt x="4" y="44"/>
                      <a:pt x="3" y="44"/>
                      <a:pt x="3" y="44"/>
                    </a:cubicBezTo>
                    <a:cubicBezTo>
                      <a:pt x="3" y="45"/>
                      <a:pt x="3" y="45"/>
                      <a:pt x="3" y="45"/>
                    </a:cubicBezTo>
                    <a:cubicBezTo>
                      <a:pt x="3" y="45"/>
                      <a:pt x="2" y="45"/>
                      <a:pt x="2" y="44"/>
                    </a:cubicBezTo>
                    <a:cubicBezTo>
                      <a:pt x="2" y="44"/>
                      <a:pt x="2" y="45"/>
                      <a:pt x="2" y="45"/>
                    </a:cubicBezTo>
                    <a:cubicBezTo>
                      <a:pt x="2" y="45"/>
                      <a:pt x="2" y="44"/>
                      <a:pt x="2" y="44"/>
                    </a:cubicBezTo>
                    <a:cubicBezTo>
                      <a:pt x="2" y="44"/>
                      <a:pt x="1" y="45"/>
                      <a:pt x="1" y="44"/>
                    </a:cubicBezTo>
                    <a:cubicBezTo>
                      <a:pt x="1" y="44"/>
                      <a:pt x="0" y="45"/>
                      <a:pt x="0" y="45"/>
                    </a:cubicBezTo>
                    <a:cubicBezTo>
                      <a:pt x="0" y="45"/>
                      <a:pt x="0" y="44"/>
                      <a:pt x="0" y="45"/>
                    </a:cubicBezTo>
                    <a:cubicBezTo>
                      <a:pt x="0" y="44"/>
                      <a:pt x="0" y="44"/>
                      <a:pt x="0" y="44"/>
                    </a:cubicBezTo>
                    <a:cubicBezTo>
                      <a:pt x="1" y="44"/>
                      <a:pt x="1" y="42"/>
                      <a:pt x="1" y="42"/>
                    </a:cubicBezTo>
                    <a:cubicBezTo>
                      <a:pt x="1" y="41"/>
                      <a:pt x="2" y="40"/>
                      <a:pt x="1" y="39"/>
                    </a:cubicBezTo>
                    <a:cubicBezTo>
                      <a:pt x="1" y="38"/>
                      <a:pt x="2" y="36"/>
                      <a:pt x="2" y="35"/>
                    </a:cubicBezTo>
                    <a:cubicBezTo>
                      <a:pt x="2" y="35"/>
                      <a:pt x="2" y="34"/>
                      <a:pt x="2" y="34"/>
                    </a:cubicBezTo>
                    <a:cubicBezTo>
                      <a:pt x="2" y="33"/>
                      <a:pt x="2" y="33"/>
                      <a:pt x="2" y="32"/>
                    </a:cubicBezTo>
                    <a:cubicBezTo>
                      <a:pt x="2" y="32"/>
                      <a:pt x="3" y="31"/>
                      <a:pt x="2" y="31"/>
                    </a:cubicBezTo>
                    <a:cubicBezTo>
                      <a:pt x="2" y="30"/>
                      <a:pt x="4" y="31"/>
                      <a:pt x="4" y="31"/>
                    </a:cubicBezTo>
                    <a:cubicBezTo>
                      <a:pt x="6" y="31"/>
                      <a:pt x="7" y="31"/>
                      <a:pt x="8" y="32"/>
                    </a:cubicBezTo>
                    <a:cubicBezTo>
                      <a:pt x="9" y="32"/>
                      <a:pt x="11" y="32"/>
                      <a:pt x="12" y="32"/>
                    </a:cubicBezTo>
                    <a:cubicBezTo>
                      <a:pt x="13" y="33"/>
                      <a:pt x="14" y="32"/>
                      <a:pt x="14" y="31"/>
                    </a:cubicBezTo>
                    <a:cubicBezTo>
                      <a:pt x="15" y="30"/>
                      <a:pt x="16" y="30"/>
                      <a:pt x="17" y="29"/>
                    </a:cubicBezTo>
                    <a:cubicBezTo>
                      <a:pt x="18" y="28"/>
                      <a:pt x="18" y="27"/>
                      <a:pt x="19" y="26"/>
                    </a:cubicBezTo>
                    <a:cubicBezTo>
                      <a:pt x="19" y="25"/>
                      <a:pt x="20" y="25"/>
                      <a:pt x="21" y="24"/>
                    </a:cubicBezTo>
                    <a:cubicBezTo>
                      <a:pt x="22" y="24"/>
                      <a:pt x="24" y="24"/>
                      <a:pt x="25" y="24"/>
                    </a:cubicBezTo>
                    <a:cubicBezTo>
                      <a:pt x="26" y="24"/>
                      <a:pt x="26" y="23"/>
                      <a:pt x="26" y="22"/>
                    </a:cubicBezTo>
                    <a:cubicBezTo>
                      <a:pt x="27" y="21"/>
                      <a:pt x="27" y="20"/>
                      <a:pt x="27" y="20"/>
                    </a:cubicBezTo>
                    <a:cubicBezTo>
                      <a:pt x="28" y="19"/>
                      <a:pt x="29" y="19"/>
                      <a:pt x="30" y="18"/>
                    </a:cubicBezTo>
                    <a:cubicBezTo>
                      <a:pt x="28" y="16"/>
                      <a:pt x="27" y="14"/>
                      <a:pt x="25" y="12"/>
                    </a:cubicBezTo>
                    <a:cubicBezTo>
                      <a:pt x="23" y="11"/>
                      <a:pt x="21" y="9"/>
                      <a:pt x="20" y="7"/>
                    </a:cubicBezTo>
                    <a:cubicBezTo>
                      <a:pt x="23" y="6"/>
                      <a:pt x="27" y="5"/>
                      <a:pt x="30" y="4"/>
                    </a:cubicBezTo>
                    <a:cubicBezTo>
                      <a:pt x="33" y="3"/>
                      <a:pt x="37" y="2"/>
                      <a:pt x="39" y="0"/>
                    </a:cubicBezTo>
                    <a:cubicBezTo>
                      <a:pt x="41" y="0"/>
                      <a:pt x="43" y="1"/>
                      <a:pt x="45" y="1"/>
                    </a:cubicBezTo>
                    <a:cubicBezTo>
                      <a:pt x="47" y="1"/>
                      <a:pt x="49" y="2"/>
                      <a:pt x="51" y="2"/>
                    </a:cubicBezTo>
                    <a:cubicBezTo>
                      <a:pt x="53" y="3"/>
                      <a:pt x="54" y="4"/>
                      <a:pt x="56" y="5"/>
                    </a:cubicBezTo>
                    <a:cubicBezTo>
                      <a:pt x="57" y="6"/>
                      <a:pt x="59" y="7"/>
                      <a:pt x="61" y="8"/>
                    </a:cubicBezTo>
                    <a:cubicBezTo>
                      <a:pt x="62" y="9"/>
                      <a:pt x="64" y="10"/>
                      <a:pt x="66" y="11"/>
                    </a:cubicBezTo>
                    <a:cubicBezTo>
                      <a:pt x="67" y="12"/>
                      <a:pt x="69" y="13"/>
                      <a:pt x="70" y="14"/>
                    </a:cubicBezTo>
                    <a:cubicBezTo>
                      <a:pt x="71" y="15"/>
                      <a:pt x="73" y="16"/>
                      <a:pt x="74" y="17"/>
                    </a:cubicBezTo>
                    <a:cubicBezTo>
                      <a:pt x="76" y="18"/>
                      <a:pt x="77" y="20"/>
                      <a:pt x="79" y="21"/>
                    </a:cubicBezTo>
                    <a:cubicBezTo>
                      <a:pt x="81" y="22"/>
                      <a:pt x="82" y="23"/>
                      <a:pt x="84" y="25"/>
                    </a:cubicBezTo>
                    <a:cubicBezTo>
                      <a:pt x="86" y="26"/>
                      <a:pt x="87" y="27"/>
                      <a:pt x="89" y="29"/>
                    </a:cubicBezTo>
                    <a:cubicBezTo>
                      <a:pt x="91" y="30"/>
                      <a:pt x="92" y="31"/>
                      <a:pt x="93" y="32"/>
                    </a:cubicBezTo>
                    <a:cubicBezTo>
                      <a:pt x="94" y="32"/>
                      <a:pt x="95" y="32"/>
                      <a:pt x="96" y="32"/>
                    </a:cubicBezTo>
                    <a:cubicBezTo>
                      <a:pt x="97" y="33"/>
                      <a:pt x="98" y="33"/>
                      <a:pt x="99" y="33"/>
                    </a:cubicBezTo>
                    <a:cubicBezTo>
                      <a:pt x="101" y="33"/>
                      <a:pt x="103" y="33"/>
                      <a:pt x="105" y="33"/>
                    </a:cubicBezTo>
                    <a:cubicBezTo>
                      <a:pt x="107" y="34"/>
                      <a:pt x="109" y="34"/>
                      <a:pt x="110" y="34"/>
                    </a:cubicBezTo>
                    <a:cubicBezTo>
                      <a:pt x="112" y="33"/>
                      <a:pt x="114" y="34"/>
                      <a:pt x="115" y="34"/>
                    </a:cubicBezTo>
                    <a:cubicBezTo>
                      <a:pt x="116" y="34"/>
                      <a:pt x="119" y="34"/>
                      <a:pt x="120" y="35"/>
                    </a:cubicBezTo>
                    <a:cubicBezTo>
                      <a:pt x="120" y="35"/>
                      <a:pt x="121" y="36"/>
                      <a:pt x="121" y="37"/>
                    </a:cubicBezTo>
                    <a:cubicBezTo>
                      <a:pt x="121" y="38"/>
                      <a:pt x="121" y="38"/>
                      <a:pt x="122" y="39"/>
                    </a:cubicBezTo>
                    <a:cubicBezTo>
                      <a:pt x="122" y="40"/>
                      <a:pt x="124" y="40"/>
                      <a:pt x="125" y="40"/>
                    </a:cubicBezTo>
                    <a:cubicBezTo>
                      <a:pt x="126" y="40"/>
                      <a:pt x="128" y="39"/>
                      <a:pt x="129" y="40"/>
                    </a:cubicBezTo>
                    <a:cubicBezTo>
                      <a:pt x="130" y="40"/>
                      <a:pt x="130" y="40"/>
                      <a:pt x="130" y="41"/>
                    </a:cubicBezTo>
                    <a:cubicBezTo>
                      <a:pt x="130" y="41"/>
                      <a:pt x="130" y="41"/>
                      <a:pt x="130" y="41"/>
                    </a:cubicBezTo>
                    <a:cubicBezTo>
                      <a:pt x="130" y="41"/>
                      <a:pt x="130" y="41"/>
                      <a:pt x="130" y="41"/>
                    </a:cubicBezTo>
                    <a:cubicBezTo>
                      <a:pt x="130" y="42"/>
                      <a:pt x="130" y="42"/>
                      <a:pt x="131" y="43"/>
                    </a:cubicBezTo>
                    <a:cubicBezTo>
                      <a:pt x="131" y="43"/>
                      <a:pt x="131" y="43"/>
                      <a:pt x="131" y="44"/>
                    </a:cubicBezTo>
                    <a:cubicBezTo>
                      <a:pt x="131" y="44"/>
                      <a:pt x="132" y="45"/>
                      <a:pt x="132" y="45"/>
                    </a:cubicBezTo>
                    <a:cubicBezTo>
                      <a:pt x="133" y="45"/>
                      <a:pt x="133" y="45"/>
                      <a:pt x="133" y="46"/>
                    </a:cubicBezTo>
                    <a:cubicBezTo>
                      <a:pt x="133" y="46"/>
                      <a:pt x="133" y="46"/>
                      <a:pt x="133" y="46"/>
                    </a:cubicBezTo>
                    <a:cubicBezTo>
                      <a:pt x="133" y="46"/>
                      <a:pt x="133" y="46"/>
                      <a:pt x="133" y="47"/>
                    </a:cubicBezTo>
                    <a:cubicBezTo>
                      <a:pt x="134" y="47"/>
                      <a:pt x="135" y="48"/>
                      <a:pt x="134" y="49"/>
                    </a:cubicBezTo>
                    <a:cubicBezTo>
                      <a:pt x="134" y="48"/>
                      <a:pt x="134" y="48"/>
                      <a:pt x="134" y="48"/>
                    </a:cubicBezTo>
                    <a:cubicBezTo>
                      <a:pt x="134" y="47"/>
                      <a:pt x="134" y="48"/>
                      <a:pt x="134" y="48"/>
                    </a:cubicBezTo>
                    <a:cubicBezTo>
                      <a:pt x="134" y="48"/>
                      <a:pt x="133" y="48"/>
                      <a:pt x="134" y="48"/>
                    </a:cubicBezTo>
                    <a:cubicBezTo>
                      <a:pt x="133" y="48"/>
                      <a:pt x="133" y="48"/>
                      <a:pt x="133" y="49"/>
                    </a:cubicBezTo>
                    <a:cubicBezTo>
                      <a:pt x="133" y="49"/>
                      <a:pt x="134" y="49"/>
                      <a:pt x="134" y="48"/>
                    </a:cubicBezTo>
                    <a:cubicBezTo>
                      <a:pt x="134" y="49"/>
                      <a:pt x="134" y="49"/>
                      <a:pt x="134" y="49"/>
                    </a:cubicBezTo>
                    <a:cubicBezTo>
                      <a:pt x="134" y="49"/>
                      <a:pt x="134" y="49"/>
                      <a:pt x="134" y="49"/>
                    </a:cubicBezTo>
                    <a:cubicBezTo>
                      <a:pt x="134" y="49"/>
                      <a:pt x="134" y="50"/>
                      <a:pt x="134" y="50"/>
                    </a:cubicBezTo>
                    <a:cubicBezTo>
                      <a:pt x="134" y="50"/>
                      <a:pt x="134" y="50"/>
                      <a:pt x="135" y="50"/>
                    </a:cubicBezTo>
                    <a:cubicBezTo>
                      <a:pt x="134" y="51"/>
                      <a:pt x="135" y="50"/>
                      <a:pt x="135" y="50"/>
                    </a:cubicBezTo>
                    <a:cubicBezTo>
                      <a:pt x="135" y="50"/>
                      <a:pt x="136" y="50"/>
                      <a:pt x="136" y="50"/>
                    </a:cubicBezTo>
                    <a:cubicBezTo>
                      <a:pt x="136" y="51"/>
                      <a:pt x="137" y="51"/>
                      <a:pt x="137" y="51"/>
                    </a:cubicBezTo>
                    <a:cubicBezTo>
                      <a:pt x="138" y="50"/>
                      <a:pt x="138" y="51"/>
                      <a:pt x="138" y="51"/>
                    </a:cubicBezTo>
                    <a:cubicBezTo>
                      <a:pt x="138" y="51"/>
                      <a:pt x="138" y="52"/>
                      <a:pt x="138" y="52"/>
                    </a:cubicBezTo>
                    <a:cubicBezTo>
                      <a:pt x="138" y="51"/>
                      <a:pt x="138" y="52"/>
                      <a:pt x="138" y="52"/>
                    </a:cubicBezTo>
                    <a:cubicBezTo>
                      <a:pt x="138" y="52"/>
                      <a:pt x="137" y="51"/>
                      <a:pt x="137" y="52"/>
                    </a:cubicBezTo>
                    <a:cubicBezTo>
                      <a:pt x="137" y="52"/>
                      <a:pt x="137" y="52"/>
                      <a:pt x="137" y="52"/>
                    </a:cubicBezTo>
                    <a:cubicBezTo>
                      <a:pt x="138" y="52"/>
                      <a:pt x="138" y="52"/>
                      <a:pt x="138" y="52"/>
                    </a:cubicBezTo>
                    <a:cubicBezTo>
                      <a:pt x="138" y="52"/>
                      <a:pt x="138" y="53"/>
                      <a:pt x="138" y="53"/>
                    </a:cubicBezTo>
                    <a:cubicBezTo>
                      <a:pt x="139" y="52"/>
                      <a:pt x="139" y="54"/>
                      <a:pt x="139" y="54"/>
                    </a:cubicBezTo>
                    <a:cubicBezTo>
                      <a:pt x="139" y="55"/>
                      <a:pt x="139" y="54"/>
                      <a:pt x="139" y="54"/>
                    </a:cubicBezTo>
                    <a:cubicBezTo>
                      <a:pt x="140" y="54"/>
                      <a:pt x="140" y="55"/>
                      <a:pt x="139" y="55"/>
                    </a:cubicBezTo>
                    <a:cubicBezTo>
                      <a:pt x="140" y="55"/>
                      <a:pt x="140" y="55"/>
                      <a:pt x="140" y="55"/>
                    </a:cubicBezTo>
                    <a:cubicBezTo>
                      <a:pt x="140" y="55"/>
                      <a:pt x="141" y="55"/>
                      <a:pt x="141" y="55"/>
                    </a:cubicBezTo>
                    <a:cubicBezTo>
                      <a:pt x="140" y="54"/>
                      <a:pt x="141" y="55"/>
                      <a:pt x="141" y="54"/>
                    </a:cubicBezTo>
                    <a:cubicBezTo>
                      <a:pt x="141" y="56"/>
                      <a:pt x="143" y="58"/>
                      <a:pt x="144" y="58"/>
                    </a:cubicBezTo>
                    <a:cubicBezTo>
                      <a:pt x="145" y="58"/>
                      <a:pt x="145" y="58"/>
                      <a:pt x="146" y="59"/>
                    </a:cubicBezTo>
                    <a:cubicBezTo>
                      <a:pt x="146" y="59"/>
                      <a:pt x="147" y="60"/>
                      <a:pt x="147" y="60"/>
                    </a:cubicBezTo>
                    <a:cubicBezTo>
                      <a:pt x="147" y="60"/>
                      <a:pt x="147" y="60"/>
                      <a:pt x="146" y="60"/>
                    </a:cubicBezTo>
                    <a:cubicBezTo>
                      <a:pt x="146" y="60"/>
                      <a:pt x="146" y="59"/>
                      <a:pt x="146" y="59"/>
                    </a:cubicBezTo>
                    <a:cubicBezTo>
                      <a:pt x="145" y="59"/>
                      <a:pt x="146" y="62"/>
                      <a:pt x="146" y="62"/>
                    </a:cubicBezTo>
                    <a:cubicBezTo>
                      <a:pt x="147" y="63"/>
                      <a:pt x="148" y="63"/>
                      <a:pt x="148" y="63"/>
                    </a:cubicBezTo>
                    <a:cubicBezTo>
                      <a:pt x="149" y="65"/>
                      <a:pt x="148" y="66"/>
                      <a:pt x="148" y="67"/>
                    </a:cubicBezTo>
                    <a:cubicBezTo>
                      <a:pt x="148" y="67"/>
                      <a:pt x="147" y="65"/>
                      <a:pt x="146" y="65"/>
                    </a:cubicBezTo>
                    <a:cubicBezTo>
                      <a:pt x="146" y="66"/>
                      <a:pt x="146" y="68"/>
                      <a:pt x="147" y="68"/>
                    </a:cubicBezTo>
                    <a:cubicBezTo>
                      <a:pt x="147" y="67"/>
                      <a:pt x="147" y="67"/>
                      <a:pt x="147" y="67"/>
                    </a:cubicBezTo>
                    <a:cubicBezTo>
                      <a:pt x="148" y="68"/>
                      <a:pt x="147" y="68"/>
                      <a:pt x="148" y="69"/>
                    </a:cubicBezTo>
                    <a:cubicBezTo>
                      <a:pt x="148" y="70"/>
                      <a:pt x="149" y="71"/>
                      <a:pt x="149" y="72"/>
                    </a:cubicBezTo>
                    <a:cubicBezTo>
                      <a:pt x="149" y="71"/>
                      <a:pt x="149" y="71"/>
                      <a:pt x="148" y="71"/>
                    </a:cubicBezTo>
                    <a:cubicBezTo>
                      <a:pt x="148" y="70"/>
                      <a:pt x="148" y="71"/>
                      <a:pt x="148" y="71"/>
                    </a:cubicBezTo>
                    <a:cubicBezTo>
                      <a:pt x="149" y="72"/>
                      <a:pt x="149" y="73"/>
                      <a:pt x="150" y="73"/>
                    </a:cubicBezTo>
                    <a:cubicBezTo>
                      <a:pt x="150" y="73"/>
                      <a:pt x="150" y="73"/>
                      <a:pt x="150" y="73"/>
                    </a:cubicBezTo>
                    <a:cubicBezTo>
                      <a:pt x="151" y="73"/>
                      <a:pt x="152" y="74"/>
                      <a:pt x="152" y="75"/>
                    </a:cubicBezTo>
                    <a:cubicBezTo>
                      <a:pt x="152" y="76"/>
                      <a:pt x="152" y="77"/>
                      <a:pt x="153" y="78"/>
                    </a:cubicBezTo>
                    <a:cubicBezTo>
                      <a:pt x="153" y="78"/>
                      <a:pt x="154" y="79"/>
                      <a:pt x="154" y="79"/>
                    </a:cubicBezTo>
                    <a:cubicBezTo>
                      <a:pt x="154" y="80"/>
                      <a:pt x="154" y="80"/>
                      <a:pt x="154" y="81"/>
                    </a:cubicBezTo>
                    <a:cubicBezTo>
                      <a:pt x="155" y="82"/>
                      <a:pt x="155" y="81"/>
                      <a:pt x="155" y="81"/>
                    </a:cubicBezTo>
                    <a:cubicBezTo>
                      <a:pt x="156" y="81"/>
                      <a:pt x="156" y="82"/>
                      <a:pt x="156" y="83"/>
                    </a:cubicBezTo>
                    <a:cubicBezTo>
                      <a:pt x="157" y="83"/>
                      <a:pt x="158" y="84"/>
                      <a:pt x="158" y="83"/>
                    </a:cubicBezTo>
                    <a:cubicBezTo>
                      <a:pt x="159" y="83"/>
                      <a:pt x="159" y="82"/>
                      <a:pt x="160" y="83"/>
                    </a:cubicBezTo>
                    <a:cubicBezTo>
                      <a:pt x="160" y="83"/>
                      <a:pt x="160" y="84"/>
                      <a:pt x="160" y="84"/>
                    </a:cubicBezTo>
                    <a:cubicBezTo>
                      <a:pt x="160" y="83"/>
                      <a:pt x="161" y="82"/>
                      <a:pt x="161" y="83"/>
                    </a:cubicBezTo>
                    <a:cubicBezTo>
                      <a:pt x="162" y="83"/>
                      <a:pt x="161" y="84"/>
                      <a:pt x="161" y="84"/>
                    </a:cubicBezTo>
                    <a:cubicBezTo>
                      <a:pt x="161" y="84"/>
                      <a:pt x="159" y="86"/>
                      <a:pt x="160" y="86"/>
                    </a:cubicBezTo>
                    <a:cubicBezTo>
                      <a:pt x="161" y="86"/>
                      <a:pt x="162" y="86"/>
                      <a:pt x="162" y="86"/>
                    </a:cubicBezTo>
                    <a:cubicBezTo>
                      <a:pt x="163" y="87"/>
                      <a:pt x="163" y="87"/>
                      <a:pt x="163" y="88"/>
                    </a:cubicBezTo>
                    <a:cubicBezTo>
                      <a:pt x="164" y="90"/>
                      <a:pt x="165" y="91"/>
                      <a:pt x="166" y="92"/>
                    </a:cubicBezTo>
                    <a:cubicBezTo>
                      <a:pt x="168" y="94"/>
                      <a:pt x="169" y="95"/>
                      <a:pt x="170" y="97"/>
                    </a:cubicBezTo>
                    <a:cubicBezTo>
                      <a:pt x="171" y="98"/>
                      <a:pt x="172" y="100"/>
                      <a:pt x="173" y="101"/>
                    </a:cubicBezTo>
                    <a:cubicBezTo>
                      <a:pt x="176" y="102"/>
                      <a:pt x="180" y="102"/>
                      <a:pt x="183" y="102"/>
                    </a:cubicBezTo>
                    <a:cubicBezTo>
                      <a:pt x="187" y="103"/>
                      <a:pt x="191" y="104"/>
                      <a:pt x="196" y="104"/>
                    </a:cubicBezTo>
                    <a:cubicBezTo>
                      <a:pt x="196" y="104"/>
                      <a:pt x="197" y="104"/>
                      <a:pt x="197" y="104"/>
                    </a:cubicBezTo>
                    <a:cubicBezTo>
                      <a:pt x="198" y="104"/>
                      <a:pt x="198" y="104"/>
                      <a:pt x="198" y="104"/>
                    </a:cubicBezTo>
                    <a:cubicBezTo>
                      <a:pt x="199" y="105"/>
                      <a:pt x="200" y="107"/>
                      <a:pt x="201" y="109"/>
                    </a:cubicBezTo>
                    <a:cubicBezTo>
                      <a:pt x="202" y="111"/>
                      <a:pt x="203" y="112"/>
                      <a:pt x="202" y="114"/>
                    </a:cubicBezTo>
                    <a:close/>
                    <a:moveTo>
                      <a:pt x="77" y="169"/>
                    </a:moveTo>
                    <a:cubicBezTo>
                      <a:pt x="77" y="168"/>
                      <a:pt x="76" y="170"/>
                      <a:pt x="77" y="169"/>
                    </a:cubicBezTo>
                    <a:cubicBezTo>
                      <a:pt x="77" y="170"/>
                      <a:pt x="76" y="169"/>
                      <a:pt x="75" y="169"/>
                    </a:cubicBezTo>
                    <a:cubicBezTo>
                      <a:pt x="75" y="169"/>
                      <a:pt x="74" y="168"/>
                      <a:pt x="74" y="168"/>
                    </a:cubicBezTo>
                    <a:cubicBezTo>
                      <a:pt x="74" y="168"/>
                      <a:pt x="74" y="168"/>
                      <a:pt x="74" y="169"/>
                    </a:cubicBezTo>
                    <a:cubicBezTo>
                      <a:pt x="74" y="169"/>
                      <a:pt x="74" y="169"/>
                      <a:pt x="74" y="169"/>
                    </a:cubicBezTo>
                    <a:cubicBezTo>
                      <a:pt x="75" y="169"/>
                      <a:pt x="75" y="170"/>
                      <a:pt x="76" y="170"/>
                    </a:cubicBezTo>
                    <a:cubicBezTo>
                      <a:pt x="76" y="170"/>
                      <a:pt x="77" y="170"/>
                      <a:pt x="77" y="170"/>
                    </a:cubicBezTo>
                    <a:cubicBezTo>
                      <a:pt x="77" y="170"/>
                      <a:pt x="77" y="171"/>
                      <a:pt x="77" y="171"/>
                    </a:cubicBezTo>
                    <a:cubicBezTo>
                      <a:pt x="77" y="171"/>
                      <a:pt x="78" y="171"/>
                      <a:pt x="78" y="171"/>
                    </a:cubicBezTo>
                    <a:cubicBezTo>
                      <a:pt x="78" y="171"/>
                      <a:pt x="78" y="170"/>
                      <a:pt x="78" y="170"/>
                    </a:cubicBezTo>
                    <a:cubicBezTo>
                      <a:pt x="77" y="170"/>
                      <a:pt x="77" y="169"/>
                      <a:pt x="77" y="169"/>
                    </a:cubicBezTo>
                    <a:close/>
                    <a:moveTo>
                      <a:pt x="75" y="167"/>
                    </a:moveTo>
                    <a:cubicBezTo>
                      <a:pt x="75" y="167"/>
                      <a:pt x="75" y="167"/>
                      <a:pt x="75" y="166"/>
                    </a:cubicBezTo>
                    <a:cubicBezTo>
                      <a:pt x="75" y="167"/>
                      <a:pt x="75" y="167"/>
                      <a:pt x="75" y="167"/>
                    </a:cubicBezTo>
                    <a:close/>
                    <a:moveTo>
                      <a:pt x="76" y="167"/>
                    </a:moveTo>
                    <a:cubicBezTo>
                      <a:pt x="76" y="167"/>
                      <a:pt x="75" y="167"/>
                      <a:pt x="75" y="167"/>
                    </a:cubicBezTo>
                    <a:cubicBezTo>
                      <a:pt x="75" y="167"/>
                      <a:pt x="76" y="167"/>
                      <a:pt x="75" y="167"/>
                    </a:cubicBezTo>
                    <a:cubicBezTo>
                      <a:pt x="75" y="168"/>
                      <a:pt x="75" y="168"/>
                      <a:pt x="75" y="168"/>
                    </a:cubicBezTo>
                    <a:cubicBezTo>
                      <a:pt x="75" y="169"/>
                      <a:pt x="76" y="169"/>
                      <a:pt x="76" y="169"/>
                    </a:cubicBezTo>
                    <a:cubicBezTo>
                      <a:pt x="76" y="169"/>
                      <a:pt x="75" y="168"/>
                      <a:pt x="76" y="168"/>
                    </a:cubicBezTo>
                    <a:cubicBezTo>
                      <a:pt x="76" y="168"/>
                      <a:pt x="76" y="167"/>
                      <a:pt x="76" y="167"/>
                    </a:cubicBezTo>
                    <a:close/>
                    <a:moveTo>
                      <a:pt x="75" y="166"/>
                    </a:moveTo>
                    <a:cubicBezTo>
                      <a:pt x="75" y="166"/>
                      <a:pt x="75" y="166"/>
                      <a:pt x="75" y="166"/>
                    </a:cubicBezTo>
                    <a:cubicBezTo>
                      <a:pt x="75" y="166"/>
                      <a:pt x="75" y="166"/>
                      <a:pt x="75" y="166"/>
                    </a:cubicBezTo>
                    <a:cubicBezTo>
                      <a:pt x="75" y="166"/>
                      <a:pt x="75" y="166"/>
                      <a:pt x="75" y="16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3" name="Sao Tome and Principe">
                <a:extLst>
                  <a:ext uri="{FF2B5EF4-FFF2-40B4-BE49-F238E27FC236}">
                    <a16:creationId xmlns:a16="http://schemas.microsoft.com/office/drawing/2014/main" id="{86584041-F342-2327-D4A7-5EBF649A1E36}"/>
                  </a:ext>
                </a:extLst>
              </p:cNvPr>
              <p:cNvSpPr>
                <a:spLocks noEditPoints="1"/>
              </p:cNvSpPr>
              <p:nvPr/>
            </p:nvSpPr>
            <p:spPr bwMode="auto">
              <a:xfrm>
                <a:off x="5917220" y="3976720"/>
                <a:ext cx="35285" cy="67631"/>
              </a:xfrm>
              <a:custGeom>
                <a:avLst/>
                <a:gdLst/>
                <a:ahLst/>
                <a:cxnLst>
                  <a:cxn ang="0">
                    <a:pos x="2" y="18"/>
                  </a:cxn>
                  <a:cxn ang="0">
                    <a:pos x="1" y="18"/>
                  </a:cxn>
                  <a:cxn ang="0">
                    <a:pos x="1" y="19"/>
                  </a:cxn>
                  <a:cxn ang="0">
                    <a:pos x="1" y="18"/>
                  </a:cxn>
                  <a:cxn ang="0">
                    <a:pos x="0" y="16"/>
                  </a:cxn>
                  <a:cxn ang="0">
                    <a:pos x="3" y="15"/>
                  </a:cxn>
                  <a:cxn ang="0">
                    <a:pos x="2" y="18"/>
                  </a:cxn>
                  <a:cxn ang="0">
                    <a:pos x="10" y="1"/>
                  </a:cxn>
                  <a:cxn ang="0">
                    <a:pos x="9" y="2"/>
                  </a:cxn>
                  <a:cxn ang="0">
                    <a:pos x="9" y="2"/>
                  </a:cxn>
                  <a:cxn ang="0">
                    <a:pos x="10" y="2"/>
                  </a:cxn>
                  <a:cxn ang="0">
                    <a:pos x="10" y="1"/>
                  </a:cxn>
                  <a:cxn ang="0">
                    <a:pos x="10" y="1"/>
                  </a:cxn>
                </a:cxnLst>
                <a:rect l="0" t="0" r="r" b="b"/>
                <a:pathLst>
                  <a:path w="10" h="19">
                    <a:moveTo>
                      <a:pt x="2" y="18"/>
                    </a:moveTo>
                    <a:cubicBezTo>
                      <a:pt x="2" y="18"/>
                      <a:pt x="2" y="19"/>
                      <a:pt x="1" y="18"/>
                    </a:cubicBezTo>
                    <a:cubicBezTo>
                      <a:pt x="1" y="18"/>
                      <a:pt x="1" y="19"/>
                      <a:pt x="1" y="19"/>
                    </a:cubicBezTo>
                    <a:cubicBezTo>
                      <a:pt x="1" y="19"/>
                      <a:pt x="1" y="18"/>
                      <a:pt x="1" y="18"/>
                    </a:cubicBezTo>
                    <a:cubicBezTo>
                      <a:pt x="0" y="17"/>
                      <a:pt x="0" y="17"/>
                      <a:pt x="0" y="16"/>
                    </a:cubicBezTo>
                    <a:cubicBezTo>
                      <a:pt x="1" y="15"/>
                      <a:pt x="2" y="14"/>
                      <a:pt x="3" y="15"/>
                    </a:cubicBezTo>
                    <a:cubicBezTo>
                      <a:pt x="3" y="16"/>
                      <a:pt x="3" y="17"/>
                      <a:pt x="2" y="18"/>
                    </a:cubicBezTo>
                    <a:close/>
                    <a:moveTo>
                      <a:pt x="10" y="1"/>
                    </a:moveTo>
                    <a:cubicBezTo>
                      <a:pt x="9" y="0"/>
                      <a:pt x="9" y="1"/>
                      <a:pt x="9" y="2"/>
                    </a:cubicBezTo>
                    <a:cubicBezTo>
                      <a:pt x="9" y="2"/>
                      <a:pt x="9" y="2"/>
                      <a:pt x="9" y="2"/>
                    </a:cubicBezTo>
                    <a:cubicBezTo>
                      <a:pt x="9" y="2"/>
                      <a:pt x="10" y="2"/>
                      <a:pt x="10" y="2"/>
                    </a:cubicBezTo>
                    <a:cubicBezTo>
                      <a:pt x="9" y="1"/>
                      <a:pt x="10" y="2"/>
                      <a:pt x="10" y="1"/>
                    </a:cubicBezTo>
                    <a:cubicBezTo>
                      <a:pt x="10" y="1"/>
                      <a:pt x="10" y="1"/>
                      <a:pt x="10"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4" name="San Marino">
                <a:extLst>
                  <a:ext uri="{FF2B5EF4-FFF2-40B4-BE49-F238E27FC236}">
                    <a16:creationId xmlns:a16="http://schemas.microsoft.com/office/drawing/2014/main" id="{4FB700FE-34F9-81B3-347F-A2B80BB091D3}"/>
                  </a:ext>
                </a:extLst>
              </p:cNvPr>
              <p:cNvSpPr/>
              <p:nvPr/>
            </p:nvSpPr>
            <p:spPr>
              <a:xfrm>
                <a:off x="6113916" y="2333462"/>
                <a:ext cx="4961" cy="5785"/>
              </a:xfrm>
              <a:custGeom>
                <a:avLst/>
                <a:gdLst>
                  <a:gd name="connsiteX0" fmla="*/ 4609 w 4961"/>
                  <a:gd name="connsiteY0" fmla="*/ 2 h 5785"/>
                  <a:gd name="connsiteX1" fmla="*/ 2829 w 4961"/>
                  <a:gd name="connsiteY1" fmla="*/ 1063 h 5785"/>
                  <a:gd name="connsiteX2" fmla="*/ 1460 w 4961"/>
                  <a:gd name="connsiteY2" fmla="*/ 2158 h 5785"/>
                  <a:gd name="connsiteX3" fmla="*/ 400 w 4961"/>
                  <a:gd name="connsiteY3" fmla="*/ 2602 h 5785"/>
                  <a:gd name="connsiteX4" fmla="*/ 160 w 4961"/>
                  <a:gd name="connsiteY4" fmla="*/ 4587 h 5785"/>
                  <a:gd name="connsiteX5" fmla="*/ 1871 w 4961"/>
                  <a:gd name="connsiteY5" fmla="*/ 4929 h 5785"/>
                  <a:gd name="connsiteX6" fmla="*/ 2727 w 4961"/>
                  <a:gd name="connsiteY6" fmla="*/ 5785 h 5785"/>
                  <a:gd name="connsiteX7" fmla="*/ 4951 w 4961"/>
                  <a:gd name="connsiteY7" fmla="*/ 3184 h 5785"/>
                  <a:gd name="connsiteX8" fmla="*/ 4540 w 4961"/>
                  <a:gd name="connsiteY8" fmla="*/ 1097 h 5785"/>
                  <a:gd name="connsiteX9" fmla="*/ 4609 w 4961"/>
                  <a:gd name="connsiteY9" fmla="*/ 2 h 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1" h="5785">
                    <a:moveTo>
                      <a:pt x="4609" y="2"/>
                    </a:moveTo>
                    <a:cubicBezTo>
                      <a:pt x="4267" y="36"/>
                      <a:pt x="3411" y="652"/>
                      <a:pt x="2829" y="1063"/>
                    </a:cubicBezTo>
                    <a:cubicBezTo>
                      <a:pt x="2248" y="1473"/>
                      <a:pt x="1632" y="2055"/>
                      <a:pt x="1460" y="2158"/>
                    </a:cubicBezTo>
                    <a:cubicBezTo>
                      <a:pt x="1324" y="2226"/>
                      <a:pt x="468" y="2431"/>
                      <a:pt x="400" y="2602"/>
                    </a:cubicBezTo>
                    <a:cubicBezTo>
                      <a:pt x="331" y="2739"/>
                      <a:pt x="-285" y="4211"/>
                      <a:pt x="160" y="4587"/>
                    </a:cubicBezTo>
                    <a:cubicBezTo>
                      <a:pt x="605" y="4963"/>
                      <a:pt x="1529" y="4724"/>
                      <a:pt x="1871" y="4929"/>
                    </a:cubicBezTo>
                    <a:cubicBezTo>
                      <a:pt x="2213" y="5134"/>
                      <a:pt x="2213" y="5716"/>
                      <a:pt x="2727" y="5785"/>
                    </a:cubicBezTo>
                    <a:cubicBezTo>
                      <a:pt x="3206" y="5819"/>
                      <a:pt x="5122" y="3834"/>
                      <a:pt x="4951" y="3184"/>
                    </a:cubicBezTo>
                    <a:cubicBezTo>
                      <a:pt x="4780" y="2534"/>
                      <a:pt x="4267" y="1747"/>
                      <a:pt x="4540" y="1097"/>
                    </a:cubicBezTo>
                    <a:cubicBezTo>
                      <a:pt x="4814" y="412"/>
                      <a:pt x="4951" y="-32"/>
                      <a:pt x="4609" y="2"/>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515" name="Samoa">
                <a:extLst>
                  <a:ext uri="{FF2B5EF4-FFF2-40B4-BE49-F238E27FC236}">
                    <a16:creationId xmlns:a16="http://schemas.microsoft.com/office/drawing/2014/main" id="{854D4356-F021-A5BF-B529-2BE7A0EBFB86}"/>
                  </a:ext>
                </a:extLst>
              </p:cNvPr>
              <p:cNvSpPr/>
              <p:nvPr/>
            </p:nvSpPr>
            <p:spPr>
              <a:xfrm>
                <a:off x="11628146" y="4763333"/>
                <a:ext cx="28276" cy="16547"/>
              </a:xfrm>
              <a:custGeom>
                <a:avLst/>
                <a:gdLst>
                  <a:gd name="connsiteX0" fmla="*/ 18637 w 25188"/>
                  <a:gd name="connsiteY0" fmla="*/ 7983 h 14740"/>
                  <a:gd name="connsiteX1" fmla="*/ 18637 w 25188"/>
                  <a:gd name="connsiteY1" fmla="*/ 7983 h 14740"/>
                  <a:gd name="connsiteX2" fmla="*/ 18637 w 25188"/>
                  <a:gd name="connsiteY2" fmla="*/ 7983 h 14740"/>
                  <a:gd name="connsiteX3" fmla="*/ 0 w 25188"/>
                  <a:gd name="connsiteY3" fmla="*/ 0 h 14740"/>
                  <a:gd name="connsiteX4" fmla="*/ 8640 w 25188"/>
                  <a:gd name="connsiteY4" fmla="*/ 8680 h 14740"/>
                  <a:gd name="connsiteX5" fmla="*/ 0 w 25188"/>
                  <a:gd name="connsiteY5" fmla="*/ 0 h 14740"/>
                  <a:gd name="connsiteX6" fmla="*/ 0 w 25188"/>
                  <a:gd name="connsiteY6" fmla="*/ 0 h 14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88" h="14740">
                    <a:moveTo>
                      <a:pt x="18637" y="7983"/>
                    </a:moveTo>
                    <a:cubicBezTo>
                      <a:pt x="3100" y="12555"/>
                      <a:pt x="39288" y="20576"/>
                      <a:pt x="18637" y="7983"/>
                    </a:cubicBezTo>
                    <a:lnTo>
                      <a:pt x="18637" y="7983"/>
                    </a:lnTo>
                    <a:close/>
                    <a:moveTo>
                      <a:pt x="0" y="0"/>
                    </a:moveTo>
                    <a:cubicBezTo>
                      <a:pt x="0" y="8680"/>
                      <a:pt x="8640" y="8680"/>
                      <a:pt x="8640" y="8680"/>
                    </a:cubicBezTo>
                    <a:cubicBezTo>
                      <a:pt x="17281" y="0"/>
                      <a:pt x="0" y="0"/>
                      <a:pt x="0" y="0"/>
                    </a:cubicBezTo>
                    <a:lnTo>
                      <a:pt x="0" y="0"/>
                    </a:ln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6" name="Saint Vincent and the Grenadines">
                <a:extLst>
                  <a:ext uri="{FF2B5EF4-FFF2-40B4-BE49-F238E27FC236}">
                    <a16:creationId xmlns:a16="http://schemas.microsoft.com/office/drawing/2014/main" id="{50E31B8B-0237-FF85-295E-8CF1CA841CB1}"/>
                  </a:ext>
                </a:extLst>
              </p:cNvPr>
              <p:cNvSpPr>
                <a:spLocks/>
              </p:cNvSpPr>
              <p:nvPr/>
            </p:nvSpPr>
            <p:spPr bwMode="auto">
              <a:xfrm>
                <a:off x="3607955" y="3522903"/>
                <a:ext cx="6860" cy="10781"/>
              </a:xfrm>
              <a:custGeom>
                <a:avLst/>
                <a:gdLst/>
                <a:ahLst/>
                <a:cxnLst>
                  <a:cxn ang="0">
                    <a:pos x="1" y="0"/>
                  </a:cxn>
                  <a:cxn ang="0">
                    <a:pos x="0" y="1"/>
                  </a:cxn>
                  <a:cxn ang="0">
                    <a:pos x="1" y="3"/>
                  </a:cxn>
                  <a:cxn ang="0">
                    <a:pos x="1" y="1"/>
                  </a:cxn>
                  <a:cxn ang="0">
                    <a:pos x="1" y="0"/>
                  </a:cxn>
                </a:cxnLst>
                <a:rect l="0" t="0" r="r" b="b"/>
                <a:pathLst>
                  <a:path w="2" h="3">
                    <a:moveTo>
                      <a:pt x="1" y="0"/>
                    </a:moveTo>
                    <a:cubicBezTo>
                      <a:pt x="1" y="0"/>
                      <a:pt x="0" y="1"/>
                      <a:pt x="0" y="1"/>
                    </a:cubicBezTo>
                    <a:cubicBezTo>
                      <a:pt x="0" y="2"/>
                      <a:pt x="0" y="3"/>
                      <a:pt x="1" y="3"/>
                    </a:cubicBezTo>
                    <a:cubicBezTo>
                      <a:pt x="1" y="3"/>
                      <a:pt x="1" y="2"/>
                      <a:pt x="1" y="1"/>
                    </a:cubicBezTo>
                    <a:cubicBezTo>
                      <a:pt x="2" y="1"/>
                      <a:pt x="1" y="0"/>
                      <a:pt x="1"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7" name="Saint Pierre and Miquelon (FR)">
                <a:extLst>
                  <a:ext uri="{FF2B5EF4-FFF2-40B4-BE49-F238E27FC236}">
                    <a16:creationId xmlns:a16="http://schemas.microsoft.com/office/drawing/2014/main" id="{93D018EF-9D6C-9821-B33E-894628F88496}"/>
                  </a:ext>
                </a:extLst>
              </p:cNvPr>
              <p:cNvSpPr>
                <a:spLocks/>
              </p:cNvSpPr>
              <p:nvPr/>
            </p:nvSpPr>
            <p:spPr bwMode="auto">
              <a:xfrm>
                <a:off x="4015703" y="2211441"/>
                <a:ext cx="6860" cy="13723"/>
              </a:xfrm>
              <a:custGeom>
                <a:avLst/>
                <a:gdLst/>
                <a:ahLst/>
                <a:cxnLst>
                  <a:cxn ang="0">
                    <a:pos x="2" y="2"/>
                  </a:cxn>
                  <a:cxn ang="0">
                    <a:pos x="2" y="2"/>
                  </a:cxn>
                  <a:cxn ang="0">
                    <a:pos x="2" y="1"/>
                  </a:cxn>
                  <a:cxn ang="0">
                    <a:pos x="2" y="1"/>
                  </a:cxn>
                  <a:cxn ang="0">
                    <a:pos x="1" y="1"/>
                  </a:cxn>
                  <a:cxn ang="0">
                    <a:pos x="1" y="2"/>
                  </a:cxn>
                  <a:cxn ang="0">
                    <a:pos x="1" y="3"/>
                  </a:cxn>
                  <a:cxn ang="0">
                    <a:pos x="0" y="4"/>
                  </a:cxn>
                  <a:cxn ang="0">
                    <a:pos x="1" y="4"/>
                  </a:cxn>
                  <a:cxn ang="0">
                    <a:pos x="1" y="4"/>
                  </a:cxn>
                  <a:cxn ang="0">
                    <a:pos x="2" y="3"/>
                  </a:cxn>
                  <a:cxn ang="0">
                    <a:pos x="1" y="3"/>
                  </a:cxn>
                  <a:cxn ang="0">
                    <a:pos x="1" y="2"/>
                  </a:cxn>
                  <a:cxn ang="0">
                    <a:pos x="2" y="2"/>
                  </a:cxn>
                </a:cxnLst>
                <a:rect l="0" t="0" r="r" b="b"/>
                <a:pathLst>
                  <a:path w="2" h="4">
                    <a:moveTo>
                      <a:pt x="2" y="2"/>
                    </a:moveTo>
                    <a:cubicBezTo>
                      <a:pt x="2" y="2"/>
                      <a:pt x="2" y="2"/>
                      <a:pt x="2" y="2"/>
                    </a:cubicBezTo>
                    <a:cubicBezTo>
                      <a:pt x="2" y="2"/>
                      <a:pt x="2" y="1"/>
                      <a:pt x="2" y="1"/>
                    </a:cubicBezTo>
                    <a:cubicBezTo>
                      <a:pt x="2" y="1"/>
                      <a:pt x="1" y="1"/>
                      <a:pt x="2" y="1"/>
                    </a:cubicBezTo>
                    <a:cubicBezTo>
                      <a:pt x="1" y="0"/>
                      <a:pt x="1" y="1"/>
                      <a:pt x="1" y="1"/>
                    </a:cubicBezTo>
                    <a:cubicBezTo>
                      <a:pt x="1" y="2"/>
                      <a:pt x="1" y="2"/>
                      <a:pt x="1" y="2"/>
                    </a:cubicBezTo>
                    <a:cubicBezTo>
                      <a:pt x="1" y="3"/>
                      <a:pt x="1" y="3"/>
                      <a:pt x="1" y="3"/>
                    </a:cubicBezTo>
                    <a:cubicBezTo>
                      <a:pt x="1" y="4"/>
                      <a:pt x="0" y="4"/>
                      <a:pt x="0" y="4"/>
                    </a:cubicBezTo>
                    <a:cubicBezTo>
                      <a:pt x="0" y="4"/>
                      <a:pt x="0" y="4"/>
                      <a:pt x="1" y="4"/>
                    </a:cubicBezTo>
                    <a:cubicBezTo>
                      <a:pt x="1" y="4"/>
                      <a:pt x="1" y="4"/>
                      <a:pt x="1" y="4"/>
                    </a:cubicBezTo>
                    <a:cubicBezTo>
                      <a:pt x="1" y="4"/>
                      <a:pt x="2" y="4"/>
                      <a:pt x="2" y="3"/>
                    </a:cubicBezTo>
                    <a:cubicBezTo>
                      <a:pt x="2" y="3"/>
                      <a:pt x="1" y="3"/>
                      <a:pt x="1" y="3"/>
                    </a:cubicBezTo>
                    <a:cubicBezTo>
                      <a:pt x="1" y="3"/>
                      <a:pt x="1" y="3"/>
                      <a:pt x="1" y="2"/>
                    </a:cubicBezTo>
                    <a:cubicBezTo>
                      <a:pt x="1" y="2"/>
                      <a:pt x="1" y="2"/>
                      <a:pt x="2"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8" name="Saint Lucia">
                <a:extLst>
                  <a:ext uri="{FF2B5EF4-FFF2-40B4-BE49-F238E27FC236}">
                    <a16:creationId xmlns:a16="http://schemas.microsoft.com/office/drawing/2014/main" id="{EF327997-1CB2-0889-D957-0954275AF3D6}"/>
                  </a:ext>
                </a:extLst>
              </p:cNvPr>
              <p:cNvSpPr>
                <a:spLocks/>
              </p:cNvSpPr>
              <p:nvPr/>
            </p:nvSpPr>
            <p:spPr bwMode="auto">
              <a:xfrm>
                <a:off x="3614814" y="3494478"/>
                <a:ext cx="7842" cy="17644"/>
              </a:xfrm>
              <a:custGeom>
                <a:avLst/>
                <a:gdLst/>
                <a:ahLst/>
                <a:cxnLst>
                  <a:cxn ang="0">
                    <a:pos x="2" y="0"/>
                  </a:cxn>
                  <a:cxn ang="0">
                    <a:pos x="1" y="1"/>
                  </a:cxn>
                  <a:cxn ang="0">
                    <a:pos x="0" y="3"/>
                  </a:cxn>
                  <a:cxn ang="0">
                    <a:pos x="1" y="5"/>
                  </a:cxn>
                  <a:cxn ang="0">
                    <a:pos x="2" y="3"/>
                  </a:cxn>
                  <a:cxn ang="0">
                    <a:pos x="2" y="2"/>
                  </a:cxn>
                  <a:cxn ang="0">
                    <a:pos x="2" y="0"/>
                  </a:cxn>
                </a:cxnLst>
                <a:rect l="0" t="0" r="r" b="b"/>
                <a:pathLst>
                  <a:path w="2" h="5">
                    <a:moveTo>
                      <a:pt x="2" y="0"/>
                    </a:moveTo>
                    <a:cubicBezTo>
                      <a:pt x="2" y="0"/>
                      <a:pt x="1" y="1"/>
                      <a:pt x="1" y="1"/>
                    </a:cubicBezTo>
                    <a:cubicBezTo>
                      <a:pt x="1" y="2"/>
                      <a:pt x="0" y="2"/>
                      <a:pt x="0" y="3"/>
                    </a:cubicBezTo>
                    <a:cubicBezTo>
                      <a:pt x="0" y="4"/>
                      <a:pt x="1" y="4"/>
                      <a:pt x="1" y="5"/>
                    </a:cubicBezTo>
                    <a:cubicBezTo>
                      <a:pt x="2" y="4"/>
                      <a:pt x="2" y="4"/>
                      <a:pt x="2" y="3"/>
                    </a:cubicBezTo>
                    <a:cubicBezTo>
                      <a:pt x="2" y="3"/>
                      <a:pt x="2" y="2"/>
                      <a:pt x="2" y="2"/>
                    </a:cubicBezTo>
                    <a:cubicBezTo>
                      <a:pt x="2" y="1"/>
                      <a:pt x="2" y="0"/>
                      <a:pt x="2"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19" name="Saint Kitts and Nevis">
                <a:extLst>
                  <a:ext uri="{FF2B5EF4-FFF2-40B4-BE49-F238E27FC236}">
                    <a16:creationId xmlns:a16="http://schemas.microsoft.com/office/drawing/2014/main" id="{F65D5929-D75F-C103-F4E4-9639EFD5639C}"/>
                  </a:ext>
                </a:extLst>
              </p:cNvPr>
              <p:cNvSpPr>
                <a:spLocks noEditPoints="1"/>
              </p:cNvSpPr>
              <p:nvPr/>
            </p:nvSpPr>
            <p:spPr bwMode="auto">
              <a:xfrm>
                <a:off x="3569728" y="3367057"/>
                <a:ext cx="9801" cy="10781"/>
              </a:xfrm>
              <a:custGeom>
                <a:avLst/>
                <a:gdLst/>
                <a:ahLst/>
                <a:cxnLst>
                  <a:cxn ang="0">
                    <a:pos x="2" y="3"/>
                  </a:cxn>
                  <a:cxn ang="0">
                    <a:pos x="2" y="2"/>
                  </a:cxn>
                  <a:cxn ang="0">
                    <a:pos x="2" y="3"/>
                  </a:cxn>
                  <a:cxn ang="0">
                    <a:pos x="1" y="1"/>
                  </a:cxn>
                  <a:cxn ang="0">
                    <a:pos x="0" y="0"/>
                  </a:cxn>
                  <a:cxn ang="0">
                    <a:pos x="1" y="2"/>
                  </a:cxn>
                  <a:cxn ang="0">
                    <a:pos x="1" y="1"/>
                  </a:cxn>
                </a:cxnLst>
                <a:rect l="0" t="0" r="r" b="b"/>
                <a:pathLst>
                  <a:path w="3" h="3">
                    <a:moveTo>
                      <a:pt x="2" y="3"/>
                    </a:moveTo>
                    <a:cubicBezTo>
                      <a:pt x="1" y="3"/>
                      <a:pt x="2" y="2"/>
                      <a:pt x="2" y="2"/>
                    </a:cubicBezTo>
                    <a:cubicBezTo>
                      <a:pt x="3" y="2"/>
                      <a:pt x="3" y="3"/>
                      <a:pt x="2" y="3"/>
                    </a:cubicBezTo>
                    <a:close/>
                    <a:moveTo>
                      <a:pt x="1" y="1"/>
                    </a:moveTo>
                    <a:cubicBezTo>
                      <a:pt x="1" y="0"/>
                      <a:pt x="0" y="0"/>
                      <a:pt x="0" y="0"/>
                    </a:cubicBezTo>
                    <a:cubicBezTo>
                      <a:pt x="0" y="1"/>
                      <a:pt x="1" y="1"/>
                      <a:pt x="1" y="2"/>
                    </a:cubicBezTo>
                    <a:cubicBezTo>
                      <a:pt x="2" y="2"/>
                      <a:pt x="2" y="1"/>
                      <a:pt x="1"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0" name="Saint Helena (UK)">
                <a:extLst>
                  <a:ext uri="{FF2B5EF4-FFF2-40B4-BE49-F238E27FC236}">
                    <a16:creationId xmlns:a16="http://schemas.microsoft.com/office/drawing/2014/main" id="{CEAE19AA-8983-62E3-7A0C-50B81450722E}"/>
                  </a:ext>
                </a:extLst>
              </p:cNvPr>
              <p:cNvSpPr>
                <a:spLocks noEditPoints="1"/>
              </p:cNvSpPr>
              <p:nvPr/>
            </p:nvSpPr>
            <p:spPr bwMode="auto">
              <a:xfrm>
                <a:off x="5201700" y="4352120"/>
                <a:ext cx="303851" cy="1266371"/>
              </a:xfrm>
              <a:custGeom>
                <a:avLst/>
                <a:gdLst/>
                <a:ahLst/>
                <a:cxnLst>
                  <a:cxn ang="0">
                    <a:pos x="86" y="89"/>
                  </a:cxn>
                  <a:cxn ang="0">
                    <a:pos x="86" y="88"/>
                  </a:cxn>
                  <a:cxn ang="0">
                    <a:pos x="86" y="89"/>
                  </a:cxn>
                  <a:cxn ang="0">
                    <a:pos x="34" y="320"/>
                  </a:cxn>
                  <a:cxn ang="0">
                    <a:pos x="35" y="322"/>
                  </a:cxn>
                  <a:cxn ang="0">
                    <a:pos x="34" y="320"/>
                  </a:cxn>
                  <a:cxn ang="0">
                    <a:pos x="58" y="356"/>
                  </a:cxn>
                  <a:cxn ang="0">
                    <a:pos x="59" y="357"/>
                  </a:cxn>
                  <a:cxn ang="0">
                    <a:pos x="58" y="356"/>
                  </a:cxn>
                  <a:cxn ang="0">
                    <a:pos x="0" y="1"/>
                  </a:cxn>
                  <a:cxn ang="0">
                    <a:pos x="1" y="0"/>
                  </a:cxn>
                  <a:cxn ang="0">
                    <a:pos x="0" y="1"/>
                  </a:cxn>
                </a:cxnLst>
                <a:rect l="0" t="0" r="r" b="b"/>
                <a:pathLst>
                  <a:path w="86" h="357">
                    <a:moveTo>
                      <a:pt x="86" y="89"/>
                    </a:moveTo>
                    <a:cubicBezTo>
                      <a:pt x="85" y="90"/>
                      <a:pt x="85" y="88"/>
                      <a:pt x="86" y="88"/>
                    </a:cubicBezTo>
                    <a:cubicBezTo>
                      <a:pt x="86" y="88"/>
                      <a:pt x="86" y="89"/>
                      <a:pt x="86" y="89"/>
                    </a:cubicBezTo>
                    <a:close/>
                    <a:moveTo>
                      <a:pt x="34" y="320"/>
                    </a:moveTo>
                    <a:cubicBezTo>
                      <a:pt x="34" y="320"/>
                      <a:pt x="34" y="321"/>
                      <a:pt x="35" y="322"/>
                    </a:cubicBezTo>
                    <a:cubicBezTo>
                      <a:pt x="35" y="321"/>
                      <a:pt x="35" y="320"/>
                      <a:pt x="34" y="320"/>
                    </a:cubicBezTo>
                    <a:close/>
                    <a:moveTo>
                      <a:pt x="58" y="356"/>
                    </a:moveTo>
                    <a:cubicBezTo>
                      <a:pt x="57" y="356"/>
                      <a:pt x="58" y="357"/>
                      <a:pt x="59" y="357"/>
                    </a:cubicBezTo>
                    <a:cubicBezTo>
                      <a:pt x="59" y="357"/>
                      <a:pt x="58" y="356"/>
                      <a:pt x="58" y="356"/>
                    </a:cubicBezTo>
                    <a:close/>
                    <a:moveTo>
                      <a:pt x="0" y="1"/>
                    </a:moveTo>
                    <a:cubicBezTo>
                      <a:pt x="1" y="1"/>
                      <a:pt x="2" y="1"/>
                      <a:pt x="1" y="0"/>
                    </a:cubicBezTo>
                    <a:cubicBezTo>
                      <a:pt x="0" y="0"/>
                      <a:pt x="0" y="1"/>
                      <a:pt x="0"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1" name="Saint Barthelemy (FR)">
                <a:extLst>
                  <a:ext uri="{FF2B5EF4-FFF2-40B4-BE49-F238E27FC236}">
                    <a16:creationId xmlns:a16="http://schemas.microsoft.com/office/drawing/2014/main" id="{E7BDA1E5-1A2C-3E6B-D319-81AA8F6F3303}"/>
                  </a:ext>
                </a:extLst>
              </p:cNvPr>
              <p:cNvSpPr>
                <a:spLocks noChangeAspect="1"/>
              </p:cNvSpPr>
              <p:nvPr/>
            </p:nvSpPr>
            <p:spPr bwMode="auto">
              <a:xfrm>
                <a:off x="3576241" y="3354482"/>
                <a:ext cx="5133" cy="3582"/>
              </a:xfrm>
              <a:custGeom>
                <a:avLst/>
                <a:gdLst>
                  <a:gd name="connsiteX0" fmla="*/ 0 w 4572"/>
                  <a:gd name="connsiteY0" fmla="*/ 0 h 3191"/>
                  <a:gd name="connsiteX1" fmla="*/ 4572 w 4572"/>
                  <a:gd name="connsiteY1" fmla="*/ 0 h 3191"/>
                  <a:gd name="connsiteX2" fmla="*/ 4572 w 4572"/>
                  <a:gd name="connsiteY2" fmla="*/ 1810 h 3191"/>
                  <a:gd name="connsiteX3" fmla="*/ 3191 w 4572"/>
                  <a:gd name="connsiteY3" fmla="*/ 3191 h 3191"/>
                </a:gdLst>
                <a:ahLst/>
                <a:cxnLst>
                  <a:cxn ang="0">
                    <a:pos x="connsiteX0" y="connsiteY0"/>
                  </a:cxn>
                  <a:cxn ang="0">
                    <a:pos x="connsiteX1" y="connsiteY1"/>
                  </a:cxn>
                  <a:cxn ang="0">
                    <a:pos x="connsiteX2" y="connsiteY2"/>
                  </a:cxn>
                  <a:cxn ang="0">
                    <a:pos x="connsiteX3" y="connsiteY3"/>
                  </a:cxn>
                </a:cxnLst>
                <a:rect l="l" t="t" r="r" b="b"/>
                <a:pathLst>
                  <a:path w="4572" h="3191">
                    <a:moveTo>
                      <a:pt x="0" y="0"/>
                    </a:moveTo>
                    <a:lnTo>
                      <a:pt x="4572" y="0"/>
                    </a:lnTo>
                    <a:lnTo>
                      <a:pt x="4572" y="1810"/>
                    </a:lnTo>
                    <a:lnTo>
                      <a:pt x="3191" y="3191"/>
                    </a:ln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2" name="Saba">
                <a:extLst>
                  <a:ext uri="{FF2B5EF4-FFF2-40B4-BE49-F238E27FC236}">
                    <a16:creationId xmlns:a16="http://schemas.microsoft.com/office/drawing/2014/main" id="{16BDC417-31A9-54E0-DCC1-AACA1B397858}"/>
                  </a:ext>
                </a:extLst>
              </p:cNvPr>
              <p:cNvSpPr>
                <a:spLocks noChangeAspect="1"/>
              </p:cNvSpPr>
              <p:nvPr/>
            </p:nvSpPr>
            <p:spPr bwMode="auto">
              <a:xfrm>
                <a:off x="3558958" y="3360534"/>
                <a:ext cx="5133" cy="3582"/>
              </a:xfrm>
              <a:custGeom>
                <a:avLst/>
                <a:gdLst>
                  <a:gd name="connsiteX0" fmla="*/ 0 w 4572"/>
                  <a:gd name="connsiteY0" fmla="*/ 0 h 3191"/>
                  <a:gd name="connsiteX1" fmla="*/ 4572 w 4572"/>
                  <a:gd name="connsiteY1" fmla="*/ 0 h 3191"/>
                  <a:gd name="connsiteX2" fmla="*/ 4572 w 4572"/>
                  <a:gd name="connsiteY2" fmla="*/ 1810 h 3191"/>
                  <a:gd name="connsiteX3" fmla="*/ 3191 w 4572"/>
                  <a:gd name="connsiteY3" fmla="*/ 3191 h 3191"/>
                </a:gdLst>
                <a:ahLst/>
                <a:cxnLst>
                  <a:cxn ang="0">
                    <a:pos x="connsiteX0" y="connsiteY0"/>
                  </a:cxn>
                  <a:cxn ang="0">
                    <a:pos x="connsiteX1" y="connsiteY1"/>
                  </a:cxn>
                  <a:cxn ang="0">
                    <a:pos x="connsiteX2" y="connsiteY2"/>
                  </a:cxn>
                  <a:cxn ang="0">
                    <a:pos x="connsiteX3" y="connsiteY3"/>
                  </a:cxn>
                </a:cxnLst>
                <a:rect l="l" t="t" r="r" b="b"/>
                <a:pathLst>
                  <a:path w="4572" h="3191">
                    <a:moveTo>
                      <a:pt x="0" y="0"/>
                    </a:moveTo>
                    <a:lnTo>
                      <a:pt x="4572" y="0"/>
                    </a:lnTo>
                    <a:lnTo>
                      <a:pt x="4572" y="1810"/>
                    </a:lnTo>
                    <a:lnTo>
                      <a:pt x="3191" y="3191"/>
                    </a:ln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3" name="Rwanda">
                <a:extLst>
                  <a:ext uri="{FF2B5EF4-FFF2-40B4-BE49-F238E27FC236}">
                    <a16:creationId xmlns:a16="http://schemas.microsoft.com/office/drawing/2014/main" id="{D6BB1C14-F542-41F7-7FE4-689DCC22BF72}"/>
                  </a:ext>
                </a:extLst>
              </p:cNvPr>
              <p:cNvSpPr>
                <a:spLocks/>
              </p:cNvSpPr>
              <p:nvPr/>
            </p:nvSpPr>
            <p:spPr bwMode="auto">
              <a:xfrm>
                <a:off x="6684689" y="4083556"/>
                <a:ext cx="71552" cy="70572"/>
              </a:xfrm>
              <a:custGeom>
                <a:avLst/>
                <a:gdLst/>
                <a:ahLst/>
                <a:cxnLst>
                  <a:cxn ang="0">
                    <a:pos x="19" y="10"/>
                  </a:cxn>
                  <a:cxn ang="0">
                    <a:pos x="20" y="7"/>
                  </a:cxn>
                  <a:cxn ang="0">
                    <a:pos x="19" y="6"/>
                  </a:cxn>
                  <a:cxn ang="0">
                    <a:pos x="18" y="5"/>
                  </a:cxn>
                  <a:cxn ang="0">
                    <a:pos x="17" y="3"/>
                  </a:cxn>
                  <a:cxn ang="0">
                    <a:pos x="16" y="1"/>
                  </a:cxn>
                  <a:cxn ang="0">
                    <a:pos x="15" y="2"/>
                  </a:cxn>
                  <a:cxn ang="0">
                    <a:pos x="13" y="4"/>
                  </a:cxn>
                  <a:cxn ang="0">
                    <a:pos x="12" y="5"/>
                  </a:cxn>
                  <a:cxn ang="0">
                    <a:pos x="11" y="5"/>
                  </a:cxn>
                  <a:cxn ang="0">
                    <a:pos x="10" y="4"/>
                  </a:cxn>
                  <a:cxn ang="0">
                    <a:pos x="10" y="4"/>
                  </a:cxn>
                  <a:cxn ang="0">
                    <a:pos x="9" y="4"/>
                  </a:cxn>
                  <a:cxn ang="0">
                    <a:pos x="7" y="5"/>
                  </a:cxn>
                  <a:cxn ang="0">
                    <a:pos x="6" y="6"/>
                  </a:cxn>
                  <a:cxn ang="0">
                    <a:pos x="6" y="6"/>
                  </a:cxn>
                  <a:cxn ang="0">
                    <a:pos x="5" y="7"/>
                  </a:cxn>
                  <a:cxn ang="0">
                    <a:pos x="3" y="9"/>
                  </a:cxn>
                  <a:cxn ang="0">
                    <a:pos x="3" y="11"/>
                  </a:cxn>
                  <a:cxn ang="0">
                    <a:pos x="2" y="14"/>
                  </a:cxn>
                  <a:cxn ang="0">
                    <a:pos x="2" y="15"/>
                  </a:cxn>
                  <a:cxn ang="0">
                    <a:pos x="1" y="15"/>
                  </a:cxn>
                  <a:cxn ang="0">
                    <a:pos x="1" y="17"/>
                  </a:cxn>
                  <a:cxn ang="0">
                    <a:pos x="1" y="18"/>
                  </a:cxn>
                  <a:cxn ang="0">
                    <a:pos x="2" y="19"/>
                  </a:cxn>
                  <a:cxn ang="0">
                    <a:pos x="3" y="18"/>
                  </a:cxn>
                  <a:cxn ang="0">
                    <a:pos x="5" y="18"/>
                  </a:cxn>
                  <a:cxn ang="0">
                    <a:pos x="5" y="20"/>
                  </a:cxn>
                  <a:cxn ang="0">
                    <a:pos x="6" y="20"/>
                  </a:cxn>
                  <a:cxn ang="0">
                    <a:pos x="7" y="20"/>
                  </a:cxn>
                  <a:cxn ang="0">
                    <a:pos x="8" y="20"/>
                  </a:cxn>
                  <a:cxn ang="0">
                    <a:pos x="9" y="20"/>
                  </a:cxn>
                  <a:cxn ang="0">
                    <a:pos x="9" y="20"/>
                  </a:cxn>
                  <a:cxn ang="0">
                    <a:pos x="10" y="20"/>
                  </a:cxn>
                  <a:cxn ang="0">
                    <a:pos x="11" y="17"/>
                  </a:cxn>
                  <a:cxn ang="0">
                    <a:pos x="11" y="16"/>
                  </a:cxn>
                  <a:cxn ang="0">
                    <a:pos x="11" y="15"/>
                  </a:cxn>
                  <a:cxn ang="0">
                    <a:pos x="12" y="15"/>
                  </a:cxn>
                  <a:cxn ang="0">
                    <a:pos x="13" y="16"/>
                  </a:cxn>
                  <a:cxn ang="0">
                    <a:pos x="15" y="15"/>
                  </a:cxn>
                  <a:cxn ang="0">
                    <a:pos x="16" y="15"/>
                  </a:cxn>
                  <a:cxn ang="0">
                    <a:pos x="17" y="16"/>
                  </a:cxn>
                  <a:cxn ang="0">
                    <a:pos x="19" y="15"/>
                  </a:cxn>
                  <a:cxn ang="0">
                    <a:pos x="20" y="14"/>
                  </a:cxn>
                  <a:cxn ang="0">
                    <a:pos x="20" y="12"/>
                  </a:cxn>
                  <a:cxn ang="0">
                    <a:pos x="19" y="10"/>
                  </a:cxn>
                </a:cxnLst>
                <a:rect l="0" t="0" r="r" b="b"/>
                <a:pathLst>
                  <a:path w="20" h="20">
                    <a:moveTo>
                      <a:pt x="19" y="10"/>
                    </a:moveTo>
                    <a:cubicBezTo>
                      <a:pt x="20" y="9"/>
                      <a:pt x="20" y="8"/>
                      <a:pt x="20" y="7"/>
                    </a:cubicBezTo>
                    <a:cubicBezTo>
                      <a:pt x="20" y="7"/>
                      <a:pt x="19" y="7"/>
                      <a:pt x="19" y="6"/>
                    </a:cubicBezTo>
                    <a:cubicBezTo>
                      <a:pt x="19" y="6"/>
                      <a:pt x="19" y="5"/>
                      <a:pt x="18" y="5"/>
                    </a:cubicBezTo>
                    <a:cubicBezTo>
                      <a:pt x="18" y="4"/>
                      <a:pt x="17" y="4"/>
                      <a:pt x="17" y="3"/>
                    </a:cubicBezTo>
                    <a:cubicBezTo>
                      <a:pt x="17" y="3"/>
                      <a:pt x="16" y="1"/>
                      <a:pt x="16" y="1"/>
                    </a:cubicBezTo>
                    <a:cubicBezTo>
                      <a:pt x="15" y="0"/>
                      <a:pt x="15" y="2"/>
                      <a:pt x="15" y="2"/>
                    </a:cubicBezTo>
                    <a:cubicBezTo>
                      <a:pt x="14" y="3"/>
                      <a:pt x="14" y="3"/>
                      <a:pt x="13" y="4"/>
                    </a:cubicBezTo>
                    <a:cubicBezTo>
                      <a:pt x="13" y="4"/>
                      <a:pt x="13" y="4"/>
                      <a:pt x="12" y="5"/>
                    </a:cubicBezTo>
                    <a:cubicBezTo>
                      <a:pt x="12" y="5"/>
                      <a:pt x="11" y="6"/>
                      <a:pt x="11" y="5"/>
                    </a:cubicBezTo>
                    <a:cubicBezTo>
                      <a:pt x="11" y="5"/>
                      <a:pt x="10" y="4"/>
                      <a:pt x="10" y="4"/>
                    </a:cubicBezTo>
                    <a:cubicBezTo>
                      <a:pt x="10" y="4"/>
                      <a:pt x="10" y="4"/>
                      <a:pt x="10" y="4"/>
                    </a:cubicBezTo>
                    <a:cubicBezTo>
                      <a:pt x="9" y="4"/>
                      <a:pt x="9" y="4"/>
                      <a:pt x="9" y="4"/>
                    </a:cubicBezTo>
                    <a:cubicBezTo>
                      <a:pt x="8" y="4"/>
                      <a:pt x="8" y="4"/>
                      <a:pt x="7" y="5"/>
                    </a:cubicBezTo>
                    <a:cubicBezTo>
                      <a:pt x="7" y="5"/>
                      <a:pt x="7" y="5"/>
                      <a:pt x="6" y="6"/>
                    </a:cubicBezTo>
                    <a:cubicBezTo>
                      <a:pt x="6" y="6"/>
                      <a:pt x="6" y="6"/>
                      <a:pt x="6" y="6"/>
                    </a:cubicBezTo>
                    <a:cubicBezTo>
                      <a:pt x="5" y="6"/>
                      <a:pt x="5" y="7"/>
                      <a:pt x="5" y="7"/>
                    </a:cubicBezTo>
                    <a:cubicBezTo>
                      <a:pt x="4" y="7"/>
                      <a:pt x="4" y="9"/>
                      <a:pt x="3" y="9"/>
                    </a:cubicBezTo>
                    <a:cubicBezTo>
                      <a:pt x="3" y="10"/>
                      <a:pt x="3" y="10"/>
                      <a:pt x="3" y="11"/>
                    </a:cubicBezTo>
                    <a:cubicBezTo>
                      <a:pt x="4" y="12"/>
                      <a:pt x="4" y="14"/>
                      <a:pt x="2" y="14"/>
                    </a:cubicBezTo>
                    <a:cubicBezTo>
                      <a:pt x="2" y="14"/>
                      <a:pt x="2" y="15"/>
                      <a:pt x="2" y="15"/>
                    </a:cubicBezTo>
                    <a:cubicBezTo>
                      <a:pt x="2" y="15"/>
                      <a:pt x="1" y="15"/>
                      <a:pt x="1" y="15"/>
                    </a:cubicBezTo>
                    <a:cubicBezTo>
                      <a:pt x="0" y="16"/>
                      <a:pt x="1" y="16"/>
                      <a:pt x="1" y="17"/>
                    </a:cubicBezTo>
                    <a:cubicBezTo>
                      <a:pt x="0" y="17"/>
                      <a:pt x="1" y="18"/>
                      <a:pt x="1" y="18"/>
                    </a:cubicBezTo>
                    <a:cubicBezTo>
                      <a:pt x="1" y="19"/>
                      <a:pt x="2" y="19"/>
                      <a:pt x="2" y="19"/>
                    </a:cubicBezTo>
                    <a:cubicBezTo>
                      <a:pt x="2" y="19"/>
                      <a:pt x="2" y="18"/>
                      <a:pt x="3" y="18"/>
                    </a:cubicBezTo>
                    <a:cubicBezTo>
                      <a:pt x="3" y="18"/>
                      <a:pt x="4" y="18"/>
                      <a:pt x="5" y="18"/>
                    </a:cubicBezTo>
                    <a:cubicBezTo>
                      <a:pt x="5" y="19"/>
                      <a:pt x="5" y="20"/>
                      <a:pt x="5" y="20"/>
                    </a:cubicBezTo>
                    <a:cubicBezTo>
                      <a:pt x="6" y="20"/>
                      <a:pt x="6" y="20"/>
                      <a:pt x="6" y="20"/>
                    </a:cubicBezTo>
                    <a:cubicBezTo>
                      <a:pt x="7" y="20"/>
                      <a:pt x="7" y="20"/>
                      <a:pt x="7" y="20"/>
                    </a:cubicBezTo>
                    <a:cubicBezTo>
                      <a:pt x="8" y="20"/>
                      <a:pt x="8" y="20"/>
                      <a:pt x="8" y="20"/>
                    </a:cubicBezTo>
                    <a:cubicBezTo>
                      <a:pt x="8" y="20"/>
                      <a:pt x="9" y="20"/>
                      <a:pt x="9" y="20"/>
                    </a:cubicBezTo>
                    <a:cubicBezTo>
                      <a:pt x="9" y="20"/>
                      <a:pt x="9" y="19"/>
                      <a:pt x="9" y="20"/>
                    </a:cubicBezTo>
                    <a:cubicBezTo>
                      <a:pt x="10" y="20"/>
                      <a:pt x="10" y="20"/>
                      <a:pt x="10" y="20"/>
                    </a:cubicBezTo>
                    <a:cubicBezTo>
                      <a:pt x="11" y="19"/>
                      <a:pt x="11" y="18"/>
                      <a:pt x="11" y="17"/>
                    </a:cubicBezTo>
                    <a:cubicBezTo>
                      <a:pt x="11" y="17"/>
                      <a:pt x="11" y="16"/>
                      <a:pt x="11" y="16"/>
                    </a:cubicBezTo>
                    <a:cubicBezTo>
                      <a:pt x="11" y="15"/>
                      <a:pt x="11" y="15"/>
                      <a:pt x="11" y="15"/>
                    </a:cubicBezTo>
                    <a:cubicBezTo>
                      <a:pt x="11" y="15"/>
                      <a:pt x="12" y="15"/>
                      <a:pt x="12" y="15"/>
                    </a:cubicBezTo>
                    <a:cubicBezTo>
                      <a:pt x="13" y="16"/>
                      <a:pt x="13" y="16"/>
                      <a:pt x="13" y="16"/>
                    </a:cubicBezTo>
                    <a:cubicBezTo>
                      <a:pt x="14" y="15"/>
                      <a:pt x="14" y="15"/>
                      <a:pt x="15" y="15"/>
                    </a:cubicBezTo>
                    <a:cubicBezTo>
                      <a:pt x="15" y="15"/>
                      <a:pt x="15" y="14"/>
                      <a:pt x="16" y="15"/>
                    </a:cubicBezTo>
                    <a:cubicBezTo>
                      <a:pt x="16" y="15"/>
                      <a:pt x="17" y="16"/>
                      <a:pt x="17" y="16"/>
                    </a:cubicBezTo>
                    <a:cubicBezTo>
                      <a:pt x="18" y="16"/>
                      <a:pt x="18" y="15"/>
                      <a:pt x="19" y="15"/>
                    </a:cubicBezTo>
                    <a:cubicBezTo>
                      <a:pt x="20" y="16"/>
                      <a:pt x="20" y="14"/>
                      <a:pt x="20" y="14"/>
                    </a:cubicBezTo>
                    <a:cubicBezTo>
                      <a:pt x="20" y="13"/>
                      <a:pt x="20" y="12"/>
                      <a:pt x="20" y="12"/>
                    </a:cubicBezTo>
                    <a:cubicBezTo>
                      <a:pt x="20" y="11"/>
                      <a:pt x="19" y="11"/>
                      <a:pt x="19" y="1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4" name="Russia">
                <a:extLst>
                  <a:ext uri="{FF2B5EF4-FFF2-40B4-BE49-F238E27FC236}">
                    <a16:creationId xmlns:a16="http://schemas.microsoft.com/office/drawing/2014/main" id="{996025B5-4595-913D-FEFA-2A8C9213A674}"/>
                  </a:ext>
                </a:extLst>
              </p:cNvPr>
              <p:cNvSpPr>
                <a:spLocks noEditPoints="1"/>
              </p:cNvSpPr>
              <p:nvPr/>
            </p:nvSpPr>
            <p:spPr bwMode="auto">
              <a:xfrm>
                <a:off x="6317129" y="1045047"/>
                <a:ext cx="4390156" cy="1396734"/>
              </a:xfrm>
              <a:custGeom>
                <a:avLst/>
                <a:gdLst/>
                <a:ahLst/>
                <a:cxnLst>
                  <a:cxn ang="0">
                    <a:pos x="479" y="24"/>
                  </a:cxn>
                  <a:cxn ang="0">
                    <a:pos x="745" y="45"/>
                  </a:cxn>
                  <a:cxn ang="0">
                    <a:pos x="225" y="88"/>
                  </a:cxn>
                  <a:cxn ang="0">
                    <a:pos x="230" y="75"/>
                  </a:cxn>
                  <a:cxn ang="0">
                    <a:pos x="223" y="53"/>
                  </a:cxn>
                  <a:cxn ang="0">
                    <a:pos x="242" y="62"/>
                  </a:cxn>
                  <a:cxn ang="0">
                    <a:pos x="789" y="68"/>
                  </a:cxn>
                  <a:cxn ang="0">
                    <a:pos x="416" y="10"/>
                  </a:cxn>
                  <a:cxn ang="0">
                    <a:pos x="464" y="23"/>
                  </a:cxn>
                  <a:cxn ang="0">
                    <a:pos x="150" y="9"/>
                  </a:cxn>
                  <a:cxn ang="0">
                    <a:pos x="1067" y="333"/>
                  </a:cxn>
                  <a:cxn ang="0">
                    <a:pos x="1008" y="263"/>
                  </a:cxn>
                  <a:cxn ang="0">
                    <a:pos x="2" y="252"/>
                  </a:cxn>
                  <a:cxn ang="0">
                    <a:pos x="808" y="39"/>
                  </a:cxn>
                  <a:cxn ang="0">
                    <a:pos x="242" y="7"/>
                  </a:cxn>
                  <a:cxn ang="0">
                    <a:pos x="218" y="89"/>
                  </a:cxn>
                  <a:cxn ang="0">
                    <a:pos x="680" y="64"/>
                  </a:cxn>
                  <a:cxn ang="0">
                    <a:pos x="1188" y="140"/>
                  </a:cxn>
                  <a:cxn ang="0">
                    <a:pos x="1174" y="154"/>
                  </a:cxn>
                  <a:cxn ang="0">
                    <a:pos x="1164" y="187"/>
                  </a:cxn>
                  <a:cxn ang="0">
                    <a:pos x="1124" y="217"/>
                  </a:cxn>
                  <a:cxn ang="0">
                    <a:pos x="1151" y="286"/>
                  </a:cxn>
                  <a:cxn ang="0">
                    <a:pos x="1092" y="171"/>
                  </a:cxn>
                  <a:cxn ang="0">
                    <a:pos x="1043" y="189"/>
                  </a:cxn>
                  <a:cxn ang="0">
                    <a:pos x="1001" y="202"/>
                  </a:cxn>
                  <a:cxn ang="0">
                    <a:pos x="963" y="253"/>
                  </a:cxn>
                  <a:cxn ang="0">
                    <a:pos x="1025" y="306"/>
                  </a:cxn>
                  <a:cxn ang="0">
                    <a:pos x="991" y="372"/>
                  </a:cxn>
                  <a:cxn ang="0">
                    <a:pos x="971" y="321"/>
                  </a:cxn>
                  <a:cxn ang="0">
                    <a:pos x="860" y="264"/>
                  </a:cxn>
                  <a:cxn ang="0">
                    <a:pos x="764" y="307"/>
                  </a:cxn>
                  <a:cxn ang="0">
                    <a:pos x="615" y="291"/>
                  </a:cxn>
                  <a:cxn ang="0">
                    <a:pos x="513" y="285"/>
                  </a:cxn>
                  <a:cxn ang="0">
                    <a:pos x="411" y="243"/>
                  </a:cxn>
                  <a:cxn ang="0">
                    <a:pos x="343" y="275"/>
                  </a:cxn>
                  <a:cxn ang="0">
                    <a:pos x="260" y="282"/>
                  </a:cxn>
                  <a:cxn ang="0">
                    <a:pos x="251" y="345"/>
                  </a:cxn>
                  <a:cxn ang="0">
                    <a:pos x="229" y="377"/>
                  </a:cxn>
                  <a:cxn ang="0">
                    <a:pos x="162" y="337"/>
                  </a:cxn>
                  <a:cxn ang="0">
                    <a:pos x="133" y="289"/>
                  </a:cxn>
                  <a:cxn ang="0">
                    <a:pos x="67" y="232"/>
                  </a:cxn>
                  <a:cxn ang="0">
                    <a:pos x="68" y="148"/>
                  </a:cxn>
                  <a:cxn ang="0">
                    <a:pos x="110" y="108"/>
                  </a:cxn>
                  <a:cxn ang="0">
                    <a:pos x="95" y="134"/>
                  </a:cxn>
                  <a:cxn ang="0">
                    <a:pos x="140" y="143"/>
                  </a:cxn>
                  <a:cxn ang="0">
                    <a:pos x="202" y="121"/>
                  </a:cxn>
                  <a:cxn ang="0">
                    <a:pos x="276" y="101"/>
                  </a:cxn>
                  <a:cxn ang="0">
                    <a:pos x="345" y="74"/>
                  </a:cxn>
                  <a:cxn ang="0">
                    <a:pos x="378" y="129"/>
                  </a:cxn>
                  <a:cxn ang="0">
                    <a:pos x="367" y="80"/>
                  </a:cxn>
                  <a:cxn ang="0">
                    <a:pos x="397" y="66"/>
                  </a:cxn>
                  <a:cxn ang="0">
                    <a:pos x="456" y="45"/>
                  </a:cxn>
                  <a:cxn ang="0">
                    <a:pos x="520" y="37"/>
                  </a:cxn>
                  <a:cxn ang="0">
                    <a:pos x="590" y="56"/>
                  </a:cxn>
                  <a:cxn ang="0">
                    <a:pos x="650" y="70"/>
                  </a:cxn>
                  <a:cxn ang="0">
                    <a:pos x="731" y="78"/>
                  </a:cxn>
                  <a:cxn ang="0">
                    <a:pos x="801" y="78"/>
                  </a:cxn>
                  <a:cxn ang="0">
                    <a:pos x="909" y="91"/>
                  </a:cxn>
                  <a:cxn ang="0">
                    <a:pos x="1094" y="102"/>
                  </a:cxn>
                  <a:cxn ang="0">
                    <a:pos x="1204" y="127"/>
                  </a:cxn>
                  <a:cxn ang="0">
                    <a:pos x="79" y="180"/>
                  </a:cxn>
                  <a:cxn ang="0">
                    <a:pos x="106" y="173"/>
                  </a:cxn>
                  <a:cxn ang="0">
                    <a:pos x="710" y="279"/>
                  </a:cxn>
                </a:cxnLst>
                <a:rect l="0" t="0" r="r" b="b"/>
                <a:pathLst>
                  <a:path w="1240" h="394">
                    <a:moveTo>
                      <a:pt x="735" y="49"/>
                    </a:moveTo>
                    <a:cubicBezTo>
                      <a:pt x="734" y="48"/>
                      <a:pt x="733" y="48"/>
                      <a:pt x="732" y="47"/>
                    </a:cubicBezTo>
                    <a:cubicBezTo>
                      <a:pt x="734" y="47"/>
                      <a:pt x="735" y="48"/>
                      <a:pt x="736" y="48"/>
                    </a:cubicBezTo>
                    <a:cubicBezTo>
                      <a:pt x="736" y="48"/>
                      <a:pt x="739" y="49"/>
                      <a:pt x="739" y="49"/>
                    </a:cubicBezTo>
                    <a:cubicBezTo>
                      <a:pt x="739" y="49"/>
                      <a:pt x="738" y="50"/>
                      <a:pt x="739" y="50"/>
                    </a:cubicBezTo>
                    <a:cubicBezTo>
                      <a:pt x="739" y="50"/>
                      <a:pt x="740" y="50"/>
                      <a:pt x="740" y="51"/>
                    </a:cubicBezTo>
                    <a:cubicBezTo>
                      <a:pt x="740" y="51"/>
                      <a:pt x="737" y="51"/>
                      <a:pt x="737" y="51"/>
                    </a:cubicBezTo>
                    <a:cubicBezTo>
                      <a:pt x="736" y="51"/>
                      <a:pt x="736" y="50"/>
                      <a:pt x="736" y="50"/>
                    </a:cubicBezTo>
                    <a:cubicBezTo>
                      <a:pt x="735" y="50"/>
                      <a:pt x="735" y="49"/>
                      <a:pt x="735" y="49"/>
                    </a:cubicBezTo>
                    <a:close/>
                    <a:moveTo>
                      <a:pt x="187" y="6"/>
                    </a:moveTo>
                    <a:cubicBezTo>
                      <a:pt x="187" y="6"/>
                      <a:pt x="188" y="7"/>
                      <a:pt x="189" y="7"/>
                    </a:cubicBezTo>
                    <a:cubicBezTo>
                      <a:pt x="190" y="7"/>
                      <a:pt x="191" y="7"/>
                      <a:pt x="192" y="7"/>
                    </a:cubicBezTo>
                    <a:cubicBezTo>
                      <a:pt x="193" y="7"/>
                      <a:pt x="193" y="7"/>
                      <a:pt x="194" y="7"/>
                    </a:cubicBezTo>
                    <a:cubicBezTo>
                      <a:pt x="196" y="8"/>
                      <a:pt x="198" y="8"/>
                      <a:pt x="201" y="8"/>
                    </a:cubicBezTo>
                    <a:cubicBezTo>
                      <a:pt x="202" y="9"/>
                      <a:pt x="204" y="9"/>
                      <a:pt x="205" y="8"/>
                    </a:cubicBezTo>
                    <a:cubicBezTo>
                      <a:pt x="205" y="7"/>
                      <a:pt x="204" y="7"/>
                      <a:pt x="203" y="7"/>
                    </a:cubicBezTo>
                    <a:cubicBezTo>
                      <a:pt x="202" y="7"/>
                      <a:pt x="201" y="7"/>
                      <a:pt x="200" y="7"/>
                    </a:cubicBezTo>
                    <a:cubicBezTo>
                      <a:pt x="198" y="7"/>
                      <a:pt x="197" y="6"/>
                      <a:pt x="195" y="6"/>
                    </a:cubicBezTo>
                    <a:cubicBezTo>
                      <a:pt x="193" y="6"/>
                      <a:pt x="191" y="6"/>
                      <a:pt x="189" y="6"/>
                    </a:cubicBezTo>
                    <a:cubicBezTo>
                      <a:pt x="188" y="6"/>
                      <a:pt x="187" y="6"/>
                      <a:pt x="186" y="6"/>
                    </a:cubicBezTo>
                    <a:cubicBezTo>
                      <a:pt x="186" y="5"/>
                      <a:pt x="185" y="6"/>
                      <a:pt x="185" y="6"/>
                    </a:cubicBezTo>
                    <a:cubicBezTo>
                      <a:pt x="185" y="7"/>
                      <a:pt x="186" y="6"/>
                      <a:pt x="187" y="6"/>
                    </a:cubicBezTo>
                    <a:close/>
                    <a:moveTo>
                      <a:pt x="203" y="11"/>
                    </a:moveTo>
                    <a:cubicBezTo>
                      <a:pt x="202" y="11"/>
                      <a:pt x="201" y="11"/>
                      <a:pt x="200" y="11"/>
                    </a:cubicBezTo>
                    <a:cubicBezTo>
                      <a:pt x="199" y="11"/>
                      <a:pt x="198" y="11"/>
                      <a:pt x="197" y="11"/>
                    </a:cubicBezTo>
                    <a:cubicBezTo>
                      <a:pt x="197" y="12"/>
                      <a:pt x="198" y="12"/>
                      <a:pt x="198" y="12"/>
                    </a:cubicBezTo>
                    <a:cubicBezTo>
                      <a:pt x="198" y="13"/>
                      <a:pt x="197" y="13"/>
                      <a:pt x="197" y="13"/>
                    </a:cubicBezTo>
                    <a:cubicBezTo>
                      <a:pt x="197" y="13"/>
                      <a:pt x="197" y="13"/>
                      <a:pt x="197" y="13"/>
                    </a:cubicBezTo>
                    <a:cubicBezTo>
                      <a:pt x="198" y="13"/>
                      <a:pt x="200" y="13"/>
                      <a:pt x="202" y="13"/>
                    </a:cubicBezTo>
                    <a:cubicBezTo>
                      <a:pt x="203" y="13"/>
                      <a:pt x="204" y="14"/>
                      <a:pt x="205" y="13"/>
                    </a:cubicBezTo>
                    <a:cubicBezTo>
                      <a:pt x="205" y="13"/>
                      <a:pt x="204" y="12"/>
                      <a:pt x="205" y="12"/>
                    </a:cubicBezTo>
                    <a:cubicBezTo>
                      <a:pt x="205" y="12"/>
                      <a:pt x="204" y="12"/>
                      <a:pt x="204" y="12"/>
                    </a:cubicBezTo>
                    <a:cubicBezTo>
                      <a:pt x="204" y="12"/>
                      <a:pt x="204" y="12"/>
                      <a:pt x="204" y="11"/>
                    </a:cubicBezTo>
                    <a:cubicBezTo>
                      <a:pt x="204" y="11"/>
                      <a:pt x="203" y="11"/>
                      <a:pt x="203" y="11"/>
                    </a:cubicBezTo>
                    <a:close/>
                    <a:moveTo>
                      <a:pt x="478" y="24"/>
                    </a:moveTo>
                    <a:cubicBezTo>
                      <a:pt x="479" y="23"/>
                      <a:pt x="478" y="23"/>
                      <a:pt x="479" y="23"/>
                    </a:cubicBezTo>
                    <a:cubicBezTo>
                      <a:pt x="480" y="23"/>
                      <a:pt x="481" y="23"/>
                      <a:pt x="482" y="23"/>
                    </a:cubicBezTo>
                    <a:cubicBezTo>
                      <a:pt x="482" y="23"/>
                      <a:pt x="483" y="23"/>
                      <a:pt x="483" y="23"/>
                    </a:cubicBezTo>
                    <a:cubicBezTo>
                      <a:pt x="482" y="23"/>
                      <a:pt x="481" y="23"/>
                      <a:pt x="480" y="23"/>
                    </a:cubicBezTo>
                    <a:cubicBezTo>
                      <a:pt x="480" y="23"/>
                      <a:pt x="479" y="22"/>
                      <a:pt x="479" y="22"/>
                    </a:cubicBezTo>
                    <a:cubicBezTo>
                      <a:pt x="479" y="21"/>
                      <a:pt x="480" y="21"/>
                      <a:pt x="480" y="21"/>
                    </a:cubicBezTo>
                    <a:cubicBezTo>
                      <a:pt x="480" y="21"/>
                      <a:pt x="480" y="21"/>
                      <a:pt x="479" y="21"/>
                    </a:cubicBezTo>
                    <a:cubicBezTo>
                      <a:pt x="479" y="21"/>
                      <a:pt x="478" y="21"/>
                      <a:pt x="479" y="20"/>
                    </a:cubicBezTo>
                    <a:cubicBezTo>
                      <a:pt x="479" y="20"/>
                      <a:pt x="480" y="20"/>
                      <a:pt x="480" y="20"/>
                    </a:cubicBezTo>
                    <a:cubicBezTo>
                      <a:pt x="480" y="20"/>
                      <a:pt x="479" y="20"/>
                      <a:pt x="479" y="20"/>
                    </a:cubicBezTo>
                    <a:cubicBezTo>
                      <a:pt x="479" y="19"/>
                      <a:pt x="480" y="20"/>
                      <a:pt x="481" y="19"/>
                    </a:cubicBezTo>
                    <a:cubicBezTo>
                      <a:pt x="480" y="19"/>
                      <a:pt x="480" y="19"/>
                      <a:pt x="480" y="19"/>
                    </a:cubicBezTo>
                    <a:cubicBezTo>
                      <a:pt x="481" y="18"/>
                      <a:pt x="481" y="18"/>
                      <a:pt x="482" y="19"/>
                    </a:cubicBezTo>
                    <a:cubicBezTo>
                      <a:pt x="483" y="19"/>
                      <a:pt x="484" y="20"/>
                      <a:pt x="485" y="19"/>
                    </a:cubicBezTo>
                    <a:cubicBezTo>
                      <a:pt x="484" y="19"/>
                      <a:pt x="484" y="19"/>
                      <a:pt x="483" y="19"/>
                    </a:cubicBezTo>
                    <a:cubicBezTo>
                      <a:pt x="483" y="18"/>
                      <a:pt x="484" y="18"/>
                      <a:pt x="485" y="18"/>
                    </a:cubicBezTo>
                    <a:cubicBezTo>
                      <a:pt x="486" y="18"/>
                      <a:pt x="487" y="18"/>
                      <a:pt x="488" y="19"/>
                    </a:cubicBezTo>
                    <a:cubicBezTo>
                      <a:pt x="489" y="19"/>
                      <a:pt x="490" y="19"/>
                      <a:pt x="490" y="19"/>
                    </a:cubicBezTo>
                    <a:cubicBezTo>
                      <a:pt x="490" y="19"/>
                      <a:pt x="489" y="19"/>
                      <a:pt x="489" y="19"/>
                    </a:cubicBezTo>
                    <a:cubicBezTo>
                      <a:pt x="489" y="19"/>
                      <a:pt x="489" y="20"/>
                      <a:pt x="489" y="20"/>
                    </a:cubicBezTo>
                    <a:cubicBezTo>
                      <a:pt x="489" y="20"/>
                      <a:pt x="490" y="20"/>
                      <a:pt x="490" y="20"/>
                    </a:cubicBezTo>
                    <a:cubicBezTo>
                      <a:pt x="489" y="21"/>
                      <a:pt x="490" y="21"/>
                      <a:pt x="490" y="21"/>
                    </a:cubicBezTo>
                    <a:cubicBezTo>
                      <a:pt x="490" y="21"/>
                      <a:pt x="490" y="21"/>
                      <a:pt x="490" y="22"/>
                    </a:cubicBezTo>
                    <a:cubicBezTo>
                      <a:pt x="490" y="22"/>
                      <a:pt x="490" y="23"/>
                      <a:pt x="490" y="23"/>
                    </a:cubicBezTo>
                    <a:cubicBezTo>
                      <a:pt x="491" y="23"/>
                      <a:pt x="491" y="22"/>
                      <a:pt x="491" y="22"/>
                    </a:cubicBezTo>
                    <a:cubicBezTo>
                      <a:pt x="491" y="21"/>
                      <a:pt x="491" y="21"/>
                      <a:pt x="492" y="21"/>
                    </a:cubicBezTo>
                    <a:cubicBezTo>
                      <a:pt x="493" y="21"/>
                      <a:pt x="493" y="21"/>
                      <a:pt x="493" y="20"/>
                    </a:cubicBezTo>
                    <a:cubicBezTo>
                      <a:pt x="494" y="20"/>
                      <a:pt x="494" y="20"/>
                      <a:pt x="494" y="20"/>
                    </a:cubicBezTo>
                    <a:cubicBezTo>
                      <a:pt x="495" y="20"/>
                      <a:pt x="497" y="20"/>
                      <a:pt x="497" y="20"/>
                    </a:cubicBezTo>
                    <a:cubicBezTo>
                      <a:pt x="498" y="21"/>
                      <a:pt x="499" y="21"/>
                      <a:pt x="500" y="21"/>
                    </a:cubicBezTo>
                    <a:cubicBezTo>
                      <a:pt x="500" y="21"/>
                      <a:pt x="501" y="21"/>
                      <a:pt x="502" y="22"/>
                    </a:cubicBezTo>
                    <a:cubicBezTo>
                      <a:pt x="502" y="22"/>
                      <a:pt x="503" y="22"/>
                      <a:pt x="503" y="22"/>
                    </a:cubicBezTo>
                    <a:cubicBezTo>
                      <a:pt x="503" y="22"/>
                      <a:pt x="503" y="22"/>
                      <a:pt x="502" y="22"/>
                    </a:cubicBezTo>
                    <a:cubicBezTo>
                      <a:pt x="503" y="23"/>
                      <a:pt x="505" y="23"/>
                      <a:pt x="505" y="23"/>
                    </a:cubicBezTo>
                    <a:cubicBezTo>
                      <a:pt x="505" y="23"/>
                      <a:pt x="506" y="23"/>
                      <a:pt x="505" y="23"/>
                    </a:cubicBezTo>
                    <a:cubicBezTo>
                      <a:pt x="506" y="22"/>
                      <a:pt x="509" y="23"/>
                      <a:pt x="510" y="24"/>
                    </a:cubicBezTo>
                    <a:cubicBezTo>
                      <a:pt x="510" y="24"/>
                      <a:pt x="512" y="24"/>
                      <a:pt x="512" y="25"/>
                    </a:cubicBezTo>
                    <a:cubicBezTo>
                      <a:pt x="512" y="25"/>
                      <a:pt x="511" y="26"/>
                      <a:pt x="510" y="26"/>
                    </a:cubicBezTo>
                    <a:cubicBezTo>
                      <a:pt x="510" y="27"/>
                      <a:pt x="509" y="26"/>
                      <a:pt x="508" y="26"/>
                    </a:cubicBezTo>
                    <a:cubicBezTo>
                      <a:pt x="507" y="27"/>
                      <a:pt x="506" y="27"/>
                      <a:pt x="504" y="27"/>
                    </a:cubicBezTo>
                    <a:cubicBezTo>
                      <a:pt x="503" y="27"/>
                      <a:pt x="502" y="27"/>
                      <a:pt x="501" y="27"/>
                    </a:cubicBezTo>
                    <a:cubicBezTo>
                      <a:pt x="500" y="27"/>
                      <a:pt x="500" y="27"/>
                      <a:pt x="499" y="27"/>
                    </a:cubicBezTo>
                    <a:cubicBezTo>
                      <a:pt x="499" y="27"/>
                      <a:pt x="499" y="28"/>
                      <a:pt x="499" y="28"/>
                    </a:cubicBezTo>
                    <a:cubicBezTo>
                      <a:pt x="498" y="28"/>
                      <a:pt x="498" y="27"/>
                      <a:pt x="497" y="27"/>
                    </a:cubicBezTo>
                    <a:cubicBezTo>
                      <a:pt x="496" y="27"/>
                      <a:pt x="495" y="28"/>
                      <a:pt x="494" y="28"/>
                    </a:cubicBezTo>
                    <a:cubicBezTo>
                      <a:pt x="493" y="28"/>
                      <a:pt x="492" y="28"/>
                      <a:pt x="491" y="28"/>
                    </a:cubicBezTo>
                    <a:cubicBezTo>
                      <a:pt x="489" y="28"/>
                      <a:pt x="488" y="28"/>
                      <a:pt x="487" y="28"/>
                    </a:cubicBezTo>
                    <a:cubicBezTo>
                      <a:pt x="486" y="29"/>
                      <a:pt x="485" y="29"/>
                      <a:pt x="484" y="29"/>
                    </a:cubicBezTo>
                    <a:cubicBezTo>
                      <a:pt x="483" y="30"/>
                      <a:pt x="481" y="30"/>
                      <a:pt x="480" y="30"/>
                    </a:cubicBezTo>
                    <a:cubicBezTo>
                      <a:pt x="480" y="29"/>
                      <a:pt x="479" y="29"/>
                      <a:pt x="479" y="28"/>
                    </a:cubicBezTo>
                    <a:cubicBezTo>
                      <a:pt x="479" y="28"/>
                      <a:pt x="479" y="27"/>
                      <a:pt x="480" y="27"/>
                    </a:cubicBezTo>
                    <a:cubicBezTo>
                      <a:pt x="479" y="26"/>
                      <a:pt x="479" y="26"/>
                      <a:pt x="479" y="26"/>
                    </a:cubicBezTo>
                    <a:cubicBezTo>
                      <a:pt x="479" y="26"/>
                      <a:pt x="479" y="26"/>
                      <a:pt x="479" y="25"/>
                    </a:cubicBezTo>
                    <a:cubicBezTo>
                      <a:pt x="479" y="26"/>
                      <a:pt x="479" y="25"/>
                      <a:pt x="479" y="25"/>
                    </a:cubicBezTo>
                    <a:cubicBezTo>
                      <a:pt x="479" y="25"/>
                      <a:pt x="479" y="25"/>
                      <a:pt x="479" y="24"/>
                    </a:cubicBezTo>
                    <a:cubicBezTo>
                      <a:pt x="479" y="24"/>
                      <a:pt x="478" y="24"/>
                      <a:pt x="478" y="24"/>
                    </a:cubicBezTo>
                    <a:close/>
                    <a:moveTo>
                      <a:pt x="483" y="21"/>
                    </a:moveTo>
                    <a:cubicBezTo>
                      <a:pt x="483" y="21"/>
                      <a:pt x="482" y="21"/>
                      <a:pt x="481" y="21"/>
                    </a:cubicBezTo>
                    <a:cubicBezTo>
                      <a:pt x="482" y="21"/>
                      <a:pt x="483" y="22"/>
                      <a:pt x="483" y="21"/>
                    </a:cubicBezTo>
                    <a:close/>
                    <a:moveTo>
                      <a:pt x="747" y="48"/>
                    </a:moveTo>
                    <a:cubicBezTo>
                      <a:pt x="746" y="48"/>
                      <a:pt x="743" y="47"/>
                      <a:pt x="743" y="48"/>
                    </a:cubicBezTo>
                    <a:cubicBezTo>
                      <a:pt x="743" y="48"/>
                      <a:pt x="744" y="48"/>
                      <a:pt x="744" y="48"/>
                    </a:cubicBezTo>
                    <a:cubicBezTo>
                      <a:pt x="745" y="49"/>
                      <a:pt x="744" y="49"/>
                      <a:pt x="744" y="49"/>
                    </a:cubicBezTo>
                    <a:cubicBezTo>
                      <a:pt x="744" y="49"/>
                      <a:pt x="745" y="49"/>
                      <a:pt x="745" y="49"/>
                    </a:cubicBezTo>
                    <a:cubicBezTo>
                      <a:pt x="745" y="49"/>
                      <a:pt x="744" y="49"/>
                      <a:pt x="744" y="49"/>
                    </a:cubicBezTo>
                    <a:cubicBezTo>
                      <a:pt x="745" y="49"/>
                      <a:pt x="746" y="49"/>
                      <a:pt x="746" y="49"/>
                    </a:cubicBezTo>
                    <a:cubicBezTo>
                      <a:pt x="746" y="49"/>
                      <a:pt x="746" y="49"/>
                      <a:pt x="746" y="49"/>
                    </a:cubicBezTo>
                    <a:cubicBezTo>
                      <a:pt x="746" y="50"/>
                      <a:pt x="747" y="50"/>
                      <a:pt x="748" y="50"/>
                    </a:cubicBezTo>
                    <a:cubicBezTo>
                      <a:pt x="747" y="50"/>
                      <a:pt x="747" y="51"/>
                      <a:pt x="748" y="51"/>
                    </a:cubicBezTo>
                    <a:cubicBezTo>
                      <a:pt x="748" y="51"/>
                      <a:pt x="749" y="51"/>
                      <a:pt x="749" y="51"/>
                    </a:cubicBezTo>
                    <a:cubicBezTo>
                      <a:pt x="750" y="51"/>
                      <a:pt x="749" y="51"/>
                      <a:pt x="748" y="51"/>
                    </a:cubicBezTo>
                    <a:cubicBezTo>
                      <a:pt x="748" y="51"/>
                      <a:pt x="747" y="51"/>
                      <a:pt x="746" y="51"/>
                    </a:cubicBezTo>
                    <a:cubicBezTo>
                      <a:pt x="746" y="51"/>
                      <a:pt x="747" y="52"/>
                      <a:pt x="748" y="52"/>
                    </a:cubicBezTo>
                    <a:cubicBezTo>
                      <a:pt x="748" y="52"/>
                      <a:pt x="749" y="53"/>
                      <a:pt x="750" y="53"/>
                    </a:cubicBezTo>
                    <a:cubicBezTo>
                      <a:pt x="752" y="54"/>
                      <a:pt x="753" y="54"/>
                      <a:pt x="755" y="54"/>
                    </a:cubicBezTo>
                    <a:cubicBezTo>
                      <a:pt x="757" y="54"/>
                      <a:pt x="758" y="56"/>
                      <a:pt x="760" y="56"/>
                    </a:cubicBezTo>
                    <a:cubicBezTo>
                      <a:pt x="761" y="57"/>
                      <a:pt x="763" y="56"/>
                      <a:pt x="765" y="56"/>
                    </a:cubicBezTo>
                    <a:cubicBezTo>
                      <a:pt x="766" y="57"/>
                      <a:pt x="768" y="57"/>
                      <a:pt x="770" y="57"/>
                    </a:cubicBezTo>
                    <a:cubicBezTo>
                      <a:pt x="770" y="57"/>
                      <a:pt x="771" y="57"/>
                      <a:pt x="771" y="56"/>
                    </a:cubicBezTo>
                    <a:cubicBezTo>
                      <a:pt x="771" y="56"/>
                      <a:pt x="770" y="56"/>
                      <a:pt x="770" y="55"/>
                    </a:cubicBezTo>
                    <a:cubicBezTo>
                      <a:pt x="769" y="56"/>
                      <a:pt x="769" y="55"/>
                      <a:pt x="768" y="55"/>
                    </a:cubicBezTo>
                    <a:cubicBezTo>
                      <a:pt x="769" y="54"/>
                      <a:pt x="770" y="55"/>
                      <a:pt x="771" y="55"/>
                    </a:cubicBezTo>
                    <a:cubicBezTo>
                      <a:pt x="772" y="55"/>
                      <a:pt x="774" y="56"/>
                      <a:pt x="773" y="56"/>
                    </a:cubicBezTo>
                    <a:cubicBezTo>
                      <a:pt x="776" y="56"/>
                      <a:pt x="779" y="55"/>
                      <a:pt x="781" y="55"/>
                    </a:cubicBezTo>
                    <a:cubicBezTo>
                      <a:pt x="783" y="55"/>
                      <a:pt x="786" y="54"/>
                      <a:pt x="787" y="55"/>
                    </a:cubicBezTo>
                    <a:cubicBezTo>
                      <a:pt x="787" y="55"/>
                      <a:pt x="785" y="55"/>
                      <a:pt x="785" y="55"/>
                    </a:cubicBezTo>
                    <a:cubicBezTo>
                      <a:pt x="785" y="55"/>
                      <a:pt x="786" y="55"/>
                      <a:pt x="787" y="55"/>
                    </a:cubicBezTo>
                    <a:cubicBezTo>
                      <a:pt x="788" y="56"/>
                      <a:pt x="790" y="56"/>
                      <a:pt x="791" y="56"/>
                    </a:cubicBezTo>
                    <a:cubicBezTo>
                      <a:pt x="791" y="56"/>
                      <a:pt x="790" y="55"/>
                      <a:pt x="790" y="55"/>
                    </a:cubicBezTo>
                    <a:cubicBezTo>
                      <a:pt x="791" y="55"/>
                      <a:pt x="791" y="55"/>
                      <a:pt x="792" y="55"/>
                    </a:cubicBezTo>
                    <a:cubicBezTo>
                      <a:pt x="793" y="55"/>
                      <a:pt x="795" y="55"/>
                      <a:pt x="796" y="55"/>
                    </a:cubicBezTo>
                    <a:cubicBezTo>
                      <a:pt x="795" y="54"/>
                      <a:pt x="793" y="54"/>
                      <a:pt x="791" y="54"/>
                    </a:cubicBezTo>
                    <a:cubicBezTo>
                      <a:pt x="789" y="54"/>
                      <a:pt x="787" y="54"/>
                      <a:pt x="785" y="53"/>
                    </a:cubicBezTo>
                    <a:cubicBezTo>
                      <a:pt x="784" y="52"/>
                      <a:pt x="782" y="52"/>
                      <a:pt x="780" y="51"/>
                    </a:cubicBezTo>
                    <a:cubicBezTo>
                      <a:pt x="780" y="51"/>
                      <a:pt x="779" y="50"/>
                      <a:pt x="778" y="50"/>
                    </a:cubicBezTo>
                    <a:cubicBezTo>
                      <a:pt x="778" y="50"/>
                      <a:pt x="778" y="49"/>
                      <a:pt x="778" y="49"/>
                    </a:cubicBezTo>
                    <a:cubicBezTo>
                      <a:pt x="777" y="49"/>
                      <a:pt x="777" y="49"/>
                      <a:pt x="776" y="49"/>
                    </a:cubicBezTo>
                    <a:cubicBezTo>
                      <a:pt x="777" y="49"/>
                      <a:pt x="777" y="49"/>
                      <a:pt x="777" y="49"/>
                    </a:cubicBezTo>
                    <a:cubicBezTo>
                      <a:pt x="777" y="49"/>
                      <a:pt x="776" y="49"/>
                      <a:pt x="776" y="49"/>
                    </a:cubicBezTo>
                    <a:cubicBezTo>
                      <a:pt x="777" y="48"/>
                      <a:pt x="777" y="49"/>
                      <a:pt x="778" y="49"/>
                    </a:cubicBezTo>
                    <a:cubicBezTo>
                      <a:pt x="778" y="48"/>
                      <a:pt x="778" y="48"/>
                      <a:pt x="777" y="48"/>
                    </a:cubicBezTo>
                    <a:cubicBezTo>
                      <a:pt x="779" y="48"/>
                      <a:pt x="780" y="48"/>
                      <a:pt x="782" y="48"/>
                    </a:cubicBezTo>
                    <a:cubicBezTo>
                      <a:pt x="782" y="48"/>
                      <a:pt x="783" y="49"/>
                      <a:pt x="783" y="49"/>
                    </a:cubicBezTo>
                    <a:cubicBezTo>
                      <a:pt x="783" y="49"/>
                      <a:pt x="782" y="49"/>
                      <a:pt x="782" y="50"/>
                    </a:cubicBezTo>
                    <a:cubicBezTo>
                      <a:pt x="781" y="51"/>
                      <a:pt x="786" y="52"/>
                      <a:pt x="787" y="52"/>
                    </a:cubicBezTo>
                    <a:cubicBezTo>
                      <a:pt x="787" y="53"/>
                      <a:pt x="788" y="53"/>
                      <a:pt x="789" y="53"/>
                    </a:cubicBezTo>
                    <a:cubicBezTo>
                      <a:pt x="790" y="53"/>
                      <a:pt x="790" y="53"/>
                      <a:pt x="791" y="53"/>
                    </a:cubicBezTo>
                    <a:cubicBezTo>
                      <a:pt x="792" y="54"/>
                      <a:pt x="794" y="53"/>
                      <a:pt x="796" y="54"/>
                    </a:cubicBezTo>
                    <a:cubicBezTo>
                      <a:pt x="796" y="54"/>
                      <a:pt x="799" y="54"/>
                      <a:pt x="799" y="54"/>
                    </a:cubicBezTo>
                    <a:cubicBezTo>
                      <a:pt x="799" y="53"/>
                      <a:pt x="799" y="53"/>
                      <a:pt x="799" y="53"/>
                    </a:cubicBezTo>
                    <a:cubicBezTo>
                      <a:pt x="800" y="53"/>
                      <a:pt x="799" y="52"/>
                      <a:pt x="799" y="52"/>
                    </a:cubicBezTo>
                    <a:cubicBezTo>
                      <a:pt x="799" y="52"/>
                      <a:pt x="799" y="52"/>
                      <a:pt x="800" y="52"/>
                    </a:cubicBezTo>
                    <a:cubicBezTo>
                      <a:pt x="799" y="51"/>
                      <a:pt x="798" y="52"/>
                      <a:pt x="797" y="51"/>
                    </a:cubicBezTo>
                    <a:cubicBezTo>
                      <a:pt x="795" y="50"/>
                      <a:pt x="799" y="50"/>
                      <a:pt x="800" y="50"/>
                    </a:cubicBezTo>
                    <a:cubicBezTo>
                      <a:pt x="798" y="49"/>
                      <a:pt x="796" y="49"/>
                      <a:pt x="795" y="49"/>
                    </a:cubicBezTo>
                    <a:cubicBezTo>
                      <a:pt x="793" y="49"/>
                      <a:pt x="791" y="48"/>
                      <a:pt x="790" y="48"/>
                    </a:cubicBezTo>
                    <a:cubicBezTo>
                      <a:pt x="788" y="48"/>
                      <a:pt x="787" y="47"/>
                      <a:pt x="785" y="47"/>
                    </a:cubicBezTo>
                    <a:cubicBezTo>
                      <a:pt x="785" y="47"/>
                      <a:pt x="784" y="47"/>
                      <a:pt x="783" y="47"/>
                    </a:cubicBezTo>
                    <a:cubicBezTo>
                      <a:pt x="783" y="47"/>
                      <a:pt x="782" y="47"/>
                      <a:pt x="783" y="47"/>
                    </a:cubicBezTo>
                    <a:cubicBezTo>
                      <a:pt x="781" y="47"/>
                      <a:pt x="779" y="47"/>
                      <a:pt x="777" y="47"/>
                    </a:cubicBezTo>
                    <a:cubicBezTo>
                      <a:pt x="776" y="47"/>
                      <a:pt x="774" y="46"/>
                      <a:pt x="773" y="46"/>
                    </a:cubicBezTo>
                    <a:cubicBezTo>
                      <a:pt x="772" y="46"/>
                      <a:pt x="770" y="45"/>
                      <a:pt x="769" y="45"/>
                    </a:cubicBezTo>
                    <a:cubicBezTo>
                      <a:pt x="768" y="45"/>
                      <a:pt x="767" y="45"/>
                      <a:pt x="766" y="45"/>
                    </a:cubicBezTo>
                    <a:cubicBezTo>
                      <a:pt x="766" y="44"/>
                      <a:pt x="765" y="44"/>
                      <a:pt x="765" y="44"/>
                    </a:cubicBezTo>
                    <a:cubicBezTo>
                      <a:pt x="765" y="45"/>
                      <a:pt x="766" y="45"/>
                      <a:pt x="767" y="45"/>
                    </a:cubicBezTo>
                    <a:cubicBezTo>
                      <a:pt x="768" y="45"/>
                      <a:pt x="768" y="45"/>
                      <a:pt x="769" y="46"/>
                    </a:cubicBezTo>
                    <a:cubicBezTo>
                      <a:pt x="768" y="46"/>
                      <a:pt x="766" y="45"/>
                      <a:pt x="765" y="45"/>
                    </a:cubicBezTo>
                    <a:cubicBezTo>
                      <a:pt x="764" y="45"/>
                      <a:pt x="764" y="46"/>
                      <a:pt x="765" y="46"/>
                    </a:cubicBezTo>
                    <a:cubicBezTo>
                      <a:pt x="766" y="47"/>
                      <a:pt x="766" y="47"/>
                      <a:pt x="767" y="48"/>
                    </a:cubicBezTo>
                    <a:cubicBezTo>
                      <a:pt x="768" y="48"/>
                      <a:pt x="769" y="48"/>
                      <a:pt x="770" y="49"/>
                    </a:cubicBezTo>
                    <a:cubicBezTo>
                      <a:pt x="769" y="49"/>
                      <a:pt x="768" y="49"/>
                      <a:pt x="768" y="49"/>
                    </a:cubicBezTo>
                    <a:cubicBezTo>
                      <a:pt x="767" y="49"/>
                      <a:pt x="766" y="49"/>
                      <a:pt x="766" y="49"/>
                    </a:cubicBezTo>
                    <a:cubicBezTo>
                      <a:pt x="765" y="48"/>
                      <a:pt x="765" y="48"/>
                      <a:pt x="765" y="48"/>
                    </a:cubicBezTo>
                    <a:cubicBezTo>
                      <a:pt x="764" y="47"/>
                      <a:pt x="764" y="47"/>
                      <a:pt x="763" y="47"/>
                    </a:cubicBezTo>
                    <a:cubicBezTo>
                      <a:pt x="763" y="47"/>
                      <a:pt x="762" y="48"/>
                      <a:pt x="762" y="47"/>
                    </a:cubicBezTo>
                    <a:cubicBezTo>
                      <a:pt x="761" y="47"/>
                      <a:pt x="761" y="47"/>
                      <a:pt x="760" y="47"/>
                    </a:cubicBezTo>
                    <a:cubicBezTo>
                      <a:pt x="760" y="47"/>
                      <a:pt x="759" y="47"/>
                      <a:pt x="759" y="47"/>
                    </a:cubicBezTo>
                    <a:cubicBezTo>
                      <a:pt x="759" y="47"/>
                      <a:pt x="758" y="46"/>
                      <a:pt x="759" y="46"/>
                    </a:cubicBezTo>
                    <a:cubicBezTo>
                      <a:pt x="758" y="46"/>
                      <a:pt x="756" y="46"/>
                      <a:pt x="755" y="46"/>
                    </a:cubicBezTo>
                    <a:cubicBezTo>
                      <a:pt x="754" y="45"/>
                      <a:pt x="752" y="45"/>
                      <a:pt x="751" y="45"/>
                    </a:cubicBezTo>
                    <a:cubicBezTo>
                      <a:pt x="750" y="45"/>
                      <a:pt x="749" y="44"/>
                      <a:pt x="748" y="44"/>
                    </a:cubicBezTo>
                    <a:cubicBezTo>
                      <a:pt x="746" y="44"/>
                      <a:pt x="747" y="45"/>
                      <a:pt x="748" y="45"/>
                    </a:cubicBezTo>
                    <a:cubicBezTo>
                      <a:pt x="747" y="45"/>
                      <a:pt x="746" y="45"/>
                      <a:pt x="746" y="44"/>
                    </a:cubicBezTo>
                    <a:cubicBezTo>
                      <a:pt x="746" y="45"/>
                      <a:pt x="745" y="45"/>
                      <a:pt x="745" y="45"/>
                    </a:cubicBezTo>
                    <a:cubicBezTo>
                      <a:pt x="745" y="45"/>
                      <a:pt x="745" y="45"/>
                      <a:pt x="745" y="45"/>
                    </a:cubicBezTo>
                    <a:cubicBezTo>
                      <a:pt x="745" y="45"/>
                      <a:pt x="745" y="45"/>
                      <a:pt x="745" y="45"/>
                    </a:cubicBezTo>
                    <a:cubicBezTo>
                      <a:pt x="745" y="46"/>
                      <a:pt x="744" y="46"/>
                      <a:pt x="744" y="46"/>
                    </a:cubicBezTo>
                    <a:cubicBezTo>
                      <a:pt x="744" y="46"/>
                      <a:pt x="742" y="46"/>
                      <a:pt x="743" y="46"/>
                    </a:cubicBezTo>
                    <a:cubicBezTo>
                      <a:pt x="744" y="47"/>
                      <a:pt x="746" y="47"/>
                      <a:pt x="747" y="48"/>
                    </a:cubicBezTo>
                    <a:close/>
                    <a:moveTo>
                      <a:pt x="1083" y="89"/>
                    </a:moveTo>
                    <a:cubicBezTo>
                      <a:pt x="1083" y="89"/>
                      <a:pt x="1084" y="90"/>
                      <a:pt x="1084" y="90"/>
                    </a:cubicBezTo>
                    <a:cubicBezTo>
                      <a:pt x="1085" y="90"/>
                      <a:pt x="1086" y="91"/>
                      <a:pt x="1086" y="91"/>
                    </a:cubicBezTo>
                    <a:cubicBezTo>
                      <a:pt x="1087" y="92"/>
                      <a:pt x="1088" y="91"/>
                      <a:pt x="1089" y="91"/>
                    </a:cubicBezTo>
                    <a:cubicBezTo>
                      <a:pt x="1090" y="90"/>
                      <a:pt x="1091" y="91"/>
                      <a:pt x="1092" y="91"/>
                    </a:cubicBezTo>
                    <a:cubicBezTo>
                      <a:pt x="1093" y="90"/>
                      <a:pt x="1092" y="90"/>
                      <a:pt x="1093" y="90"/>
                    </a:cubicBezTo>
                    <a:cubicBezTo>
                      <a:pt x="1093" y="90"/>
                      <a:pt x="1094" y="90"/>
                      <a:pt x="1094" y="90"/>
                    </a:cubicBezTo>
                    <a:cubicBezTo>
                      <a:pt x="1095" y="90"/>
                      <a:pt x="1097" y="90"/>
                      <a:pt x="1098" y="90"/>
                    </a:cubicBezTo>
                    <a:cubicBezTo>
                      <a:pt x="1100" y="91"/>
                      <a:pt x="1102" y="90"/>
                      <a:pt x="1103" y="90"/>
                    </a:cubicBezTo>
                    <a:cubicBezTo>
                      <a:pt x="1104" y="90"/>
                      <a:pt x="1109" y="89"/>
                      <a:pt x="1107" y="88"/>
                    </a:cubicBezTo>
                    <a:cubicBezTo>
                      <a:pt x="1107" y="87"/>
                      <a:pt x="1106" y="87"/>
                      <a:pt x="1105" y="87"/>
                    </a:cubicBezTo>
                    <a:cubicBezTo>
                      <a:pt x="1104" y="87"/>
                      <a:pt x="1103" y="86"/>
                      <a:pt x="1102" y="86"/>
                    </a:cubicBezTo>
                    <a:cubicBezTo>
                      <a:pt x="1101" y="86"/>
                      <a:pt x="1100" y="85"/>
                      <a:pt x="1099" y="85"/>
                    </a:cubicBezTo>
                    <a:cubicBezTo>
                      <a:pt x="1098" y="85"/>
                      <a:pt x="1097" y="85"/>
                      <a:pt x="1096" y="85"/>
                    </a:cubicBezTo>
                    <a:cubicBezTo>
                      <a:pt x="1095" y="84"/>
                      <a:pt x="1094" y="84"/>
                      <a:pt x="1092" y="84"/>
                    </a:cubicBezTo>
                    <a:cubicBezTo>
                      <a:pt x="1092" y="84"/>
                      <a:pt x="1091" y="85"/>
                      <a:pt x="1090" y="85"/>
                    </a:cubicBezTo>
                    <a:cubicBezTo>
                      <a:pt x="1089" y="85"/>
                      <a:pt x="1088" y="84"/>
                      <a:pt x="1087" y="84"/>
                    </a:cubicBezTo>
                    <a:cubicBezTo>
                      <a:pt x="1087" y="84"/>
                      <a:pt x="1086" y="85"/>
                      <a:pt x="1086" y="85"/>
                    </a:cubicBezTo>
                    <a:cubicBezTo>
                      <a:pt x="1086" y="85"/>
                      <a:pt x="1084" y="85"/>
                      <a:pt x="1085" y="85"/>
                    </a:cubicBezTo>
                    <a:cubicBezTo>
                      <a:pt x="1085" y="85"/>
                      <a:pt x="1084" y="86"/>
                      <a:pt x="1084" y="86"/>
                    </a:cubicBezTo>
                    <a:cubicBezTo>
                      <a:pt x="1083" y="86"/>
                      <a:pt x="1084" y="86"/>
                      <a:pt x="1083" y="86"/>
                    </a:cubicBezTo>
                    <a:cubicBezTo>
                      <a:pt x="1083" y="87"/>
                      <a:pt x="1083" y="87"/>
                      <a:pt x="1082" y="88"/>
                    </a:cubicBezTo>
                    <a:cubicBezTo>
                      <a:pt x="1083" y="88"/>
                      <a:pt x="1082" y="88"/>
                      <a:pt x="1083" y="89"/>
                    </a:cubicBezTo>
                    <a:close/>
                    <a:moveTo>
                      <a:pt x="249" y="92"/>
                    </a:moveTo>
                    <a:cubicBezTo>
                      <a:pt x="250" y="92"/>
                      <a:pt x="250" y="92"/>
                      <a:pt x="250" y="92"/>
                    </a:cubicBezTo>
                    <a:cubicBezTo>
                      <a:pt x="250" y="93"/>
                      <a:pt x="249" y="93"/>
                      <a:pt x="250" y="93"/>
                    </a:cubicBezTo>
                    <a:cubicBezTo>
                      <a:pt x="249" y="93"/>
                      <a:pt x="248" y="93"/>
                      <a:pt x="247" y="93"/>
                    </a:cubicBezTo>
                    <a:cubicBezTo>
                      <a:pt x="247" y="93"/>
                      <a:pt x="246" y="93"/>
                      <a:pt x="246" y="93"/>
                    </a:cubicBezTo>
                    <a:cubicBezTo>
                      <a:pt x="246" y="93"/>
                      <a:pt x="245" y="92"/>
                      <a:pt x="245" y="92"/>
                    </a:cubicBezTo>
                    <a:cubicBezTo>
                      <a:pt x="246" y="93"/>
                      <a:pt x="248" y="93"/>
                      <a:pt x="249" y="93"/>
                    </a:cubicBezTo>
                    <a:cubicBezTo>
                      <a:pt x="249" y="94"/>
                      <a:pt x="248" y="93"/>
                      <a:pt x="247" y="93"/>
                    </a:cubicBezTo>
                    <a:cubicBezTo>
                      <a:pt x="246" y="93"/>
                      <a:pt x="246" y="93"/>
                      <a:pt x="245" y="93"/>
                    </a:cubicBezTo>
                    <a:cubicBezTo>
                      <a:pt x="245" y="93"/>
                      <a:pt x="244" y="93"/>
                      <a:pt x="244" y="93"/>
                    </a:cubicBezTo>
                    <a:cubicBezTo>
                      <a:pt x="244" y="93"/>
                      <a:pt x="244" y="93"/>
                      <a:pt x="245" y="93"/>
                    </a:cubicBezTo>
                    <a:cubicBezTo>
                      <a:pt x="244" y="93"/>
                      <a:pt x="243" y="92"/>
                      <a:pt x="244" y="92"/>
                    </a:cubicBezTo>
                    <a:cubicBezTo>
                      <a:pt x="243" y="92"/>
                      <a:pt x="243" y="92"/>
                      <a:pt x="243" y="92"/>
                    </a:cubicBezTo>
                    <a:cubicBezTo>
                      <a:pt x="242" y="92"/>
                      <a:pt x="242" y="92"/>
                      <a:pt x="241" y="92"/>
                    </a:cubicBezTo>
                    <a:cubicBezTo>
                      <a:pt x="241" y="92"/>
                      <a:pt x="242" y="92"/>
                      <a:pt x="242" y="92"/>
                    </a:cubicBezTo>
                    <a:cubicBezTo>
                      <a:pt x="242" y="92"/>
                      <a:pt x="241" y="92"/>
                      <a:pt x="241" y="92"/>
                    </a:cubicBezTo>
                    <a:cubicBezTo>
                      <a:pt x="241" y="92"/>
                      <a:pt x="242" y="92"/>
                      <a:pt x="242" y="93"/>
                    </a:cubicBezTo>
                    <a:cubicBezTo>
                      <a:pt x="242" y="93"/>
                      <a:pt x="242" y="93"/>
                      <a:pt x="242" y="93"/>
                    </a:cubicBezTo>
                    <a:cubicBezTo>
                      <a:pt x="242" y="93"/>
                      <a:pt x="243" y="93"/>
                      <a:pt x="242" y="93"/>
                    </a:cubicBezTo>
                    <a:cubicBezTo>
                      <a:pt x="243" y="92"/>
                      <a:pt x="243" y="93"/>
                      <a:pt x="243" y="93"/>
                    </a:cubicBezTo>
                    <a:cubicBezTo>
                      <a:pt x="244" y="93"/>
                      <a:pt x="245" y="93"/>
                      <a:pt x="245" y="93"/>
                    </a:cubicBezTo>
                    <a:cubicBezTo>
                      <a:pt x="245" y="94"/>
                      <a:pt x="243" y="94"/>
                      <a:pt x="243" y="94"/>
                    </a:cubicBezTo>
                    <a:cubicBezTo>
                      <a:pt x="243" y="94"/>
                      <a:pt x="243" y="94"/>
                      <a:pt x="244" y="94"/>
                    </a:cubicBezTo>
                    <a:cubicBezTo>
                      <a:pt x="243" y="93"/>
                      <a:pt x="244" y="93"/>
                      <a:pt x="244" y="93"/>
                    </a:cubicBezTo>
                    <a:cubicBezTo>
                      <a:pt x="243" y="93"/>
                      <a:pt x="242" y="93"/>
                      <a:pt x="242" y="93"/>
                    </a:cubicBezTo>
                    <a:cubicBezTo>
                      <a:pt x="241" y="93"/>
                      <a:pt x="241" y="93"/>
                      <a:pt x="240" y="93"/>
                    </a:cubicBezTo>
                    <a:cubicBezTo>
                      <a:pt x="240" y="93"/>
                      <a:pt x="241" y="93"/>
                      <a:pt x="241" y="93"/>
                    </a:cubicBezTo>
                    <a:cubicBezTo>
                      <a:pt x="241" y="94"/>
                      <a:pt x="239" y="92"/>
                      <a:pt x="238" y="92"/>
                    </a:cubicBezTo>
                    <a:cubicBezTo>
                      <a:pt x="239" y="93"/>
                      <a:pt x="240" y="93"/>
                      <a:pt x="240" y="93"/>
                    </a:cubicBezTo>
                    <a:cubicBezTo>
                      <a:pt x="240" y="94"/>
                      <a:pt x="238" y="93"/>
                      <a:pt x="237" y="93"/>
                    </a:cubicBezTo>
                    <a:cubicBezTo>
                      <a:pt x="238" y="93"/>
                      <a:pt x="238" y="93"/>
                      <a:pt x="238" y="93"/>
                    </a:cubicBezTo>
                    <a:cubicBezTo>
                      <a:pt x="238" y="93"/>
                      <a:pt x="238" y="93"/>
                      <a:pt x="237" y="93"/>
                    </a:cubicBezTo>
                    <a:cubicBezTo>
                      <a:pt x="238" y="93"/>
                      <a:pt x="238" y="93"/>
                      <a:pt x="238" y="93"/>
                    </a:cubicBezTo>
                    <a:cubicBezTo>
                      <a:pt x="238" y="92"/>
                      <a:pt x="237" y="92"/>
                      <a:pt x="237" y="92"/>
                    </a:cubicBezTo>
                    <a:cubicBezTo>
                      <a:pt x="237" y="92"/>
                      <a:pt x="238" y="92"/>
                      <a:pt x="238" y="93"/>
                    </a:cubicBezTo>
                    <a:cubicBezTo>
                      <a:pt x="237" y="92"/>
                      <a:pt x="236" y="92"/>
                      <a:pt x="236" y="92"/>
                    </a:cubicBezTo>
                    <a:cubicBezTo>
                      <a:pt x="236" y="92"/>
                      <a:pt x="235" y="92"/>
                      <a:pt x="235" y="92"/>
                    </a:cubicBezTo>
                    <a:cubicBezTo>
                      <a:pt x="236" y="93"/>
                      <a:pt x="236" y="92"/>
                      <a:pt x="236" y="93"/>
                    </a:cubicBezTo>
                    <a:cubicBezTo>
                      <a:pt x="235" y="92"/>
                      <a:pt x="234" y="92"/>
                      <a:pt x="235" y="93"/>
                    </a:cubicBezTo>
                    <a:cubicBezTo>
                      <a:pt x="235" y="93"/>
                      <a:pt x="235" y="94"/>
                      <a:pt x="234" y="93"/>
                    </a:cubicBezTo>
                    <a:cubicBezTo>
                      <a:pt x="233" y="93"/>
                      <a:pt x="233" y="93"/>
                      <a:pt x="232" y="93"/>
                    </a:cubicBezTo>
                    <a:cubicBezTo>
                      <a:pt x="231" y="93"/>
                      <a:pt x="231" y="92"/>
                      <a:pt x="231" y="92"/>
                    </a:cubicBezTo>
                    <a:cubicBezTo>
                      <a:pt x="230" y="92"/>
                      <a:pt x="229" y="91"/>
                      <a:pt x="229" y="91"/>
                    </a:cubicBezTo>
                    <a:cubicBezTo>
                      <a:pt x="229" y="91"/>
                      <a:pt x="229" y="91"/>
                      <a:pt x="229" y="92"/>
                    </a:cubicBezTo>
                    <a:cubicBezTo>
                      <a:pt x="229" y="92"/>
                      <a:pt x="229" y="92"/>
                      <a:pt x="229" y="92"/>
                    </a:cubicBezTo>
                    <a:cubicBezTo>
                      <a:pt x="229" y="93"/>
                      <a:pt x="231" y="92"/>
                      <a:pt x="231" y="93"/>
                    </a:cubicBezTo>
                    <a:cubicBezTo>
                      <a:pt x="230" y="93"/>
                      <a:pt x="229" y="91"/>
                      <a:pt x="227" y="92"/>
                    </a:cubicBezTo>
                    <a:cubicBezTo>
                      <a:pt x="228" y="92"/>
                      <a:pt x="226" y="92"/>
                      <a:pt x="226" y="92"/>
                    </a:cubicBezTo>
                    <a:cubicBezTo>
                      <a:pt x="226" y="92"/>
                      <a:pt x="225" y="91"/>
                      <a:pt x="224" y="91"/>
                    </a:cubicBezTo>
                    <a:cubicBezTo>
                      <a:pt x="224" y="91"/>
                      <a:pt x="225" y="91"/>
                      <a:pt x="225" y="92"/>
                    </a:cubicBezTo>
                    <a:cubicBezTo>
                      <a:pt x="224" y="92"/>
                      <a:pt x="223" y="91"/>
                      <a:pt x="222" y="91"/>
                    </a:cubicBezTo>
                    <a:cubicBezTo>
                      <a:pt x="223" y="92"/>
                      <a:pt x="221" y="91"/>
                      <a:pt x="221" y="91"/>
                    </a:cubicBezTo>
                    <a:cubicBezTo>
                      <a:pt x="221" y="91"/>
                      <a:pt x="221" y="91"/>
                      <a:pt x="222" y="91"/>
                    </a:cubicBezTo>
                    <a:cubicBezTo>
                      <a:pt x="222" y="91"/>
                      <a:pt x="223" y="91"/>
                      <a:pt x="223" y="91"/>
                    </a:cubicBezTo>
                    <a:cubicBezTo>
                      <a:pt x="223" y="91"/>
                      <a:pt x="223" y="90"/>
                      <a:pt x="223" y="90"/>
                    </a:cubicBezTo>
                    <a:cubicBezTo>
                      <a:pt x="222" y="89"/>
                      <a:pt x="221" y="89"/>
                      <a:pt x="221" y="89"/>
                    </a:cubicBezTo>
                    <a:cubicBezTo>
                      <a:pt x="221" y="89"/>
                      <a:pt x="222" y="89"/>
                      <a:pt x="222" y="89"/>
                    </a:cubicBezTo>
                    <a:cubicBezTo>
                      <a:pt x="223" y="89"/>
                      <a:pt x="223" y="89"/>
                      <a:pt x="224" y="89"/>
                    </a:cubicBezTo>
                    <a:cubicBezTo>
                      <a:pt x="224" y="89"/>
                      <a:pt x="223" y="89"/>
                      <a:pt x="223" y="88"/>
                    </a:cubicBezTo>
                    <a:cubicBezTo>
                      <a:pt x="223" y="88"/>
                      <a:pt x="224" y="88"/>
                      <a:pt x="224" y="88"/>
                    </a:cubicBezTo>
                    <a:cubicBezTo>
                      <a:pt x="225" y="88"/>
                      <a:pt x="224" y="88"/>
                      <a:pt x="224" y="89"/>
                    </a:cubicBezTo>
                    <a:cubicBezTo>
                      <a:pt x="224" y="89"/>
                      <a:pt x="226" y="89"/>
                      <a:pt x="226" y="88"/>
                    </a:cubicBezTo>
                    <a:cubicBezTo>
                      <a:pt x="226" y="89"/>
                      <a:pt x="223" y="88"/>
                      <a:pt x="225" y="88"/>
                    </a:cubicBezTo>
                    <a:cubicBezTo>
                      <a:pt x="225" y="88"/>
                      <a:pt x="224" y="88"/>
                      <a:pt x="224" y="88"/>
                    </a:cubicBezTo>
                    <a:cubicBezTo>
                      <a:pt x="225" y="88"/>
                      <a:pt x="225" y="88"/>
                      <a:pt x="225" y="88"/>
                    </a:cubicBezTo>
                    <a:cubicBezTo>
                      <a:pt x="225" y="88"/>
                      <a:pt x="224" y="87"/>
                      <a:pt x="224" y="88"/>
                    </a:cubicBezTo>
                    <a:cubicBezTo>
                      <a:pt x="224" y="88"/>
                      <a:pt x="223" y="88"/>
                      <a:pt x="223" y="88"/>
                    </a:cubicBezTo>
                    <a:cubicBezTo>
                      <a:pt x="223" y="88"/>
                      <a:pt x="223" y="88"/>
                      <a:pt x="223" y="88"/>
                    </a:cubicBezTo>
                    <a:cubicBezTo>
                      <a:pt x="223" y="88"/>
                      <a:pt x="220" y="87"/>
                      <a:pt x="220" y="87"/>
                    </a:cubicBezTo>
                    <a:cubicBezTo>
                      <a:pt x="220" y="87"/>
                      <a:pt x="221" y="87"/>
                      <a:pt x="221" y="87"/>
                    </a:cubicBezTo>
                    <a:cubicBezTo>
                      <a:pt x="221" y="86"/>
                      <a:pt x="221" y="86"/>
                      <a:pt x="222" y="86"/>
                    </a:cubicBezTo>
                    <a:cubicBezTo>
                      <a:pt x="222" y="86"/>
                      <a:pt x="223" y="86"/>
                      <a:pt x="223" y="86"/>
                    </a:cubicBezTo>
                    <a:cubicBezTo>
                      <a:pt x="222" y="85"/>
                      <a:pt x="221" y="86"/>
                      <a:pt x="221" y="86"/>
                    </a:cubicBezTo>
                    <a:cubicBezTo>
                      <a:pt x="221" y="86"/>
                      <a:pt x="220" y="86"/>
                      <a:pt x="220" y="86"/>
                    </a:cubicBezTo>
                    <a:cubicBezTo>
                      <a:pt x="220" y="87"/>
                      <a:pt x="220" y="87"/>
                      <a:pt x="220" y="87"/>
                    </a:cubicBezTo>
                    <a:cubicBezTo>
                      <a:pt x="219" y="87"/>
                      <a:pt x="218" y="86"/>
                      <a:pt x="218" y="86"/>
                    </a:cubicBezTo>
                    <a:cubicBezTo>
                      <a:pt x="218" y="85"/>
                      <a:pt x="219" y="85"/>
                      <a:pt x="219" y="85"/>
                    </a:cubicBezTo>
                    <a:cubicBezTo>
                      <a:pt x="218" y="84"/>
                      <a:pt x="218" y="85"/>
                      <a:pt x="217" y="86"/>
                    </a:cubicBezTo>
                    <a:cubicBezTo>
                      <a:pt x="217" y="86"/>
                      <a:pt x="217" y="85"/>
                      <a:pt x="216" y="85"/>
                    </a:cubicBezTo>
                    <a:cubicBezTo>
                      <a:pt x="216" y="85"/>
                      <a:pt x="217" y="85"/>
                      <a:pt x="217" y="85"/>
                    </a:cubicBezTo>
                    <a:cubicBezTo>
                      <a:pt x="216" y="86"/>
                      <a:pt x="216" y="86"/>
                      <a:pt x="216" y="86"/>
                    </a:cubicBezTo>
                    <a:cubicBezTo>
                      <a:pt x="215" y="86"/>
                      <a:pt x="215" y="85"/>
                      <a:pt x="215" y="85"/>
                    </a:cubicBezTo>
                    <a:cubicBezTo>
                      <a:pt x="215" y="85"/>
                      <a:pt x="215" y="86"/>
                      <a:pt x="215" y="86"/>
                    </a:cubicBezTo>
                    <a:cubicBezTo>
                      <a:pt x="214" y="86"/>
                      <a:pt x="214" y="85"/>
                      <a:pt x="214" y="85"/>
                    </a:cubicBezTo>
                    <a:cubicBezTo>
                      <a:pt x="214" y="85"/>
                      <a:pt x="213" y="86"/>
                      <a:pt x="213" y="85"/>
                    </a:cubicBezTo>
                    <a:cubicBezTo>
                      <a:pt x="213" y="85"/>
                      <a:pt x="213" y="85"/>
                      <a:pt x="213" y="84"/>
                    </a:cubicBezTo>
                    <a:cubicBezTo>
                      <a:pt x="213" y="84"/>
                      <a:pt x="213" y="84"/>
                      <a:pt x="212" y="84"/>
                    </a:cubicBezTo>
                    <a:cubicBezTo>
                      <a:pt x="212" y="84"/>
                      <a:pt x="212" y="85"/>
                      <a:pt x="212" y="85"/>
                    </a:cubicBezTo>
                    <a:cubicBezTo>
                      <a:pt x="211" y="85"/>
                      <a:pt x="212" y="85"/>
                      <a:pt x="212" y="85"/>
                    </a:cubicBezTo>
                    <a:cubicBezTo>
                      <a:pt x="212" y="85"/>
                      <a:pt x="211" y="85"/>
                      <a:pt x="211" y="85"/>
                    </a:cubicBezTo>
                    <a:cubicBezTo>
                      <a:pt x="211" y="84"/>
                      <a:pt x="210" y="85"/>
                      <a:pt x="210" y="85"/>
                    </a:cubicBezTo>
                    <a:cubicBezTo>
                      <a:pt x="210" y="85"/>
                      <a:pt x="211" y="85"/>
                      <a:pt x="211" y="85"/>
                    </a:cubicBezTo>
                    <a:cubicBezTo>
                      <a:pt x="210" y="85"/>
                      <a:pt x="209" y="85"/>
                      <a:pt x="208" y="85"/>
                    </a:cubicBezTo>
                    <a:cubicBezTo>
                      <a:pt x="208" y="85"/>
                      <a:pt x="207" y="85"/>
                      <a:pt x="206" y="85"/>
                    </a:cubicBezTo>
                    <a:cubicBezTo>
                      <a:pt x="206" y="84"/>
                      <a:pt x="205" y="84"/>
                      <a:pt x="205" y="84"/>
                    </a:cubicBezTo>
                    <a:cubicBezTo>
                      <a:pt x="205" y="83"/>
                      <a:pt x="204" y="83"/>
                      <a:pt x="204" y="83"/>
                    </a:cubicBezTo>
                    <a:cubicBezTo>
                      <a:pt x="204" y="82"/>
                      <a:pt x="204" y="81"/>
                      <a:pt x="204" y="81"/>
                    </a:cubicBezTo>
                    <a:cubicBezTo>
                      <a:pt x="204" y="80"/>
                      <a:pt x="204" y="79"/>
                      <a:pt x="205" y="79"/>
                    </a:cubicBezTo>
                    <a:cubicBezTo>
                      <a:pt x="206" y="79"/>
                      <a:pt x="207" y="80"/>
                      <a:pt x="207" y="80"/>
                    </a:cubicBezTo>
                    <a:cubicBezTo>
                      <a:pt x="208" y="80"/>
                      <a:pt x="208" y="79"/>
                      <a:pt x="208" y="79"/>
                    </a:cubicBezTo>
                    <a:cubicBezTo>
                      <a:pt x="208" y="80"/>
                      <a:pt x="208" y="80"/>
                      <a:pt x="209" y="80"/>
                    </a:cubicBezTo>
                    <a:cubicBezTo>
                      <a:pt x="209" y="80"/>
                      <a:pt x="210" y="80"/>
                      <a:pt x="210" y="80"/>
                    </a:cubicBezTo>
                    <a:cubicBezTo>
                      <a:pt x="210" y="80"/>
                      <a:pt x="209" y="79"/>
                      <a:pt x="209" y="79"/>
                    </a:cubicBezTo>
                    <a:cubicBezTo>
                      <a:pt x="210" y="79"/>
                      <a:pt x="210" y="79"/>
                      <a:pt x="210" y="79"/>
                    </a:cubicBezTo>
                    <a:cubicBezTo>
                      <a:pt x="210" y="79"/>
                      <a:pt x="209" y="79"/>
                      <a:pt x="209" y="79"/>
                    </a:cubicBezTo>
                    <a:cubicBezTo>
                      <a:pt x="210" y="79"/>
                      <a:pt x="210" y="79"/>
                      <a:pt x="210" y="79"/>
                    </a:cubicBezTo>
                    <a:cubicBezTo>
                      <a:pt x="210" y="78"/>
                      <a:pt x="209" y="78"/>
                      <a:pt x="209" y="78"/>
                    </a:cubicBezTo>
                    <a:cubicBezTo>
                      <a:pt x="210" y="78"/>
                      <a:pt x="210" y="78"/>
                      <a:pt x="210" y="78"/>
                    </a:cubicBezTo>
                    <a:cubicBezTo>
                      <a:pt x="210" y="78"/>
                      <a:pt x="211" y="78"/>
                      <a:pt x="210" y="77"/>
                    </a:cubicBezTo>
                    <a:cubicBezTo>
                      <a:pt x="211" y="77"/>
                      <a:pt x="211" y="78"/>
                      <a:pt x="212" y="77"/>
                    </a:cubicBezTo>
                    <a:cubicBezTo>
                      <a:pt x="212" y="77"/>
                      <a:pt x="210" y="77"/>
                      <a:pt x="210" y="77"/>
                    </a:cubicBezTo>
                    <a:cubicBezTo>
                      <a:pt x="210" y="77"/>
                      <a:pt x="211" y="77"/>
                      <a:pt x="211" y="77"/>
                    </a:cubicBezTo>
                    <a:cubicBezTo>
                      <a:pt x="211" y="76"/>
                      <a:pt x="210" y="76"/>
                      <a:pt x="210" y="76"/>
                    </a:cubicBezTo>
                    <a:cubicBezTo>
                      <a:pt x="210" y="76"/>
                      <a:pt x="211" y="76"/>
                      <a:pt x="211" y="76"/>
                    </a:cubicBezTo>
                    <a:cubicBezTo>
                      <a:pt x="211" y="76"/>
                      <a:pt x="211" y="76"/>
                      <a:pt x="211" y="76"/>
                    </a:cubicBezTo>
                    <a:cubicBezTo>
                      <a:pt x="212" y="75"/>
                      <a:pt x="212" y="75"/>
                      <a:pt x="213" y="75"/>
                    </a:cubicBezTo>
                    <a:cubicBezTo>
                      <a:pt x="212" y="75"/>
                      <a:pt x="210" y="75"/>
                      <a:pt x="210" y="75"/>
                    </a:cubicBezTo>
                    <a:cubicBezTo>
                      <a:pt x="210" y="75"/>
                      <a:pt x="210" y="75"/>
                      <a:pt x="211" y="75"/>
                    </a:cubicBezTo>
                    <a:cubicBezTo>
                      <a:pt x="210" y="75"/>
                      <a:pt x="210" y="75"/>
                      <a:pt x="210" y="75"/>
                    </a:cubicBezTo>
                    <a:cubicBezTo>
                      <a:pt x="210" y="75"/>
                      <a:pt x="210" y="75"/>
                      <a:pt x="211" y="75"/>
                    </a:cubicBezTo>
                    <a:cubicBezTo>
                      <a:pt x="209" y="75"/>
                      <a:pt x="207" y="75"/>
                      <a:pt x="207" y="74"/>
                    </a:cubicBezTo>
                    <a:cubicBezTo>
                      <a:pt x="207" y="74"/>
                      <a:pt x="208" y="74"/>
                      <a:pt x="208" y="74"/>
                    </a:cubicBezTo>
                    <a:cubicBezTo>
                      <a:pt x="208" y="73"/>
                      <a:pt x="208" y="73"/>
                      <a:pt x="209" y="73"/>
                    </a:cubicBezTo>
                    <a:cubicBezTo>
                      <a:pt x="210" y="73"/>
                      <a:pt x="210" y="72"/>
                      <a:pt x="211" y="73"/>
                    </a:cubicBezTo>
                    <a:cubicBezTo>
                      <a:pt x="212" y="73"/>
                      <a:pt x="213" y="73"/>
                      <a:pt x="213" y="73"/>
                    </a:cubicBezTo>
                    <a:cubicBezTo>
                      <a:pt x="213" y="73"/>
                      <a:pt x="213" y="73"/>
                      <a:pt x="213" y="73"/>
                    </a:cubicBezTo>
                    <a:cubicBezTo>
                      <a:pt x="213" y="73"/>
                      <a:pt x="213" y="73"/>
                      <a:pt x="213" y="72"/>
                    </a:cubicBezTo>
                    <a:cubicBezTo>
                      <a:pt x="213" y="72"/>
                      <a:pt x="211" y="72"/>
                      <a:pt x="211" y="72"/>
                    </a:cubicBezTo>
                    <a:cubicBezTo>
                      <a:pt x="211" y="71"/>
                      <a:pt x="213" y="72"/>
                      <a:pt x="213" y="72"/>
                    </a:cubicBezTo>
                    <a:cubicBezTo>
                      <a:pt x="212" y="71"/>
                      <a:pt x="212" y="71"/>
                      <a:pt x="211" y="71"/>
                    </a:cubicBezTo>
                    <a:cubicBezTo>
                      <a:pt x="211" y="71"/>
                      <a:pt x="211" y="70"/>
                      <a:pt x="211" y="70"/>
                    </a:cubicBezTo>
                    <a:cubicBezTo>
                      <a:pt x="211" y="70"/>
                      <a:pt x="212" y="70"/>
                      <a:pt x="212" y="70"/>
                    </a:cubicBezTo>
                    <a:cubicBezTo>
                      <a:pt x="212" y="70"/>
                      <a:pt x="213" y="70"/>
                      <a:pt x="213" y="70"/>
                    </a:cubicBezTo>
                    <a:cubicBezTo>
                      <a:pt x="214" y="69"/>
                      <a:pt x="214" y="69"/>
                      <a:pt x="215" y="69"/>
                    </a:cubicBezTo>
                    <a:cubicBezTo>
                      <a:pt x="216" y="69"/>
                      <a:pt x="217" y="69"/>
                      <a:pt x="219" y="69"/>
                    </a:cubicBezTo>
                    <a:cubicBezTo>
                      <a:pt x="220" y="68"/>
                      <a:pt x="220" y="68"/>
                      <a:pt x="222" y="68"/>
                    </a:cubicBezTo>
                    <a:cubicBezTo>
                      <a:pt x="223" y="68"/>
                      <a:pt x="224" y="69"/>
                      <a:pt x="225" y="69"/>
                    </a:cubicBezTo>
                    <a:cubicBezTo>
                      <a:pt x="226" y="69"/>
                      <a:pt x="226" y="69"/>
                      <a:pt x="227" y="69"/>
                    </a:cubicBezTo>
                    <a:cubicBezTo>
                      <a:pt x="228" y="69"/>
                      <a:pt x="228" y="69"/>
                      <a:pt x="229" y="69"/>
                    </a:cubicBezTo>
                    <a:cubicBezTo>
                      <a:pt x="230" y="70"/>
                      <a:pt x="232" y="69"/>
                      <a:pt x="233" y="70"/>
                    </a:cubicBezTo>
                    <a:cubicBezTo>
                      <a:pt x="234" y="70"/>
                      <a:pt x="234" y="71"/>
                      <a:pt x="233" y="71"/>
                    </a:cubicBezTo>
                    <a:cubicBezTo>
                      <a:pt x="232" y="71"/>
                      <a:pt x="230" y="71"/>
                      <a:pt x="229" y="71"/>
                    </a:cubicBezTo>
                    <a:cubicBezTo>
                      <a:pt x="230" y="71"/>
                      <a:pt x="233" y="71"/>
                      <a:pt x="233" y="71"/>
                    </a:cubicBezTo>
                    <a:cubicBezTo>
                      <a:pt x="234" y="72"/>
                      <a:pt x="231" y="72"/>
                      <a:pt x="231" y="72"/>
                    </a:cubicBezTo>
                    <a:cubicBezTo>
                      <a:pt x="230" y="72"/>
                      <a:pt x="229" y="72"/>
                      <a:pt x="228" y="72"/>
                    </a:cubicBezTo>
                    <a:cubicBezTo>
                      <a:pt x="229" y="72"/>
                      <a:pt x="230" y="72"/>
                      <a:pt x="231" y="72"/>
                    </a:cubicBezTo>
                    <a:cubicBezTo>
                      <a:pt x="232" y="72"/>
                      <a:pt x="233" y="72"/>
                      <a:pt x="233" y="73"/>
                    </a:cubicBezTo>
                    <a:cubicBezTo>
                      <a:pt x="233" y="74"/>
                      <a:pt x="231" y="74"/>
                      <a:pt x="231" y="73"/>
                    </a:cubicBezTo>
                    <a:cubicBezTo>
                      <a:pt x="230" y="73"/>
                      <a:pt x="230" y="74"/>
                      <a:pt x="229" y="74"/>
                    </a:cubicBezTo>
                    <a:cubicBezTo>
                      <a:pt x="229" y="74"/>
                      <a:pt x="228" y="73"/>
                      <a:pt x="228" y="74"/>
                    </a:cubicBezTo>
                    <a:cubicBezTo>
                      <a:pt x="229" y="74"/>
                      <a:pt x="231" y="74"/>
                      <a:pt x="231" y="75"/>
                    </a:cubicBezTo>
                    <a:cubicBezTo>
                      <a:pt x="231" y="75"/>
                      <a:pt x="230" y="74"/>
                      <a:pt x="229" y="74"/>
                    </a:cubicBezTo>
                    <a:cubicBezTo>
                      <a:pt x="229" y="75"/>
                      <a:pt x="231" y="75"/>
                      <a:pt x="230" y="75"/>
                    </a:cubicBezTo>
                    <a:cubicBezTo>
                      <a:pt x="230" y="76"/>
                      <a:pt x="230" y="76"/>
                      <a:pt x="229" y="76"/>
                    </a:cubicBezTo>
                    <a:cubicBezTo>
                      <a:pt x="229" y="76"/>
                      <a:pt x="228" y="75"/>
                      <a:pt x="227" y="75"/>
                    </a:cubicBezTo>
                    <a:cubicBezTo>
                      <a:pt x="228" y="76"/>
                      <a:pt x="229" y="75"/>
                      <a:pt x="230" y="76"/>
                    </a:cubicBezTo>
                    <a:cubicBezTo>
                      <a:pt x="230" y="77"/>
                      <a:pt x="227" y="76"/>
                      <a:pt x="227" y="77"/>
                    </a:cubicBezTo>
                    <a:cubicBezTo>
                      <a:pt x="228" y="77"/>
                      <a:pt x="228" y="76"/>
                      <a:pt x="229" y="77"/>
                    </a:cubicBezTo>
                    <a:cubicBezTo>
                      <a:pt x="230" y="77"/>
                      <a:pt x="229" y="77"/>
                      <a:pt x="229" y="78"/>
                    </a:cubicBezTo>
                    <a:cubicBezTo>
                      <a:pt x="229" y="78"/>
                      <a:pt x="230" y="78"/>
                      <a:pt x="230" y="78"/>
                    </a:cubicBezTo>
                    <a:cubicBezTo>
                      <a:pt x="230" y="78"/>
                      <a:pt x="231" y="79"/>
                      <a:pt x="231" y="79"/>
                    </a:cubicBezTo>
                    <a:cubicBezTo>
                      <a:pt x="231" y="79"/>
                      <a:pt x="230" y="80"/>
                      <a:pt x="230" y="80"/>
                    </a:cubicBezTo>
                    <a:cubicBezTo>
                      <a:pt x="230" y="80"/>
                      <a:pt x="230" y="80"/>
                      <a:pt x="231" y="80"/>
                    </a:cubicBezTo>
                    <a:cubicBezTo>
                      <a:pt x="230" y="80"/>
                      <a:pt x="230" y="81"/>
                      <a:pt x="231" y="81"/>
                    </a:cubicBezTo>
                    <a:cubicBezTo>
                      <a:pt x="231" y="81"/>
                      <a:pt x="230" y="81"/>
                      <a:pt x="230" y="81"/>
                    </a:cubicBezTo>
                    <a:cubicBezTo>
                      <a:pt x="230" y="81"/>
                      <a:pt x="231" y="81"/>
                      <a:pt x="232" y="82"/>
                    </a:cubicBezTo>
                    <a:cubicBezTo>
                      <a:pt x="232" y="82"/>
                      <a:pt x="232" y="82"/>
                      <a:pt x="232" y="83"/>
                    </a:cubicBezTo>
                    <a:cubicBezTo>
                      <a:pt x="233" y="83"/>
                      <a:pt x="233" y="84"/>
                      <a:pt x="234" y="84"/>
                    </a:cubicBezTo>
                    <a:cubicBezTo>
                      <a:pt x="234" y="85"/>
                      <a:pt x="235" y="85"/>
                      <a:pt x="236" y="86"/>
                    </a:cubicBezTo>
                    <a:cubicBezTo>
                      <a:pt x="237" y="86"/>
                      <a:pt x="238" y="87"/>
                      <a:pt x="239" y="88"/>
                    </a:cubicBezTo>
                    <a:cubicBezTo>
                      <a:pt x="240" y="88"/>
                      <a:pt x="241" y="88"/>
                      <a:pt x="242" y="89"/>
                    </a:cubicBezTo>
                    <a:cubicBezTo>
                      <a:pt x="243" y="89"/>
                      <a:pt x="244" y="90"/>
                      <a:pt x="245" y="90"/>
                    </a:cubicBezTo>
                    <a:cubicBezTo>
                      <a:pt x="247" y="91"/>
                      <a:pt x="248" y="91"/>
                      <a:pt x="249" y="91"/>
                    </a:cubicBezTo>
                    <a:cubicBezTo>
                      <a:pt x="250" y="91"/>
                      <a:pt x="250" y="92"/>
                      <a:pt x="251" y="92"/>
                    </a:cubicBezTo>
                    <a:cubicBezTo>
                      <a:pt x="250" y="92"/>
                      <a:pt x="250" y="92"/>
                      <a:pt x="249" y="92"/>
                    </a:cubicBezTo>
                    <a:close/>
                    <a:moveTo>
                      <a:pt x="213" y="75"/>
                    </a:moveTo>
                    <a:cubicBezTo>
                      <a:pt x="213" y="75"/>
                      <a:pt x="212" y="75"/>
                      <a:pt x="212" y="75"/>
                    </a:cubicBezTo>
                    <a:cubicBezTo>
                      <a:pt x="212" y="75"/>
                      <a:pt x="213" y="75"/>
                      <a:pt x="213" y="75"/>
                    </a:cubicBezTo>
                    <a:close/>
                    <a:moveTo>
                      <a:pt x="237" y="93"/>
                    </a:moveTo>
                    <a:cubicBezTo>
                      <a:pt x="237" y="93"/>
                      <a:pt x="237" y="93"/>
                      <a:pt x="237" y="93"/>
                    </a:cubicBezTo>
                    <a:cubicBezTo>
                      <a:pt x="237" y="93"/>
                      <a:pt x="237" y="93"/>
                      <a:pt x="237" y="93"/>
                    </a:cubicBezTo>
                    <a:close/>
                    <a:moveTo>
                      <a:pt x="806" y="49"/>
                    </a:moveTo>
                    <a:cubicBezTo>
                      <a:pt x="805" y="49"/>
                      <a:pt x="806" y="50"/>
                      <a:pt x="807" y="50"/>
                    </a:cubicBezTo>
                    <a:cubicBezTo>
                      <a:pt x="806" y="50"/>
                      <a:pt x="806" y="51"/>
                      <a:pt x="807" y="51"/>
                    </a:cubicBezTo>
                    <a:cubicBezTo>
                      <a:pt x="806" y="51"/>
                      <a:pt x="807" y="51"/>
                      <a:pt x="807" y="52"/>
                    </a:cubicBezTo>
                    <a:cubicBezTo>
                      <a:pt x="808" y="52"/>
                      <a:pt x="808" y="52"/>
                      <a:pt x="808" y="52"/>
                    </a:cubicBezTo>
                    <a:cubicBezTo>
                      <a:pt x="809" y="53"/>
                      <a:pt x="810" y="53"/>
                      <a:pt x="811" y="53"/>
                    </a:cubicBezTo>
                    <a:cubicBezTo>
                      <a:pt x="814" y="53"/>
                      <a:pt x="816" y="54"/>
                      <a:pt x="819" y="54"/>
                    </a:cubicBezTo>
                    <a:cubicBezTo>
                      <a:pt x="822" y="55"/>
                      <a:pt x="824" y="55"/>
                      <a:pt x="827" y="56"/>
                    </a:cubicBezTo>
                    <a:cubicBezTo>
                      <a:pt x="828" y="56"/>
                      <a:pt x="829" y="56"/>
                      <a:pt x="831" y="56"/>
                    </a:cubicBezTo>
                    <a:cubicBezTo>
                      <a:pt x="832" y="56"/>
                      <a:pt x="833" y="56"/>
                      <a:pt x="834" y="56"/>
                    </a:cubicBezTo>
                    <a:cubicBezTo>
                      <a:pt x="835" y="56"/>
                      <a:pt x="837" y="57"/>
                      <a:pt x="838" y="56"/>
                    </a:cubicBezTo>
                    <a:cubicBezTo>
                      <a:pt x="839" y="55"/>
                      <a:pt x="840" y="56"/>
                      <a:pt x="841" y="55"/>
                    </a:cubicBezTo>
                    <a:cubicBezTo>
                      <a:pt x="842" y="55"/>
                      <a:pt x="842" y="55"/>
                      <a:pt x="841" y="55"/>
                    </a:cubicBezTo>
                    <a:cubicBezTo>
                      <a:pt x="841" y="54"/>
                      <a:pt x="841" y="54"/>
                      <a:pt x="841" y="54"/>
                    </a:cubicBezTo>
                    <a:cubicBezTo>
                      <a:pt x="841" y="54"/>
                      <a:pt x="840" y="53"/>
                      <a:pt x="841" y="53"/>
                    </a:cubicBezTo>
                    <a:cubicBezTo>
                      <a:pt x="840" y="53"/>
                      <a:pt x="839" y="53"/>
                      <a:pt x="839" y="53"/>
                    </a:cubicBezTo>
                    <a:cubicBezTo>
                      <a:pt x="839" y="53"/>
                      <a:pt x="838" y="54"/>
                      <a:pt x="838" y="53"/>
                    </a:cubicBezTo>
                    <a:cubicBezTo>
                      <a:pt x="838" y="53"/>
                      <a:pt x="837" y="53"/>
                      <a:pt x="837" y="53"/>
                    </a:cubicBezTo>
                    <a:cubicBezTo>
                      <a:pt x="836" y="53"/>
                      <a:pt x="836" y="53"/>
                      <a:pt x="835" y="53"/>
                    </a:cubicBezTo>
                    <a:cubicBezTo>
                      <a:pt x="835" y="53"/>
                      <a:pt x="835" y="52"/>
                      <a:pt x="834" y="52"/>
                    </a:cubicBezTo>
                    <a:cubicBezTo>
                      <a:pt x="834" y="52"/>
                      <a:pt x="833" y="52"/>
                      <a:pt x="832" y="52"/>
                    </a:cubicBezTo>
                    <a:cubicBezTo>
                      <a:pt x="831" y="52"/>
                      <a:pt x="830" y="52"/>
                      <a:pt x="829" y="52"/>
                    </a:cubicBezTo>
                    <a:cubicBezTo>
                      <a:pt x="827" y="52"/>
                      <a:pt x="825" y="53"/>
                      <a:pt x="824" y="52"/>
                    </a:cubicBezTo>
                    <a:cubicBezTo>
                      <a:pt x="823" y="52"/>
                      <a:pt x="823" y="52"/>
                      <a:pt x="823" y="52"/>
                    </a:cubicBezTo>
                    <a:cubicBezTo>
                      <a:pt x="822" y="52"/>
                      <a:pt x="822" y="51"/>
                      <a:pt x="822" y="51"/>
                    </a:cubicBezTo>
                    <a:cubicBezTo>
                      <a:pt x="821" y="50"/>
                      <a:pt x="819" y="51"/>
                      <a:pt x="818" y="51"/>
                    </a:cubicBezTo>
                    <a:cubicBezTo>
                      <a:pt x="817" y="51"/>
                      <a:pt x="815" y="50"/>
                      <a:pt x="814" y="51"/>
                    </a:cubicBezTo>
                    <a:cubicBezTo>
                      <a:pt x="814" y="51"/>
                      <a:pt x="814" y="51"/>
                      <a:pt x="814" y="51"/>
                    </a:cubicBezTo>
                    <a:cubicBezTo>
                      <a:pt x="814" y="51"/>
                      <a:pt x="813" y="51"/>
                      <a:pt x="813" y="51"/>
                    </a:cubicBezTo>
                    <a:cubicBezTo>
                      <a:pt x="813" y="51"/>
                      <a:pt x="814" y="51"/>
                      <a:pt x="814" y="51"/>
                    </a:cubicBezTo>
                    <a:cubicBezTo>
                      <a:pt x="813" y="51"/>
                      <a:pt x="812" y="51"/>
                      <a:pt x="810" y="51"/>
                    </a:cubicBezTo>
                    <a:cubicBezTo>
                      <a:pt x="810" y="51"/>
                      <a:pt x="808" y="50"/>
                      <a:pt x="809" y="50"/>
                    </a:cubicBezTo>
                    <a:cubicBezTo>
                      <a:pt x="808" y="50"/>
                      <a:pt x="806" y="49"/>
                      <a:pt x="806" y="49"/>
                    </a:cubicBezTo>
                    <a:close/>
                    <a:moveTo>
                      <a:pt x="249" y="44"/>
                    </a:moveTo>
                    <a:cubicBezTo>
                      <a:pt x="249" y="45"/>
                      <a:pt x="250" y="44"/>
                      <a:pt x="250" y="45"/>
                    </a:cubicBezTo>
                    <a:cubicBezTo>
                      <a:pt x="251" y="45"/>
                      <a:pt x="250" y="45"/>
                      <a:pt x="250" y="45"/>
                    </a:cubicBezTo>
                    <a:cubicBezTo>
                      <a:pt x="249" y="45"/>
                      <a:pt x="249" y="45"/>
                      <a:pt x="249" y="45"/>
                    </a:cubicBezTo>
                    <a:cubicBezTo>
                      <a:pt x="248" y="45"/>
                      <a:pt x="248" y="45"/>
                      <a:pt x="248" y="46"/>
                    </a:cubicBezTo>
                    <a:cubicBezTo>
                      <a:pt x="248" y="46"/>
                      <a:pt x="247" y="46"/>
                      <a:pt x="246" y="46"/>
                    </a:cubicBezTo>
                    <a:cubicBezTo>
                      <a:pt x="247" y="45"/>
                      <a:pt x="247" y="45"/>
                      <a:pt x="248" y="45"/>
                    </a:cubicBezTo>
                    <a:cubicBezTo>
                      <a:pt x="247" y="44"/>
                      <a:pt x="244" y="45"/>
                      <a:pt x="243" y="45"/>
                    </a:cubicBezTo>
                    <a:cubicBezTo>
                      <a:pt x="244" y="46"/>
                      <a:pt x="245" y="45"/>
                      <a:pt x="246" y="46"/>
                    </a:cubicBezTo>
                    <a:cubicBezTo>
                      <a:pt x="245" y="46"/>
                      <a:pt x="244" y="46"/>
                      <a:pt x="243" y="46"/>
                    </a:cubicBezTo>
                    <a:cubicBezTo>
                      <a:pt x="242" y="46"/>
                      <a:pt x="242" y="46"/>
                      <a:pt x="241" y="46"/>
                    </a:cubicBezTo>
                    <a:cubicBezTo>
                      <a:pt x="240" y="46"/>
                      <a:pt x="239" y="47"/>
                      <a:pt x="238" y="47"/>
                    </a:cubicBezTo>
                    <a:cubicBezTo>
                      <a:pt x="237" y="47"/>
                      <a:pt x="237" y="47"/>
                      <a:pt x="236" y="47"/>
                    </a:cubicBezTo>
                    <a:cubicBezTo>
                      <a:pt x="236" y="47"/>
                      <a:pt x="236" y="48"/>
                      <a:pt x="236" y="48"/>
                    </a:cubicBezTo>
                    <a:cubicBezTo>
                      <a:pt x="236" y="48"/>
                      <a:pt x="235" y="48"/>
                      <a:pt x="235" y="48"/>
                    </a:cubicBezTo>
                    <a:cubicBezTo>
                      <a:pt x="235" y="48"/>
                      <a:pt x="235" y="48"/>
                      <a:pt x="236" y="48"/>
                    </a:cubicBezTo>
                    <a:cubicBezTo>
                      <a:pt x="235" y="48"/>
                      <a:pt x="234" y="48"/>
                      <a:pt x="233" y="48"/>
                    </a:cubicBezTo>
                    <a:cubicBezTo>
                      <a:pt x="233" y="48"/>
                      <a:pt x="231" y="48"/>
                      <a:pt x="232" y="49"/>
                    </a:cubicBezTo>
                    <a:cubicBezTo>
                      <a:pt x="232" y="49"/>
                      <a:pt x="233" y="49"/>
                      <a:pt x="233" y="49"/>
                    </a:cubicBezTo>
                    <a:cubicBezTo>
                      <a:pt x="233" y="49"/>
                      <a:pt x="234" y="49"/>
                      <a:pt x="233" y="49"/>
                    </a:cubicBezTo>
                    <a:cubicBezTo>
                      <a:pt x="232" y="49"/>
                      <a:pt x="231" y="49"/>
                      <a:pt x="230" y="50"/>
                    </a:cubicBezTo>
                    <a:cubicBezTo>
                      <a:pt x="230" y="50"/>
                      <a:pt x="232" y="51"/>
                      <a:pt x="232" y="51"/>
                    </a:cubicBezTo>
                    <a:cubicBezTo>
                      <a:pt x="230" y="52"/>
                      <a:pt x="228" y="50"/>
                      <a:pt x="226" y="51"/>
                    </a:cubicBezTo>
                    <a:cubicBezTo>
                      <a:pt x="226" y="51"/>
                      <a:pt x="225" y="52"/>
                      <a:pt x="226" y="52"/>
                    </a:cubicBezTo>
                    <a:cubicBezTo>
                      <a:pt x="226" y="52"/>
                      <a:pt x="226" y="52"/>
                      <a:pt x="227" y="52"/>
                    </a:cubicBezTo>
                    <a:cubicBezTo>
                      <a:pt x="227" y="52"/>
                      <a:pt x="227" y="52"/>
                      <a:pt x="226" y="53"/>
                    </a:cubicBezTo>
                    <a:cubicBezTo>
                      <a:pt x="226" y="53"/>
                      <a:pt x="226" y="53"/>
                      <a:pt x="225" y="54"/>
                    </a:cubicBezTo>
                    <a:cubicBezTo>
                      <a:pt x="225" y="54"/>
                      <a:pt x="224" y="53"/>
                      <a:pt x="224" y="53"/>
                    </a:cubicBezTo>
                    <a:cubicBezTo>
                      <a:pt x="224" y="53"/>
                      <a:pt x="222" y="53"/>
                      <a:pt x="223" y="53"/>
                    </a:cubicBezTo>
                    <a:cubicBezTo>
                      <a:pt x="222" y="53"/>
                      <a:pt x="220" y="52"/>
                      <a:pt x="220" y="53"/>
                    </a:cubicBezTo>
                    <a:cubicBezTo>
                      <a:pt x="220" y="54"/>
                      <a:pt x="222" y="53"/>
                      <a:pt x="221" y="54"/>
                    </a:cubicBezTo>
                    <a:cubicBezTo>
                      <a:pt x="221" y="55"/>
                      <a:pt x="222" y="54"/>
                      <a:pt x="223" y="54"/>
                    </a:cubicBezTo>
                    <a:cubicBezTo>
                      <a:pt x="223" y="54"/>
                      <a:pt x="225" y="54"/>
                      <a:pt x="225" y="54"/>
                    </a:cubicBezTo>
                    <a:cubicBezTo>
                      <a:pt x="225" y="54"/>
                      <a:pt x="225" y="54"/>
                      <a:pt x="224" y="55"/>
                    </a:cubicBezTo>
                    <a:cubicBezTo>
                      <a:pt x="225" y="55"/>
                      <a:pt x="224" y="55"/>
                      <a:pt x="225" y="55"/>
                    </a:cubicBezTo>
                    <a:cubicBezTo>
                      <a:pt x="225" y="55"/>
                      <a:pt x="225" y="55"/>
                      <a:pt x="225" y="55"/>
                    </a:cubicBezTo>
                    <a:cubicBezTo>
                      <a:pt x="226" y="55"/>
                      <a:pt x="226" y="54"/>
                      <a:pt x="227" y="55"/>
                    </a:cubicBezTo>
                    <a:cubicBezTo>
                      <a:pt x="226" y="55"/>
                      <a:pt x="224" y="55"/>
                      <a:pt x="223" y="55"/>
                    </a:cubicBezTo>
                    <a:cubicBezTo>
                      <a:pt x="223" y="55"/>
                      <a:pt x="221" y="56"/>
                      <a:pt x="222" y="56"/>
                    </a:cubicBezTo>
                    <a:cubicBezTo>
                      <a:pt x="223" y="57"/>
                      <a:pt x="225" y="56"/>
                      <a:pt x="226" y="56"/>
                    </a:cubicBezTo>
                    <a:cubicBezTo>
                      <a:pt x="226" y="56"/>
                      <a:pt x="226" y="56"/>
                      <a:pt x="226" y="56"/>
                    </a:cubicBezTo>
                    <a:cubicBezTo>
                      <a:pt x="226" y="57"/>
                      <a:pt x="227" y="57"/>
                      <a:pt x="228" y="57"/>
                    </a:cubicBezTo>
                    <a:cubicBezTo>
                      <a:pt x="228" y="57"/>
                      <a:pt x="229" y="57"/>
                      <a:pt x="230" y="57"/>
                    </a:cubicBezTo>
                    <a:cubicBezTo>
                      <a:pt x="228" y="57"/>
                      <a:pt x="226" y="57"/>
                      <a:pt x="224" y="57"/>
                    </a:cubicBezTo>
                    <a:cubicBezTo>
                      <a:pt x="223" y="57"/>
                      <a:pt x="222" y="57"/>
                      <a:pt x="221" y="57"/>
                    </a:cubicBezTo>
                    <a:cubicBezTo>
                      <a:pt x="221" y="57"/>
                      <a:pt x="221" y="57"/>
                      <a:pt x="221" y="58"/>
                    </a:cubicBezTo>
                    <a:cubicBezTo>
                      <a:pt x="221" y="58"/>
                      <a:pt x="221" y="58"/>
                      <a:pt x="221" y="58"/>
                    </a:cubicBezTo>
                    <a:cubicBezTo>
                      <a:pt x="221" y="58"/>
                      <a:pt x="222" y="58"/>
                      <a:pt x="222" y="58"/>
                    </a:cubicBezTo>
                    <a:cubicBezTo>
                      <a:pt x="223" y="58"/>
                      <a:pt x="223" y="58"/>
                      <a:pt x="224" y="58"/>
                    </a:cubicBezTo>
                    <a:cubicBezTo>
                      <a:pt x="224" y="58"/>
                      <a:pt x="225" y="58"/>
                      <a:pt x="224" y="59"/>
                    </a:cubicBezTo>
                    <a:cubicBezTo>
                      <a:pt x="225" y="59"/>
                      <a:pt x="226" y="58"/>
                      <a:pt x="226" y="59"/>
                    </a:cubicBezTo>
                    <a:cubicBezTo>
                      <a:pt x="225" y="59"/>
                      <a:pt x="224" y="59"/>
                      <a:pt x="223" y="59"/>
                    </a:cubicBezTo>
                    <a:cubicBezTo>
                      <a:pt x="222" y="59"/>
                      <a:pt x="221" y="59"/>
                      <a:pt x="220" y="60"/>
                    </a:cubicBezTo>
                    <a:cubicBezTo>
                      <a:pt x="221" y="60"/>
                      <a:pt x="222" y="60"/>
                      <a:pt x="222" y="60"/>
                    </a:cubicBezTo>
                    <a:cubicBezTo>
                      <a:pt x="223" y="60"/>
                      <a:pt x="223" y="60"/>
                      <a:pt x="223" y="60"/>
                    </a:cubicBezTo>
                    <a:cubicBezTo>
                      <a:pt x="223" y="61"/>
                      <a:pt x="223" y="60"/>
                      <a:pt x="223" y="60"/>
                    </a:cubicBezTo>
                    <a:cubicBezTo>
                      <a:pt x="222" y="60"/>
                      <a:pt x="222" y="60"/>
                      <a:pt x="221" y="60"/>
                    </a:cubicBezTo>
                    <a:cubicBezTo>
                      <a:pt x="221" y="60"/>
                      <a:pt x="220" y="61"/>
                      <a:pt x="220" y="60"/>
                    </a:cubicBezTo>
                    <a:cubicBezTo>
                      <a:pt x="220" y="60"/>
                      <a:pt x="220" y="61"/>
                      <a:pt x="219" y="61"/>
                    </a:cubicBezTo>
                    <a:cubicBezTo>
                      <a:pt x="220" y="61"/>
                      <a:pt x="221" y="61"/>
                      <a:pt x="221" y="61"/>
                    </a:cubicBezTo>
                    <a:cubicBezTo>
                      <a:pt x="222" y="61"/>
                      <a:pt x="222" y="61"/>
                      <a:pt x="223" y="61"/>
                    </a:cubicBezTo>
                    <a:cubicBezTo>
                      <a:pt x="223" y="61"/>
                      <a:pt x="223" y="62"/>
                      <a:pt x="224" y="62"/>
                    </a:cubicBezTo>
                    <a:cubicBezTo>
                      <a:pt x="224" y="62"/>
                      <a:pt x="225" y="62"/>
                      <a:pt x="225" y="62"/>
                    </a:cubicBezTo>
                    <a:cubicBezTo>
                      <a:pt x="223" y="63"/>
                      <a:pt x="221" y="61"/>
                      <a:pt x="219" y="62"/>
                    </a:cubicBezTo>
                    <a:cubicBezTo>
                      <a:pt x="219" y="62"/>
                      <a:pt x="217" y="63"/>
                      <a:pt x="217" y="63"/>
                    </a:cubicBezTo>
                    <a:cubicBezTo>
                      <a:pt x="218" y="63"/>
                      <a:pt x="218" y="63"/>
                      <a:pt x="219" y="63"/>
                    </a:cubicBezTo>
                    <a:cubicBezTo>
                      <a:pt x="217" y="63"/>
                      <a:pt x="216" y="64"/>
                      <a:pt x="215" y="64"/>
                    </a:cubicBezTo>
                    <a:cubicBezTo>
                      <a:pt x="214" y="65"/>
                      <a:pt x="213" y="65"/>
                      <a:pt x="212" y="65"/>
                    </a:cubicBezTo>
                    <a:cubicBezTo>
                      <a:pt x="212" y="65"/>
                      <a:pt x="212" y="65"/>
                      <a:pt x="212" y="65"/>
                    </a:cubicBezTo>
                    <a:cubicBezTo>
                      <a:pt x="211" y="65"/>
                      <a:pt x="212" y="65"/>
                      <a:pt x="212" y="65"/>
                    </a:cubicBezTo>
                    <a:cubicBezTo>
                      <a:pt x="213" y="66"/>
                      <a:pt x="213" y="66"/>
                      <a:pt x="214" y="66"/>
                    </a:cubicBezTo>
                    <a:cubicBezTo>
                      <a:pt x="215" y="66"/>
                      <a:pt x="216" y="66"/>
                      <a:pt x="217" y="66"/>
                    </a:cubicBezTo>
                    <a:cubicBezTo>
                      <a:pt x="217" y="66"/>
                      <a:pt x="218" y="66"/>
                      <a:pt x="218" y="66"/>
                    </a:cubicBezTo>
                    <a:cubicBezTo>
                      <a:pt x="218" y="65"/>
                      <a:pt x="220" y="65"/>
                      <a:pt x="220" y="65"/>
                    </a:cubicBezTo>
                    <a:cubicBezTo>
                      <a:pt x="220" y="65"/>
                      <a:pt x="220" y="66"/>
                      <a:pt x="220" y="66"/>
                    </a:cubicBezTo>
                    <a:cubicBezTo>
                      <a:pt x="220" y="66"/>
                      <a:pt x="221" y="65"/>
                      <a:pt x="221" y="65"/>
                    </a:cubicBezTo>
                    <a:cubicBezTo>
                      <a:pt x="222" y="65"/>
                      <a:pt x="223" y="65"/>
                      <a:pt x="223" y="65"/>
                    </a:cubicBezTo>
                    <a:cubicBezTo>
                      <a:pt x="222" y="66"/>
                      <a:pt x="221" y="66"/>
                      <a:pt x="220" y="66"/>
                    </a:cubicBezTo>
                    <a:cubicBezTo>
                      <a:pt x="219" y="66"/>
                      <a:pt x="218" y="67"/>
                      <a:pt x="217" y="67"/>
                    </a:cubicBezTo>
                    <a:cubicBezTo>
                      <a:pt x="217" y="68"/>
                      <a:pt x="217" y="68"/>
                      <a:pt x="218" y="68"/>
                    </a:cubicBezTo>
                    <a:cubicBezTo>
                      <a:pt x="218" y="68"/>
                      <a:pt x="216" y="68"/>
                      <a:pt x="216" y="68"/>
                    </a:cubicBezTo>
                    <a:cubicBezTo>
                      <a:pt x="216" y="69"/>
                      <a:pt x="217" y="69"/>
                      <a:pt x="217" y="69"/>
                    </a:cubicBezTo>
                    <a:cubicBezTo>
                      <a:pt x="218" y="69"/>
                      <a:pt x="219" y="68"/>
                      <a:pt x="219" y="68"/>
                    </a:cubicBezTo>
                    <a:cubicBezTo>
                      <a:pt x="221" y="68"/>
                      <a:pt x="223" y="68"/>
                      <a:pt x="225" y="69"/>
                    </a:cubicBezTo>
                    <a:cubicBezTo>
                      <a:pt x="226" y="69"/>
                      <a:pt x="227" y="69"/>
                      <a:pt x="227" y="69"/>
                    </a:cubicBezTo>
                    <a:cubicBezTo>
                      <a:pt x="228" y="69"/>
                      <a:pt x="228" y="69"/>
                      <a:pt x="229" y="69"/>
                    </a:cubicBezTo>
                    <a:cubicBezTo>
                      <a:pt x="229" y="69"/>
                      <a:pt x="229" y="69"/>
                      <a:pt x="229" y="68"/>
                    </a:cubicBezTo>
                    <a:cubicBezTo>
                      <a:pt x="229" y="68"/>
                      <a:pt x="228" y="68"/>
                      <a:pt x="228" y="68"/>
                    </a:cubicBezTo>
                    <a:cubicBezTo>
                      <a:pt x="229" y="68"/>
                      <a:pt x="229" y="69"/>
                      <a:pt x="231" y="69"/>
                    </a:cubicBezTo>
                    <a:cubicBezTo>
                      <a:pt x="231" y="69"/>
                      <a:pt x="232" y="69"/>
                      <a:pt x="233" y="69"/>
                    </a:cubicBezTo>
                    <a:cubicBezTo>
                      <a:pt x="233" y="69"/>
                      <a:pt x="234" y="70"/>
                      <a:pt x="235" y="69"/>
                    </a:cubicBezTo>
                    <a:cubicBezTo>
                      <a:pt x="234" y="69"/>
                      <a:pt x="234" y="69"/>
                      <a:pt x="234" y="69"/>
                    </a:cubicBezTo>
                    <a:cubicBezTo>
                      <a:pt x="235" y="69"/>
                      <a:pt x="234" y="69"/>
                      <a:pt x="234" y="69"/>
                    </a:cubicBezTo>
                    <a:cubicBezTo>
                      <a:pt x="234" y="69"/>
                      <a:pt x="235" y="69"/>
                      <a:pt x="236" y="69"/>
                    </a:cubicBezTo>
                    <a:cubicBezTo>
                      <a:pt x="236" y="69"/>
                      <a:pt x="237" y="68"/>
                      <a:pt x="237" y="68"/>
                    </a:cubicBezTo>
                    <a:cubicBezTo>
                      <a:pt x="237" y="67"/>
                      <a:pt x="234" y="67"/>
                      <a:pt x="233" y="66"/>
                    </a:cubicBezTo>
                    <a:cubicBezTo>
                      <a:pt x="233" y="66"/>
                      <a:pt x="234" y="66"/>
                      <a:pt x="234" y="66"/>
                    </a:cubicBezTo>
                    <a:cubicBezTo>
                      <a:pt x="234" y="66"/>
                      <a:pt x="233" y="66"/>
                      <a:pt x="233" y="66"/>
                    </a:cubicBezTo>
                    <a:cubicBezTo>
                      <a:pt x="233" y="66"/>
                      <a:pt x="235" y="66"/>
                      <a:pt x="235" y="66"/>
                    </a:cubicBezTo>
                    <a:cubicBezTo>
                      <a:pt x="236" y="67"/>
                      <a:pt x="236" y="67"/>
                      <a:pt x="237" y="67"/>
                    </a:cubicBezTo>
                    <a:cubicBezTo>
                      <a:pt x="237" y="66"/>
                      <a:pt x="238" y="67"/>
                      <a:pt x="239" y="66"/>
                    </a:cubicBezTo>
                    <a:cubicBezTo>
                      <a:pt x="239" y="65"/>
                      <a:pt x="236" y="64"/>
                      <a:pt x="236" y="64"/>
                    </a:cubicBezTo>
                    <a:cubicBezTo>
                      <a:pt x="234" y="64"/>
                      <a:pt x="232" y="65"/>
                      <a:pt x="231" y="64"/>
                    </a:cubicBezTo>
                    <a:cubicBezTo>
                      <a:pt x="232" y="64"/>
                      <a:pt x="233" y="64"/>
                      <a:pt x="234" y="64"/>
                    </a:cubicBezTo>
                    <a:cubicBezTo>
                      <a:pt x="235" y="64"/>
                      <a:pt x="236" y="64"/>
                      <a:pt x="237" y="65"/>
                    </a:cubicBezTo>
                    <a:cubicBezTo>
                      <a:pt x="238" y="65"/>
                      <a:pt x="239" y="66"/>
                      <a:pt x="240" y="65"/>
                    </a:cubicBezTo>
                    <a:cubicBezTo>
                      <a:pt x="241" y="64"/>
                      <a:pt x="239" y="64"/>
                      <a:pt x="239" y="64"/>
                    </a:cubicBezTo>
                    <a:cubicBezTo>
                      <a:pt x="239" y="64"/>
                      <a:pt x="239" y="64"/>
                      <a:pt x="239" y="64"/>
                    </a:cubicBezTo>
                    <a:cubicBezTo>
                      <a:pt x="239" y="63"/>
                      <a:pt x="238" y="63"/>
                      <a:pt x="237" y="63"/>
                    </a:cubicBezTo>
                    <a:cubicBezTo>
                      <a:pt x="236" y="62"/>
                      <a:pt x="235" y="62"/>
                      <a:pt x="235" y="62"/>
                    </a:cubicBezTo>
                    <a:cubicBezTo>
                      <a:pt x="235" y="62"/>
                      <a:pt x="236" y="62"/>
                      <a:pt x="236" y="62"/>
                    </a:cubicBezTo>
                    <a:cubicBezTo>
                      <a:pt x="236" y="62"/>
                      <a:pt x="235" y="61"/>
                      <a:pt x="235" y="61"/>
                    </a:cubicBezTo>
                    <a:cubicBezTo>
                      <a:pt x="236" y="61"/>
                      <a:pt x="236" y="62"/>
                      <a:pt x="237" y="62"/>
                    </a:cubicBezTo>
                    <a:cubicBezTo>
                      <a:pt x="238" y="62"/>
                      <a:pt x="238" y="63"/>
                      <a:pt x="239" y="63"/>
                    </a:cubicBezTo>
                    <a:cubicBezTo>
                      <a:pt x="239" y="63"/>
                      <a:pt x="240" y="63"/>
                      <a:pt x="241" y="63"/>
                    </a:cubicBezTo>
                    <a:cubicBezTo>
                      <a:pt x="241" y="63"/>
                      <a:pt x="240" y="62"/>
                      <a:pt x="240" y="62"/>
                    </a:cubicBezTo>
                    <a:cubicBezTo>
                      <a:pt x="240" y="62"/>
                      <a:pt x="240" y="62"/>
                      <a:pt x="240" y="62"/>
                    </a:cubicBezTo>
                    <a:cubicBezTo>
                      <a:pt x="241" y="62"/>
                      <a:pt x="241" y="62"/>
                      <a:pt x="241" y="62"/>
                    </a:cubicBezTo>
                    <a:cubicBezTo>
                      <a:pt x="241" y="62"/>
                      <a:pt x="242" y="62"/>
                      <a:pt x="242" y="62"/>
                    </a:cubicBezTo>
                    <a:cubicBezTo>
                      <a:pt x="242" y="62"/>
                      <a:pt x="241" y="62"/>
                      <a:pt x="241" y="61"/>
                    </a:cubicBezTo>
                    <a:cubicBezTo>
                      <a:pt x="240" y="61"/>
                      <a:pt x="243" y="61"/>
                      <a:pt x="243" y="61"/>
                    </a:cubicBezTo>
                    <a:cubicBezTo>
                      <a:pt x="242" y="61"/>
                      <a:pt x="242" y="61"/>
                      <a:pt x="242" y="61"/>
                    </a:cubicBezTo>
                    <a:cubicBezTo>
                      <a:pt x="242" y="61"/>
                      <a:pt x="243" y="61"/>
                      <a:pt x="243" y="61"/>
                    </a:cubicBezTo>
                    <a:cubicBezTo>
                      <a:pt x="243" y="61"/>
                      <a:pt x="243" y="61"/>
                      <a:pt x="242" y="61"/>
                    </a:cubicBezTo>
                    <a:cubicBezTo>
                      <a:pt x="243" y="61"/>
                      <a:pt x="243" y="61"/>
                      <a:pt x="243" y="61"/>
                    </a:cubicBezTo>
                    <a:cubicBezTo>
                      <a:pt x="243" y="61"/>
                      <a:pt x="243" y="60"/>
                      <a:pt x="243" y="60"/>
                    </a:cubicBezTo>
                    <a:cubicBezTo>
                      <a:pt x="242" y="60"/>
                      <a:pt x="242" y="60"/>
                      <a:pt x="242" y="60"/>
                    </a:cubicBezTo>
                    <a:cubicBezTo>
                      <a:pt x="242" y="59"/>
                      <a:pt x="242" y="59"/>
                      <a:pt x="242" y="59"/>
                    </a:cubicBezTo>
                    <a:cubicBezTo>
                      <a:pt x="241" y="59"/>
                      <a:pt x="241" y="59"/>
                      <a:pt x="241" y="59"/>
                    </a:cubicBezTo>
                    <a:cubicBezTo>
                      <a:pt x="240" y="59"/>
                      <a:pt x="239" y="59"/>
                      <a:pt x="238" y="58"/>
                    </a:cubicBezTo>
                    <a:cubicBezTo>
                      <a:pt x="239" y="58"/>
                      <a:pt x="241" y="58"/>
                      <a:pt x="241" y="58"/>
                    </a:cubicBezTo>
                    <a:cubicBezTo>
                      <a:pt x="243" y="59"/>
                      <a:pt x="244" y="59"/>
                      <a:pt x="245" y="59"/>
                    </a:cubicBezTo>
                    <a:cubicBezTo>
                      <a:pt x="245" y="59"/>
                      <a:pt x="245" y="59"/>
                      <a:pt x="245" y="58"/>
                    </a:cubicBezTo>
                    <a:cubicBezTo>
                      <a:pt x="245" y="58"/>
                      <a:pt x="245" y="58"/>
                      <a:pt x="245" y="58"/>
                    </a:cubicBezTo>
                    <a:cubicBezTo>
                      <a:pt x="245" y="57"/>
                      <a:pt x="244" y="57"/>
                      <a:pt x="244" y="57"/>
                    </a:cubicBezTo>
                    <a:cubicBezTo>
                      <a:pt x="244" y="57"/>
                      <a:pt x="245" y="57"/>
                      <a:pt x="245" y="57"/>
                    </a:cubicBezTo>
                    <a:cubicBezTo>
                      <a:pt x="245" y="57"/>
                      <a:pt x="244" y="57"/>
                      <a:pt x="244" y="57"/>
                    </a:cubicBezTo>
                    <a:cubicBezTo>
                      <a:pt x="245" y="56"/>
                      <a:pt x="247" y="58"/>
                      <a:pt x="249" y="58"/>
                    </a:cubicBezTo>
                    <a:cubicBezTo>
                      <a:pt x="249" y="58"/>
                      <a:pt x="249" y="57"/>
                      <a:pt x="248" y="57"/>
                    </a:cubicBezTo>
                    <a:cubicBezTo>
                      <a:pt x="248" y="56"/>
                      <a:pt x="247" y="56"/>
                      <a:pt x="246" y="56"/>
                    </a:cubicBezTo>
                    <a:cubicBezTo>
                      <a:pt x="248" y="56"/>
                      <a:pt x="249" y="57"/>
                      <a:pt x="250" y="57"/>
                    </a:cubicBezTo>
                    <a:cubicBezTo>
                      <a:pt x="251" y="57"/>
                      <a:pt x="252" y="56"/>
                      <a:pt x="251" y="56"/>
                    </a:cubicBezTo>
                    <a:cubicBezTo>
                      <a:pt x="251" y="56"/>
                      <a:pt x="251" y="56"/>
                      <a:pt x="250" y="56"/>
                    </a:cubicBezTo>
                    <a:cubicBezTo>
                      <a:pt x="251" y="55"/>
                      <a:pt x="252" y="56"/>
                      <a:pt x="253" y="55"/>
                    </a:cubicBezTo>
                    <a:cubicBezTo>
                      <a:pt x="253" y="55"/>
                      <a:pt x="253" y="55"/>
                      <a:pt x="253" y="55"/>
                    </a:cubicBezTo>
                    <a:cubicBezTo>
                      <a:pt x="251" y="54"/>
                      <a:pt x="249" y="55"/>
                      <a:pt x="248" y="54"/>
                    </a:cubicBezTo>
                    <a:cubicBezTo>
                      <a:pt x="248" y="54"/>
                      <a:pt x="249" y="55"/>
                      <a:pt x="249" y="54"/>
                    </a:cubicBezTo>
                    <a:cubicBezTo>
                      <a:pt x="250" y="54"/>
                      <a:pt x="250" y="54"/>
                      <a:pt x="250" y="54"/>
                    </a:cubicBezTo>
                    <a:cubicBezTo>
                      <a:pt x="251" y="54"/>
                      <a:pt x="251" y="54"/>
                      <a:pt x="251" y="54"/>
                    </a:cubicBezTo>
                    <a:cubicBezTo>
                      <a:pt x="251" y="53"/>
                      <a:pt x="251" y="53"/>
                      <a:pt x="251" y="53"/>
                    </a:cubicBezTo>
                    <a:cubicBezTo>
                      <a:pt x="252" y="53"/>
                      <a:pt x="251" y="54"/>
                      <a:pt x="252" y="54"/>
                    </a:cubicBezTo>
                    <a:cubicBezTo>
                      <a:pt x="252" y="54"/>
                      <a:pt x="254" y="54"/>
                      <a:pt x="253" y="53"/>
                    </a:cubicBezTo>
                    <a:cubicBezTo>
                      <a:pt x="253" y="53"/>
                      <a:pt x="256" y="52"/>
                      <a:pt x="255" y="52"/>
                    </a:cubicBezTo>
                    <a:cubicBezTo>
                      <a:pt x="256" y="51"/>
                      <a:pt x="256" y="52"/>
                      <a:pt x="256" y="52"/>
                    </a:cubicBezTo>
                    <a:cubicBezTo>
                      <a:pt x="257" y="53"/>
                      <a:pt x="258" y="52"/>
                      <a:pt x="258" y="51"/>
                    </a:cubicBezTo>
                    <a:cubicBezTo>
                      <a:pt x="258" y="51"/>
                      <a:pt x="258" y="51"/>
                      <a:pt x="258" y="51"/>
                    </a:cubicBezTo>
                    <a:cubicBezTo>
                      <a:pt x="258" y="51"/>
                      <a:pt x="258" y="51"/>
                      <a:pt x="259" y="51"/>
                    </a:cubicBezTo>
                    <a:cubicBezTo>
                      <a:pt x="259" y="51"/>
                      <a:pt x="260" y="50"/>
                      <a:pt x="260" y="51"/>
                    </a:cubicBezTo>
                    <a:cubicBezTo>
                      <a:pt x="261" y="51"/>
                      <a:pt x="262" y="50"/>
                      <a:pt x="262" y="50"/>
                    </a:cubicBezTo>
                    <a:cubicBezTo>
                      <a:pt x="263" y="50"/>
                      <a:pt x="263" y="50"/>
                      <a:pt x="264" y="50"/>
                    </a:cubicBezTo>
                    <a:cubicBezTo>
                      <a:pt x="264" y="50"/>
                      <a:pt x="265" y="49"/>
                      <a:pt x="265" y="49"/>
                    </a:cubicBezTo>
                    <a:cubicBezTo>
                      <a:pt x="266" y="49"/>
                      <a:pt x="267" y="49"/>
                      <a:pt x="267" y="49"/>
                    </a:cubicBezTo>
                    <a:cubicBezTo>
                      <a:pt x="268" y="49"/>
                      <a:pt x="269" y="48"/>
                      <a:pt x="268" y="48"/>
                    </a:cubicBezTo>
                    <a:cubicBezTo>
                      <a:pt x="268" y="48"/>
                      <a:pt x="269" y="48"/>
                      <a:pt x="269" y="49"/>
                    </a:cubicBezTo>
                    <a:cubicBezTo>
                      <a:pt x="269" y="49"/>
                      <a:pt x="270" y="49"/>
                      <a:pt x="270" y="49"/>
                    </a:cubicBezTo>
                    <a:cubicBezTo>
                      <a:pt x="271" y="48"/>
                      <a:pt x="273" y="48"/>
                      <a:pt x="274" y="48"/>
                    </a:cubicBezTo>
                    <a:cubicBezTo>
                      <a:pt x="275" y="48"/>
                      <a:pt x="276" y="48"/>
                      <a:pt x="278" y="47"/>
                    </a:cubicBezTo>
                    <a:cubicBezTo>
                      <a:pt x="279" y="47"/>
                      <a:pt x="280" y="47"/>
                      <a:pt x="281" y="46"/>
                    </a:cubicBezTo>
                    <a:cubicBezTo>
                      <a:pt x="282" y="46"/>
                      <a:pt x="283" y="46"/>
                      <a:pt x="284" y="46"/>
                    </a:cubicBezTo>
                    <a:cubicBezTo>
                      <a:pt x="285" y="46"/>
                      <a:pt x="287" y="45"/>
                      <a:pt x="288" y="45"/>
                    </a:cubicBezTo>
                    <a:cubicBezTo>
                      <a:pt x="290" y="45"/>
                      <a:pt x="291" y="44"/>
                      <a:pt x="292" y="44"/>
                    </a:cubicBezTo>
                    <a:cubicBezTo>
                      <a:pt x="293" y="44"/>
                      <a:pt x="294" y="44"/>
                      <a:pt x="295" y="43"/>
                    </a:cubicBezTo>
                    <a:cubicBezTo>
                      <a:pt x="295" y="43"/>
                      <a:pt x="294" y="43"/>
                      <a:pt x="294" y="43"/>
                    </a:cubicBezTo>
                    <a:cubicBezTo>
                      <a:pt x="295" y="43"/>
                      <a:pt x="295" y="43"/>
                      <a:pt x="295" y="43"/>
                    </a:cubicBezTo>
                    <a:cubicBezTo>
                      <a:pt x="295" y="42"/>
                      <a:pt x="295" y="42"/>
                      <a:pt x="296" y="42"/>
                    </a:cubicBezTo>
                    <a:cubicBezTo>
                      <a:pt x="296" y="42"/>
                      <a:pt x="296" y="42"/>
                      <a:pt x="297" y="41"/>
                    </a:cubicBezTo>
                    <a:cubicBezTo>
                      <a:pt x="297" y="41"/>
                      <a:pt x="297" y="41"/>
                      <a:pt x="298" y="41"/>
                    </a:cubicBezTo>
                    <a:cubicBezTo>
                      <a:pt x="297" y="41"/>
                      <a:pt x="297" y="41"/>
                      <a:pt x="297" y="41"/>
                    </a:cubicBezTo>
                    <a:cubicBezTo>
                      <a:pt x="297" y="40"/>
                      <a:pt x="297" y="40"/>
                      <a:pt x="297" y="40"/>
                    </a:cubicBezTo>
                    <a:cubicBezTo>
                      <a:pt x="297" y="40"/>
                      <a:pt x="295" y="39"/>
                      <a:pt x="295" y="39"/>
                    </a:cubicBezTo>
                    <a:cubicBezTo>
                      <a:pt x="295" y="38"/>
                      <a:pt x="293" y="38"/>
                      <a:pt x="292" y="38"/>
                    </a:cubicBezTo>
                    <a:cubicBezTo>
                      <a:pt x="292" y="38"/>
                      <a:pt x="291" y="38"/>
                      <a:pt x="290" y="37"/>
                    </a:cubicBezTo>
                    <a:cubicBezTo>
                      <a:pt x="288" y="37"/>
                      <a:pt x="286" y="37"/>
                      <a:pt x="284" y="38"/>
                    </a:cubicBezTo>
                    <a:cubicBezTo>
                      <a:pt x="284" y="38"/>
                      <a:pt x="283" y="38"/>
                      <a:pt x="283" y="38"/>
                    </a:cubicBezTo>
                    <a:cubicBezTo>
                      <a:pt x="283" y="38"/>
                      <a:pt x="282" y="38"/>
                      <a:pt x="282" y="38"/>
                    </a:cubicBezTo>
                    <a:cubicBezTo>
                      <a:pt x="281" y="38"/>
                      <a:pt x="281" y="38"/>
                      <a:pt x="280" y="39"/>
                    </a:cubicBezTo>
                    <a:cubicBezTo>
                      <a:pt x="280" y="39"/>
                      <a:pt x="280" y="39"/>
                      <a:pt x="280" y="39"/>
                    </a:cubicBezTo>
                    <a:cubicBezTo>
                      <a:pt x="279" y="39"/>
                      <a:pt x="277" y="40"/>
                      <a:pt x="277" y="40"/>
                    </a:cubicBezTo>
                    <a:cubicBezTo>
                      <a:pt x="277" y="40"/>
                      <a:pt x="279" y="41"/>
                      <a:pt x="279" y="41"/>
                    </a:cubicBezTo>
                    <a:cubicBezTo>
                      <a:pt x="278" y="42"/>
                      <a:pt x="277" y="41"/>
                      <a:pt x="276" y="41"/>
                    </a:cubicBezTo>
                    <a:cubicBezTo>
                      <a:pt x="276" y="41"/>
                      <a:pt x="275" y="41"/>
                      <a:pt x="274" y="42"/>
                    </a:cubicBezTo>
                    <a:cubicBezTo>
                      <a:pt x="274" y="42"/>
                      <a:pt x="273" y="42"/>
                      <a:pt x="272" y="42"/>
                    </a:cubicBezTo>
                    <a:cubicBezTo>
                      <a:pt x="272" y="42"/>
                      <a:pt x="271" y="42"/>
                      <a:pt x="271" y="43"/>
                    </a:cubicBezTo>
                    <a:cubicBezTo>
                      <a:pt x="271" y="43"/>
                      <a:pt x="271" y="42"/>
                      <a:pt x="270" y="42"/>
                    </a:cubicBezTo>
                    <a:cubicBezTo>
                      <a:pt x="270" y="43"/>
                      <a:pt x="270" y="43"/>
                      <a:pt x="270" y="43"/>
                    </a:cubicBezTo>
                    <a:cubicBezTo>
                      <a:pt x="270" y="43"/>
                      <a:pt x="269" y="43"/>
                      <a:pt x="268" y="43"/>
                    </a:cubicBezTo>
                    <a:cubicBezTo>
                      <a:pt x="267" y="43"/>
                      <a:pt x="267" y="43"/>
                      <a:pt x="266" y="43"/>
                    </a:cubicBezTo>
                    <a:cubicBezTo>
                      <a:pt x="265" y="43"/>
                      <a:pt x="265" y="43"/>
                      <a:pt x="264" y="43"/>
                    </a:cubicBezTo>
                    <a:cubicBezTo>
                      <a:pt x="263" y="44"/>
                      <a:pt x="262" y="44"/>
                      <a:pt x="261" y="44"/>
                    </a:cubicBezTo>
                    <a:cubicBezTo>
                      <a:pt x="260" y="43"/>
                      <a:pt x="259" y="44"/>
                      <a:pt x="259" y="44"/>
                    </a:cubicBezTo>
                    <a:cubicBezTo>
                      <a:pt x="258" y="44"/>
                      <a:pt x="258" y="44"/>
                      <a:pt x="258" y="44"/>
                    </a:cubicBezTo>
                    <a:cubicBezTo>
                      <a:pt x="257" y="43"/>
                      <a:pt x="256" y="44"/>
                      <a:pt x="256" y="44"/>
                    </a:cubicBezTo>
                    <a:cubicBezTo>
                      <a:pt x="255" y="44"/>
                      <a:pt x="254" y="43"/>
                      <a:pt x="253" y="43"/>
                    </a:cubicBezTo>
                    <a:cubicBezTo>
                      <a:pt x="252" y="43"/>
                      <a:pt x="250" y="43"/>
                      <a:pt x="249" y="43"/>
                    </a:cubicBezTo>
                    <a:cubicBezTo>
                      <a:pt x="249" y="44"/>
                      <a:pt x="248" y="44"/>
                      <a:pt x="249" y="44"/>
                    </a:cubicBezTo>
                    <a:close/>
                    <a:moveTo>
                      <a:pt x="793" y="64"/>
                    </a:moveTo>
                    <a:cubicBezTo>
                      <a:pt x="792" y="64"/>
                      <a:pt x="791" y="65"/>
                      <a:pt x="792" y="66"/>
                    </a:cubicBezTo>
                    <a:cubicBezTo>
                      <a:pt x="793" y="67"/>
                      <a:pt x="792" y="68"/>
                      <a:pt x="791" y="68"/>
                    </a:cubicBezTo>
                    <a:cubicBezTo>
                      <a:pt x="790" y="68"/>
                      <a:pt x="789" y="68"/>
                      <a:pt x="789" y="68"/>
                    </a:cubicBezTo>
                    <a:cubicBezTo>
                      <a:pt x="788" y="68"/>
                      <a:pt x="788" y="68"/>
                      <a:pt x="788" y="68"/>
                    </a:cubicBezTo>
                    <a:cubicBezTo>
                      <a:pt x="789" y="69"/>
                      <a:pt x="790" y="69"/>
                      <a:pt x="791" y="68"/>
                    </a:cubicBezTo>
                    <a:cubicBezTo>
                      <a:pt x="793" y="68"/>
                      <a:pt x="794" y="68"/>
                      <a:pt x="795" y="68"/>
                    </a:cubicBezTo>
                    <a:cubicBezTo>
                      <a:pt x="797" y="68"/>
                      <a:pt x="798" y="68"/>
                      <a:pt x="800" y="69"/>
                    </a:cubicBezTo>
                    <a:cubicBezTo>
                      <a:pt x="801" y="69"/>
                      <a:pt x="803" y="69"/>
                      <a:pt x="804" y="69"/>
                    </a:cubicBezTo>
                    <a:cubicBezTo>
                      <a:pt x="807" y="69"/>
                      <a:pt x="811" y="70"/>
                      <a:pt x="814" y="70"/>
                    </a:cubicBezTo>
                    <a:cubicBezTo>
                      <a:pt x="815" y="70"/>
                      <a:pt x="815" y="70"/>
                      <a:pt x="816" y="70"/>
                    </a:cubicBezTo>
                    <a:cubicBezTo>
                      <a:pt x="815" y="69"/>
                      <a:pt x="815" y="69"/>
                      <a:pt x="814" y="69"/>
                    </a:cubicBezTo>
                    <a:cubicBezTo>
                      <a:pt x="813" y="68"/>
                      <a:pt x="813" y="68"/>
                      <a:pt x="813" y="67"/>
                    </a:cubicBezTo>
                    <a:cubicBezTo>
                      <a:pt x="811" y="67"/>
                      <a:pt x="809" y="66"/>
                      <a:pt x="807" y="66"/>
                    </a:cubicBezTo>
                    <a:cubicBezTo>
                      <a:pt x="805" y="65"/>
                      <a:pt x="803" y="65"/>
                      <a:pt x="802" y="64"/>
                    </a:cubicBezTo>
                    <a:cubicBezTo>
                      <a:pt x="800" y="64"/>
                      <a:pt x="799" y="64"/>
                      <a:pt x="797" y="64"/>
                    </a:cubicBezTo>
                    <a:cubicBezTo>
                      <a:pt x="796" y="64"/>
                      <a:pt x="794" y="64"/>
                      <a:pt x="793" y="64"/>
                    </a:cubicBezTo>
                    <a:close/>
                    <a:moveTo>
                      <a:pt x="154" y="10"/>
                    </a:moveTo>
                    <a:cubicBezTo>
                      <a:pt x="154" y="10"/>
                      <a:pt x="154" y="10"/>
                      <a:pt x="153" y="10"/>
                    </a:cubicBezTo>
                    <a:cubicBezTo>
                      <a:pt x="152" y="10"/>
                      <a:pt x="152" y="10"/>
                      <a:pt x="151" y="10"/>
                    </a:cubicBezTo>
                    <a:cubicBezTo>
                      <a:pt x="150" y="9"/>
                      <a:pt x="149" y="10"/>
                      <a:pt x="148" y="10"/>
                    </a:cubicBezTo>
                    <a:cubicBezTo>
                      <a:pt x="147" y="10"/>
                      <a:pt x="146" y="10"/>
                      <a:pt x="145" y="10"/>
                    </a:cubicBezTo>
                    <a:cubicBezTo>
                      <a:pt x="146" y="11"/>
                      <a:pt x="147" y="10"/>
                      <a:pt x="148" y="10"/>
                    </a:cubicBezTo>
                    <a:cubicBezTo>
                      <a:pt x="149" y="10"/>
                      <a:pt x="150" y="10"/>
                      <a:pt x="150" y="11"/>
                    </a:cubicBezTo>
                    <a:cubicBezTo>
                      <a:pt x="149" y="11"/>
                      <a:pt x="148" y="10"/>
                      <a:pt x="147" y="11"/>
                    </a:cubicBezTo>
                    <a:cubicBezTo>
                      <a:pt x="148" y="11"/>
                      <a:pt x="149" y="11"/>
                      <a:pt x="150" y="11"/>
                    </a:cubicBezTo>
                    <a:cubicBezTo>
                      <a:pt x="150" y="11"/>
                      <a:pt x="150" y="11"/>
                      <a:pt x="149" y="11"/>
                    </a:cubicBezTo>
                    <a:cubicBezTo>
                      <a:pt x="150" y="12"/>
                      <a:pt x="148" y="11"/>
                      <a:pt x="148" y="11"/>
                    </a:cubicBezTo>
                    <a:cubicBezTo>
                      <a:pt x="148" y="11"/>
                      <a:pt x="147" y="11"/>
                      <a:pt x="147" y="11"/>
                    </a:cubicBezTo>
                    <a:cubicBezTo>
                      <a:pt x="146" y="11"/>
                      <a:pt x="145" y="12"/>
                      <a:pt x="145" y="11"/>
                    </a:cubicBezTo>
                    <a:cubicBezTo>
                      <a:pt x="144" y="11"/>
                      <a:pt x="143" y="11"/>
                      <a:pt x="142" y="11"/>
                    </a:cubicBezTo>
                    <a:cubicBezTo>
                      <a:pt x="142" y="11"/>
                      <a:pt x="141" y="11"/>
                      <a:pt x="141" y="12"/>
                    </a:cubicBezTo>
                    <a:cubicBezTo>
                      <a:pt x="141" y="11"/>
                      <a:pt x="144" y="12"/>
                      <a:pt x="144" y="12"/>
                    </a:cubicBezTo>
                    <a:cubicBezTo>
                      <a:pt x="145" y="13"/>
                      <a:pt x="146" y="12"/>
                      <a:pt x="146" y="12"/>
                    </a:cubicBezTo>
                    <a:cubicBezTo>
                      <a:pt x="147" y="12"/>
                      <a:pt x="149" y="12"/>
                      <a:pt x="150" y="12"/>
                    </a:cubicBezTo>
                    <a:cubicBezTo>
                      <a:pt x="149" y="12"/>
                      <a:pt x="149" y="12"/>
                      <a:pt x="149" y="12"/>
                    </a:cubicBezTo>
                    <a:cubicBezTo>
                      <a:pt x="149" y="12"/>
                      <a:pt x="150" y="12"/>
                      <a:pt x="150" y="12"/>
                    </a:cubicBezTo>
                    <a:cubicBezTo>
                      <a:pt x="150" y="12"/>
                      <a:pt x="148" y="12"/>
                      <a:pt x="148" y="13"/>
                    </a:cubicBezTo>
                    <a:cubicBezTo>
                      <a:pt x="148" y="13"/>
                      <a:pt x="148" y="13"/>
                      <a:pt x="148" y="13"/>
                    </a:cubicBezTo>
                    <a:cubicBezTo>
                      <a:pt x="149" y="13"/>
                      <a:pt x="150" y="13"/>
                      <a:pt x="151" y="13"/>
                    </a:cubicBezTo>
                    <a:cubicBezTo>
                      <a:pt x="151" y="13"/>
                      <a:pt x="152" y="13"/>
                      <a:pt x="152" y="13"/>
                    </a:cubicBezTo>
                    <a:cubicBezTo>
                      <a:pt x="153" y="13"/>
                      <a:pt x="154" y="13"/>
                      <a:pt x="153" y="12"/>
                    </a:cubicBezTo>
                    <a:cubicBezTo>
                      <a:pt x="154" y="12"/>
                      <a:pt x="154" y="13"/>
                      <a:pt x="155" y="13"/>
                    </a:cubicBezTo>
                    <a:cubicBezTo>
                      <a:pt x="156" y="13"/>
                      <a:pt x="156" y="13"/>
                      <a:pt x="157" y="12"/>
                    </a:cubicBezTo>
                    <a:cubicBezTo>
                      <a:pt x="156" y="12"/>
                      <a:pt x="156" y="12"/>
                      <a:pt x="156" y="12"/>
                    </a:cubicBezTo>
                    <a:cubicBezTo>
                      <a:pt x="156" y="12"/>
                      <a:pt x="154" y="12"/>
                      <a:pt x="153" y="11"/>
                    </a:cubicBezTo>
                    <a:cubicBezTo>
                      <a:pt x="153" y="11"/>
                      <a:pt x="154" y="11"/>
                      <a:pt x="154" y="11"/>
                    </a:cubicBezTo>
                    <a:cubicBezTo>
                      <a:pt x="155" y="11"/>
                      <a:pt x="155" y="11"/>
                      <a:pt x="156" y="11"/>
                    </a:cubicBezTo>
                    <a:cubicBezTo>
                      <a:pt x="157" y="11"/>
                      <a:pt x="159" y="11"/>
                      <a:pt x="160" y="11"/>
                    </a:cubicBezTo>
                    <a:cubicBezTo>
                      <a:pt x="160" y="10"/>
                      <a:pt x="159" y="10"/>
                      <a:pt x="159" y="10"/>
                    </a:cubicBezTo>
                    <a:cubicBezTo>
                      <a:pt x="160" y="10"/>
                      <a:pt x="161" y="10"/>
                      <a:pt x="162" y="10"/>
                    </a:cubicBezTo>
                    <a:cubicBezTo>
                      <a:pt x="163" y="10"/>
                      <a:pt x="164" y="10"/>
                      <a:pt x="165" y="10"/>
                    </a:cubicBezTo>
                    <a:cubicBezTo>
                      <a:pt x="166" y="10"/>
                      <a:pt x="167" y="9"/>
                      <a:pt x="169" y="9"/>
                    </a:cubicBezTo>
                    <a:cubicBezTo>
                      <a:pt x="169" y="9"/>
                      <a:pt x="170" y="9"/>
                      <a:pt x="170" y="8"/>
                    </a:cubicBezTo>
                    <a:cubicBezTo>
                      <a:pt x="170" y="8"/>
                      <a:pt x="167" y="8"/>
                      <a:pt x="167" y="8"/>
                    </a:cubicBezTo>
                    <a:cubicBezTo>
                      <a:pt x="166" y="8"/>
                      <a:pt x="166" y="8"/>
                      <a:pt x="165" y="8"/>
                    </a:cubicBezTo>
                    <a:cubicBezTo>
                      <a:pt x="165" y="8"/>
                      <a:pt x="164" y="8"/>
                      <a:pt x="164" y="8"/>
                    </a:cubicBezTo>
                    <a:cubicBezTo>
                      <a:pt x="163" y="8"/>
                      <a:pt x="162" y="9"/>
                      <a:pt x="161" y="8"/>
                    </a:cubicBezTo>
                    <a:cubicBezTo>
                      <a:pt x="162" y="8"/>
                      <a:pt x="163" y="8"/>
                      <a:pt x="162" y="8"/>
                    </a:cubicBezTo>
                    <a:cubicBezTo>
                      <a:pt x="163" y="8"/>
                      <a:pt x="165" y="8"/>
                      <a:pt x="165" y="7"/>
                    </a:cubicBezTo>
                    <a:cubicBezTo>
                      <a:pt x="164" y="7"/>
                      <a:pt x="164" y="7"/>
                      <a:pt x="163" y="7"/>
                    </a:cubicBezTo>
                    <a:cubicBezTo>
                      <a:pt x="162" y="7"/>
                      <a:pt x="161" y="8"/>
                      <a:pt x="159" y="7"/>
                    </a:cubicBezTo>
                    <a:cubicBezTo>
                      <a:pt x="160" y="7"/>
                      <a:pt x="161" y="7"/>
                      <a:pt x="162" y="7"/>
                    </a:cubicBezTo>
                    <a:cubicBezTo>
                      <a:pt x="160" y="7"/>
                      <a:pt x="159" y="7"/>
                      <a:pt x="158" y="7"/>
                    </a:cubicBezTo>
                    <a:cubicBezTo>
                      <a:pt x="157" y="8"/>
                      <a:pt x="155" y="7"/>
                      <a:pt x="154" y="8"/>
                    </a:cubicBezTo>
                    <a:cubicBezTo>
                      <a:pt x="155" y="8"/>
                      <a:pt x="154" y="8"/>
                      <a:pt x="154" y="8"/>
                    </a:cubicBezTo>
                    <a:cubicBezTo>
                      <a:pt x="154" y="9"/>
                      <a:pt x="155" y="8"/>
                      <a:pt x="156" y="8"/>
                    </a:cubicBezTo>
                    <a:cubicBezTo>
                      <a:pt x="156" y="8"/>
                      <a:pt x="155" y="8"/>
                      <a:pt x="155" y="8"/>
                    </a:cubicBezTo>
                    <a:cubicBezTo>
                      <a:pt x="155" y="9"/>
                      <a:pt x="158" y="8"/>
                      <a:pt x="158" y="8"/>
                    </a:cubicBezTo>
                    <a:cubicBezTo>
                      <a:pt x="158" y="9"/>
                      <a:pt x="158" y="9"/>
                      <a:pt x="158" y="9"/>
                    </a:cubicBezTo>
                    <a:cubicBezTo>
                      <a:pt x="157" y="9"/>
                      <a:pt x="157" y="9"/>
                      <a:pt x="156" y="9"/>
                    </a:cubicBezTo>
                    <a:cubicBezTo>
                      <a:pt x="156" y="9"/>
                      <a:pt x="156" y="9"/>
                      <a:pt x="157" y="9"/>
                    </a:cubicBezTo>
                    <a:cubicBezTo>
                      <a:pt x="157" y="9"/>
                      <a:pt x="155" y="10"/>
                      <a:pt x="156" y="10"/>
                    </a:cubicBezTo>
                    <a:cubicBezTo>
                      <a:pt x="155" y="10"/>
                      <a:pt x="155" y="10"/>
                      <a:pt x="154" y="10"/>
                    </a:cubicBezTo>
                    <a:close/>
                    <a:moveTo>
                      <a:pt x="178" y="12"/>
                    </a:moveTo>
                    <a:cubicBezTo>
                      <a:pt x="179" y="12"/>
                      <a:pt x="180" y="12"/>
                      <a:pt x="181" y="12"/>
                    </a:cubicBezTo>
                    <a:cubicBezTo>
                      <a:pt x="182" y="12"/>
                      <a:pt x="183" y="12"/>
                      <a:pt x="183" y="12"/>
                    </a:cubicBezTo>
                    <a:cubicBezTo>
                      <a:pt x="183" y="12"/>
                      <a:pt x="185" y="12"/>
                      <a:pt x="185" y="12"/>
                    </a:cubicBezTo>
                    <a:cubicBezTo>
                      <a:pt x="185" y="11"/>
                      <a:pt x="182" y="11"/>
                      <a:pt x="182" y="11"/>
                    </a:cubicBezTo>
                    <a:cubicBezTo>
                      <a:pt x="181" y="11"/>
                      <a:pt x="181" y="11"/>
                      <a:pt x="180" y="11"/>
                    </a:cubicBezTo>
                    <a:cubicBezTo>
                      <a:pt x="179" y="11"/>
                      <a:pt x="179" y="11"/>
                      <a:pt x="178" y="11"/>
                    </a:cubicBezTo>
                    <a:cubicBezTo>
                      <a:pt x="178" y="11"/>
                      <a:pt x="177" y="11"/>
                      <a:pt x="178" y="11"/>
                    </a:cubicBezTo>
                    <a:cubicBezTo>
                      <a:pt x="177" y="11"/>
                      <a:pt x="177" y="12"/>
                      <a:pt x="176" y="12"/>
                    </a:cubicBezTo>
                    <a:cubicBezTo>
                      <a:pt x="176" y="12"/>
                      <a:pt x="175" y="11"/>
                      <a:pt x="175" y="12"/>
                    </a:cubicBezTo>
                    <a:cubicBezTo>
                      <a:pt x="175" y="12"/>
                      <a:pt x="175" y="12"/>
                      <a:pt x="176" y="12"/>
                    </a:cubicBezTo>
                    <a:cubicBezTo>
                      <a:pt x="176" y="12"/>
                      <a:pt x="177" y="12"/>
                      <a:pt x="178" y="12"/>
                    </a:cubicBezTo>
                    <a:close/>
                    <a:moveTo>
                      <a:pt x="410" y="11"/>
                    </a:moveTo>
                    <a:cubicBezTo>
                      <a:pt x="410" y="11"/>
                      <a:pt x="411" y="11"/>
                      <a:pt x="411" y="11"/>
                    </a:cubicBezTo>
                    <a:cubicBezTo>
                      <a:pt x="411" y="11"/>
                      <a:pt x="412" y="11"/>
                      <a:pt x="412" y="11"/>
                    </a:cubicBezTo>
                    <a:cubicBezTo>
                      <a:pt x="412" y="11"/>
                      <a:pt x="414" y="11"/>
                      <a:pt x="413" y="11"/>
                    </a:cubicBezTo>
                    <a:cubicBezTo>
                      <a:pt x="414" y="11"/>
                      <a:pt x="415" y="11"/>
                      <a:pt x="416" y="11"/>
                    </a:cubicBezTo>
                    <a:cubicBezTo>
                      <a:pt x="415" y="10"/>
                      <a:pt x="413" y="11"/>
                      <a:pt x="412" y="10"/>
                    </a:cubicBezTo>
                    <a:cubicBezTo>
                      <a:pt x="413" y="10"/>
                      <a:pt x="413" y="10"/>
                      <a:pt x="414" y="10"/>
                    </a:cubicBezTo>
                    <a:cubicBezTo>
                      <a:pt x="415" y="10"/>
                      <a:pt x="416" y="10"/>
                      <a:pt x="416" y="10"/>
                    </a:cubicBezTo>
                    <a:cubicBezTo>
                      <a:pt x="417" y="10"/>
                      <a:pt x="416" y="9"/>
                      <a:pt x="416" y="9"/>
                    </a:cubicBezTo>
                    <a:cubicBezTo>
                      <a:pt x="415" y="8"/>
                      <a:pt x="417" y="8"/>
                      <a:pt x="417" y="8"/>
                    </a:cubicBezTo>
                    <a:cubicBezTo>
                      <a:pt x="416" y="8"/>
                      <a:pt x="414" y="8"/>
                      <a:pt x="413" y="8"/>
                    </a:cubicBezTo>
                    <a:cubicBezTo>
                      <a:pt x="413" y="8"/>
                      <a:pt x="413" y="8"/>
                      <a:pt x="413" y="7"/>
                    </a:cubicBezTo>
                    <a:cubicBezTo>
                      <a:pt x="413" y="7"/>
                      <a:pt x="413" y="7"/>
                      <a:pt x="413" y="7"/>
                    </a:cubicBezTo>
                    <a:cubicBezTo>
                      <a:pt x="413" y="7"/>
                      <a:pt x="415" y="7"/>
                      <a:pt x="415" y="7"/>
                    </a:cubicBezTo>
                    <a:cubicBezTo>
                      <a:pt x="415" y="7"/>
                      <a:pt x="414" y="6"/>
                      <a:pt x="414" y="6"/>
                    </a:cubicBezTo>
                    <a:cubicBezTo>
                      <a:pt x="415" y="6"/>
                      <a:pt x="416" y="6"/>
                      <a:pt x="417" y="6"/>
                    </a:cubicBezTo>
                    <a:cubicBezTo>
                      <a:pt x="418" y="6"/>
                      <a:pt x="419" y="6"/>
                      <a:pt x="420" y="6"/>
                    </a:cubicBezTo>
                    <a:cubicBezTo>
                      <a:pt x="421" y="6"/>
                      <a:pt x="422" y="6"/>
                      <a:pt x="423" y="5"/>
                    </a:cubicBezTo>
                    <a:cubicBezTo>
                      <a:pt x="424" y="5"/>
                      <a:pt x="424" y="5"/>
                      <a:pt x="425" y="5"/>
                    </a:cubicBezTo>
                    <a:cubicBezTo>
                      <a:pt x="425" y="5"/>
                      <a:pt x="426" y="5"/>
                      <a:pt x="427" y="5"/>
                    </a:cubicBezTo>
                    <a:cubicBezTo>
                      <a:pt x="426" y="5"/>
                      <a:pt x="425" y="5"/>
                      <a:pt x="424" y="5"/>
                    </a:cubicBezTo>
                    <a:cubicBezTo>
                      <a:pt x="424" y="4"/>
                      <a:pt x="425" y="4"/>
                      <a:pt x="426" y="4"/>
                    </a:cubicBezTo>
                    <a:cubicBezTo>
                      <a:pt x="428" y="4"/>
                      <a:pt x="430" y="5"/>
                      <a:pt x="432" y="5"/>
                    </a:cubicBezTo>
                    <a:cubicBezTo>
                      <a:pt x="433" y="6"/>
                      <a:pt x="434" y="6"/>
                      <a:pt x="435" y="6"/>
                    </a:cubicBezTo>
                    <a:cubicBezTo>
                      <a:pt x="436" y="6"/>
                      <a:pt x="436" y="7"/>
                      <a:pt x="437" y="7"/>
                    </a:cubicBezTo>
                    <a:cubicBezTo>
                      <a:pt x="438" y="7"/>
                      <a:pt x="439" y="7"/>
                      <a:pt x="440" y="7"/>
                    </a:cubicBezTo>
                    <a:cubicBezTo>
                      <a:pt x="441" y="7"/>
                      <a:pt x="443" y="7"/>
                      <a:pt x="445" y="8"/>
                    </a:cubicBezTo>
                    <a:cubicBezTo>
                      <a:pt x="445" y="8"/>
                      <a:pt x="444" y="8"/>
                      <a:pt x="444" y="8"/>
                    </a:cubicBezTo>
                    <a:cubicBezTo>
                      <a:pt x="445" y="8"/>
                      <a:pt x="445" y="8"/>
                      <a:pt x="446" y="8"/>
                    </a:cubicBezTo>
                    <a:cubicBezTo>
                      <a:pt x="444" y="9"/>
                      <a:pt x="443" y="9"/>
                      <a:pt x="441" y="9"/>
                    </a:cubicBezTo>
                    <a:cubicBezTo>
                      <a:pt x="442" y="9"/>
                      <a:pt x="441" y="9"/>
                      <a:pt x="441" y="9"/>
                    </a:cubicBezTo>
                    <a:cubicBezTo>
                      <a:pt x="441" y="10"/>
                      <a:pt x="443" y="10"/>
                      <a:pt x="443" y="10"/>
                    </a:cubicBezTo>
                    <a:cubicBezTo>
                      <a:pt x="444" y="11"/>
                      <a:pt x="444" y="11"/>
                      <a:pt x="445" y="11"/>
                    </a:cubicBezTo>
                    <a:cubicBezTo>
                      <a:pt x="445" y="11"/>
                      <a:pt x="446" y="11"/>
                      <a:pt x="446" y="12"/>
                    </a:cubicBezTo>
                    <a:cubicBezTo>
                      <a:pt x="445" y="12"/>
                      <a:pt x="443" y="12"/>
                      <a:pt x="443" y="12"/>
                    </a:cubicBezTo>
                    <a:cubicBezTo>
                      <a:pt x="441" y="12"/>
                      <a:pt x="439" y="12"/>
                      <a:pt x="438" y="12"/>
                    </a:cubicBezTo>
                    <a:cubicBezTo>
                      <a:pt x="437" y="12"/>
                      <a:pt x="436" y="12"/>
                      <a:pt x="435" y="12"/>
                    </a:cubicBezTo>
                    <a:cubicBezTo>
                      <a:pt x="434" y="13"/>
                      <a:pt x="433" y="13"/>
                      <a:pt x="432" y="13"/>
                    </a:cubicBezTo>
                    <a:cubicBezTo>
                      <a:pt x="430" y="13"/>
                      <a:pt x="429" y="13"/>
                      <a:pt x="427" y="14"/>
                    </a:cubicBezTo>
                    <a:cubicBezTo>
                      <a:pt x="425" y="14"/>
                      <a:pt x="423" y="13"/>
                      <a:pt x="422" y="13"/>
                    </a:cubicBezTo>
                    <a:cubicBezTo>
                      <a:pt x="420" y="13"/>
                      <a:pt x="419" y="13"/>
                      <a:pt x="418" y="13"/>
                    </a:cubicBezTo>
                    <a:cubicBezTo>
                      <a:pt x="417" y="13"/>
                      <a:pt x="416" y="13"/>
                      <a:pt x="415" y="12"/>
                    </a:cubicBezTo>
                    <a:cubicBezTo>
                      <a:pt x="417" y="12"/>
                      <a:pt x="418" y="13"/>
                      <a:pt x="420" y="12"/>
                    </a:cubicBezTo>
                    <a:cubicBezTo>
                      <a:pt x="419" y="12"/>
                      <a:pt x="418" y="12"/>
                      <a:pt x="417" y="12"/>
                    </a:cubicBezTo>
                    <a:cubicBezTo>
                      <a:pt x="416" y="12"/>
                      <a:pt x="415" y="12"/>
                      <a:pt x="414" y="12"/>
                    </a:cubicBezTo>
                    <a:cubicBezTo>
                      <a:pt x="415" y="11"/>
                      <a:pt x="416" y="11"/>
                      <a:pt x="416" y="11"/>
                    </a:cubicBezTo>
                    <a:cubicBezTo>
                      <a:pt x="415" y="11"/>
                      <a:pt x="414" y="11"/>
                      <a:pt x="414" y="11"/>
                    </a:cubicBezTo>
                    <a:cubicBezTo>
                      <a:pt x="413" y="11"/>
                      <a:pt x="413" y="12"/>
                      <a:pt x="412" y="12"/>
                    </a:cubicBezTo>
                    <a:cubicBezTo>
                      <a:pt x="412" y="12"/>
                      <a:pt x="410" y="12"/>
                      <a:pt x="411" y="11"/>
                    </a:cubicBezTo>
                    <a:cubicBezTo>
                      <a:pt x="411" y="11"/>
                      <a:pt x="410" y="12"/>
                      <a:pt x="410" y="11"/>
                    </a:cubicBezTo>
                    <a:close/>
                    <a:moveTo>
                      <a:pt x="417" y="11"/>
                    </a:moveTo>
                    <a:cubicBezTo>
                      <a:pt x="417" y="11"/>
                      <a:pt x="418" y="11"/>
                      <a:pt x="418" y="11"/>
                    </a:cubicBezTo>
                    <a:cubicBezTo>
                      <a:pt x="419" y="11"/>
                      <a:pt x="420" y="12"/>
                      <a:pt x="422" y="12"/>
                    </a:cubicBezTo>
                    <a:cubicBezTo>
                      <a:pt x="420" y="11"/>
                      <a:pt x="418" y="11"/>
                      <a:pt x="417" y="11"/>
                    </a:cubicBezTo>
                    <a:close/>
                    <a:moveTo>
                      <a:pt x="444" y="13"/>
                    </a:moveTo>
                    <a:cubicBezTo>
                      <a:pt x="444" y="13"/>
                      <a:pt x="443" y="13"/>
                      <a:pt x="443" y="13"/>
                    </a:cubicBezTo>
                    <a:cubicBezTo>
                      <a:pt x="442" y="13"/>
                      <a:pt x="442" y="13"/>
                      <a:pt x="442" y="13"/>
                    </a:cubicBezTo>
                    <a:cubicBezTo>
                      <a:pt x="441" y="13"/>
                      <a:pt x="441" y="13"/>
                      <a:pt x="441" y="13"/>
                    </a:cubicBezTo>
                    <a:cubicBezTo>
                      <a:pt x="440" y="13"/>
                      <a:pt x="438" y="13"/>
                      <a:pt x="438" y="13"/>
                    </a:cubicBezTo>
                    <a:cubicBezTo>
                      <a:pt x="437" y="13"/>
                      <a:pt x="435" y="13"/>
                      <a:pt x="436" y="13"/>
                    </a:cubicBezTo>
                    <a:cubicBezTo>
                      <a:pt x="436" y="14"/>
                      <a:pt x="435" y="13"/>
                      <a:pt x="434" y="13"/>
                    </a:cubicBezTo>
                    <a:cubicBezTo>
                      <a:pt x="434" y="13"/>
                      <a:pt x="433" y="13"/>
                      <a:pt x="433" y="13"/>
                    </a:cubicBezTo>
                    <a:cubicBezTo>
                      <a:pt x="433" y="13"/>
                      <a:pt x="433" y="13"/>
                      <a:pt x="433" y="13"/>
                    </a:cubicBezTo>
                    <a:cubicBezTo>
                      <a:pt x="433" y="13"/>
                      <a:pt x="432" y="14"/>
                      <a:pt x="432" y="14"/>
                    </a:cubicBezTo>
                    <a:cubicBezTo>
                      <a:pt x="431" y="14"/>
                      <a:pt x="431" y="14"/>
                      <a:pt x="430" y="14"/>
                    </a:cubicBezTo>
                    <a:cubicBezTo>
                      <a:pt x="431" y="14"/>
                      <a:pt x="431" y="14"/>
                      <a:pt x="431" y="14"/>
                    </a:cubicBezTo>
                    <a:cubicBezTo>
                      <a:pt x="431" y="14"/>
                      <a:pt x="431" y="14"/>
                      <a:pt x="430" y="14"/>
                    </a:cubicBezTo>
                    <a:cubicBezTo>
                      <a:pt x="431" y="15"/>
                      <a:pt x="433" y="15"/>
                      <a:pt x="434" y="15"/>
                    </a:cubicBezTo>
                    <a:cubicBezTo>
                      <a:pt x="433" y="15"/>
                      <a:pt x="432" y="15"/>
                      <a:pt x="431" y="15"/>
                    </a:cubicBezTo>
                    <a:cubicBezTo>
                      <a:pt x="430" y="16"/>
                      <a:pt x="430" y="16"/>
                      <a:pt x="430" y="16"/>
                    </a:cubicBezTo>
                    <a:cubicBezTo>
                      <a:pt x="429" y="16"/>
                      <a:pt x="430" y="16"/>
                      <a:pt x="430" y="16"/>
                    </a:cubicBezTo>
                    <a:cubicBezTo>
                      <a:pt x="429" y="17"/>
                      <a:pt x="428" y="17"/>
                      <a:pt x="427" y="17"/>
                    </a:cubicBezTo>
                    <a:cubicBezTo>
                      <a:pt x="427" y="17"/>
                      <a:pt x="426" y="17"/>
                      <a:pt x="425" y="17"/>
                    </a:cubicBezTo>
                    <a:cubicBezTo>
                      <a:pt x="426" y="17"/>
                      <a:pt x="426" y="17"/>
                      <a:pt x="427" y="17"/>
                    </a:cubicBezTo>
                    <a:cubicBezTo>
                      <a:pt x="426" y="17"/>
                      <a:pt x="427" y="17"/>
                      <a:pt x="427" y="17"/>
                    </a:cubicBezTo>
                    <a:cubicBezTo>
                      <a:pt x="427" y="17"/>
                      <a:pt x="428" y="17"/>
                      <a:pt x="428" y="17"/>
                    </a:cubicBezTo>
                    <a:cubicBezTo>
                      <a:pt x="428" y="18"/>
                      <a:pt x="428" y="18"/>
                      <a:pt x="427" y="18"/>
                    </a:cubicBezTo>
                    <a:cubicBezTo>
                      <a:pt x="428" y="18"/>
                      <a:pt x="429" y="18"/>
                      <a:pt x="430" y="18"/>
                    </a:cubicBezTo>
                    <a:cubicBezTo>
                      <a:pt x="429" y="18"/>
                      <a:pt x="429" y="18"/>
                      <a:pt x="429" y="17"/>
                    </a:cubicBezTo>
                    <a:cubicBezTo>
                      <a:pt x="429" y="17"/>
                      <a:pt x="430" y="17"/>
                      <a:pt x="430" y="17"/>
                    </a:cubicBezTo>
                    <a:cubicBezTo>
                      <a:pt x="431" y="17"/>
                      <a:pt x="431" y="17"/>
                      <a:pt x="430" y="17"/>
                    </a:cubicBezTo>
                    <a:cubicBezTo>
                      <a:pt x="431" y="17"/>
                      <a:pt x="432" y="17"/>
                      <a:pt x="432" y="18"/>
                    </a:cubicBezTo>
                    <a:cubicBezTo>
                      <a:pt x="432" y="18"/>
                      <a:pt x="431" y="18"/>
                      <a:pt x="431" y="18"/>
                    </a:cubicBezTo>
                    <a:cubicBezTo>
                      <a:pt x="432" y="18"/>
                      <a:pt x="433" y="18"/>
                      <a:pt x="433" y="18"/>
                    </a:cubicBezTo>
                    <a:cubicBezTo>
                      <a:pt x="433" y="18"/>
                      <a:pt x="433" y="18"/>
                      <a:pt x="433" y="18"/>
                    </a:cubicBezTo>
                    <a:cubicBezTo>
                      <a:pt x="434" y="17"/>
                      <a:pt x="436" y="18"/>
                      <a:pt x="436" y="19"/>
                    </a:cubicBezTo>
                    <a:cubicBezTo>
                      <a:pt x="437" y="20"/>
                      <a:pt x="438" y="20"/>
                      <a:pt x="438" y="20"/>
                    </a:cubicBezTo>
                    <a:cubicBezTo>
                      <a:pt x="439" y="20"/>
                      <a:pt x="439" y="20"/>
                      <a:pt x="440" y="20"/>
                    </a:cubicBezTo>
                    <a:cubicBezTo>
                      <a:pt x="441" y="21"/>
                      <a:pt x="443" y="21"/>
                      <a:pt x="444" y="21"/>
                    </a:cubicBezTo>
                    <a:cubicBezTo>
                      <a:pt x="445" y="20"/>
                      <a:pt x="446" y="21"/>
                      <a:pt x="447" y="21"/>
                    </a:cubicBezTo>
                    <a:cubicBezTo>
                      <a:pt x="448" y="21"/>
                      <a:pt x="449" y="21"/>
                      <a:pt x="450" y="21"/>
                    </a:cubicBezTo>
                    <a:cubicBezTo>
                      <a:pt x="450" y="21"/>
                      <a:pt x="452" y="21"/>
                      <a:pt x="451" y="21"/>
                    </a:cubicBezTo>
                    <a:cubicBezTo>
                      <a:pt x="452" y="22"/>
                      <a:pt x="453" y="21"/>
                      <a:pt x="454" y="21"/>
                    </a:cubicBezTo>
                    <a:cubicBezTo>
                      <a:pt x="454" y="21"/>
                      <a:pt x="455" y="22"/>
                      <a:pt x="456" y="22"/>
                    </a:cubicBezTo>
                    <a:cubicBezTo>
                      <a:pt x="457" y="22"/>
                      <a:pt x="457" y="22"/>
                      <a:pt x="458" y="23"/>
                    </a:cubicBezTo>
                    <a:cubicBezTo>
                      <a:pt x="459" y="23"/>
                      <a:pt x="459" y="22"/>
                      <a:pt x="460" y="23"/>
                    </a:cubicBezTo>
                    <a:cubicBezTo>
                      <a:pt x="460" y="23"/>
                      <a:pt x="460" y="23"/>
                      <a:pt x="459" y="23"/>
                    </a:cubicBezTo>
                    <a:cubicBezTo>
                      <a:pt x="461" y="23"/>
                      <a:pt x="462" y="23"/>
                      <a:pt x="464" y="23"/>
                    </a:cubicBezTo>
                    <a:cubicBezTo>
                      <a:pt x="465" y="23"/>
                      <a:pt x="466" y="23"/>
                      <a:pt x="467" y="23"/>
                    </a:cubicBezTo>
                    <a:cubicBezTo>
                      <a:pt x="467" y="23"/>
                      <a:pt x="467" y="23"/>
                      <a:pt x="467" y="23"/>
                    </a:cubicBezTo>
                    <a:cubicBezTo>
                      <a:pt x="468" y="23"/>
                      <a:pt x="469" y="23"/>
                      <a:pt x="470" y="23"/>
                    </a:cubicBezTo>
                    <a:cubicBezTo>
                      <a:pt x="471" y="23"/>
                      <a:pt x="471" y="23"/>
                      <a:pt x="472" y="23"/>
                    </a:cubicBezTo>
                    <a:cubicBezTo>
                      <a:pt x="472" y="23"/>
                      <a:pt x="472" y="22"/>
                      <a:pt x="473" y="22"/>
                    </a:cubicBezTo>
                    <a:cubicBezTo>
                      <a:pt x="473" y="22"/>
                      <a:pt x="474" y="22"/>
                      <a:pt x="473" y="21"/>
                    </a:cubicBezTo>
                    <a:cubicBezTo>
                      <a:pt x="473" y="21"/>
                      <a:pt x="472" y="21"/>
                      <a:pt x="472" y="21"/>
                    </a:cubicBezTo>
                    <a:cubicBezTo>
                      <a:pt x="471" y="20"/>
                      <a:pt x="470" y="21"/>
                      <a:pt x="469" y="20"/>
                    </a:cubicBezTo>
                    <a:cubicBezTo>
                      <a:pt x="469" y="20"/>
                      <a:pt x="469" y="20"/>
                      <a:pt x="470" y="20"/>
                    </a:cubicBezTo>
                    <a:cubicBezTo>
                      <a:pt x="468" y="20"/>
                      <a:pt x="466" y="20"/>
                      <a:pt x="465" y="19"/>
                    </a:cubicBezTo>
                    <a:cubicBezTo>
                      <a:pt x="466" y="19"/>
                      <a:pt x="467" y="20"/>
                      <a:pt x="468" y="19"/>
                    </a:cubicBezTo>
                    <a:cubicBezTo>
                      <a:pt x="469" y="19"/>
                      <a:pt x="468" y="18"/>
                      <a:pt x="468" y="18"/>
                    </a:cubicBezTo>
                    <a:cubicBezTo>
                      <a:pt x="467" y="18"/>
                      <a:pt x="467" y="18"/>
                      <a:pt x="467" y="17"/>
                    </a:cubicBezTo>
                    <a:cubicBezTo>
                      <a:pt x="467" y="17"/>
                      <a:pt x="467" y="17"/>
                      <a:pt x="467" y="17"/>
                    </a:cubicBezTo>
                    <a:cubicBezTo>
                      <a:pt x="466" y="16"/>
                      <a:pt x="467" y="16"/>
                      <a:pt x="466" y="16"/>
                    </a:cubicBezTo>
                    <a:cubicBezTo>
                      <a:pt x="466" y="16"/>
                      <a:pt x="466" y="16"/>
                      <a:pt x="467" y="15"/>
                    </a:cubicBezTo>
                    <a:cubicBezTo>
                      <a:pt x="466" y="15"/>
                      <a:pt x="466" y="15"/>
                      <a:pt x="465" y="15"/>
                    </a:cubicBezTo>
                    <a:cubicBezTo>
                      <a:pt x="464" y="15"/>
                      <a:pt x="463" y="14"/>
                      <a:pt x="463" y="14"/>
                    </a:cubicBezTo>
                    <a:cubicBezTo>
                      <a:pt x="462" y="14"/>
                      <a:pt x="462" y="14"/>
                      <a:pt x="461" y="14"/>
                    </a:cubicBezTo>
                    <a:cubicBezTo>
                      <a:pt x="460" y="14"/>
                      <a:pt x="460" y="14"/>
                      <a:pt x="459" y="14"/>
                    </a:cubicBezTo>
                    <a:cubicBezTo>
                      <a:pt x="460" y="13"/>
                      <a:pt x="459" y="13"/>
                      <a:pt x="459" y="13"/>
                    </a:cubicBezTo>
                    <a:cubicBezTo>
                      <a:pt x="458" y="13"/>
                      <a:pt x="458" y="13"/>
                      <a:pt x="457" y="13"/>
                    </a:cubicBezTo>
                    <a:cubicBezTo>
                      <a:pt x="457" y="13"/>
                      <a:pt x="456" y="13"/>
                      <a:pt x="456" y="13"/>
                    </a:cubicBezTo>
                    <a:cubicBezTo>
                      <a:pt x="455" y="13"/>
                      <a:pt x="455" y="13"/>
                      <a:pt x="455" y="14"/>
                    </a:cubicBezTo>
                    <a:cubicBezTo>
                      <a:pt x="455" y="14"/>
                      <a:pt x="456" y="14"/>
                      <a:pt x="456" y="14"/>
                    </a:cubicBezTo>
                    <a:cubicBezTo>
                      <a:pt x="455" y="14"/>
                      <a:pt x="456" y="15"/>
                      <a:pt x="455" y="15"/>
                    </a:cubicBezTo>
                    <a:cubicBezTo>
                      <a:pt x="455" y="15"/>
                      <a:pt x="455" y="15"/>
                      <a:pt x="454" y="15"/>
                    </a:cubicBezTo>
                    <a:cubicBezTo>
                      <a:pt x="454" y="14"/>
                      <a:pt x="452" y="14"/>
                      <a:pt x="453" y="15"/>
                    </a:cubicBezTo>
                    <a:cubicBezTo>
                      <a:pt x="453" y="15"/>
                      <a:pt x="452" y="15"/>
                      <a:pt x="453" y="15"/>
                    </a:cubicBezTo>
                    <a:cubicBezTo>
                      <a:pt x="452" y="16"/>
                      <a:pt x="451" y="16"/>
                      <a:pt x="450" y="16"/>
                    </a:cubicBezTo>
                    <a:cubicBezTo>
                      <a:pt x="451" y="16"/>
                      <a:pt x="451" y="16"/>
                      <a:pt x="452" y="15"/>
                    </a:cubicBezTo>
                    <a:cubicBezTo>
                      <a:pt x="452" y="15"/>
                      <a:pt x="451" y="15"/>
                      <a:pt x="451" y="15"/>
                    </a:cubicBezTo>
                    <a:cubicBezTo>
                      <a:pt x="451" y="15"/>
                      <a:pt x="451" y="15"/>
                      <a:pt x="452" y="15"/>
                    </a:cubicBezTo>
                    <a:cubicBezTo>
                      <a:pt x="451" y="15"/>
                      <a:pt x="451" y="15"/>
                      <a:pt x="451" y="15"/>
                    </a:cubicBezTo>
                    <a:cubicBezTo>
                      <a:pt x="452" y="15"/>
                      <a:pt x="452" y="14"/>
                      <a:pt x="451" y="14"/>
                    </a:cubicBezTo>
                    <a:cubicBezTo>
                      <a:pt x="452" y="14"/>
                      <a:pt x="451" y="14"/>
                      <a:pt x="451" y="14"/>
                    </a:cubicBezTo>
                    <a:cubicBezTo>
                      <a:pt x="452" y="14"/>
                      <a:pt x="452" y="14"/>
                      <a:pt x="452" y="13"/>
                    </a:cubicBezTo>
                    <a:cubicBezTo>
                      <a:pt x="452" y="13"/>
                      <a:pt x="450" y="13"/>
                      <a:pt x="449" y="13"/>
                    </a:cubicBezTo>
                    <a:cubicBezTo>
                      <a:pt x="448" y="12"/>
                      <a:pt x="447" y="12"/>
                      <a:pt x="446" y="12"/>
                    </a:cubicBezTo>
                    <a:cubicBezTo>
                      <a:pt x="445" y="12"/>
                      <a:pt x="445" y="13"/>
                      <a:pt x="444" y="13"/>
                    </a:cubicBezTo>
                    <a:close/>
                    <a:moveTo>
                      <a:pt x="1130" y="207"/>
                    </a:moveTo>
                    <a:cubicBezTo>
                      <a:pt x="1130" y="207"/>
                      <a:pt x="1131" y="207"/>
                      <a:pt x="1131" y="207"/>
                    </a:cubicBezTo>
                    <a:cubicBezTo>
                      <a:pt x="1131" y="207"/>
                      <a:pt x="1132" y="207"/>
                      <a:pt x="1133" y="206"/>
                    </a:cubicBezTo>
                    <a:cubicBezTo>
                      <a:pt x="1133" y="206"/>
                      <a:pt x="1132" y="205"/>
                      <a:pt x="1131" y="205"/>
                    </a:cubicBezTo>
                    <a:cubicBezTo>
                      <a:pt x="1131" y="204"/>
                      <a:pt x="1130" y="204"/>
                      <a:pt x="1129" y="203"/>
                    </a:cubicBezTo>
                    <a:cubicBezTo>
                      <a:pt x="1129" y="203"/>
                      <a:pt x="1128" y="203"/>
                      <a:pt x="1128" y="204"/>
                    </a:cubicBezTo>
                    <a:cubicBezTo>
                      <a:pt x="1127" y="205"/>
                      <a:pt x="1124" y="204"/>
                      <a:pt x="1124" y="205"/>
                    </a:cubicBezTo>
                    <a:cubicBezTo>
                      <a:pt x="1124" y="205"/>
                      <a:pt x="1125" y="205"/>
                      <a:pt x="1126" y="205"/>
                    </a:cubicBezTo>
                    <a:cubicBezTo>
                      <a:pt x="1126" y="205"/>
                      <a:pt x="1126" y="207"/>
                      <a:pt x="1126" y="207"/>
                    </a:cubicBezTo>
                    <a:cubicBezTo>
                      <a:pt x="1127" y="208"/>
                      <a:pt x="1128" y="209"/>
                      <a:pt x="1127" y="210"/>
                    </a:cubicBezTo>
                    <a:cubicBezTo>
                      <a:pt x="1127" y="210"/>
                      <a:pt x="1128" y="211"/>
                      <a:pt x="1128" y="211"/>
                    </a:cubicBezTo>
                    <a:cubicBezTo>
                      <a:pt x="1128" y="210"/>
                      <a:pt x="1129" y="209"/>
                      <a:pt x="1129" y="208"/>
                    </a:cubicBezTo>
                    <a:cubicBezTo>
                      <a:pt x="1129" y="208"/>
                      <a:pt x="1130" y="207"/>
                      <a:pt x="1130" y="207"/>
                    </a:cubicBezTo>
                    <a:close/>
                    <a:moveTo>
                      <a:pt x="228" y="2"/>
                    </a:moveTo>
                    <a:cubicBezTo>
                      <a:pt x="227" y="2"/>
                      <a:pt x="226" y="2"/>
                      <a:pt x="225" y="2"/>
                    </a:cubicBezTo>
                    <a:cubicBezTo>
                      <a:pt x="225" y="2"/>
                      <a:pt x="225" y="2"/>
                      <a:pt x="225" y="2"/>
                    </a:cubicBezTo>
                    <a:cubicBezTo>
                      <a:pt x="226" y="2"/>
                      <a:pt x="227" y="3"/>
                      <a:pt x="228" y="2"/>
                    </a:cubicBezTo>
                    <a:close/>
                    <a:moveTo>
                      <a:pt x="201" y="3"/>
                    </a:moveTo>
                    <a:cubicBezTo>
                      <a:pt x="202" y="3"/>
                      <a:pt x="203" y="4"/>
                      <a:pt x="205" y="4"/>
                    </a:cubicBezTo>
                    <a:cubicBezTo>
                      <a:pt x="206" y="4"/>
                      <a:pt x="207" y="4"/>
                      <a:pt x="208" y="3"/>
                    </a:cubicBezTo>
                    <a:cubicBezTo>
                      <a:pt x="206" y="3"/>
                      <a:pt x="204" y="3"/>
                      <a:pt x="202" y="3"/>
                    </a:cubicBezTo>
                    <a:cubicBezTo>
                      <a:pt x="202" y="2"/>
                      <a:pt x="201" y="3"/>
                      <a:pt x="200" y="3"/>
                    </a:cubicBezTo>
                    <a:cubicBezTo>
                      <a:pt x="199" y="3"/>
                      <a:pt x="198" y="2"/>
                      <a:pt x="198" y="3"/>
                    </a:cubicBezTo>
                    <a:cubicBezTo>
                      <a:pt x="198" y="3"/>
                      <a:pt x="197" y="3"/>
                      <a:pt x="197" y="3"/>
                    </a:cubicBezTo>
                    <a:cubicBezTo>
                      <a:pt x="198" y="3"/>
                      <a:pt x="199" y="3"/>
                      <a:pt x="201" y="3"/>
                    </a:cubicBezTo>
                    <a:close/>
                    <a:moveTo>
                      <a:pt x="193" y="8"/>
                    </a:moveTo>
                    <a:cubicBezTo>
                      <a:pt x="192" y="8"/>
                      <a:pt x="192" y="8"/>
                      <a:pt x="192" y="8"/>
                    </a:cubicBezTo>
                    <a:cubicBezTo>
                      <a:pt x="193" y="9"/>
                      <a:pt x="193" y="8"/>
                      <a:pt x="194" y="9"/>
                    </a:cubicBezTo>
                    <a:cubicBezTo>
                      <a:pt x="194" y="9"/>
                      <a:pt x="194" y="9"/>
                      <a:pt x="194" y="9"/>
                    </a:cubicBezTo>
                    <a:cubicBezTo>
                      <a:pt x="195" y="9"/>
                      <a:pt x="196" y="9"/>
                      <a:pt x="198" y="9"/>
                    </a:cubicBezTo>
                    <a:cubicBezTo>
                      <a:pt x="198" y="9"/>
                      <a:pt x="201" y="9"/>
                      <a:pt x="201" y="9"/>
                    </a:cubicBezTo>
                    <a:cubicBezTo>
                      <a:pt x="201" y="8"/>
                      <a:pt x="198" y="8"/>
                      <a:pt x="198" y="8"/>
                    </a:cubicBezTo>
                    <a:cubicBezTo>
                      <a:pt x="196" y="8"/>
                      <a:pt x="194" y="8"/>
                      <a:pt x="193" y="8"/>
                    </a:cubicBezTo>
                    <a:close/>
                    <a:moveTo>
                      <a:pt x="133" y="10"/>
                    </a:moveTo>
                    <a:cubicBezTo>
                      <a:pt x="134" y="10"/>
                      <a:pt x="136" y="9"/>
                      <a:pt x="137" y="9"/>
                    </a:cubicBezTo>
                    <a:cubicBezTo>
                      <a:pt x="137" y="10"/>
                      <a:pt x="137" y="10"/>
                      <a:pt x="137" y="10"/>
                    </a:cubicBezTo>
                    <a:cubicBezTo>
                      <a:pt x="137" y="10"/>
                      <a:pt x="138" y="10"/>
                      <a:pt x="138" y="10"/>
                    </a:cubicBezTo>
                    <a:cubicBezTo>
                      <a:pt x="139" y="10"/>
                      <a:pt x="139" y="10"/>
                      <a:pt x="140" y="10"/>
                    </a:cubicBezTo>
                    <a:cubicBezTo>
                      <a:pt x="140" y="10"/>
                      <a:pt x="140" y="10"/>
                      <a:pt x="140" y="10"/>
                    </a:cubicBezTo>
                    <a:cubicBezTo>
                      <a:pt x="140" y="10"/>
                      <a:pt x="140" y="10"/>
                      <a:pt x="141" y="10"/>
                    </a:cubicBezTo>
                    <a:cubicBezTo>
                      <a:pt x="141" y="10"/>
                      <a:pt x="141" y="10"/>
                      <a:pt x="140" y="10"/>
                    </a:cubicBezTo>
                    <a:cubicBezTo>
                      <a:pt x="141" y="9"/>
                      <a:pt x="142" y="10"/>
                      <a:pt x="143" y="9"/>
                    </a:cubicBezTo>
                    <a:cubicBezTo>
                      <a:pt x="144" y="9"/>
                      <a:pt x="144" y="10"/>
                      <a:pt x="145" y="9"/>
                    </a:cubicBezTo>
                    <a:cubicBezTo>
                      <a:pt x="145" y="9"/>
                      <a:pt x="144" y="9"/>
                      <a:pt x="144" y="9"/>
                    </a:cubicBezTo>
                    <a:cubicBezTo>
                      <a:pt x="145" y="9"/>
                      <a:pt x="145" y="9"/>
                      <a:pt x="145" y="9"/>
                    </a:cubicBezTo>
                    <a:cubicBezTo>
                      <a:pt x="145" y="9"/>
                      <a:pt x="145" y="8"/>
                      <a:pt x="145" y="8"/>
                    </a:cubicBezTo>
                    <a:cubicBezTo>
                      <a:pt x="145" y="8"/>
                      <a:pt x="145" y="8"/>
                      <a:pt x="145" y="8"/>
                    </a:cubicBezTo>
                    <a:cubicBezTo>
                      <a:pt x="145" y="8"/>
                      <a:pt x="146" y="8"/>
                      <a:pt x="147" y="8"/>
                    </a:cubicBezTo>
                    <a:cubicBezTo>
                      <a:pt x="147" y="8"/>
                      <a:pt x="147" y="8"/>
                      <a:pt x="148" y="9"/>
                    </a:cubicBezTo>
                    <a:cubicBezTo>
                      <a:pt x="148" y="9"/>
                      <a:pt x="149" y="9"/>
                      <a:pt x="150" y="9"/>
                    </a:cubicBezTo>
                    <a:cubicBezTo>
                      <a:pt x="150" y="9"/>
                      <a:pt x="153" y="9"/>
                      <a:pt x="153" y="9"/>
                    </a:cubicBezTo>
                    <a:cubicBezTo>
                      <a:pt x="153" y="9"/>
                      <a:pt x="151" y="8"/>
                      <a:pt x="151" y="8"/>
                    </a:cubicBezTo>
                    <a:cubicBezTo>
                      <a:pt x="151" y="8"/>
                      <a:pt x="151" y="8"/>
                      <a:pt x="152" y="8"/>
                    </a:cubicBezTo>
                    <a:cubicBezTo>
                      <a:pt x="150" y="7"/>
                      <a:pt x="149" y="8"/>
                      <a:pt x="147" y="8"/>
                    </a:cubicBezTo>
                    <a:cubicBezTo>
                      <a:pt x="146" y="8"/>
                      <a:pt x="144" y="7"/>
                      <a:pt x="142" y="8"/>
                    </a:cubicBezTo>
                    <a:cubicBezTo>
                      <a:pt x="142" y="8"/>
                      <a:pt x="143" y="8"/>
                      <a:pt x="143" y="8"/>
                    </a:cubicBezTo>
                    <a:cubicBezTo>
                      <a:pt x="142" y="8"/>
                      <a:pt x="140" y="8"/>
                      <a:pt x="139" y="8"/>
                    </a:cubicBezTo>
                    <a:cubicBezTo>
                      <a:pt x="139" y="8"/>
                      <a:pt x="139" y="8"/>
                      <a:pt x="139" y="8"/>
                    </a:cubicBezTo>
                    <a:cubicBezTo>
                      <a:pt x="136" y="9"/>
                      <a:pt x="133" y="9"/>
                      <a:pt x="130" y="9"/>
                    </a:cubicBezTo>
                    <a:cubicBezTo>
                      <a:pt x="130" y="9"/>
                      <a:pt x="130" y="9"/>
                      <a:pt x="130" y="9"/>
                    </a:cubicBezTo>
                    <a:cubicBezTo>
                      <a:pt x="131" y="10"/>
                      <a:pt x="132" y="9"/>
                      <a:pt x="133" y="10"/>
                    </a:cubicBezTo>
                    <a:close/>
                    <a:moveTo>
                      <a:pt x="216" y="9"/>
                    </a:moveTo>
                    <a:cubicBezTo>
                      <a:pt x="216" y="9"/>
                      <a:pt x="216" y="9"/>
                      <a:pt x="216" y="10"/>
                    </a:cubicBezTo>
                    <a:cubicBezTo>
                      <a:pt x="216" y="10"/>
                      <a:pt x="216" y="10"/>
                      <a:pt x="216" y="10"/>
                    </a:cubicBezTo>
                    <a:cubicBezTo>
                      <a:pt x="216" y="10"/>
                      <a:pt x="216" y="10"/>
                      <a:pt x="216" y="10"/>
                    </a:cubicBezTo>
                    <a:cubicBezTo>
                      <a:pt x="217" y="10"/>
                      <a:pt x="218" y="10"/>
                      <a:pt x="219" y="10"/>
                    </a:cubicBezTo>
                    <a:cubicBezTo>
                      <a:pt x="220" y="10"/>
                      <a:pt x="222" y="10"/>
                      <a:pt x="223" y="10"/>
                    </a:cubicBezTo>
                    <a:cubicBezTo>
                      <a:pt x="224" y="10"/>
                      <a:pt x="227" y="11"/>
                      <a:pt x="229" y="10"/>
                    </a:cubicBezTo>
                    <a:cubicBezTo>
                      <a:pt x="229" y="10"/>
                      <a:pt x="228" y="10"/>
                      <a:pt x="228" y="10"/>
                    </a:cubicBezTo>
                    <a:cubicBezTo>
                      <a:pt x="229" y="10"/>
                      <a:pt x="229" y="10"/>
                      <a:pt x="230" y="10"/>
                    </a:cubicBezTo>
                    <a:cubicBezTo>
                      <a:pt x="229" y="9"/>
                      <a:pt x="231" y="9"/>
                      <a:pt x="231" y="9"/>
                    </a:cubicBezTo>
                    <a:cubicBezTo>
                      <a:pt x="232" y="9"/>
                      <a:pt x="232" y="9"/>
                      <a:pt x="233" y="9"/>
                    </a:cubicBezTo>
                    <a:cubicBezTo>
                      <a:pt x="232" y="9"/>
                      <a:pt x="232" y="9"/>
                      <a:pt x="232" y="9"/>
                    </a:cubicBezTo>
                    <a:cubicBezTo>
                      <a:pt x="232" y="9"/>
                      <a:pt x="233" y="8"/>
                      <a:pt x="233" y="8"/>
                    </a:cubicBezTo>
                    <a:cubicBezTo>
                      <a:pt x="233" y="8"/>
                      <a:pt x="232" y="8"/>
                      <a:pt x="232" y="8"/>
                    </a:cubicBezTo>
                    <a:cubicBezTo>
                      <a:pt x="231" y="7"/>
                      <a:pt x="229" y="7"/>
                      <a:pt x="228" y="7"/>
                    </a:cubicBezTo>
                    <a:cubicBezTo>
                      <a:pt x="226" y="7"/>
                      <a:pt x="225" y="8"/>
                      <a:pt x="223" y="8"/>
                    </a:cubicBezTo>
                    <a:cubicBezTo>
                      <a:pt x="222" y="8"/>
                      <a:pt x="220" y="8"/>
                      <a:pt x="219" y="8"/>
                    </a:cubicBezTo>
                    <a:cubicBezTo>
                      <a:pt x="219" y="8"/>
                      <a:pt x="220" y="8"/>
                      <a:pt x="220" y="8"/>
                    </a:cubicBezTo>
                    <a:cubicBezTo>
                      <a:pt x="219" y="7"/>
                      <a:pt x="217" y="8"/>
                      <a:pt x="216" y="8"/>
                    </a:cubicBezTo>
                    <a:cubicBezTo>
                      <a:pt x="216" y="8"/>
                      <a:pt x="216" y="8"/>
                      <a:pt x="217" y="8"/>
                    </a:cubicBezTo>
                    <a:cubicBezTo>
                      <a:pt x="216" y="8"/>
                      <a:pt x="216" y="8"/>
                      <a:pt x="215" y="9"/>
                    </a:cubicBezTo>
                    <a:cubicBezTo>
                      <a:pt x="215" y="9"/>
                      <a:pt x="215" y="9"/>
                      <a:pt x="215" y="9"/>
                    </a:cubicBezTo>
                    <a:cubicBezTo>
                      <a:pt x="215" y="9"/>
                      <a:pt x="215" y="9"/>
                      <a:pt x="216" y="9"/>
                    </a:cubicBezTo>
                    <a:close/>
                    <a:moveTo>
                      <a:pt x="274" y="100"/>
                    </a:moveTo>
                    <a:cubicBezTo>
                      <a:pt x="274" y="100"/>
                      <a:pt x="274" y="100"/>
                      <a:pt x="274" y="99"/>
                    </a:cubicBezTo>
                    <a:cubicBezTo>
                      <a:pt x="273" y="99"/>
                      <a:pt x="273" y="99"/>
                      <a:pt x="272" y="99"/>
                    </a:cubicBezTo>
                    <a:cubicBezTo>
                      <a:pt x="271" y="98"/>
                      <a:pt x="270" y="98"/>
                      <a:pt x="269" y="98"/>
                    </a:cubicBezTo>
                    <a:cubicBezTo>
                      <a:pt x="269" y="98"/>
                      <a:pt x="268" y="97"/>
                      <a:pt x="268" y="97"/>
                    </a:cubicBezTo>
                    <a:cubicBezTo>
                      <a:pt x="267" y="97"/>
                      <a:pt x="267" y="97"/>
                      <a:pt x="267" y="97"/>
                    </a:cubicBezTo>
                    <a:cubicBezTo>
                      <a:pt x="266" y="97"/>
                      <a:pt x="266" y="96"/>
                      <a:pt x="266" y="96"/>
                    </a:cubicBezTo>
                    <a:cubicBezTo>
                      <a:pt x="265" y="96"/>
                      <a:pt x="265" y="96"/>
                      <a:pt x="264" y="95"/>
                    </a:cubicBezTo>
                    <a:cubicBezTo>
                      <a:pt x="263" y="95"/>
                      <a:pt x="263" y="95"/>
                      <a:pt x="262" y="94"/>
                    </a:cubicBezTo>
                    <a:cubicBezTo>
                      <a:pt x="261" y="94"/>
                      <a:pt x="260" y="95"/>
                      <a:pt x="260" y="95"/>
                    </a:cubicBezTo>
                    <a:cubicBezTo>
                      <a:pt x="260" y="96"/>
                      <a:pt x="259" y="95"/>
                      <a:pt x="258" y="96"/>
                    </a:cubicBezTo>
                    <a:cubicBezTo>
                      <a:pt x="259" y="96"/>
                      <a:pt x="261" y="96"/>
                      <a:pt x="261" y="97"/>
                    </a:cubicBezTo>
                    <a:cubicBezTo>
                      <a:pt x="260" y="97"/>
                      <a:pt x="259" y="96"/>
                      <a:pt x="258" y="96"/>
                    </a:cubicBezTo>
                    <a:cubicBezTo>
                      <a:pt x="258" y="96"/>
                      <a:pt x="259" y="97"/>
                      <a:pt x="259" y="97"/>
                    </a:cubicBezTo>
                    <a:cubicBezTo>
                      <a:pt x="259" y="97"/>
                      <a:pt x="260" y="97"/>
                      <a:pt x="260" y="98"/>
                    </a:cubicBezTo>
                    <a:cubicBezTo>
                      <a:pt x="260" y="98"/>
                      <a:pt x="260" y="98"/>
                      <a:pt x="260" y="98"/>
                    </a:cubicBezTo>
                    <a:cubicBezTo>
                      <a:pt x="261" y="98"/>
                      <a:pt x="261" y="99"/>
                      <a:pt x="261" y="99"/>
                    </a:cubicBezTo>
                    <a:cubicBezTo>
                      <a:pt x="262" y="99"/>
                      <a:pt x="263" y="99"/>
                      <a:pt x="263" y="100"/>
                    </a:cubicBezTo>
                    <a:cubicBezTo>
                      <a:pt x="264" y="100"/>
                      <a:pt x="265" y="100"/>
                      <a:pt x="265" y="100"/>
                    </a:cubicBezTo>
                    <a:cubicBezTo>
                      <a:pt x="264" y="100"/>
                      <a:pt x="264" y="100"/>
                      <a:pt x="263" y="99"/>
                    </a:cubicBezTo>
                    <a:cubicBezTo>
                      <a:pt x="264" y="99"/>
                      <a:pt x="269" y="100"/>
                      <a:pt x="268" y="101"/>
                    </a:cubicBezTo>
                    <a:cubicBezTo>
                      <a:pt x="268" y="101"/>
                      <a:pt x="268" y="101"/>
                      <a:pt x="269" y="101"/>
                    </a:cubicBezTo>
                    <a:cubicBezTo>
                      <a:pt x="269" y="102"/>
                      <a:pt x="270" y="101"/>
                      <a:pt x="271" y="102"/>
                    </a:cubicBezTo>
                    <a:cubicBezTo>
                      <a:pt x="271" y="101"/>
                      <a:pt x="272" y="101"/>
                      <a:pt x="272" y="101"/>
                    </a:cubicBezTo>
                    <a:cubicBezTo>
                      <a:pt x="273" y="102"/>
                      <a:pt x="274" y="101"/>
                      <a:pt x="275" y="101"/>
                    </a:cubicBezTo>
                    <a:cubicBezTo>
                      <a:pt x="274" y="101"/>
                      <a:pt x="275" y="100"/>
                      <a:pt x="274" y="100"/>
                    </a:cubicBezTo>
                    <a:close/>
                    <a:moveTo>
                      <a:pt x="205" y="108"/>
                    </a:moveTo>
                    <a:cubicBezTo>
                      <a:pt x="207" y="106"/>
                      <a:pt x="202" y="105"/>
                      <a:pt x="201" y="104"/>
                    </a:cubicBezTo>
                    <a:cubicBezTo>
                      <a:pt x="200" y="104"/>
                      <a:pt x="199" y="104"/>
                      <a:pt x="198" y="104"/>
                    </a:cubicBezTo>
                    <a:cubicBezTo>
                      <a:pt x="196" y="103"/>
                      <a:pt x="195" y="103"/>
                      <a:pt x="193" y="104"/>
                    </a:cubicBezTo>
                    <a:cubicBezTo>
                      <a:pt x="192" y="104"/>
                      <a:pt x="191" y="105"/>
                      <a:pt x="191" y="106"/>
                    </a:cubicBezTo>
                    <a:cubicBezTo>
                      <a:pt x="191" y="107"/>
                      <a:pt x="191" y="107"/>
                      <a:pt x="191" y="108"/>
                    </a:cubicBezTo>
                    <a:cubicBezTo>
                      <a:pt x="191" y="108"/>
                      <a:pt x="191" y="108"/>
                      <a:pt x="191" y="108"/>
                    </a:cubicBezTo>
                    <a:cubicBezTo>
                      <a:pt x="191" y="108"/>
                      <a:pt x="192" y="108"/>
                      <a:pt x="191" y="108"/>
                    </a:cubicBezTo>
                    <a:cubicBezTo>
                      <a:pt x="191" y="108"/>
                      <a:pt x="191" y="109"/>
                      <a:pt x="192" y="109"/>
                    </a:cubicBezTo>
                    <a:cubicBezTo>
                      <a:pt x="192" y="109"/>
                      <a:pt x="192" y="109"/>
                      <a:pt x="192" y="109"/>
                    </a:cubicBezTo>
                    <a:cubicBezTo>
                      <a:pt x="192" y="109"/>
                      <a:pt x="194" y="110"/>
                      <a:pt x="194" y="110"/>
                    </a:cubicBezTo>
                    <a:cubicBezTo>
                      <a:pt x="195" y="110"/>
                      <a:pt x="196" y="110"/>
                      <a:pt x="196" y="110"/>
                    </a:cubicBezTo>
                    <a:cubicBezTo>
                      <a:pt x="197" y="110"/>
                      <a:pt x="198" y="110"/>
                      <a:pt x="199" y="110"/>
                    </a:cubicBezTo>
                    <a:cubicBezTo>
                      <a:pt x="199" y="110"/>
                      <a:pt x="200" y="110"/>
                      <a:pt x="201" y="110"/>
                    </a:cubicBezTo>
                    <a:cubicBezTo>
                      <a:pt x="201" y="109"/>
                      <a:pt x="203" y="109"/>
                      <a:pt x="203" y="108"/>
                    </a:cubicBezTo>
                    <a:cubicBezTo>
                      <a:pt x="203" y="108"/>
                      <a:pt x="203" y="108"/>
                      <a:pt x="203" y="108"/>
                    </a:cubicBezTo>
                    <a:cubicBezTo>
                      <a:pt x="203" y="108"/>
                      <a:pt x="205" y="106"/>
                      <a:pt x="205" y="107"/>
                    </a:cubicBezTo>
                    <a:cubicBezTo>
                      <a:pt x="205" y="107"/>
                      <a:pt x="205" y="108"/>
                      <a:pt x="205" y="108"/>
                    </a:cubicBezTo>
                    <a:close/>
                    <a:moveTo>
                      <a:pt x="1002" y="254"/>
                    </a:moveTo>
                    <a:cubicBezTo>
                      <a:pt x="1002" y="254"/>
                      <a:pt x="1002" y="254"/>
                      <a:pt x="1002" y="254"/>
                    </a:cubicBezTo>
                    <a:cubicBezTo>
                      <a:pt x="1002" y="254"/>
                      <a:pt x="1002" y="254"/>
                      <a:pt x="1002" y="254"/>
                    </a:cubicBezTo>
                    <a:close/>
                    <a:moveTo>
                      <a:pt x="1009" y="259"/>
                    </a:moveTo>
                    <a:cubicBezTo>
                      <a:pt x="1009" y="259"/>
                      <a:pt x="1009" y="259"/>
                      <a:pt x="1009" y="259"/>
                    </a:cubicBezTo>
                    <a:cubicBezTo>
                      <a:pt x="1010" y="259"/>
                      <a:pt x="1011" y="260"/>
                      <a:pt x="1011" y="260"/>
                    </a:cubicBezTo>
                    <a:cubicBezTo>
                      <a:pt x="1011" y="260"/>
                      <a:pt x="1010" y="258"/>
                      <a:pt x="1009" y="259"/>
                    </a:cubicBezTo>
                    <a:close/>
                    <a:moveTo>
                      <a:pt x="1073" y="337"/>
                    </a:moveTo>
                    <a:cubicBezTo>
                      <a:pt x="1072" y="336"/>
                      <a:pt x="1072" y="335"/>
                      <a:pt x="1071" y="334"/>
                    </a:cubicBezTo>
                    <a:cubicBezTo>
                      <a:pt x="1071" y="334"/>
                      <a:pt x="1070" y="333"/>
                      <a:pt x="1070" y="333"/>
                    </a:cubicBezTo>
                    <a:cubicBezTo>
                      <a:pt x="1069" y="333"/>
                      <a:pt x="1070" y="333"/>
                      <a:pt x="1069" y="333"/>
                    </a:cubicBezTo>
                    <a:cubicBezTo>
                      <a:pt x="1069" y="333"/>
                      <a:pt x="1068" y="333"/>
                      <a:pt x="1067" y="333"/>
                    </a:cubicBezTo>
                    <a:cubicBezTo>
                      <a:pt x="1067" y="333"/>
                      <a:pt x="1068" y="333"/>
                      <a:pt x="1069" y="334"/>
                    </a:cubicBezTo>
                    <a:cubicBezTo>
                      <a:pt x="1069" y="334"/>
                      <a:pt x="1070" y="334"/>
                      <a:pt x="1070" y="334"/>
                    </a:cubicBezTo>
                    <a:cubicBezTo>
                      <a:pt x="1070" y="334"/>
                      <a:pt x="1069" y="334"/>
                      <a:pt x="1069" y="334"/>
                    </a:cubicBezTo>
                    <a:cubicBezTo>
                      <a:pt x="1068" y="334"/>
                      <a:pt x="1068" y="334"/>
                      <a:pt x="1067" y="334"/>
                    </a:cubicBezTo>
                    <a:cubicBezTo>
                      <a:pt x="1067" y="333"/>
                      <a:pt x="1067" y="333"/>
                      <a:pt x="1067" y="333"/>
                    </a:cubicBezTo>
                    <a:cubicBezTo>
                      <a:pt x="1067" y="332"/>
                      <a:pt x="1067" y="333"/>
                      <a:pt x="1067" y="332"/>
                    </a:cubicBezTo>
                    <a:cubicBezTo>
                      <a:pt x="1066" y="332"/>
                      <a:pt x="1065" y="331"/>
                      <a:pt x="1064" y="330"/>
                    </a:cubicBezTo>
                    <a:cubicBezTo>
                      <a:pt x="1064" y="329"/>
                      <a:pt x="1063" y="329"/>
                      <a:pt x="1062" y="328"/>
                    </a:cubicBezTo>
                    <a:cubicBezTo>
                      <a:pt x="1061" y="327"/>
                      <a:pt x="1060" y="327"/>
                      <a:pt x="1059" y="326"/>
                    </a:cubicBezTo>
                    <a:cubicBezTo>
                      <a:pt x="1059" y="326"/>
                      <a:pt x="1059" y="326"/>
                      <a:pt x="1058" y="326"/>
                    </a:cubicBezTo>
                    <a:cubicBezTo>
                      <a:pt x="1058" y="325"/>
                      <a:pt x="1058" y="325"/>
                      <a:pt x="1057" y="325"/>
                    </a:cubicBezTo>
                    <a:cubicBezTo>
                      <a:pt x="1055" y="323"/>
                      <a:pt x="1054" y="321"/>
                      <a:pt x="1053" y="319"/>
                    </a:cubicBezTo>
                    <a:cubicBezTo>
                      <a:pt x="1052" y="316"/>
                      <a:pt x="1051" y="314"/>
                      <a:pt x="1050" y="311"/>
                    </a:cubicBezTo>
                    <a:cubicBezTo>
                      <a:pt x="1050" y="310"/>
                      <a:pt x="1049" y="310"/>
                      <a:pt x="1049" y="309"/>
                    </a:cubicBezTo>
                    <a:cubicBezTo>
                      <a:pt x="1049" y="308"/>
                      <a:pt x="1049" y="307"/>
                      <a:pt x="1049" y="307"/>
                    </a:cubicBezTo>
                    <a:cubicBezTo>
                      <a:pt x="1050" y="306"/>
                      <a:pt x="1052" y="307"/>
                      <a:pt x="1053" y="306"/>
                    </a:cubicBezTo>
                    <a:cubicBezTo>
                      <a:pt x="1052" y="306"/>
                      <a:pt x="1051" y="306"/>
                      <a:pt x="1050" y="306"/>
                    </a:cubicBezTo>
                    <a:cubicBezTo>
                      <a:pt x="1050" y="306"/>
                      <a:pt x="1049" y="306"/>
                      <a:pt x="1049" y="305"/>
                    </a:cubicBezTo>
                    <a:cubicBezTo>
                      <a:pt x="1050" y="305"/>
                      <a:pt x="1051" y="306"/>
                      <a:pt x="1051" y="306"/>
                    </a:cubicBezTo>
                    <a:cubicBezTo>
                      <a:pt x="1052" y="306"/>
                      <a:pt x="1053" y="306"/>
                      <a:pt x="1053" y="306"/>
                    </a:cubicBezTo>
                    <a:cubicBezTo>
                      <a:pt x="1053" y="306"/>
                      <a:pt x="1054" y="306"/>
                      <a:pt x="1054" y="306"/>
                    </a:cubicBezTo>
                    <a:cubicBezTo>
                      <a:pt x="1055" y="307"/>
                      <a:pt x="1056" y="307"/>
                      <a:pt x="1057" y="307"/>
                    </a:cubicBezTo>
                    <a:cubicBezTo>
                      <a:pt x="1058" y="307"/>
                      <a:pt x="1060" y="308"/>
                      <a:pt x="1061" y="309"/>
                    </a:cubicBezTo>
                    <a:cubicBezTo>
                      <a:pt x="1062" y="310"/>
                      <a:pt x="1064" y="310"/>
                      <a:pt x="1065" y="311"/>
                    </a:cubicBezTo>
                    <a:cubicBezTo>
                      <a:pt x="1065" y="312"/>
                      <a:pt x="1066" y="314"/>
                      <a:pt x="1067" y="313"/>
                    </a:cubicBezTo>
                    <a:cubicBezTo>
                      <a:pt x="1067" y="313"/>
                      <a:pt x="1066" y="312"/>
                      <a:pt x="1066" y="312"/>
                    </a:cubicBezTo>
                    <a:cubicBezTo>
                      <a:pt x="1065" y="311"/>
                      <a:pt x="1065" y="311"/>
                      <a:pt x="1064" y="310"/>
                    </a:cubicBezTo>
                    <a:cubicBezTo>
                      <a:pt x="1062" y="310"/>
                      <a:pt x="1061" y="309"/>
                      <a:pt x="1060" y="308"/>
                    </a:cubicBezTo>
                    <a:cubicBezTo>
                      <a:pt x="1058" y="306"/>
                      <a:pt x="1057" y="305"/>
                      <a:pt x="1056" y="304"/>
                    </a:cubicBezTo>
                    <a:cubicBezTo>
                      <a:pt x="1055" y="303"/>
                      <a:pt x="1055" y="303"/>
                      <a:pt x="1054" y="302"/>
                    </a:cubicBezTo>
                    <a:cubicBezTo>
                      <a:pt x="1053" y="302"/>
                      <a:pt x="1053" y="301"/>
                      <a:pt x="1052" y="300"/>
                    </a:cubicBezTo>
                    <a:cubicBezTo>
                      <a:pt x="1050" y="299"/>
                      <a:pt x="1049" y="297"/>
                      <a:pt x="1047" y="296"/>
                    </a:cubicBezTo>
                    <a:cubicBezTo>
                      <a:pt x="1046" y="295"/>
                      <a:pt x="1045" y="294"/>
                      <a:pt x="1044" y="293"/>
                    </a:cubicBezTo>
                    <a:cubicBezTo>
                      <a:pt x="1042" y="292"/>
                      <a:pt x="1041" y="290"/>
                      <a:pt x="1039" y="289"/>
                    </a:cubicBezTo>
                    <a:cubicBezTo>
                      <a:pt x="1038" y="287"/>
                      <a:pt x="1037" y="286"/>
                      <a:pt x="1036" y="285"/>
                    </a:cubicBezTo>
                    <a:cubicBezTo>
                      <a:pt x="1036" y="285"/>
                      <a:pt x="1037" y="286"/>
                      <a:pt x="1036" y="286"/>
                    </a:cubicBezTo>
                    <a:cubicBezTo>
                      <a:pt x="1036" y="286"/>
                      <a:pt x="1036" y="286"/>
                      <a:pt x="1036" y="285"/>
                    </a:cubicBezTo>
                    <a:cubicBezTo>
                      <a:pt x="1035" y="285"/>
                      <a:pt x="1035" y="285"/>
                      <a:pt x="1034" y="285"/>
                    </a:cubicBezTo>
                    <a:cubicBezTo>
                      <a:pt x="1035" y="284"/>
                      <a:pt x="1035" y="284"/>
                      <a:pt x="1035" y="285"/>
                    </a:cubicBezTo>
                    <a:cubicBezTo>
                      <a:pt x="1035" y="284"/>
                      <a:pt x="1034" y="283"/>
                      <a:pt x="1033" y="283"/>
                    </a:cubicBezTo>
                    <a:cubicBezTo>
                      <a:pt x="1033" y="282"/>
                      <a:pt x="1032" y="282"/>
                      <a:pt x="1032" y="282"/>
                    </a:cubicBezTo>
                    <a:cubicBezTo>
                      <a:pt x="1032" y="282"/>
                      <a:pt x="1033" y="283"/>
                      <a:pt x="1033" y="283"/>
                    </a:cubicBezTo>
                    <a:cubicBezTo>
                      <a:pt x="1032" y="283"/>
                      <a:pt x="1031" y="283"/>
                      <a:pt x="1031" y="282"/>
                    </a:cubicBezTo>
                    <a:cubicBezTo>
                      <a:pt x="1031" y="282"/>
                      <a:pt x="1030" y="281"/>
                      <a:pt x="1031" y="281"/>
                    </a:cubicBezTo>
                    <a:cubicBezTo>
                      <a:pt x="1030" y="280"/>
                      <a:pt x="1029" y="279"/>
                      <a:pt x="1029" y="279"/>
                    </a:cubicBezTo>
                    <a:cubicBezTo>
                      <a:pt x="1029" y="279"/>
                      <a:pt x="1029" y="279"/>
                      <a:pt x="1029" y="279"/>
                    </a:cubicBezTo>
                    <a:cubicBezTo>
                      <a:pt x="1028" y="279"/>
                      <a:pt x="1027" y="278"/>
                      <a:pt x="1027" y="278"/>
                    </a:cubicBezTo>
                    <a:cubicBezTo>
                      <a:pt x="1027" y="277"/>
                      <a:pt x="1026" y="277"/>
                      <a:pt x="1025" y="276"/>
                    </a:cubicBezTo>
                    <a:cubicBezTo>
                      <a:pt x="1026" y="276"/>
                      <a:pt x="1026" y="276"/>
                      <a:pt x="1026" y="276"/>
                    </a:cubicBezTo>
                    <a:cubicBezTo>
                      <a:pt x="1026" y="276"/>
                      <a:pt x="1025" y="275"/>
                      <a:pt x="1024" y="274"/>
                    </a:cubicBezTo>
                    <a:cubicBezTo>
                      <a:pt x="1024" y="275"/>
                      <a:pt x="1024" y="274"/>
                      <a:pt x="1024" y="273"/>
                    </a:cubicBezTo>
                    <a:cubicBezTo>
                      <a:pt x="1023" y="273"/>
                      <a:pt x="1023" y="272"/>
                      <a:pt x="1023" y="271"/>
                    </a:cubicBezTo>
                    <a:cubicBezTo>
                      <a:pt x="1023" y="271"/>
                      <a:pt x="1024" y="273"/>
                      <a:pt x="1024" y="273"/>
                    </a:cubicBezTo>
                    <a:cubicBezTo>
                      <a:pt x="1023" y="273"/>
                      <a:pt x="1024" y="274"/>
                      <a:pt x="1025" y="274"/>
                    </a:cubicBezTo>
                    <a:cubicBezTo>
                      <a:pt x="1025" y="273"/>
                      <a:pt x="1024" y="272"/>
                      <a:pt x="1023" y="271"/>
                    </a:cubicBezTo>
                    <a:cubicBezTo>
                      <a:pt x="1022" y="270"/>
                      <a:pt x="1021" y="269"/>
                      <a:pt x="1020" y="268"/>
                    </a:cubicBezTo>
                    <a:cubicBezTo>
                      <a:pt x="1020" y="268"/>
                      <a:pt x="1021" y="268"/>
                      <a:pt x="1021" y="269"/>
                    </a:cubicBezTo>
                    <a:cubicBezTo>
                      <a:pt x="1019" y="268"/>
                      <a:pt x="1017" y="266"/>
                      <a:pt x="1016" y="265"/>
                    </a:cubicBezTo>
                    <a:cubicBezTo>
                      <a:pt x="1016" y="265"/>
                      <a:pt x="1016" y="265"/>
                      <a:pt x="1015" y="264"/>
                    </a:cubicBezTo>
                    <a:cubicBezTo>
                      <a:pt x="1015" y="264"/>
                      <a:pt x="1015" y="263"/>
                      <a:pt x="1016" y="263"/>
                    </a:cubicBezTo>
                    <a:cubicBezTo>
                      <a:pt x="1016" y="264"/>
                      <a:pt x="1016" y="264"/>
                      <a:pt x="1016" y="265"/>
                    </a:cubicBezTo>
                    <a:cubicBezTo>
                      <a:pt x="1017" y="265"/>
                      <a:pt x="1018" y="265"/>
                      <a:pt x="1018" y="266"/>
                    </a:cubicBezTo>
                    <a:cubicBezTo>
                      <a:pt x="1019" y="267"/>
                      <a:pt x="1020" y="268"/>
                      <a:pt x="1021" y="269"/>
                    </a:cubicBezTo>
                    <a:cubicBezTo>
                      <a:pt x="1020" y="267"/>
                      <a:pt x="1018" y="266"/>
                      <a:pt x="1017" y="264"/>
                    </a:cubicBezTo>
                    <a:cubicBezTo>
                      <a:pt x="1016" y="264"/>
                      <a:pt x="1016" y="264"/>
                      <a:pt x="1016" y="263"/>
                    </a:cubicBezTo>
                    <a:cubicBezTo>
                      <a:pt x="1015" y="263"/>
                      <a:pt x="1015" y="263"/>
                      <a:pt x="1015" y="263"/>
                    </a:cubicBezTo>
                    <a:cubicBezTo>
                      <a:pt x="1015" y="263"/>
                      <a:pt x="1014" y="262"/>
                      <a:pt x="1014" y="262"/>
                    </a:cubicBezTo>
                    <a:cubicBezTo>
                      <a:pt x="1014" y="262"/>
                      <a:pt x="1013" y="261"/>
                      <a:pt x="1013" y="261"/>
                    </a:cubicBezTo>
                    <a:cubicBezTo>
                      <a:pt x="1012" y="262"/>
                      <a:pt x="1012" y="261"/>
                      <a:pt x="1012" y="261"/>
                    </a:cubicBezTo>
                    <a:cubicBezTo>
                      <a:pt x="1012" y="261"/>
                      <a:pt x="1011" y="260"/>
                      <a:pt x="1011" y="260"/>
                    </a:cubicBezTo>
                    <a:cubicBezTo>
                      <a:pt x="1011" y="260"/>
                      <a:pt x="1009" y="259"/>
                      <a:pt x="1009" y="259"/>
                    </a:cubicBezTo>
                    <a:cubicBezTo>
                      <a:pt x="1009" y="258"/>
                      <a:pt x="1008" y="258"/>
                      <a:pt x="1008" y="258"/>
                    </a:cubicBezTo>
                    <a:cubicBezTo>
                      <a:pt x="1009" y="257"/>
                      <a:pt x="1008" y="256"/>
                      <a:pt x="1007" y="255"/>
                    </a:cubicBezTo>
                    <a:cubicBezTo>
                      <a:pt x="1007" y="255"/>
                      <a:pt x="1006" y="254"/>
                      <a:pt x="1005" y="254"/>
                    </a:cubicBezTo>
                    <a:cubicBezTo>
                      <a:pt x="1005" y="254"/>
                      <a:pt x="1003" y="252"/>
                      <a:pt x="1002" y="252"/>
                    </a:cubicBezTo>
                    <a:cubicBezTo>
                      <a:pt x="1002" y="253"/>
                      <a:pt x="1003" y="254"/>
                      <a:pt x="1003" y="254"/>
                    </a:cubicBezTo>
                    <a:cubicBezTo>
                      <a:pt x="1003" y="254"/>
                      <a:pt x="1003" y="254"/>
                      <a:pt x="1003" y="254"/>
                    </a:cubicBezTo>
                    <a:cubicBezTo>
                      <a:pt x="1004" y="255"/>
                      <a:pt x="1002" y="254"/>
                      <a:pt x="1002" y="254"/>
                    </a:cubicBezTo>
                    <a:cubicBezTo>
                      <a:pt x="1002" y="254"/>
                      <a:pt x="1002" y="254"/>
                      <a:pt x="1001" y="254"/>
                    </a:cubicBezTo>
                    <a:cubicBezTo>
                      <a:pt x="1001" y="254"/>
                      <a:pt x="1000" y="254"/>
                      <a:pt x="1000" y="254"/>
                    </a:cubicBezTo>
                    <a:cubicBezTo>
                      <a:pt x="1001" y="254"/>
                      <a:pt x="1003" y="255"/>
                      <a:pt x="1004" y="256"/>
                    </a:cubicBezTo>
                    <a:cubicBezTo>
                      <a:pt x="1005" y="257"/>
                      <a:pt x="1006" y="257"/>
                      <a:pt x="1007" y="258"/>
                    </a:cubicBezTo>
                    <a:cubicBezTo>
                      <a:pt x="1007" y="258"/>
                      <a:pt x="1008" y="260"/>
                      <a:pt x="1008" y="260"/>
                    </a:cubicBezTo>
                    <a:cubicBezTo>
                      <a:pt x="1008" y="260"/>
                      <a:pt x="1007" y="258"/>
                      <a:pt x="1008" y="258"/>
                    </a:cubicBezTo>
                    <a:cubicBezTo>
                      <a:pt x="1008" y="258"/>
                      <a:pt x="1009" y="259"/>
                      <a:pt x="1009" y="260"/>
                    </a:cubicBezTo>
                    <a:cubicBezTo>
                      <a:pt x="1010" y="261"/>
                      <a:pt x="1009" y="260"/>
                      <a:pt x="1008" y="260"/>
                    </a:cubicBezTo>
                    <a:cubicBezTo>
                      <a:pt x="1007" y="260"/>
                      <a:pt x="1007" y="261"/>
                      <a:pt x="1008" y="261"/>
                    </a:cubicBezTo>
                    <a:cubicBezTo>
                      <a:pt x="1009" y="262"/>
                      <a:pt x="1010" y="261"/>
                      <a:pt x="1010" y="262"/>
                    </a:cubicBezTo>
                    <a:cubicBezTo>
                      <a:pt x="1009" y="262"/>
                      <a:pt x="1010" y="262"/>
                      <a:pt x="1010" y="263"/>
                    </a:cubicBezTo>
                    <a:cubicBezTo>
                      <a:pt x="1010" y="264"/>
                      <a:pt x="1008" y="264"/>
                      <a:pt x="1008" y="263"/>
                    </a:cubicBezTo>
                    <a:cubicBezTo>
                      <a:pt x="1007" y="263"/>
                      <a:pt x="1007" y="262"/>
                      <a:pt x="1006" y="262"/>
                    </a:cubicBezTo>
                    <a:cubicBezTo>
                      <a:pt x="1005" y="262"/>
                      <a:pt x="1005" y="262"/>
                      <a:pt x="1004" y="263"/>
                    </a:cubicBezTo>
                    <a:cubicBezTo>
                      <a:pt x="1004" y="264"/>
                      <a:pt x="1004" y="264"/>
                      <a:pt x="1005" y="264"/>
                    </a:cubicBezTo>
                    <a:cubicBezTo>
                      <a:pt x="1005" y="265"/>
                      <a:pt x="1006" y="266"/>
                      <a:pt x="1007" y="266"/>
                    </a:cubicBezTo>
                    <a:cubicBezTo>
                      <a:pt x="1008" y="266"/>
                      <a:pt x="1008" y="267"/>
                      <a:pt x="1009" y="268"/>
                    </a:cubicBezTo>
                    <a:cubicBezTo>
                      <a:pt x="1009" y="268"/>
                      <a:pt x="1009" y="269"/>
                      <a:pt x="1010" y="270"/>
                    </a:cubicBezTo>
                    <a:cubicBezTo>
                      <a:pt x="1010" y="271"/>
                      <a:pt x="1011" y="271"/>
                      <a:pt x="1011" y="272"/>
                    </a:cubicBezTo>
                    <a:cubicBezTo>
                      <a:pt x="1012" y="273"/>
                      <a:pt x="1011" y="274"/>
                      <a:pt x="1012" y="274"/>
                    </a:cubicBezTo>
                    <a:cubicBezTo>
                      <a:pt x="1012" y="275"/>
                      <a:pt x="1013" y="275"/>
                      <a:pt x="1013" y="276"/>
                    </a:cubicBezTo>
                    <a:cubicBezTo>
                      <a:pt x="1014" y="277"/>
                      <a:pt x="1014" y="277"/>
                      <a:pt x="1014" y="278"/>
                    </a:cubicBezTo>
                    <a:cubicBezTo>
                      <a:pt x="1015" y="278"/>
                      <a:pt x="1015" y="278"/>
                      <a:pt x="1015" y="279"/>
                    </a:cubicBezTo>
                    <a:cubicBezTo>
                      <a:pt x="1016" y="279"/>
                      <a:pt x="1017" y="279"/>
                      <a:pt x="1017" y="280"/>
                    </a:cubicBezTo>
                    <a:cubicBezTo>
                      <a:pt x="1017" y="280"/>
                      <a:pt x="1018" y="280"/>
                      <a:pt x="1018" y="281"/>
                    </a:cubicBezTo>
                    <a:cubicBezTo>
                      <a:pt x="1018" y="281"/>
                      <a:pt x="1017" y="281"/>
                      <a:pt x="1017" y="280"/>
                    </a:cubicBezTo>
                    <a:cubicBezTo>
                      <a:pt x="1018" y="281"/>
                      <a:pt x="1019" y="281"/>
                      <a:pt x="1019" y="282"/>
                    </a:cubicBezTo>
                    <a:cubicBezTo>
                      <a:pt x="1021" y="282"/>
                      <a:pt x="1022" y="283"/>
                      <a:pt x="1023" y="284"/>
                    </a:cubicBezTo>
                    <a:cubicBezTo>
                      <a:pt x="1025" y="285"/>
                      <a:pt x="1026" y="286"/>
                      <a:pt x="1027" y="287"/>
                    </a:cubicBezTo>
                    <a:cubicBezTo>
                      <a:pt x="1028" y="288"/>
                      <a:pt x="1028" y="289"/>
                      <a:pt x="1028" y="289"/>
                    </a:cubicBezTo>
                    <a:cubicBezTo>
                      <a:pt x="1028" y="290"/>
                      <a:pt x="1028" y="291"/>
                      <a:pt x="1029" y="291"/>
                    </a:cubicBezTo>
                    <a:cubicBezTo>
                      <a:pt x="1029" y="293"/>
                      <a:pt x="1030" y="294"/>
                      <a:pt x="1032" y="295"/>
                    </a:cubicBezTo>
                    <a:cubicBezTo>
                      <a:pt x="1033" y="296"/>
                      <a:pt x="1034" y="298"/>
                      <a:pt x="1035" y="299"/>
                    </a:cubicBezTo>
                    <a:cubicBezTo>
                      <a:pt x="1036" y="301"/>
                      <a:pt x="1037" y="302"/>
                      <a:pt x="1038" y="303"/>
                    </a:cubicBezTo>
                    <a:cubicBezTo>
                      <a:pt x="1039" y="304"/>
                      <a:pt x="1039" y="305"/>
                      <a:pt x="1039" y="306"/>
                    </a:cubicBezTo>
                    <a:cubicBezTo>
                      <a:pt x="1040" y="307"/>
                      <a:pt x="1040" y="307"/>
                      <a:pt x="1041" y="308"/>
                    </a:cubicBezTo>
                    <a:cubicBezTo>
                      <a:pt x="1041" y="309"/>
                      <a:pt x="1042" y="310"/>
                      <a:pt x="1042" y="312"/>
                    </a:cubicBezTo>
                    <a:cubicBezTo>
                      <a:pt x="1042" y="313"/>
                      <a:pt x="1045" y="315"/>
                      <a:pt x="1045" y="316"/>
                    </a:cubicBezTo>
                    <a:cubicBezTo>
                      <a:pt x="1047" y="317"/>
                      <a:pt x="1048" y="317"/>
                      <a:pt x="1049" y="319"/>
                    </a:cubicBezTo>
                    <a:cubicBezTo>
                      <a:pt x="1050" y="319"/>
                      <a:pt x="1051" y="320"/>
                      <a:pt x="1051" y="321"/>
                    </a:cubicBezTo>
                    <a:cubicBezTo>
                      <a:pt x="1051" y="322"/>
                      <a:pt x="1051" y="322"/>
                      <a:pt x="1051" y="323"/>
                    </a:cubicBezTo>
                    <a:cubicBezTo>
                      <a:pt x="1051" y="325"/>
                      <a:pt x="1052" y="326"/>
                      <a:pt x="1053" y="327"/>
                    </a:cubicBezTo>
                    <a:cubicBezTo>
                      <a:pt x="1054" y="329"/>
                      <a:pt x="1056" y="329"/>
                      <a:pt x="1056" y="331"/>
                    </a:cubicBezTo>
                    <a:cubicBezTo>
                      <a:pt x="1057" y="333"/>
                      <a:pt x="1057" y="335"/>
                      <a:pt x="1058" y="336"/>
                    </a:cubicBezTo>
                    <a:cubicBezTo>
                      <a:pt x="1059" y="337"/>
                      <a:pt x="1060" y="339"/>
                      <a:pt x="1061" y="340"/>
                    </a:cubicBezTo>
                    <a:cubicBezTo>
                      <a:pt x="1062" y="341"/>
                      <a:pt x="1063" y="342"/>
                      <a:pt x="1064" y="343"/>
                    </a:cubicBezTo>
                    <a:cubicBezTo>
                      <a:pt x="1064" y="342"/>
                      <a:pt x="1064" y="342"/>
                      <a:pt x="1064" y="342"/>
                    </a:cubicBezTo>
                    <a:cubicBezTo>
                      <a:pt x="1064" y="342"/>
                      <a:pt x="1064" y="342"/>
                      <a:pt x="1064" y="342"/>
                    </a:cubicBezTo>
                    <a:cubicBezTo>
                      <a:pt x="1064" y="341"/>
                      <a:pt x="1064" y="341"/>
                      <a:pt x="1064" y="340"/>
                    </a:cubicBezTo>
                    <a:cubicBezTo>
                      <a:pt x="1064" y="339"/>
                      <a:pt x="1063" y="338"/>
                      <a:pt x="1063" y="337"/>
                    </a:cubicBezTo>
                    <a:cubicBezTo>
                      <a:pt x="1063" y="337"/>
                      <a:pt x="1062" y="335"/>
                      <a:pt x="1063" y="334"/>
                    </a:cubicBezTo>
                    <a:cubicBezTo>
                      <a:pt x="1063" y="334"/>
                      <a:pt x="1063" y="334"/>
                      <a:pt x="1064" y="334"/>
                    </a:cubicBezTo>
                    <a:cubicBezTo>
                      <a:pt x="1064" y="334"/>
                      <a:pt x="1064" y="334"/>
                      <a:pt x="1064" y="334"/>
                    </a:cubicBezTo>
                    <a:cubicBezTo>
                      <a:pt x="1065" y="334"/>
                      <a:pt x="1065" y="335"/>
                      <a:pt x="1066" y="335"/>
                    </a:cubicBezTo>
                    <a:cubicBezTo>
                      <a:pt x="1066" y="335"/>
                      <a:pt x="1068" y="335"/>
                      <a:pt x="1068" y="335"/>
                    </a:cubicBezTo>
                    <a:cubicBezTo>
                      <a:pt x="1069" y="335"/>
                      <a:pt x="1070" y="336"/>
                      <a:pt x="1071" y="336"/>
                    </a:cubicBezTo>
                    <a:cubicBezTo>
                      <a:pt x="1070" y="336"/>
                      <a:pt x="1070" y="336"/>
                      <a:pt x="1070" y="336"/>
                    </a:cubicBezTo>
                    <a:cubicBezTo>
                      <a:pt x="1071" y="336"/>
                      <a:pt x="1071" y="336"/>
                      <a:pt x="1071" y="336"/>
                    </a:cubicBezTo>
                    <a:cubicBezTo>
                      <a:pt x="1071" y="336"/>
                      <a:pt x="1071" y="337"/>
                      <a:pt x="1071" y="336"/>
                    </a:cubicBezTo>
                    <a:cubicBezTo>
                      <a:pt x="1072" y="337"/>
                      <a:pt x="1073" y="338"/>
                      <a:pt x="1073" y="339"/>
                    </a:cubicBezTo>
                    <a:cubicBezTo>
                      <a:pt x="1074" y="340"/>
                      <a:pt x="1074" y="341"/>
                      <a:pt x="1075" y="341"/>
                    </a:cubicBezTo>
                    <a:cubicBezTo>
                      <a:pt x="1075" y="340"/>
                      <a:pt x="1074" y="339"/>
                      <a:pt x="1074" y="338"/>
                    </a:cubicBezTo>
                    <a:cubicBezTo>
                      <a:pt x="1074" y="337"/>
                      <a:pt x="1074" y="337"/>
                      <a:pt x="1073" y="337"/>
                    </a:cubicBezTo>
                    <a:close/>
                    <a:moveTo>
                      <a:pt x="399" y="6"/>
                    </a:moveTo>
                    <a:cubicBezTo>
                      <a:pt x="400" y="6"/>
                      <a:pt x="401" y="6"/>
                      <a:pt x="402" y="6"/>
                    </a:cubicBezTo>
                    <a:cubicBezTo>
                      <a:pt x="403" y="6"/>
                      <a:pt x="403" y="6"/>
                      <a:pt x="404" y="5"/>
                    </a:cubicBezTo>
                    <a:cubicBezTo>
                      <a:pt x="403" y="5"/>
                      <a:pt x="401" y="5"/>
                      <a:pt x="400" y="5"/>
                    </a:cubicBezTo>
                    <a:cubicBezTo>
                      <a:pt x="398" y="5"/>
                      <a:pt x="396" y="4"/>
                      <a:pt x="395" y="5"/>
                    </a:cubicBezTo>
                    <a:cubicBezTo>
                      <a:pt x="394" y="5"/>
                      <a:pt x="394" y="5"/>
                      <a:pt x="394" y="5"/>
                    </a:cubicBezTo>
                    <a:cubicBezTo>
                      <a:pt x="395" y="6"/>
                      <a:pt x="397" y="6"/>
                      <a:pt x="399" y="6"/>
                    </a:cubicBezTo>
                    <a:close/>
                    <a:moveTo>
                      <a:pt x="26" y="248"/>
                    </a:moveTo>
                    <a:cubicBezTo>
                      <a:pt x="26" y="247"/>
                      <a:pt x="25" y="247"/>
                      <a:pt x="24" y="247"/>
                    </a:cubicBezTo>
                    <a:cubicBezTo>
                      <a:pt x="24" y="246"/>
                      <a:pt x="24" y="245"/>
                      <a:pt x="23" y="246"/>
                    </a:cubicBezTo>
                    <a:cubicBezTo>
                      <a:pt x="22" y="246"/>
                      <a:pt x="21" y="245"/>
                      <a:pt x="20" y="246"/>
                    </a:cubicBezTo>
                    <a:cubicBezTo>
                      <a:pt x="20" y="246"/>
                      <a:pt x="19" y="246"/>
                      <a:pt x="19" y="246"/>
                    </a:cubicBezTo>
                    <a:cubicBezTo>
                      <a:pt x="19" y="245"/>
                      <a:pt x="18" y="245"/>
                      <a:pt x="18" y="245"/>
                    </a:cubicBezTo>
                    <a:cubicBezTo>
                      <a:pt x="17" y="245"/>
                      <a:pt x="17" y="245"/>
                      <a:pt x="16" y="245"/>
                    </a:cubicBezTo>
                    <a:cubicBezTo>
                      <a:pt x="16" y="244"/>
                      <a:pt x="15" y="244"/>
                      <a:pt x="15" y="244"/>
                    </a:cubicBezTo>
                    <a:cubicBezTo>
                      <a:pt x="14" y="244"/>
                      <a:pt x="14" y="243"/>
                      <a:pt x="13" y="244"/>
                    </a:cubicBezTo>
                    <a:cubicBezTo>
                      <a:pt x="13" y="244"/>
                      <a:pt x="12" y="244"/>
                      <a:pt x="12" y="244"/>
                    </a:cubicBezTo>
                    <a:cubicBezTo>
                      <a:pt x="12" y="245"/>
                      <a:pt x="12" y="246"/>
                      <a:pt x="12" y="246"/>
                    </a:cubicBezTo>
                    <a:cubicBezTo>
                      <a:pt x="13" y="247"/>
                      <a:pt x="13" y="247"/>
                      <a:pt x="12" y="247"/>
                    </a:cubicBezTo>
                    <a:cubicBezTo>
                      <a:pt x="11" y="247"/>
                      <a:pt x="10" y="248"/>
                      <a:pt x="10" y="247"/>
                    </a:cubicBezTo>
                    <a:cubicBezTo>
                      <a:pt x="9" y="247"/>
                      <a:pt x="8" y="247"/>
                      <a:pt x="7" y="247"/>
                    </a:cubicBezTo>
                    <a:cubicBezTo>
                      <a:pt x="6" y="247"/>
                      <a:pt x="7" y="246"/>
                      <a:pt x="8" y="246"/>
                    </a:cubicBezTo>
                    <a:cubicBezTo>
                      <a:pt x="8" y="246"/>
                      <a:pt x="9" y="245"/>
                      <a:pt x="10" y="244"/>
                    </a:cubicBezTo>
                    <a:cubicBezTo>
                      <a:pt x="10" y="244"/>
                      <a:pt x="11" y="243"/>
                      <a:pt x="10" y="243"/>
                    </a:cubicBezTo>
                    <a:cubicBezTo>
                      <a:pt x="9" y="244"/>
                      <a:pt x="8" y="246"/>
                      <a:pt x="7" y="246"/>
                    </a:cubicBezTo>
                    <a:cubicBezTo>
                      <a:pt x="6" y="247"/>
                      <a:pt x="4" y="247"/>
                      <a:pt x="3" y="247"/>
                    </a:cubicBezTo>
                    <a:cubicBezTo>
                      <a:pt x="3" y="247"/>
                      <a:pt x="2" y="247"/>
                      <a:pt x="2" y="247"/>
                    </a:cubicBezTo>
                    <a:cubicBezTo>
                      <a:pt x="2" y="248"/>
                      <a:pt x="2" y="248"/>
                      <a:pt x="2" y="249"/>
                    </a:cubicBezTo>
                    <a:cubicBezTo>
                      <a:pt x="2" y="250"/>
                      <a:pt x="1" y="251"/>
                      <a:pt x="0" y="252"/>
                    </a:cubicBezTo>
                    <a:cubicBezTo>
                      <a:pt x="1" y="252"/>
                      <a:pt x="1" y="250"/>
                      <a:pt x="2" y="250"/>
                    </a:cubicBezTo>
                    <a:cubicBezTo>
                      <a:pt x="2" y="250"/>
                      <a:pt x="2" y="249"/>
                      <a:pt x="3" y="249"/>
                    </a:cubicBezTo>
                    <a:cubicBezTo>
                      <a:pt x="3" y="249"/>
                      <a:pt x="3" y="250"/>
                      <a:pt x="3" y="250"/>
                    </a:cubicBezTo>
                    <a:cubicBezTo>
                      <a:pt x="4" y="250"/>
                      <a:pt x="4" y="250"/>
                      <a:pt x="4" y="250"/>
                    </a:cubicBezTo>
                    <a:cubicBezTo>
                      <a:pt x="5" y="250"/>
                      <a:pt x="5" y="250"/>
                      <a:pt x="6" y="250"/>
                    </a:cubicBezTo>
                    <a:cubicBezTo>
                      <a:pt x="6" y="250"/>
                      <a:pt x="6" y="250"/>
                      <a:pt x="6" y="250"/>
                    </a:cubicBezTo>
                    <a:cubicBezTo>
                      <a:pt x="5" y="250"/>
                      <a:pt x="4" y="250"/>
                      <a:pt x="4" y="251"/>
                    </a:cubicBezTo>
                    <a:cubicBezTo>
                      <a:pt x="4" y="251"/>
                      <a:pt x="3" y="251"/>
                      <a:pt x="3" y="251"/>
                    </a:cubicBezTo>
                    <a:cubicBezTo>
                      <a:pt x="3" y="251"/>
                      <a:pt x="3" y="251"/>
                      <a:pt x="3" y="251"/>
                    </a:cubicBezTo>
                    <a:cubicBezTo>
                      <a:pt x="2" y="251"/>
                      <a:pt x="3" y="251"/>
                      <a:pt x="2" y="252"/>
                    </a:cubicBezTo>
                    <a:cubicBezTo>
                      <a:pt x="2" y="252"/>
                      <a:pt x="1" y="252"/>
                      <a:pt x="1" y="252"/>
                    </a:cubicBezTo>
                    <a:cubicBezTo>
                      <a:pt x="4" y="253"/>
                      <a:pt x="6" y="253"/>
                      <a:pt x="9" y="253"/>
                    </a:cubicBezTo>
                    <a:cubicBezTo>
                      <a:pt x="12" y="253"/>
                      <a:pt x="15" y="253"/>
                      <a:pt x="18" y="253"/>
                    </a:cubicBezTo>
                    <a:cubicBezTo>
                      <a:pt x="20" y="253"/>
                      <a:pt x="23" y="253"/>
                      <a:pt x="26" y="253"/>
                    </a:cubicBezTo>
                    <a:cubicBezTo>
                      <a:pt x="25" y="252"/>
                      <a:pt x="25" y="251"/>
                      <a:pt x="25" y="250"/>
                    </a:cubicBezTo>
                    <a:cubicBezTo>
                      <a:pt x="25" y="249"/>
                      <a:pt x="26" y="249"/>
                      <a:pt x="26" y="248"/>
                    </a:cubicBezTo>
                    <a:close/>
                    <a:moveTo>
                      <a:pt x="954" y="246"/>
                    </a:moveTo>
                    <a:cubicBezTo>
                      <a:pt x="954" y="246"/>
                      <a:pt x="954" y="247"/>
                      <a:pt x="954" y="247"/>
                    </a:cubicBezTo>
                    <a:cubicBezTo>
                      <a:pt x="954" y="248"/>
                      <a:pt x="954" y="248"/>
                      <a:pt x="955" y="249"/>
                    </a:cubicBezTo>
                    <a:cubicBezTo>
                      <a:pt x="955" y="249"/>
                      <a:pt x="955" y="248"/>
                      <a:pt x="955" y="248"/>
                    </a:cubicBezTo>
                    <a:cubicBezTo>
                      <a:pt x="956" y="247"/>
                      <a:pt x="957" y="248"/>
                      <a:pt x="957" y="249"/>
                    </a:cubicBezTo>
                    <a:cubicBezTo>
                      <a:pt x="958" y="249"/>
                      <a:pt x="959" y="250"/>
                      <a:pt x="960" y="250"/>
                    </a:cubicBezTo>
                    <a:cubicBezTo>
                      <a:pt x="960" y="250"/>
                      <a:pt x="960" y="249"/>
                      <a:pt x="960" y="249"/>
                    </a:cubicBezTo>
                    <a:cubicBezTo>
                      <a:pt x="960" y="249"/>
                      <a:pt x="961" y="248"/>
                      <a:pt x="960" y="248"/>
                    </a:cubicBezTo>
                    <a:cubicBezTo>
                      <a:pt x="960" y="248"/>
                      <a:pt x="960" y="247"/>
                      <a:pt x="960" y="247"/>
                    </a:cubicBezTo>
                    <a:cubicBezTo>
                      <a:pt x="960" y="246"/>
                      <a:pt x="960" y="246"/>
                      <a:pt x="960" y="246"/>
                    </a:cubicBezTo>
                    <a:cubicBezTo>
                      <a:pt x="960" y="245"/>
                      <a:pt x="959" y="246"/>
                      <a:pt x="958" y="246"/>
                    </a:cubicBezTo>
                    <a:cubicBezTo>
                      <a:pt x="958" y="247"/>
                      <a:pt x="958" y="246"/>
                      <a:pt x="958" y="246"/>
                    </a:cubicBezTo>
                    <a:cubicBezTo>
                      <a:pt x="958" y="245"/>
                      <a:pt x="958" y="245"/>
                      <a:pt x="957" y="245"/>
                    </a:cubicBezTo>
                    <a:cubicBezTo>
                      <a:pt x="957" y="245"/>
                      <a:pt x="956" y="245"/>
                      <a:pt x="956" y="245"/>
                    </a:cubicBezTo>
                    <a:cubicBezTo>
                      <a:pt x="956" y="245"/>
                      <a:pt x="955" y="245"/>
                      <a:pt x="955" y="244"/>
                    </a:cubicBezTo>
                    <a:cubicBezTo>
                      <a:pt x="955" y="244"/>
                      <a:pt x="954" y="244"/>
                      <a:pt x="954" y="245"/>
                    </a:cubicBezTo>
                    <a:cubicBezTo>
                      <a:pt x="954" y="245"/>
                      <a:pt x="954" y="245"/>
                      <a:pt x="954" y="245"/>
                    </a:cubicBezTo>
                    <a:cubicBezTo>
                      <a:pt x="954" y="246"/>
                      <a:pt x="954" y="246"/>
                      <a:pt x="954" y="246"/>
                    </a:cubicBezTo>
                    <a:cubicBezTo>
                      <a:pt x="954" y="246"/>
                      <a:pt x="954" y="246"/>
                      <a:pt x="954" y="246"/>
                    </a:cubicBezTo>
                    <a:close/>
                    <a:moveTo>
                      <a:pt x="1126" y="348"/>
                    </a:moveTo>
                    <a:cubicBezTo>
                      <a:pt x="1126" y="347"/>
                      <a:pt x="1126" y="347"/>
                      <a:pt x="1125" y="347"/>
                    </a:cubicBezTo>
                    <a:cubicBezTo>
                      <a:pt x="1124" y="347"/>
                      <a:pt x="1124" y="348"/>
                      <a:pt x="1123" y="349"/>
                    </a:cubicBezTo>
                    <a:cubicBezTo>
                      <a:pt x="1123" y="350"/>
                      <a:pt x="1121" y="350"/>
                      <a:pt x="1120" y="349"/>
                    </a:cubicBezTo>
                    <a:cubicBezTo>
                      <a:pt x="1120" y="349"/>
                      <a:pt x="1119" y="348"/>
                      <a:pt x="1119" y="348"/>
                    </a:cubicBezTo>
                    <a:cubicBezTo>
                      <a:pt x="1118" y="348"/>
                      <a:pt x="1119" y="349"/>
                      <a:pt x="1119" y="349"/>
                    </a:cubicBezTo>
                    <a:cubicBezTo>
                      <a:pt x="1119" y="349"/>
                      <a:pt x="1119" y="350"/>
                      <a:pt x="1119" y="350"/>
                    </a:cubicBezTo>
                    <a:cubicBezTo>
                      <a:pt x="1119" y="350"/>
                      <a:pt x="1119" y="350"/>
                      <a:pt x="1119" y="351"/>
                    </a:cubicBezTo>
                    <a:cubicBezTo>
                      <a:pt x="1118" y="351"/>
                      <a:pt x="1119" y="352"/>
                      <a:pt x="1118" y="352"/>
                    </a:cubicBezTo>
                    <a:cubicBezTo>
                      <a:pt x="1118" y="352"/>
                      <a:pt x="1117" y="351"/>
                      <a:pt x="1117" y="352"/>
                    </a:cubicBezTo>
                    <a:cubicBezTo>
                      <a:pt x="1118" y="353"/>
                      <a:pt x="1118" y="353"/>
                      <a:pt x="1117" y="354"/>
                    </a:cubicBezTo>
                    <a:cubicBezTo>
                      <a:pt x="1117" y="354"/>
                      <a:pt x="1117" y="354"/>
                      <a:pt x="1117" y="354"/>
                    </a:cubicBezTo>
                    <a:cubicBezTo>
                      <a:pt x="1116" y="354"/>
                      <a:pt x="1117" y="355"/>
                      <a:pt x="1116" y="355"/>
                    </a:cubicBezTo>
                    <a:cubicBezTo>
                      <a:pt x="1116" y="355"/>
                      <a:pt x="1115" y="355"/>
                      <a:pt x="1116" y="355"/>
                    </a:cubicBezTo>
                    <a:cubicBezTo>
                      <a:pt x="1116" y="355"/>
                      <a:pt x="1117" y="355"/>
                      <a:pt x="1117" y="356"/>
                    </a:cubicBezTo>
                    <a:cubicBezTo>
                      <a:pt x="1118" y="357"/>
                      <a:pt x="1116" y="357"/>
                      <a:pt x="1116" y="357"/>
                    </a:cubicBezTo>
                    <a:cubicBezTo>
                      <a:pt x="1116" y="357"/>
                      <a:pt x="1116" y="357"/>
                      <a:pt x="1116" y="357"/>
                    </a:cubicBezTo>
                    <a:cubicBezTo>
                      <a:pt x="1117" y="358"/>
                      <a:pt x="1116" y="357"/>
                      <a:pt x="1116" y="357"/>
                    </a:cubicBezTo>
                    <a:cubicBezTo>
                      <a:pt x="1116" y="357"/>
                      <a:pt x="1116" y="357"/>
                      <a:pt x="1116" y="357"/>
                    </a:cubicBezTo>
                    <a:cubicBezTo>
                      <a:pt x="1116" y="358"/>
                      <a:pt x="1116" y="358"/>
                      <a:pt x="1116" y="358"/>
                    </a:cubicBezTo>
                    <a:cubicBezTo>
                      <a:pt x="1116" y="359"/>
                      <a:pt x="1116" y="359"/>
                      <a:pt x="1117" y="359"/>
                    </a:cubicBezTo>
                    <a:cubicBezTo>
                      <a:pt x="1117" y="359"/>
                      <a:pt x="1117" y="358"/>
                      <a:pt x="1117" y="358"/>
                    </a:cubicBezTo>
                    <a:cubicBezTo>
                      <a:pt x="1117" y="358"/>
                      <a:pt x="1118" y="358"/>
                      <a:pt x="1118" y="358"/>
                    </a:cubicBezTo>
                    <a:cubicBezTo>
                      <a:pt x="1119" y="358"/>
                      <a:pt x="1118" y="357"/>
                      <a:pt x="1118" y="356"/>
                    </a:cubicBezTo>
                    <a:cubicBezTo>
                      <a:pt x="1118" y="356"/>
                      <a:pt x="1119" y="355"/>
                      <a:pt x="1119" y="355"/>
                    </a:cubicBezTo>
                    <a:cubicBezTo>
                      <a:pt x="1120" y="354"/>
                      <a:pt x="1119" y="353"/>
                      <a:pt x="1120" y="353"/>
                    </a:cubicBezTo>
                    <a:cubicBezTo>
                      <a:pt x="1120" y="353"/>
                      <a:pt x="1120" y="353"/>
                      <a:pt x="1121" y="353"/>
                    </a:cubicBezTo>
                    <a:cubicBezTo>
                      <a:pt x="1122" y="353"/>
                      <a:pt x="1122" y="352"/>
                      <a:pt x="1122" y="352"/>
                    </a:cubicBezTo>
                    <a:cubicBezTo>
                      <a:pt x="1122" y="350"/>
                      <a:pt x="1124" y="350"/>
                      <a:pt x="1124" y="349"/>
                    </a:cubicBezTo>
                    <a:cubicBezTo>
                      <a:pt x="1125" y="349"/>
                      <a:pt x="1125" y="349"/>
                      <a:pt x="1126" y="349"/>
                    </a:cubicBezTo>
                    <a:cubicBezTo>
                      <a:pt x="1127" y="349"/>
                      <a:pt x="1127" y="349"/>
                      <a:pt x="1127" y="348"/>
                    </a:cubicBezTo>
                    <a:cubicBezTo>
                      <a:pt x="1126" y="348"/>
                      <a:pt x="1126" y="348"/>
                      <a:pt x="1126" y="348"/>
                    </a:cubicBezTo>
                    <a:close/>
                    <a:moveTo>
                      <a:pt x="1113" y="359"/>
                    </a:moveTo>
                    <a:cubicBezTo>
                      <a:pt x="1112" y="359"/>
                      <a:pt x="1111" y="358"/>
                      <a:pt x="1110" y="358"/>
                    </a:cubicBezTo>
                    <a:cubicBezTo>
                      <a:pt x="1109" y="358"/>
                      <a:pt x="1109" y="360"/>
                      <a:pt x="1109" y="360"/>
                    </a:cubicBezTo>
                    <a:cubicBezTo>
                      <a:pt x="1109" y="360"/>
                      <a:pt x="1109" y="360"/>
                      <a:pt x="1109" y="361"/>
                    </a:cubicBezTo>
                    <a:cubicBezTo>
                      <a:pt x="1109" y="361"/>
                      <a:pt x="1109" y="361"/>
                      <a:pt x="1109" y="361"/>
                    </a:cubicBezTo>
                    <a:cubicBezTo>
                      <a:pt x="1109" y="362"/>
                      <a:pt x="1109" y="362"/>
                      <a:pt x="1109" y="363"/>
                    </a:cubicBezTo>
                    <a:cubicBezTo>
                      <a:pt x="1109" y="363"/>
                      <a:pt x="1108" y="364"/>
                      <a:pt x="1108" y="365"/>
                    </a:cubicBezTo>
                    <a:cubicBezTo>
                      <a:pt x="1108" y="365"/>
                      <a:pt x="1108" y="365"/>
                      <a:pt x="1108" y="366"/>
                    </a:cubicBezTo>
                    <a:cubicBezTo>
                      <a:pt x="1109" y="366"/>
                      <a:pt x="1109" y="366"/>
                      <a:pt x="1109" y="366"/>
                    </a:cubicBezTo>
                    <a:cubicBezTo>
                      <a:pt x="1110" y="366"/>
                      <a:pt x="1110" y="367"/>
                      <a:pt x="1110" y="367"/>
                    </a:cubicBezTo>
                    <a:cubicBezTo>
                      <a:pt x="1110" y="367"/>
                      <a:pt x="1108" y="365"/>
                      <a:pt x="1110" y="365"/>
                    </a:cubicBezTo>
                    <a:cubicBezTo>
                      <a:pt x="1110" y="364"/>
                      <a:pt x="1110" y="364"/>
                      <a:pt x="1110" y="364"/>
                    </a:cubicBezTo>
                    <a:cubicBezTo>
                      <a:pt x="1110" y="363"/>
                      <a:pt x="1111" y="363"/>
                      <a:pt x="1111" y="363"/>
                    </a:cubicBezTo>
                    <a:cubicBezTo>
                      <a:pt x="1111" y="363"/>
                      <a:pt x="1110" y="362"/>
                      <a:pt x="1111" y="362"/>
                    </a:cubicBezTo>
                    <a:cubicBezTo>
                      <a:pt x="1111" y="361"/>
                      <a:pt x="1111" y="361"/>
                      <a:pt x="1111" y="360"/>
                    </a:cubicBezTo>
                    <a:cubicBezTo>
                      <a:pt x="1112" y="360"/>
                      <a:pt x="1112" y="361"/>
                      <a:pt x="1113" y="360"/>
                    </a:cubicBezTo>
                    <a:cubicBezTo>
                      <a:pt x="1113" y="360"/>
                      <a:pt x="1113" y="359"/>
                      <a:pt x="1113" y="359"/>
                    </a:cubicBezTo>
                    <a:cubicBezTo>
                      <a:pt x="1114" y="359"/>
                      <a:pt x="1114" y="359"/>
                      <a:pt x="1114" y="359"/>
                    </a:cubicBezTo>
                    <a:cubicBezTo>
                      <a:pt x="1113" y="358"/>
                      <a:pt x="1113" y="359"/>
                      <a:pt x="1113" y="359"/>
                    </a:cubicBezTo>
                    <a:close/>
                    <a:moveTo>
                      <a:pt x="191" y="5"/>
                    </a:moveTo>
                    <a:cubicBezTo>
                      <a:pt x="191" y="5"/>
                      <a:pt x="193" y="5"/>
                      <a:pt x="194" y="5"/>
                    </a:cubicBezTo>
                    <a:cubicBezTo>
                      <a:pt x="195" y="5"/>
                      <a:pt x="196" y="5"/>
                      <a:pt x="197" y="5"/>
                    </a:cubicBezTo>
                    <a:cubicBezTo>
                      <a:pt x="198" y="5"/>
                      <a:pt x="199" y="4"/>
                      <a:pt x="201" y="4"/>
                    </a:cubicBezTo>
                    <a:cubicBezTo>
                      <a:pt x="202" y="4"/>
                      <a:pt x="203" y="5"/>
                      <a:pt x="204" y="4"/>
                    </a:cubicBezTo>
                    <a:cubicBezTo>
                      <a:pt x="202" y="4"/>
                      <a:pt x="201" y="4"/>
                      <a:pt x="199" y="4"/>
                    </a:cubicBezTo>
                    <a:cubicBezTo>
                      <a:pt x="198" y="4"/>
                      <a:pt x="196" y="3"/>
                      <a:pt x="195" y="4"/>
                    </a:cubicBezTo>
                    <a:cubicBezTo>
                      <a:pt x="195" y="4"/>
                      <a:pt x="196" y="4"/>
                      <a:pt x="196" y="4"/>
                    </a:cubicBezTo>
                    <a:cubicBezTo>
                      <a:pt x="194" y="5"/>
                      <a:pt x="192" y="4"/>
                      <a:pt x="190" y="4"/>
                    </a:cubicBezTo>
                    <a:cubicBezTo>
                      <a:pt x="190" y="4"/>
                      <a:pt x="190" y="4"/>
                      <a:pt x="190" y="4"/>
                    </a:cubicBezTo>
                    <a:cubicBezTo>
                      <a:pt x="190" y="4"/>
                      <a:pt x="191" y="4"/>
                      <a:pt x="191" y="5"/>
                    </a:cubicBezTo>
                    <a:close/>
                    <a:moveTo>
                      <a:pt x="806" y="40"/>
                    </a:moveTo>
                    <a:cubicBezTo>
                      <a:pt x="807" y="40"/>
                      <a:pt x="808" y="40"/>
                      <a:pt x="808" y="40"/>
                    </a:cubicBezTo>
                    <a:cubicBezTo>
                      <a:pt x="808" y="40"/>
                      <a:pt x="808" y="40"/>
                      <a:pt x="808" y="39"/>
                    </a:cubicBezTo>
                    <a:cubicBezTo>
                      <a:pt x="808" y="39"/>
                      <a:pt x="807" y="39"/>
                      <a:pt x="807" y="39"/>
                    </a:cubicBezTo>
                    <a:cubicBezTo>
                      <a:pt x="806" y="39"/>
                      <a:pt x="806" y="39"/>
                      <a:pt x="805" y="40"/>
                    </a:cubicBezTo>
                    <a:cubicBezTo>
                      <a:pt x="805" y="40"/>
                      <a:pt x="803" y="40"/>
                      <a:pt x="804" y="40"/>
                    </a:cubicBezTo>
                    <a:cubicBezTo>
                      <a:pt x="805" y="40"/>
                      <a:pt x="805" y="40"/>
                      <a:pt x="806" y="40"/>
                    </a:cubicBezTo>
                    <a:close/>
                    <a:moveTo>
                      <a:pt x="226" y="6"/>
                    </a:moveTo>
                    <a:cubicBezTo>
                      <a:pt x="226" y="6"/>
                      <a:pt x="227" y="6"/>
                      <a:pt x="227" y="6"/>
                    </a:cubicBezTo>
                    <a:cubicBezTo>
                      <a:pt x="227" y="6"/>
                      <a:pt x="227" y="6"/>
                      <a:pt x="227" y="6"/>
                    </a:cubicBezTo>
                    <a:cubicBezTo>
                      <a:pt x="225" y="5"/>
                      <a:pt x="221" y="6"/>
                      <a:pt x="219" y="6"/>
                    </a:cubicBezTo>
                    <a:cubicBezTo>
                      <a:pt x="218" y="6"/>
                      <a:pt x="218" y="6"/>
                      <a:pt x="218" y="6"/>
                    </a:cubicBezTo>
                    <a:cubicBezTo>
                      <a:pt x="220" y="7"/>
                      <a:pt x="222" y="7"/>
                      <a:pt x="223" y="7"/>
                    </a:cubicBezTo>
                    <a:cubicBezTo>
                      <a:pt x="224" y="7"/>
                      <a:pt x="225" y="7"/>
                      <a:pt x="226" y="6"/>
                    </a:cubicBezTo>
                    <a:close/>
                    <a:moveTo>
                      <a:pt x="232" y="2"/>
                    </a:moveTo>
                    <a:cubicBezTo>
                      <a:pt x="233" y="2"/>
                      <a:pt x="234" y="2"/>
                      <a:pt x="235" y="2"/>
                    </a:cubicBezTo>
                    <a:cubicBezTo>
                      <a:pt x="235" y="2"/>
                      <a:pt x="237" y="2"/>
                      <a:pt x="237" y="2"/>
                    </a:cubicBezTo>
                    <a:cubicBezTo>
                      <a:pt x="237" y="1"/>
                      <a:pt x="236" y="1"/>
                      <a:pt x="235" y="1"/>
                    </a:cubicBezTo>
                    <a:cubicBezTo>
                      <a:pt x="234" y="1"/>
                      <a:pt x="233" y="1"/>
                      <a:pt x="232" y="1"/>
                    </a:cubicBezTo>
                    <a:cubicBezTo>
                      <a:pt x="231" y="1"/>
                      <a:pt x="229" y="1"/>
                      <a:pt x="227" y="1"/>
                    </a:cubicBezTo>
                    <a:cubicBezTo>
                      <a:pt x="227" y="2"/>
                      <a:pt x="227" y="2"/>
                      <a:pt x="227" y="2"/>
                    </a:cubicBezTo>
                    <a:cubicBezTo>
                      <a:pt x="228" y="2"/>
                      <a:pt x="229" y="2"/>
                      <a:pt x="230" y="2"/>
                    </a:cubicBezTo>
                    <a:cubicBezTo>
                      <a:pt x="231" y="2"/>
                      <a:pt x="231" y="2"/>
                      <a:pt x="232" y="2"/>
                    </a:cubicBezTo>
                    <a:close/>
                    <a:moveTo>
                      <a:pt x="750" y="61"/>
                    </a:moveTo>
                    <a:cubicBezTo>
                      <a:pt x="751" y="61"/>
                      <a:pt x="753" y="62"/>
                      <a:pt x="755" y="63"/>
                    </a:cubicBezTo>
                    <a:cubicBezTo>
                      <a:pt x="755" y="63"/>
                      <a:pt x="756" y="63"/>
                      <a:pt x="757" y="63"/>
                    </a:cubicBezTo>
                    <a:cubicBezTo>
                      <a:pt x="758" y="64"/>
                      <a:pt x="759" y="64"/>
                      <a:pt x="759" y="64"/>
                    </a:cubicBezTo>
                    <a:cubicBezTo>
                      <a:pt x="760" y="63"/>
                      <a:pt x="751" y="61"/>
                      <a:pt x="750" y="61"/>
                    </a:cubicBezTo>
                    <a:cubicBezTo>
                      <a:pt x="750" y="61"/>
                      <a:pt x="750" y="61"/>
                      <a:pt x="750" y="61"/>
                    </a:cubicBezTo>
                    <a:close/>
                    <a:moveTo>
                      <a:pt x="789" y="62"/>
                    </a:moveTo>
                    <a:cubicBezTo>
                      <a:pt x="788" y="61"/>
                      <a:pt x="786" y="60"/>
                      <a:pt x="784" y="60"/>
                    </a:cubicBezTo>
                    <a:cubicBezTo>
                      <a:pt x="783" y="60"/>
                      <a:pt x="781" y="61"/>
                      <a:pt x="782" y="62"/>
                    </a:cubicBezTo>
                    <a:cubicBezTo>
                      <a:pt x="784" y="63"/>
                      <a:pt x="786" y="63"/>
                      <a:pt x="787" y="64"/>
                    </a:cubicBezTo>
                    <a:cubicBezTo>
                      <a:pt x="788" y="64"/>
                      <a:pt x="789" y="63"/>
                      <a:pt x="790" y="63"/>
                    </a:cubicBezTo>
                    <a:cubicBezTo>
                      <a:pt x="791" y="63"/>
                      <a:pt x="789" y="62"/>
                      <a:pt x="789" y="62"/>
                    </a:cubicBezTo>
                    <a:close/>
                    <a:moveTo>
                      <a:pt x="220" y="14"/>
                    </a:moveTo>
                    <a:cubicBezTo>
                      <a:pt x="221" y="14"/>
                      <a:pt x="222" y="14"/>
                      <a:pt x="223" y="14"/>
                    </a:cubicBezTo>
                    <a:cubicBezTo>
                      <a:pt x="222" y="14"/>
                      <a:pt x="222" y="13"/>
                      <a:pt x="221" y="13"/>
                    </a:cubicBezTo>
                    <a:cubicBezTo>
                      <a:pt x="221" y="13"/>
                      <a:pt x="220" y="13"/>
                      <a:pt x="219" y="13"/>
                    </a:cubicBezTo>
                    <a:cubicBezTo>
                      <a:pt x="218" y="13"/>
                      <a:pt x="217" y="13"/>
                      <a:pt x="216" y="13"/>
                    </a:cubicBezTo>
                    <a:cubicBezTo>
                      <a:pt x="215" y="13"/>
                      <a:pt x="216" y="14"/>
                      <a:pt x="217" y="14"/>
                    </a:cubicBezTo>
                    <a:cubicBezTo>
                      <a:pt x="218" y="14"/>
                      <a:pt x="219" y="14"/>
                      <a:pt x="220" y="14"/>
                    </a:cubicBezTo>
                    <a:close/>
                    <a:moveTo>
                      <a:pt x="188" y="8"/>
                    </a:moveTo>
                    <a:cubicBezTo>
                      <a:pt x="188" y="9"/>
                      <a:pt x="191" y="8"/>
                      <a:pt x="191" y="8"/>
                    </a:cubicBezTo>
                    <a:cubicBezTo>
                      <a:pt x="193" y="8"/>
                      <a:pt x="194" y="8"/>
                      <a:pt x="195" y="8"/>
                    </a:cubicBezTo>
                    <a:cubicBezTo>
                      <a:pt x="194" y="7"/>
                      <a:pt x="193" y="8"/>
                      <a:pt x="191" y="7"/>
                    </a:cubicBezTo>
                    <a:cubicBezTo>
                      <a:pt x="190" y="7"/>
                      <a:pt x="189" y="7"/>
                      <a:pt x="188" y="7"/>
                    </a:cubicBezTo>
                    <a:cubicBezTo>
                      <a:pt x="188" y="8"/>
                      <a:pt x="187" y="7"/>
                      <a:pt x="186" y="7"/>
                    </a:cubicBezTo>
                    <a:cubicBezTo>
                      <a:pt x="185" y="7"/>
                      <a:pt x="184" y="7"/>
                      <a:pt x="183" y="8"/>
                    </a:cubicBezTo>
                    <a:cubicBezTo>
                      <a:pt x="183" y="8"/>
                      <a:pt x="187" y="8"/>
                      <a:pt x="188" y="8"/>
                    </a:cubicBezTo>
                    <a:close/>
                    <a:moveTo>
                      <a:pt x="324" y="71"/>
                    </a:moveTo>
                    <a:cubicBezTo>
                      <a:pt x="324" y="72"/>
                      <a:pt x="325" y="72"/>
                      <a:pt x="325" y="71"/>
                    </a:cubicBezTo>
                    <a:cubicBezTo>
                      <a:pt x="325" y="71"/>
                      <a:pt x="325" y="71"/>
                      <a:pt x="324" y="71"/>
                    </a:cubicBezTo>
                    <a:cubicBezTo>
                      <a:pt x="324" y="71"/>
                      <a:pt x="325" y="71"/>
                      <a:pt x="325" y="71"/>
                    </a:cubicBezTo>
                    <a:cubicBezTo>
                      <a:pt x="326" y="71"/>
                      <a:pt x="326" y="72"/>
                      <a:pt x="327" y="71"/>
                    </a:cubicBezTo>
                    <a:cubicBezTo>
                      <a:pt x="328" y="71"/>
                      <a:pt x="329" y="71"/>
                      <a:pt x="330" y="71"/>
                    </a:cubicBezTo>
                    <a:cubicBezTo>
                      <a:pt x="331" y="71"/>
                      <a:pt x="332" y="71"/>
                      <a:pt x="333" y="70"/>
                    </a:cubicBezTo>
                    <a:cubicBezTo>
                      <a:pt x="333" y="70"/>
                      <a:pt x="336" y="70"/>
                      <a:pt x="334" y="70"/>
                    </a:cubicBezTo>
                    <a:cubicBezTo>
                      <a:pt x="334" y="69"/>
                      <a:pt x="333" y="69"/>
                      <a:pt x="333" y="69"/>
                    </a:cubicBezTo>
                    <a:cubicBezTo>
                      <a:pt x="332" y="69"/>
                      <a:pt x="332" y="69"/>
                      <a:pt x="332" y="69"/>
                    </a:cubicBezTo>
                    <a:cubicBezTo>
                      <a:pt x="332" y="69"/>
                      <a:pt x="330" y="69"/>
                      <a:pt x="330" y="69"/>
                    </a:cubicBezTo>
                    <a:cubicBezTo>
                      <a:pt x="330" y="69"/>
                      <a:pt x="330" y="69"/>
                      <a:pt x="330" y="69"/>
                    </a:cubicBezTo>
                    <a:cubicBezTo>
                      <a:pt x="330" y="69"/>
                      <a:pt x="330" y="68"/>
                      <a:pt x="330" y="68"/>
                    </a:cubicBezTo>
                    <a:cubicBezTo>
                      <a:pt x="330" y="68"/>
                      <a:pt x="330" y="68"/>
                      <a:pt x="331" y="68"/>
                    </a:cubicBezTo>
                    <a:cubicBezTo>
                      <a:pt x="330" y="67"/>
                      <a:pt x="328" y="67"/>
                      <a:pt x="327" y="67"/>
                    </a:cubicBezTo>
                    <a:cubicBezTo>
                      <a:pt x="327" y="67"/>
                      <a:pt x="326" y="67"/>
                      <a:pt x="325" y="67"/>
                    </a:cubicBezTo>
                    <a:cubicBezTo>
                      <a:pt x="324" y="68"/>
                      <a:pt x="323" y="68"/>
                      <a:pt x="322" y="68"/>
                    </a:cubicBezTo>
                    <a:cubicBezTo>
                      <a:pt x="322" y="68"/>
                      <a:pt x="324" y="69"/>
                      <a:pt x="324" y="70"/>
                    </a:cubicBezTo>
                    <a:cubicBezTo>
                      <a:pt x="324" y="70"/>
                      <a:pt x="323" y="71"/>
                      <a:pt x="324" y="71"/>
                    </a:cubicBezTo>
                    <a:close/>
                    <a:moveTo>
                      <a:pt x="1134" y="339"/>
                    </a:moveTo>
                    <a:cubicBezTo>
                      <a:pt x="1134" y="339"/>
                      <a:pt x="1133" y="340"/>
                      <a:pt x="1133" y="340"/>
                    </a:cubicBezTo>
                    <a:cubicBezTo>
                      <a:pt x="1133" y="340"/>
                      <a:pt x="1133" y="340"/>
                      <a:pt x="1133" y="341"/>
                    </a:cubicBezTo>
                    <a:cubicBezTo>
                      <a:pt x="1133" y="341"/>
                      <a:pt x="1132" y="341"/>
                      <a:pt x="1132" y="341"/>
                    </a:cubicBezTo>
                    <a:cubicBezTo>
                      <a:pt x="1131" y="342"/>
                      <a:pt x="1132" y="342"/>
                      <a:pt x="1131" y="343"/>
                    </a:cubicBezTo>
                    <a:cubicBezTo>
                      <a:pt x="1131" y="343"/>
                      <a:pt x="1131" y="343"/>
                      <a:pt x="1130" y="343"/>
                    </a:cubicBezTo>
                    <a:cubicBezTo>
                      <a:pt x="1130" y="344"/>
                      <a:pt x="1131" y="346"/>
                      <a:pt x="1130" y="346"/>
                    </a:cubicBezTo>
                    <a:cubicBezTo>
                      <a:pt x="1131" y="346"/>
                      <a:pt x="1132" y="346"/>
                      <a:pt x="1131" y="346"/>
                    </a:cubicBezTo>
                    <a:cubicBezTo>
                      <a:pt x="1132" y="346"/>
                      <a:pt x="1132" y="345"/>
                      <a:pt x="1132" y="345"/>
                    </a:cubicBezTo>
                    <a:cubicBezTo>
                      <a:pt x="1133" y="345"/>
                      <a:pt x="1133" y="343"/>
                      <a:pt x="1133" y="344"/>
                    </a:cubicBezTo>
                    <a:cubicBezTo>
                      <a:pt x="1134" y="344"/>
                      <a:pt x="1134" y="342"/>
                      <a:pt x="1134" y="342"/>
                    </a:cubicBezTo>
                    <a:cubicBezTo>
                      <a:pt x="1134" y="341"/>
                      <a:pt x="1135" y="340"/>
                      <a:pt x="1135" y="340"/>
                    </a:cubicBezTo>
                    <a:cubicBezTo>
                      <a:pt x="1135" y="340"/>
                      <a:pt x="1134" y="339"/>
                      <a:pt x="1134" y="339"/>
                    </a:cubicBezTo>
                    <a:close/>
                    <a:moveTo>
                      <a:pt x="234" y="8"/>
                    </a:moveTo>
                    <a:cubicBezTo>
                      <a:pt x="234" y="8"/>
                      <a:pt x="237" y="8"/>
                      <a:pt x="237" y="8"/>
                    </a:cubicBezTo>
                    <a:cubicBezTo>
                      <a:pt x="239" y="9"/>
                      <a:pt x="240" y="9"/>
                      <a:pt x="242" y="8"/>
                    </a:cubicBezTo>
                    <a:cubicBezTo>
                      <a:pt x="245" y="8"/>
                      <a:pt x="248" y="8"/>
                      <a:pt x="251" y="7"/>
                    </a:cubicBezTo>
                    <a:cubicBezTo>
                      <a:pt x="251" y="7"/>
                      <a:pt x="250" y="6"/>
                      <a:pt x="250" y="6"/>
                    </a:cubicBezTo>
                    <a:cubicBezTo>
                      <a:pt x="250" y="6"/>
                      <a:pt x="250" y="6"/>
                      <a:pt x="250" y="6"/>
                    </a:cubicBezTo>
                    <a:cubicBezTo>
                      <a:pt x="250" y="6"/>
                      <a:pt x="246" y="5"/>
                      <a:pt x="246" y="5"/>
                    </a:cubicBezTo>
                    <a:cubicBezTo>
                      <a:pt x="245" y="5"/>
                      <a:pt x="244" y="5"/>
                      <a:pt x="243" y="5"/>
                    </a:cubicBezTo>
                    <a:cubicBezTo>
                      <a:pt x="242" y="5"/>
                      <a:pt x="242" y="6"/>
                      <a:pt x="242" y="6"/>
                    </a:cubicBezTo>
                    <a:cubicBezTo>
                      <a:pt x="243" y="6"/>
                      <a:pt x="243" y="6"/>
                      <a:pt x="242" y="6"/>
                    </a:cubicBezTo>
                    <a:cubicBezTo>
                      <a:pt x="242" y="6"/>
                      <a:pt x="242" y="6"/>
                      <a:pt x="242" y="7"/>
                    </a:cubicBezTo>
                    <a:cubicBezTo>
                      <a:pt x="241" y="7"/>
                      <a:pt x="240" y="6"/>
                      <a:pt x="239" y="6"/>
                    </a:cubicBezTo>
                    <a:cubicBezTo>
                      <a:pt x="238" y="6"/>
                      <a:pt x="237" y="7"/>
                      <a:pt x="236" y="7"/>
                    </a:cubicBezTo>
                    <a:cubicBezTo>
                      <a:pt x="235" y="7"/>
                      <a:pt x="234" y="7"/>
                      <a:pt x="234" y="8"/>
                    </a:cubicBezTo>
                    <a:close/>
                    <a:moveTo>
                      <a:pt x="411" y="14"/>
                    </a:moveTo>
                    <a:cubicBezTo>
                      <a:pt x="411" y="14"/>
                      <a:pt x="411" y="14"/>
                      <a:pt x="411" y="14"/>
                    </a:cubicBezTo>
                    <a:cubicBezTo>
                      <a:pt x="411" y="14"/>
                      <a:pt x="412" y="14"/>
                      <a:pt x="412" y="14"/>
                    </a:cubicBezTo>
                    <a:cubicBezTo>
                      <a:pt x="412" y="14"/>
                      <a:pt x="411" y="15"/>
                      <a:pt x="412" y="15"/>
                    </a:cubicBezTo>
                    <a:cubicBezTo>
                      <a:pt x="413" y="15"/>
                      <a:pt x="414" y="15"/>
                      <a:pt x="415" y="15"/>
                    </a:cubicBezTo>
                    <a:cubicBezTo>
                      <a:pt x="416" y="15"/>
                      <a:pt x="419" y="15"/>
                      <a:pt x="420" y="16"/>
                    </a:cubicBezTo>
                    <a:cubicBezTo>
                      <a:pt x="420" y="16"/>
                      <a:pt x="419" y="16"/>
                      <a:pt x="418" y="16"/>
                    </a:cubicBezTo>
                    <a:cubicBezTo>
                      <a:pt x="419" y="17"/>
                      <a:pt x="421" y="16"/>
                      <a:pt x="422" y="16"/>
                    </a:cubicBezTo>
                    <a:cubicBezTo>
                      <a:pt x="423" y="16"/>
                      <a:pt x="425" y="16"/>
                      <a:pt x="426" y="15"/>
                    </a:cubicBezTo>
                    <a:cubicBezTo>
                      <a:pt x="426" y="15"/>
                      <a:pt x="428" y="15"/>
                      <a:pt x="428" y="14"/>
                    </a:cubicBezTo>
                    <a:cubicBezTo>
                      <a:pt x="426" y="14"/>
                      <a:pt x="424" y="14"/>
                      <a:pt x="423" y="14"/>
                    </a:cubicBezTo>
                    <a:cubicBezTo>
                      <a:pt x="420" y="13"/>
                      <a:pt x="417" y="13"/>
                      <a:pt x="415" y="13"/>
                    </a:cubicBezTo>
                    <a:cubicBezTo>
                      <a:pt x="414" y="13"/>
                      <a:pt x="413" y="13"/>
                      <a:pt x="411" y="13"/>
                    </a:cubicBezTo>
                    <a:cubicBezTo>
                      <a:pt x="411" y="13"/>
                      <a:pt x="410" y="13"/>
                      <a:pt x="409" y="13"/>
                    </a:cubicBezTo>
                    <a:cubicBezTo>
                      <a:pt x="409" y="13"/>
                      <a:pt x="411" y="13"/>
                      <a:pt x="411" y="14"/>
                    </a:cubicBezTo>
                    <a:close/>
                    <a:moveTo>
                      <a:pt x="332" y="8"/>
                    </a:moveTo>
                    <a:cubicBezTo>
                      <a:pt x="333" y="8"/>
                      <a:pt x="334" y="8"/>
                      <a:pt x="335" y="8"/>
                    </a:cubicBezTo>
                    <a:cubicBezTo>
                      <a:pt x="336" y="8"/>
                      <a:pt x="337" y="8"/>
                      <a:pt x="337" y="8"/>
                    </a:cubicBezTo>
                    <a:cubicBezTo>
                      <a:pt x="338" y="8"/>
                      <a:pt x="339" y="8"/>
                      <a:pt x="339" y="7"/>
                    </a:cubicBezTo>
                    <a:cubicBezTo>
                      <a:pt x="340" y="7"/>
                      <a:pt x="340" y="7"/>
                      <a:pt x="339" y="7"/>
                    </a:cubicBezTo>
                    <a:cubicBezTo>
                      <a:pt x="339" y="6"/>
                      <a:pt x="337" y="7"/>
                      <a:pt x="337" y="7"/>
                    </a:cubicBezTo>
                    <a:cubicBezTo>
                      <a:pt x="335" y="7"/>
                      <a:pt x="334" y="7"/>
                      <a:pt x="332" y="7"/>
                    </a:cubicBezTo>
                    <a:cubicBezTo>
                      <a:pt x="332" y="7"/>
                      <a:pt x="331" y="7"/>
                      <a:pt x="332" y="8"/>
                    </a:cubicBezTo>
                    <a:close/>
                    <a:moveTo>
                      <a:pt x="593" y="59"/>
                    </a:moveTo>
                    <a:cubicBezTo>
                      <a:pt x="593" y="59"/>
                      <a:pt x="594" y="60"/>
                      <a:pt x="593" y="60"/>
                    </a:cubicBezTo>
                    <a:cubicBezTo>
                      <a:pt x="593" y="60"/>
                      <a:pt x="591" y="59"/>
                      <a:pt x="591" y="60"/>
                    </a:cubicBezTo>
                    <a:cubicBezTo>
                      <a:pt x="591" y="61"/>
                      <a:pt x="593" y="61"/>
                      <a:pt x="594" y="61"/>
                    </a:cubicBezTo>
                    <a:cubicBezTo>
                      <a:pt x="595" y="61"/>
                      <a:pt x="597" y="62"/>
                      <a:pt x="598" y="62"/>
                    </a:cubicBezTo>
                    <a:cubicBezTo>
                      <a:pt x="599" y="62"/>
                      <a:pt x="601" y="62"/>
                      <a:pt x="602" y="62"/>
                    </a:cubicBezTo>
                    <a:cubicBezTo>
                      <a:pt x="602" y="62"/>
                      <a:pt x="602" y="61"/>
                      <a:pt x="602" y="61"/>
                    </a:cubicBezTo>
                    <a:cubicBezTo>
                      <a:pt x="603" y="61"/>
                      <a:pt x="603" y="61"/>
                      <a:pt x="603" y="61"/>
                    </a:cubicBezTo>
                    <a:cubicBezTo>
                      <a:pt x="603" y="61"/>
                      <a:pt x="603" y="60"/>
                      <a:pt x="603" y="59"/>
                    </a:cubicBezTo>
                    <a:cubicBezTo>
                      <a:pt x="602" y="59"/>
                      <a:pt x="601" y="59"/>
                      <a:pt x="600" y="59"/>
                    </a:cubicBezTo>
                    <a:cubicBezTo>
                      <a:pt x="598" y="59"/>
                      <a:pt x="597" y="59"/>
                      <a:pt x="596" y="58"/>
                    </a:cubicBezTo>
                    <a:cubicBezTo>
                      <a:pt x="595" y="58"/>
                      <a:pt x="592" y="58"/>
                      <a:pt x="593" y="59"/>
                    </a:cubicBezTo>
                    <a:close/>
                    <a:moveTo>
                      <a:pt x="201" y="6"/>
                    </a:moveTo>
                    <a:cubicBezTo>
                      <a:pt x="200" y="6"/>
                      <a:pt x="198" y="6"/>
                      <a:pt x="197" y="6"/>
                    </a:cubicBezTo>
                    <a:cubicBezTo>
                      <a:pt x="197" y="6"/>
                      <a:pt x="195" y="5"/>
                      <a:pt x="194" y="6"/>
                    </a:cubicBezTo>
                    <a:cubicBezTo>
                      <a:pt x="195" y="6"/>
                      <a:pt x="197" y="6"/>
                      <a:pt x="198" y="6"/>
                    </a:cubicBezTo>
                    <a:cubicBezTo>
                      <a:pt x="199" y="6"/>
                      <a:pt x="200" y="7"/>
                      <a:pt x="201" y="7"/>
                    </a:cubicBezTo>
                    <a:cubicBezTo>
                      <a:pt x="202" y="7"/>
                      <a:pt x="202" y="7"/>
                      <a:pt x="202" y="7"/>
                    </a:cubicBezTo>
                    <a:cubicBezTo>
                      <a:pt x="202" y="7"/>
                      <a:pt x="203" y="7"/>
                      <a:pt x="203" y="7"/>
                    </a:cubicBezTo>
                    <a:cubicBezTo>
                      <a:pt x="203" y="7"/>
                      <a:pt x="204" y="7"/>
                      <a:pt x="205" y="7"/>
                    </a:cubicBezTo>
                    <a:cubicBezTo>
                      <a:pt x="206" y="7"/>
                      <a:pt x="207" y="7"/>
                      <a:pt x="208" y="7"/>
                    </a:cubicBezTo>
                    <a:cubicBezTo>
                      <a:pt x="207" y="6"/>
                      <a:pt x="205" y="7"/>
                      <a:pt x="204" y="6"/>
                    </a:cubicBezTo>
                    <a:cubicBezTo>
                      <a:pt x="203" y="6"/>
                      <a:pt x="202" y="6"/>
                      <a:pt x="201" y="6"/>
                    </a:cubicBezTo>
                    <a:close/>
                    <a:moveTo>
                      <a:pt x="202" y="1"/>
                    </a:moveTo>
                    <a:cubicBezTo>
                      <a:pt x="202" y="2"/>
                      <a:pt x="203" y="1"/>
                      <a:pt x="203" y="1"/>
                    </a:cubicBezTo>
                    <a:cubicBezTo>
                      <a:pt x="205" y="1"/>
                      <a:pt x="206" y="1"/>
                      <a:pt x="207" y="1"/>
                    </a:cubicBezTo>
                    <a:cubicBezTo>
                      <a:pt x="208" y="1"/>
                      <a:pt x="210" y="1"/>
                      <a:pt x="211" y="1"/>
                    </a:cubicBezTo>
                    <a:cubicBezTo>
                      <a:pt x="210" y="1"/>
                      <a:pt x="210" y="1"/>
                      <a:pt x="211" y="1"/>
                    </a:cubicBezTo>
                    <a:cubicBezTo>
                      <a:pt x="210" y="0"/>
                      <a:pt x="208" y="0"/>
                      <a:pt x="207" y="0"/>
                    </a:cubicBezTo>
                    <a:cubicBezTo>
                      <a:pt x="205" y="0"/>
                      <a:pt x="204" y="0"/>
                      <a:pt x="202" y="1"/>
                    </a:cubicBezTo>
                    <a:cubicBezTo>
                      <a:pt x="202" y="1"/>
                      <a:pt x="203" y="1"/>
                      <a:pt x="203" y="1"/>
                    </a:cubicBezTo>
                    <a:cubicBezTo>
                      <a:pt x="203" y="1"/>
                      <a:pt x="202" y="1"/>
                      <a:pt x="202" y="1"/>
                    </a:cubicBezTo>
                    <a:close/>
                    <a:moveTo>
                      <a:pt x="798" y="85"/>
                    </a:moveTo>
                    <a:cubicBezTo>
                      <a:pt x="796" y="84"/>
                      <a:pt x="795" y="84"/>
                      <a:pt x="794" y="84"/>
                    </a:cubicBezTo>
                    <a:cubicBezTo>
                      <a:pt x="793" y="84"/>
                      <a:pt x="792" y="84"/>
                      <a:pt x="791" y="85"/>
                    </a:cubicBezTo>
                    <a:cubicBezTo>
                      <a:pt x="792" y="85"/>
                      <a:pt x="792" y="85"/>
                      <a:pt x="793" y="85"/>
                    </a:cubicBezTo>
                    <a:cubicBezTo>
                      <a:pt x="793" y="85"/>
                      <a:pt x="794" y="86"/>
                      <a:pt x="795" y="86"/>
                    </a:cubicBezTo>
                    <a:cubicBezTo>
                      <a:pt x="795" y="85"/>
                      <a:pt x="794" y="85"/>
                      <a:pt x="793" y="85"/>
                    </a:cubicBezTo>
                    <a:cubicBezTo>
                      <a:pt x="794" y="85"/>
                      <a:pt x="795" y="85"/>
                      <a:pt x="796" y="86"/>
                    </a:cubicBezTo>
                    <a:cubicBezTo>
                      <a:pt x="797" y="86"/>
                      <a:pt x="798" y="86"/>
                      <a:pt x="798" y="85"/>
                    </a:cubicBezTo>
                    <a:close/>
                    <a:moveTo>
                      <a:pt x="206" y="10"/>
                    </a:moveTo>
                    <a:cubicBezTo>
                      <a:pt x="205" y="10"/>
                      <a:pt x="204" y="10"/>
                      <a:pt x="202" y="10"/>
                    </a:cubicBezTo>
                    <a:cubicBezTo>
                      <a:pt x="203" y="10"/>
                      <a:pt x="205" y="11"/>
                      <a:pt x="204" y="11"/>
                    </a:cubicBezTo>
                    <a:cubicBezTo>
                      <a:pt x="205" y="11"/>
                      <a:pt x="205" y="12"/>
                      <a:pt x="206" y="12"/>
                    </a:cubicBezTo>
                    <a:cubicBezTo>
                      <a:pt x="207" y="13"/>
                      <a:pt x="208" y="13"/>
                      <a:pt x="208" y="13"/>
                    </a:cubicBezTo>
                    <a:cubicBezTo>
                      <a:pt x="209" y="13"/>
                      <a:pt x="210" y="13"/>
                      <a:pt x="211" y="13"/>
                    </a:cubicBezTo>
                    <a:cubicBezTo>
                      <a:pt x="210" y="13"/>
                      <a:pt x="210" y="13"/>
                      <a:pt x="210" y="12"/>
                    </a:cubicBezTo>
                    <a:cubicBezTo>
                      <a:pt x="210" y="12"/>
                      <a:pt x="211" y="12"/>
                      <a:pt x="212" y="12"/>
                    </a:cubicBezTo>
                    <a:cubicBezTo>
                      <a:pt x="212" y="12"/>
                      <a:pt x="213" y="13"/>
                      <a:pt x="213" y="12"/>
                    </a:cubicBezTo>
                    <a:cubicBezTo>
                      <a:pt x="212" y="11"/>
                      <a:pt x="211" y="12"/>
                      <a:pt x="210" y="12"/>
                    </a:cubicBezTo>
                    <a:cubicBezTo>
                      <a:pt x="211" y="11"/>
                      <a:pt x="212" y="11"/>
                      <a:pt x="213" y="11"/>
                    </a:cubicBezTo>
                    <a:cubicBezTo>
                      <a:pt x="214" y="11"/>
                      <a:pt x="216" y="12"/>
                      <a:pt x="217" y="11"/>
                    </a:cubicBezTo>
                    <a:cubicBezTo>
                      <a:pt x="216" y="11"/>
                      <a:pt x="214" y="11"/>
                      <a:pt x="213" y="10"/>
                    </a:cubicBezTo>
                    <a:cubicBezTo>
                      <a:pt x="212" y="10"/>
                      <a:pt x="211" y="10"/>
                      <a:pt x="210" y="10"/>
                    </a:cubicBezTo>
                    <a:cubicBezTo>
                      <a:pt x="208" y="10"/>
                      <a:pt x="207" y="10"/>
                      <a:pt x="206" y="10"/>
                    </a:cubicBezTo>
                    <a:close/>
                    <a:moveTo>
                      <a:pt x="212" y="86"/>
                    </a:moveTo>
                    <a:cubicBezTo>
                      <a:pt x="212" y="86"/>
                      <a:pt x="211" y="86"/>
                      <a:pt x="211" y="87"/>
                    </a:cubicBezTo>
                    <a:cubicBezTo>
                      <a:pt x="211" y="87"/>
                      <a:pt x="213" y="87"/>
                      <a:pt x="213" y="87"/>
                    </a:cubicBezTo>
                    <a:cubicBezTo>
                      <a:pt x="214" y="87"/>
                      <a:pt x="215" y="88"/>
                      <a:pt x="216" y="88"/>
                    </a:cubicBezTo>
                    <a:cubicBezTo>
                      <a:pt x="216" y="89"/>
                      <a:pt x="216" y="89"/>
                      <a:pt x="217" y="89"/>
                    </a:cubicBezTo>
                    <a:cubicBezTo>
                      <a:pt x="217" y="89"/>
                      <a:pt x="218" y="89"/>
                      <a:pt x="218" y="90"/>
                    </a:cubicBezTo>
                    <a:cubicBezTo>
                      <a:pt x="218" y="90"/>
                      <a:pt x="218" y="90"/>
                      <a:pt x="219" y="90"/>
                    </a:cubicBezTo>
                    <a:cubicBezTo>
                      <a:pt x="219" y="90"/>
                      <a:pt x="219" y="90"/>
                      <a:pt x="219" y="90"/>
                    </a:cubicBezTo>
                    <a:cubicBezTo>
                      <a:pt x="218" y="89"/>
                      <a:pt x="218" y="90"/>
                      <a:pt x="218" y="89"/>
                    </a:cubicBezTo>
                    <a:cubicBezTo>
                      <a:pt x="218" y="89"/>
                      <a:pt x="218" y="89"/>
                      <a:pt x="218" y="89"/>
                    </a:cubicBezTo>
                    <a:cubicBezTo>
                      <a:pt x="218" y="89"/>
                      <a:pt x="218" y="89"/>
                      <a:pt x="219" y="89"/>
                    </a:cubicBezTo>
                    <a:cubicBezTo>
                      <a:pt x="219" y="89"/>
                      <a:pt x="218" y="88"/>
                      <a:pt x="218" y="88"/>
                    </a:cubicBezTo>
                    <a:cubicBezTo>
                      <a:pt x="219" y="88"/>
                      <a:pt x="219" y="88"/>
                      <a:pt x="219" y="88"/>
                    </a:cubicBezTo>
                    <a:cubicBezTo>
                      <a:pt x="219" y="87"/>
                      <a:pt x="218" y="87"/>
                      <a:pt x="218" y="87"/>
                    </a:cubicBezTo>
                    <a:cubicBezTo>
                      <a:pt x="218" y="87"/>
                      <a:pt x="218" y="87"/>
                      <a:pt x="218" y="87"/>
                    </a:cubicBezTo>
                    <a:cubicBezTo>
                      <a:pt x="218" y="88"/>
                      <a:pt x="216" y="87"/>
                      <a:pt x="215" y="87"/>
                    </a:cubicBezTo>
                    <a:cubicBezTo>
                      <a:pt x="215" y="87"/>
                      <a:pt x="216" y="87"/>
                      <a:pt x="216" y="87"/>
                    </a:cubicBezTo>
                    <a:cubicBezTo>
                      <a:pt x="215" y="86"/>
                      <a:pt x="215" y="86"/>
                      <a:pt x="215" y="86"/>
                    </a:cubicBezTo>
                    <a:cubicBezTo>
                      <a:pt x="216" y="86"/>
                      <a:pt x="216" y="87"/>
                      <a:pt x="217" y="87"/>
                    </a:cubicBezTo>
                    <a:cubicBezTo>
                      <a:pt x="217" y="87"/>
                      <a:pt x="216" y="86"/>
                      <a:pt x="216" y="86"/>
                    </a:cubicBezTo>
                    <a:cubicBezTo>
                      <a:pt x="215" y="86"/>
                      <a:pt x="214" y="86"/>
                      <a:pt x="215" y="86"/>
                    </a:cubicBezTo>
                    <a:cubicBezTo>
                      <a:pt x="214" y="86"/>
                      <a:pt x="213" y="86"/>
                      <a:pt x="212" y="86"/>
                    </a:cubicBezTo>
                    <a:close/>
                    <a:moveTo>
                      <a:pt x="415" y="56"/>
                    </a:moveTo>
                    <a:cubicBezTo>
                      <a:pt x="415" y="56"/>
                      <a:pt x="414" y="56"/>
                      <a:pt x="414" y="56"/>
                    </a:cubicBezTo>
                    <a:cubicBezTo>
                      <a:pt x="415" y="57"/>
                      <a:pt x="416" y="56"/>
                      <a:pt x="416" y="57"/>
                    </a:cubicBezTo>
                    <a:cubicBezTo>
                      <a:pt x="417" y="57"/>
                      <a:pt x="418" y="57"/>
                      <a:pt x="418" y="57"/>
                    </a:cubicBezTo>
                    <a:cubicBezTo>
                      <a:pt x="417" y="56"/>
                      <a:pt x="416" y="56"/>
                      <a:pt x="415" y="56"/>
                    </a:cubicBezTo>
                    <a:close/>
                    <a:moveTo>
                      <a:pt x="1148" y="293"/>
                    </a:moveTo>
                    <a:cubicBezTo>
                      <a:pt x="1148" y="293"/>
                      <a:pt x="1146" y="290"/>
                      <a:pt x="1145" y="291"/>
                    </a:cubicBezTo>
                    <a:cubicBezTo>
                      <a:pt x="1144" y="292"/>
                      <a:pt x="1146" y="294"/>
                      <a:pt x="1145" y="295"/>
                    </a:cubicBezTo>
                    <a:cubicBezTo>
                      <a:pt x="1145" y="295"/>
                      <a:pt x="1144" y="295"/>
                      <a:pt x="1144" y="295"/>
                    </a:cubicBezTo>
                    <a:cubicBezTo>
                      <a:pt x="1143" y="295"/>
                      <a:pt x="1144" y="296"/>
                      <a:pt x="1143" y="296"/>
                    </a:cubicBezTo>
                    <a:cubicBezTo>
                      <a:pt x="1141" y="296"/>
                      <a:pt x="1143" y="297"/>
                      <a:pt x="1144" y="297"/>
                    </a:cubicBezTo>
                    <a:cubicBezTo>
                      <a:pt x="1144" y="298"/>
                      <a:pt x="1144" y="298"/>
                      <a:pt x="1145" y="298"/>
                    </a:cubicBezTo>
                    <a:cubicBezTo>
                      <a:pt x="1146" y="298"/>
                      <a:pt x="1146" y="299"/>
                      <a:pt x="1146" y="299"/>
                    </a:cubicBezTo>
                    <a:cubicBezTo>
                      <a:pt x="1147" y="299"/>
                      <a:pt x="1146" y="297"/>
                      <a:pt x="1147" y="297"/>
                    </a:cubicBezTo>
                    <a:cubicBezTo>
                      <a:pt x="1147" y="297"/>
                      <a:pt x="1148" y="297"/>
                      <a:pt x="1148" y="297"/>
                    </a:cubicBezTo>
                    <a:cubicBezTo>
                      <a:pt x="1148" y="297"/>
                      <a:pt x="1148" y="297"/>
                      <a:pt x="1148" y="296"/>
                    </a:cubicBezTo>
                    <a:cubicBezTo>
                      <a:pt x="1148" y="296"/>
                      <a:pt x="1148" y="296"/>
                      <a:pt x="1148" y="296"/>
                    </a:cubicBezTo>
                    <a:cubicBezTo>
                      <a:pt x="1148" y="296"/>
                      <a:pt x="1148" y="295"/>
                      <a:pt x="1148" y="294"/>
                    </a:cubicBezTo>
                    <a:cubicBezTo>
                      <a:pt x="1148" y="294"/>
                      <a:pt x="1148" y="294"/>
                      <a:pt x="1148" y="293"/>
                    </a:cubicBezTo>
                    <a:close/>
                    <a:moveTo>
                      <a:pt x="1145" y="310"/>
                    </a:moveTo>
                    <a:cubicBezTo>
                      <a:pt x="1145" y="311"/>
                      <a:pt x="1145" y="311"/>
                      <a:pt x="1145" y="311"/>
                    </a:cubicBezTo>
                    <a:cubicBezTo>
                      <a:pt x="1145" y="312"/>
                      <a:pt x="1144" y="312"/>
                      <a:pt x="1145" y="312"/>
                    </a:cubicBezTo>
                    <a:cubicBezTo>
                      <a:pt x="1146" y="313"/>
                      <a:pt x="1146" y="312"/>
                      <a:pt x="1146" y="311"/>
                    </a:cubicBezTo>
                    <a:cubicBezTo>
                      <a:pt x="1146" y="311"/>
                      <a:pt x="1146" y="310"/>
                      <a:pt x="1145" y="310"/>
                    </a:cubicBezTo>
                    <a:close/>
                    <a:moveTo>
                      <a:pt x="1189" y="246"/>
                    </a:moveTo>
                    <a:cubicBezTo>
                      <a:pt x="1188" y="246"/>
                      <a:pt x="1187" y="245"/>
                      <a:pt x="1186" y="245"/>
                    </a:cubicBezTo>
                    <a:cubicBezTo>
                      <a:pt x="1186" y="244"/>
                      <a:pt x="1185" y="244"/>
                      <a:pt x="1185" y="244"/>
                    </a:cubicBezTo>
                    <a:cubicBezTo>
                      <a:pt x="1185" y="243"/>
                      <a:pt x="1185" y="243"/>
                      <a:pt x="1185" y="243"/>
                    </a:cubicBezTo>
                    <a:cubicBezTo>
                      <a:pt x="1184" y="243"/>
                      <a:pt x="1183" y="242"/>
                      <a:pt x="1182" y="243"/>
                    </a:cubicBezTo>
                    <a:cubicBezTo>
                      <a:pt x="1182" y="243"/>
                      <a:pt x="1181" y="243"/>
                      <a:pt x="1181" y="243"/>
                    </a:cubicBezTo>
                    <a:cubicBezTo>
                      <a:pt x="1181" y="244"/>
                      <a:pt x="1182" y="244"/>
                      <a:pt x="1183" y="244"/>
                    </a:cubicBezTo>
                    <a:cubicBezTo>
                      <a:pt x="1183" y="244"/>
                      <a:pt x="1184" y="244"/>
                      <a:pt x="1184" y="244"/>
                    </a:cubicBezTo>
                    <a:cubicBezTo>
                      <a:pt x="1185" y="245"/>
                      <a:pt x="1186" y="246"/>
                      <a:pt x="1187" y="246"/>
                    </a:cubicBezTo>
                    <a:cubicBezTo>
                      <a:pt x="1188" y="247"/>
                      <a:pt x="1190" y="248"/>
                      <a:pt x="1191" y="248"/>
                    </a:cubicBezTo>
                    <a:cubicBezTo>
                      <a:pt x="1192" y="248"/>
                      <a:pt x="1194" y="249"/>
                      <a:pt x="1195" y="250"/>
                    </a:cubicBezTo>
                    <a:cubicBezTo>
                      <a:pt x="1194" y="249"/>
                      <a:pt x="1193" y="248"/>
                      <a:pt x="1192" y="247"/>
                    </a:cubicBezTo>
                    <a:cubicBezTo>
                      <a:pt x="1191" y="247"/>
                      <a:pt x="1190" y="247"/>
                      <a:pt x="1189" y="246"/>
                    </a:cubicBezTo>
                    <a:close/>
                    <a:moveTo>
                      <a:pt x="1145" y="303"/>
                    </a:moveTo>
                    <a:cubicBezTo>
                      <a:pt x="1145" y="303"/>
                      <a:pt x="1144" y="303"/>
                      <a:pt x="1145" y="303"/>
                    </a:cubicBezTo>
                    <a:cubicBezTo>
                      <a:pt x="1145" y="304"/>
                      <a:pt x="1145" y="305"/>
                      <a:pt x="1145" y="305"/>
                    </a:cubicBezTo>
                    <a:cubicBezTo>
                      <a:pt x="1145" y="306"/>
                      <a:pt x="1146" y="306"/>
                      <a:pt x="1146" y="306"/>
                    </a:cubicBezTo>
                    <a:cubicBezTo>
                      <a:pt x="1146" y="307"/>
                      <a:pt x="1147" y="307"/>
                      <a:pt x="1147" y="306"/>
                    </a:cubicBezTo>
                    <a:cubicBezTo>
                      <a:pt x="1148" y="306"/>
                      <a:pt x="1146" y="305"/>
                      <a:pt x="1146" y="304"/>
                    </a:cubicBezTo>
                    <a:cubicBezTo>
                      <a:pt x="1146" y="303"/>
                      <a:pt x="1146" y="303"/>
                      <a:pt x="1145" y="303"/>
                    </a:cubicBezTo>
                    <a:close/>
                    <a:moveTo>
                      <a:pt x="1145" y="322"/>
                    </a:moveTo>
                    <a:cubicBezTo>
                      <a:pt x="1144" y="322"/>
                      <a:pt x="1145" y="323"/>
                      <a:pt x="1145" y="323"/>
                    </a:cubicBezTo>
                    <a:cubicBezTo>
                      <a:pt x="1145" y="324"/>
                      <a:pt x="1146" y="323"/>
                      <a:pt x="1145" y="322"/>
                    </a:cubicBezTo>
                    <a:close/>
                    <a:moveTo>
                      <a:pt x="1143" y="327"/>
                    </a:moveTo>
                    <a:cubicBezTo>
                      <a:pt x="1142" y="327"/>
                      <a:pt x="1143" y="327"/>
                      <a:pt x="1143" y="328"/>
                    </a:cubicBezTo>
                    <a:cubicBezTo>
                      <a:pt x="1143" y="328"/>
                      <a:pt x="1144" y="328"/>
                      <a:pt x="1144" y="328"/>
                    </a:cubicBezTo>
                    <a:cubicBezTo>
                      <a:pt x="1144" y="327"/>
                      <a:pt x="1143" y="327"/>
                      <a:pt x="1143" y="327"/>
                    </a:cubicBezTo>
                    <a:close/>
                    <a:moveTo>
                      <a:pt x="1143" y="329"/>
                    </a:moveTo>
                    <a:cubicBezTo>
                      <a:pt x="1143" y="329"/>
                      <a:pt x="1143" y="329"/>
                      <a:pt x="1143" y="330"/>
                    </a:cubicBezTo>
                    <a:cubicBezTo>
                      <a:pt x="1143" y="329"/>
                      <a:pt x="1142" y="329"/>
                      <a:pt x="1142" y="329"/>
                    </a:cubicBezTo>
                    <a:cubicBezTo>
                      <a:pt x="1142" y="330"/>
                      <a:pt x="1142" y="331"/>
                      <a:pt x="1142" y="331"/>
                    </a:cubicBezTo>
                    <a:cubicBezTo>
                      <a:pt x="1142" y="331"/>
                      <a:pt x="1142" y="332"/>
                      <a:pt x="1142" y="332"/>
                    </a:cubicBezTo>
                    <a:cubicBezTo>
                      <a:pt x="1141" y="333"/>
                      <a:pt x="1140" y="332"/>
                      <a:pt x="1141" y="333"/>
                    </a:cubicBezTo>
                    <a:cubicBezTo>
                      <a:pt x="1141" y="333"/>
                      <a:pt x="1141" y="333"/>
                      <a:pt x="1142" y="333"/>
                    </a:cubicBezTo>
                    <a:cubicBezTo>
                      <a:pt x="1142" y="333"/>
                      <a:pt x="1142" y="333"/>
                      <a:pt x="1142" y="332"/>
                    </a:cubicBezTo>
                    <a:cubicBezTo>
                      <a:pt x="1143" y="332"/>
                      <a:pt x="1143" y="332"/>
                      <a:pt x="1143" y="331"/>
                    </a:cubicBezTo>
                    <a:cubicBezTo>
                      <a:pt x="1143" y="331"/>
                      <a:pt x="1143" y="331"/>
                      <a:pt x="1143" y="331"/>
                    </a:cubicBezTo>
                    <a:cubicBezTo>
                      <a:pt x="1143" y="331"/>
                      <a:pt x="1143" y="330"/>
                      <a:pt x="1143" y="330"/>
                    </a:cubicBezTo>
                    <a:cubicBezTo>
                      <a:pt x="1143" y="330"/>
                      <a:pt x="1143" y="329"/>
                      <a:pt x="1143" y="329"/>
                    </a:cubicBezTo>
                    <a:close/>
                    <a:moveTo>
                      <a:pt x="1143" y="319"/>
                    </a:moveTo>
                    <a:cubicBezTo>
                      <a:pt x="1143" y="319"/>
                      <a:pt x="1144" y="320"/>
                      <a:pt x="1144" y="320"/>
                    </a:cubicBezTo>
                    <a:cubicBezTo>
                      <a:pt x="1144" y="320"/>
                      <a:pt x="1145" y="320"/>
                      <a:pt x="1145" y="320"/>
                    </a:cubicBezTo>
                    <a:cubicBezTo>
                      <a:pt x="1145" y="320"/>
                      <a:pt x="1143" y="318"/>
                      <a:pt x="1143" y="319"/>
                    </a:cubicBezTo>
                    <a:close/>
                    <a:moveTo>
                      <a:pt x="1120" y="365"/>
                    </a:moveTo>
                    <a:cubicBezTo>
                      <a:pt x="1120" y="365"/>
                      <a:pt x="1118" y="365"/>
                      <a:pt x="1118" y="366"/>
                    </a:cubicBezTo>
                    <a:cubicBezTo>
                      <a:pt x="1118" y="366"/>
                      <a:pt x="1119" y="367"/>
                      <a:pt x="1119" y="366"/>
                    </a:cubicBezTo>
                    <a:cubicBezTo>
                      <a:pt x="1120" y="366"/>
                      <a:pt x="1120" y="366"/>
                      <a:pt x="1121" y="366"/>
                    </a:cubicBezTo>
                    <a:cubicBezTo>
                      <a:pt x="1122" y="365"/>
                      <a:pt x="1121" y="365"/>
                      <a:pt x="1120" y="365"/>
                    </a:cubicBezTo>
                    <a:close/>
                    <a:moveTo>
                      <a:pt x="680" y="64"/>
                    </a:moveTo>
                    <a:cubicBezTo>
                      <a:pt x="681" y="64"/>
                      <a:pt x="682" y="64"/>
                      <a:pt x="682" y="64"/>
                    </a:cubicBezTo>
                    <a:cubicBezTo>
                      <a:pt x="683" y="64"/>
                      <a:pt x="681" y="64"/>
                      <a:pt x="681" y="64"/>
                    </a:cubicBezTo>
                    <a:cubicBezTo>
                      <a:pt x="681" y="64"/>
                      <a:pt x="681" y="63"/>
                      <a:pt x="681" y="63"/>
                    </a:cubicBezTo>
                    <a:cubicBezTo>
                      <a:pt x="681" y="63"/>
                      <a:pt x="681" y="63"/>
                      <a:pt x="680" y="64"/>
                    </a:cubicBezTo>
                    <a:cubicBezTo>
                      <a:pt x="680" y="64"/>
                      <a:pt x="680" y="64"/>
                      <a:pt x="681" y="64"/>
                    </a:cubicBezTo>
                    <a:cubicBezTo>
                      <a:pt x="680" y="64"/>
                      <a:pt x="680" y="64"/>
                      <a:pt x="680" y="64"/>
                    </a:cubicBezTo>
                    <a:close/>
                    <a:moveTo>
                      <a:pt x="1025" y="100"/>
                    </a:moveTo>
                    <a:cubicBezTo>
                      <a:pt x="1025" y="101"/>
                      <a:pt x="1026" y="101"/>
                      <a:pt x="1027" y="101"/>
                    </a:cubicBezTo>
                    <a:cubicBezTo>
                      <a:pt x="1027" y="101"/>
                      <a:pt x="1028" y="101"/>
                      <a:pt x="1028" y="101"/>
                    </a:cubicBezTo>
                    <a:cubicBezTo>
                      <a:pt x="1030" y="102"/>
                      <a:pt x="1031" y="102"/>
                      <a:pt x="1032" y="102"/>
                    </a:cubicBezTo>
                    <a:cubicBezTo>
                      <a:pt x="1033" y="102"/>
                      <a:pt x="1035" y="103"/>
                      <a:pt x="1036" y="103"/>
                    </a:cubicBezTo>
                    <a:cubicBezTo>
                      <a:pt x="1036" y="103"/>
                      <a:pt x="1038" y="103"/>
                      <a:pt x="1037" y="102"/>
                    </a:cubicBezTo>
                    <a:cubicBezTo>
                      <a:pt x="1037" y="102"/>
                      <a:pt x="1036" y="101"/>
                      <a:pt x="1036" y="101"/>
                    </a:cubicBezTo>
                    <a:cubicBezTo>
                      <a:pt x="1036" y="101"/>
                      <a:pt x="1036" y="101"/>
                      <a:pt x="1037" y="101"/>
                    </a:cubicBezTo>
                    <a:cubicBezTo>
                      <a:pt x="1035" y="99"/>
                      <a:pt x="1032" y="100"/>
                      <a:pt x="1031" y="99"/>
                    </a:cubicBezTo>
                    <a:cubicBezTo>
                      <a:pt x="1030" y="99"/>
                      <a:pt x="1028" y="99"/>
                      <a:pt x="1027" y="99"/>
                    </a:cubicBezTo>
                    <a:cubicBezTo>
                      <a:pt x="1027" y="99"/>
                      <a:pt x="1026" y="99"/>
                      <a:pt x="1026" y="99"/>
                    </a:cubicBezTo>
                    <a:cubicBezTo>
                      <a:pt x="1025" y="98"/>
                      <a:pt x="1025" y="99"/>
                      <a:pt x="1025" y="99"/>
                    </a:cubicBezTo>
                    <a:cubicBezTo>
                      <a:pt x="1025" y="99"/>
                      <a:pt x="1024" y="99"/>
                      <a:pt x="1024" y="99"/>
                    </a:cubicBezTo>
                    <a:cubicBezTo>
                      <a:pt x="1024" y="100"/>
                      <a:pt x="1024" y="100"/>
                      <a:pt x="1025" y="100"/>
                    </a:cubicBezTo>
                    <a:close/>
                    <a:moveTo>
                      <a:pt x="951" y="247"/>
                    </a:moveTo>
                    <a:cubicBezTo>
                      <a:pt x="951" y="247"/>
                      <a:pt x="952" y="248"/>
                      <a:pt x="952" y="247"/>
                    </a:cubicBezTo>
                    <a:cubicBezTo>
                      <a:pt x="952" y="247"/>
                      <a:pt x="952" y="247"/>
                      <a:pt x="952" y="246"/>
                    </a:cubicBezTo>
                    <a:cubicBezTo>
                      <a:pt x="951" y="246"/>
                      <a:pt x="952" y="246"/>
                      <a:pt x="952" y="246"/>
                    </a:cubicBezTo>
                    <a:cubicBezTo>
                      <a:pt x="952" y="245"/>
                      <a:pt x="951" y="245"/>
                      <a:pt x="951" y="245"/>
                    </a:cubicBezTo>
                    <a:cubicBezTo>
                      <a:pt x="950" y="245"/>
                      <a:pt x="950" y="246"/>
                      <a:pt x="949" y="246"/>
                    </a:cubicBezTo>
                    <a:cubicBezTo>
                      <a:pt x="949" y="247"/>
                      <a:pt x="949" y="247"/>
                      <a:pt x="950" y="248"/>
                    </a:cubicBezTo>
                    <a:cubicBezTo>
                      <a:pt x="950" y="247"/>
                      <a:pt x="950" y="247"/>
                      <a:pt x="950" y="247"/>
                    </a:cubicBezTo>
                    <a:cubicBezTo>
                      <a:pt x="950" y="247"/>
                      <a:pt x="950" y="247"/>
                      <a:pt x="951" y="247"/>
                    </a:cubicBezTo>
                    <a:close/>
                    <a:moveTo>
                      <a:pt x="478" y="41"/>
                    </a:moveTo>
                    <a:cubicBezTo>
                      <a:pt x="479" y="41"/>
                      <a:pt x="479" y="41"/>
                      <a:pt x="479" y="41"/>
                    </a:cubicBezTo>
                    <a:cubicBezTo>
                      <a:pt x="480" y="41"/>
                      <a:pt x="480" y="41"/>
                      <a:pt x="480" y="41"/>
                    </a:cubicBezTo>
                    <a:cubicBezTo>
                      <a:pt x="480" y="41"/>
                      <a:pt x="479" y="40"/>
                      <a:pt x="478" y="40"/>
                    </a:cubicBezTo>
                    <a:cubicBezTo>
                      <a:pt x="478" y="40"/>
                      <a:pt x="478" y="40"/>
                      <a:pt x="478" y="40"/>
                    </a:cubicBezTo>
                    <a:cubicBezTo>
                      <a:pt x="478" y="40"/>
                      <a:pt x="479" y="40"/>
                      <a:pt x="478" y="41"/>
                    </a:cubicBezTo>
                    <a:close/>
                    <a:moveTo>
                      <a:pt x="968" y="91"/>
                    </a:moveTo>
                    <a:cubicBezTo>
                      <a:pt x="968" y="92"/>
                      <a:pt x="970" y="92"/>
                      <a:pt x="970" y="92"/>
                    </a:cubicBezTo>
                    <a:cubicBezTo>
                      <a:pt x="969" y="92"/>
                      <a:pt x="969" y="91"/>
                      <a:pt x="968" y="91"/>
                    </a:cubicBezTo>
                    <a:close/>
                    <a:moveTo>
                      <a:pt x="977" y="93"/>
                    </a:moveTo>
                    <a:cubicBezTo>
                      <a:pt x="976" y="93"/>
                      <a:pt x="976" y="93"/>
                      <a:pt x="975" y="93"/>
                    </a:cubicBezTo>
                    <a:cubicBezTo>
                      <a:pt x="975" y="93"/>
                      <a:pt x="975" y="93"/>
                      <a:pt x="975" y="93"/>
                    </a:cubicBezTo>
                    <a:cubicBezTo>
                      <a:pt x="976" y="93"/>
                      <a:pt x="976" y="93"/>
                      <a:pt x="977" y="93"/>
                    </a:cubicBezTo>
                    <a:close/>
                    <a:moveTo>
                      <a:pt x="960" y="91"/>
                    </a:moveTo>
                    <a:cubicBezTo>
                      <a:pt x="961" y="91"/>
                      <a:pt x="962" y="91"/>
                      <a:pt x="963" y="91"/>
                    </a:cubicBezTo>
                    <a:cubicBezTo>
                      <a:pt x="962" y="91"/>
                      <a:pt x="960" y="90"/>
                      <a:pt x="959" y="90"/>
                    </a:cubicBezTo>
                    <a:cubicBezTo>
                      <a:pt x="960" y="90"/>
                      <a:pt x="960" y="90"/>
                      <a:pt x="960" y="91"/>
                    </a:cubicBezTo>
                    <a:cubicBezTo>
                      <a:pt x="960" y="91"/>
                      <a:pt x="960" y="91"/>
                      <a:pt x="960" y="91"/>
                    </a:cubicBezTo>
                    <a:close/>
                    <a:moveTo>
                      <a:pt x="1145" y="113"/>
                    </a:moveTo>
                    <a:cubicBezTo>
                      <a:pt x="1143" y="113"/>
                      <a:pt x="1141" y="112"/>
                      <a:pt x="1139" y="112"/>
                    </a:cubicBezTo>
                    <a:cubicBezTo>
                      <a:pt x="1141" y="113"/>
                      <a:pt x="1143" y="113"/>
                      <a:pt x="1145" y="113"/>
                    </a:cubicBezTo>
                    <a:close/>
                    <a:moveTo>
                      <a:pt x="1147" y="113"/>
                    </a:moveTo>
                    <a:cubicBezTo>
                      <a:pt x="1146" y="113"/>
                      <a:pt x="1146" y="113"/>
                      <a:pt x="1145" y="113"/>
                    </a:cubicBezTo>
                    <a:cubicBezTo>
                      <a:pt x="1145" y="113"/>
                      <a:pt x="1147" y="113"/>
                      <a:pt x="1147" y="113"/>
                    </a:cubicBezTo>
                    <a:cubicBezTo>
                      <a:pt x="1147" y="113"/>
                      <a:pt x="1147" y="113"/>
                      <a:pt x="1147" y="113"/>
                    </a:cubicBezTo>
                    <a:close/>
                    <a:moveTo>
                      <a:pt x="1020" y="368"/>
                    </a:moveTo>
                    <a:cubicBezTo>
                      <a:pt x="1020" y="368"/>
                      <a:pt x="1020" y="368"/>
                      <a:pt x="1020" y="368"/>
                    </a:cubicBezTo>
                    <a:cubicBezTo>
                      <a:pt x="1020" y="368"/>
                      <a:pt x="1020" y="368"/>
                      <a:pt x="1020" y="368"/>
                    </a:cubicBezTo>
                    <a:close/>
                    <a:moveTo>
                      <a:pt x="1145" y="234"/>
                    </a:moveTo>
                    <a:cubicBezTo>
                      <a:pt x="1145" y="234"/>
                      <a:pt x="1145" y="234"/>
                      <a:pt x="1145" y="234"/>
                    </a:cubicBezTo>
                    <a:cubicBezTo>
                      <a:pt x="1145" y="234"/>
                      <a:pt x="1145" y="234"/>
                      <a:pt x="1145" y="234"/>
                    </a:cubicBezTo>
                    <a:close/>
                    <a:moveTo>
                      <a:pt x="1118" y="203"/>
                    </a:moveTo>
                    <a:cubicBezTo>
                      <a:pt x="1118" y="203"/>
                      <a:pt x="1118" y="203"/>
                      <a:pt x="1118" y="203"/>
                    </a:cubicBezTo>
                    <a:cubicBezTo>
                      <a:pt x="1118" y="203"/>
                      <a:pt x="1118" y="203"/>
                      <a:pt x="1118" y="203"/>
                    </a:cubicBezTo>
                    <a:cubicBezTo>
                      <a:pt x="1118" y="203"/>
                      <a:pt x="1118" y="203"/>
                      <a:pt x="1118" y="203"/>
                    </a:cubicBezTo>
                    <a:close/>
                    <a:moveTo>
                      <a:pt x="1234" y="151"/>
                    </a:moveTo>
                    <a:cubicBezTo>
                      <a:pt x="1234" y="151"/>
                      <a:pt x="1233" y="151"/>
                      <a:pt x="1234" y="151"/>
                    </a:cubicBezTo>
                    <a:cubicBezTo>
                      <a:pt x="1234" y="151"/>
                      <a:pt x="1235" y="151"/>
                      <a:pt x="1235" y="151"/>
                    </a:cubicBezTo>
                    <a:cubicBezTo>
                      <a:pt x="1235" y="151"/>
                      <a:pt x="1235" y="151"/>
                      <a:pt x="1236" y="152"/>
                    </a:cubicBezTo>
                    <a:cubicBezTo>
                      <a:pt x="1236" y="152"/>
                      <a:pt x="1237" y="152"/>
                      <a:pt x="1237" y="152"/>
                    </a:cubicBezTo>
                    <a:cubicBezTo>
                      <a:pt x="1237" y="153"/>
                      <a:pt x="1236" y="153"/>
                      <a:pt x="1237" y="153"/>
                    </a:cubicBezTo>
                    <a:cubicBezTo>
                      <a:pt x="1236" y="153"/>
                      <a:pt x="1234" y="153"/>
                      <a:pt x="1233" y="152"/>
                    </a:cubicBezTo>
                    <a:cubicBezTo>
                      <a:pt x="1233" y="152"/>
                      <a:pt x="1232" y="152"/>
                      <a:pt x="1233" y="151"/>
                    </a:cubicBezTo>
                    <a:cubicBezTo>
                      <a:pt x="1232" y="150"/>
                      <a:pt x="1230" y="150"/>
                      <a:pt x="1229" y="150"/>
                    </a:cubicBezTo>
                    <a:cubicBezTo>
                      <a:pt x="1230" y="150"/>
                      <a:pt x="1231" y="150"/>
                      <a:pt x="1232" y="152"/>
                    </a:cubicBezTo>
                    <a:cubicBezTo>
                      <a:pt x="1232" y="153"/>
                      <a:pt x="1230" y="152"/>
                      <a:pt x="1230" y="152"/>
                    </a:cubicBezTo>
                    <a:cubicBezTo>
                      <a:pt x="1228" y="152"/>
                      <a:pt x="1227" y="151"/>
                      <a:pt x="1225" y="150"/>
                    </a:cubicBezTo>
                    <a:cubicBezTo>
                      <a:pt x="1225" y="150"/>
                      <a:pt x="1224" y="150"/>
                      <a:pt x="1223" y="150"/>
                    </a:cubicBezTo>
                    <a:cubicBezTo>
                      <a:pt x="1223" y="150"/>
                      <a:pt x="1222" y="149"/>
                      <a:pt x="1222" y="149"/>
                    </a:cubicBezTo>
                    <a:cubicBezTo>
                      <a:pt x="1222" y="149"/>
                      <a:pt x="1221" y="149"/>
                      <a:pt x="1220" y="149"/>
                    </a:cubicBezTo>
                    <a:cubicBezTo>
                      <a:pt x="1220" y="149"/>
                      <a:pt x="1219" y="149"/>
                      <a:pt x="1218" y="148"/>
                    </a:cubicBezTo>
                    <a:cubicBezTo>
                      <a:pt x="1217" y="148"/>
                      <a:pt x="1216" y="148"/>
                      <a:pt x="1216" y="148"/>
                    </a:cubicBezTo>
                    <a:cubicBezTo>
                      <a:pt x="1215" y="148"/>
                      <a:pt x="1214" y="147"/>
                      <a:pt x="1214" y="147"/>
                    </a:cubicBezTo>
                    <a:cubicBezTo>
                      <a:pt x="1214" y="147"/>
                      <a:pt x="1214" y="148"/>
                      <a:pt x="1215" y="148"/>
                    </a:cubicBezTo>
                    <a:cubicBezTo>
                      <a:pt x="1214" y="148"/>
                      <a:pt x="1213" y="148"/>
                      <a:pt x="1213" y="148"/>
                    </a:cubicBezTo>
                    <a:cubicBezTo>
                      <a:pt x="1212" y="148"/>
                      <a:pt x="1211" y="148"/>
                      <a:pt x="1211" y="148"/>
                    </a:cubicBezTo>
                    <a:cubicBezTo>
                      <a:pt x="1211" y="147"/>
                      <a:pt x="1211" y="147"/>
                      <a:pt x="1211" y="147"/>
                    </a:cubicBezTo>
                    <a:cubicBezTo>
                      <a:pt x="1211" y="147"/>
                      <a:pt x="1210" y="147"/>
                      <a:pt x="1210" y="147"/>
                    </a:cubicBezTo>
                    <a:cubicBezTo>
                      <a:pt x="1209" y="147"/>
                      <a:pt x="1209" y="147"/>
                      <a:pt x="1208" y="147"/>
                    </a:cubicBezTo>
                    <a:cubicBezTo>
                      <a:pt x="1207" y="146"/>
                      <a:pt x="1206" y="146"/>
                      <a:pt x="1205" y="146"/>
                    </a:cubicBezTo>
                    <a:cubicBezTo>
                      <a:pt x="1205" y="145"/>
                      <a:pt x="1205" y="144"/>
                      <a:pt x="1204" y="144"/>
                    </a:cubicBezTo>
                    <a:cubicBezTo>
                      <a:pt x="1203" y="144"/>
                      <a:pt x="1202" y="143"/>
                      <a:pt x="1201" y="143"/>
                    </a:cubicBezTo>
                    <a:cubicBezTo>
                      <a:pt x="1200" y="142"/>
                      <a:pt x="1199" y="142"/>
                      <a:pt x="1198" y="141"/>
                    </a:cubicBezTo>
                    <a:cubicBezTo>
                      <a:pt x="1197" y="141"/>
                      <a:pt x="1195" y="141"/>
                      <a:pt x="1194" y="141"/>
                    </a:cubicBezTo>
                    <a:cubicBezTo>
                      <a:pt x="1192" y="141"/>
                      <a:pt x="1190" y="140"/>
                      <a:pt x="1188" y="140"/>
                    </a:cubicBezTo>
                    <a:cubicBezTo>
                      <a:pt x="1187" y="140"/>
                      <a:pt x="1188" y="141"/>
                      <a:pt x="1187" y="141"/>
                    </a:cubicBezTo>
                    <a:cubicBezTo>
                      <a:pt x="1186" y="141"/>
                      <a:pt x="1185" y="141"/>
                      <a:pt x="1185" y="141"/>
                    </a:cubicBezTo>
                    <a:cubicBezTo>
                      <a:pt x="1183" y="141"/>
                      <a:pt x="1181" y="142"/>
                      <a:pt x="1179" y="141"/>
                    </a:cubicBezTo>
                    <a:cubicBezTo>
                      <a:pt x="1178" y="140"/>
                      <a:pt x="1178" y="140"/>
                      <a:pt x="1177" y="139"/>
                    </a:cubicBezTo>
                    <a:cubicBezTo>
                      <a:pt x="1176" y="138"/>
                      <a:pt x="1175" y="139"/>
                      <a:pt x="1174" y="138"/>
                    </a:cubicBezTo>
                    <a:cubicBezTo>
                      <a:pt x="1172" y="138"/>
                      <a:pt x="1171" y="137"/>
                      <a:pt x="1169" y="136"/>
                    </a:cubicBezTo>
                    <a:cubicBezTo>
                      <a:pt x="1170" y="136"/>
                      <a:pt x="1170" y="137"/>
                      <a:pt x="1171" y="136"/>
                    </a:cubicBezTo>
                    <a:cubicBezTo>
                      <a:pt x="1171" y="136"/>
                      <a:pt x="1170" y="135"/>
                      <a:pt x="1170" y="135"/>
                    </a:cubicBezTo>
                    <a:cubicBezTo>
                      <a:pt x="1171" y="135"/>
                      <a:pt x="1170" y="135"/>
                      <a:pt x="1170" y="135"/>
                    </a:cubicBezTo>
                    <a:cubicBezTo>
                      <a:pt x="1170" y="134"/>
                      <a:pt x="1169" y="134"/>
                      <a:pt x="1169" y="134"/>
                    </a:cubicBezTo>
                    <a:cubicBezTo>
                      <a:pt x="1169" y="133"/>
                      <a:pt x="1168" y="133"/>
                      <a:pt x="1168" y="133"/>
                    </a:cubicBezTo>
                    <a:cubicBezTo>
                      <a:pt x="1167" y="132"/>
                      <a:pt x="1167" y="133"/>
                      <a:pt x="1167" y="133"/>
                    </a:cubicBezTo>
                    <a:cubicBezTo>
                      <a:pt x="1167" y="133"/>
                      <a:pt x="1168" y="134"/>
                      <a:pt x="1168" y="134"/>
                    </a:cubicBezTo>
                    <a:cubicBezTo>
                      <a:pt x="1168" y="135"/>
                      <a:pt x="1167" y="135"/>
                      <a:pt x="1166" y="134"/>
                    </a:cubicBezTo>
                    <a:cubicBezTo>
                      <a:pt x="1166" y="134"/>
                      <a:pt x="1165" y="134"/>
                      <a:pt x="1165" y="134"/>
                    </a:cubicBezTo>
                    <a:cubicBezTo>
                      <a:pt x="1165" y="133"/>
                      <a:pt x="1165" y="133"/>
                      <a:pt x="1164" y="133"/>
                    </a:cubicBezTo>
                    <a:cubicBezTo>
                      <a:pt x="1164" y="133"/>
                      <a:pt x="1163" y="132"/>
                      <a:pt x="1163" y="132"/>
                    </a:cubicBezTo>
                    <a:cubicBezTo>
                      <a:pt x="1163" y="133"/>
                      <a:pt x="1164" y="133"/>
                      <a:pt x="1164" y="133"/>
                    </a:cubicBezTo>
                    <a:cubicBezTo>
                      <a:pt x="1163" y="133"/>
                      <a:pt x="1163" y="133"/>
                      <a:pt x="1162" y="133"/>
                    </a:cubicBezTo>
                    <a:cubicBezTo>
                      <a:pt x="1163" y="133"/>
                      <a:pt x="1164" y="133"/>
                      <a:pt x="1165" y="134"/>
                    </a:cubicBezTo>
                    <a:cubicBezTo>
                      <a:pt x="1165" y="135"/>
                      <a:pt x="1163" y="135"/>
                      <a:pt x="1162" y="135"/>
                    </a:cubicBezTo>
                    <a:cubicBezTo>
                      <a:pt x="1163" y="135"/>
                      <a:pt x="1163" y="135"/>
                      <a:pt x="1163" y="135"/>
                    </a:cubicBezTo>
                    <a:cubicBezTo>
                      <a:pt x="1163" y="135"/>
                      <a:pt x="1162" y="134"/>
                      <a:pt x="1162" y="134"/>
                    </a:cubicBezTo>
                    <a:cubicBezTo>
                      <a:pt x="1162" y="135"/>
                      <a:pt x="1162" y="135"/>
                      <a:pt x="1163" y="136"/>
                    </a:cubicBezTo>
                    <a:cubicBezTo>
                      <a:pt x="1163" y="136"/>
                      <a:pt x="1164" y="137"/>
                      <a:pt x="1165" y="137"/>
                    </a:cubicBezTo>
                    <a:cubicBezTo>
                      <a:pt x="1166" y="138"/>
                      <a:pt x="1168" y="139"/>
                      <a:pt x="1170" y="139"/>
                    </a:cubicBezTo>
                    <a:cubicBezTo>
                      <a:pt x="1171" y="139"/>
                      <a:pt x="1171" y="139"/>
                      <a:pt x="1172" y="140"/>
                    </a:cubicBezTo>
                    <a:cubicBezTo>
                      <a:pt x="1172" y="140"/>
                      <a:pt x="1173" y="140"/>
                      <a:pt x="1173" y="141"/>
                    </a:cubicBezTo>
                    <a:cubicBezTo>
                      <a:pt x="1173" y="142"/>
                      <a:pt x="1172" y="142"/>
                      <a:pt x="1172" y="142"/>
                    </a:cubicBezTo>
                    <a:cubicBezTo>
                      <a:pt x="1171" y="142"/>
                      <a:pt x="1170" y="142"/>
                      <a:pt x="1170" y="142"/>
                    </a:cubicBezTo>
                    <a:cubicBezTo>
                      <a:pt x="1170" y="142"/>
                      <a:pt x="1169" y="143"/>
                      <a:pt x="1170" y="143"/>
                    </a:cubicBezTo>
                    <a:cubicBezTo>
                      <a:pt x="1170" y="143"/>
                      <a:pt x="1171" y="143"/>
                      <a:pt x="1171" y="143"/>
                    </a:cubicBezTo>
                    <a:cubicBezTo>
                      <a:pt x="1171" y="143"/>
                      <a:pt x="1171" y="143"/>
                      <a:pt x="1171" y="143"/>
                    </a:cubicBezTo>
                    <a:cubicBezTo>
                      <a:pt x="1171" y="143"/>
                      <a:pt x="1172" y="143"/>
                      <a:pt x="1172" y="143"/>
                    </a:cubicBezTo>
                    <a:cubicBezTo>
                      <a:pt x="1172" y="142"/>
                      <a:pt x="1171" y="142"/>
                      <a:pt x="1171" y="142"/>
                    </a:cubicBezTo>
                    <a:cubicBezTo>
                      <a:pt x="1172" y="142"/>
                      <a:pt x="1173" y="142"/>
                      <a:pt x="1174" y="142"/>
                    </a:cubicBezTo>
                    <a:cubicBezTo>
                      <a:pt x="1174" y="142"/>
                      <a:pt x="1174" y="143"/>
                      <a:pt x="1175" y="143"/>
                    </a:cubicBezTo>
                    <a:cubicBezTo>
                      <a:pt x="1175" y="143"/>
                      <a:pt x="1175" y="144"/>
                      <a:pt x="1176" y="144"/>
                    </a:cubicBezTo>
                    <a:cubicBezTo>
                      <a:pt x="1176" y="144"/>
                      <a:pt x="1175" y="144"/>
                      <a:pt x="1175" y="145"/>
                    </a:cubicBezTo>
                    <a:cubicBezTo>
                      <a:pt x="1175" y="145"/>
                      <a:pt x="1175" y="145"/>
                      <a:pt x="1174" y="145"/>
                    </a:cubicBezTo>
                    <a:cubicBezTo>
                      <a:pt x="1174" y="145"/>
                      <a:pt x="1174" y="145"/>
                      <a:pt x="1174" y="145"/>
                    </a:cubicBezTo>
                    <a:cubicBezTo>
                      <a:pt x="1174" y="145"/>
                      <a:pt x="1174" y="145"/>
                      <a:pt x="1174" y="145"/>
                    </a:cubicBezTo>
                    <a:cubicBezTo>
                      <a:pt x="1173" y="146"/>
                      <a:pt x="1173" y="146"/>
                      <a:pt x="1174" y="147"/>
                    </a:cubicBezTo>
                    <a:cubicBezTo>
                      <a:pt x="1174" y="147"/>
                      <a:pt x="1174" y="147"/>
                      <a:pt x="1173" y="148"/>
                    </a:cubicBezTo>
                    <a:cubicBezTo>
                      <a:pt x="1172" y="148"/>
                      <a:pt x="1171" y="148"/>
                      <a:pt x="1171" y="149"/>
                    </a:cubicBezTo>
                    <a:cubicBezTo>
                      <a:pt x="1171" y="149"/>
                      <a:pt x="1170" y="150"/>
                      <a:pt x="1169" y="150"/>
                    </a:cubicBezTo>
                    <a:cubicBezTo>
                      <a:pt x="1169" y="149"/>
                      <a:pt x="1170" y="150"/>
                      <a:pt x="1170" y="149"/>
                    </a:cubicBezTo>
                    <a:cubicBezTo>
                      <a:pt x="1171" y="149"/>
                      <a:pt x="1170" y="149"/>
                      <a:pt x="1169" y="149"/>
                    </a:cubicBezTo>
                    <a:cubicBezTo>
                      <a:pt x="1169" y="149"/>
                      <a:pt x="1168" y="149"/>
                      <a:pt x="1167" y="149"/>
                    </a:cubicBezTo>
                    <a:cubicBezTo>
                      <a:pt x="1167" y="149"/>
                      <a:pt x="1166" y="149"/>
                      <a:pt x="1165" y="149"/>
                    </a:cubicBezTo>
                    <a:cubicBezTo>
                      <a:pt x="1165" y="149"/>
                      <a:pt x="1164" y="149"/>
                      <a:pt x="1164" y="149"/>
                    </a:cubicBezTo>
                    <a:cubicBezTo>
                      <a:pt x="1163" y="149"/>
                      <a:pt x="1162" y="149"/>
                      <a:pt x="1161" y="149"/>
                    </a:cubicBezTo>
                    <a:cubicBezTo>
                      <a:pt x="1161" y="148"/>
                      <a:pt x="1160" y="148"/>
                      <a:pt x="1160" y="148"/>
                    </a:cubicBezTo>
                    <a:cubicBezTo>
                      <a:pt x="1159" y="148"/>
                      <a:pt x="1158" y="148"/>
                      <a:pt x="1158" y="147"/>
                    </a:cubicBezTo>
                    <a:cubicBezTo>
                      <a:pt x="1158" y="147"/>
                      <a:pt x="1158" y="147"/>
                      <a:pt x="1159" y="147"/>
                    </a:cubicBezTo>
                    <a:cubicBezTo>
                      <a:pt x="1158" y="147"/>
                      <a:pt x="1157" y="147"/>
                      <a:pt x="1156" y="146"/>
                    </a:cubicBezTo>
                    <a:cubicBezTo>
                      <a:pt x="1155" y="146"/>
                      <a:pt x="1154" y="146"/>
                      <a:pt x="1153" y="145"/>
                    </a:cubicBezTo>
                    <a:cubicBezTo>
                      <a:pt x="1153" y="145"/>
                      <a:pt x="1152" y="145"/>
                      <a:pt x="1152" y="145"/>
                    </a:cubicBezTo>
                    <a:cubicBezTo>
                      <a:pt x="1151" y="145"/>
                      <a:pt x="1151" y="145"/>
                      <a:pt x="1150" y="145"/>
                    </a:cubicBezTo>
                    <a:cubicBezTo>
                      <a:pt x="1149" y="146"/>
                      <a:pt x="1149" y="145"/>
                      <a:pt x="1148" y="145"/>
                    </a:cubicBezTo>
                    <a:cubicBezTo>
                      <a:pt x="1148" y="145"/>
                      <a:pt x="1148" y="145"/>
                      <a:pt x="1147" y="145"/>
                    </a:cubicBezTo>
                    <a:cubicBezTo>
                      <a:pt x="1148" y="146"/>
                      <a:pt x="1148" y="145"/>
                      <a:pt x="1149" y="146"/>
                    </a:cubicBezTo>
                    <a:cubicBezTo>
                      <a:pt x="1149" y="146"/>
                      <a:pt x="1150" y="146"/>
                      <a:pt x="1150" y="146"/>
                    </a:cubicBezTo>
                    <a:cubicBezTo>
                      <a:pt x="1151" y="146"/>
                      <a:pt x="1152" y="145"/>
                      <a:pt x="1153" y="146"/>
                    </a:cubicBezTo>
                    <a:cubicBezTo>
                      <a:pt x="1154" y="146"/>
                      <a:pt x="1156" y="147"/>
                      <a:pt x="1157" y="147"/>
                    </a:cubicBezTo>
                    <a:cubicBezTo>
                      <a:pt x="1158" y="148"/>
                      <a:pt x="1156" y="148"/>
                      <a:pt x="1156" y="148"/>
                    </a:cubicBezTo>
                    <a:cubicBezTo>
                      <a:pt x="1155" y="148"/>
                      <a:pt x="1155" y="147"/>
                      <a:pt x="1154" y="147"/>
                    </a:cubicBezTo>
                    <a:cubicBezTo>
                      <a:pt x="1154" y="147"/>
                      <a:pt x="1152" y="147"/>
                      <a:pt x="1152" y="147"/>
                    </a:cubicBezTo>
                    <a:cubicBezTo>
                      <a:pt x="1152" y="148"/>
                      <a:pt x="1151" y="148"/>
                      <a:pt x="1151" y="147"/>
                    </a:cubicBezTo>
                    <a:cubicBezTo>
                      <a:pt x="1150" y="147"/>
                      <a:pt x="1149" y="147"/>
                      <a:pt x="1148" y="147"/>
                    </a:cubicBezTo>
                    <a:cubicBezTo>
                      <a:pt x="1148" y="147"/>
                      <a:pt x="1147" y="146"/>
                      <a:pt x="1147" y="146"/>
                    </a:cubicBezTo>
                    <a:cubicBezTo>
                      <a:pt x="1146" y="146"/>
                      <a:pt x="1147" y="147"/>
                      <a:pt x="1147" y="147"/>
                    </a:cubicBezTo>
                    <a:cubicBezTo>
                      <a:pt x="1148" y="147"/>
                      <a:pt x="1148" y="147"/>
                      <a:pt x="1149" y="147"/>
                    </a:cubicBezTo>
                    <a:cubicBezTo>
                      <a:pt x="1150" y="147"/>
                      <a:pt x="1150" y="148"/>
                      <a:pt x="1151" y="148"/>
                    </a:cubicBezTo>
                    <a:cubicBezTo>
                      <a:pt x="1152" y="148"/>
                      <a:pt x="1152" y="148"/>
                      <a:pt x="1152" y="149"/>
                    </a:cubicBezTo>
                    <a:cubicBezTo>
                      <a:pt x="1153" y="149"/>
                      <a:pt x="1152" y="149"/>
                      <a:pt x="1152" y="149"/>
                    </a:cubicBezTo>
                    <a:cubicBezTo>
                      <a:pt x="1151" y="149"/>
                      <a:pt x="1152" y="150"/>
                      <a:pt x="1152" y="150"/>
                    </a:cubicBezTo>
                    <a:cubicBezTo>
                      <a:pt x="1152" y="150"/>
                      <a:pt x="1152" y="149"/>
                      <a:pt x="1153" y="149"/>
                    </a:cubicBezTo>
                    <a:cubicBezTo>
                      <a:pt x="1153" y="150"/>
                      <a:pt x="1153" y="149"/>
                      <a:pt x="1153" y="149"/>
                    </a:cubicBezTo>
                    <a:cubicBezTo>
                      <a:pt x="1154" y="149"/>
                      <a:pt x="1155" y="149"/>
                      <a:pt x="1156" y="150"/>
                    </a:cubicBezTo>
                    <a:cubicBezTo>
                      <a:pt x="1156" y="150"/>
                      <a:pt x="1157" y="150"/>
                      <a:pt x="1157" y="150"/>
                    </a:cubicBezTo>
                    <a:cubicBezTo>
                      <a:pt x="1157" y="150"/>
                      <a:pt x="1157" y="149"/>
                      <a:pt x="1157" y="149"/>
                    </a:cubicBezTo>
                    <a:cubicBezTo>
                      <a:pt x="1157" y="148"/>
                      <a:pt x="1159" y="148"/>
                      <a:pt x="1159" y="148"/>
                    </a:cubicBezTo>
                    <a:cubicBezTo>
                      <a:pt x="1160" y="148"/>
                      <a:pt x="1161" y="150"/>
                      <a:pt x="1162" y="150"/>
                    </a:cubicBezTo>
                    <a:cubicBezTo>
                      <a:pt x="1162" y="151"/>
                      <a:pt x="1163" y="151"/>
                      <a:pt x="1164" y="152"/>
                    </a:cubicBezTo>
                    <a:cubicBezTo>
                      <a:pt x="1165" y="152"/>
                      <a:pt x="1166" y="152"/>
                      <a:pt x="1167" y="153"/>
                    </a:cubicBezTo>
                    <a:cubicBezTo>
                      <a:pt x="1169" y="153"/>
                      <a:pt x="1170" y="154"/>
                      <a:pt x="1172" y="154"/>
                    </a:cubicBezTo>
                    <a:cubicBezTo>
                      <a:pt x="1172" y="153"/>
                      <a:pt x="1170" y="153"/>
                      <a:pt x="1171" y="153"/>
                    </a:cubicBezTo>
                    <a:cubicBezTo>
                      <a:pt x="1171" y="153"/>
                      <a:pt x="1171" y="152"/>
                      <a:pt x="1171" y="152"/>
                    </a:cubicBezTo>
                    <a:cubicBezTo>
                      <a:pt x="1172" y="152"/>
                      <a:pt x="1173" y="153"/>
                      <a:pt x="1174" y="154"/>
                    </a:cubicBezTo>
                    <a:cubicBezTo>
                      <a:pt x="1175" y="154"/>
                      <a:pt x="1176" y="155"/>
                      <a:pt x="1177" y="155"/>
                    </a:cubicBezTo>
                    <a:cubicBezTo>
                      <a:pt x="1177" y="155"/>
                      <a:pt x="1176" y="155"/>
                      <a:pt x="1176" y="155"/>
                    </a:cubicBezTo>
                    <a:cubicBezTo>
                      <a:pt x="1176" y="156"/>
                      <a:pt x="1177" y="156"/>
                      <a:pt x="1177" y="156"/>
                    </a:cubicBezTo>
                    <a:cubicBezTo>
                      <a:pt x="1177" y="156"/>
                      <a:pt x="1177" y="156"/>
                      <a:pt x="1177" y="156"/>
                    </a:cubicBezTo>
                    <a:cubicBezTo>
                      <a:pt x="1177" y="156"/>
                      <a:pt x="1177" y="156"/>
                      <a:pt x="1178" y="156"/>
                    </a:cubicBezTo>
                    <a:cubicBezTo>
                      <a:pt x="1178" y="156"/>
                      <a:pt x="1178" y="156"/>
                      <a:pt x="1179" y="156"/>
                    </a:cubicBezTo>
                    <a:cubicBezTo>
                      <a:pt x="1179" y="156"/>
                      <a:pt x="1180" y="156"/>
                      <a:pt x="1180" y="157"/>
                    </a:cubicBezTo>
                    <a:cubicBezTo>
                      <a:pt x="1181" y="157"/>
                      <a:pt x="1183" y="158"/>
                      <a:pt x="1184" y="159"/>
                    </a:cubicBezTo>
                    <a:cubicBezTo>
                      <a:pt x="1183" y="159"/>
                      <a:pt x="1183" y="159"/>
                      <a:pt x="1182" y="159"/>
                    </a:cubicBezTo>
                    <a:cubicBezTo>
                      <a:pt x="1183" y="159"/>
                      <a:pt x="1184" y="159"/>
                      <a:pt x="1184" y="159"/>
                    </a:cubicBezTo>
                    <a:cubicBezTo>
                      <a:pt x="1183" y="160"/>
                      <a:pt x="1183" y="159"/>
                      <a:pt x="1182" y="159"/>
                    </a:cubicBezTo>
                    <a:cubicBezTo>
                      <a:pt x="1182" y="159"/>
                      <a:pt x="1183" y="160"/>
                      <a:pt x="1182" y="159"/>
                    </a:cubicBezTo>
                    <a:cubicBezTo>
                      <a:pt x="1182" y="159"/>
                      <a:pt x="1182" y="159"/>
                      <a:pt x="1181" y="159"/>
                    </a:cubicBezTo>
                    <a:cubicBezTo>
                      <a:pt x="1181" y="159"/>
                      <a:pt x="1180" y="159"/>
                      <a:pt x="1181" y="160"/>
                    </a:cubicBezTo>
                    <a:cubicBezTo>
                      <a:pt x="1181" y="160"/>
                      <a:pt x="1182" y="160"/>
                      <a:pt x="1182" y="160"/>
                    </a:cubicBezTo>
                    <a:cubicBezTo>
                      <a:pt x="1183" y="160"/>
                      <a:pt x="1182" y="160"/>
                      <a:pt x="1183" y="160"/>
                    </a:cubicBezTo>
                    <a:cubicBezTo>
                      <a:pt x="1183" y="160"/>
                      <a:pt x="1184" y="160"/>
                      <a:pt x="1184" y="160"/>
                    </a:cubicBezTo>
                    <a:cubicBezTo>
                      <a:pt x="1185" y="160"/>
                      <a:pt x="1185" y="160"/>
                      <a:pt x="1185" y="161"/>
                    </a:cubicBezTo>
                    <a:cubicBezTo>
                      <a:pt x="1186" y="161"/>
                      <a:pt x="1185" y="161"/>
                      <a:pt x="1186" y="161"/>
                    </a:cubicBezTo>
                    <a:cubicBezTo>
                      <a:pt x="1186" y="162"/>
                      <a:pt x="1186" y="161"/>
                      <a:pt x="1187" y="161"/>
                    </a:cubicBezTo>
                    <a:cubicBezTo>
                      <a:pt x="1188" y="161"/>
                      <a:pt x="1187" y="161"/>
                      <a:pt x="1186" y="161"/>
                    </a:cubicBezTo>
                    <a:cubicBezTo>
                      <a:pt x="1186" y="160"/>
                      <a:pt x="1185" y="160"/>
                      <a:pt x="1184" y="160"/>
                    </a:cubicBezTo>
                    <a:cubicBezTo>
                      <a:pt x="1185" y="160"/>
                      <a:pt x="1186" y="160"/>
                      <a:pt x="1187" y="161"/>
                    </a:cubicBezTo>
                    <a:cubicBezTo>
                      <a:pt x="1188" y="161"/>
                      <a:pt x="1189" y="162"/>
                      <a:pt x="1190" y="162"/>
                    </a:cubicBezTo>
                    <a:cubicBezTo>
                      <a:pt x="1189" y="162"/>
                      <a:pt x="1188" y="161"/>
                      <a:pt x="1187" y="162"/>
                    </a:cubicBezTo>
                    <a:cubicBezTo>
                      <a:pt x="1187" y="162"/>
                      <a:pt x="1189" y="162"/>
                      <a:pt x="1190" y="162"/>
                    </a:cubicBezTo>
                    <a:cubicBezTo>
                      <a:pt x="1190" y="162"/>
                      <a:pt x="1191" y="163"/>
                      <a:pt x="1192" y="163"/>
                    </a:cubicBezTo>
                    <a:cubicBezTo>
                      <a:pt x="1193" y="163"/>
                      <a:pt x="1195" y="163"/>
                      <a:pt x="1196" y="165"/>
                    </a:cubicBezTo>
                    <a:cubicBezTo>
                      <a:pt x="1195" y="165"/>
                      <a:pt x="1196" y="166"/>
                      <a:pt x="1196" y="166"/>
                    </a:cubicBezTo>
                    <a:cubicBezTo>
                      <a:pt x="1197" y="166"/>
                      <a:pt x="1198" y="166"/>
                      <a:pt x="1199" y="167"/>
                    </a:cubicBezTo>
                    <a:cubicBezTo>
                      <a:pt x="1200" y="167"/>
                      <a:pt x="1200" y="167"/>
                      <a:pt x="1201" y="168"/>
                    </a:cubicBezTo>
                    <a:cubicBezTo>
                      <a:pt x="1202" y="168"/>
                      <a:pt x="1203" y="168"/>
                      <a:pt x="1203" y="169"/>
                    </a:cubicBezTo>
                    <a:cubicBezTo>
                      <a:pt x="1203" y="169"/>
                      <a:pt x="1202" y="169"/>
                      <a:pt x="1202" y="169"/>
                    </a:cubicBezTo>
                    <a:cubicBezTo>
                      <a:pt x="1202" y="169"/>
                      <a:pt x="1203" y="170"/>
                      <a:pt x="1202" y="170"/>
                    </a:cubicBezTo>
                    <a:cubicBezTo>
                      <a:pt x="1201" y="170"/>
                      <a:pt x="1201" y="171"/>
                      <a:pt x="1202" y="171"/>
                    </a:cubicBezTo>
                    <a:cubicBezTo>
                      <a:pt x="1203" y="171"/>
                      <a:pt x="1204" y="173"/>
                      <a:pt x="1203" y="172"/>
                    </a:cubicBezTo>
                    <a:cubicBezTo>
                      <a:pt x="1203" y="172"/>
                      <a:pt x="1202" y="172"/>
                      <a:pt x="1202" y="172"/>
                    </a:cubicBezTo>
                    <a:cubicBezTo>
                      <a:pt x="1201" y="172"/>
                      <a:pt x="1200" y="171"/>
                      <a:pt x="1200" y="171"/>
                    </a:cubicBezTo>
                    <a:cubicBezTo>
                      <a:pt x="1198" y="171"/>
                      <a:pt x="1196" y="171"/>
                      <a:pt x="1195" y="170"/>
                    </a:cubicBezTo>
                    <a:cubicBezTo>
                      <a:pt x="1193" y="170"/>
                      <a:pt x="1192" y="170"/>
                      <a:pt x="1190" y="170"/>
                    </a:cubicBezTo>
                    <a:cubicBezTo>
                      <a:pt x="1189" y="169"/>
                      <a:pt x="1187" y="170"/>
                      <a:pt x="1186" y="169"/>
                    </a:cubicBezTo>
                    <a:cubicBezTo>
                      <a:pt x="1186" y="169"/>
                      <a:pt x="1184" y="167"/>
                      <a:pt x="1185" y="168"/>
                    </a:cubicBezTo>
                    <a:cubicBezTo>
                      <a:pt x="1185" y="167"/>
                      <a:pt x="1184" y="167"/>
                      <a:pt x="1184" y="167"/>
                    </a:cubicBezTo>
                    <a:cubicBezTo>
                      <a:pt x="1184" y="168"/>
                      <a:pt x="1184" y="168"/>
                      <a:pt x="1184" y="168"/>
                    </a:cubicBezTo>
                    <a:cubicBezTo>
                      <a:pt x="1183" y="168"/>
                      <a:pt x="1183" y="168"/>
                      <a:pt x="1182" y="167"/>
                    </a:cubicBezTo>
                    <a:cubicBezTo>
                      <a:pt x="1182" y="167"/>
                      <a:pt x="1181" y="167"/>
                      <a:pt x="1180" y="167"/>
                    </a:cubicBezTo>
                    <a:cubicBezTo>
                      <a:pt x="1181" y="167"/>
                      <a:pt x="1181" y="167"/>
                      <a:pt x="1182" y="168"/>
                    </a:cubicBezTo>
                    <a:cubicBezTo>
                      <a:pt x="1182" y="168"/>
                      <a:pt x="1182" y="168"/>
                      <a:pt x="1183" y="169"/>
                    </a:cubicBezTo>
                    <a:cubicBezTo>
                      <a:pt x="1183" y="169"/>
                      <a:pt x="1184" y="169"/>
                      <a:pt x="1184" y="169"/>
                    </a:cubicBezTo>
                    <a:cubicBezTo>
                      <a:pt x="1185" y="170"/>
                      <a:pt x="1185" y="169"/>
                      <a:pt x="1186" y="170"/>
                    </a:cubicBezTo>
                    <a:cubicBezTo>
                      <a:pt x="1185" y="170"/>
                      <a:pt x="1183" y="170"/>
                      <a:pt x="1183" y="170"/>
                    </a:cubicBezTo>
                    <a:cubicBezTo>
                      <a:pt x="1183" y="170"/>
                      <a:pt x="1182" y="170"/>
                      <a:pt x="1182" y="170"/>
                    </a:cubicBezTo>
                    <a:cubicBezTo>
                      <a:pt x="1182" y="170"/>
                      <a:pt x="1182" y="170"/>
                      <a:pt x="1183" y="171"/>
                    </a:cubicBezTo>
                    <a:cubicBezTo>
                      <a:pt x="1182" y="170"/>
                      <a:pt x="1182" y="172"/>
                      <a:pt x="1182" y="172"/>
                    </a:cubicBezTo>
                    <a:cubicBezTo>
                      <a:pt x="1181" y="173"/>
                      <a:pt x="1181" y="172"/>
                      <a:pt x="1180" y="173"/>
                    </a:cubicBezTo>
                    <a:cubicBezTo>
                      <a:pt x="1179" y="173"/>
                      <a:pt x="1179" y="174"/>
                      <a:pt x="1178" y="174"/>
                    </a:cubicBezTo>
                    <a:cubicBezTo>
                      <a:pt x="1177" y="174"/>
                      <a:pt x="1177" y="174"/>
                      <a:pt x="1176" y="174"/>
                    </a:cubicBezTo>
                    <a:cubicBezTo>
                      <a:pt x="1176" y="174"/>
                      <a:pt x="1178" y="174"/>
                      <a:pt x="1177" y="175"/>
                    </a:cubicBezTo>
                    <a:cubicBezTo>
                      <a:pt x="1177" y="175"/>
                      <a:pt x="1176" y="175"/>
                      <a:pt x="1175" y="176"/>
                    </a:cubicBezTo>
                    <a:cubicBezTo>
                      <a:pt x="1175" y="175"/>
                      <a:pt x="1174" y="175"/>
                      <a:pt x="1173" y="175"/>
                    </a:cubicBezTo>
                    <a:cubicBezTo>
                      <a:pt x="1174" y="176"/>
                      <a:pt x="1175" y="176"/>
                      <a:pt x="1175" y="176"/>
                    </a:cubicBezTo>
                    <a:cubicBezTo>
                      <a:pt x="1176" y="177"/>
                      <a:pt x="1175" y="177"/>
                      <a:pt x="1174" y="177"/>
                    </a:cubicBezTo>
                    <a:cubicBezTo>
                      <a:pt x="1174" y="177"/>
                      <a:pt x="1173" y="177"/>
                      <a:pt x="1173" y="177"/>
                    </a:cubicBezTo>
                    <a:cubicBezTo>
                      <a:pt x="1173" y="177"/>
                      <a:pt x="1172" y="177"/>
                      <a:pt x="1172" y="177"/>
                    </a:cubicBezTo>
                    <a:cubicBezTo>
                      <a:pt x="1171" y="177"/>
                      <a:pt x="1171" y="178"/>
                      <a:pt x="1172" y="177"/>
                    </a:cubicBezTo>
                    <a:cubicBezTo>
                      <a:pt x="1172" y="178"/>
                      <a:pt x="1172" y="178"/>
                      <a:pt x="1171" y="178"/>
                    </a:cubicBezTo>
                    <a:cubicBezTo>
                      <a:pt x="1171" y="178"/>
                      <a:pt x="1170" y="178"/>
                      <a:pt x="1169" y="178"/>
                    </a:cubicBezTo>
                    <a:cubicBezTo>
                      <a:pt x="1167" y="177"/>
                      <a:pt x="1170" y="179"/>
                      <a:pt x="1170" y="180"/>
                    </a:cubicBezTo>
                    <a:cubicBezTo>
                      <a:pt x="1170" y="180"/>
                      <a:pt x="1169" y="180"/>
                      <a:pt x="1169" y="180"/>
                    </a:cubicBezTo>
                    <a:cubicBezTo>
                      <a:pt x="1169" y="180"/>
                      <a:pt x="1170" y="180"/>
                      <a:pt x="1170" y="181"/>
                    </a:cubicBezTo>
                    <a:cubicBezTo>
                      <a:pt x="1169" y="182"/>
                      <a:pt x="1167" y="180"/>
                      <a:pt x="1166" y="181"/>
                    </a:cubicBezTo>
                    <a:cubicBezTo>
                      <a:pt x="1167" y="181"/>
                      <a:pt x="1168" y="181"/>
                      <a:pt x="1169" y="182"/>
                    </a:cubicBezTo>
                    <a:cubicBezTo>
                      <a:pt x="1169" y="183"/>
                      <a:pt x="1167" y="182"/>
                      <a:pt x="1167" y="182"/>
                    </a:cubicBezTo>
                    <a:cubicBezTo>
                      <a:pt x="1167" y="182"/>
                      <a:pt x="1168" y="182"/>
                      <a:pt x="1168" y="183"/>
                    </a:cubicBezTo>
                    <a:cubicBezTo>
                      <a:pt x="1168" y="183"/>
                      <a:pt x="1168" y="183"/>
                      <a:pt x="1168" y="183"/>
                    </a:cubicBezTo>
                    <a:cubicBezTo>
                      <a:pt x="1167" y="183"/>
                      <a:pt x="1166" y="183"/>
                      <a:pt x="1165" y="183"/>
                    </a:cubicBezTo>
                    <a:cubicBezTo>
                      <a:pt x="1166" y="183"/>
                      <a:pt x="1167" y="184"/>
                      <a:pt x="1167" y="184"/>
                    </a:cubicBezTo>
                    <a:cubicBezTo>
                      <a:pt x="1167" y="184"/>
                      <a:pt x="1166" y="184"/>
                      <a:pt x="1166" y="184"/>
                    </a:cubicBezTo>
                    <a:cubicBezTo>
                      <a:pt x="1166" y="184"/>
                      <a:pt x="1169" y="184"/>
                      <a:pt x="1168" y="185"/>
                    </a:cubicBezTo>
                    <a:cubicBezTo>
                      <a:pt x="1167" y="185"/>
                      <a:pt x="1167" y="185"/>
                      <a:pt x="1166" y="185"/>
                    </a:cubicBezTo>
                    <a:cubicBezTo>
                      <a:pt x="1167" y="185"/>
                      <a:pt x="1167" y="185"/>
                      <a:pt x="1167" y="185"/>
                    </a:cubicBezTo>
                    <a:cubicBezTo>
                      <a:pt x="1167" y="185"/>
                      <a:pt x="1167" y="185"/>
                      <a:pt x="1167" y="186"/>
                    </a:cubicBezTo>
                    <a:cubicBezTo>
                      <a:pt x="1167" y="186"/>
                      <a:pt x="1167" y="186"/>
                      <a:pt x="1167" y="186"/>
                    </a:cubicBezTo>
                    <a:cubicBezTo>
                      <a:pt x="1167" y="186"/>
                      <a:pt x="1168" y="187"/>
                      <a:pt x="1167" y="187"/>
                    </a:cubicBezTo>
                    <a:cubicBezTo>
                      <a:pt x="1167" y="187"/>
                      <a:pt x="1166" y="186"/>
                      <a:pt x="1166" y="186"/>
                    </a:cubicBezTo>
                    <a:cubicBezTo>
                      <a:pt x="1166" y="186"/>
                      <a:pt x="1167" y="187"/>
                      <a:pt x="1167" y="187"/>
                    </a:cubicBezTo>
                    <a:cubicBezTo>
                      <a:pt x="1166" y="187"/>
                      <a:pt x="1166" y="187"/>
                      <a:pt x="1165" y="187"/>
                    </a:cubicBezTo>
                    <a:cubicBezTo>
                      <a:pt x="1165" y="187"/>
                      <a:pt x="1165" y="187"/>
                      <a:pt x="1164" y="187"/>
                    </a:cubicBezTo>
                    <a:cubicBezTo>
                      <a:pt x="1165" y="187"/>
                      <a:pt x="1166" y="187"/>
                      <a:pt x="1166" y="188"/>
                    </a:cubicBezTo>
                    <a:cubicBezTo>
                      <a:pt x="1166" y="188"/>
                      <a:pt x="1164" y="187"/>
                      <a:pt x="1164" y="187"/>
                    </a:cubicBezTo>
                    <a:cubicBezTo>
                      <a:pt x="1164" y="188"/>
                      <a:pt x="1166" y="189"/>
                      <a:pt x="1164" y="190"/>
                    </a:cubicBezTo>
                    <a:cubicBezTo>
                      <a:pt x="1164" y="190"/>
                      <a:pt x="1164" y="189"/>
                      <a:pt x="1164" y="190"/>
                    </a:cubicBezTo>
                    <a:cubicBezTo>
                      <a:pt x="1163" y="190"/>
                      <a:pt x="1163" y="190"/>
                      <a:pt x="1163" y="190"/>
                    </a:cubicBezTo>
                    <a:cubicBezTo>
                      <a:pt x="1163" y="190"/>
                      <a:pt x="1162" y="190"/>
                      <a:pt x="1161" y="190"/>
                    </a:cubicBezTo>
                    <a:cubicBezTo>
                      <a:pt x="1162" y="190"/>
                      <a:pt x="1162" y="190"/>
                      <a:pt x="1163" y="191"/>
                    </a:cubicBezTo>
                    <a:cubicBezTo>
                      <a:pt x="1163" y="191"/>
                      <a:pt x="1161" y="191"/>
                      <a:pt x="1161" y="191"/>
                    </a:cubicBezTo>
                    <a:cubicBezTo>
                      <a:pt x="1161" y="191"/>
                      <a:pt x="1163" y="192"/>
                      <a:pt x="1163" y="192"/>
                    </a:cubicBezTo>
                    <a:cubicBezTo>
                      <a:pt x="1162" y="193"/>
                      <a:pt x="1165" y="195"/>
                      <a:pt x="1165" y="195"/>
                    </a:cubicBezTo>
                    <a:cubicBezTo>
                      <a:pt x="1166" y="196"/>
                      <a:pt x="1165" y="196"/>
                      <a:pt x="1164" y="196"/>
                    </a:cubicBezTo>
                    <a:cubicBezTo>
                      <a:pt x="1163" y="196"/>
                      <a:pt x="1163" y="195"/>
                      <a:pt x="1162" y="195"/>
                    </a:cubicBezTo>
                    <a:cubicBezTo>
                      <a:pt x="1161" y="194"/>
                      <a:pt x="1160" y="194"/>
                      <a:pt x="1159" y="194"/>
                    </a:cubicBezTo>
                    <a:cubicBezTo>
                      <a:pt x="1159" y="193"/>
                      <a:pt x="1158" y="193"/>
                      <a:pt x="1159" y="193"/>
                    </a:cubicBezTo>
                    <a:cubicBezTo>
                      <a:pt x="1159" y="193"/>
                      <a:pt x="1158" y="193"/>
                      <a:pt x="1158" y="193"/>
                    </a:cubicBezTo>
                    <a:cubicBezTo>
                      <a:pt x="1157" y="193"/>
                      <a:pt x="1157" y="193"/>
                      <a:pt x="1157" y="192"/>
                    </a:cubicBezTo>
                    <a:cubicBezTo>
                      <a:pt x="1156" y="192"/>
                      <a:pt x="1155" y="191"/>
                      <a:pt x="1154" y="191"/>
                    </a:cubicBezTo>
                    <a:cubicBezTo>
                      <a:pt x="1153" y="190"/>
                      <a:pt x="1151" y="190"/>
                      <a:pt x="1150" y="190"/>
                    </a:cubicBezTo>
                    <a:cubicBezTo>
                      <a:pt x="1150" y="190"/>
                      <a:pt x="1150" y="190"/>
                      <a:pt x="1150" y="190"/>
                    </a:cubicBezTo>
                    <a:cubicBezTo>
                      <a:pt x="1150" y="189"/>
                      <a:pt x="1149" y="189"/>
                      <a:pt x="1149" y="189"/>
                    </a:cubicBezTo>
                    <a:cubicBezTo>
                      <a:pt x="1149" y="189"/>
                      <a:pt x="1149" y="189"/>
                      <a:pt x="1149" y="189"/>
                    </a:cubicBezTo>
                    <a:cubicBezTo>
                      <a:pt x="1149" y="189"/>
                      <a:pt x="1148" y="189"/>
                      <a:pt x="1148" y="189"/>
                    </a:cubicBezTo>
                    <a:cubicBezTo>
                      <a:pt x="1149" y="190"/>
                      <a:pt x="1148" y="190"/>
                      <a:pt x="1147" y="190"/>
                    </a:cubicBezTo>
                    <a:cubicBezTo>
                      <a:pt x="1147" y="190"/>
                      <a:pt x="1146" y="190"/>
                      <a:pt x="1146" y="190"/>
                    </a:cubicBezTo>
                    <a:cubicBezTo>
                      <a:pt x="1145" y="189"/>
                      <a:pt x="1145" y="190"/>
                      <a:pt x="1144" y="190"/>
                    </a:cubicBezTo>
                    <a:cubicBezTo>
                      <a:pt x="1144" y="189"/>
                      <a:pt x="1144" y="189"/>
                      <a:pt x="1143" y="189"/>
                    </a:cubicBezTo>
                    <a:cubicBezTo>
                      <a:pt x="1142" y="189"/>
                      <a:pt x="1140" y="190"/>
                      <a:pt x="1138" y="190"/>
                    </a:cubicBezTo>
                    <a:cubicBezTo>
                      <a:pt x="1138" y="190"/>
                      <a:pt x="1139" y="190"/>
                      <a:pt x="1138" y="190"/>
                    </a:cubicBezTo>
                    <a:cubicBezTo>
                      <a:pt x="1138" y="191"/>
                      <a:pt x="1138" y="191"/>
                      <a:pt x="1137" y="191"/>
                    </a:cubicBezTo>
                    <a:cubicBezTo>
                      <a:pt x="1137" y="191"/>
                      <a:pt x="1137" y="191"/>
                      <a:pt x="1137" y="191"/>
                    </a:cubicBezTo>
                    <a:cubicBezTo>
                      <a:pt x="1137" y="191"/>
                      <a:pt x="1136" y="191"/>
                      <a:pt x="1136" y="190"/>
                    </a:cubicBezTo>
                    <a:cubicBezTo>
                      <a:pt x="1136" y="191"/>
                      <a:pt x="1137" y="191"/>
                      <a:pt x="1137" y="191"/>
                    </a:cubicBezTo>
                    <a:cubicBezTo>
                      <a:pt x="1137" y="191"/>
                      <a:pt x="1136" y="191"/>
                      <a:pt x="1136" y="191"/>
                    </a:cubicBezTo>
                    <a:cubicBezTo>
                      <a:pt x="1137" y="191"/>
                      <a:pt x="1136" y="192"/>
                      <a:pt x="1136" y="192"/>
                    </a:cubicBezTo>
                    <a:cubicBezTo>
                      <a:pt x="1135" y="191"/>
                      <a:pt x="1135" y="191"/>
                      <a:pt x="1134" y="191"/>
                    </a:cubicBezTo>
                    <a:cubicBezTo>
                      <a:pt x="1134" y="191"/>
                      <a:pt x="1135" y="191"/>
                      <a:pt x="1135" y="192"/>
                    </a:cubicBezTo>
                    <a:cubicBezTo>
                      <a:pt x="1135" y="192"/>
                      <a:pt x="1135" y="192"/>
                      <a:pt x="1135" y="192"/>
                    </a:cubicBezTo>
                    <a:cubicBezTo>
                      <a:pt x="1135" y="193"/>
                      <a:pt x="1135" y="193"/>
                      <a:pt x="1135" y="193"/>
                    </a:cubicBezTo>
                    <a:cubicBezTo>
                      <a:pt x="1135" y="194"/>
                      <a:pt x="1135" y="195"/>
                      <a:pt x="1135" y="196"/>
                    </a:cubicBezTo>
                    <a:cubicBezTo>
                      <a:pt x="1135" y="196"/>
                      <a:pt x="1135" y="197"/>
                      <a:pt x="1135" y="197"/>
                    </a:cubicBezTo>
                    <a:cubicBezTo>
                      <a:pt x="1134" y="197"/>
                      <a:pt x="1134" y="197"/>
                      <a:pt x="1133" y="197"/>
                    </a:cubicBezTo>
                    <a:cubicBezTo>
                      <a:pt x="1132" y="196"/>
                      <a:pt x="1132" y="195"/>
                      <a:pt x="1131" y="194"/>
                    </a:cubicBezTo>
                    <a:cubicBezTo>
                      <a:pt x="1131" y="194"/>
                      <a:pt x="1131" y="194"/>
                      <a:pt x="1131" y="193"/>
                    </a:cubicBezTo>
                    <a:cubicBezTo>
                      <a:pt x="1131" y="193"/>
                      <a:pt x="1130" y="193"/>
                      <a:pt x="1130" y="193"/>
                    </a:cubicBezTo>
                    <a:cubicBezTo>
                      <a:pt x="1129" y="192"/>
                      <a:pt x="1129" y="192"/>
                      <a:pt x="1128" y="191"/>
                    </a:cubicBezTo>
                    <a:cubicBezTo>
                      <a:pt x="1129" y="192"/>
                      <a:pt x="1129" y="190"/>
                      <a:pt x="1128" y="190"/>
                    </a:cubicBezTo>
                    <a:cubicBezTo>
                      <a:pt x="1127" y="190"/>
                      <a:pt x="1127" y="190"/>
                      <a:pt x="1126" y="191"/>
                    </a:cubicBezTo>
                    <a:cubicBezTo>
                      <a:pt x="1126" y="191"/>
                      <a:pt x="1126" y="191"/>
                      <a:pt x="1126" y="192"/>
                    </a:cubicBezTo>
                    <a:cubicBezTo>
                      <a:pt x="1125" y="192"/>
                      <a:pt x="1125" y="194"/>
                      <a:pt x="1124" y="193"/>
                    </a:cubicBezTo>
                    <a:cubicBezTo>
                      <a:pt x="1124" y="193"/>
                      <a:pt x="1125" y="193"/>
                      <a:pt x="1124" y="194"/>
                    </a:cubicBezTo>
                    <a:cubicBezTo>
                      <a:pt x="1123" y="194"/>
                      <a:pt x="1123" y="194"/>
                      <a:pt x="1122" y="194"/>
                    </a:cubicBezTo>
                    <a:cubicBezTo>
                      <a:pt x="1122" y="194"/>
                      <a:pt x="1123" y="194"/>
                      <a:pt x="1123" y="194"/>
                    </a:cubicBezTo>
                    <a:cubicBezTo>
                      <a:pt x="1122" y="194"/>
                      <a:pt x="1122" y="194"/>
                      <a:pt x="1122" y="194"/>
                    </a:cubicBezTo>
                    <a:cubicBezTo>
                      <a:pt x="1122" y="194"/>
                      <a:pt x="1122" y="194"/>
                      <a:pt x="1123" y="194"/>
                    </a:cubicBezTo>
                    <a:cubicBezTo>
                      <a:pt x="1123" y="195"/>
                      <a:pt x="1123" y="194"/>
                      <a:pt x="1123" y="194"/>
                    </a:cubicBezTo>
                    <a:cubicBezTo>
                      <a:pt x="1124" y="195"/>
                      <a:pt x="1125" y="195"/>
                      <a:pt x="1125" y="195"/>
                    </a:cubicBezTo>
                    <a:cubicBezTo>
                      <a:pt x="1125" y="196"/>
                      <a:pt x="1125" y="197"/>
                      <a:pt x="1125" y="197"/>
                    </a:cubicBezTo>
                    <a:cubicBezTo>
                      <a:pt x="1125" y="197"/>
                      <a:pt x="1124" y="197"/>
                      <a:pt x="1124" y="197"/>
                    </a:cubicBezTo>
                    <a:cubicBezTo>
                      <a:pt x="1124" y="197"/>
                      <a:pt x="1123" y="197"/>
                      <a:pt x="1122" y="196"/>
                    </a:cubicBezTo>
                    <a:cubicBezTo>
                      <a:pt x="1122" y="196"/>
                      <a:pt x="1121" y="195"/>
                      <a:pt x="1120" y="195"/>
                    </a:cubicBezTo>
                    <a:cubicBezTo>
                      <a:pt x="1120" y="195"/>
                      <a:pt x="1119" y="194"/>
                      <a:pt x="1118" y="194"/>
                    </a:cubicBezTo>
                    <a:cubicBezTo>
                      <a:pt x="1118" y="194"/>
                      <a:pt x="1117" y="194"/>
                      <a:pt x="1117" y="194"/>
                    </a:cubicBezTo>
                    <a:cubicBezTo>
                      <a:pt x="1117" y="195"/>
                      <a:pt x="1118" y="195"/>
                      <a:pt x="1118" y="195"/>
                    </a:cubicBezTo>
                    <a:cubicBezTo>
                      <a:pt x="1118" y="195"/>
                      <a:pt x="1117" y="195"/>
                      <a:pt x="1117" y="195"/>
                    </a:cubicBezTo>
                    <a:cubicBezTo>
                      <a:pt x="1116" y="196"/>
                      <a:pt x="1118" y="197"/>
                      <a:pt x="1118" y="197"/>
                    </a:cubicBezTo>
                    <a:cubicBezTo>
                      <a:pt x="1118" y="197"/>
                      <a:pt x="1118" y="197"/>
                      <a:pt x="1117" y="196"/>
                    </a:cubicBezTo>
                    <a:cubicBezTo>
                      <a:pt x="1117" y="196"/>
                      <a:pt x="1117" y="196"/>
                      <a:pt x="1117" y="196"/>
                    </a:cubicBezTo>
                    <a:cubicBezTo>
                      <a:pt x="1117" y="195"/>
                      <a:pt x="1117" y="195"/>
                      <a:pt x="1116" y="195"/>
                    </a:cubicBezTo>
                    <a:cubicBezTo>
                      <a:pt x="1116" y="195"/>
                      <a:pt x="1115" y="195"/>
                      <a:pt x="1115" y="195"/>
                    </a:cubicBezTo>
                    <a:cubicBezTo>
                      <a:pt x="1114" y="195"/>
                      <a:pt x="1114" y="195"/>
                      <a:pt x="1114" y="195"/>
                    </a:cubicBezTo>
                    <a:cubicBezTo>
                      <a:pt x="1113" y="194"/>
                      <a:pt x="1113" y="195"/>
                      <a:pt x="1112" y="195"/>
                    </a:cubicBezTo>
                    <a:cubicBezTo>
                      <a:pt x="1112" y="196"/>
                      <a:pt x="1114" y="195"/>
                      <a:pt x="1114" y="196"/>
                    </a:cubicBezTo>
                    <a:cubicBezTo>
                      <a:pt x="1114" y="197"/>
                      <a:pt x="1113" y="196"/>
                      <a:pt x="1113" y="196"/>
                    </a:cubicBezTo>
                    <a:cubicBezTo>
                      <a:pt x="1113" y="197"/>
                      <a:pt x="1112" y="197"/>
                      <a:pt x="1113" y="197"/>
                    </a:cubicBezTo>
                    <a:cubicBezTo>
                      <a:pt x="1113" y="198"/>
                      <a:pt x="1114" y="198"/>
                      <a:pt x="1114" y="198"/>
                    </a:cubicBezTo>
                    <a:cubicBezTo>
                      <a:pt x="1114" y="198"/>
                      <a:pt x="1115" y="199"/>
                      <a:pt x="1115" y="199"/>
                    </a:cubicBezTo>
                    <a:cubicBezTo>
                      <a:pt x="1115" y="199"/>
                      <a:pt x="1114" y="199"/>
                      <a:pt x="1114" y="200"/>
                    </a:cubicBezTo>
                    <a:cubicBezTo>
                      <a:pt x="1114" y="200"/>
                      <a:pt x="1115" y="201"/>
                      <a:pt x="1116" y="201"/>
                    </a:cubicBezTo>
                    <a:cubicBezTo>
                      <a:pt x="1117" y="201"/>
                      <a:pt x="1118" y="202"/>
                      <a:pt x="1118" y="203"/>
                    </a:cubicBezTo>
                    <a:cubicBezTo>
                      <a:pt x="1118" y="202"/>
                      <a:pt x="1116" y="202"/>
                      <a:pt x="1117" y="203"/>
                    </a:cubicBezTo>
                    <a:cubicBezTo>
                      <a:pt x="1117" y="203"/>
                      <a:pt x="1120" y="204"/>
                      <a:pt x="1120" y="205"/>
                    </a:cubicBezTo>
                    <a:cubicBezTo>
                      <a:pt x="1120" y="205"/>
                      <a:pt x="1117" y="204"/>
                      <a:pt x="1117" y="204"/>
                    </a:cubicBezTo>
                    <a:cubicBezTo>
                      <a:pt x="1117" y="204"/>
                      <a:pt x="1116" y="204"/>
                      <a:pt x="1117" y="204"/>
                    </a:cubicBezTo>
                    <a:cubicBezTo>
                      <a:pt x="1117" y="204"/>
                      <a:pt x="1118" y="205"/>
                      <a:pt x="1118" y="205"/>
                    </a:cubicBezTo>
                    <a:cubicBezTo>
                      <a:pt x="1119" y="205"/>
                      <a:pt x="1120" y="206"/>
                      <a:pt x="1118" y="206"/>
                    </a:cubicBezTo>
                    <a:cubicBezTo>
                      <a:pt x="1119" y="206"/>
                      <a:pt x="1118" y="205"/>
                      <a:pt x="1118" y="206"/>
                    </a:cubicBezTo>
                    <a:cubicBezTo>
                      <a:pt x="1118" y="206"/>
                      <a:pt x="1118" y="206"/>
                      <a:pt x="1118" y="206"/>
                    </a:cubicBezTo>
                    <a:cubicBezTo>
                      <a:pt x="1117" y="207"/>
                      <a:pt x="1119" y="207"/>
                      <a:pt x="1119" y="207"/>
                    </a:cubicBezTo>
                    <a:cubicBezTo>
                      <a:pt x="1119" y="207"/>
                      <a:pt x="1118" y="208"/>
                      <a:pt x="1118" y="208"/>
                    </a:cubicBezTo>
                    <a:cubicBezTo>
                      <a:pt x="1117" y="208"/>
                      <a:pt x="1118" y="209"/>
                      <a:pt x="1118" y="210"/>
                    </a:cubicBezTo>
                    <a:cubicBezTo>
                      <a:pt x="1118" y="212"/>
                      <a:pt x="1119" y="213"/>
                      <a:pt x="1120" y="214"/>
                    </a:cubicBezTo>
                    <a:cubicBezTo>
                      <a:pt x="1121" y="216"/>
                      <a:pt x="1123" y="216"/>
                      <a:pt x="1124" y="217"/>
                    </a:cubicBezTo>
                    <a:cubicBezTo>
                      <a:pt x="1125" y="217"/>
                      <a:pt x="1126" y="217"/>
                      <a:pt x="1127" y="217"/>
                    </a:cubicBezTo>
                    <a:cubicBezTo>
                      <a:pt x="1127" y="217"/>
                      <a:pt x="1127" y="218"/>
                      <a:pt x="1128" y="218"/>
                    </a:cubicBezTo>
                    <a:cubicBezTo>
                      <a:pt x="1128" y="219"/>
                      <a:pt x="1129" y="218"/>
                      <a:pt x="1128" y="218"/>
                    </a:cubicBezTo>
                    <a:cubicBezTo>
                      <a:pt x="1128" y="217"/>
                      <a:pt x="1127" y="217"/>
                      <a:pt x="1127" y="217"/>
                    </a:cubicBezTo>
                    <a:cubicBezTo>
                      <a:pt x="1126" y="215"/>
                      <a:pt x="1129" y="216"/>
                      <a:pt x="1129" y="216"/>
                    </a:cubicBezTo>
                    <a:cubicBezTo>
                      <a:pt x="1130" y="217"/>
                      <a:pt x="1131" y="217"/>
                      <a:pt x="1132" y="217"/>
                    </a:cubicBezTo>
                    <a:cubicBezTo>
                      <a:pt x="1133" y="217"/>
                      <a:pt x="1133" y="217"/>
                      <a:pt x="1134" y="217"/>
                    </a:cubicBezTo>
                    <a:cubicBezTo>
                      <a:pt x="1134" y="218"/>
                      <a:pt x="1136" y="220"/>
                      <a:pt x="1135" y="220"/>
                    </a:cubicBezTo>
                    <a:cubicBezTo>
                      <a:pt x="1135" y="220"/>
                      <a:pt x="1136" y="220"/>
                      <a:pt x="1136" y="221"/>
                    </a:cubicBezTo>
                    <a:cubicBezTo>
                      <a:pt x="1136" y="221"/>
                      <a:pt x="1135" y="221"/>
                      <a:pt x="1135" y="221"/>
                    </a:cubicBezTo>
                    <a:cubicBezTo>
                      <a:pt x="1135" y="221"/>
                      <a:pt x="1134" y="222"/>
                      <a:pt x="1135" y="222"/>
                    </a:cubicBezTo>
                    <a:cubicBezTo>
                      <a:pt x="1136" y="223"/>
                      <a:pt x="1136" y="223"/>
                      <a:pt x="1137" y="224"/>
                    </a:cubicBezTo>
                    <a:cubicBezTo>
                      <a:pt x="1138" y="224"/>
                      <a:pt x="1139" y="225"/>
                      <a:pt x="1140" y="226"/>
                    </a:cubicBezTo>
                    <a:cubicBezTo>
                      <a:pt x="1141" y="227"/>
                      <a:pt x="1141" y="228"/>
                      <a:pt x="1142" y="229"/>
                    </a:cubicBezTo>
                    <a:cubicBezTo>
                      <a:pt x="1143" y="229"/>
                      <a:pt x="1145" y="228"/>
                      <a:pt x="1146" y="229"/>
                    </a:cubicBezTo>
                    <a:cubicBezTo>
                      <a:pt x="1146" y="229"/>
                      <a:pt x="1147" y="230"/>
                      <a:pt x="1148" y="231"/>
                    </a:cubicBezTo>
                    <a:cubicBezTo>
                      <a:pt x="1148" y="231"/>
                      <a:pt x="1149" y="232"/>
                      <a:pt x="1150" y="232"/>
                    </a:cubicBezTo>
                    <a:cubicBezTo>
                      <a:pt x="1150" y="232"/>
                      <a:pt x="1151" y="233"/>
                      <a:pt x="1151" y="233"/>
                    </a:cubicBezTo>
                    <a:cubicBezTo>
                      <a:pt x="1152" y="234"/>
                      <a:pt x="1152" y="234"/>
                      <a:pt x="1151" y="234"/>
                    </a:cubicBezTo>
                    <a:cubicBezTo>
                      <a:pt x="1151" y="235"/>
                      <a:pt x="1152" y="235"/>
                      <a:pt x="1151" y="236"/>
                    </a:cubicBezTo>
                    <a:cubicBezTo>
                      <a:pt x="1151" y="236"/>
                      <a:pt x="1150" y="236"/>
                      <a:pt x="1150" y="235"/>
                    </a:cubicBezTo>
                    <a:cubicBezTo>
                      <a:pt x="1148" y="235"/>
                      <a:pt x="1147" y="234"/>
                      <a:pt x="1145" y="234"/>
                    </a:cubicBezTo>
                    <a:cubicBezTo>
                      <a:pt x="1146" y="234"/>
                      <a:pt x="1145" y="233"/>
                      <a:pt x="1145" y="232"/>
                    </a:cubicBezTo>
                    <a:cubicBezTo>
                      <a:pt x="1145" y="232"/>
                      <a:pt x="1146" y="232"/>
                      <a:pt x="1146" y="232"/>
                    </a:cubicBezTo>
                    <a:cubicBezTo>
                      <a:pt x="1146" y="231"/>
                      <a:pt x="1147" y="231"/>
                      <a:pt x="1147" y="231"/>
                    </a:cubicBezTo>
                    <a:cubicBezTo>
                      <a:pt x="1146" y="231"/>
                      <a:pt x="1145" y="230"/>
                      <a:pt x="1145" y="231"/>
                    </a:cubicBezTo>
                    <a:cubicBezTo>
                      <a:pt x="1145" y="231"/>
                      <a:pt x="1146" y="231"/>
                      <a:pt x="1146" y="231"/>
                    </a:cubicBezTo>
                    <a:cubicBezTo>
                      <a:pt x="1145" y="232"/>
                      <a:pt x="1144" y="231"/>
                      <a:pt x="1144" y="231"/>
                    </a:cubicBezTo>
                    <a:cubicBezTo>
                      <a:pt x="1143" y="231"/>
                      <a:pt x="1144" y="232"/>
                      <a:pt x="1143" y="232"/>
                    </a:cubicBezTo>
                    <a:cubicBezTo>
                      <a:pt x="1143" y="232"/>
                      <a:pt x="1143" y="231"/>
                      <a:pt x="1143" y="232"/>
                    </a:cubicBezTo>
                    <a:cubicBezTo>
                      <a:pt x="1143" y="232"/>
                      <a:pt x="1142" y="232"/>
                      <a:pt x="1142" y="232"/>
                    </a:cubicBezTo>
                    <a:cubicBezTo>
                      <a:pt x="1143" y="232"/>
                      <a:pt x="1146" y="233"/>
                      <a:pt x="1144" y="234"/>
                    </a:cubicBezTo>
                    <a:cubicBezTo>
                      <a:pt x="1144" y="234"/>
                      <a:pt x="1143" y="234"/>
                      <a:pt x="1143" y="235"/>
                    </a:cubicBezTo>
                    <a:cubicBezTo>
                      <a:pt x="1143" y="235"/>
                      <a:pt x="1143" y="236"/>
                      <a:pt x="1143" y="236"/>
                    </a:cubicBezTo>
                    <a:cubicBezTo>
                      <a:pt x="1144" y="237"/>
                      <a:pt x="1144" y="237"/>
                      <a:pt x="1144" y="238"/>
                    </a:cubicBezTo>
                    <a:cubicBezTo>
                      <a:pt x="1145" y="238"/>
                      <a:pt x="1145" y="239"/>
                      <a:pt x="1145" y="239"/>
                    </a:cubicBezTo>
                    <a:cubicBezTo>
                      <a:pt x="1146" y="241"/>
                      <a:pt x="1148" y="243"/>
                      <a:pt x="1150" y="245"/>
                    </a:cubicBezTo>
                    <a:cubicBezTo>
                      <a:pt x="1151" y="245"/>
                      <a:pt x="1153" y="246"/>
                      <a:pt x="1154" y="246"/>
                    </a:cubicBezTo>
                    <a:cubicBezTo>
                      <a:pt x="1155" y="247"/>
                      <a:pt x="1156" y="247"/>
                      <a:pt x="1156" y="248"/>
                    </a:cubicBezTo>
                    <a:cubicBezTo>
                      <a:pt x="1157" y="249"/>
                      <a:pt x="1157" y="250"/>
                      <a:pt x="1157" y="250"/>
                    </a:cubicBezTo>
                    <a:cubicBezTo>
                      <a:pt x="1156" y="250"/>
                      <a:pt x="1157" y="251"/>
                      <a:pt x="1156" y="251"/>
                    </a:cubicBezTo>
                    <a:cubicBezTo>
                      <a:pt x="1156" y="252"/>
                      <a:pt x="1155" y="251"/>
                      <a:pt x="1155" y="251"/>
                    </a:cubicBezTo>
                    <a:cubicBezTo>
                      <a:pt x="1154" y="251"/>
                      <a:pt x="1153" y="252"/>
                      <a:pt x="1152" y="251"/>
                    </a:cubicBezTo>
                    <a:cubicBezTo>
                      <a:pt x="1151" y="250"/>
                      <a:pt x="1150" y="251"/>
                      <a:pt x="1149" y="251"/>
                    </a:cubicBezTo>
                    <a:cubicBezTo>
                      <a:pt x="1148" y="251"/>
                      <a:pt x="1148" y="252"/>
                      <a:pt x="1147" y="252"/>
                    </a:cubicBezTo>
                    <a:cubicBezTo>
                      <a:pt x="1147" y="253"/>
                      <a:pt x="1147" y="253"/>
                      <a:pt x="1147" y="254"/>
                    </a:cubicBezTo>
                    <a:cubicBezTo>
                      <a:pt x="1147" y="255"/>
                      <a:pt x="1146" y="255"/>
                      <a:pt x="1146" y="256"/>
                    </a:cubicBezTo>
                    <a:cubicBezTo>
                      <a:pt x="1147" y="258"/>
                      <a:pt x="1149" y="260"/>
                      <a:pt x="1151" y="261"/>
                    </a:cubicBezTo>
                    <a:cubicBezTo>
                      <a:pt x="1151" y="261"/>
                      <a:pt x="1150" y="261"/>
                      <a:pt x="1150" y="260"/>
                    </a:cubicBezTo>
                    <a:cubicBezTo>
                      <a:pt x="1151" y="260"/>
                      <a:pt x="1152" y="261"/>
                      <a:pt x="1152" y="262"/>
                    </a:cubicBezTo>
                    <a:cubicBezTo>
                      <a:pt x="1152" y="262"/>
                      <a:pt x="1151" y="262"/>
                      <a:pt x="1151" y="262"/>
                    </a:cubicBezTo>
                    <a:cubicBezTo>
                      <a:pt x="1151" y="262"/>
                      <a:pt x="1153" y="263"/>
                      <a:pt x="1153" y="263"/>
                    </a:cubicBezTo>
                    <a:cubicBezTo>
                      <a:pt x="1154" y="264"/>
                      <a:pt x="1154" y="264"/>
                      <a:pt x="1155" y="265"/>
                    </a:cubicBezTo>
                    <a:cubicBezTo>
                      <a:pt x="1154" y="265"/>
                      <a:pt x="1155" y="264"/>
                      <a:pt x="1155" y="265"/>
                    </a:cubicBezTo>
                    <a:cubicBezTo>
                      <a:pt x="1156" y="265"/>
                      <a:pt x="1156" y="266"/>
                      <a:pt x="1157" y="266"/>
                    </a:cubicBezTo>
                    <a:cubicBezTo>
                      <a:pt x="1156" y="266"/>
                      <a:pt x="1153" y="265"/>
                      <a:pt x="1153" y="264"/>
                    </a:cubicBezTo>
                    <a:cubicBezTo>
                      <a:pt x="1153" y="264"/>
                      <a:pt x="1153" y="265"/>
                      <a:pt x="1153" y="265"/>
                    </a:cubicBezTo>
                    <a:cubicBezTo>
                      <a:pt x="1152" y="265"/>
                      <a:pt x="1152" y="264"/>
                      <a:pt x="1151" y="265"/>
                    </a:cubicBezTo>
                    <a:cubicBezTo>
                      <a:pt x="1151" y="265"/>
                      <a:pt x="1151" y="265"/>
                      <a:pt x="1151" y="265"/>
                    </a:cubicBezTo>
                    <a:cubicBezTo>
                      <a:pt x="1151" y="265"/>
                      <a:pt x="1151" y="266"/>
                      <a:pt x="1150" y="266"/>
                    </a:cubicBezTo>
                    <a:cubicBezTo>
                      <a:pt x="1149" y="265"/>
                      <a:pt x="1148" y="267"/>
                      <a:pt x="1148" y="268"/>
                    </a:cubicBezTo>
                    <a:cubicBezTo>
                      <a:pt x="1148" y="269"/>
                      <a:pt x="1147" y="268"/>
                      <a:pt x="1147" y="268"/>
                    </a:cubicBezTo>
                    <a:cubicBezTo>
                      <a:pt x="1146" y="267"/>
                      <a:pt x="1146" y="267"/>
                      <a:pt x="1145" y="267"/>
                    </a:cubicBezTo>
                    <a:cubicBezTo>
                      <a:pt x="1145" y="267"/>
                      <a:pt x="1144" y="267"/>
                      <a:pt x="1144" y="267"/>
                    </a:cubicBezTo>
                    <a:cubicBezTo>
                      <a:pt x="1145" y="267"/>
                      <a:pt x="1145" y="268"/>
                      <a:pt x="1145" y="268"/>
                    </a:cubicBezTo>
                    <a:cubicBezTo>
                      <a:pt x="1145" y="268"/>
                      <a:pt x="1146" y="268"/>
                      <a:pt x="1146" y="268"/>
                    </a:cubicBezTo>
                    <a:cubicBezTo>
                      <a:pt x="1146" y="268"/>
                      <a:pt x="1146" y="268"/>
                      <a:pt x="1145" y="268"/>
                    </a:cubicBezTo>
                    <a:cubicBezTo>
                      <a:pt x="1146" y="268"/>
                      <a:pt x="1147" y="268"/>
                      <a:pt x="1147" y="268"/>
                    </a:cubicBezTo>
                    <a:cubicBezTo>
                      <a:pt x="1147" y="269"/>
                      <a:pt x="1148" y="269"/>
                      <a:pt x="1147" y="269"/>
                    </a:cubicBezTo>
                    <a:cubicBezTo>
                      <a:pt x="1147" y="269"/>
                      <a:pt x="1148" y="269"/>
                      <a:pt x="1147" y="270"/>
                    </a:cubicBezTo>
                    <a:cubicBezTo>
                      <a:pt x="1147" y="270"/>
                      <a:pt x="1148" y="270"/>
                      <a:pt x="1148" y="270"/>
                    </a:cubicBezTo>
                    <a:cubicBezTo>
                      <a:pt x="1149" y="270"/>
                      <a:pt x="1149" y="271"/>
                      <a:pt x="1149" y="271"/>
                    </a:cubicBezTo>
                    <a:cubicBezTo>
                      <a:pt x="1149" y="271"/>
                      <a:pt x="1148" y="271"/>
                      <a:pt x="1148" y="271"/>
                    </a:cubicBezTo>
                    <a:cubicBezTo>
                      <a:pt x="1149" y="272"/>
                      <a:pt x="1149" y="272"/>
                      <a:pt x="1150" y="273"/>
                    </a:cubicBezTo>
                    <a:cubicBezTo>
                      <a:pt x="1150" y="273"/>
                      <a:pt x="1150" y="273"/>
                      <a:pt x="1150" y="273"/>
                    </a:cubicBezTo>
                    <a:cubicBezTo>
                      <a:pt x="1150" y="273"/>
                      <a:pt x="1151" y="273"/>
                      <a:pt x="1151" y="274"/>
                    </a:cubicBezTo>
                    <a:cubicBezTo>
                      <a:pt x="1151" y="274"/>
                      <a:pt x="1151" y="274"/>
                      <a:pt x="1151" y="274"/>
                    </a:cubicBezTo>
                    <a:cubicBezTo>
                      <a:pt x="1152" y="274"/>
                      <a:pt x="1152" y="274"/>
                      <a:pt x="1152" y="274"/>
                    </a:cubicBezTo>
                    <a:cubicBezTo>
                      <a:pt x="1152" y="275"/>
                      <a:pt x="1152" y="275"/>
                      <a:pt x="1151" y="275"/>
                    </a:cubicBezTo>
                    <a:cubicBezTo>
                      <a:pt x="1152" y="275"/>
                      <a:pt x="1151" y="275"/>
                      <a:pt x="1152" y="276"/>
                    </a:cubicBezTo>
                    <a:cubicBezTo>
                      <a:pt x="1152" y="276"/>
                      <a:pt x="1152" y="276"/>
                      <a:pt x="1152" y="276"/>
                    </a:cubicBezTo>
                    <a:cubicBezTo>
                      <a:pt x="1152" y="276"/>
                      <a:pt x="1152" y="277"/>
                      <a:pt x="1153" y="278"/>
                    </a:cubicBezTo>
                    <a:cubicBezTo>
                      <a:pt x="1153" y="278"/>
                      <a:pt x="1153" y="279"/>
                      <a:pt x="1153" y="280"/>
                    </a:cubicBezTo>
                    <a:cubicBezTo>
                      <a:pt x="1153" y="280"/>
                      <a:pt x="1153" y="280"/>
                      <a:pt x="1153" y="280"/>
                    </a:cubicBezTo>
                    <a:cubicBezTo>
                      <a:pt x="1153" y="281"/>
                      <a:pt x="1153" y="281"/>
                      <a:pt x="1153" y="282"/>
                    </a:cubicBezTo>
                    <a:cubicBezTo>
                      <a:pt x="1153" y="282"/>
                      <a:pt x="1152" y="282"/>
                      <a:pt x="1152" y="282"/>
                    </a:cubicBezTo>
                    <a:cubicBezTo>
                      <a:pt x="1152" y="283"/>
                      <a:pt x="1152" y="283"/>
                      <a:pt x="1151" y="283"/>
                    </a:cubicBezTo>
                    <a:cubicBezTo>
                      <a:pt x="1151" y="284"/>
                      <a:pt x="1152" y="284"/>
                      <a:pt x="1152" y="284"/>
                    </a:cubicBezTo>
                    <a:cubicBezTo>
                      <a:pt x="1152" y="285"/>
                      <a:pt x="1151" y="285"/>
                      <a:pt x="1151" y="285"/>
                    </a:cubicBezTo>
                    <a:cubicBezTo>
                      <a:pt x="1151" y="285"/>
                      <a:pt x="1151" y="286"/>
                      <a:pt x="1151" y="286"/>
                    </a:cubicBezTo>
                    <a:cubicBezTo>
                      <a:pt x="1151" y="286"/>
                      <a:pt x="1151" y="286"/>
                      <a:pt x="1150" y="287"/>
                    </a:cubicBezTo>
                    <a:cubicBezTo>
                      <a:pt x="1150" y="287"/>
                      <a:pt x="1150" y="288"/>
                      <a:pt x="1150" y="288"/>
                    </a:cubicBezTo>
                    <a:cubicBezTo>
                      <a:pt x="1150" y="288"/>
                      <a:pt x="1150" y="290"/>
                      <a:pt x="1149" y="289"/>
                    </a:cubicBezTo>
                    <a:cubicBezTo>
                      <a:pt x="1149" y="289"/>
                      <a:pt x="1149" y="288"/>
                      <a:pt x="1149" y="288"/>
                    </a:cubicBezTo>
                    <a:cubicBezTo>
                      <a:pt x="1148" y="288"/>
                      <a:pt x="1148" y="287"/>
                      <a:pt x="1147" y="287"/>
                    </a:cubicBezTo>
                    <a:cubicBezTo>
                      <a:pt x="1147" y="286"/>
                      <a:pt x="1146" y="286"/>
                      <a:pt x="1145" y="285"/>
                    </a:cubicBezTo>
                    <a:cubicBezTo>
                      <a:pt x="1144" y="285"/>
                      <a:pt x="1144" y="284"/>
                      <a:pt x="1143" y="284"/>
                    </a:cubicBezTo>
                    <a:cubicBezTo>
                      <a:pt x="1142" y="283"/>
                      <a:pt x="1141" y="281"/>
                      <a:pt x="1140" y="280"/>
                    </a:cubicBezTo>
                    <a:cubicBezTo>
                      <a:pt x="1138" y="278"/>
                      <a:pt x="1136" y="277"/>
                      <a:pt x="1135" y="275"/>
                    </a:cubicBezTo>
                    <a:cubicBezTo>
                      <a:pt x="1134" y="274"/>
                      <a:pt x="1132" y="273"/>
                      <a:pt x="1131" y="272"/>
                    </a:cubicBezTo>
                    <a:cubicBezTo>
                      <a:pt x="1132" y="272"/>
                      <a:pt x="1132" y="272"/>
                      <a:pt x="1132" y="273"/>
                    </a:cubicBezTo>
                    <a:cubicBezTo>
                      <a:pt x="1132" y="273"/>
                      <a:pt x="1132" y="273"/>
                      <a:pt x="1133" y="273"/>
                    </a:cubicBezTo>
                    <a:cubicBezTo>
                      <a:pt x="1133" y="273"/>
                      <a:pt x="1133" y="272"/>
                      <a:pt x="1132" y="272"/>
                    </a:cubicBezTo>
                    <a:cubicBezTo>
                      <a:pt x="1131" y="272"/>
                      <a:pt x="1130" y="271"/>
                      <a:pt x="1129" y="271"/>
                    </a:cubicBezTo>
                    <a:cubicBezTo>
                      <a:pt x="1127" y="269"/>
                      <a:pt x="1125" y="267"/>
                      <a:pt x="1123" y="265"/>
                    </a:cubicBezTo>
                    <a:cubicBezTo>
                      <a:pt x="1121" y="263"/>
                      <a:pt x="1118" y="260"/>
                      <a:pt x="1116" y="258"/>
                    </a:cubicBezTo>
                    <a:cubicBezTo>
                      <a:pt x="1113" y="256"/>
                      <a:pt x="1111" y="255"/>
                      <a:pt x="1109" y="253"/>
                    </a:cubicBezTo>
                    <a:cubicBezTo>
                      <a:pt x="1107" y="251"/>
                      <a:pt x="1104" y="249"/>
                      <a:pt x="1102" y="247"/>
                    </a:cubicBezTo>
                    <a:cubicBezTo>
                      <a:pt x="1100" y="244"/>
                      <a:pt x="1097" y="242"/>
                      <a:pt x="1095" y="239"/>
                    </a:cubicBezTo>
                    <a:cubicBezTo>
                      <a:pt x="1095" y="239"/>
                      <a:pt x="1094" y="238"/>
                      <a:pt x="1094" y="237"/>
                    </a:cubicBezTo>
                    <a:cubicBezTo>
                      <a:pt x="1093" y="237"/>
                      <a:pt x="1093" y="236"/>
                      <a:pt x="1092" y="236"/>
                    </a:cubicBezTo>
                    <a:cubicBezTo>
                      <a:pt x="1092" y="236"/>
                      <a:pt x="1092" y="235"/>
                      <a:pt x="1092" y="235"/>
                    </a:cubicBezTo>
                    <a:cubicBezTo>
                      <a:pt x="1091" y="235"/>
                      <a:pt x="1091" y="234"/>
                      <a:pt x="1091" y="233"/>
                    </a:cubicBezTo>
                    <a:cubicBezTo>
                      <a:pt x="1090" y="232"/>
                      <a:pt x="1089" y="231"/>
                      <a:pt x="1088" y="230"/>
                    </a:cubicBezTo>
                    <a:cubicBezTo>
                      <a:pt x="1088" y="230"/>
                      <a:pt x="1087" y="228"/>
                      <a:pt x="1088" y="227"/>
                    </a:cubicBezTo>
                    <a:cubicBezTo>
                      <a:pt x="1088" y="227"/>
                      <a:pt x="1088" y="228"/>
                      <a:pt x="1088" y="229"/>
                    </a:cubicBezTo>
                    <a:cubicBezTo>
                      <a:pt x="1088" y="228"/>
                      <a:pt x="1088" y="228"/>
                      <a:pt x="1088" y="227"/>
                    </a:cubicBezTo>
                    <a:cubicBezTo>
                      <a:pt x="1088" y="227"/>
                      <a:pt x="1088" y="227"/>
                      <a:pt x="1088" y="227"/>
                    </a:cubicBezTo>
                    <a:cubicBezTo>
                      <a:pt x="1089" y="226"/>
                      <a:pt x="1088" y="225"/>
                      <a:pt x="1088" y="225"/>
                    </a:cubicBezTo>
                    <a:cubicBezTo>
                      <a:pt x="1089" y="225"/>
                      <a:pt x="1089" y="225"/>
                      <a:pt x="1090" y="225"/>
                    </a:cubicBezTo>
                    <a:cubicBezTo>
                      <a:pt x="1090" y="225"/>
                      <a:pt x="1089" y="225"/>
                      <a:pt x="1089" y="224"/>
                    </a:cubicBezTo>
                    <a:cubicBezTo>
                      <a:pt x="1089" y="224"/>
                      <a:pt x="1089" y="224"/>
                      <a:pt x="1089" y="223"/>
                    </a:cubicBezTo>
                    <a:cubicBezTo>
                      <a:pt x="1089" y="222"/>
                      <a:pt x="1088" y="221"/>
                      <a:pt x="1088" y="221"/>
                    </a:cubicBezTo>
                    <a:cubicBezTo>
                      <a:pt x="1087" y="220"/>
                      <a:pt x="1086" y="219"/>
                      <a:pt x="1085" y="219"/>
                    </a:cubicBezTo>
                    <a:cubicBezTo>
                      <a:pt x="1085" y="219"/>
                      <a:pt x="1084" y="218"/>
                      <a:pt x="1084" y="218"/>
                    </a:cubicBezTo>
                    <a:cubicBezTo>
                      <a:pt x="1084" y="218"/>
                      <a:pt x="1083" y="218"/>
                      <a:pt x="1083" y="218"/>
                    </a:cubicBezTo>
                    <a:cubicBezTo>
                      <a:pt x="1083" y="218"/>
                      <a:pt x="1084" y="217"/>
                      <a:pt x="1084" y="217"/>
                    </a:cubicBezTo>
                    <a:cubicBezTo>
                      <a:pt x="1085" y="217"/>
                      <a:pt x="1086" y="218"/>
                      <a:pt x="1087" y="218"/>
                    </a:cubicBezTo>
                    <a:cubicBezTo>
                      <a:pt x="1087" y="218"/>
                      <a:pt x="1089" y="218"/>
                      <a:pt x="1088" y="217"/>
                    </a:cubicBezTo>
                    <a:cubicBezTo>
                      <a:pt x="1088" y="216"/>
                      <a:pt x="1088" y="215"/>
                      <a:pt x="1087" y="215"/>
                    </a:cubicBezTo>
                    <a:cubicBezTo>
                      <a:pt x="1088" y="215"/>
                      <a:pt x="1089" y="216"/>
                      <a:pt x="1089" y="216"/>
                    </a:cubicBezTo>
                    <a:cubicBezTo>
                      <a:pt x="1090" y="216"/>
                      <a:pt x="1090" y="216"/>
                      <a:pt x="1091" y="216"/>
                    </a:cubicBezTo>
                    <a:cubicBezTo>
                      <a:pt x="1091" y="215"/>
                      <a:pt x="1092" y="215"/>
                      <a:pt x="1092" y="215"/>
                    </a:cubicBezTo>
                    <a:cubicBezTo>
                      <a:pt x="1093" y="216"/>
                      <a:pt x="1093" y="216"/>
                      <a:pt x="1093" y="216"/>
                    </a:cubicBezTo>
                    <a:cubicBezTo>
                      <a:pt x="1093" y="216"/>
                      <a:pt x="1092" y="215"/>
                      <a:pt x="1092" y="215"/>
                    </a:cubicBezTo>
                    <a:cubicBezTo>
                      <a:pt x="1092" y="215"/>
                      <a:pt x="1092" y="214"/>
                      <a:pt x="1092" y="214"/>
                    </a:cubicBezTo>
                    <a:cubicBezTo>
                      <a:pt x="1093" y="213"/>
                      <a:pt x="1093" y="213"/>
                      <a:pt x="1093" y="213"/>
                    </a:cubicBezTo>
                    <a:cubicBezTo>
                      <a:pt x="1093" y="212"/>
                      <a:pt x="1093" y="212"/>
                      <a:pt x="1093" y="212"/>
                    </a:cubicBezTo>
                    <a:cubicBezTo>
                      <a:pt x="1094" y="212"/>
                      <a:pt x="1094" y="211"/>
                      <a:pt x="1094" y="210"/>
                    </a:cubicBezTo>
                    <a:cubicBezTo>
                      <a:pt x="1094" y="210"/>
                      <a:pt x="1095" y="211"/>
                      <a:pt x="1095" y="211"/>
                    </a:cubicBezTo>
                    <a:cubicBezTo>
                      <a:pt x="1095" y="210"/>
                      <a:pt x="1094" y="210"/>
                      <a:pt x="1094" y="210"/>
                    </a:cubicBezTo>
                    <a:cubicBezTo>
                      <a:pt x="1094" y="209"/>
                      <a:pt x="1094" y="208"/>
                      <a:pt x="1095" y="208"/>
                    </a:cubicBezTo>
                    <a:cubicBezTo>
                      <a:pt x="1094" y="208"/>
                      <a:pt x="1094" y="207"/>
                      <a:pt x="1094" y="207"/>
                    </a:cubicBezTo>
                    <a:cubicBezTo>
                      <a:pt x="1095" y="206"/>
                      <a:pt x="1094" y="206"/>
                      <a:pt x="1093" y="205"/>
                    </a:cubicBezTo>
                    <a:cubicBezTo>
                      <a:pt x="1093" y="205"/>
                      <a:pt x="1093" y="204"/>
                      <a:pt x="1093" y="204"/>
                    </a:cubicBezTo>
                    <a:cubicBezTo>
                      <a:pt x="1093" y="203"/>
                      <a:pt x="1093" y="202"/>
                      <a:pt x="1094" y="202"/>
                    </a:cubicBezTo>
                    <a:cubicBezTo>
                      <a:pt x="1094" y="202"/>
                      <a:pt x="1094" y="201"/>
                      <a:pt x="1094" y="200"/>
                    </a:cubicBezTo>
                    <a:cubicBezTo>
                      <a:pt x="1093" y="200"/>
                      <a:pt x="1094" y="199"/>
                      <a:pt x="1094" y="199"/>
                    </a:cubicBezTo>
                    <a:cubicBezTo>
                      <a:pt x="1095" y="199"/>
                      <a:pt x="1095" y="199"/>
                      <a:pt x="1095" y="198"/>
                    </a:cubicBezTo>
                    <a:cubicBezTo>
                      <a:pt x="1095" y="198"/>
                      <a:pt x="1095" y="198"/>
                      <a:pt x="1095" y="198"/>
                    </a:cubicBezTo>
                    <a:cubicBezTo>
                      <a:pt x="1096" y="197"/>
                      <a:pt x="1096" y="197"/>
                      <a:pt x="1096" y="197"/>
                    </a:cubicBezTo>
                    <a:cubicBezTo>
                      <a:pt x="1095" y="196"/>
                      <a:pt x="1095" y="195"/>
                      <a:pt x="1095" y="195"/>
                    </a:cubicBezTo>
                    <a:cubicBezTo>
                      <a:pt x="1096" y="194"/>
                      <a:pt x="1096" y="194"/>
                      <a:pt x="1096" y="194"/>
                    </a:cubicBezTo>
                    <a:cubicBezTo>
                      <a:pt x="1097" y="192"/>
                      <a:pt x="1096" y="192"/>
                      <a:pt x="1095" y="192"/>
                    </a:cubicBezTo>
                    <a:cubicBezTo>
                      <a:pt x="1094" y="191"/>
                      <a:pt x="1095" y="191"/>
                      <a:pt x="1095" y="190"/>
                    </a:cubicBezTo>
                    <a:cubicBezTo>
                      <a:pt x="1096" y="189"/>
                      <a:pt x="1097" y="190"/>
                      <a:pt x="1097" y="189"/>
                    </a:cubicBezTo>
                    <a:cubicBezTo>
                      <a:pt x="1097" y="189"/>
                      <a:pt x="1098" y="189"/>
                      <a:pt x="1098" y="189"/>
                    </a:cubicBezTo>
                    <a:cubicBezTo>
                      <a:pt x="1098" y="188"/>
                      <a:pt x="1098" y="188"/>
                      <a:pt x="1098" y="187"/>
                    </a:cubicBezTo>
                    <a:cubicBezTo>
                      <a:pt x="1099" y="187"/>
                      <a:pt x="1099" y="188"/>
                      <a:pt x="1100" y="187"/>
                    </a:cubicBezTo>
                    <a:cubicBezTo>
                      <a:pt x="1100" y="187"/>
                      <a:pt x="1100" y="187"/>
                      <a:pt x="1100" y="187"/>
                    </a:cubicBezTo>
                    <a:cubicBezTo>
                      <a:pt x="1100" y="187"/>
                      <a:pt x="1100" y="187"/>
                      <a:pt x="1101" y="187"/>
                    </a:cubicBezTo>
                    <a:cubicBezTo>
                      <a:pt x="1101" y="187"/>
                      <a:pt x="1101" y="188"/>
                      <a:pt x="1102" y="188"/>
                    </a:cubicBezTo>
                    <a:cubicBezTo>
                      <a:pt x="1102" y="188"/>
                      <a:pt x="1101" y="187"/>
                      <a:pt x="1101" y="187"/>
                    </a:cubicBezTo>
                    <a:cubicBezTo>
                      <a:pt x="1102" y="186"/>
                      <a:pt x="1102" y="187"/>
                      <a:pt x="1103" y="187"/>
                    </a:cubicBezTo>
                    <a:cubicBezTo>
                      <a:pt x="1103" y="187"/>
                      <a:pt x="1103" y="186"/>
                      <a:pt x="1102" y="186"/>
                    </a:cubicBezTo>
                    <a:cubicBezTo>
                      <a:pt x="1102" y="186"/>
                      <a:pt x="1101" y="185"/>
                      <a:pt x="1101" y="185"/>
                    </a:cubicBezTo>
                    <a:cubicBezTo>
                      <a:pt x="1100" y="185"/>
                      <a:pt x="1100" y="185"/>
                      <a:pt x="1100" y="185"/>
                    </a:cubicBezTo>
                    <a:cubicBezTo>
                      <a:pt x="1099" y="185"/>
                      <a:pt x="1100" y="185"/>
                      <a:pt x="1100" y="184"/>
                    </a:cubicBezTo>
                    <a:cubicBezTo>
                      <a:pt x="1100" y="184"/>
                      <a:pt x="1099" y="184"/>
                      <a:pt x="1100" y="184"/>
                    </a:cubicBezTo>
                    <a:cubicBezTo>
                      <a:pt x="1100" y="183"/>
                      <a:pt x="1101" y="183"/>
                      <a:pt x="1101" y="183"/>
                    </a:cubicBezTo>
                    <a:cubicBezTo>
                      <a:pt x="1100" y="182"/>
                      <a:pt x="1100" y="182"/>
                      <a:pt x="1100" y="182"/>
                    </a:cubicBezTo>
                    <a:cubicBezTo>
                      <a:pt x="1100" y="181"/>
                      <a:pt x="1099" y="181"/>
                      <a:pt x="1099" y="181"/>
                    </a:cubicBezTo>
                    <a:cubicBezTo>
                      <a:pt x="1098" y="181"/>
                      <a:pt x="1097" y="181"/>
                      <a:pt x="1096" y="180"/>
                    </a:cubicBezTo>
                    <a:cubicBezTo>
                      <a:pt x="1096" y="179"/>
                      <a:pt x="1096" y="179"/>
                      <a:pt x="1096" y="179"/>
                    </a:cubicBezTo>
                    <a:cubicBezTo>
                      <a:pt x="1095" y="178"/>
                      <a:pt x="1096" y="179"/>
                      <a:pt x="1096" y="178"/>
                    </a:cubicBezTo>
                    <a:cubicBezTo>
                      <a:pt x="1096" y="178"/>
                      <a:pt x="1095" y="177"/>
                      <a:pt x="1095" y="177"/>
                    </a:cubicBezTo>
                    <a:cubicBezTo>
                      <a:pt x="1094" y="176"/>
                      <a:pt x="1093" y="175"/>
                      <a:pt x="1091" y="174"/>
                    </a:cubicBezTo>
                    <a:cubicBezTo>
                      <a:pt x="1091" y="173"/>
                      <a:pt x="1090" y="172"/>
                      <a:pt x="1091" y="172"/>
                    </a:cubicBezTo>
                    <a:cubicBezTo>
                      <a:pt x="1091" y="172"/>
                      <a:pt x="1091" y="171"/>
                      <a:pt x="1091" y="171"/>
                    </a:cubicBezTo>
                    <a:cubicBezTo>
                      <a:pt x="1091" y="170"/>
                      <a:pt x="1092" y="170"/>
                      <a:pt x="1092" y="171"/>
                    </a:cubicBezTo>
                    <a:cubicBezTo>
                      <a:pt x="1094" y="171"/>
                      <a:pt x="1095" y="171"/>
                      <a:pt x="1096" y="171"/>
                    </a:cubicBezTo>
                    <a:cubicBezTo>
                      <a:pt x="1096" y="171"/>
                      <a:pt x="1097" y="171"/>
                      <a:pt x="1098" y="172"/>
                    </a:cubicBezTo>
                    <a:cubicBezTo>
                      <a:pt x="1098" y="172"/>
                      <a:pt x="1098" y="172"/>
                      <a:pt x="1099" y="172"/>
                    </a:cubicBezTo>
                    <a:cubicBezTo>
                      <a:pt x="1099" y="172"/>
                      <a:pt x="1096" y="171"/>
                      <a:pt x="1096" y="171"/>
                    </a:cubicBezTo>
                    <a:cubicBezTo>
                      <a:pt x="1096" y="170"/>
                      <a:pt x="1099" y="171"/>
                      <a:pt x="1100" y="171"/>
                    </a:cubicBezTo>
                    <a:cubicBezTo>
                      <a:pt x="1099" y="170"/>
                      <a:pt x="1098" y="170"/>
                      <a:pt x="1097" y="170"/>
                    </a:cubicBezTo>
                    <a:cubicBezTo>
                      <a:pt x="1096" y="170"/>
                      <a:pt x="1095" y="170"/>
                      <a:pt x="1094" y="170"/>
                    </a:cubicBezTo>
                    <a:cubicBezTo>
                      <a:pt x="1092" y="170"/>
                      <a:pt x="1091" y="170"/>
                      <a:pt x="1090" y="169"/>
                    </a:cubicBezTo>
                    <a:cubicBezTo>
                      <a:pt x="1089" y="169"/>
                      <a:pt x="1088" y="168"/>
                      <a:pt x="1087" y="168"/>
                    </a:cubicBezTo>
                    <a:cubicBezTo>
                      <a:pt x="1086" y="168"/>
                      <a:pt x="1085" y="168"/>
                      <a:pt x="1085" y="169"/>
                    </a:cubicBezTo>
                    <a:cubicBezTo>
                      <a:pt x="1085" y="169"/>
                      <a:pt x="1084" y="169"/>
                      <a:pt x="1084" y="169"/>
                    </a:cubicBezTo>
                    <a:cubicBezTo>
                      <a:pt x="1083" y="169"/>
                      <a:pt x="1083" y="169"/>
                      <a:pt x="1082" y="170"/>
                    </a:cubicBezTo>
                    <a:cubicBezTo>
                      <a:pt x="1082" y="170"/>
                      <a:pt x="1081" y="170"/>
                      <a:pt x="1081" y="170"/>
                    </a:cubicBezTo>
                    <a:cubicBezTo>
                      <a:pt x="1081" y="170"/>
                      <a:pt x="1081" y="170"/>
                      <a:pt x="1081" y="171"/>
                    </a:cubicBezTo>
                    <a:cubicBezTo>
                      <a:pt x="1081" y="171"/>
                      <a:pt x="1083" y="171"/>
                      <a:pt x="1083" y="172"/>
                    </a:cubicBezTo>
                    <a:cubicBezTo>
                      <a:pt x="1083" y="172"/>
                      <a:pt x="1082" y="172"/>
                      <a:pt x="1083" y="172"/>
                    </a:cubicBezTo>
                    <a:cubicBezTo>
                      <a:pt x="1082" y="172"/>
                      <a:pt x="1084" y="174"/>
                      <a:pt x="1084" y="174"/>
                    </a:cubicBezTo>
                    <a:cubicBezTo>
                      <a:pt x="1085" y="174"/>
                      <a:pt x="1085" y="174"/>
                      <a:pt x="1086" y="175"/>
                    </a:cubicBezTo>
                    <a:cubicBezTo>
                      <a:pt x="1086" y="175"/>
                      <a:pt x="1086" y="176"/>
                      <a:pt x="1086" y="176"/>
                    </a:cubicBezTo>
                    <a:cubicBezTo>
                      <a:pt x="1087" y="177"/>
                      <a:pt x="1087" y="177"/>
                      <a:pt x="1087" y="177"/>
                    </a:cubicBezTo>
                    <a:cubicBezTo>
                      <a:pt x="1088" y="178"/>
                      <a:pt x="1089" y="178"/>
                      <a:pt x="1089" y="178"/>
                    </a:cubicBezTo>
                    <a:cubicBezTo>
                      <a:pt x="1090" y="178"/>
                      <a:pt x="1091" y="178"/>
                      <a:pt x="1091" y="178"/>
                    </a:cubicBezTo>
                    <a:cubicBezTo>
                      <a:pt x="1091" y="179"/>
                      <a:pt x="1090" y="179"/>
                      <a:pt x="1091" y="179"/>
                    </a:cubicBezTo>
                    <a:cubicBezTo>
                      <a:pt x="1090" y="179"/>
                      <a:pt x="1090" y="179"/>
                      <a:pt x="1090" y="179"/>
                    </a:cubicBezTo>
                    <a:cubicBezTo>
                      <a:pt x="1091" y="180"/>
                      <a:pt x="1091" y="180"/>
                      <a:pt x="1090" y="180"/>
                    </a:cubicBezTo>
                    <a:cubicBezTo>
                      <a:pt x="1090" y="180"/>
                      <a:pt x="1089" y="179"/>
                      <a:pt x="1089" y="179"/>
                    </a:cubicBezTo>
                    <a:cubicBezTo>
                      <a:pt x="1088" y="179"/>
                      <a:pt x="1088" y="179"/>
                      <a:pt x="1088" y="179"/>
                    </a:cubicBezTo>
                    <a:cubicBezTo>
                      <a:pt x="1088" y="178"/>
                      <a:pt x="1086" y="178"/>
                      <a:pt x="1086" y="178"/>
                    </a:cubicBezTo>
                    <a:cubicBezTo>
                      <a:pt x="1086" y="179"/>
                      <a:pt x="1087" y="179"/>
                      <a:pt x="1088" y="179"/>
                    </a:cubicBezTo>
                    <a:cubicBezTo>
                      <a:pt x="1087" y="179"/>
                      <a:pt x="1086" y="179"/>
                      <a:pt x="1085" y="179"/>
                    </a:cubicBezTo>
                    <a:cubicBezTo>
                      <a:pt x="1084" y="178"/>
                      <a:pt x="1084" y="179"/>
                      <a:pt x="1084" y="179"/>
                    </a:cubicBezTo>
                    <a:cubicBezTo>
                      <a:pt x="1084" y="179"/>
                      <a:pt x="1084" y="180"/>
                      <a:pt x="1084" y="181"/>
                    </a:cubicBezTo>
                    <a:cubicBezTo>
                      <a:pt x="1084" y="181"/>
                      <a:pt x="1084" y="181"/>
                      <a:pt x="1084" y="181"/>
                    </a:cubicBezTo>
                    <a:cubicBezTo>
                      <a:pt x="1084" y="181"/>
                      <a:pt x="1083" y="181"/>
                      <a:pt x="1083" y="181"/>
                    </a:cubicBezTo>
                    <a:cubicBezTo>
                      <a:pt x="1083" y="181"/>
                      <a:pt x="1083" y="181"/>
                      <a:pt x="1084" y="182"/>
                    </a:cubicBezTo>
                    <a:cubicBezTo>
                      <a:pt x="1083" y="182"/>
                      <a:pt x="1083" y="182"/>
                      <a:pt x="1083" y="181"/>
                    </a:cubicBezTo>
                    <a:cubicBezTo>
                      <a:pt x="1083" y="182"/>
                      <a:pt x="1083" y="183"/>
                      <a:pt x="1082" y="182"/>
                    </a:cubicBezTo>
                    <a:cubicBezTo>
                      <a:pt x="1083" y="183"/>
                      <a:pt x="1083" y="183"/>
                      <a:pt x="1083" y="183"/>
                    </a:cubicBezTo>
                    <a:cubicBezTo>
                      <a:pt x="1083" y="183"/>
                      <a:pt x="1082" y="183"/>
                      <a:pt x="1082" y="183"/>
                    </a:cubicBezTo>
                    <a:cubicBezTo>
                      <a:pt x="1082" y="184"/>
                      <a:pt x="1083" y="184"/>
                      <a:pt x="1083" y="184"/>
                    </a:cubicBezTo>
                    <a:cubicBezTo>
                      <a:pt x="1083" y="184"/>
                      <a:pt x="1082" y="185"/>
                      <a:pt x="1082" y="185"/>
                    </a:cubicBezTo>
                    <a:cubicBezTo>
                      <a:pt x="1083" y="185"/>
                      <a:pt x="1082" y="186"/>
                      <a:pt x="1081" y="186"/>
                    </a:cubicBezTo>
                    <a:cubicBezTo>
                      <a:pt x="1081" y="187"/>
                      <a:pt x="1082" y="187"/>
                      <a:pt x="1082" y="188"/>
                    </a:cubicBezTo>
                    <a:cubicBezTo>
                      <a:pt x="1082" y="188"/>
                      <a:pt x="1081" y="187"/>
                      <a:pt x="1081" y="188"/>
                    </a:cubicBezTo>
                    <a:cubicBezTo>
                      <a:pt x="1081" y="188"/>
                      <a:pt x="1080" y="188"/>
                      <a:pt x="1080" y="188"/>
                    </a:cubicBezTo>
                    <a:cubicBezTo>
                      <a:pt x="1080" y="188"/>
                      <a:pt x="1079" y="188"/>
                      <a:pt x="1079" y="188"/>
                    </a:cubicBezTo>
                    <a:cubicBezTo>
                      <a:pt x="1079" y="188"/>
                      <a:pt x="1079" y="189"/>
                      <a:pt x="1079" y="189"/>
                    </a:cubicBezTo>
                    <a:cubicBezTo>
                      <a:pt x="1079" y="190"/>
                      <a:pt x="1078" y="189"/>
                      <a:pt x="1078" y="188"/>
                    </a:cubicBezTo>
                    <a:cubicBezTo>
                      <a:pt x="1079" y="188"/>
                      <a:pt x="1076" y="187"/>
                      <a:pt x="1076" y="187"/>
                    </a:cubicBezTo>
                    <a:cubicBezTo>
                      <a:pt x="1076" y="187"/>
                      <a:pt x="1077" y="187"/>
                      <a:pt x="1077" y="187"/>
                    </a:cubicBezTo>
                    <a:cubicBezTo>
                      <a:pt x="1076" y="186"/>
                      <a:pt x="1077" y="186"/>
                      <a:pt x="1077" y="186"/>
                    </a:cubicBezTo>
                    <a:cubicBezTo>
                      <a:pt x="1077" y="186"/>
                      <a:pt x="1076" y="185"/>
                      <a:pt x="1076" y="185"/>
                    </a:cubicBezTo>
                    <a:cubicBezTo>
                      <a:pt x="1076" y="185"/>
                      <a:pt x="1076" y="185"/>
                      <a:pt x="1075" y="185"/>
                    </a:cubicBezTo>
                    <a:cubicBezTo>
                      <a:pt x="1075" y="185"/>
                      <a:pt x="1073" y="185"/>
                      <a:pt x="1073" y="186"/>
                    </a:cubicBezTo>
                    <a:cubicBezTo>
                      <a:pt x="1072" y="186"/>
                      <a:pt x="1072" y="185"/>
                      <a:pt x="1072" y="185"/>
                    </a:cubicBezTo>
                    <a:cubicBezTo>
                      <a:pt x="1072" y="184"/>
                      <a:pt x="1071" y="183"/>
                      <a:pt x="1070" y="183"/>
                    </a:cubicBezTo>
                    <a:cubicBezTo>
                      <a:pt x="1070" y="183"/>
                      <a:pt x="1070" y="182"/>
                      <a:pt x="1069" y="183"/>
                    </a:cubicBezTo>
                    <a:cubicBezTo>
                      <a:pt x="1069" y="183"/>
                      <a:pt x="1068" y="183"/>
                      <a:pt x="1069" y="182"/>
                    </a:cubicBezTo>
                    <a:cubicBezTo>
                      <a:pt x="1069" y="182"/>
                      <a:pt x="1069" y="182"/>
                      <a:pt x="1069" y="182"/>
                    </a:cubicBezTo>
                    <a:cubicBezTo>
                      <a:pt x="1069" y="182"/>
                      <a:pt x="1069" y="182"/>
                      <a:pt x="1069" y="182"/>
                    </a:cubicBezTo>
                    <a:cubicBezTo>
                      <a:pt x="1069" y="182"/>
                      <a:pt x="1069" y="181"/>
                      <a:pt x="1069" y="181"/>
                    </a:cubicBezTo>
                    <a:cubicBezTo>
                      <a:pt x="1069" y="181"/>
                      <a:pt x="1069" y="181"/>
                      <a:pt x="1069" y="181"/>
                    </a:cubicBezTo>
                    <a:cubicBezTo>
                      <a:pt x="1069" y="181"/>
                      <a:pt x="1068" y="180"/>
                      <a:pt x="1068" y="180"/>
                    </a:cubicBezTo>
                    <a:cubicBezTo>
                      <a:pt x="1068" y="180"/>
                      <a:pt x="1069" y="180"/>
                      <a:pt x="1069" y="179"/>
                    </a:cubicBezTo>
                    <a:cubicBezTo>
                      <a:pt x="1068" y="179"/>
                      <a:pt x="1068" y="179"/>
                      <a:pt x="1067" y="178"/>
                    </a:cubicBezTo>
                    <a:cubicBezTo>
                      <a:pt x="1067" y="178"/>
                      <a:pt x="1068" y="178"/>
                      <a:pt x="1067" y="177"/>
                    </a:cubicBezTo>
                    <a:cubicBezTo>
                      <a:pt x="1067" y="177"/>
                      <a:pt x="1066" y="176"/>
                      <a:pt x="1065" y="176"/>
                    </a:cubicBezTo>
                    <a:cubicBezTo>
                      <a:pt x="1065" y="176"/>
                      <a:pt x="1064" y="176"/>
                      <a:pt x="1064" y="177"/>
                    </a:cubicBezTo>
                    <a:cubicBezTo>
                      <a:pt x="1064" y="177"/>
                      <a:pt x="1064" y="177"/>
                      <a:pt x="1064" y="178"/>
                    </a:cubicBezTo>
                    <a:cubicBezTo>
                      <a:pt x="1064" y="178"/>
                      <a:pt x="1063" y="178"/>
                      <a:pt x="1063" y="178"/>
                    </a:cubicBezTo>
                    <a:cubicBezTo>
                      <a:pt x="1063" y="179"/>
                      <a:pt x="1060" y="177"/>
                      <a:pt x="1060" y="177"/>
                    </a:cubicBezTo>
                    <a:cubicBezTo>
                      <a:pt x="1060" y="177"/>
                      <a:pt x="1060" y="177"/>
                      <a:pt x="1060" y="177"/>
                    </a:cubicBezTo>
                    <a:cubicBezTo>
                      <a:pt x="1060" y="177"/>
                      <a:pt x="1060" y="177"/>
                      <a:pt x="1059" y="177"/>
                    </a:cubicBezTo>
                    <a:cubicBezTo>
                      <a:pt x="1059" y="177"/>
                      <a:pt x="1059" y="176"/>
                      <a:pt x="1058" y="176"/>
                    </a:cubicBezTo>
                    <a:cubicBezTo>
                      <a:pt x="1058" y="176"/>
                      <a:pt x="1057" y="176"/>
                      <a:pt x="1057" y="176"/>
                    </a:cubicBezTo>
                    <a:cubicBezTo>
                      <a:pt x="1056" y="176"/>
                      <a:pt x="1054" y="176"/>
                      <a:pt x="1055" y="177"/>
                    </a:cubicBezTo>
                    <a:cubicBezTo>
                      <a:pt x="1055" y="177"/>
                      <a:pt x="1054" y="177"/>
                      <a:pt x="1053" y="177"/>
                    </a:cubicBezTo>
                    <a:cubicBezTo>
                      <a:pt x="1053" y="177"/>
                      <a:pt x="1053" y="177"/>
                      <a:pt x="1053" y="177"/>
                    </a:cubicBezTo>
                    <a:cubicBezTo>
                      <a:pt x="1052" y="177"/>
                      <a:pt x="1052" y="177"/>
                      <a:pt x="1052" y="177"/>
                    </a:cubicBezTo>
                    <a:cubicBezTo>
                      <a:pt x="1051" y="177"/>
                      <a:pt x="1051" y="178"/>
                      <a:pt x="1050" y="178"/>
                    </a:cubicBezTo>
                    <a:cubicBezTo>
                      <a:pt x="1048" y="177"/>
                      <a:pt x="1047" y="177"/>
                      <a:pt x="1046" y="177"/>
                    </a:cubicBezTo>
                    <a:cubicBezTo>
                      <a:pt x="1045" y="177"/>
                      <a:pt x="1044" y="177"/>
                      <a:pt x="1045" y="178"/>
                    </a:cubicBezTo>
                    <a:cubicBezTo>
                      <a:pt x="1044" y="178"/>
                      <a:pt x="1044" y="178"/>
                      <a:pt x="1043" y="179"/>
                    </a:cubicBezTo>
                    <a:cubicBezTo>
                      <a:pt x="1043" y="180"/>
                      <a:pt x="1043" y="180"/>
                      <a:pt x="1042" y="180"/>
                    </a:cubicBezTo>
                    <a:cubicBezTo>
                      <a:pt x="1043" y="180"/>
                      <a:pt x="1043" y="181"/>
                      <a:pt x="1044" y="182"/>
                    </a:cubicBezTo>
                    <a:cubicBezTo>
                      <a:pt x="1044" y="182"/>
                      <a:pt x="1045" y="183"/>
                      <a:pt x="1045" y="183"/>
                    </a:cubicBezTo>
                    <a:cubicBezTo>
                      <a:pt x="1045" y="183"/>
                      <a:pt x="1044" y="183"/>
                      <a:pt x="1044" y="184"/>
                    </a:cubicBezTo>
                    <a:cubicBezTo>
                      <a:pt x="1043" y="184"/>
                      <a:pt x="1043" y="185"/>
                      <a:pt x="1043" y="185"/>
                    </a:cubicBezTo>
                    <a:cubicBezTo>
                      <a:pt x="1043" y="187"/>
                      <a:pt x="1044" y="187"/>
                      <a:pt x="1045" y="188"/>
                    </a:cubicBezTo>
                    <a:cubicBezTo>
                      <a:pt x="1044" y="188"/>
                      <a:pt x="1043" y="189"/>
                      <a:pt x="1043" y="189"/>
                    </a:cubicBezTo>
                    <a:cubicBezTo>
                      <a:pt x="1044" y="190"/>
                      <a:pt x="1043" y="190"/>
                      <a:pt x="1042" y="191"/>
                    </a:cubicBezTo>
                    <a:cubicBezTo>
                      <a:pt x="1042" y="191"/>
                      <a:pt x="1041" y="191"/>
                      <a:pt x="1041" y="192"/>
                    </a:cubicBezTo>
                    <a:cubicBezTo>
                      <a:pt x="1041" y="193"/>
                      <a:pt x="1041" y="194"/>
                      <a:pt x="1041" y="194"/>
                    </a:cubicBezTo>
                    <a:cubicBezTo>
                      <a:pt x="1041" y="195"/>
                      <a:pt x="1042" y="195"/>
                      <a:pt x="1041" y="195"/>
                    </a:cubicBezTo>
                    <a:cubicBezTo>
                      <a:pt x="1042" y="195"/>
                      <a:pt x="1043" y="196"/>
                      <a:pt x="1043" y="197"/>
                    </a:cubicBezTo>
                    <a:cubicBezTo>
                      <a:pt x="1043" y="197"/>
                      <a:pt x="1042" y="196"/>
                      <a:pt x="1042" y="196"/>
                    </a:cubicBezTo>
                    <a:cubicBezTo>
                      <a:pt x="1042" y="196"/>
                      <a:pt x="1041" y="196"/>
                      <a:pt x="1041" y="196"/>
                    </a:cubicBezTo>
                    <a:cubicBezTo>
                      <a:pt x="1041" y="197"/>
                      <a:pt x="1045" y="199"/>
                      <a:pt x="1045" y="199"/>
                    </a:cubicBezTo>
                    <a:cubicBezTo>
                      <a:pt x="1045" y="199"/>
                      <a:pt x="1043" y="199"/>
                      <a:pt x="1043" y="199"/>
                    </a:cubicBezTo>
                    <a:cubicBezTo>
                      <a:pt x="1043" y="199"/>
                      <a:pt x="1044" y="199"/>
                      <a:pt x="1044" y="199"/>
                    </a:cubicBezTo>
                    <a:cubicBezTo>
                      <a:pt x="1044" y="200"/>
                      <a:pt x="1043" y="200"/>
                      <a:pt x="1044" y="200"/>
                    </a:cubicBezTo>
                    <a:cubicBezTo>
                      <a:pt x="1044" y="200"/>
                      <a:pt x="1044" y="201"/>
                      <a:pt x="1045" y="201"/>
                    </a:cubicBezTo>
                    <a:cubicBezTo>
                      <a:pt x="1045" y="201"/>
                      <a:pt x="1046" y="201"/>
                      <a:pt x="1046" y="201"/>
                    </a:cubicBezTo>
                    <a:cubicBezTo>
                      <a:pt x="1046" y="200"/>
                      <a:pt x="1045" y="200"/>
                      <a:pt x="1046" y="200"/>
                    </a:cubicBezTo>
                    <a:cubicBezTo>
                      <a:pt x="1046" y="200"/>
                      <a:pt x="1047" y="201"/>
                      <a:pt x="1048" y="201"/>
                    </a:cubicBezTo>
                    <a:cubicBezTo>
                      <a:pt x="1047" y="200"/>
                      <a:pt x="1046" y="200"/>
                      <a:pt x="1046" y="200"/>
                    </a:cubicBezTo>
                    <a:cubicBezTo>
                      <a:pt x="1047" y="200"/>
                      <a:pt x="1049" y="200"/>
                      <a:pt x="1050" y="201"/>
                    </a:cubicBezTo>
                    <a:cubicBezTo>
                      <a:pt x="1050" y="201"/>
                      <a:pt x="1050" y="201"/>
                      <a:pt x="1050" y="200"/>
                    </a:cubicBezTo>
                    <a:cubicBezTo>
                      <a:pt x="1050" y="200"/>
                      <a:pt x="1051" y="201"/>
                      <a:pt x="1051" y="201"/>
                    </a:cubicBezTo>
                    <a:cubicBezTo>
                      <a:pt x="1052" y="201"/>
                      <a:pt x="1052" y="201"/>
                      <a:pt x="1053" y="201"/>
                    </a:cubicBezTo>
                    <a:cubicBezTo>
                      <a:pt x="1053" y="201"/>
                      <a:pt x="1054" y="201"/>
                      <a:pt x="1054" y="202"/>
                    </a:cubicBezTo>
                    <a:cubicBezTo>
                      <a:pt x="1054" y="203"/>
                      <a:pt x="1055" y="203"/>
                      <a:pt x="1055" y="203"/>
                    </a:cubicBezTo>
                    <a:cubicBezTo>
                      <a:pt x="1055" y="203"/>
                      <a:pt x="1055" y="203"/>
                      <a:pt x="1056" y="204"/>
                    </a:cubicBezTo>
                    <a:cubicBezTo>
                      <a:pt x="1055" y="203"/>
                      <a:pt x="1054" y="203"/>
                      <a:pt x="1053" y="203"/>
                    </a:cubicBezTo>
                    <a:cubicBezTo>
                      <a:pt x="1052" y="203"/>
                      <a:pt x="1053" y="204"/>
                      <a:pt x="1053" y="204"/>
                    </a:cubicBezTo>
                    <a:cubicBezTo>
                      <a:pt x="1052" y="204"/>
                      <a:pt x="1051" y="204"/>
                      <a:pt x="1051" y="203"/>
                    </a:cubicBezTo>
                    <a:cubicBezTo>
                      <a:pt x="1050" y="203"/>
                      <a:pt x="1049" y="203"/>
                      <a:pt x="1049" y="203"/>
                    </a:cubicBezTo>
                    <a:cubicBezTo>
                      <a:pt x="1049" y="204"/>
                      <a:pt x="1051" y="205"/>
                      <a:pt x="1049" y="204"/>
                    </a:cubicBezTo>
                    <a:cubicBezTo>
                      <a:pt x="1048" y="204"/>
                      <a:pt x="1048" y="205"/>
                      <a:pt x="1048" y="205"/>
                    </a:cubicBezTo>
                    <a:cubicBezTo>
                      <a:pt x="1047" y="205"/>
                      <a:pt x="1047" y="204"/>
                      <a:pt x="1046" y="204"/>
                    </a:cubicBezTo>
                    <a:cubicBezTo>
                      <a:pt x="1045" y="204"/>
                      <a:pt x="1045" y="204"/>
                      <a:pt x="1044" y="203"/>
                    </a:cubicBezTo>
                    <a:cubicBezTo>
                      <a:pt x="1044" y="203"/>
                      <a:pt x="1044" y="203"/>
                      <a:pt x="1044" y="203"/>
                    </a:cubicBezTo>
                    <a:cubicBezTo>
                      <a:pt x="1043" y="203"/>
                      <a:pt x="1043" y="203"/>
                      <a:pt x="1043" y="203"/>
                    </a:cubicBezTo>
                    <a:cubicBezTo>
                      <a:pt x="1042" y="203"/>
                      <a:pt x="1042" y="203"/>
                      <a:pt x="1041" y="203"/>
                    </a:cubicBezTo>
                    <a:cubicBezTo>
                      <a:pt x="1040" y="203"/>
                      <a:pt x="1042" y="204"/>
                      <a:pt x="1042" y="204"/>
                    </a:cubicBezTo>
                    <a:cubicBezTo>
                      <a:pt x="1041" y="204"/>
                      <a:pt x="1040" y="204"/>
                      <a:pt x="1040" y="205"/>
                    </a:cubicBezTo>
                    <a:cubicBezTo>
                      <a:pt x="1040" y="205"/>
                      <a:pt x="1040" y="206"/>
                      <a:pt x="1041" y="206"/>
                    </a:cubicBezTo>
                    <a:cubicBezTo>
                      <a:pt x="1040" y="206"/>
                      <a:pt x="1040" y="206"/>
                      <a:pt x="1039" y="206"/>
                    </a:cubicBezTo>
                    <a:cubicBezTo>
                      <a:pt x="1039" y="206"/>
                      <a:pt x="1038" y="206"/>
                      <a:pt x="1038" y="206"/>
                    </a:cubicBezTo>
                    <a:cubicBezTo>
                      <a:pt x="1037" y="206"/>
                      <a:pt x="1036" y="205"/>
                      <a:pt x="1035" y="205"/>
                    </a:cubicBezTo>
                    <a:cubicBezTo>
                      <a:pt x="1035" y="205"/>
                      <a:pt x="1033" y="205"/>
                      <a:pt x="1034" y="206"/>
                    </a:cubicBezTo>
                    <a:cubicBezTo>
                      <a:pt x="1034" y="206"/>
                      <a:pt x="1035" y="206"/>
                      <a:pt x="1034" y="206"/>
                    </a:cubicBezTo>
                    <a:cubicBezTo>
                      <a:pt x="1033" y="207"/>
                      <a:pt x="1032" y="207"/>
                      <a:pt x="1032" y="207"/>
                    </a:cubicBezTo>
                    <a:cubicBezTo>
                      <a:pt x="1031" y="207"/>
                      <a:pt x="1030" y="206"/>
                      <a:pt x="1029" y="207"/>
                    </a:cubicBezTo>
                    <a:cubicBezTo>
                      <a:pt x="1029" y="207"/>
                      <a:pt x="1028" y="206"/>
                      <a:pt x="1028" y="206"/>
                    </a:cubicBezTo>
                    <a:cubicBezTo>
                      <a:pt x="1027" y="206"/>
                      <a:pt x="1026" y="205"/>
                      <a:pt x="1026" y="205"/>
                    </a:cubicBezTo>
                    <a:cubicBezTo>
                      <a:pt x="1025" y="205"/>
                      <a:pt x="1025" y="205"/>
                      <a:pt x="1024" y="204"/>
                    </a:cubicBezTo>
                    <a:cubicBezTo>
                      <a:pt x="1025" y="204"/>
                      <a:pt x="1025" y="204"/>
                      <a:pt x="1026" y="204"/>
                    </a:cubicBezTo>
                    <a:cubicBezTo>
                      <a:pt x="1026" y="204"/>
                      <a:pt x="1026" y="204"/>
                      <a:pt x="1026" y="204"/>
                    </a:cubicBezTo>
                    <a:cubicBezTo>
                      <a:pt x="1027" y="203"/>
                      <a:pt x="1028" y="204"/>
                      <a:pt x="1028" y="204"/>
                    </a:cubicBezTo>
                    <a:cubicBezTo>
                      <a:pt x="1029" y="204"/>
                      <a:pt x="1030" y="204"/>
                      <a:pt x="1031" y="204"/>
                    </a:cubicBezTo>
                    <a:cubicBezTo>
                      <a:pt x="1032" y="204"/>
                      <a:pt x="1032" y="203"/>
                      <a:pt x="1033" y="203"/>
                    </a:cubicBezTo>
                    <a:cubicBezTo>
                      <a:pt x="1032" y="202"/>
                      <a:pt x="1031" y="202"/>
                      <a:pt x="1030" y="203"/>
                    </a:cubicBezTo>
                    <a:cubicBezTo>
                      <a:pt x="1029" y="203"/>
                      <a:pt x="1029" y="202"/>
                      <a:pt x="1028" y="202"/>
                    </a:cubicBezTo>
                    <a:cubicBezTo>
                      <a:pt x="1028" y="202"/>
                      <a:pt x="1027" y="202"/>
                      <a:pt x="1027" y="202"/>
                    </a:cubicBezTo>
                    <a:cubicBezTo>
                      <a:pt x="1027" y="201"/>
                      <a:pt x="1025" y="201"/>
                      <a:pt x="1024" y="200"/>
                    </a:cubicBezTo>
                    <a:cubicBezTo>
                      <a:pt x="1024" y="200"/>
                      <a:pt x="1022" y="199"/>
                      <a:pt x="1021" y="199"/>
                    </a:cubicBezTo>
                    <a:cubicBezTo>
                      <a:pt x="1021" y="199"/>
                      <a:pt x="1021" y="199"/>
                      <a:pt x="1021" y="199"/>
                    </a:cubicBezTo>
                    <a:cubicBezTo>
                      <a:pt x="1021" y="199"/>
                      <a:pt x="1021" y="200"/>
                      <a:pt x="1021" y="200"/>
                    </a:cubicBezTo>
                    <a:cubicBezTo>
                      <a:pt x="1020" y="199"/>
                      <a:pt x="1020" y="199"/>
                      <a:pt x="1019" y="199"/>
                    </a:cubicBezTo>
                    <a:cubicBezTo>
                      <a:pt x="1019" y="199"/>
                      <a:pt x="1018" y="200"/>
                      <a:pt x="1019" y="200"/>
                    </a:cubicBezTo>
                    <a:cubicBezTo>
                      <a:pt x="1020" y="201"/>
                      <a:pt x="1018" y="201"/>
                      <a:pt x="1018" y="201"/>
                    </a:cubicBezTo>
                    <a:cubicBezTo>
                      <a:pt x="1017" y="200"/>
                      <a:pt x="1016" y="200"/>
                      <a:pt x="1016" y="200"/>
                    </a:cubicBezTo>
                    <a:cubicBezTo>
                      <a:pt x="1016" y="200"/>
                      <a:pt x="1017" y="200"/>
                      <a:pt x="1017" y="200"/>
                    </a:cubicBezTo>
                    <a:cubicBezTo>
                      <a:pt x="1017" y="199"/>
                      <a:pt x="1016" y="200"/>
                      <a:pt x="1015" y="200"/>
                    </a:cubicBezTo>
                    <a:cubicBezTo>
                      <a:pt x="1015" y="200"/>
                      <a:pt x="1014" y="199"/>
                      <a:pt x="1014" y="199"/>
                    </a:cubicBezTo>
                    <a:cubicBezTo>
                      <a:pt x="1013" y="199"/>
                      <a:pt x="1012" y="199"/>
                      <a:pt x="1011" y="198"/>
                    </a:cubicBezTo>
                    <a:cubicBezTo>
                      <a:pt x="1009" y="198"/>
                      <a:pt x="1008" y="198"/>
                      <a:pt x="1007" y="198"/>
                    </a:cubicBezTo>
                    <a:cubicBezTo>
                      <a:pt x="1006" y="197"/>
                      <a:pt x="1005" y="197"/>
                      <a:pt x="1004" y="198"/>
                    </a:cubicBezTo>
                    <a:cubicBezTo>
                      <a:pt x="1004" y="198"/>
                      <a:pt x="1004" y="198"/>
                      <a:pt x="1004" y="198"/>
                    </a:cubicBezTo>
                    <a:cubicBezTo>
                      <a:pt x="1004" y="198"/>
                      <a:pt x="1004" y="198"/>
                      <a:pt x="1004" y="198"/>
                    </a:cubicBezTo>
                    <a:cubicBezTo>
                      <a:pt x="1004" y="198"/>
                      <a:pt x="1003" y="199"/>
                      <a:pt x="1003" y="199"/>
                    </a:cubicBezTo>
                    <a:cubicBezTo>
                      <a:pt x="1004" y="199"/>
                      <a:pt x="1004" y="200"/>
                      <a:pt x="1005" y="200"/>
                    </a:cubicBezTo>
                    <a:cubicBezTo>
                      <a:pt x="1005" y="200"/>
                      <a:pt x="1006" y="200"/>
                      <a:pt x="1006" y="201"/>
                    </a:cubicBezTo>
                    <a:cubicBezTo>
                      <a:pt x="1006" y="201"/>
                      <a:pt x="1005" y="200"/>
                      <a:pt x="1005" y="200"/>
                    </a:cubicBezTo>
                    <a:cubicBezTo>
                      <a:pt x="1005" y="200"/>
                      <a:pt x="1004" y="201"/>
                      <a:pt x="1004" y="201"/>
                    </a:cubicBezTo>
                    <a:cubicBezTo>
                      <a:pt x="1004" y="201"/>
                      <a:pt x="1003" y="201"/>
                      <a:pt x="1003" y="200"/>
                    </a:cubicBezTo>
                    <a:cubicBezTo>
                      <a:pt x="1003" y="200"/>
                      <a:pt x="1003" y="200"/>
                      <a:pt x="1003" y="200"/>
                    </a:cubicBezTo>
                    <a:cubicBezTo>
                      <a:pt x="1002" y="200"/>
                      <a:pt x="1003" y="201"/>
                      <a:pt x="1003" y="201"/>
                    </a:cubicBezTo>
                    <a:cubicBezTo>
                      <a:pt x="1004" y="202"/>
                      <a:pt x="1004" y="201"/>
                      <a:pt x="1004" y="201"/>
                    </a:cubicBezTo>
                    <a:cubicBezTo>
                      <a:pt x="1004" y="201"/>
                      <a:pt x="1004" y="202"/>
                      <a:pt x="1005" y="202"/>
                    </a:cubicBezTo>
                    <a:cubicBezTo>
                      <a:pt x="1005" y="202"/>
                      <a:pt x="1005" y="201"/>
                      <a:pt x="1005" y="201"/>
                    </a:cubicBezTo>
                    <a:cubicBezTo>
                      <a:pt x="1005" y="201"/>
                      <a:pt x="1005" y="202"/>
                      <a:pt x="1005" y="202"/>
                    </a:cubicBezTo>
                    <a:cubicBezTo>
                      <a:pt x="1006" y="202"/>
                      <a:pt x="1006" y="202"/>
                      <a:pt x="1006" y="203"/>
                    </a:cubicBezTo>
                    <a:cubicBezTo>
                      <a:pt x="1006" y="203"/>
                      <a:pt x="1005" y="203"/>
                      <a:pt x="1005" y="203"/>
                    </a:cubicBezTo>
                    <a:cubicBezTo>
                      <a:pt x="1005" y="203"/>
                      <a:pt x="1005" y="202"/>
                      <a:pt x="1005" y="202"/>
                    </a:cubicBezTo>
                    <a:cubicBezTo>
                      <a:pt x="1005" y="203"/>
                      <a:pt x="1005" y="203"/>
                      <a:pt x="1005" y="203"/>
                    </a:cubicBezTo>
                    <a:cubicBezTo>
                      <a:pt x="1004" y="203"/>
                      <a:pt x="1004" y="203"/>
                      <a:pt x="1004" y="203"/>
                    </a:cubicBezTo>
                    <a:cubicBezTo>
                      <a:pt x="1003" y="203"/>
                      <a:pt x="1003" y="203"/>
                      <a:pt x="1003" y="203"/>
                    </a:cubicBezTo>
                    <a:cubicBezTo>
                      <a:pt x="1002" y="203"/>
                      <a:pt x="1002" y="203"/>
                      <a:pt x="1001" y="202"/>
                    </a:cubicBezTo>
                    <a:cubicBezTo>
                      <a:pt x="1001" y="201"/>
                      <a:pt x="999" y="201"/>
                      <a:pt x="998" y="201"/>
                    </a:cubicBezTo>
                    <a:cubicBezTo>
                      <a:pt x="998" y="201"/>
                      <a:pt x="996" y="201"/>
                      <a:pt x="996" y="202"/>
                    </a:cubicBezTo>
                    <a:cubicBezTo>
                      <a:pt x="996" y="202"/>
                      <a:pt x="997" y="202"/>
                      <a:pt x="997" y="202"/>
                    </a:cubicBezTo>
                    <a:cubicBezTo>
                      <a:pt x="997" y="203"/>
                      <a:pt x="994" y="202"/>
                      <a:pt x="995" y="203"/>
                    </a:cubicBezTo>
                    <a:cubicBezTo>
                      <a:pt x="995" y="203"/>
                      <a:pt x="994" y="202"/>
                      <a:pt x="993" y="202"/>
                    </a:cubicBezTo>
                    <a:cubicBezTo>
                      <a:pt x="993" y="202"/>
                      <a:pt x="992" y="203"/>
                      <a:pt x="991" y="202"/>
                    </a:cubicBezTo>
                    <a:cubicBezTo>
                      <a:pt x="990" y="202"/>
                      <a:pt x="989" y="202"/>
                      <a:pt x="988" y="202"/>
                    </a:cubicBezTo>
                    <a:cubicBezTo>
                      <a:pt x="988" y="201"/>
                      <a:pt x="987" y="201"/>
                      <a:pt x="986" y="201"/>
                    </a:cubicBezTo>
                    <a:cubicBezTo>
                      <a:pt x="986" y="201"/>
                      <a:pt x="984" y="200"/>
                      <a:pt x="984" y="201"/>
                    </a:cubicBezTo>
                    <a:cubicBezTo>
                      <a:pt x="984" y="202"/>
                      <a:pt x="985" y="202"/>
                      <a:pt x="985" y="202"/>
                    </a:cubicBezTo>
                    <a:cubicBezTo>
                      <a:pt x="986" y="203"/>
                      <a:pt x="987" y="203"/>
                      <a:pt x="986" y="203"/>
                    </a:cubicBezTo>
                    <a:cubicBezTo>
                      <a:pt x="986" y="203"/>
                      <a:pt x="986" y="203"/>
                      <a:pt x="985" y="203"/>
                    </a:cubicBezTo>
                    <a:cubicBezTo>
                      <a:pt x="985" y="203"/>
                      <a:pt x="985" y="204"/>
                      <a:pt x="985" y="204"/>
                    </a:cubicBezTo>
                    <a:cubicBezTo>
                      <a:pt x="984" y="204"/>
                      <a:pt x="983" y="203"/>
                      <a:pt x="983" y="203"/>
                    </a:cubicBezTo>
                    <a:cubicBezTo>
                      <a:pt x="982" y="203"/>
                      <a:pt x="982" y="203"/>
                      <a:pt x="981" y="202"/>
                    </a:cubicBezTo>
                    <a:cubicBezTo>
                      <a:pt x="981" y="202"/>
                      <a:pt x="982" y="201"/>
                      <a:pt x="981" y="201"/>
                    </a:cubicBezTo>
                    <a:cubicBezTo>
                      <a:pt x="981" y="201"/>
                      <a:pt x="980" y="201"/>
                      <a:pt x="980" y="201"/>
                    </a:cubicBezTo>
                    <a:cubicBezTo>
                      <a:pt x="980" y="201"/>
                      <a:pt x="980" y="201"/>
                      <a:pt x="979" y="201"/>
                    </a:cubicBezTo>
                    <a:cubicBezTo>
                      <a:pt x="979" y="201"/>
                      <a:pt x="978" y="201"/>
                      <a:pt x="977" y="201"/>
                    </a:cubicBezTo>
                    <a:cubicBezTo>
                      <a:pt x="976" y="201"/>
                      <a:pt x="976" y="201"/>
                      <a:pt x="975" y="201"/>
                    </a:cubicBezTo>
                    <a:cubicBezTo>
                      <a:pt x="974" y="201"/>
                      <a:pt x="973" y="201"/>
                      <a:pt x="972" y="201"/>
                    </a:cubicBezTo>
                    <a:cubicBezTo>
                      <a:pt x="973" y="201"/>
                      <a:pt x="972" y="201"/>
                      <a:pt x="972" y="201"/>
                    </a:cubicBezTo>
                    <a:cubicBezTo>
                      <a:pt x="972" y="201"/>
                      <a:pt x="971" y="201"/>
                      <a:pt x="971" y="201"/>
                    </a:cubicBezTo>
                    <a:cubicBezTo>
                      <a:pt x="971" y="201"/>
                      <a:pt x="972" y="202"/>
                      <a:pt x="972" y="202"/>
                    </a:cubicBezTo>
                    <a:cubicBezTo>
                      <a:pt x="971" y="202"/>
                      <a:pt x="970" y="202"/>
                      <a:pt x="969" y="201"/>
                    </a:cubicBezTo>
                    <a:cubicBezTo>
                      <a:pt x="969" y="201"/>
                      <a:pt x="970" y="201"/>
                      <a:pt x="970" y="201"/>
                    </a:cubicBezTo>
                    <a:cubicBezTo>
                      <a:pt x="969" y="201"/>
                      <a:pt x="969" y="201"/>
                      <a:pt x="969" y="201"/>
                    </a:cubicBezTo>
                    <a:cubicBezTo>
                      <a:pt x="968" y="201"/>
                      <a:pt x="967" y="201"/>
                      <a:pt x="967" y="201"/>
                    </a:cubicBezTo>
                    <a:cubicBezTo>
                      <a:pt x="966" y="201"/>
                      <a:pt x="965" y="201"/>
                      <a:pt x="964" y="202"/>
                    </a:cubicBezTo>
                    <a:cubicBezTo>
                      <a:pt x="963" y="202"/>
                      <a:pt x="962" y="202"/>
                      <a:pt x="961" y="202"/>
                    </a:cubicBezTo>
                    <a:cubicBezTo>
                      <a:pt x="961" y="202"/>
                      <a:pt x="960" y="201"/>
                      <a:pt x="960" y="202"/>
                    </a:cubicBezTo>
                    <a:cubicBezTo>
                      <a:pt x="959" y="202"/>
                      <a:pt x="958" y="202"/>
                      <a:pt x="957" y="203"/>
                    </a:cubicBezTo>
                    <a:cubicBezTo>
                      <a:pt x="957" y="203"/>
                      <a:pt x="956" y="203"/>
                      <a:pt x="955" y="204"/>
                    </a:cubicBezTo>
                    <a:cubicBezTo>
                      <a:pt x="955" y="205"/>
                      <a:pt x="955" y="205"/>
                      <a:pt x="955" y="206"/>
                    </a:cubicBezTo>
                    <a:cubicBezTo>
                      <a:pt x="955" y="207"/>
                      <a:pt x="955" y="207"/>
                      <a:pt x="955" y="208"/>
                    </a:cubicBezTo>
                    <a:cubicBezTo>
                      <a:pt x="955" y="209"/>
                      <a:pt x="954" y="209"/>
                      <a:pt x="954" y="210"/>
                    </a:cubicBezTo>
                    <a:cubicBezTo>
                      <a:pt x="953" y="211"/>
                      <a:pt x="953" y="210"/>
                      <a:pt x="952" y="211"/>
                    </a:cubicBezTo>
                    <a:cubicBezTo>
                      <a:pt x="951" y="212"/>
                      <a:pt x="952" y="214"/>
                      <a:pt x="952" y="215"/>
                    </a:cubicBezTo>
                    <a:cubicBezTo>
                      <a:pt x="953" y="216"/>
                      <a:pt x="954" y="218"/>
                      <a:pt x="953" y="218"/>
                    </a:cubicBezTo>
                    <a:cubicBezTo>
                      <a:pt x="953" y="218"/>
                      <a:pt x="952" y="218"/>
                      <a:pt x="952" y="218"/>
                    </a:cubicBezTo>
                    <a:cubicBezTo>
                      <a:pt x="952" y="218"/>
                      <a:pt x="952" y="218"/>
                      <a:pt x="951" y="218"/>
                    </a:cubicBezTo>
                    <a:cubicBezTo>
                      <a:pt x="951" y="219"/>
                      <a:pt x="951" y="219"/>
                      <a:pt x="951" y="220"/>
                    </a:cubicBezTo>
                    <a:cubicBezTo>
                      <a:pt x="952" y="220"/>
                      <a:pt x="951" y="221"/>
                      <a:pt x="951" y="221"/>
                    </a:cubicBezTo>
                    <a:cubicBezTo>
                      <a:pt x="950" y="221"/>
                      <a:pt x="950" y="222"/>
                      <a:pt x="950" y="222"/>
                    </a:cubicBezTo>
                    <a:cubicBezTo>
                      <a:pt x="950" y="223"/>
                      <a:pt x="947" y="222"/>
                      <a:pt x="949" y="224"/>
                    </a:cubicBezTo>
                    <a:cubicBezTo>
                      <a:pt x="948" y="224"/>
                      <a:pt x="948" y="224"/>
                      <a:pt x="948" y="225"/>
                    </a:cubicBezTo>
                    <a:cubicBezTo>
                      <a:pt x="949" y="226"/>
                      <a:pt x="948" y="225"/>
                      <a:pt x="948" y="225"/>
                    </a:cubicBezTo>
                    <a:cubicBezTo>
                      <a:pt x="948" y="226"/>
                      <a:pt x="947" y="226"/>
                      <a:pt x="947" y="226"/>
                    </a:cubicBezTo>
                    <a:cubicBezTo>
                      <a:pt x="946" y="226"/>
                      <a:pt x="947" y="227"/>
                      <a:pt x="947" y="227"/>
                    </a:cubicBezTo>
                    <a:cubicBezTo>
                      <a:pt x="946" y="227"/>
                      <a:pt x="947" y="227"/>
                      <a:pt x="947" y="228"/>
                    </a:cubicBezTo>
                    <a:cubicBezTo>
                      <a:pt x="947" y="228"/>
                      <a:pt x="947" y="228"/>
                      <a:pt x="946" y="229"/>
                    </a:cubicBezTo>
                    <a:cubicBezTo>
                      <a:pt x="946" y="229"/>
                      <a:pt x="947" y="229"/>
                      <a:pt x="947" y="229"/>
                    </a:cubicBezTo>
                    <a:cubicBezTo>
                      <a:pt x="946" y="229"/>
                      <a:pt x="946" y="230"/>
                      <a:pt x="947" y="231"/>
                    </a:cubicBezTo>
                    <a:cubicBezTo>
                      <a:pt x="947" y="231"/>
                      <a:pt x="948" y="231"/>
                      <a:pt x="948" y="231"/>
                    </a:cubicBezTo>
                    <a:cubicBezTo>
                      <a:pt x="948" y="231"/>
                      <a:pt x="947" y="231"/>
                      <a:pt x="947" y="232"/>
                    </a:cubicBezTo>
                    <a:cubicBezTo>
                      <a:pt x="947" y="232"/>
                      <a:pt x="947" y="232"/>
                      <a:pt x="946" y="232"/>
                    </a:cubicBezTo>
                    <a:cubicBezTo>
                      <a:pt x="947" y="232"/>
                      <a:pt x="947" y="233"/>
                      <a:pt x="947" y="233"/>
                    </a:cubicBezTo>
                    <a:cubicBezTo>
                      <a:pt x="947" y="234"/>
                      <a:pt x="946" y="234"/>
                      <a:pt x="947" y="234"/>
                    </a:cubicBezTo>
                    <a:cubicBezTo>
                      <a:pt x="947" y="234"/>
                      <a:pt x="946" y="235"/>
                      <a:pt x="946" y="235"/>
                    </a:cubicBezTo>
                    <a:cubicBezTo>
                      <a:pt x="946" y="236"/>
                      <a:pt x="946" y="236"/>
                      <a:pt x="946" y="237"/>
                    </a:cubicBezTo>
                    <a:cubicBezTo>
                      <a:pt x="945" y="236"/>
                      <a:pt x="945" y="237"/>
                      <a:pt x="945" y="238"/>
                    </a:cubicBezTo>
                    <a:cubicBezTo>
                      <a:pt x="944" y="238"/>
                      <a:pt x="944" y="238"/>
                      <a:pt x="944" y="239"/>
                    </a:cubicBezTo>
                    <a:cubicBezTo>
                      <a:pt x="944" y="239"/>
                      <a:pt x="944" y="239"/>
                      <a:pt x="943" y="240"/>
                    </a:cubicBezTo>
                    <a:cubicBezTo>
                      <a:pt x="943" y="240"/>
                      <a:pt x="943" y="239"/>
                      <a:pt x="942" y="240"/>
                    </a:cubicBezTo>
                    <a:cubicBezTo>
                      <a:pt x="942" y="240"/>
                      <a:pt x="941" y="241"/>
                      <a:pt x="941" y="241"/>
                    </a:cubicBezTo>
                    <a:cubicBezTo>
                      <a:pt x="942" y="243"/>
                      <a:pt x="940" y="244"/>
                      <a:pt x="939" y="245"/>
                    </a:cubicBezTo>
                    <a:cubicBezTo>
                      <a:pt x="939" y="245"/>
                      <a:pt x="939" y="245"/>
                      <a:pt x="938" y="245"/>
                    </a:cubicBezTo>
                    <a:cubicBezTo>
                      <a:pt x="938" y="245"/>
                      <a:pt x="938" y="246"/>
                      <a:pt x="938" y="246"/>
                    </a:cubicBezTo>
                    <a:cubicBezTo>
                      <a:pt x="937" y="247"/>
                      <a:pt x="937" y="248"/>
                      <a:pt x="938" y="248"/>
                    </a:cubicBezTo>
                    <a:cubicBezTo>
                      <a:pt x="938" y="249"/>
                      <a:pt x="939" y="249"/>
                      <a:pt x="940" y="249"/>
                    </a:cubicBezTo>
                    <a:cubicBezTo>
                      <a:pt x="941" y="249"/>
                      <a:pt x="942" y="250"/>
                      <a:pt x="943" y="250"/>
                    </a:cubicBezTo>
                    <a:cubicBezTo>
                      <a:pt x="944" y="250"/>
                      <a:pt x="944" y="251"/>
                      <a:pt x="944" y="251"/>
                    </a:cubicBezTo>
                    <a:cubicBezTo>
                      <a:pt x="945" y="251"/>
                      <a:pt x="945" y="251"/>
                      <a:pt x="946" y="251"/>
                    </a:cubicBezTo>
                    <a:cubicBezTo>
                      <a:pt x="947" y="251"/>
                      <a:pt x="948" y="250"/>
                      <a:pt x="949" y="250"/>
                    </a:cubicBezTo>
                    <a:cubicBezTo>
                      <a:pt x="949" y="250"/>
                      <a:pt x="951" y="251"/>
                      <a:pt x="951" y="250"/>
                    </a:cubicBezTo>
                    <a:cubicBezTo>
                      <a:pt x="951" y="249"/>
                      <a:pt x="951" y="251"/>
                      <a:pt x="952" y="250"/>
                    </a:cubicBezTo>
                    <a:cubicBezTo>
                      <a:pt x="952" y="250"/>
                      <a:pt x="953" y="251"/>
                      <a:pt x="954" y="251"/>
                    </a:cubicBezTo>
                    <a:cubicBezTo>
                      <a:pt x="954" y="251"/>
                      <a:pt x="954" y="252"/>
                      <a:pt x="954" y="252"/>
                    </a:cubicBezTo>
                    <a:cubicBezTo>
                      <a:pt x="954" y="252"/>
                      <a:pt x="954" y="252"/>
                      <a:pt x="954" y="252"/>
                    </a:cubicBezTo>
                    <a:cubicBezTo>
                      <a:pt x="954" y="253"/>
                      <a:pt x="955" y="253"/>
                      <a:pt x="955" y="253"/>
                    </a:cubicBezTo>
                    <a:cubicBezTo>
                      <a:pt x="956" y="254"/>
                      <a:pt x="955" y="254"/>
                      <a:pt x="955" y="254"/>
                    </a:cubicBezTo>
                    <a:cubicBezTo>
                      <a:pt x="956" y="254"/>
                      <a:pt x="957" y="256"/>
                      <a:pt x="957" y="256"/>
                    </a:cubicBezTo>
                    <a:cubicBezTo>
                      <a:pt x="956" y="257"/>
                      <a:pt x="959" y="259"/>
                      <a:pt x="959" y="259"/>
                    </a:cubicBezTo>
                    <a:cubicBezTo>
                      <a:pt x="960" y="259"/>
                      <a:pt x="959" y="258"/>
                      <a:pt x="960" y="258"/>
                    </a:cubicBezTo>
                    <a:cubicBezTo>
                      <a:pt x="961" y="258"/>
                      <a:pt x="961" y="259"/>
                      <a:pt x="962" y="259"/>
                    </a:cubicBezTo>
                    <a:cubicBezTo>
                      <a:pt x="963" y="259"/>
                      <a:pt x="962" y="256"/>
                      <a:pt x="961" y="256"/>
                    </a:cubicBezTo>
                    <a:cubicBezTo>
                      <a:pt x="960" y="256"/>
                      <a:pt x="960" y="256"/>
                      <a:pt x="959" y="256"/>
                    </a:cubicBezTo>
                    <a:cubicBezTo>
                      <a:pt x="959" y="255"/>
                      <a:pt x="959" y="255"/>
                      <a:pt x="959" y="254"/>
                    </a:cubicBezTo>
                    <a:cubicBezTo>
                      <a:pt x="960" y="254"/>
                      <a:pt x="960" y="253"/>
                      <a:pt x="961" y="254"/>
                    </a:cubicBezTo>
                    <a:cubicBezTo>
                      <a:pt x="962" y="254"/>
                      <a:pt x="962" y="253"/>
                      <a:pt x="963" y="253"/>
                    </a:cubicBezTo>
                    <a:cubicBezTo>
                      <a:pt x="963" y="253"/>
                      <a:pt x="963" y="254"/>
                      <a:pt x="963" y="255"/>
                    </a:cubicBezTo>
                    <a:cubicBezTo>
                      <a:pt x="963" y="255"/>
                      <a:pt x="962" y="255"/>
                      <a:pt x="963" y="256"/>
                    </a:cubicBezTo>
                    <a:cubicBezTo>
                      <a:pt x="962" y="256"/>
                      <a:pt x="962" y="255"/>
                      <a:pt x="962" y="255"/>
                    </a:cubicBezTo>
                    <a:cubicBezTo>
                      <a:pt x="961" y="255"/>
                      <a:pt x="961" y="256"/>
                      <a:pt x="961" y="256"/>
                    </a:cubicBezTo>
                    <a:cubicBezTo>
                      <a:pt x="962" y="256"/>
                      <a:pt x="962" y="256"/>
                      <a:pt x="963" y="257"/>
                    </a:cubicBezTo>
                    <a:cubicBezTo>
                      <a:pt x="963" y="257"/>
                      <a:pt x="964" y="257"/>
                      <a:pt x="965" y="257"/>
                    </a:cubicBezTo>
                    <a:cubicBezTo>
                      <a:pt x="965" y="257"/>
                      <a:pt x="966" y="257"/>
                      <a:pt x="966" y="257"/>
                    </a:cubicBezTo>
                    <a:cubicBezTo>
                      <a:pt x="967" y="257"/>
                      <a:pt x="967" y="258"/>
                      <a:pt x="967" y="258"/>
                    </a:cubicBezTo>
                    <a:cubicBezTo>
                      <a:pt x="966" y="258"/>
                      <a:pt x="966" y="258"/>
                      <a:pt x="966" y="259"/>
                    </a:cubicBezTo>
                    <a:cubicBezTo>
                      <a:pt x="966" y="259"/>
                      <a:pt x="966" y="259"/>
                      <a:pt x="966" y="260"/>
                    </a:cubicBezTo>
                    <a:cubicBezTo>
                      <a:pt x="966" y="260"/>
                      <a:pt x="965" y="260"/>
                      <a:pt x="965" y="260"/>
                    </a:cubicBezTo>
                    <a:cubicBezTo>
                      <a:pt x="965" y="260"/>
                      <a:pt x="965" y="261"/>
                      <a:pt x="965" y="261"/>
                    </a:cubicBezTo>
                    <a:cubicBezTo>
                      <a:pt x="965" y="262"/>
                      <a:pt x="967" y="262"/>
                      <a:pt x="967" y="262"/>
                    </a:cubicBezTo>
                    <a:cubicBezTo>
                      <a:pt x="968" y="261"/>
                      <a:pt x="970" y="262"/>
                      <a:pt x="971" y="261"/>
                    </a:cubicBezTo>
                    <a:cubicBezTo>
                      <a:pt x="971" y="260"/>
                      <a:pt x="971" y="260"/>
                      <a:pt x="972" y="260"/>
                    </a:cubicBezTo>
                    <a:cubicBezTo>
                      <a:pt x="972" y="259"/>
                      <a:pt x="972" y="259"/>
                      <a:pt x="972" y="258"/>
                    </a:cubicBezTo>
                    <a:cubicBezTo>
                      <a:pt x="971" y="258"/>
                      <a:pt x="972" y="256"/>
                      <a:pt x="973" y="257"/>
                    </a:cubicBezTo>
                    <a:cubicBezTo>
                      <a:pt x="973" y="258"/>
                      <a:pt x="974" y="258"/>
                      <a:pt x="974" y="259"/>
                    </a:cubicBezTo>
                    <a:cubicBezTo>
                      <a:pt x="974" y="259"/>
                      <a:pt x="974" y="259"/>
                      <a:pt x="973" y="260"/>
                    </a:cubicBezTo>
                    <a:cubicBezTo>
                      <a:pt x="973" y="260"/>
                      <a:pt x="974" y="261"/>
                      <a:pt x="974" y="261"/>
                    </a:cubicBezTo>
                    <a:cubicBezTo>
                      <a:pt x="973" y="261"/>
                      <a:pt x="974" y="262"/>
                      <a:pt x="974" y="262"/>
                    </a:cubicBezTo>
                    <a:cubicBezTo>
                      <a:pt x="974" y="262"/>
                      <a:pt x="975" y="262"/>
                      <a:pt x="975" y="262"/>
                    </a:cubicBezTo>
                    <a:cubicBezTo>
                      <a:pt x="976" y="261"/>
                      <a:pt x="975" y="260"/>
                      <a:pt x="975" y="259"/>
                    </a:cubicBezTo>
                    <a:cubicBezTo>
                      <a:pt x="975" y="259"/>
                      <a:pt x="975" y="258"/>
                      <a:pt x="974" y="258"/>
                    </a:cubicBezTo>
                    <a:cubicBezTo>
                      <a:pt x="974" y="258"/>
                      <a:pt x="974" y="257"/>
                      <a:pt x="974" y="257"/>
                    </a:cubicBezTo>
                    <a:cubicBezTo>
                      <a:pt x="974" y="256"/>
                      <a:pt x="973" y="256"/>
                      <a:pt x="973" y="256"/>
                    </a:cubicBezTo>
                    <a:cubicBezTo>
                      <a:pt x="973" y="256"/>
                      <a:pt x="972" y="256"/>
                      <a:pt x="972" y="256"/>
                    </a:cubicBezTo>
                    <a:cubicBezTo>
                      <a:pt x="972" y="255"/>
                      <a:pt x="971" y="254"/>
                      <a:pt x="970" y="254"/>
                    </a:cubicBezTo>
                    <a:cubicBezTo>
                      <a:pt x="971" y="253"/>
                      <a:pt x="973" y="254"/>
                      <a:pt x="973" y="254"/>
                    </a:cubicBezTo>
                    <a:cubicBezTo>
                      <a:pt x="974" y="255"/>
                      <a:pt x="976" y="255"/>
                      <a:pt x="977" y="255"/>
                    </a:cubicBezTo>
                    <a:cubicBezTo>
                      <a:pt x="978" y="254"/>
                      <a:pt x="978" y="254"/>
                      <a:pt x="979" y="254"/>
                    </a:cubicBezTo>
                    <a:cubicBezTo>
                      <a:pt x="979" y="254"/>
                      <a:pt x="979" y="254"/>
                      <a:pt x="979" y="254"/>
                    </a:cubicBezTo>
                    <a:cubicBezTo>
                      <a:pt x="980" y="253"/>
                      <a:pt x="980" y="254"/>
                      <a:pt x="980" y="254"/>
                    </a:cubicBezTo>
                    <a:cubicBezTo>
                      <a:pt x="980" y="254"/>
                      <a:pt x="981" y="255"/>
                      <a:pt x="981" y="255"/>
                    </a:cubicBezTo>
                    <a:cubicBezTo>
                      <a:pt x="982" y="255"/>
                      <a:pt x="983" y="256"/>
                      <a:pt x="984" y="256"/>
                    </a:cubicBezTo>
                    <a:cubicBezTo>
                      <a:pt x="985" y="256"/>
                      <a:pt x="986" y="256"/>
                      <a:pt x="987" y="257"/>
                    </a:cubicBezTo>
                    <a:cubicBezTo>
                      <a:pt x="987" y="258"/>
                      <a:pt x="987" y="258"/>
                      <a:pt x="987" y="258"/>
                    </a:cubicBezTo>
                    <a:cubicBezTo>
                      <a:pt x="988" y="259"/>
                      <a:pt x="989" y="259"/>
                      <a:pt x="989" y="259"/>
                    </a:cubicBezTo>
                    <a:cubicBezTo>
                      <a:pt x="991" y="260"/>
                      <a:pt x="992" y="260"/>
                      <a:pt x="993" y="261"/>
                    </a:cubicBezTo>
                    <a:cubicBezTo>
                      <a:pt x="994" y="261"/>
                      <a:pt x="996" y="262"/>
                      <a:pt x="997" y="262"/>
                    </a:cubicBezTo>
                    <a:cubicBezTo>
                      <a:pt x="997" y="262"/>
                      <a:pt x="996" y="262"/>
                      <a:pt x="996" y="262"/>
                    </a:cubicBezTo>
                    <a:cubicBezTo>
                      <a:pt x="996" y="263"/>
                      <a:pt x="996" y="262"/>
                      <a:pt x="997" y="263"/>
                    </a:cubicBezTo>
                    <a:cubicBezTo>
                      <a:pt x="998" y="263"/>
                      <a:pt x="999" y="264"/>
                      <a:pt x="1000" y="264"/>
                    </a:cubicBezTo>
                    <a:cubicBezTo>
                      <a:pt x="1001" y="264"/>
                      <a:pt x="1002" y="264"/>
                      <a:pt x="1002" y="264"/>
                    </a:cubicBezTo>
                    <a:cubicBezTo>
                      <a:pt x="1002" y="264"/>
                      <a:pt x="1002" y="265"/>
                      <a:pt x="1002" y="265"/>
                    </a:cubicBezTo>
                    <a:cubicBezTo>
                      <a:pt x="1002" y="265"/>
                      <a:pt x="1003" y="265"/>
                      <a:pt x="1003" y="266"/>
                    </a:cubicBezTo>
                    <a:cubicBezTo>
                      <a:pt x="1003" y="266"/>
                      <a:pt x="1003" y="266"/>
                      <a:pt x="1003" y="266"/>
                    </a:cubicBezTo>
                    <a:cubicBezTo>
                      <a:pt x="1003" y="266"/>
                      <a:pt x="1002" y="266"/>
                      <a:pt x="1002" y="267"/>
                    </a:cubicBezTo>
                    <a:cubicBezTo>
                      <a:pt x="1002" y="267"/>
                      <a:pt x="1003" y="267"/>
                      <a:pt x="1003" y="267"/>
                    </a:cubicBezTo>
                    <a:cubicBezTo>
                      <a:pt x="1003" y="267"/>
                      <a:pt x="1002" y="267"/>
                      <a:pt x="1002" y="267"/>
                    </a:cubicBezTo>
                    <a:cubicBezTo>
                      <a:pt x="1001" y="267"/>
                      <a:pt x="999" y="266"/>
                      <a:pt x="997" y="266"/>
                    </a:cubicBezTo>
                    <a:cubicBezTo>
                      <a:pt x="998" y="267"/>
                      <a:pt x="999" y="267"/>
                      <a:pt x="1000" y="267"/>
                    </a:cubicBezTo>
                    <a:cubicBezTo>
                      <a:pt x="1000" y="267"/>
                      <a:pt x="1000" y="267"/>
                      <a:pt x="1001" y="268"/>
                    </a:cubicBezTo>
                    <a:cubicBezTo>
                      <a:pt x="1001" y="268"/>
                      <a:pt x="1002" y="268"/>
                      <a:pt x="1002" y="268"/>
                    </a:cubicBezTo>
                    <a:cubicBezTo>
                      <a:pt x="1002" y="268"/>
                      <a:pt x="1003" y="269"/>
                      <a:pt x="1003" y="269"/>
                    </a:cubicBezTo>
                    <a:cubicBezTo>
                      <a:pt x="1004" y="269"/>
                      <a:pt x="1004" y="269"/>
                      <a:pt x="1004" y="269"/>
                    </a:cubicBezTo>
                    <a:cubicBezTo>
                      <a:pt x="1004" y="269"/>
                      <a:pt x="1004" y="269"/>
                      <a:pt x="1005" y="270"/>
                    </a:cubicBezTo>
                    <a:cubicBezTo>
                      <a:pt x="1005" y="270"/>
                      <a:pt x="1005" y="270"/>
                      <a:pt x="1006" y="270"/>
                    </a:cubicBezTo>
                    <a:cubicBezTo>
                      <a:pt x="1006" y="271"/>
                      <a:pt x="1007" y="272"/>
                      <a:pt x="1006" y="273"/>
                    </a:cubicBezTo>
                    <a:cubicBezTo>
                      <a:pt x="1006" y="273"/>
                      <a:pt x="1007" y="274"/>
                      <a:pt x="1008" y="274"/>
                    </a:cubicBezTo>
                    <a:cubicBezTo>
                      <a:pt x="1008" y="274"/>
                      <a:pt x="1009" y="275"/>
                      <a:pt x="1010" y="275"/>
                    </a:cubicBezTo>
                    <a:cubicBezTo>
                      <a:pt x="1011" y="276"/>
                      <a:pt x="1012" y="275"/>
                      <a:pt x="1012" y="276"/>
                    </a:cubicBezTo>
                    <a:cubicBezTo>
                      <a:pt x="1012" y="276"/>
                      <a:pt x="1011" y="276"/>
                      <a:pt x="1011" y="277"/>
                    </a:cubicBezTo>
                    <a:cubicBezTo>
                      <a:pt x="1012" y="278"/>
                      <a:pt x="1013" y="278"/>
                      <a:pt x="1013" y="278"/>
                    </a:cubicBezTo>
                    <a:cubicBezTo>
                      <a:pt x="1014" y="279"/>
                      <a:pt x="1013" y="279"/>
                      <a:pt x="1012" y="279"/>
                    </a:cubicBezTo>
                    <a:cubicBezTo>
                      <a:pt x="1012" y="279"/>
                      <a:pt x="1013" y="281"/>
                      <a:pt x="1013" y="281"/>
                    </a:cubicBezTo>
                    <a:cubicBezTo>
                      <a:pt x="1012" y="281"/>
                      <a:pt x="1011" y="282"/>
                      <a:pt x="1012" y="282"/>
                    </a:cubicBezTo>
                    <a:cubicBezTo>
                      <a:pt x="1013" y="283"/>
                      <a:pt x="1013" y="283"/>
                      <a:pt x="1012" y="283"/>
                    </a:cubicBezTo>
                    <a:cubicBezTo>
                      <a:pt x="1012" y="283"/>
                      <a:pt x="1013" y="284"/>
                      <a:pt x="1013" y="284"/>
                    </a:cubicBezTo>
                    <a:cubicBezTo>
                      <a:pt x="1013" y="285"/>
                      <a:pt x="1012" y="285"/>
                      <a:pt x="1012" y="285"/>
                    </a:cubicBezTo>
                    <a:cubicBezTo>
                      <a:pt x="1012" y="285"/>
                      <a:pt x="1013" y="285"/>
                      <a:pt x="1013" y="286"/>
                    </a:cubicBezTo>
                    <a:cubicBezTo>
                      <a:pt x="1013" y="286"/>
                      <a:pt x="1013" y="286"/>
                      <a:pt x="1013" y="286"/>
                    </a:cubicBezTo>
                    <a:cubicBezTo>
                      <a:pt x="1013" y="286"/>
                      <a:pt x="1013" y="287"/>
                      <a:pt x="1013" y="287"/>
                    </a:cubicBezTo>
                    <a:cubicBezTo>
                      <a:pt x="1014" y="287"/>
                      <a:pt x="1014" y="287"/>
                      <a:pt x="1014" y="288"/>
                    </a:cubicBezTo>
                    <a:cubicBezTo>
                      <a:pt x="1015" y="288"/>
                      <a:pt x="1014" y="288"/>
                      <a:pt x="1015" y="288"/>
                    </a:cubicBezTo>
                    <a:cubicBezTo>
                      <a:pt x="1015" y="289"/>
                      <a:pt x="1015" y="289"/>
                      <a:pt x="1015" y="289"/>
                    </a:cubicBezTo>
                    <a:cubicBezTo>
                      <a:pt x="1015" y="289"/>
                      <a:pt x="1014" y="289"/>
                      <a:pt x="1015" y="290"/>
                    </a:cubicBezTo>
                    <a:cubicBezTo>
                      <a:pt x="1015" y="290"/>
                      <a:pt x="1015" y="290"/>
                      <a:pt x="1015" y="290"/>
                    </a:cubicBezTo>
                    <a:cubicBezTo>
                      <a:pt x="1015" y="291"/>
                      <a:pt x="1015" y="291"/>
                      <a:pt x="1015" y="291"/>
                    </a:cubicBezTo>
                    <a:cubicBezTo>
                      <a:pt x="1016" y="292"/>
                      <a:pt x="1016" y="292"/>
                      <a:pt x="1016" y="292"/>
                    </a:cubicBezTo>
                    <a:cubicBezTo>
                      <a:pt x="1016" y="293"/>
                      <a:pt x="1016" y="293"/>
                      <a:pt x="1017" y="294"/>
                    </a:cubicBezTo>
                    <a:cubicBezTo>
                      <a:pt x="1018" y="294"/>
                      <a:pt x="1019" y="295"/>
                      <a:pt x="1020" y="296"/>
                    </a:cubicBezTo>
                    <a:cubicBezTo>
                      <a:pt x="1020" y="297"/>
                      <a:pt x="1020" y="297"/>
                      <a:pt x="1021" y="298"/>
                    </a:cubicBezTo>
                    <a:cubicBezTo>
                      <a:pt x="1021" y="298"/>
                      <a:pt x="1022" y="298"/>
                      <a:pt x="1022" y="299"/>
                    </a:cubicBezTo>
                    <a:cubicBezTo>
                      <a:pt x="1022" y="299"/>
                      <a:pt x="1021" y="299"/>
                      <a:pt x="1021" y="299"/>
                    </a:cubicBezTo>
                    <a:cubicBezTo>
                      <a:pt x="1021" y="300"/>
                      <a:pt x="1021" y="300"/>
                      <a:pt x="1021" y="300"/>
                    </a:cubicBezTo>
                    <a:cubicBezTo>
                      <a:pt x="1022" y="301"/>
                      <a:pt x="1023" y="301"/>
                      <a:pt x="1023" y="302"/>
                    </a:cubicBezTo>
                    <a:cubicBezTo>
                      <a:pt x="1024" y="303"/>
                      <a:pt x="1025" y="303"/>
                      <a:pt x="1025" y="304"/>
                    </a:cubicBezTo>
                    <a:cubicBezTo>
                      <a:pt x="1025" y="304"/>
                      <a:pt x="1025" y="306"/>
                      <a:pt x="1026" y="306"/>
                    </a:cubicBezTo>
                    <a:cubicBezTo>
                      <a:pt x="1025" y="306"/>
                      <a:pt x="1025" y="306"/>
                      <a:pt x="1025" y="306"/>
                    </a:cubicBezTo>
                    <a:cubicBezTo>
                      <a:pt x="1025" y="307"/>
                      <a:pt x="1026" y="306"/>
                      <a:pt x="1026" y="307"/>
                    </a:cubicBezTo>
                    <a:cubicBezTo>
                      <a:pt x="1026" y="307"/>
                      <a:pt x="1026" y="307"/>
                      <a:pt x="1026" y="307"/>
                    </a:cubicBezTo>
                    <a:cubicBezTo>
                      <a:pt x="1026" y="308"/>
                      <a:pt x="1027" y="309"/>
                      <a:pt x="1026" y="309"/>
                    </a:cubicBezTo>
                    <a:cubicBezTo>
                      <a:pt x="1027" y="309"/>
                      <a:pt x="1027" y="309"/>
                      <a:pt x="1026" y="309"/>
                    </a:cubicBezTo>
                    <a:cubicBezTo>
                      <a:pt x="1027" y="309"/>
                      <a:pt x="1027" y="310"/>
                      <a:pt x="1027" y="310"/>
                    </a:cubicBezTo>
                    <a:cubicBezTo>
                      <a:pt x="1027" y="309"/>
                      <a:pt x="1028" y="309"/>
                      <a:pt x="1028" y="310"/>
                    </a:cubicBezTo>
                    <a:cubicBezTo>
                      <a:pt x="1028" y="310"/>
                      <a:pt x="1028" y="311"/>
                      <a:pt x="1028" y="311"/>
                    </a:cubicBezTo>
                    <a:cubicBezTo>
                      <a:pt x="1027" y="312"/>
                      <a:pt x="1029" y="314"/>
                      <a:pt x="1029" y="314"/>
                    </a:cubicBezTo>
                    <a:cubicBezTo>
                      <a:pt x="1030" y="315"/>
                      <a:pt x="1030" y="316"/>
                      <a:pt x="1029" y="317"/>
                    </a:cubicBezTo>
                    <a:cubicBezTo>
                      <a:pt x="1029" y="318"/>
                      <a:pt x="1028" y="318"/>
                      <a:pt x="1028" y="319"/>
                    </a:cubicBezTo>
                    <a:cubicBezTo>
                      <a:pt x="1028" y="319"/>
                      <a:pt x="1028" y="320"/>
                      <a:pt x="1028" y="320"/>
                    </a:cubicBezTo>
                    <a:cubicBezTo>
                      <a:pt x="1028" y="321"/>
                      <a:pt x="1027" y="321"/>
                      <a:pt x="1027" y="322"/>
                    </a:cubicBezTo>
                    <a:cubicBezTo>
                      <a:pt x="1027" y="323"/>
                      <a:pt x="1027" y="323"/>
                      <a:pt x="1027" y="324"/>
                    </a:cubicBezTo>
                    <a:cubicBezTo>
                      <a:pt x="1027" y="325"/>
                      <a:pt x="1027" y="325"/>
                      <a:pt x="1027" y="326"/>
                    </a:cubicBezTo>
                    <a:cubicBezTo>
                      <a:pt x="1028" y="327"/>
                      <a:pt x="1028" y="327"/>
                      <a:pt x="1028" y="328"/>
                    </a:cubicBezTo>
                    <a:cubicBezTo>
                      <a:pt x="1027" y="328"/>
                      <a:pt x="1027" y="328"/>
                      <a:pt x="1027" y="328"/>
                    </a:cubicBezTo>
                    <a:cubicBezTo>
                      <a:pt x="1027" y="328"/>
                      <a:pt x="1027" y="328"/>
                      <a:pt x="1027" y="329"/>
                    </a:cubicBezTo>
                    <a:cubicBezTo>
                      <a:pt x="1027" y="329"/>
                      <a:pt x="1026" y="330"/>
                      <a:pt x="1026" y="330"/>
                    </a:cubicBezTo>
                    <a:cubicBezTo>
                      <a:pt x="1026" y="331"/>
                      <a:pt x="1026" y="332"/>
                      <a:pt x="1027" y="332"/>
                    </a:cubicBezTo>
                    <a:cubicBezTo>
                      <a:pt x="1027" y="333"/>
                      <a:pt x="1027" y="333"/>
                      <a:pt x="1027" y="334"/>
                    </a:cubicBezTo>
                    <a:cubicBezTo>
                      <a:pt x="1027" y="334"/>
                      <a:pt x="1027" y="335"/>
                      <a:pt x="1027" y="336"/>
                    </a:cubicBezTo>
                    <a:cubicBezTo>
                      <a:pt x="1028" y="336"/>
                      <a:pt x="1027" y="336"/>
                      <a:pt x="1027" y="336"/>
                    </a:cubicBezTo>
                    <a:cubicBezTo>
                      <a:pt x="1027" y="337"/>
                      <a:pt x="1028" y="339"/>
                      <a:pt x="1028" y="340"/>
                    </a:cubicBezTo>
                    <a:cubicBezTo>
                      <a:pt x="1028" y="340"/>
                      <a:pt x="1027" y="340"/>
                      <a:pt x="1027" y="340"/>
                    </a:cubicBezTo>
                    <a:cubicBezTo>
                      <a:pt x="1027" y="341"/>
                      <a:pt x="1027" y="341"/>
                      <a:pt x="1027" y="341"/>
                    </a:cubicBezTo>
                    <a:cubicBezTo>
                      <a:pt x="1027" y="342"/>
                      <a:pt x="1027" y="342"/>
                      <a:pt x="1027" y="343"/>
                    </a:cubicBezTo>
                    <a:cubicBezTo>
                      <a:pt x="1027" y="344"/>
                      <a:pt x="1027" y="344"/>
                      <a:pt x="1027" y="345"/>
                    </a:cubicBezTo>
                    <a:cubicBezTo>
                      <a:pt x="1026" y="345"/>
                      <a:pt x="1026" y="346"/>
                      <a:pt x="1026" y="346"/>
                    </a:cubicBezTo>
                    <a:cubicBezTo>
                      <a:pt x="1025" y="347"/>
                      <a:pt x="1025" y="348"/>
                      <a:pt x="1025" y="348"/>
                    </a:cubicBezTo>
                    <a:cubicBezTo>
                      <a:pt x="1025" y="349"/>
                      <a:pt x="1024" y="349"/>
                      <a:pt x="1024" y="350"/>
                    </a:cubicBezTo>
                    <a:cubicBezTo>
                      <a:pt x="1024" y="350"/>
                      <a:pt x="1024" y="351"/>
                      <a:pt x="1024" y="351"/>
                    </a:cubicBezTo>
                    <a:cubicBezTo>
                      <a:pt x="1024" y="352"/>
                      <a:pt x="1023" y="352"/>
                      <a:pt x="1023" y="353"/>
                    </a:cubicBezTo>
                    <a:cubicBezTo>
                      <a:pt x="1023" y="353"/>
                      <a:pt x="1023" y="353"/>
                      <a:pt x="1023" y="354"/>
                    </a:cubicBezTo>
                    <a:cubicBezTo>
                      <a:pt x="1023" y="354"/>
                      <a:pt x="1023" y="354"/>
                      <a:pt x="1023" y="354"/>
                    </a:cubicBezTo>
                    <a:cubicBezTo>
                      <a:pt x="1023" y="355"/>
                      <a:pt x="1023" y="355"/>
                      <a:pt x="1023" y="355"/>
                    </a:cubicBezTo>
                    <a:cubicBezTo>
                      <a:pt x="1023" y="355"/>
                      <a:pt x="1022" y="354"/>
                      <a:pt x="1022" y="355"/>
                    </a:cubicBezTo>
                    <a:cubicBezTo>
                      <a:pt x="1022" y="356"/>
                      <a:pt x="1022" y="355"/>
                      <a:pt x="1022" y="356"/>
                    </a:cubicBezTo>
                    <a:cubicBezTo>
                      <a:pt x="1022" y="356"/>
                      <a:pt x="1022" y="356"/>
                      <a:pt x="1022" y="356"/>
                    </a:cubicBezTo>
                    <a:cubicBezTo>
                      <a:pt x="1022" y="356"/>
                      <a:pt x="1022" y="357"/>
                      <a:pt x="1022" y="357"/>
                    </a:cubicBezTo>
                    <a:cubicBezTo>
                      <a:pt x="1022" y="357"/>
                      <a:pt x="1023" y="358"/>
                      <a:pt x="1022" y="358"/>
                    </a:cubicBezTo>
                    <a:cubicBezTo>
                      <a:pt x="1022" y="359"/>
                      <a:pt x="1021" y="358"/>
                      <a:pt x="1021" y="359"/>
                    </a:cubicBezTo>
                    <a:cubicBezTo>
                      <a:pt x="1020" y="359"/>
                      <a:pt x="1021" y="359"/>
                      <a:pt x="1021" y="360"/>
                    </a:cubicBezTo>
                    <a:cubicBezTo>
                      <a:pt x="1021" y="360"/>
                      <a:pt x="1020" y="361"/>
                      <a:pt x="1020" y="361"/>
                    </a:cubicBezTo>
                    <a:cubicBezTo>
                      <a:pt x="1020" y="362"/>
                      <a:pt x="1020" y="362"/>
                      <a:pt x="1020" y="362"/>
                    </a:cubicBezTo>
                    <a:cubicBezTo>
                      <a:pt x="1021" y="363"/>
                      <a:pt x="1021" y="363"/>
                      <a:pt x="1020" y="363"/>
                    </a:cubicBezTo>
                    <a:cubicBezTo>
                      <a:pt x="1020" y="363"/>
                      <a:pt x="1020" y="364"/>
                      <a:pt x="1020" y="364"/>
                    </a:cubicBezTo>
                    <a:cubicBezTo>
                      <a:pt x="1020" y="364"/>
                      <a:pt x="1020" y="364"/>
                      <a:pt x="1020" y="364"/>
                    </a:cubicBezTo>
                    <a:cubicBezTo>
                      <a:pt x="1020" y="364"/>
                      <a:pt x="1021" y="365"/>
                      <a:pt x="1021" y="365"/>
                    </a:cubicBezTo>
                    <a:cubicBezTo>
                      <a:pt x="1021" y="365"/>
                      <a:pt x="1021" y="366"/>
                      <a:pt x="1021" y="366"/>
                    </a:cubicBezTo>
                    <a:cubicBezTo>
                      <a:pt x="1021" y="366"/>
                      <a:pt x="1020" y="367"/>
                      <a:pt x="1020" y="367"/>
                    </a:cubicBezTo>
                    <a:cubicBezTo>
                      <a:pt x="1020" y="366"/>
                      <a:pt x="1019" y="366"/>
                      <a:pt x="1019" y="366"/>
                    </a:cubicBezTo>
                    <a:cubicBezTo>
                      <a:pt x="1020" y="367"/>
                      <a:pt x="1020" y="369"/>
                      <a:pt x="1019" y="369"/>
                    </a:cubicBezTo>
                    <a:cubicBezTo>
                      <a:pt x="1019" y="369"/>
                      <a:pt x="1018" y="370"/>
                      <a:pt x="1018" y="370"/>
                    </a:cubicBezTo>
                    <a:cubicBezTo>
                      <a:pt x="1018" y="370"/>
                      <a:pt x="1018" y="371"/>
                      <a:pt x="1017" y="371"/>
                    </a:cubicBezTo>
                    <a:cubicBezTo>
                      <a:pt x="1017" y="371"/>
                      <a:pt x="1017" y="372"/>
                      <a:pt x="1016" y="373"/>
                    </a:cubicBezTo>
                    <a:cubicBezTo>
                      <a:pt x="1015" y="373"/>
                      <a:pt x="1014" y="373"/>
                      <a:pt x="1014" y="374"/>
                    </a:cubicBezTo>
                    <a:cubicBezTo>
                      <a:pt x="1014" y="374"/>
                      <a:pt x="1014" y="374"/>
                      <a:pt x="1014" y="375"/>
                    </a:cubicBezTo>
                    <a:cubicBezTo>
                      <a:pt x="1013" y="375"/>
                      <a:pt x="1013" y="375"/>
                      <a:pt x="1013" y="375"/>
                    </a:cubicBezTo>
                    <a:cubicBezTo>
                      <a:pt x="1012" y="375"/>
                      <a:pt x="1012" y="375"/>
                      <a:pt x="1012" y="376"/>
                    </a:cubicBezTo>
                    <a:cubicBezTo>
                      <a:pt x="1012" y="376"/>
                      <a:pt x="1012" y="376"/>
                      <a:pt x="1011" y="376"/>
                    </a:cubicBezTo>
                    <a:cubicBezTo>
                      <a:pt x="1011" y="376"/>
                      <a:pt x="1010" y="376"/>
                      <a:pt x="1010" y="376"/>
                    </a:cubicBezTo>
                    <a:cubicBezTo>
                      <a:pt x="1009" y="376"/>
                      <a:pt x="1009" y="377"/>
                      <a:pt x="1009" y="377"/>
                    </a:cubicBezTo>
                    <a:cubicBezTo>
                      <a:pt x="1008" y="377"/>
                      <a:pt x="1008" y="377"/>
                      <a:pt x="1008" y="377"/>
                    </a:cubicBezTo>
                    <a:cubicBezTo>
                      <a:pt x="1008" y="378"/>
                      <a:pt x="1007" y="378"/>
                      <a:pt x="1006" y="378"/>
                    </a:cubicBezTo>
                    <a:cubicBezTo>
                      <a:pt x="1006" y="377"/>
                      <a:pt x="1006" y="377"/>
                      <a:pt x="1006" y="377"/>
                    </a:cubicBezTo>
                    <a:cubicBezTo>
                      <a:pt x="1006" y="377"/>
                      <a:pt x="1005" y="376"/>
                      <a:pt x="1004" y="376"/>
                    </a:cubicBezTo>
                    <a:cubicBezTo>
                      <a:pt x="1004" y="376"/>
                      <a:pt x="1005" y="377"/>
                      <a:pt x="1005" y="377"/>
                    </a:cubicBezTo>
                    <a:cubicBezTo>
                      <a:pt x="1004" y="377"/>
                      <a:pt x="1004" y="376"/>
                      <a:pt x="1003" y="376"/>
                    </a:cubicBezTo>
                    <a:cubicBezTo>
                      <a:pt x="1003" y="376"/>
                      <a:pt x="1003" y="375"/>
                      <a:pt x="1002" y="375"/>
                    </a:cubicBezTo>
                    <a:cubicBezTo>
                      <a:pt x="1002" y="376"/>
                      <a:pt x="1002" y="376"/>
                      <a:pt x="1001" y="376"/>
                    </a:cubicBezTo>
                    <a:cubicBezTo>
                      <a:pt x="1001" y="376"/>
                      <a:pt x="1000" y="375"/>
                      <a:pt x="1000" y="375"/>
                    </a:cubicBezTo>
                    <a:cubicBezTo>
                      <a:pt x="999" y="375"/>
                      <a:pt x="999" y="375"/>
                      <a:pt x="999" y="376"/>
                    </a:cubicBezTo>
                    <a:cubicBezTo>
                      <a:pt x="998" y="376"/>
                      <a:pt x="998" y="373"/>
                      <a:pt x="997" y="372"/>
                    </a:cubicBezTo>
                    <a:cubicBezTo>
                      <a:pt x="997" y="372"/>
                      <a:pt x="997" y="372"/>
                      <a:pt x="998" y="372"/>
                    </a:cubicBezTo>
                    <a:cubicBezTo>
                      <a:pt x="998" y="372"/>
                      <a:pt x="997" y="372"/>
                      <a:pt x="997" y="372"/>
                    </a:cubicBezTo>
                    <a:cubicBezTo>
                      <a:pt x="997" y="371"/>
                      <a:pt x="997" y="371"/>
                      <a:pt x="997" y="371"/>
                    </a:cubicBezTo>
                    <a:cubicBezTo>
                      <a:pt x="997" y="371"/>
                      <a:pt x="996" y="371"/>
                      <a:pt x="996" y="371"/>
                    </a:cubicBezTo>
                    <a:cubicBezTo>
                      <a:pt x="997" y="371"/>
                      <a:pt x="995" y="372"/>
                      <a:pt x="995" y="373"/>
                    </a:cubicBezTo>
                    <a:cubicBezTo>
                      <a:pt x="995" y="373"/>
                      <a:pt x="995" y="373"/>
                      <a:pt x="994" y="373"/>
                    </a:cubicBezTo>
                    <a:cubicBezTo>
                      <a:pt x="994" y="373"/>
                      <a:pt x="994" y="373"/>
                      <a:pt x="994" y="373"/>
                    </a:cubicBezTo>
                    <a:cubicBezTo>
                      <a:pt x="994" y="373"/>
                      <a:pt x="993" y="373"/>
                      <a:pt x="994" y="373"/>
                    </a:cubicBezTo>
                    <a:cubicBezTo>
                      <a:pt x="993" y="373"/>
                      <a:pt x="994" y="372"/>
                      <a:pt x="994" y="372"/>
                    </a:cubicBezTo>
                    <a:cubicBezTo>
                      <a:pt x="994" y="371"/>
                      <a:pt x="994" y="371"/>
                      <a:pt x="994" y="371"/>
                    </a:cubicBezTo>
                    <a:cubicBezTo>
                      <a:pt x="994" y="371"/>
                      <a:pt x="994" y="371"/>
                      <a:pt x="994" y="371"/>
                    </a:cubicBezTo>
                    <a:cubicBezTo>
                      <a:pt x="994" y="371"/>
                      <a:pt x="994" y="371"/>
                      <a:pt x="993" y="371"/>
                    </a:cubicBezTo>
                    <a:cubicBezTo>
                      <a:pt x="993" y="371"/>
                      <a:pt x="993" y="371"/>
                      <a:pt x="993" y="371"/>
                    </a:cubicBezTo>
                    <a:cubicBezTo>
                      <a:pt x="992" y="371"/>
                      <a:pt x="992" y="371"/>
                      <a:pt x="992" y="371"/>
                    </a:cubicBezTo>
                    <a:cubicBezTo>
                      <a:pt x="992" y="370"/>
                      <a:pt x="992" y="372"/>
                      <a:pt x="992" y="372"/>
                    </a:cubicBezTo>
                    <a:cubicBezTo>
                      <a:pt x="992" y="372"/>
                      <a:pt x="992" y="372"/>
                      <a:pt x="992" y="372"/>
                    </a:cubicBezTo>
                    <a:cubicBezTo>
                      <a:pt x="992" y="372"/>
                      <a:pt x="991" y="372"/>
                      <a:pt x="991" y="372"/>
                    </a:cubicBezTo>
                    <a:cubicBezTo>
                      <a:pt x="991" y="372"/>
                      <a:pt x="992" y="372"/>
                      <a:pt x="992" y="372"/>
                    </a:cubicBezTo>
                    <a:cubicBezTo>
                      <a:pt x="992" y="372"/>
                      <a:pt x="992" y="374"/>
                      <a:pt x="992" y="374"/>
                    </a:cubicBezTo>
                    <a:cubicBezTo>
                      <a:pt x="991" y="374"/>
                      <a:pt x="990" y="374"/>
                      <a:pt x="991" y="375"/>
                    </a:cubicBezTo>
                    <a:cubicBezTo>
                      <a:pt x="991" y="375"/>
                      <a:pt x="990" y="375"/>
                      <a:pt x="990" y="375"/>
                    </a:cubicBezTo>
                    <a:cubicBezTo>
                      <a:pt x="990" y="375"/>
                      <a:pt x="991" y="376"/>
                      <a:pt x="991" y="376"/>
                    </a:cubicBezTo>
                    <a:cubicBezTo>
                      <a:pt x="991" y="376"/>
                      <a:pt x="991" y="376"/>
                      <a:pt x="991" y="377"/>
                    </a:cubicBezTo>
                    <a:cubicBezTo>
                      <a:pt x="990" y="376"/>
                      <a:pt x="991" y="379"/>
                      <a:pt x="991" y="379"/>
                    </a:cubicBezTo>
                    <a:cubicBezTo>
                      <a:pt x="991" y="379"/>
                      <a:pt x="990" y="378"/>
                      <a:pt x="990" y="378"/>
                    </a:cubicBezTo>
                    <a:cubicBezTo>
                      <a:pt x="990" y="378"/>
                      <a:pt x="990" y="378"/>
                      <a:pt x="990" y="378"/>
                    </a:cubicBezTo>
                    <a:cubicBezTo>
                      <a:pt x="989" y="378"/>
                      <a:pt x="989" y="378"/>
                      <a:pt x="988" y="378"/>
                    </a:cubicBezTo>
                    <a:cubicBezTo>
                      <a:pt x="988" y="379"/>
                      <a:pt x="988" y="378"/>
                      <a:pt x="987" y="378"/>
                    </a:cubicBezTo>
                    <a:cubicBezTo>
                      <a:pt x="988" y="378"/>
                      <a:pt x="988" y="379"/>
                      <a:pt x="988" y="378"/>
                    </a:cubicBezTo>
                    <a:cubicBezTo>
                      <a:pt x="989" y="378"/>
                      <a:pt x="987" y="378"/>
                      <a:pt x="987" y="378"/>
                    </a:cubicBezTo>
                    <a:cubicBezTo>
                      <a:pt x="987" y="378"/>
                      <a:pt x="987" y="378"/>
                      <a:pt x="987" y="378"/>
                    </a:cubicBezTo>
                    <a:cubicBezTo>
                      <a:pt x="987" y="377"/>
                      <a:pt x="985" y="377"/>
                      <a:pt x="986" y="378"/>
                    </a:cubicBezTo>
                    <a:cubicBezTo>
                      <a:pt x="987" y="379"/>
                      <a:pt x="988" y="379"/>
                      <a:pt x="988" y="379"/>
                    </a:cubicBezTo>
                    <a:cubicBezTo>
                      <a:pt x="988" y="379"/>
                      <a:pt x="988" y="381"/>
                      <a:pt x="988" y="381"/>
                    </a:cubicBezTo>
                    <a:cubicBezTo>
                      <a:pt x="988" y="383"/>
                      <a:pt x="987" y="381"/>
                      <a:pt x="987" y="381"/>
                    </a:cubicBezTo>
                    <a:cubicBezTo>
                      <a:pt x="986" y="380"/>
                      <a:pt x="986" y="380"/>
                      <a:pt x="986" y="379"/>
                    </a:cubicBezTo>
                    <a:cubicBezTo>
                      <a:pt x="986" y="379"/>
                      <a:pt x="986" y="379"/>
                      <a:pt x="985" y="378"/>
                    </a:cubicBezTo>
                    <a:cubicBezTo>
                      <a:pt x="985" y="378"/>
                      <a:pt x="983" y="378"/>
                      <a:pt x="983" y="377"/>
                    </a:cubicBezTo>
                    <a:cubicBezTo>
                      <a:pt x="984" y="377"/>
                      <a:pt x="984" y="376"/>
                      <a:pt x="984" y="376"/>
                    </a:cubicBezTo>
                    <a:cubicBezTo>
                      <a:pt x="985" y="376"/>
                      <a:pt x="985" y="376"/>
                      <a:pt x="986" y="376"/>
                    </a:cubicBezTo>
                    <a:cubicBezTo>
                      <a:pt x="986" y="375"/>
                      <a:pt x="988" y="376"/>
                      <a:pt x="988" y="375"/>
                    </a:cubicBezTo>
                    <a:cubicBezTo>
                      <a:pt x="987" y="375"/>
                      <a:pt x="988" y="375"/>
                      <a:pt x="988" y="375"/>
                    </a:cubicBezTo>
                    <a:cubicBezTo>
                      <a:pt x="988" y="374"/>
                      <a:pt x="987" y="374"/>
                      <a:pt x="987" y="374"/>
                    </a:cubicBezTo>
                    <a:cubicBezTo>
                      <a:pt x="987" y="373"/>
                      <a:pt x="988" y="373"/>
                      <a:pt x="988" y="373"/>
                    </a:cubicBezTo>
                    <a:cubicBezTo>
                      <a:pt x="987" y="372"/>
                      <a:pt x="987" y="372"/>
                      <a:pt x="987" y="371"/>
                    </a:cubicBezTo>
                    <a:cubicBezTo>
                      <a:pt x="987" y="370"/>
                      <a:pt x="987" y="370"/>
                      <a:pt x="986" y="369"/>
                    </a:cubicBezTo>
                    <a:cubicBezTo>
                      <a:pt x="986" y="369"/>
                      <a:pt x="985" y="369"/>
                      <a:pt x="985" y="368"/>
                    </a:cubicBezTo>
                    <a:cubicBezTo>
                      <a:pt x="985" y="367"/>
                      <a:pt x="984" y="367"/>
                      <a:pt x="984" y="367"/>
                    </a:cubicBezTo>
                    <a:cubicBezTo>
                      <a:pt x="984" y="366"/>
                      <a:pt x="983" y="365"/>
                      <a:pt x="983" y="365"/>
                    </a:cubicBezTo>
                    <a:cubicBezTo>
                      <a:pt x="983" y="364"/>
                      <a:pt x="982" y="363"/>
                      <a:pt x="983" y="363"/>
                    </a:cubicBezTo>
                    <a:cubicBezTo>
                      <a:pt x="983" y="363"/>
                      <a:pt x="982" y="361"/>
                      <a:pt x="981" y="361"/>
                    </a:cubicBezTo>
                    <a:cubicBezTo>
                      <a:pt x="980" y="360"/>
                      <a:pt x="979" y="358"/>
                      <a:pt x="978" y="357"/>
                    </a:cubicBezTo>
                    <a:cubicBezTo>
                      <a:pt x="977" y="356"/>
                      <a:pt x="977" y="356"/>
                      <a:pt x="976" y="355"/>
                    </a:cubicBezTo>
                    <a:cubicBezTo>
                      <a:pt x="976" y="355"/>
                      <a:pt x="975" y="355"/>
                      <a:pt x="975" y="354"/>
                    </a:cubicBezTo>
                    <a:cubicBezTo>
                      <a:pt x="975" y="354"/>
                      <a:pt x="975" y="354"/>
                      <a:pt x="975" y="354"/>
                    </a:cubicBezTo>
                    <a:cubicBezTo>
                      <a:pt x="976" y="354"/>
                      <a:pt x="975" y="354"/>
                      <a:pt x="976" y="353"/>
                    </a:cubicBezTo>
                    <a:cubicBezTo>
                      <a:pt x="976" y="353"/>
                      <a:pt x="976" y="353"/>
                      <a:pt x="976" y="353"/>
                    </a:cubicBezTo>
                    <a:cubicBezTo>
                      <a:pt x="977" y="353"/>
                      <a:pt x="977" y="353"/>
                      <a:pt x="977" y="353"/>
                    </a:cubicBezTo>
                    <a:cubicBezTo>
                      <a:pt x="978" y="353"/>
                      <a:pt x="978" y="353"/>
                      <a:pt x="979" y="352"/>
                    </a:cubicBezTo>
                    <a:cubicBezTo>
                      <a:pt x="979" y="352"/>
                      <a:pt x="979" y="351"/>
                      <a:pt x="979" y="351"/>
                    </a:cubicBezTo>
                    <a:cubicBezTo>
                      <a:pt x="979" y="351"/>
                      <a:pt x="978" y="350"/>
                      <a:pt x="979" y="350"/>
                    </a:cubicBezTo>
                    <a:cubicBezTo>
                      <a:pt x="979" y="350"/>
                      <a:pt x="979" y="350"/>
                      <a:pt x="979" y="349"/>
                    </a:cubicBezTo>
                    <a:cubicBezTo>
                      <a:pt x="979" y="349"/>
                      <a:pt x="980" y="349"/>
                      <a:pt x="980" y="349"/>
                    </a:cubicBezTo>
                    <a:cubicBezTo>
                      <a:pt x="981" y="350"/>
                      <a:pt x="982" y="350"/>
                      <a:pt x="982" y="350"/>
                    </a:cubicBezTo>
                    <a:cubicBezTo>
                      <a:pt x="983" y="350"/>
                      <a:pt x="984" y="351"/>
                      <a:pt x="984" y="351"/>
                    </a:cubicBezTo>
                    <a:cubicBezTo>
                      <a:pt x="985" y="351"/>
                      <a:pt x="987" y="351"/>
                      <a:pt x="988" y="351"/>
                    </a:cubicBezTo>
                    <a:cubicBezTo>
                      <a:pt x="989" y="352"/>
                      <a:pt x="992" y="353"/>
                      <a:pt x="992" y="351"/>
                    </a:cubicBezTo>
                    <a:cubicBezTo>
                      <a:pt x="992" y="351"/>
                      <a:pt x="991" y="350"/>
                      <a:pt x="991" y="350"/>
                    </a:cubicBezTo>
                    <a:cubicBezTo>
                      <a:pt x="990" y="349"/>
                      <a:pt x="990" y="349"/>
                      <a:pt x="990" y="348"/>
                    </a:cubicBezTo>
                    <a:cubicBezTo>
                      <a:pt x="990" y="347"/>
                      <a:pt x="991" y="347"/>
                      <a:pt x="991" y="346"/>
                    </a:cubicBezTo>
                    <a:cubicBezTo>
                      <a:pt x="992" y="345"/>
                      <a:pt x="991" y="345"/>
                      <a:pt x="991" y="345"/>
                    </a:cubicBezTo>
                    <a:cubicBezTo>
                      <a:pt x="991" y="344"/>
                      <a:pt x="991" y="344"/>
                      <a:pt x="991" y="344"/>
                    </a:cubicBezTo>
                    <a:cubicBezTo>
                      <a:pt x="990" y="343"/>
                      <a:pt x="991" y="343"/>
                      <a:pt x="991" y="343"/>
                    </a:cubicBezTo>
                    <a:cubicBezTo>
                      <a:pt x="991" y="342"/>
                      <a:pt x="991" y="342"/>
                      <a:pt x="991" y="342"/>
                    </a:cubicBezTo>
                    <a:cubicBezTo>
                      <a:pt x="991" y="341"/>
                      <a:pt x="990" y="341"/>
                      <a:pt x="990" y="340"/>
                    </a:cubicBezTo>
                    <a:cubicBezTo>
                      <a:pt x="990" y="340"/>
                      <a:pt x="991" y="340"/>
                      <a:pt x="991" y="339"/>
                    </a:cubicBezTo>
                    <a:cubicBezTo>
                      <a:pt x="991" y="339"/>
                      <a:pt x="991" y="340"/>
                      <a:pt x="991" y="340"/>
                    </a:cubicBezTo>
                    <a:cubicBezTo>
                      <a:pt x="991" y="339"/>
                      <a:pt x="991" y="338"/>
                      <a:pt x="991" y="338"/>
                    </a:cubicBezTo>
                    <a:cubicBezTo>
                      <a:pt x="990" y="338"/>
                      <a:pt x="991" y="338"/>
                      <a:pt x="991" y="337"/>
                    </a:cubicBezTo>
                    <a:cubicBezTo>
                      <a:pt x="990" y="337"/>
                      <a:pt x="990" y="337"/>
                      <a:pt x="989" y="336"/>
                    </a:cubicBezTo>
                    <a:cubicBezTo>
                      <a:pt x="989" y="336"/>
                      <a:pt x="989" y="336"/>
                      <a:pt x="990" y="335"/>
                    </a:cubicBezTo>
                    <a:cubicBezTo>
                      <a:pt x="990" y="334"/>
                      <a:pt x="989" y="334"/>
                      <a:pt x="989" y="333"/>
                    </a:cubicBezTo>
                    <a:cubicBezTo>
                      <a:pt x="988" y="333"/>
                      <a:pt x="988" y="332"/>
                      <a:pt x="988" y="331"/>
                    </a:cubicBezTo>
                    <a:cubicBezTo>
                      <a:pt x="988" y="331"/>
                      <a:pt x="988" y="331"/>
                      <a:pt x="988" y="330"/>
                    </a:cubicBezTo>
                    <a:cubicBezTo>
                      <a:pt x="988" y="330"/>
                      <a:pt x="988" y="329"/>
                      <a:pt x="987" y="329"/>
                    </a:cubicBezTo>
                    <a:cubicBezTo>
                      <a:pt x="987" y="328"/>
                      <a:pt x="986" y="328"/>
                      <a:pt x="987" y="327"/>
                    </a:cubicBezTo>
                    <a:cubicBezTo>
                      <a:pt x="987" y="327"/>
                      <a:pt x="987" y="326"/>
                      <a:pt x="987" y="326"/>
                    </a:cubicBezTo>
                    <a:cubicBezTo>
                      <a:pt x="988" y="326"/>
                      <a:pt x="988" y="327"/>
                      <a:pt x="989" y="326"/>
                    </a:cubicBezTo>
                    <a:cubicBezTo>
                      <a:pt x="989" y="325"/>
                      <a:pt x="989" y="325"/>
                      <a:pt x="989" y="324"/>
                    </a:cubicBezTo>
                    <a:cubicBezTo>
                      <a:pt x="989" y="323"/>
                      <a:pt x="989" y="323"/>
                      <a:pt x="988" y="323"/>
                    </a:cubicBezTo>
                    <a:cubicBezTo>
                      <a:pt x="987" y="322"/>
                      <a:pt x="987" y="322"/>
                      <a:pt x="987" y="321"/>
                    </a:cubicBezTo>
                    <a:cubicBezTo>
                      <a:pt x="986" y="321"/>
                      <a:pt x="985" y="320"/>
                      <a:pt x="985" y="320"/>
                    </a:cubicBezTo>
                    <a:cubicBezTo>
                      <a:pt x="985" y="319"/>
                      <a:pt x="986" y="319"/>
                      <a:pt x="985" y="318"/>
                    </a:cubicBezTo>
                    <a:cubicBezTo>
                      <a:pt x="985" y="318"/>
                      <a:pt x="985" y="318"/>
                      <a:pt x="985" y="317"/>
                    </a:cubicBezTo>
                    <a:cubicBezTo>
                      <a:pt x="984" y="318"/>
                      <a:pt x="983" y="317"/>
                      <a:pt x="983" y="316"/>
                    </a:cubicBezTo>
                    <a:cubicBezTo>
                      <a:pt x="983" y="316"/>
                      <a:pt x="982" y="316"/>
                      <a:pt x="982" y="316"/>
                    </a:cubicBezTo>
                    <a:cubicBezTo>
                      <a:pt x="982" y="316"/>
                      <a:pt x="981" y="316"/>
                      <a:pt x="981" y="316"/>
                    </a:cubicBezTo>
                    <a:cubicBezTo>
                      <a:pt x="981" y="316"/>
                      <a:pt x="980" y="316"/>
                      <a:pt x="980" y="316"/>
                    </a:cubicBezTo>
                    <a:cubicBezTo>
                      <a:pt x="979" y="317"/>
                      <a:pt x="978" y="316"/>
                      <a:pt x="978" y="317"/>
                    </a:cubicBezTo>
                    <a:cubicBezTo>
                      <a:pt x="978" y="317"/>
                      <a:pt x="977" y="318"/>
                      <a:pt x="977" y="318"/>
                    </a:cubicBezTo>
                    <a:cubicBezTo>
                      <a:pt x="976" y="317"/>
                      <a:pt x="977" y="318"/>
                      <a:pt x="976" y="318"/>
                    </a:cubicBezTo>
                    <a:cubicBezTo>
                      <a:pt x="976" y="319"/>
                      <a:pt x="976" y="318"/>
                      <a:pt x="976" y="319"/>
                    </a:cubicBezTo>
                    <a:cubicBezTo>
                      <a:pt x="976" y="319"/>
                      <a:pt x="975" y="319"/>
                      <a:pt x="975" y="319"/>
                    </a:cubicBezTo>
                    <a:cubicBezTo>
                      <a:pt x="974" y="319"/>
                      <a:pt x="973" y="319"/>
                      <a:pt x="972" y="319"/>
                    </a:cubicBezTo>
                    <a:cubicBezTo>
                      <a:pt x="972" y="319"/>
                      <a:pt x="972" y="320"/>
                      <a:pt x="972" y="320"/>
                    </a:cubicBezTo>
                    <a:cubicBezTo>
                      <a:pt x="971" y="320"/>
                      <a:pt x="971" y="320"/>
                      <a:pt x="971" y="320"/>
                    </a:cubicBezTo>
                    <a:cubicBezTo>
                      <a:pt x="971" y="320"/>
                      <a:pt x="971" y="320"/>
                      <a:pt x="971" y="321"/>
                    </a:cubicBezTo>
                    <a:cubicBezTo>
                      <a:pt x="970" y="321"/>
                      <a:pt x="970" y="321"/>
                      <a:pt x="970" y="321"/>
                    </a:cubicBezTo>
                    <a:cubicBezTo>
                      <a:pt x="970" y="321"/>
                      <a:pt x="969" y="321"/>
                      <a:pt x="969" y="321"/>
                    </a:cubicBezTo>
                    <a:cubicBezTo>
                      <a:pt x="969" y="321"/>
                      <a:pt x="970" y="321"/>
                      <a:pt x="970" y="321"/>
                    </a:cubicBezTo>
                    <a:cubicBezTo>
                      <a:pt x="970" y="322"/>
                      <a:pt x="970" y="322"/>
                      <a:pt x="970" y="322"/>
                    </a:cubicBezTo>
                    <a:cubicBezTo>
                      <a:pt x="970" y="323"/>
                      <a:pt x="970" y="323"/>
                      <a:pt x="970" y="323"/>
                    </a:cubicBezTo>
                    <a:cubicBezTo>
                      <a:pt x="969" y="323"/>
                      <a:pt x="968" y="323"/>
                      <a:pt x="968" y="323"/>
                    </a:cubicBezTo>
                    <a:cubicBezTo>
                      <a:pt x="967" y="323"/>
                      <a:pt x="967" y="323"/>
                      <a:pt x="967" y="323"/>
                    </a:cubicBezTo>
                    <a:cubicBezTo>
                      <a:pt x="966" y="324"/>
                      <a:pt x="966" y="323"/>
                      <a:pt x="966" y="323"/>
                    </a:cubicBezTo>
                    <a:cubicBezTo>
                      <a:pt x="965" y="324"/>
                      <a:pt x="964" y="324"/>
                      <a:pt x="963" y="324"/>
                    </a:cubicBezTo>
                    <a:cubicBezTo>
                      <a:pt x="963" y="324"/>
                      <a:pt x="963" y="323"/>
                      <a:pt x="963" y="324"/>
                    </a:cubicBezTo>
                    <a:cubicBezTo>
                      <a:pt x="962" y="324"/>
                      <a:pt x="962" y="324"/>
                      <a:pt x="962" y="324"/>
                    </a:cubicBezTo>
                    <a:cubicBezTo>
                      <a:pt x="961" y="324"/>
                      <a:pt x="961" y="323"/>
                      <a:pt x="960" y="323"/>
                    </a:cubicBezTo>
                    <a:cubicBezTo>
                      <a:pt x="960" y="323"/>
                      <a:pt x="959" y="323"/>
                      <a:pt x="958" y="324"/>
                    </a:cubicBezTo>
                    <a:cubicBezTo>
                      <a:pt x="958" y="324"/>
                      <a:pt x="957" y="324"/>
                      <a:pt x="956" y="323"/>
                    </a:cubicBezTo>
                    <a:cubicBezTo>
                      <a:pt x="956" y="323"/>
                      <a:pt x="956" y="323"/>
                      <a:pt x="955" y="322"/>
                    </a:cubicBezTo>
                    <a:cubicBezTo>
                      <a:pt x="955" y="322"/>
                      <a:pt x="954" y="321"/>
                      <a:pt x="954" y="321"/>
                    </a:cubicBezTo>
                    <a:cubicBezTo>
                      <a:pt x="953" y="320"/>
                      <a:pt x="952" y="320"/>
                      <a:pt x="951" y="319"/>
                    </a:cubicBezTo>
                    <a:cubicBezTo>
                      <a:pt x="951" y="319"/>
                      <a:pt x="952" y="318"/>
                      <a:pt x="951" y="318"/>
                    </a:cubicBezTo>
                    <a:cubicBezTo>
                      <a:pt x="951" y="318"/>
                      <a:pt x="951" y="317"/>
                      <a:pt x="951" y="317"/>
                    </a:cubicBezTo>
                    <a:cubicBezTo>
                      <a:pt x="951" y="316"/>
                      <a:pt x="950" y="316"/>
                      <a:pt x="950" y="316"/>
                    </a:cubicBezTo>
                    <a:cubicBezTo>
                      <a:pt x="950" y="316"/>
                      <a:pt x="949" y="315"/>
                      <a:pt x="949" y="315"/>
                    </a:cubicBezTo>
                    <a:cubicBezTo>
                      <a:pt x="949" y="315"/>
                      <a:pt x="949" y="315"/>
                      <a:pt x="948" y="315"/>
                    </a:cubicBezTo>
                    <a:cubicBezTo>
                      <a:pt x="948" y="315"/>
                      <a:pt x="948" y="315"/>
                      <a:pt x="948" y="314"/>
                    </a:cubicBezTo>
                    <a:cubicBezTo>
                      <a:pt x="948" y="314"/>
                      <a:pt x="947" y="314"/>
                      <a:pt x="947" y="314"/>
                    </a:cubicBezTo>
                    <a:cubicBezTo>
                      <a:pt x="946" y="313"/>
                      <a:pt x="947" y="312"/>
                      <a:pt x="946" y="311"/>
                    </a:cubicBezTo>
                    <a:cubicBezTo>
                      <a:pt x="946" y="311"/>
                      <a:pt x="945" y="311"/>
                      <a:pt x="944" y="311"/>
                    </a:cubicBezTo>
                    <a:cubicBezTo>
                      <a:pt x="944" y="311"/>
                      <a:pt x="943" y="311"/>
                      <a:pt x="943" y="311"/>
                    </a:cubicBezTo>
                    <a:cubicBezTo>
                      <a:pt x="942" y="311"/>
                      <a:pt x="941" y="310"/>
                      <a:pt x="941" y="310"/>
                    </a:cubicBezTo>
                    <a:cubicBezTo>
                      <a:pt x="940" y="310"/>
                      <a:pt x="939" y="310"/>
                      <a:pt x="939" y="309"/>
                    </a:cubicBezTo>
                    <a:cubicBezTo>
                      <a:pt x="938" y="309"/>
                      <a:pt x="938" y="309"/>
                      <a:pt x="938" y="309"/>
                    </a:cubicBezTo>
                    <a:cubicBezTo>
                      <a:pt x="938" y="308"/>
                      <a:pt x="937" y="308"/>
                      <a:pt x="937" y="308"/>
                    </a:cubicBezTo>
                    <a:cubicBezTo>
                      <a:pt x="937" y="308"/>
                      <a:pt x="936" y="308"/>
                      <a:pt x="936" y="307"/>
                    </a:cubicBezTo>
                    <a:cubicBezTo>
                      <a:pt x="935" y="307"/>
                      <a:pt x="935" y="307"/>
                      <a:pt x="934" y="307"/>
                    </a:cubicBezTo>
                    <a:cubicBezTo>
                      <a:pt x="934" y="307"/>
                      <a:pt x="933" y="306"/>
                      <a:pt x="933" y="306"/>
                    </a:cubicBezTo>
                    <a:cubicBezTo>
                      <a:pt x="933" y="305"/>
                      <a:pt x="932" y="305"/>
                      <a:pt x="932" y="305"/>
                    </a:cubicBezTo>
                    <a:cubicBezTo>
                      <a:pt x="931" y="305"/>
                      <a:pt x="931" y="305"/>
                      <a:pt x="932" y="306"/>
                    </a:cubicBezTo>
                    <a:cubicBezTo>
                      <a:pt x="932" y="306"/>
                      <a:pt x="931" y="306"/>
                      <a:pt x="931" y="306"/>
                    </a:cubicBezTo>
                    <a:cubicBezTo>
                      <a:pt x="930" y="305"/>
                      <a:pt x="930" y="305"/>
                      <a:pt x="930" y="306"/>
                    </a:cubicBezTo>
                    <a:cubicBezTo>
                      <a:pt x="929" y="306"/>
                      <a:pt x="929" y="305"/>
                      <a:pt x="928" y="305"/>
                    </a:cubicBezTo>
                    <a:cubicBezTo>
                      <a:pt x="928" y="305"/>
                      <a:pt x="927" y="304"/>
                      <a:pt x="926" y="305"/>
                    </a:cubicBezTo>
                    <a:cubicBezTo>
                      <a:pt x="925" y="305"/>
                      <a:pt x="926" y="304"/>
                      <a:pt x="926" y="304"/>
                    </a:cubicBezTo>
                    <a:cubicBezTo>
                      <a:pt x="925" y="303"/>
                      <a:pt x="924" y="303"/>
                      <a:pt x="924" y="303"/>
                    </a:cubicBezTo>
                    <a:cubicBezTo>
                      <a:pt x="924" y="304"/>
                      <a:pt x="923" y="303"/>
                      <a:pt x="922" y="303"/>
                    </a:cubicBezTo>
                    <a:cubicBezTo>
                      <a:pt x="922" y="303"/>
                      <a:pt x="922" y="304"/>
                      <a:pt x="921" y="304"/>
                    </a:cubicBezTo>
                    <a:cubicBezTo>
                      <a:pt x="920" y="304"/>
                      <a:pt x="920" y="304"/>
                      <a:pt x="919" y="303"/>
                    </a:cubicBezTo>
                    <a:cubicBezTo>
                      <a:pt x="918" y="303"/>
                      <a:pt x="918" y="303"/>
                      <a:pt x="917" y="303"/>
                    </a:cubicBezTo>
                    <a:cubicBezTo>
                      <a:pt x="916" y="303"/>
                      <a:pt x="915" y="302"/>
                      <a:pt x="914" y="301"/>
                    </a:cubicBezTo>
                    <a:cubicBezTo>
                      <a:pt x="913" y="301"/>
                      <a:pt x="913" y="301"/>
                      <a:pt x="912" y="300"/>
                    </a:cubicBezTo>
                    <a:cubicBezTo>
                      <a:pt x="912" y="299"/>
                      <a:pt x="911" y="299"/>
                      <a:pt x="911" y="298"/>
                    </a:cubicBezTo>
                    <a:cubicBezTo>
                      <a:pt x="911" y="298"/>
                      <a:pt x="911" y="297"/>
                      <a:pt x="910" y="297"/>
                    </a:cubicBezTo>
                    <a:cubicBezTo>
                      <a:pt x="910" y="296"/>
                      <a:pt x="909" y="296"/>
                      <a:pt x="909" y="296"/>
                    </a:cubicBezTo>
                    <a:cubicBezTo>
                      <a:pt x="908" y="296"/>
                      <a:pt x="908" y="295"/>
                      <a:pt x="907" y="295"/>
                    </a:cubicBezTo>
                    <a:cubicBezTo>
                      <a:pt x="907" y="294"/>
                      <a:pt x="907" y="294"/>
                      <a:pt x="906" y="293"/>
                    </a:cubicBezTo>
                    <a:cubicBezTo>
                      <a:pt x="906" y="292"/>
                      <a:pt x="906" y="292"/>
                      <a:pt x="905" y="292"/>
                    </a:cubicBezTo>
                    <a:cubicBezTo>
                      <a:pt x="904" y="291"/>
                      <a:pt x="904" y="291"/>
                      <a:pt x="904" y="291"/>
                    </a:cubicBezTo>
                    <a:cubicBezTo>
                      <a:pt x="902" y="290"/>
                      <a:pt x="901" y="289"/>
                      <a:pt x="900" y="288"/>
                    </a:cubicBezTo>
                    <a:cubicBezTo>
                      <a:pt x="899" y="287"/>
                      <a:pt x="898" y="287"/>
                      <a:pt x="898" y="286"/>
                    </a:cubicBezTo>
                    <a:cubicBezTo>
                      <a:pt x="898" y="286"/>
                      <a:pt x="898" y="285"/>
                      <a:pt x="897" y="285"/>
                    </a:cubicBezTo>
                    <a:cubicBezTo>
                      <a:pt x="896" y="285"/>
                      <a:pt x="898" y="286"/>
                      <a:pt x="897" y="286"/>
                    </a:cubicBezTo>
                    <a:cubicBezTo>
                      <a:pt x="897" y="286"/>
                      <a:pt x="896" y="285"/>
                      <a:pt x="896" y="285"/>
                    </a:cubicBezTo>
                    <a:cubicBezTo>
                      <a:pt x="896" y="285"/>
                      <a:pt x="897" y="285"/>
                      <a:pt x="897" y="284"/>
                    </a:cubicBezTo>
                    <a:cubicBezTo>
                      <a:pt x="897" y="284"/>
                      <a:pt x="896" y="284"/>
                      <a:pt x="895" y="284"/>
                    </a:cubicBezTo>
                    <a:cubicBezTo>
                      <a:pt x="895" y="284"/>
                      <a:pt x="895" y="283"/>
                      <a:pt x="895" y="283"/>
                    </a:cubicBezTo>
                    <a:cubicBezTo>
                      <a:pt x="894" y="282"/>
                      <a:pt x="893" y="282"/>
                      <a:pt x="893" y="282"/>
                    </a:cubicBezTo>
                    <a:cubicBezTo>
                      <a:pt x="893" y="282"/>
                      <a:pt x="893" y="281"/>
                      <a:pt x="893" y="281"/>
                    </a:cubicBezTo>
                    <a:cubicBezTo>
                      <a:pt x="891" y="280"/>
                      <a:pt x="890" y="279"/>
                      <a:pt x="889" y="278"/>
                    </a:cubicBezTo>
                    <a:cubicBezTo>
                      <a:pt x="888" y="277"/>
                      <a:pt x="889" y="277"/>
                      <a:pt x="888" y="277"/>
                    </a:cubicBezTo>
                    <a:cubicBezTo>
                      <a:pt x="888" y="276"/>
                      <a:pt x="888" y="276"/>
                      <a:pt x="887" y="276"/>
                    </a:cubicBezTo>
                    <a:cubicBezTo>
                      <a:pt x="887" y="276"/>
                      <a:pt x="886" y="276"/>
                      <a:pt x="886" y="276"/>
                    </a:cubicBezTo>
                    <a:cubicBezTo>
                      <a:pt x="885" y="275"/>
                      <a:pt x="886" y="275"/>
                      <a:pt x="886" y="275"/>
                    </a:cubicBezTo>
                    <a:cubicBezTo>
                      <a:pt x="886" y="275"/>
                      <a:pt x="885" y="275"/>
                      <a:pt x="885" y="275"/>
                    </a:cubicBezTo>
                    <a:cubicBezTo>
                      <a:pt x="885" y="275"/>
                      <a:pt x="885" y="274"/>
                      <a:pt x="885" y="274"/>
                    </a:cubicBezTo>
                    <a:cubicBezTo>
                      <a:pt x="884" y="273"/>
                      <a:pt x="883" y="273"/>
                      <a:pt x="883" y="273"/>
                    </a:cubicBezTo>
                    <a:cubicBezTo>
                      <a:pt x="882" y="272"/>
                      <a:pt x="882" y="272"/>
                      <a:pt x="881" y="272"/>
                    </a:cubicBezTo>
                    <a:cubicBezTo>
                      <a:pt x="880" y="272"/>
                      <a:pt x="880" y="271"/>
                      <a:pt x="880" y="271"/>
                    </a:cubicBezTo>
                    <a:cubicBezTo>
                      <a:pt x="879" y="271"/>
                      <a:pt x="880" y="271"/>
                      <a:pt x="880" y="271"/>
                    </a:cubicBezTo>
                    <a:cubicBezTo>
                      <a:pt x="880" y="270"/>
                      <a:pt x="879" y="270"/>
                      <a:pt x="880" y="270"/>
                    </a:cubicBezTo>
                    <a:cubicBezTo>
                      <a:pt x="880" y="270"/>
                      <a:pt x="880" y="270"/>
                      <a:pt x="879" y="269"/>
                    </a:cubicBezTo>
                    <a:cubicBezTo>
                      <a:pt x="879" y="269"/>
                      <a:pt x="879" y="270"/>
                      <a:pt x="879" y="270"/>
                    </a:cubicBezTo>
                    <a:cubicBezTo>
                      <a:pt x="878" y="270"/>
                      <a:pt x="878" y="269"/>
                      <a:pt x="878" y="269"/>
                    </a:cubicBezTo>
                    <a:cubicBezTo>
                      <a:pt x="877" y="269"/>
                      <a:pt x="877" y="268"/>
                      <a:pt x="876" y="268"/>
                    </a:cubicBezTo>
                    <a:cubicBezTo>
                      <a:pt x="875" y="269"/>
                      <a:pt x="875" y="268"/>
                      <a:pt x="875" y="268"/>
                    </a:cubicBezTo>
                    <a:cubicBezTo>
                      <a:pt x="875" y="267"/>
                      <a:pt x="874" y="267"/>
                      <a:pt x="874" y="267"/>
                    </a:cubicBezTo>
                    <a:cubicBezTo>
                      <a:pt x="873" y="266"/>
                      <a:pt x="873" y="267"/>
                      <a:pt x="872" y="266"/>
                    </a:cubicBezTo>
                    <a:cubicBezTo>
                      <a:pt x="872" y="266"/>
                      <a:pt x="872" y="266"/>
                      <a:pt x="871" y="266"/>
                    </a:cubicBezTo>
                    <a:cubicBezTo>
                      <a:pt x="871" y="266"/>
                      <a:pt x="867" y="264"/>
                      <a:pt x="867" y="266"/>
                    </a:cubicBezTo>
                    <a:cubicBezTo>
                      <a:pt x="867" y="266"/>
                      <a:pt x="868" y="267"/>
                      <a:pt x="867" y="266"/>
                    </a:cubicBezTo>
                    <a:cubicBezTo>
                      <a:pt x="866" y="266"/>
                      <a:pt x="866" y="266"/>
                      <a:pt x="865" y="265"/>
                    </a:cubicBezTo>
                    <a:cubicBezTo>
                      <a:pt x="864" y="265"/>
                      <a:pt x="863" y="265"/>
                      <a:pt x="863" y="265"/>
                    </a:cubicBezTo>
                    <a:cubicBezTo>
                      <a:pt x="862" y="265"/>
                      <a:pt x="861" y="264"/>
                      <a:pt x="860" y="264"/>
                    </a:cubicBezTo>
                    <a:cubicBezTo>
                      <a:pt x="860" y="263"/>
                      <a:pt x="860" y="263"/>
                      <a:pt x="859" y="264"/>
                    </a:cubicBezTo>
                    <a:cubicBezTo>
                      <a:pt x="859" y="264"/>
                      <a:pt x="859" y="263"/>
                      <a:pt x="858" y="263"/>
                    </a:cubicBezTo>
                    <a:cubicBezTo>
                      <a:pt x="857" y="263"/>
                      <a:pt x="857" y="262"/>
                      <a:pt x="856" y="262"/>
                    </a:cubicBezTo>
                    <a:cubicBezTo>
                      <a:pt x="855" y="262"/>
                      <a:pt x="854" y="261"/>
                      <a:pt x="853" y="262"/>
                    </a:cubicBezTo>
                    <a:cubicBezTo>
                      <a:pt x="853" y="262"/>
                      <a:pt x="853" y="262"/>
                      <a:pt x="853" y="262"/>
                    </a:cubicBezTo>
                    <a:cubicBezTo>
                      <a:pt x="853" y="262"/>
                      <a:pt x="853" y="261"/>
                      <a:pt x="852" y="262"/>
                    </a:cubicBezTo>
                    <a:cubicBezTo>
                      <a:pt x="852" y="262"/>
                      <a:pt x="853" y="262"/>
                      <a:pt x="852" y="262"/>
                    </a:cubicBezTo>
                    <a:cubicBezTo>
                      <a:pt x="852" y="262"/>
                      <a:pt x="851" y="261"/>
                      <a:pt x="851" y="261"/>
                    </a:cubicBezTo>
                    <a:cubicBezTo>
                      <a:pt x="850" y="261"/>
                      <a:pt x="850" y="262"/>
                      <a:pt x="849" y="262"/>
                    </a:cubicBezTo>
                    <a:cubicBezTo>
                      <a:pt x="849" y="262"/>
                      <a:pt x="849" y="262"/>
                      <a:pt x="848" y="262"/>
                    </a:cubicBezTo>
                    <a:cubicBezTo>
                      <a:pt x="847" y="263"/>
                      <a:pt x="846" y="262"/>
                      <a:pt x="846" y="262"/>
                    </a:cubicBezTo>
                    <a:cubicBezTo>
                      <a:pt x="845" y="263"/>
                      <a:pt x="844" y="263"/>
                      <a:pt x="844" y="262"/>
                    </a:cubicBezTo>
                    <a:cubicBezTo>
                      <a:pt x="843" y="262"/>
                      <a:pt x="842" y="263"/>
                      <a:pt x="841" y="263"/>
                    </a:cubicBezTo>
                    <a:cubicBezTo>
                      <a:pt x="840" y="263"/>
                      <a:pt x="839" y="263"/>
                      <a:pt x="839" y="263"/>
                    </a:cubicBezTo>
                    <a:cubicBezTo>
                      <a:pt x="838" y="264"/>
                      <a:pt x="837" y="264"/>
                      <a:pt x="837" y="264"/>
                    </a:cubicBezTo>
                    <a:cubicBezTo>
                      <a:pt x="836" y="264"/>
                      <a:pt x="836" y="264"/>
                      <a:pt x="835" y="264"/>
                    </a:cubicBezTo>
                    <a:cubicBezTo>
                      <a:pt x="835" y="264"/>
                      <a:pt x="834" y="264"/>
                      <a:pt x="834" y="264"/>
                    </a:cubicBezTo>
                    <a:cubicBezTo>
                      <a:pt x="833" y="264"/>
                      <a:pt x="833" y="264"/>
                      <a:pt x="833" y="264"/>
                    </a:cubicBezTo>
                    <a:cubicBezTo>
                      <a:pt x="833" y="264"/>
                      <a:pt x="833" y="265"/>
                      <a:pt x="833" y="265"/>
                    </a:cubicBezTo>
                    <a:cubicBezTo>
                      <a:pt x="833" y="265"/>
                      <a:pt x="832" y="265"/>
                      <a:pt x="832" y="265"/>
                    </a:cubicBezTo>
                    <a:cubicBezTo>
                      <a:pt x="832" y="266"/>
                      <a:pt x="832" y="267"/>
                      <a:pt x="831" y="267"/>
                    </a:cubicBezTo>
                    <a:cubicBezTo>
                      <a:pt x="831" y="267"/>
                      <a:pt x="831" y="268"/>
                      <a:pt x="831" y="268"/>
                    </a:cubicBezTo>
                    <a:cubicBezTo>
                      <a:pt x="831" y="269"/>
                      <a:pt x="829" y="269"/>
                      <a:pt x="830" y="270"/>
                    </a:cubicBezTo>
                    <a:cubicBezTo>
                      <a:pt x="830" y="271"/>
                      <a:pt x="831" y="271"/>
                      <a:pt x="831" y="272"/>
                    </a:cubicBezTo>
                    <a:cubicBezTo>
                      <a:pt x="832" y="272"/>
                      <a:pt x="832" y="271"/>
                      <a:pt x="833" y="271"/>
                    </a:cubicBezTo>
                    <a:cubicBezTo>
                      <a:pt x="834" y="271"/>
                      <a:pt x="834" y="271"/>
                      <a:pt x="835" y="271"/>
                    </a:cubicBezTo>
                    <a:cubicBezTo>
                      <a:pt x="835" y="272"/>
                      <a:pt x="836" y="272"/>
                      <a:pt x="836" y="272"/>
                    </a:cubicBezTo>
                    <a:cubicBezTo>
                      <a:pt x="837" y="272"/>
                      <a:pt x="837" y="273"/>
                      <a:pt x="838" y="274"/>
                    </a:cubicBezTo>
                    <a:cubicBezTo>
                      <a:pt x="838" y="275"/>
                      <a:pt x="840" y="275"/>
                      <a:pt x="840" y="276"/>
                    </a:cubicBezTo>
                    <a:cubicBezTo>
                      <a:pt x="840" y="276"/>
                      <a:pt x="840" y="277"/>
                      <a:pt x="840" y="277"/>
                    </a:cubicBezTo>
                    <a:cubicBezTo>
                      <a:pt x="840" y="277"/>
                      <a:pt x="840" y="277"/>
                      <a:pt x="840" y="277"/>
                    </a:cubicBezTo>
                    <a:cubicBezTo>
                      <a:pt x="841" y="278"/>
                      <a:pt x="841" y="278"/>
                      <a:pt x="841" y="278"/>
                    </a:cubicBezTo>
                    <a:cubicBezTo>
                      <a:pt x="841" y="279"/>
                      <a:pt x="840" y="279"/>
                      <a:pt x="840" y="279"/>
                    </a:cubicBezTo>
                    <a:cubicBezTo>
                      <a:pt x="840" y="279"/>
                      <a:pt x="840" y="279"/>
                      <a:pt x="840" y="279"/>
                    </a:cubicBezTo>
                    <a:cubicBezTo>
                      <a:pt x="839" y="280"/>
                      <a:pt x="839" y="280"/>
                      <a:pt x="839" y="281"/>
                    </a:cubicBezTo>
                    <a:cubicBezTo>
                      <a:pt x="839" y="281"/>
                      <a:pt x="838" y="281"/>
                      <a:pt x="838" y="282"/>
                    </a:cubicBezTo>
                    <a:cubicBezTo>
                      <a:pt x="838" y="282"/>
                      <a:pt x="838" y="283"/>
                      <a:pt x="838" y="283"/>
                    </a:cubicBezTo>
                    <a:cubicBezTo>
                      <a:pt x="838" y="283"/>
                      <a:pt x="839" y="284"/>
                      <a:pt x="839" y="284"/>
                    </a:cubicBezTo>
                    <a:cubicBezTo>
                      <a:pt x="838" y="284"/>
                      <a:pt x="838" y="284"/>
                      <a:pt x="838" y="284"/>
                    </a:cubicBezTo>
                    <a:cubicBezTo>
                      <a:pt x="839" y="285"/>
                      <a:pt x="838" y="285"/>
                      <a:pt x="839" y="286"/>
                    </a:cubicBezTo>
                    <a:cubicBezTo>
                      <a:pt x="838" y="286"/>
                      <a:pt x="839" y="287"/>
                      <a:pt x="839" y="287"/>
                    </a:cubicBezTo>
                    <a:cubicBezTo>
                      <a:pt x="839" y="288"/>
                      <a:pt x="839" y="288"/>
                      <a:pt x="839" y="288"/>
                    </a:cubicBezTo>
                    <a:cubicBezTo>
                      <a:pt x="838" y="289"/>
                      <a:pt x="839" y="290"/>
                      <a:pt x="839" y="290"/>
                    </a:cubicBezTo>
                    <a:cubicBezTo>
                      <a:pt x="839" y="291"/>
                      <a:pt x="839" y="291"/>
                      <a:pt x="839" y="292"/>
                    </a:cubicBezTo>
                    <a:cubicBezTo>
                      <a:pt x="838" y="293"/>
                      <a:pt x="838" y="293"/>
                      <a:pt x="839" y="294"/>
                    </a:cubicBezTo>
                    <a:cubicBezTo>
                      <a:pt x="839" y="294"/>
                      <a:pt x="839" y="294"/>
                      <a:pt x="838" y="295"/>
                    </a:cubicBezTo>
                    <a:cubicBezTo>
                      <a:pt x="838" y="295"/>
                      <a:pt x="841" y="295"/>
                      <a:pt x="841" y="296"/>
                    </a:cubicBezTo>
                    <a:cubicBezTo>
                      <a:pt x="841" y="296"/>
                      <a:pt x="841" y="296"/>
                      <a:pt x="841" y="297"/>
                    </a:cubicBezTo>
                    <a:cubicBezTo>
                      <a:pt x="841" y="297"/>
                      <a:pt x="842" y="297"/>
                      <a:pt x="842" y="297"/>
                    </a:cubicBezTo>
                    <a:cubicBezTo>
                      <a:pt x="842" y="298"/>
                      <a:pt x="842" y="298"/>
                      <a:pt x="841" y="299"/>
                    </a:cubicBezTo>
                    <a:cubicBezTo>
                      <a:pt x="841" y="299"/>
                      <a:pt x="840" y="299"/>
                      <a:pt x="839" y="299"/>
                    </a:cubicBezTo>
                    <a:cubicBezTo>
                      <a:pt x="838" y="299"/>
                      <a:pt x="837" y="299"/>
                      <a:pt x="837" y="300"/>
                    </a:cubicBezTo>
                    <a:cubicBezTo>
                      <a:pt x="837" y="300"/>
                      <a:pt x="836" y="301"/>
                      <a:pt x="836" y="301"/>
                    </a:cubicBezTo>
                    <a:cubicBezTo>
                      <a:pt x="836" y="301"/>
                      <a:pt x="836" y="301"/>
                      <a:pt x="835" y="302"/>
                    </a:cubicBezTo>
                    <a:cubicBezTo>
                      <a:pt x="835" y="302"/>
                      <a:pt x="835" y="303"/>
                      <a:pt x="834" y="303"/>
                    </a:cubicBezTo>
                    <a:cubicBezTo>
                      <a:pt x="834" y="303"/>
                      <a:pt x="834" y="304"/>
                      <a:pt x="833" y="304"/>
                    </a:cubicBezTo>
                    <a:cubicBezTo>
                      <a:pt x="833" y="304"/>
                      <a:pt x="833" y="304"/>
                      <a:pt x="833" y="304"/>
                    </a:cubicBezTo>
                    <a:cubicBezTo>
                      <a:pt x="833" y="304"/>
                      <a:pt x="833" y="304"/>
                      <a:pt x="833" y="304"/>
                    </a:cubicBezTo>
                    <a:cubicBezTo>
                      <a:pt x="833" y="304"/>
                      <a:pt x="832" y="304"/>
                      <a:pt x="832" y="304"/>
                    </a:cubicBezTo>
                    <a:cubicBezTo>
                      <a:pt x="831" y="304"/>
                      <a:pt x="830" y="303"/>
                      <a:pt x="830" y="303"/>
                    </a:cubicBezTo>
                    <a:cubicBezTo>
                      <a:pt x="829" y="303"/>
                      <a:pt x="828" y="303"/>
                      <a:pt x="827" y="302"/>
                    </a:cubicBezTo>
                    <a:cubicBezTo>
                      <a:pt x="826" y="302"/>
                      <a:pt x="825" y="302"/>
                      <a:pt x="825" y="302"/>
                    </a:cubicBezTo>
                    <a:cubicBezTo>
                      <a:pt x="824" y="302"/>
                      <a:pt x="823" y="301"/>
                      <a:pt x="822" y="301"/>
                    </a:cubicBezTo>
                    <a:cubicBezTo>
                      <a:pt x="821" y="300"/>
                      <a:pt x="821" y="300"/>
                      <a:pt x="820" y="300"/>
                    </a:cubicBezTo>
                    <a:cubicBezTo>
                      <a:pt x="819" y="299"/>
                      <a:pt x="817" y="298"/>
                      <a:pt x="815" y="299"/>
                    </a:cubicBezTo>
                    <a:cubicBezTo>
                      <a:pt x="815" y="299"/>
                      <a:pt x="814" y="300"/>
                      <a:pt x="813" y="300"/>
                    </a:cubicBezTo>
                    <a:cubicBezTo>
                      <a:pt x="812" y="300"/>
                      <a:pt x="812" y="300"/>
                      <a:pt x="811" y="300"/>
                    </a:cubicBezTo>
                    <a:cubicBezTo>
                      <a:pt x="810" y="300"/>
                      <a:pt x="808" y="299"/>
                      <a:pt x="807" y="298"/>
                    </a:cubicBezTo>
                    <a:cubicBezTo>
                      <a:pt x="806" y="298"/>
                      <a:pt x="805" y="297"/>
                      <a:pt x="805" y="297"/>
                    </a:cubicBezTo>
                    <a:cubicBezTo>
                      <a:pt x="804" y="297"/>
                      <a:pt x="803" y="296"/>
                      <a:pt x="803" y="296"/>
                    </a:cubicBezTo>
                    <a:cubicBezTo>
                      <a:pt x="802" y="296"/>
                      <a:pt x="801" y="296"/>
                      <a:pt x="800" y="296"/>
                    </a:cubicBezTo>
                    <a:cubicBezTo>
                      <a:pt x="800" y="296"/>
                      <a:pt x="799" y="296"/>
                      <a:pt x="798" y="296"/>
                    </a:cubicBezTo>
                    <a:cubicBezTo>
                      <a:pt x="797" y="296"/>
                      <a:pt x="797" y="297"/>
                      <a:pt x="796" y="298"/>
                    </a:cubicBezTo>
                    <a:cubicBezTo>
                      <a:pt x="795" y="298"/>
                      <a:pt x="795" y="298"/>
                      <a:pt x="794" y="299"/>
                    </a:cubicBezTo>
                    <a:cubicBezTo>
                      <a:pt x="793" y="299"/>
                      <a:pt x="792" y="301"/>
                      <a:pt x="792" y="302"/>
                    </a:cubicBezTo>
                    <a:cubicBezTo>
                      <a:pt x="792" y="302"/>
                      <a:pt x="793" y="303"/>
                      <a:pt x="792" y="303"/>
                    </a:cubicBezTo>
                    <a:cubicBezTo>
                      <a:pt x="791" y="303"/>
                      <a:pt x="791" y="304"/>
                      <a:pt x="790" y="304"/>
                    </a:cubicBezTo>
                    <a:cubicBezTo>
                      <a:pt x="790" y="304"/>
                      <a:pt x="789" y="304"/>
                      <a:pt x="788" y="304"/>
                    </a:cubicBezTo>
                    <a:cubicBezTo>
                      <a:pt x="787" y="304"/>
                      <a:pt x="787" y="304"/>
                      <a:pt x="786" y="305"/>
                    </a:cubicBezTo>
                    <a:cubicBezTo>
                      <a:pt x="785" y="305"/>
                      <a:pt x="784" y="305"/>
                      <a:pt x="783" y="305"/>
                    </a:cubicBezTo>
                    <a:cubicBezTo>
                      <a:pt x="783" y="305"/>
                      <a:pt x="782" y="305"/>
                      <a:pt x="781" y="305"/>
                    </a:cubicBezTo>
                    <a:cubicBezTo>
                      <a:pt x="781" y="306"/>
                      <a:pt x="780" y="306"/>
                      <a:pt x="780" y="306"/>
                    </a:cubicBezTo>
                    <a:cubicBezTo>
                      <a:pt x="779" y="305"/>
                      <a:pt x="779" y="306"/>
                      <a:pt x="778" y="306"/>
                    </a:cubicBezTo>
                    <a:cubicBezTo>
                      <a:pt x="778" y="306"/>
                      <a:pt x="777" y="307"/>
                      <a:pt x="777" y="308"/>
                    </a:cubicBezTo>
                    <a:cubicBezTo>
                      <a:pt x="776" y="308"/>
                      <a:pt x="775" y="308"/>
                      <a:pt x="774" y="308"/>
                    </a:cubicBezTo>
                    <a:cubicBezTo>
                      <a:pt x="773" y="308"/>
                      <a:pt x="773" y="307"/>
                      <a:pt x="772" y="307"/>
                    </a:cubicBezTo>
                    <a:cubicBezTo>
                      <a:pt x="772" y="307"/>
                      <a:pt x="772" y="307"/>
                      <a:pt x="771" y="308"/>
                    </a:cubicBezTo>
                    <a:cubicBezTo>
                      <a:pt x="771" y="308"/>
                      <a:pt x="769" y="307"/>
                      <a:pt x="769" y="307"/>
                    </a:cubicBezTo>
                    <a:cubicBezTo>
                      <a:pt x="768" y="307"/>
                      <a:pt x="767" y="307"/>
                      <a:pt x="766" y="307"/>
                    </a:cubicBezTo>
                    <a:cubicBezTo>
                      <a:pt x="766" y="307"/>
                      <a:pt x="765" y="307"/>
                      <a:pt x="764" y="307"/>
                    </a:cubicBezTo>
                    <a:cubicBezTo>
                      <a:pt x="764" y="307"/>
                      <a:pt x="763" y="306"/>
                      <a:pt x="762" y="306"/>
                    </a:cubicBezTo>
                    <a:cubicBezTo>
                      <a:pt x="761" y="306"/>
                      <a:pt x="761" y="306"/>
                      <a:pt x="760" y="305"/>
                    </a:cubicBezTo>
                    <a:cubicBezTo>
                      <a:pt x="759" y="305"/>
                      <a:pt x="758" y="306"/>
                      <a:pt x="757" y="306"/>
                    </a:cubicBezTo>
                    <a:cubicBezTo>
                      <a:pt x="756" y="306"/>
                      <a:pt x="754" y="306"/>
                      <a:pt x="753" y="305"/>
                    </a:cubicBezTo>
                    <a:cubicBezTo>
                      <a:pt x="752" y="304"/>
                      <a:pt x="752" y="304"/>
                      <a:pt x="751" y="304"/>
                    </a:cubicBezTo>
                    <a:cubicBezTo>
                      <a:pt x="750" y="303"/>
                      <a:pt x="750" y="303"/>
                      <a:pt x="749" y="303"/>
                    </a:cubicBezTo>
                    <a:cubicBezTo>
                      <a:pt x="749" y="302"/>
                      <a:pt x="749" y="302"/>
                      <a:pt x="749" y="302"/>
                    </a:cubicBezTo>
                    <a:cubicBezTo>
                      <a:pt x="748" y="302"/>
                      <a:pt x="749" y="302"/>
                      <a:pt x="748" y="302"/>
                    </a:cubicBezTo>
                    <a:cubicBezTo>
                      <a:pt x="748" y="301"/>
                      <a:pt x="748" y="301"/>
                      <a:pt x="747" y="300"/>
                    </a:cubicBezTo>
                    <a:cubicBezTo>
                      <a:pt x="747" y="299"/>
                      <a:pt x="746" y="299"/>
                      <a:pt x="745" y="299"/>
                    </a:cubicBezTo>
                    <a:cubicBezTo>
                      <a:pt x="745" y="299"/>
                      <a:pt x="744" y="299"/>
                      <a:pt x="743" y="299"/>
                    </a:cubicBezTo>
                    <a:cubicBezTo>
                      <a:pt x="742" y="299"/>
                      <a:pt x="741" y="299"/>
                      <a:pt x="741" y="299"/>
                    </a:cubicBezTo>
                    <a:cubicBezTo>
                      <a:pt x="741" y="299"/>
                      <a:pt x="740" y="298"/>
                      <a:pt x="739" y="298"/>
                    </a:cubicBezTo>
                    <a:cubicBezTo>
                      <a:pt x="738" y="297"/>
                      <a:pt x="736" y="296"/>
                      <a:pt x="734" y="296"/>
                    </a:cubicBezTo>
                    <a:cubicBezTo>
                      <a:pt x="733" y="295"/>
                      <a:pt x="732" y="296"/>
                      <a:pt x="730" y="295"/>
                    </a:cubicBezTo>
                    <a:cubicBezTo>
                      <a:pt x="730" y="295"/>
                      <a:pt x="729" y="295"/>
                      <a:pt x="729" y="295"/>
                    </a:cubicBezTo>
                    <a:cubicBezTo>
                      <a:pt x="729" y="295"/>
                      <a:pt x="729" y="295"/>
                      <a:pt x="728" y="295"/>
                    </a:cubicBezTo>
                    <a:cubicBezTo>
                      <a:pt x="727" y="294"/>
                      <a:pt x="726" y="294"/>
                      <a:pt x="726" y="294"/>
                    </a:cubicBezTo>
                    <a:cubicBezTo>
                      <a:pt x="725" y="294"/>
                      <a:pt x="724" y="294"/>
                      <a:pt x="723" y="294"/>
                    </a:cubicBezTo>
                    <a:cubicBezTo>
                      <a:pt x="722" y="294"/>
                      <a:pt x="722" y="294"/>
                      <a:pt x="721" y="294"/>
                    </a:cubicBezTo>
                    <a:cubicBezTo>
                      <a:pt x="720" y="295"/>
                      <a:pt x="719" y="295"/>
                      <a:pt x="719" y="295"/>
                    </a:cubicBezTo>
                    <a:cubicBezTo>
                      <a:pt x="718" y="295"/>
                      <a:pt x="718" y="295"/>
                      <a:pt x="718" y="295"/>
                    </a:cubicBezTo>
                    <a:cubicBezTo>
                      <a:pt x="717" y="295"/>
                      <a:pt x="717" y="295"/>
                      <a:pt x="717" y="295"/>
                    </a:cubicBezTo>
                    <a:cubicBezTo>
                      <a:pt x="716" y="296"/>
                      <a:pt x="716" y="295"/>
                      <a:pt x="715" y="296"/>
                    </a:cubicBezTo>
                    <a:cubicBezTo>
                      <a:pt x="715" y="296"/>
                      <a:pt x="715" y="297"/>
                      <a:pt x="714" y="297"/>
                    </a:cubicBezTo>
                    <a:cubicBezTo>
                      <a:pt x="713" y="297"/>
                      <a:pt x="713" y="297"/>
                      <a:pt x="712" y="297"/>
                    </a:cubicBezTo>
                    <a:cubicBezTo>
                      <a:pt x="711" y="297"/>
                      <a:pt x="711" y="297"/>
                      <a:pt x="710" y="297"/>
                    </a:cubicBezTo>
                    <a:cubicBezTo>
                      <a:pt x="710" y="298"/>
                      <a:pt x="709" y="297"/>
                      <a:pt x="709" y="297"/>
                    </a:cubicBezTo>
                    <a:cubicBezTo>
                      <a:pt x="708" y="297"/>
                      <a:pt x="708" y="297"/>
                      <a:pt x="707" y="297"/>
                    </a:cubicBezTo>
                    <a:cubicBezTo>
                      <a:pt x="706" y="297"/>
                      <a:pt x="706" y="296"/>
                      <a:pt x="705" y="296"/>
                    </a:cubicBezTo>
                    <a:cubicBezTo>
                      <a:pt x="704" y="295"/>
                      <a:pt x="704" y="296"/>
                      <a:pt x="703" y="296"/>
                    </a:cubicBezTo>
                    <a:cubicBezTo>
                      <a:pt x="702" y="296"/>
                      <a:pt x="702" y="295"/>
                      <a:pt x="701" y="295"/>
                    </a:cubicBezTo>
                    <a:cubicBezTo>
                      <a:pt x="700" y="295"/>
                      <a:pt x="700" y="295"/>
                      <a:pt x="699" y="294"/>
                    </a:cubicBezTo>
                    <a:cubicBezTo>
                      <a:pt x="698" y="293"/>
                      <a:pt x="698" y="293"/>
                      <a:pt x="697" y="293"/>
                    </a:cubicBezTo>
                    <a:cubicBezTo>
                      <a:pt x="696" y="293"/>
                      <a:pt x="696" y="292"/>
                      <a:pt x="696" y="292"/>
                    </a:cubicBezTo>
                    <a:cubicBezTo>
                      <a:pt x="695" y="292"/>
                      <a:pt x="696" y="292"/>
                      <a:pt x="696" y="291"/>
                    </a:cubicBezTo>
                    <a:cubicBezTo>
                      <a:pt x="695" y="291"/>
                      <a:pt x="695" y="291"/>
                      <a:pt x="695" y="291"/>
                    </a:cubicBezTo>
                    <a:cubicBezTo>
                      <a:pt x="694" y="290"/>
                      <a:pt x="694" y="290"/>
                      <a:pt x="694" y="289"/>
                    </a:cubicBezTo>
                    <a:cubicBezTo>
                      <a:pt x="693" y="288"/>
                      <a:pt x="693" y="288"/>
                      <a:pt x="692" y="287"/>
                    </a:cubicBezTo>
                    <a:cubicBezTo>
                      <a:pt x="692" y="287"/>
                      <a:pt x="691" y="286"/>
                      <a:pt x="691" y="286"/>
                    </a:cubicBezTo>
                    <a:cubicBezTo>
                      <a:pt x="691" y="285"/>
                      <a:pt x="691" y="285"/>
                      <a:pt x="691" y="285"/>
                    </a:cubicBezTo>
                    <a:cubicBezTo>
                      <a:pt x="690" y="284"/>
                      <a:pt x="689" y="284"/>
                      <a:pt x="688" y="284"/>
                    </a:cubicBezTo>
                    <a:cubicBezTo>
                      <a:pt x="687" y="284"/>
                      <a:pt x="685" y="283"/>
                      <a:pt x="684" y="283"/>
                    </a:cubicBezTo>
                    <a:cubicBezTo>
                      <a:pt x="683" y="283"/>
                      <a:pt x="683" y="283"/>
                      <a:pt x="682" y="283"/>
                    </a:cubicBezTo>
                    <a:cubicBezTo>
                      <a:pt x="681" y="283"/>
                      <a:pt x="681" y="282"/>
                      <a:pt x="680" y="282"/>
                    </a:cubicBezTo>
                    <a:cubicBezTo>
                      <a:pt x="679" y="282"/>
                      <a:pt x="678" y="282"/>
                      <a:pt x="677" y="281"/>
                    </a:cubicBezTo>
                    <a:cubicBezTo>
                      <a:pt x="676" y="281"/>
                      <a:pt x="675" y="281"/>
                      <a:pt x="675" y="281"/>
                    </a:cubicBezTo>
                    <a:cubicBezTo>
                      <a:pt x="673" y="280"/>
                      <a:pt x="671" y="281"/>
                      <a:pt x="670" y="280"/>
                    </a:cubicBezTo>
                    <a:cubicBezTo>
                      <a:pt x="669" y="280"/>
                      <a:pt x="668" y="279"/>
                      <a:pt x="667" y="279"/>
                    </a:cubicBezTo>
                    <a:cubicBezTo>
                      <a:pt x="666" y="279"/>
                      <a:pt x="665" y="279"/>
                      <a:pt x="665" y="278"/>
                    </a:cubicBezTo>
                    <a:cubicBezTo>
                      <a:pt x="663" y="278"/>
                      <a:pt x="661" y="278"/>
                      <a:pt x="660" y="277"/>
                    </a:cubicBezTo>
                    <a:cubicBezTo>
                      <a:pt x="660" y="277"/>
                      <a:pt x="659" y="276"/>
                      <a:pt x="659" y="276"/>
                    </a:cubicBezTo>
                    <a:cubicBezTo>
                      <a:pt x="659" y="277"/>
                      <a:pt x="659" y="277"/>
                      <a:pt x="659" y="278"/>
                    </a:cubicBezTo>
                    <a:cubicBezTo>
                      <a:pt x="659" y="279"/>
                      <a:pt x="659" y="279"/>
                      <a:pt x="659" y="280"/>
                    </a:cubicBezTo>
                    <a:cubicBezTo>
                      <a:pt x="658" y="280"/>
                      <a:pt x="657" y="280"/>
                      <a:pt x="657" y="281"/>
                    </a:cubicBezTo>
                    <a:cubicBezTo>
                      <a:pt x="656" y="281"/>
                      <a:pt x="658" y="283"/>
                      <a:pt x="657" y="283"/>
                    </a:cubicBezTo>
                    <a:cubicBezTo>
                      <a:pt x="657" y="284"/>
                      <a:pt x="656" y="283"/>
                      <a:pt x="656" y="283"/>
                    </a:cubicBezTo>
                    <a:cubicBezTo>
                      <a:pt x="655" y="283"/>
                      <a:pt x="655" y="284"/>
                      <a:pt x="656" y="285"/>
                    </a:cubicBezTo>
                    <a:cubicBezTo>
                      <a:pt x="656" y="286"/>
                      <a:pt x="656" y="286"/>
                      <a:pt x="656" y="287"/>
                    </a:cubicBezTo>
                    <a:cubicBezTo>
                      <a:pt x="656" y="287"/>
                      <a:pt x="656" y="288"/>
                      <a:pt x="656" y="289"/>
                    </a:cubicBezTo>
                    <a:cubicBezTo>
                      <a:pt x="657" y="289"/>
                      <a:pt x="658" y="289"/>
                      <a:pt x="658" y="290"/>
                    </a:cubicBezTo>
                    <a:cubicBezTo>
                      <a:pt x="659" y="290"/>
                      <a:pt x="659" y="291"/>
                      <a:pt x="659" y="291"/>
                    </a:cubicBezTo>
                    <a:cubicBezTo>
                      <a:pt x="659" y="292"/>
                      <a:pt x="660" y="292"/>
                      <a:pt x="661" y="293"/>
                    </a:cubicBezTo>
                    <a:cubicBezTo>
                      <a:pt x="661" y="293"/>
                      <a:pt x="662" y="293"/>
                      <a:pt x="663" y="293"/>
                    </a:cubicBezTo>
                    <a:cubicBezTo>
                      <a:pt x="663" y="294"/>
                      <a:pt x="663" y="294"/>
                      <a:pt x="663" y="295"/>
                    </a:cubicBezTo>
                    <a:cubicBezTo>
                      <a:pt x="664" y="295"/>
                      <a:pt x="664" y="296"/>
                      <a:pt x="664" y="297"/>
                    </a:cubicBezTo>
                    <a:cubicBezTo>
                      <a:pt x="664" y="298"/>
                      <a:pt x="663" y="299"/>
                      <a:pt x="662" y="299"/>
                    </a:cubicBezTo>
                    <a:cubicBezTo>
                      <a:pt x="662" y="300"/>
                      <a:pt x="662" y="299"/>
                      <a:pt x="661" y="299"/>
                    </a:cubicBezTo>
                    <a:cubicBezTo>
                      <a:pt x="661" y="299"/>
                      <a:pt x="661" y="299"/>
                      <a:pt x="661" y="300"/>
                    </a:cubicBezTo>
                    <a:cubicBezTo>
                      <a:pt x="660" y="300"/>
                      <a:pt x="660" y="300"/>
                      <a:pt x="660" y="300"/>
                    </a:cubicBezTo>
                    <a:cubicBezTo>
                      <a:pt x="660" y="301"/>
                      <a:pt x="659" y="301"/>
                      <a:pt x="659" y="302"/>
                    </a:cubicBezTo>
                    <a:cubicBezTo>
                      <a:pt x="658" y="302"/>
                      <a:pt x="657" y="301"/>
                      <a:pt x="657" y="301"/>
                    </a:cubicBezTo>
                    <a:cubicBezTo>
                      <a:pt x="656" y="300"/>
                      <a:pt x="654" y="300"/>
                      <a:pt x="653" y="300"/>
                    </a:cubicBezTo>
                    <a:cubicBezTo>
                      <a:pt x="652" y="300"/>
                      <a:pt x="652" y="301"/>
                      <a:pt x="651" y="300"/>
                    </a:cubicBezTo>
                    <a:cubicBezTo>
                      <a:pt x="651" y="299"/>
                      <a:pt x="651" y="300"/>
                      <a:pt x="650" y="300"/>
                    </a:cubicBezTo>
                    <a:cubicBezTo>
                      <a:pt x="649" y="300"/>
                      <a:pt x="648" y="299"/>
                      <a:pt x="647" y="299"/>
                    </a:cubicBezTo>
                    <a:cubicBezTo>
                      <a:pt x="646" y="299"/>
                      <a:pt x="646" y="300"/>
                      <a:pt x="646" y="299"/>
                    </a:cubicBezTo>
                    <a:cubicBezTo>
                      <a:pt x="646" y="299"/>
                      <a:pt x="645" y="299"/>
                      <a:pt x="645" y="299"/>
                    </a:cubicBezTo>
                    <a:cubicBezTo>
                      <a:pt x="645" y="298"/>
                      <a:pt x="644" y="299"/>
                      <a:pt x="644" y="299"/>
                    </a:cubicBezTo>
                    <a:cubicBezTo>
                      <a:pt x="644" y="300"/>
                      <a:pt x="643" y="299"/>
                      <a:pt x="643" y="300"/>
                    </a:cubicBezTo>
                    <a:cubicBezTo>
                      <a:pt x="642" y="300"/>
                      <a:pt x="642" y="300"/>
                      <a:pt x="642" y="300"/>
                    </a:cubicBezTo>
                    <a:cubicBezTo>
                      <a:pt x="641" y="299"/>
                      <a:pt x="640" y="299"/>
                      <a:pt x="639" y="299"/>
                    </a:cubicBezTo>
                    <a:cubicBezTo>
                      <a:pt x="638" y="299"/>
                      <a:pt x="638" y="299"/>
                      <a:pt x="637" y="298"/>
                    </a:cubicBezTo>
                    <a:cubicBezTo>
                      <a:pt x="636" y="298"/>
                      <a:pt x="635" y="299"/>
                      <a:pt x="634" y="298"/>
                    </a:cubicBezTo>
                    <a:cubicBezTo>
                      <a:pt x="633" y="297"/>
                      <a:pt x="631" y="297"/>
                      <a:pt x="631" y="295"/>
                    </a:cubicBezTo>
                    <a:cubicBezTo>
                      <a:pt x="630" y="294"/>
                      <a:pt x="629" y="293"/>
                      <a:pt x="628" y="293"/>
                    </a:cubicBezTo>
                    <a:cubicBezTo>
                      <a:pt x="626" y="293"/>
                      <a:pt x="624" y="293"/>
                      <a:pt x="621" y="292"/>
                    </a:cubicBezTo>
                    <a:cubicBezTo>
                      <a:pt x="620" y="292"/>
                      <a:pt x="619" y="293"/>
                      <a:pt x="618" y="292"/>
                    </a:cubicBezTo>
                    <a:cubicBezTo>
                      <a:pt x="617" y="292"/>
                      <a:pt x="617" y="291"/>
                      <a:pt x="617" y="290"/>
                    </a:cubicBezTo>
                    <a:cubicBezTo>
                      <a:pt x="616" y="290"/>
                      <a:pt x="615" y="290"/>
                      <a:pt x="615" y="291"/>
                    </a:cubicBezTo>
                    <a:cubicBezTo>
                      <a:pt x="615" y="291"/>
                      <a:pt x="615" y="292"/>
                      <a:pt x="615" y="292"/>
                    </a:cubicBezTo>
                    <a:cubicBezTo>
                      <a:pt x="614" y="292"/>
                      <a:pt x="614" y="291"/>
                      <a:pt x="613" y="291"/>
                    </a:cubicBezTo>
                    <a:cubicBezTo>
                      <a:pt x="612" y="291"/>
                      <a:pt x="611" y="289"/>
                      <a:pt x="611" y="290"/>
                    </a:cubicBezTo>
                    <a:cubicBezTo>
                      <a:pt x="611" y="292"/>
                      <a:pt x="610" y="292"/>
                      <a:pt x="609" y="291"/>
                    </a:cubicBezTo>
                    <a:cubicBezTo>
                      <a:pt x="608" y="291"/>
                      <a:pt x="607" y="291"/>
                      <a:pt x="607" y="292"/>
                    </a:cubicBezTo>
                    <a:cubicBezTo>
                      <a:pt x="606" y="292"/>
                      <a:pt x="606" y="293"/>
                      <a:pt x="606" y="293"/>
                    </a:cubicBezTo>
                    <a:cubicBezTo>
                      <a:pt x="605" y="293"/>
                      <a:pt x="606" y="294"/>
                      <a:pt x="605" y="294"/>
                    </a:cubicBezTo>
                    <a:cubicBezTo>
                      <a:pt x="604" y="294"/>
                      <a:pt x="604" y="294"/>
                      <a:pt x="603" y="294"/>
                    </a:cubicBezTo>
                    <a:cubicBezTo>
                      <a:pt x="602" y="294"/>
                      <a:pt x="602" y="294"/>
                      <a:pt x="601" y="295"/>
                    </a:cubicBezTo>
                    <a:cubicBezTo>
                      <a:pt x="601" y="296"/>
                      <a:pt x="600" y="296"/>
                      <a:pt x="600" y="296"/>
                    </a:cubicBezTo>
                    <a:cubicBezTo>
                      <a:pt x="601" y="297"/>
                      <a:pt x="600" y="297"/>
                      <a:pt x="600" y="297"/>
                    </a:cubicBezTo>
                    <a:cubicBezTo>
                      <a:pt x="599" y="297"/>
                      <a:pt x="598" y="297"/>
                      <a:pt x="598" y="297"/>
                    </a:cubicBezTo>
                    <a:cubicBezTo>
                      <a:pt x="597" y="297"/>
                      <a:pt x="597" y="298"/>
                      <a:pt x="596" y="298"/>
                    </a:cubicBezTo>
                    <a:cubicBezTo>
                      <a:pt x="596" y="298"/>
                      <a:pt x="596" y="298"/>
                      <a:pt x="595" y="298"/>
                    </a:cubicBezTo>
                    <a:cubicBezTo>
                      <a:pt x="595" y="299"/>
                      <a:pt x="596" y="299"/>
                      <a:pt x="595" y="299"/>
                    </a:cubicBezTo>
                    <a:cubicBezTo>
                      <a:pt x="594" y="300"/>
                      <a:pt x="594" y="299"/>
                      <a:pt x="593" y="300"/>
                    </a:cubicBezTo>
                    <a:cubicBezTo>
                      <a:pt x="593" y="300"/>
                      <a:pt x="593" y="301"/>
                      <a:pt x="594" y="301"/>
                    </a:cubicBezTo>
                    <a:cubicBezTo>
                      <a:pt x="594" y="301"/>
                      <a:pt x="595" y="301"/>
                      <a:pt x="594" y="302"/>
                    </a:cubicBezTo>
                    <a:cubicBezTo>
                      <a:pt x="594" y="302"/>
                      <a:pt x="593" y="302"/>
                      <a:pt x="593" y="303"/>
                    </a:cubicBezTo>
                    <a:cubicBezTo>
                      <a:pt x="592" y="303"/>
                      <a:pt x="592" y="303"/>
                      <a:pt x="592" y="303"/>
                    </a:cubicBezTo>
                    <a:cubicBezTo>
                      <a:pt x="591" y="303"/>
                      <a:pt x="591" y="302"/>
                      <a:pt x="591" y="303"/>
                    </a:cubicBezTo>
                    <a:cubicBezTo>
                      <a:pt x="590" y="303"/>
                      <a:pt x="591" y="303"/>
                      <a:pt x="591" y="304"/>
                    </a:cubicBezTo>
                    <a:cubicBezTo>
                      <a:pt x="591" y="304"/>
                      <a:pt x="590" y="304"/>
                      <a:pt x="590" y="304"/>
                    </a:cubicBezTo>
                    <a:cubicBezTo>
                      <a:pt x="589" y="304"/>
                      <a:pt x="589" y="304"/>
                      <a:pt x="588" y="304"/>
                    </a:cubicBezTo>
                    <a:cubicBezTo>
                      <a:pt x="588" y="304"/>
                      <a:pt x="589" y="305"/>
                      <a:pt x="589" y="305"/>
                    </a:cubicBezTo>
                    <a:cubicBezTo>
                      <a:pt x="588" y="305"/>
                      <a:pt x="587" y="305"/>
                      <a:pt x="587" y="304"/>
                    </a:cubicBezTo>
                    <a:cubicBezTo>
                      <a:pt x="586" y="304"/>
                      <a:pt x="586" y="304"/>
                      <a:pt x="585" y="305"/>
                    </a:cubicBezTo>
                    <a:cubicBezTo>
                      <a:pt x="585" y="305"/>
                      <a:pt x="585" y="304"/>
                      <a:pt x="584" y="304"/>
                    </a:cubicBezTo>
                    <a:cubicBezTo>
                      <a:pt x="584" y="304"/>
                      <a:pt x="582" y="305"/>
                      <a:pt x="583" y="306"/>
                    </a:cubicBezTo>
                    <a:cubicBezTo>
                      <a:pt x="583" y="307"/>
                      <a:pt x="583" y="307"/>
                      <a:pt x="583" y="307"/>
                    </a:cubicBezTo>
                    <a:cubicBezTo>
                      <a:pt x="582" y="308"/>
                      <a:pt x="582" y="308"/>
                      <a:pt x="581" y="308"/>
                    </a:cubicBezTo>
                    <a:cubicBezTo>
                      <a:pt x="580" y="308"/>
                      <a:pt x="579" y="308"/>
                      <a:pt x="579" y="308"/>
                    </a:cubicBezTo>
                    <a:cubicBezTo>
                      <a:pt x="578" y="308"/>
                      <a:pt x="578" y="309"/>
                      <a:pt x="577" y="309"/>
                    </a:cubicBezTo>
                    <a:cubicBezTo>
                      <a:pt x="577" y="308"/>
                      <a:pt x="577" y="308"/>
                      <a:pt x="576" y="307"/>
                    </a:cubicBezTo>
                    <a:cubicBezTo>
                      <a:pt x="576" y="307"/>
                      <a:pt x="575" y="307"/>
                      <a:pt x="574" y="307"/>
                    </a:cubicBezTo>
                    <a:cubicBezTo>
                      <a:pt x="573" y="306"/>
                      <a:pt x="573" y="306"/>
                      <a:pt x="573" y="306"/>
                    </a:cubicBezTo>
                    <a:cubicBezTo>
                      <a:pt x="573" y="306"/>
                      <a:pt x="573" y="306"/>
                      <a:pt x="573" y="305"/>
                    </a:cubicBezTo>
                    <a:cubicBezTo>
                      <a:pt x="572" y="305"/>
                      <a:pt x="571" y="305"/>
                      <a:pt x="571" y="304"/>
                    </a:cubicBezTo>
                    <a:cubicBezTo>
                      <a:pt x="571" y="304"/>
                      <a:pt x="571" y="304"/>
                      <a:pt x="570" y="304"/>
                    </a:cubicBezTo>
                    <a:cubicBezTo>
                      <a:pt x="569" y="304"/>
                      <a:pt x="568" y="303"/>
                      <a:pt x="569" y="303"/>
                    </a:cubicBezTo>
                    <a:cubicBezTo>
                      <a:pt x="569" y="302"/>
                      <a:pt x="570" y="302"/>
                      <a:pt x="570" y="302"/>
                    </a:cubicBezTo>
                    <a:cubicBezTo>
                      <a:pt x="570" y="302"/>
                      <a:pt x="569" y="300"/>
                      <a:pt x="568" y="301"/>
                    </a:cubicBezTo>
                    <a:cubicBezTo>
                      <a:pt x="568" y="301"/>
                      <a:pt x="568" y="301"/>
                      <a:pt x="568" y="302"/>
                    </a:cubicBezTo>
                    <a:cubicBezTo>
                      <a:pt x="568" y="302"/>
                      <a:pt x="567" y="302"/>
                      <a:pt x="567" y="302"/>
                    </a:cubicBezTo>
                    <a:cubicBezTo>
                      <a:pt x="567" y="303"/>
                      <a:pt x="567" y="303"/>
                      <a:pt x="566" y="303"/>
                    </a:cubicBezTo>
                    <a:cubicBezTo>
                      <a:pt x="566" y="303"/>
                      <a:pt x="566" y="304"/>
                      <a:pt x="566" y="304"/>
                    </a:cubicBezTo>
                    <a:cubicBezTo>
                      <a:pt x="566" y="304"/>
                      <a:pt x="565" y="304"/>
                      <a:pt x="565" y="304"/>
                    </a:cubicBezTo>
                    <a:cubicBezTo>
                      <a:pt x="564" y="304"/>
                      <a:pt x="564" y="305"/>
                      <a:pt x="563" y="304"/>
                    </a:cubicBezTo>
                    <a:cubicBezTo>
                      <a:pt x="563" y="303"/>
                      <a:pt x="563" y="304"/>
                      <a:pt x="562" y="304"/>
                    </a:cubicBezTo>
                    <a:cubicBezTo>
                      <a:pt x="562" y="304"/>
                      <a:pt x="562" y="303"/>
                      <a:pt x="562" y="303"/>
                    </a:cubicBezTo>
                    <a:cubicBezTo>
                      <a:pt x="561" y="303"/>
                      <a:pt x="561" y="303"/>
                      <a:pt x="561" y="303"/>
                    </a:cubicBezTo>
                    <a:cubicBezTo>
                      <a:pt x="560" y="303"/>
                      <a:pt x="560" y="303"/>
                      <a:pt x="559" y="303"/>
                    </a:cubicBezTo>
                    <a:cubicBezTo>
                      <a:pt x="559" y="303"/>
                      <a:pt x="559" y="303"/>
                      <a:pt x="558" y="303"/>
                    </a:cubicBezTo>
                    <a:cubicBezTo>
                      <a:pt x="558" y="303"/>
                      <a:pt x="558" y="303"/>
                      <a:pt x="558" y="303"/>
                    </a:cubicBezTo>
                    <a:cubicBezTo>
                      <a:pt x="557" y="303"/>
                      <a:pt x="557" y="303"/>
                      <a:pt x="557" y="302"/>
                    </a:cubicBezTo>
                    <a:cubicBezTo>
                      <a:pt x="556" y="302"/>
                      <a:pt x="556" y="301"/>
                      <a:pt x="555" y="301"/>
                    </a:cubicBezTo>
                    <a:cubicBezTo>
                      <a:pt x="555" y="301"/>
                      <a:pt x="555" y="300"/>
                      <a:pt x="555" y="300"/>
                    </a:cubicBezTo>
                    <a:cubicBezTo>
                      <a:pt x="554" y="300"/>
                      <a:pt x="554" y="300"/>
                      <a:pt x="554" y="300"/>
                    </a:cubicBezTo>
                    <a:cubicBezTo>
                      <a:pt x="553" y="300"/>
                      <a:pt x="553" y="299"/>
                      <a:pt x="553" y="299"/>
                    </a:cubicBezTo>
                    <a:cubicBezTo>
                      <a:pt x="553" y="299"/>
                      <a:pt x="554" y="299"/>
                      <a:pt x="554" y="299"/>
                    </a:cubicBezTo>
                    <a:cubicBezTo>
                      <a:pt x="554" y="298"/>
                      <a:pt x="553" y="298"/>
                      <a:pt x="553" y="298"/>
                    </a:cubicBezTo>
                    <a:cubicBezTo>
                      <a:pt x="553" y="298"/>
                      <a:pt x="552" y="298"/>
                      <a:pt x="552" y="298"/>
                    </a:cubicBezTo>
                    <a:cubicBezTo>
                      <a:pt x="552" y="298"/>
                      <a:pt x="552" y="298"/>
                      <a:pt x="551" y="298"/>
                    </a:cubicBezTo>
                    <a:cubicBezTo>
                      <a:pt x="551" y="297"/>
                      <a:pt x="550" y="297"/>
                      <a:pt x="549" y="297"/>
                    </a:cubicBezTo>
                    <a:cubicBezTo>
                      <a:pt x="549" y="297"/>
                      <a:pt x="548" y="296"/>
                      <a:pt x="548" y="296"/>
                    </a:cubicBezTo>
                    <a:cubicBezTo>
                      <a:pt x="547" y="297"/>
                      <a:pt x="547" y="297"/>
                      <a:pt x="546" y="296"/>
                    </a:cubicBezTo>
                    <a:cubicBezTo>
                      <a:pt x="546" y="296"/>
                      <a:pt x="546" y="295"/>
                      <a:pt x="545" y="295"/>
                    </a:cubicBezTo>
                    <a:cubicBezTo>
                      <a:pt x="545" y="294"/>
                      <a:pt x="545" y="294"/>
                      <a:pt x="544" y="293"/>
                    </a:cubicBezTo>
                    <a:cubicBezTo>
                      <a:pt x="544" y="293"/>
                      <a:pt x="543" y="292"/>
                      <a:pt x="543" y="292"/>
                    </a:cubicBezTo>
                    <a:cubicBezTo>
                      <a:pt x="542" y="292"/>
                      <a:pt x="541" y="292"/>
                      <a:pt x="541" y="291"/>
                    </a:cubicBezTo>
                    <a:cubicBezTo>
                      <a:pt x="541" y="290"/>
                      <a:pt x="541" y="290"/>
                      <a:pt x="540" y="290"/>
                    </a:cubicBezTo>
                    <a:cubicBezTo>
                      <a:pt x="540" y="289"/>
                      <a:pt x="539" y="290"/>
                      <a:pt x="538" y="289"/>
                    </a:cubicBezTo>
                    <a:cubicBezTo>
                      <a:pt x="538" y="289"/>
                      <a:pt x="537" y="289"/>
                      <a:pt x="537" y="289"/>
                    </a:cubicBezTo>
                    <a:cubicBezTo>
                      <a:pt x="537" y="289"/>
                      <a:pt x="536" y="288"/>
                      <a:pt x="536" y="288"/>
                    </a:cubicBezTo>
                    <a:cubicBezTo>
                      <a:pt x="535" y="288"/>
                      <a:pt x="534" y="288"/>
                      <a:pt x="533" y="288"/>
                    </a:cubicBezTo>
                    <a:cubicBezTo>
                      <a:pt x="533" y="288"/>
                      <a:pt x="533" y="289"/>
                      <a:pt x="533" y="289"/>
                    </a:cubicBezTo>
                    <a:cubicBezTo>
                      <a:pt x="533" y="290"/>
                      <a:pt x="532" y="290"/>
                      <a:pt x="532" y="289"/>
                    </a:cubicBezTo>
                    <a:cubicBezTo>
                      <a:pt x="529" y="289"/>
                      <a:pt x="531" y="290"/>
                      <a:pt x="530" y="291"/>
                    </a:cubicBezTo>
                    <a:cubicBezTo>
                      <a:pt x="530" y="291"/>
                      <a:pt x="529" y="291"/>
                      <a:pt x="529" y="291"/>
                    </a:cubicBezTo>
                    <a:cubicBezTo>
                      <a:pt x="528" y="291"/>
                      <a:pt x="528" y="291"/>
                      <a:pt x="527" y="291"/>
                    </a:cubicBezTo>
                    <a:cubicBezTo>
                      <a:pt x="526" y="292"/>
                      <a:pt x="524" y="291"/>
                      <a:pt x="523" y="291"/>
                    </a:cubicBezTo>
                    <a:cubicBezTo>
                      <a:pt x="522" y="291"/>
                      <a:pt x="523" y="291"/>
                      <a:pt x="523" y="291"/>
                    </a:cubicBezTo>
                    <a:cubicBezTo>
                      <a:pt x="522" y="291"/>
                      <a:pt x="522" y="291"/>
                      <a:pt x="522" y="291"/>
                    </a:cubicBezTo>
                    <a:cubicBezTo>
                      <a:pt x="521" y="291"/>
                      <a:pt x="520" y="291"/>
                      <a:pt x="520" y="291"/>
                    </a:cubicBezTo>
                    <a:cubicBezTo>
                      <a:pt x="520" y="290"/>
                      <a:pt x="520" y="289"/>
                      <a:pt x="519" y="289"/>
                    </a:cubicBezTo>
                    <a:cubicBezTo>
                      <a:pt x="519" y="288"/>
                      <a:pt x="518" y="289"/>
                      <a:pt x="517" y="289"/>
                    </a:cubicBezTo>
                    <a:cubicBezTo>
                      <a:pt x="516" y="289"/>
                      <a:pt x="516" y="288"/>
                      <a:pt x="516" y="287"/>
                    </a:cubicBezTo>
                    <a:cubicBezTo>
                      <a:pt x="516" y="286"/>
                      <a:pt x="516" y="286"/>
                      <a:pt x="515" y="286"/>
                    </a:cubicBezTo>
                    <a:cubicBezTo>
                      <a:pt x="515" y="286"/>
                      <a:pt x="514" y="286"/>
                      <a:pt x="514" y="286"/>
                    </a:cubicBezTo>
                    <a:cubicBezTo>
                      <a:pt x="514" y="285"/>
                      <a:pt x="513" y="286"/>
                      <a:pt x="513" y="285"/>
                    </a:cubicBezTo>
                    <a:cubicBezTo>
                      <a:pt x="512" y="285"/>
                      <a:pt x="512" y="285"/>
                      <a:pt x="511" y="285"/>
                    </a:cubicBezTo>
                    <a:cubicBezTo>
                      <a:pt x="511" y="286"/>
                      <a:pt x="512" y="286"/>
                      <a:pt x="511" y="286"/>
                    </a:cubicBezTo>
                    <a:cubicBezTo>
                      <a:pt x="511" y="286"/>
                      <a:pt x="510" y="286"/>
                      <a:pt x="510" y="286"/>
                    </a:cubicBezTo>
                    <a:cubicBezTo>
                      <a:pt x="509" y="287"/>
                      <a:pt x="511" y="288"/>
                      <a:pt x="511" y="289"/>
                    </a:cubicBezTo>
                    <a:cubicBezTo>
                      <a:pt x="511" y="289"/>
                      <a:pt x="510" y="289"/>
                      <a:pt x="509" y="289"/>
                    </a:cubicBezTo>
                    <a:cubicBezTo>
                      <a:pt x="509" y="290"/>
                      <a:pt x="509" y="290"/>
                      <a:pt x="509" y="290"/>
                    </a:cubicBezTo>
                    <a:cubicBezTo>
                      <a:pt x="509" y="290"/>
                      <a:pt x="508" y="290"/>
                      <a:pt x="508" y="290"/>
                    </a:cubicBezTo>
                    <a:cubicBezTo>
                      <a:pt x="508" y="290"/>
                      <a:pt x="509" y="291"/>
                      <a:pt x="509" y="291"/>
                    </a:cubicBezTo>
                    <a:cubicBezTo>
                      <a:pt x="508" y="291"/>
                      <a:pt x="508" y="290"/>
                      <a:pt x="507" y="290"/>
                    </a:cubicBezTo>
                    <a:cubicBezTo>
                      <a:pt x="507" y="289"/>
                      <a:pt x="505" y="288"/>
                      <a:pt x="505" y="288"/>
                    </a:cubicBezTo>
                    <a:cubicBezTo>
                      <a:pt x="499" y="282"/>
                      <a:pt x="495" y="277"/>
                      <a:pt x="489" y="272"/>
                    </a:cubicBezTo>
                    <a:cubicBezTo>
                      <a:pt x="486" y="270"/>
                      <a:pt x="483" y="267"/>
                      <a:pt x="480" y="265"/>
                    </a:cubicBezTo>
                    <a:cubicBezTo>
                      <a:pt x="477" y="262"/>
                      <a:pt x="473" y="261"/>
                      <a:pt x="470" y="259"/>
                    </a:cubicBezTo>
                    <a:cubicBezTo>
                      <a:pt x="468" y="258"/>
                      <a:pt x="466" y="258"/>
                      <a:pt x="465" y="257"/>
                    </a:cubicBezTo>
                    <a:cubicBezTo>
                      <a:pt x="465" y="256"/>
                      <a:pt x="464" y="256"/>
                      <a:pt x="464" y="255"/>
                    </a:cubicBezTo>
                    <a:cubicBezTo>
                      <a:pt x="463" y="255"/>
                      <a:pt x="464" y="255"/>
                      <a:pt x="465" y="255"/>
                    </a:cubicBezTo>
                    <a:cubicBezTo>
                      <a:pt x="465" y="255"/>
                      <a:pt x="466" y="255"/>
                      <a:pt x="466" y="255"/>
                    </a:cubicBezTo>
                    <a:cubicBezTo>
                      <a:pt x="466" y="255"/>
                      <a:pt x="467" y="254"/>
                      <a:pt x="466" y="253"/>
                    </a:cubicBezTo>
                    <a:cubicBezTo>
                      <a:pt x="466" y="253"/>
                      <a:pt x="466" y="253"/>
                      <a:pt x="466" y="253"/>
                    </a:cubicBezTo>
                    <a:cubicBezTo>
                      <a:pt x="466" y="253"/>
                      <a:pt x="467" y="252"/>
                      <a:pt x="466" y="252"/>
                    </a:cubicBezTo>
                    <a:cubicBezTo>
                      <a:pt x="466" y="252"/>
                      <a:pt x="465" y="252"/>
                      <a:pt x="465" y="252"/>
                    </a:cubicBezTo>
                    <a:cubicBezTo>
                      <a:pt x="465" y="253"/>
                      <a:pt x="465" y="253"/>
                      <a:pt x="464" y="253"/>
                    </a:cubicBezTo>
                    <a:cubicBezTo>
                      <a:pt x="463" y="253"/>
                      <a:pt x="463" y="253"/>
                      <a:pt x="462" y="253"/>
                    </a:cubicBezTo>
                    <a:cubicBezTo>
                      <a:pt x="462" y="253"/>
                      <a:pt x="461" y="253"/>
                      <a:pt x="461" y="254"/>
                    </a:cubicBezTo>
                    <a:cubicBezTo>
                      <a:pt x="461" y="254"/>
                      <a:pt x="460" y="255"/>
                      <a:pt x="460" y="255"/>
                    </a:cubicBezTo>
                    <a:cubicBezTo>
                      <a:pt x="459" y="255"/>
                      <a:pt x="458" y="256"/>
                      <a:pt x="457" y="256"/>
                    </a:cubicBezTo>
                    <a:cubicBezTo>
                      <a:pt x="457" y="256"/>
                      <a:pt x="456" y="255"/>
                      <a:pt x="456" y="256"/>
                    </a:cubicBezTo>
                    <a:cubicBezTo>
                      <a:pt x="455" y="256"/>
                      <a:pt x="456" y="257"/>
                      <a:pt x="456" y="257"/>
                    </a:cubicBezTo>
                    <a:cubicBezTo>
                      <a:pt x="456" y="257"/>
                      <a:pt x="454" y="259"/>
                      <a:pt x="453" y="259"/>
                    </a:cubicBezTo>
                    <a:cubicBezTo>
                      <a:pt x="453" y="258"/>
                      <a:pt x="452" y="258"/>
                      <a:pt x="452" y="258"/>
                    </a:cubicBezTo>
                    <a:cubicBezTo>
                      <a:pt x="452" y="259"/>
                      <a:pt x="452" y="259"/>
                      <a:pt x="451" y="259"/>
                    </a:cubicBezTo>
                    <a:cubicBezTo>
                      <a:pt x="451" y="259"/>
                      <a:pt x="451" y="259"/>
                      <a:pt x="451" y="260"/>
                    </a:cubicBezTo>
                    <a:cubicBezTo>
                      <a:pt x="451" y="260"/>
                      <a:pt x="450" y="260"/>
                      <a:pt x="450" y="260"/>
                    </a:cubicBezTo>
                    <a:cubicBezTo>
                      <a:pt x="450" y="260"/>
                      <a:pt x="451" y="262"/>
                      <a:pt x="450" y="262"/>
                    </a:cubicBezTo>
                    <a:cubicBezTo>
                      <a:pt x="449" y="262"/>
                      <a:pt x="449" y="261"/>
                      <a:pt x="447" y="261"/>
                    </a:cubicBezTo>
                    <a:cubicBezTo>
                      <a:pt x="447" y="261"/>
                      <a:pt x="447" y="261"/>
                      <a:pt x="446" y="261"/>
                    </a:cubicBezTo>
                    <a:cubicBezTo>
                      <a:pt x="446" y="260"/>
                      <a:pt x="445" y="260"/>
                      <a:pt x="445" y="261"/>
                    </a:cubicBezTo>
                    <a:cubicBezTo>
                      <a:pt x="445" y="261"/>
                      <a:pt x="444" y="260"/>
                      <a:pt x="444" y="261"/>
                    </a:cubicBezTo>
                    <a:cubicBezTo>
                      <a:pt x="444" y="261"/>
                      <a:pt x="444" y="261"/>
                      <a:pt x="443" y="261"/>
                    </a:cubicBezTo>
                    <a:cubicBezTo>
                      <a:pt x="443" y="261"/>
                      <a:pt x="443" y="261"/>
                      <a:pt x="443" y="262"/>
                    </a:cubicBezTo>
                    <a:cubicBezTo>
                      <a:pt x="443" y="262"/>
                      <a:pt x="442" y="263"/>
                      <a:pt x="442" y="263"/>
                    </a:cubicBezTo>
                    <a:cubicBezTo>
                      <a:pt x="442" y="262"/>
                      <a:pt x="442" y="262"/>
                      <a:pt x="441" y="262"/>
                    </a:cubicBezTo>
                    <a:cubicBezTo>
                      <a:pt x="441" y="261"/>
                      <a:pt x="440" y="261"/>
                      <a:pt x="440" y="261"/>
                    </a:cubicBezTo>
                    <a:cubicBezTo>
                      <a:pt x="440" y="260"/>
                      <a:pt x="440" y="260"/>
                      <a:pt x="440" y="260"/>
                    </a:cubicBezTo>
                    <a:cubicBezTo>
                      <a:pt x="440" y="260"/>
                      <a:pt x="440" y="259"/>
                      <a:pt x="440" y="259"/>
                    </a:cubicBezTo>
                    <a:cubicBezTo>
                      <a:pt x="440" y="259"/>
                      <a:pt x="441" y="259"/>
                      <a:pt x="441" y="259"/>
                    </a:cubicBezTo>
                    <a:cubicBezTo>
                      <a:pt x="440" y="258"/>
                      <a:pt x="441" y="258"/>
                      <a:pt x="441" y="258"/>
                    </a:cubicBezTo>
                    <a:cubicBezTo>
                      <a:pt x="442" y="258"/>
                      <a:pt x="442" y="258"/>
                      <a:pt x="443" y="258"/>
                    </a:cubicBezTo>
                    <a:cubicBezTo>
                      <a:pt x="443" y="258"/>
                      <a:pt x="442" y="256"/>
                      <a:pt x="442" y="256"/>
                    </a:cubicBezTo>
                    <a:cubicBezTo>
                      <a:pt x="442" y="256"/>
                      <a:pt x="442" y="256"/>
                      <a:pt x="441" y="256"/>
                    </a:cubicBezTo>
                    <a:cubicBezTo>
                      <a:pt x="441" y="256"/>
                      <a:pt x="441" y="257"/>
                      <a:pt x="441" y="257"/>
                    </a:cubicBezTo>
                    <a:cubicBezTo>
                      <a:pt x="441" y="257"/>
                      <a:pt x="441" y="257"/>
                      <a:pt x="441" y="257"/>
                    </a:cubicBezTo>
                    <a:cubicBezTo>
                      <a:pt x="441" y="257"/>
                      <a:pt x="440" y="257"/>
                      <a:pt x="440" y="257"/>
                    </a:cubicBezTo>
                    <a:cubicBezTo>
                      <a:pt x="440" y="257"/>
                      <a:pt x="439" y="257"/>
                      <a:pt x="439" y="257"/>
                    </a:cubicBezTo>
                    <a:cubicBezTo>
                      <a:pt x="437" y="257"/>
                      <a:pt x="437" y="257"/>
                      <a:pt x="436" y="256"/>
                    </a:cubicBezTo>
                    <a:cubicBezTo>
                      <a:pt x="436" y="255"/>
                      <a:pt x="434" y="255"/>
                      <a:pt x="433" y="255"/>
                    </a:cubicBezTo>
                    <a:cubicBezTo>
                      <a:pt x="433" y="255"/>
                      <a:pt x="432" y="256"/>
                      <a:pt x="432" y="256"/>
                    </a:cubicBezTo>
                    <a:cubicBezTo>
                      <a:pt x="433" y="256"/>
                      <a:pt x="433" y="256"/>
                      <a:pt x="434" y="256"/>
                    </a:cubicBezTo>
                    <a:cubicBezTo>
                      <a:pt x="434" y="256"/>
                      <a:pt x="434" y="257"/>
                      <a:pt x="434" y="257"/>
                    </a:cubicBezTo>
                    <a:cubicBezTo>
                      <a:pt x="434" y="257"/>
                      <a:pt x="433" y="257"/>
                      <a:pt x="433" y="257"/>
                    </a:cubicBezTo>
                    <a:cubicBezTo>
                      <a:pt x="433" y="257"/>
                      <a:pt x="433" y="258"/>
                      <a:pt x="432" y="258"/>
                    </a:cubicBezTo>
                    <a:cubicBezTo>
                      <a:pt x="432" y="257"/>
                      <a:pt x="432" y="257"/>
                      <a:pt x="432" y="257"/>
                    </a:cubicBezTo>
                    <a:cubicBezTo>
                      <a:pt x="432" y="256"/>
                      <a:pt x="431" y="256"/>
                      <a:pt x="431" y="256"/>
                    </a:cubicBezTo>
                    <a:cubicBezTo>
                      <a:pt x="431" y="256"/>
                      <a:pt x="431" y="256"/>
                      <a:pt x="432" y="255"/>
                    </a:cubicBezTo>
                    <a:cubicBezTo>
                      <a:pt x="431" y="255"/>
                      <a:pt x="431" y="255"/>
                      <a:pt x="430" y="255"/>
                    </a:cubicBezTo>
                    <a:cubicBezTo>
                      <a:pt x="430" y="254"/>
                      <a:pt x="430" y="254"/>
                      <a:pt x="430" y="254"/>
                    </a:cubicBezTo>
                    <a:cubicBezTo>
                      <a:pt x="429" y="253"/>
                      <a:pt x="428" y="253"/>
                      <a:pt x="427" y="253"/>
                    </a:cubicBezTo>
                    <a:cubicBezTo>
                      <a:pt x="427" y="253"/>
                      <a:pt x="428" y="253"/>
                      <a:pt x="428" y="253"/>
                    </a:cubicBezTo>
                    <a:cubicBezTo>
                      <a:pt x="428" y="254"/>
                      <a:pt x="428" y="254"/>
                      <a:pt x="428" y="254"/>
                    </a:cubicBezTo>
                    <a:cubicBezTo>
                      <a:pt x="428" y="254"/>
                      <a:pt x="430" y="255"/>
                      <a:pt x="429" y="255"/>
                    </a:cubicBezTo>
                    <a:cubicBezTo>
                      <a:pt x="429" y="255"/>
                      <a:pt x="428" y="255"/>
                      <a:pt x="428" y="254"/>
                    </a:cubicBezTo>
                    <a:cubicBezTo>
                      <a:pt x="427" y="254"/>
                      <a:pt x="426" y="254"/>
                      <a:pt x="426" y="254"/>
                    </a:cubicBezTo>
                    <a:cubicBezTo>
                      <a:pt x="425" y="254"/>
                      <a:pt x="426" y="256"/>
                      <a:pt x="424" y="255"/>
                    </a:cubicBezTo>
                    <a:cubicBezTo>
                      <a:pt x="424" y="255"/>
                      <a:pt x="424" y="256"/>
                      <a:pt x="424" y="255"/>
                    </a:cubicBezTo>
                    <a:cubicBezTo>
                      <a:pt x="423" y="255"/>
                      <a:pt x="423" y="255"/>
                      <a:pt x="423" y="255"/>
                    </a:cubicBezTo>
                    <a:cubicBezTo>
                      <a:pt x="423" y="255"/>
                      <a:pt x="422" y="254"/>
                      <a:pt x="422" y="255"/>
                    </a:cubicBezTo>
                    <a:cubicBezTo>
                      <a:pt x="422" y="255"/>
                      <a:pt x="421" y="256"/>
                      <a:pt x="421" y="255"/>
                    </a:cubicBezTo>
                    <a:cubicBezTo>
                      <a:pt x="420" y="255"/>
                      <a:pt x="420" y="255"/>
                      <a:pt x="420" y="254"/>
                    </a:cubicBezTo>
                    <a:cubicBezTo>
                      <a:pt x="420" y="254"/>
                      <a:pt x="419" y="254"/>
                      <a:pt x="419" y="253"/>
                    </a:cubicBezTo>
                    <a:cubicBezTo>
                      <a:pt x="419" y="253"/>
                      <a:pt x="419" y="253"/>
                      <a:pt x="420" y="253"/>
                    </a:cubicBezTo>
                    <a:cubicBezTo>
                      <a:pt x="421" y="254"/>
                      <a:pt x="420" y="253"/>
                      <a:pt x="420" y="252"/>
                    </a:cubicBezTo>
                    <a:cubicBezTo>
                      <a:pt x="419" y="252"/>
                      <a:pt x="419" y="251"/>
                      <a:pt x="419" y="251"/>
                    </a:cubicBezTo>
                    <a:cubicBezTo>
                      <a:pt x="419" y="250"/>
                      <a:pt x="420" y="250"/>
                      <a:pt x="420" y="250"/>
                    </a:cubicBezTo>
                    <a:cubicBezTo>
                      <a:pt x="419" y="249"/>
                      <a:pt x="417" y="249"/>
                      <a:pt x="417" y="248"/>
                    </a:cubicBezTo>
                    <a:cubicBezTo>
                      <a:pt x="417" y="248"/>
                      <a:pt x="416" y="248"/>
                      <a:pt x="416" y="247"/>
                    </a:cubicBezTo>
                    <a:cubicBezTo>
                      <a:pt x="416" y="247"/>
                      <a:pt x="416" y="247"/>
                      <a:pt x="416" y="247"/>
                    </a:cubicBezTo>
                    <a:cubicBezTo>
                      <a:pt x="416" y="246"/>
                      <a:pt x="416" y="245"/>
                      <a:pt x="415" y="245"/>
                    </a:cubicBezTo>
                    <a:cubicBezTo>
                      <a:pt x="415" y="245"/>
                      <a:pt x="414" y="244"/>
                      <a:pt x="413" y="244"/>
                    </a:cubicBezTo>
                    <a:cubicBezTo>
                      <a:pt x="413" y="244"/>
                      <a:pt x="413" y="243"/>
                      <a:pt x="413" y="243"/>
                    </a:cubicBezTo>
                    <a:cubicBezTo>
                      <a:pt x="412" y="243"/>
                      <a:pt x="412" y="243"/>
                      <a:pt x="411" y="243"/>
                    </a:cubicBezTo>
                    <a:cubicBezTo>
                      <a:pt x="410" y="243"/>
                      <a:pt x="411" y="244"/>
                      <a:pt x="410" y="244"/>
                    </a:cubicBezTo>
                    <a:cubicBezTo>
                      <a:pt x="409" y="245"/>
                      <a:pt x="408" y="244"/>
                      <a:pt x="407" y="244"/>
                    </a:cubicBezTo>
                    <a:cubicBezTo>
                      <a:pt x="406" y="244"/>
                      <a:pt x="406" y="243"/>
                      <a:pt x="405" y="243"/>
                    </a:cubicBezTo>
                    <a:cubicBezTo>
                      <a:pt x="404" y="243"/>
                      <a:pt x="403" y="243"/>
                      <a:pt x="403" y="243"/>
                    </a:cubicBezTo>
                    <a:cubicBezTo>
                      <a:pt x="402" y="243"/>
                      <a:pt x="401" y="242"/>
                      <a:pt x="401" y="243"/>
                    </a:cubicBezTo>
                    <a:cubicBezTo>
                      <a:pt x="400" y="243"/>
                      <a:pt x="400" y="242"/>
                      <a:pt x="399" y="242"/>
                    </a:cubicBezTo>
                    <a:cubicBezTo>
                      <a:pt x="399" y="242"/>
                      <a:pt x="398" y="242"/>
                      <a:pt x="398" y="242"/>
                    </a:cubicBezTo>
                    <a:cubicBezTo>
                      <a:pt x="397" y="242"/>
                      <a:pt x="398" y="242"/>
                      <a:pt x="398" y="243"/>
                    </a:cubicBezTo>
                    <a:cubicBezTo>
                      <a:pt x="399" y="243"/>
                      <a:pt x="399" y="244"/>
                      <a:pt x="398" y="243"/>
                    </a:cubicBezTo>
                    <a:cubicBezTo>
                      <a:pt x="397" y="243"/>
                      <a:pt x="397" y="243"/>
                      <a:pt x="396" y="243"/>
                    </a:cubicBezTo>
                    <a:cubicBezTo>
                      <a:pt x="396" y="243"/>
                      <a:pt x="396" y="243"/>
                      <a:pt x="396" y="243"/>
                    </a:cubicBezTo>
                    <a:cubicBezTo>
                      <a:pt x="396" y="244"/>
                      <a:pt x="396" y="244"/>
                      <a:pt x="396" y="244"/>
                    </a:cubicBezTo>
                    <a:cubicBezTo>
                      <a:pt x="396" y="244"/>
                      <a:pt x="395" y="244"/>
                      <a:pt x="395" y="244"/>
                    </a:cubicBezTo>
                    <a:cubicBezTo>
                      <a:pt x="395" y="244"/>
                      <a:pt x="393" y="244"/>
                      <a:pt x="393" y="245"/>
                    </a:cubicBezTo>
                    <a:cubicBezTo>
                      <a:pt x="393" y="245"/>
                      <a:pt x="394" y="246"/>
                      <a:pt x="394" y="246"/>
                    </a:cubicBezTo>
                    <a:cubicBezTo>
                      <a:pt x="394" y="246"/>
                      <a:pt x="394" y="246"/>
                      <a:pt x="393" y="247"/>
                    </a:cubicBezTo>
                    <a:cubicBezTo>
                      <a:pt x="393" y="247"/>
                      <a:pt x="392" y="247"/>
                      <a:pt x="391" y="247"/>
                    </a:cubicBezTo>
                    <a:cubicBezTo>
                      <a:pt x="390" y="246"/>
                      <a:pt x="391" y="247"/>
                      <a:pt x="390" y="248"/>
                    </a:cubicBezTo>
                    <a:cubicBezTo>
                      <a:pt x="389" y="248"/>
                      <a:pt x="389" y="248"/>
                      <a:pt x="388" y="248"/>
                    </a:cubicBezTo>
                    <a:cubicBezTo>
                      <a:pt x="388" y="248"/>
                      <a:pt x="387" y="248"/>
                      <a:pt x="386" y="248"/>
                    </a:cubicBezTo>
                    <a:cubicBezTo>
                      <a:pt x="386" y="248"/>
                      <a:pt x="386" y="248"/>
                      <a:pt x="386" y="248"/>
                    </a:cubicBezTo>
                    <a:cubicBezTo>
                      <a:pt x="386" y="248"/>
                      <a:pt x="385" y="248"/>
                      <a:pt x="385" y="248"/>
                    </a:cubicBezTo>
                    <a:cubicBezTo>
                      <a:pt x="384" y="249"/>
                      <a:pt x="383" y="249"/>
                      <a:pt x="383" y="249"/>
                    </a:cubicBezTo>
                    <a:cubicBezTo>
                      <a:pt x="382" y="249"/>
                      <a:pt x="382" y="249"/>
                      <a:pt x="381" y="249"/>
                    </a:cubicBezTo>
                    <a:cubicBezTo>
                      <a:pt x="380" y="249"/>
                      <a:pt x="379" y="250"/>
                      <a:pt x="377" y="250"/>
                    </a:cubicBezTo>
                    <a:cubicBezTo>
                      <a:pt x="376" y="250"/>
                      <a:pt x="377" y="249"/>
                      <a:pt x="376" y="249"/>
                    </a:cubicBezTo>
                    <a:cubicBezTo>
                      <a:pt x="375" y="250"/>
                      <a:pt x="375" y="251"/>
                      <a:pt x="375" y="250"/>
                    </a:cubicBezTo>
                    <a:cubicBezTo>
                      <a:pt x="374" y="250"/>
                      <a:pt x="372" y="250"/>
                      <a:pt x="373" y="251"/>
                    </a:cubicBezTo>
                    <a:cubicBezTo>
                      <a:pt x="373" y="251"/>
                      <a:pt x="372" y="251"/>
                      <a:pt x="372" y="251"/>
                    </a:cubicBezTo>
                    <a:cubicBezTo>
                      <a:pt x="371" y="251"/>
                      <a:pt x="371" y="251"/>
                      <a:pt x="371" y="252"/>
                    </a:cubicBezTo>
                    <a:cubicBezTo>
                      <a:pt x="371" y="252"/>
                      <a:pt x="372" y="253"/>
                      <a:pt x="371" y="253"/>
                    </a:cubicBezTo>
                    <a:cubicBezTo>
                      <a:pt x="371" y="254"/>
                      <a:pt x="370" y="253"/>
                      <a:pt x="370" y="253"/>
                    </a:cubicBezTo>
                    <a:cubicBezTo>
                      <a:pt x="369" y="252"/>
                      <a:pt x="369" y="253"/>
                      <a:pt x="368" y="253"/>
                    </a:cubicBezTo>
                    <a:cubicBezTo>
                      <a:pt x="367" y="253"/>
                      <a:pt x="367" y="253"/>
                      <a:pt x="366" y="253"/>
                    </a:cubicBezTo>
                    <a:cubicBezTo>
                      <a:pt x="366" y="253"/>
                      <a:pt x="365" y="253"/>
                      <a:pt x="364" y="253"/>
                    </a:cubicBezTo>
                    <a:cubicBezTo>
                      <a:pt x="364" y="253"/>
                      <a:pt x="363" y="253"/>
                      <a:pt x="362" y="253"/>
                    </a:cubicBezTo>
                    <a:cubicBezTo>
                      <a:pt x="362" y="253"/>
                      <a:pt x="361" y="254"/>
                      <a:pt x="362" y="254"/>
                    </a:cubicBezTo>
                    <a:cubicBezTo>
                      <a:pt x="362" y="254"/>
                      <a:pt x="362" y="255"/>
                      <a:pt x="361" y="255"/>
                    </a:cubicBezTo>
                    <a:cubicBezTo>
                      <a:pt x="361" y="254"/>
                      <a:pt x="360" y="254"/>
                      <a:pt x="359" y="254"/>
                    </a:cubicBezTo>
                    <a:cubicBezTo>
                      <a:pt x="359" y="255"/>
                      <a:pt x="358" y="255"/>
                      <a:pt x="357" y="255"/>
                    </a:cubicBezTo>
                    <a:cubicBezTo>
                      <a:pt x="357" y="255"/>
                      <a:pt x="356" y="255"/>
                      <a:pt x="356" y="255"/>
                    </a:cubicBezTo>
                    <a:cubicBezTo>
                      <a:pt x="355" y="255"/>
                      <a:pt x="356" y="255"/>
                      <a:pt x="355" y="256"/>
                    </a:cubicBezTo>
                    <a:cubicBezTo>
                      <a:pt x="355" y="256"/>
                      <a:pt x="354" y="256"/>
                      <a:pt x="354" y="256"/>
                    </a:cubicBezTo>
                    <a:cubicBezTo>
                      <a:pt x="353" y="256"/>
                      <a:pt x="353" y="256"/>
                      <a:pt x="353" y="256"/>
                    </a:cubicBezTo>
                    <a:cubicBezTo>
                      <a:pt x="353" y="256"/>
                      <a:pt x="352" y="256"/>
                      <a:pt x="352" y="256"/>
                    </a:cubicBezTo>
                    <a:cubicBezTo>
                      <a:pt x="352" y="256"/>
                      <a:pt x="351" y="256"/>
                      <a:pt x="351" y="257"/>
                    </a:cubicBezTo>
                    <a:cubicBezTo>
                      <a:pt x="352" y="257"/>
                      <a:pt x="351" y="257"/>
                      <a:pt x="351" y="257"/>
                    </a:cubicBezTo>
                    <a:cubicBezTo>
                      <a:pt x="352" y="259"/>
                      <a:pt x="350" y="257"/>
                      <a:pt x="350" y="257"/>
                    </a:cubicBezTo>
                    <a:cubicBezTo>
                      <a:pt x="351" y="256"/>
                      <a:pt x="348" y="256"/>
                      <a:pt x="348" y="256"/>
                    </a:cubicBezTo>
                    <a:cubicBezTo>
                      <a:pt x="348" y="257"/>
                      <a:pt x="347" y="256"/>
                      <a:pt x="347" y="257"/>
                    </a:cubicBezTo>
                    <a:cubicBezTo>
                      <a:pt x="346" y="257"/>
                      <a:pt x="347" y="257"/>
                      <a:pt x="346" y="257"/>
                    </a:cubicBezTo>
                    <a:cubicBezTo>
                      <a:pt x="346" y="257"/>
                      <a:pt x="346" y="257"/>
                      <a:pt x="346" y="257"/>
                    </a:cubicBezTo>
                    <a:cubicBezTo>
                      <a:pt x="345" y="257"/>
                      <a:pt x="345" y="257"/>
                      <a:pt x="345" y="257"/>
                    </a:cubicBezTo>
                    <a:cubicBezTo>
                      <a:pt x="345" y="257"/>
                      <a:pt x="344" y="257"/>
                      <a:pt x="344" y="257"/>
                    </a:cubicBezTo>
                    <a:cubicBezTo>
                      <a:pt x="344" y="257"/>
                      <a:pt x="344" y="257"/>
                      <a:pt x="343" y="257"/>
                    </a:cubicBezTo>
                    <a:cubicBezTo>
                      <a:pt x="343" y="257"/>
                      <a:pt x="343" y="257"/>
                      <a:pt x="343" y="257"/>
                    </a:cubicBezTo>
                    <a:cubicBezTo>
                      <a:pt x="343" y="257"/>
                      <a:pt x="342" y="256"/>
                      <a:pt x="341" y="256"/>
                    </a:cubicBezTo>
                    <a:cubicBezTo>
                      <a:pt x="341" y="256"/>
                      <a:pt x="340" y="256"/>
                      <a:pt x="340" y="257"/>
                    </a:cubicBezTo>
                    <a:cubicBezTo>
                      <a:pt x="340" y="257"/>
                      <a:pt x="341" y="258"/>
                      <a:pt x="340" y="258"/>
                    </a:cubicBezTo>
                    <a:cubicBezTo>
                      <a:pt x="340" y="257"/>
                      <a:pt x="340" y="257"/>
                      <a:pt x="339" y="257"/>
                    </a:cubicBezTo>
                    <a:cubicBezTo>
                      <a:pt x="339" y="257"/>
                      <a:pt x="338" y="257"/>
                      <a:pt x="339" y="258"/>
                    </a:cubicBezTo>
                    <a:cubicBezTo>
                      <a:pt x="339" y="258"/>
                      <a:pt x="339" y="258"/>
                      <a:pt x="340" y="258"/>
                    </a:cubicBezTo>
                    <a:cubicBezTo>
                      <a:pt x="340" y="258"/>
                      <a:pt x="340" y="258"/>
                      <a:pt x="341" y="259"/>
                    </a:cubicBezTo>
                    <a:cubicBezTo>
                      <a:pt x="341" y="259"/>
                      <a:pt x="340" y="259"/>
                      <a:pt x="340" y="260"/>
                    </a:cubicBezTo>
                    <a:cubicBezTo>
                      <a:pt x="340" y="260"/>
                      <a:pt x="340" y="260"/>
                      <a:pt x="340" y="260"/>
                    </a:cubicBezTo>
                    <a:cubicBezTo>
                      <a:pt x="340" y="260"/>
                      <a:pt x="340" y="260"/>
                      <a:pt x="340" y="260"/>
                    </a:cubicBezTo>
                    <a:cubicBezTo>
                      <a:pt x="340" y="261"/>
                      <a:pt x="340" y="260"/>
                      <a:pt x="339" y="260"/>
                    </a:cubicBezTo>
                    <a:cubicBezTo>
                      <a:pt x="339" y="260"/>
                      <a:pt x="339" y="261"/>
                      <a:pt x="339" y="261"/>
                    </a:cubicBezTo>
                    <a:cubicBezTo>
                      <a:pt x="340" y="261"/>
                      <a:pt x="341" y="261"/>
                      <a:pt x="342" y="261"/>
                    </a:cubicBezTo>
                    <a:cubicBezTo>
                      <a:pt x="342" y="262"/>
                      <a:pt x="343" y="262"/>
                      <a:pt x="343" y="261"/>
                    </a:cubicBezTo>
                    <a:cubicBezTo>
                      <a:pt x="343" y="260"/>
                      <a:pt x="345" y="262"/>
                      <a:pt x="345" y="262"/>
                    </a:cubicBezTo>
                    <a:cubicBezTo>
                      <a:pt x="344" y="262"/>
                      <a:pt x="344" y="263"/>
                      <a:pt x="343" y="262"/>
                    </a:cubicBezTo>
                    <a:cubicBezTo>
                      <a:pt x="343" y="262"/>
                      <a:pt x="343" y="262"/>
                      <a:pt x="342" y="262"/>
                    </a:cubicBezTo>
                    <a:cubicBezTo>
                      <a:pt x="342" y="262"/>
                      <a:pt x="342" y="263"/>
                      <a:pt x="342" y="263"/>
                    </a:cubicBezTo>
                    <a:cubicBezTo>
                      <a:pt x="342" y="263"/>
                      <a:pt x="342" y="264"/>
                      <a:pt x="342" y="264"/>
                    </a:cubicBezTo>
                    <a:cubicBezTo>
                      <a:pt x="343" y="264"/>
                      <a:pt x="343" y="264"/>
                      <a:pt x="343" y="264"/>
                    </a:cubicBezTo>
                    <a:cubicBezTo>
                      <a:pt x="344" y="264"/>
                      <a:pt x="344" y="265"/>
                      <a:pt x="345" y="265"/>
                    </a:cubicBezTo>
                    <a:cubicBezTo>
                      <a:pt x="346" y="265"/>
                      <a:pt x="346" y="265"/>
                      <a:pt x="346" y="265"/>
                    </a:cubicBezTo>
                    <a:cubicBezTo>
                      <a:pt x="347" y="265"/>
                      <a:pt x="347" y="265"/>
                      <a:pt x="348" y="265"/>
                    </a:cubicBezTo>
                    <a:cubicBezTo>
                      <a:pt x="348" y="266"/>
                      <a:pt x="351" y="265"/>
                      <a:pt x="351" y="267"/>
                    </a:cubicBezTo>
                    <a:cubicBezTo>
                      <a:pt x="351" y="268"/>
                      <a:pt x="349" y="267"/>
                      <a:pt x="348" y="267"/>
                    </a:cubicBezTo>
                    <a:cubicBezTo>
                      <a:pt x="348" y="267"/>
                      <a:pt x="347" y="268"/>
                      <a:pt x="346" y="267"/>
                    </a:cubicBezTo>
                    <a:cubicBezTo>
                      <a:pt x="346" y="267"/>
                      <a:pt x="346" y="267"/>
                      <a:pt x="345" y="267"/>
                    </a:cubicBezTo>
                    <a:cubicBezTo>
                      <a:pt x="345" y="267"/>
                      <a:pt x="344" y="267"/>
                      <a:pt x="343" y="267"/>
                    </a:cubicBezTo>
                    <a:cubicBezTo>
                      <a:pt x="343" y="267"/>
                      <a:pt x="342" y="267"/>
                      <a:pt x="342" y="267"/>
                    </a:cubicBezTo>
                    <a:cubicBezTo>
                      <a:pt x="344" y="269"/>
                      <a:pt x="339" y="270"/>
                      <a:pt x="340" y="271"/>
                    </a:cubicBezTo>
                    <a:cubicBezTo>
                      <a:pt x="341" y="271"/>
                      <a:pt x="342" y="271"/>
                      <a:pt x="342" y="271"/>
                    </a:cubicBezTo>
                    <a:cubicBezTo>
                      <a:pt x="342" y="272"/>
                      <a:pt x="342" y="272"/>
                      <a:pt x="342" y="272"/>
                    </a:cubicBezTo>
                    <a:cubicBezTo>
                      <a:pt x="343" y="273"/>
                      <a:pt x="344" y="273"/>
                      <a:pt x="344" y="274"/>
                    </a:cubicBezTo>
                    <a:cubicBezTo>
                      <a:pt x="344" y="274"/>
                      <a:pt x="343" y="275"/>
                      <a:pt x="343" y="275"/>
                    </a:cubicBezTo>
                    <a:cubicBezTo>
                      <a:pt x="342" y="276"/>
                      <a:pt x="342" y="276"/>
                      <a:pt x="341" y="276"/>
                    </a:cubicBezTo>
                    <a:cubicBezTo>
                      <a:pt x="340" y="276"/>
                      <a:pt x="340" y="277"/>
                      <a:pt x="339" y="277"/>
                    </a:cubicBezTo>
                    <a:cubicBezTo>
                      <a:pt x="338" y="278"/>
                      <a:pt x="337" y="277"/>
                      <a:pt x="337" y="278"/>
                    </a:cubicBezTo>
                    <a:cubicBezTo>
                      <a:pt x="337" y="279"/>
                      <a:pt x="338" y="279"/>
                      <a:pt x="338" y="279"/>
                    </a:cubicBezTo>
                    <a:cubicBezTo>
                      <a:pt x="338" y="279"/>
                      <a:pt x="340" y="280"/>
                      <a:pt x="341" y="280"/>
                    </a:cubicBezTo>
                    <a:cubicBezTo>
                      <a:pt x="341" y="280"/>
                      <a:pt x="342" y="280"/>
                      <a:pt x="341" y="281"/>
                    </a:cubicBezTo>
                    <a:cubicBezTo>
                      <a:pt x="341" y="281"/>
                      <a:pt x="341" y="281"/>
                      <a:pt x="341" y="281"/>
                    </a:cubicBezTo>
                    <a:cubicBezTo>
                      <a:pt x="341" y="281"/>
                      <a:pt x="342" y="281"/>
                      <a:pt x="342" y="282"/>
                    </a:cubicBezTo>
                    <a:cubicBezTo>
                      <a:pt x="343" y="282"/>
                      <a:pt x="345" y="281"/>
                      <a:pt x="346" y="282"/>
                    </a:cubicBezTo>
                    <a:cubicBezTo>
                      <a:pt x="346" y="283"/>
                      <a:pt x="347" y="283"/>
                      <a:pt x="348" y="283"/>
                    </a:cubicBezTo>
                    <a:cubicBezTo>
                      <a:pt x="349" y="283"/>
                      <a:pt x="350" y="283"/>
                      <a:pt x="351" y="284"/>
                    </a:cubicBezTo>
                    <a:cubicBezTo>
                      <a:pt x="352" y="284"/>
                      <a:pt x="352" y="285"/>
                      <a:pt x="353" y="285"/>
                    </a:cubicBezTo>
                    <a:cubicBezTo>
                      <a:pt x="351" y="286"/>
                      <a:pt x="352" y="287"/>
                      <a:pt x="352" y="288"/>
                    </a:cubicBezTo>
                    <a:cubicBezTo>
                      <a:pt x="353" y="290"/>
                      <a:pt x="352" y="291"/>
                      <a:pt x="351" y="291"/>
                    </a:cubicBezTo>
                    <a:cubicBezTo>
                      <a:pt x="348" y="292"/>
                      <a:pt x="346" y="292"/>
                      <a:pt x="344" y="292"/>
                    </a:cubicBezTo>
                    <a:cubicBezTo>
                      <a:pt x="343" y="292"/>
                      <a:pt x="343" y="291"/>
                      <a:pt x="342" y="291"/>
                    </a:cubicBezTo>
                    <a:cubicBezTo>
                      <a:pt x="342" y="291"/>
                      <a:pt x="342" y="290"/>
                      <a:pt x="342" y="290"/>
                    </a:cubicBezTo>
                    <a:cubicBezTo>
                      <a:pt x="341" y="290"/>
                      <a:pt x="340" y="290"/>
                      <a:pt x="340" y="290"/>
                    </a:cubicBezTo>
                    <a:cubicBezTo>
                      <a:pt x="340" y="290"/>
                      <a:pt x="340" y="290"/>
                      <a:pt x="340" y="290"/>
                    </a:cubicBezTo>
                    <a:cubicBezTo>
                      <a:pt x="340" y="291"/>
                      <a:pt x="340" y="292"/>
                      <a:pt x="340" y="293"/>
                    </a:cubicBezTo>
                    <a:cubicBezTo>
                      <a:pt x="339" y="293"/>
                      <a:pt x="339" y="293"/>
                      <a:pt x="338" y="293"/>
                    </a:cubicBezTo>
                    <a:cubicBezTo>
                      <a:pt x="338" y="294"/>
                      <a:pt x="338" y="294"/>
                      <a:pt x="337" y="294"/>
                    </a:cubicBezTo>
                    <a:cubicBezTo>
                      <a:pt x="336" y="293"/>
                      <a:pt x="338" y="293"/>
                      <a:pt x="337" y="293"/>
                    </a:cubicBezTo>
                    <a:cubicBezTo>
                      <a:pt x="337" y="292"/>
                      <a:pt x="336" y="292"/>
                      <a:pt x="336" y="292"/>
                    </a:cubicBezTo>
                    <a:cubicBezTo>
                      <a:pt x="335" y="292"/>
                      <a:pt x="335" y="292"/>
                      <a:pt x="334" y="292"/>
                    </a:cubicBezTo>
                    <a:cubicBezTo>
                      <a:pt x="334" y="292"/>
                      <a:pt x="333" y="292"/>
                      <a:pt x="333" y="292"/>
                    </a:cubicBezTo>
                    <a:cubicBezTo>
                      <a:pt x="332" y="292"/>
                      <a:pt x="331" y="292"/>
                      <a:pt x="331" y="291"/>
                    </a:cubicBezTo>
                    <a:cubicBezTo>
                      <a:pt x="330" y="291"/>
                      <a:pt x="330" y="290"/>
                      <a:pt x="330" y="290"/>
                    </a:cubicBezTo>
                    <a:cubicBezTo>
                      <a:pt x="329" y="290"/>
                      <a:pt x="329" y="290"/>
                      <a:pt x="329" y="290"/>
                    </a:cubicBezTo>
                    <a:cubicBezTo>
                      <a:pt x="327" y="290"/>
                      <a:pt x="329" y="288"/>
                      <a:pt x="328" y="288"/>
                    </a:cubicBezTo>
                    <a:cubicBezTo>
                      <a:pt x="327" y="287"/>
                      <a:pt x="327" y="288"/>
                      <a:pt x="326" y="287"/>
                    </a:cubicBezTo>
                    <a:cubicBezTo>
                      <a:pt x="326" y="287"/>
                      <a:pt x="326" y="287"/>
                      <a:pt x="325" y="287"/>
                    </a:cubicBezTo>
                    <a:cubicBezTo>
                      <a:pt x="324" y="286"/>
                      <a:pt x="325" y="288"/>
                      <a:pt x="324" y="287"/>
                    </a:cubicBezTo>
                    <a:cubicBezTo>
                      <a:pt x="323" y="287"/>
                      <a:pt x="323" y="288"/>
                      <a:pt x="322" y="287"/>
                    </a:cubicBezTo>
                    <a:cubicBezTo>
                      <a:pt x="322" y="287"/>
                      <a:pt x="321" y="287"/>
                      <a:pt x="321" y="287"/>
                    </a:cubicBezTo>
                    <a:cubicBezTo>
                      <a:pt x="320" y="287"/>
                      <a:pt x="322" y="289"/>
                      <a:pt x="321" y="289"/>
                    </a:cubicBezTo>
                    <a:cubicBezTo>
                      <a:pt x="320" y="289"/>
                      <a:pt x="320" y="289"/>
                      <a:pt x="319" y="289"/>
                    </a:cubicBezTo>
                    <a:cubicBezTo>
                      <a:pt x="319" y="290"/>
                      <a:pt x="319" y="290"/>
                      <a:pt x="318" y="290"/>
                    </a:cubicBezTo>
                    <a:cubicBezTo>
                      <a:pt x="318" y="289"/>
                      <a:pt x="318" y="289"/>
                      <a:pt x="317" y="289"/>
                    </a:cubicBezTo>
                    <a:cubicBezTo>
                      <a:pt x="317" y="288"/>
                      <a:pt x="316" y="288"/>
                      <a:pt x="316" y="287"/>
                    </a:cubicBezTo>
                    <a:cubicBezTo>
                      <a:pt x="316" y="287"/>
                      <a:pt x="315" y="287"/>
                      <a:pt x="315" y="288"/>
                    </a:cubicBezTo>
                    <a:cubicBezTo>
                      <a:pt x="314" y="288"/>
                      <a:pt x="314" y="288"/>
                      <a:pt x="313" y="288"/>
                    </a:cubicBezTo>
                    <a:cubicBezTo>
                      <a:pt x="312" y="287"/>
                      <a:pt x="312" y="287"/>
                      <a:pt x="312" y="288"/>
                    </a:cubicBezTo>
                    <a:cubicBezTo>
                      <a:pt x="312" y="289"/>
                      <a:pt x="311" y="288"/>
                      <a:pt x="311" y="288"/>
                    </a:cubicBezTo>
                    <a:cubicBezTo>
                      <a:pt x="311" y="288"/>
                      <a:pt x="310" y="287"/>
                      <a:pt x="310" y="288"/>
                    </a:cubicBezTo>
                    <a:cubicBezTo>
                      <a:pt x="310" y="288"/>
                      <a:pt x="310" y="288"/>
                      <a:pt x="310" y="289"/>
                    </a:cubicBezTo>
                    <a:cubicBezTo>
                      <a:pt x="309" y="289"/>
                      <a:pt x="310" y="290"/>
                      <a:pt x="309" y="289"/>
                    </a:cubicBezTo>
                    <a:cubicBezTo>
                      <a:pt x="309" y="289"/>
                      <a:pt x="308" y="289"/>
                      <a:pt x="308" y="290"/>
                    </a:cubicBezTo>
                    <a:cubicBezTo>
                      <a:pt x="308" y="290"/>
                      <a:pt x="308" y="291"/>
                      <a:pt x="308" y="291"/>
                    </a:cubicBezTo>
                    <a:cubicBezTo>
                      <a:pt x="307" y="292"/>
                      <a:pt x="307" y="292"/>
                      <a:pt x="306" y="292"/>
                    </a:cubicBezTo>
                    <a:cubicBezTo>
                      <a:pt x="306" y="293"/>
                      <a:pt x="305" y="293"/>
                      <a:pt x="305" y="293"/>
                    </a:cubicBezTo>
                    <a:cubicBezTo>
                      <a:pt x="304" y="293"/>
                      <a:pt x="304" y="292"/>
                      <a:pt x="303" y="292"/>
                    </a:cubicBezTo>
                    <a:cubicBezTo>
                      <a:pt x="302" y="292"/>
                      <a:pt x="302" y="292"/>
                      <a:pt x="301" y="291"/>
                    </a:cubicBezTo>
                    <a:cubicBezTo>
                      <a:pt x="300" y="291"/>
                      <a:pt x="300" y="291"/>
                      <a:pt x="299" y="290"/>
                    </a:cubicBezTo>
                    <a:cubicBezTo>
                      <a:pt x="299" y="290"/>
                      <a:pt x="299" y="289"/>
                      <a:pt x="299" y="289"/>
                    </a:cubicBezTo>
                    <a:cubicBezTo>
                      <a:pt x="298" y="289"/>
                      <a:pt x="298" y="289"/>
                      <a:pt x="297" y="289"/>
                    </a:cubicBezTo>
                    <a:cubicBezTo>
                      <a:pt x="296" y="288"/>
                      <a:pt x="296" y="288"/>
                      <a:pt x="294" y="288"/>
                    </a:cubicBezTo>
                    <a:cubicBezTo>
                      <a:pt x="294" y="288"/>
                      <a:pt x="294" y="289"/>
                      <a:pt x="295" y="289"/>
                    </a:cubicBezTo>
                    <a:cubicBezTo>
                      <a:pt x="296" y="289"/>
                      <a:pt x="296" y="291"/>
                      <a:pt x="296" y="292"/>
                    </a:cubicBezTo>
                    <a:cubicBezTo>
                      <a:pt x="296" y="292"/>
                      <a:pt x="297" y="293"/>
                      <a:pt x="296" y="293"/>
                    </a:cubicBezTo>
                    <a:cubicBezTo>
                      <a:pt x="295" y="293"/>
                      <a:pt x="295" y="293"/>
                      <a:pt x="294" y="293"/>
                    </a:cubicBezTo>
                    <a:cubicBezTo>
                      <a:pt x="294" y="292"/>
                      <a:pt x="294" y="291"/>
                      <a:pt x="294" y="291"/>
                    </a:cubicBezTo>
                    <a:cubicBezTo>
                      <a:pt x="294" y="289"/>
                      <a:pt x="293" y="289"/>
                      <a:pt x="292" y="289"/>
                    </a:cubicBezTo>
                    <a:cubicBezTo>
                      <a:pt x="291" y="289"/>
                      <a:pt x="291" y="288"/>
                      <a:pt x="291" y="288"/>
                    </a:cubicBezTo>
                    <a:cubicBezTo>
                      <a:pt x="290" y="287"/>
                      <a:pt x="290" y="287"/>
                      <a:pt x="290" y="287"/>
                    </a:cubicBezTo>
                    <a:cubicBezTo>
                      <a:pt x="289" y="287"/>
                      <a:pt x="289" y="286"/>
                      <a:pt x="288" y="286"/>
                    </a:cubicBezTo>
                    <a:cubicBezTo>
                      <a:pt x="287" y="286"/>
                      <a:pt x="287" y="286"/>
                      <a:pt x="286" y="286"/>
                    </a:cubicBezTo>
                    <a:cubicBezTo>
                      <a:pt x="286" y="285"/>
                      <a:pt x="286" y="285"/>
                      <a:pt x="285" y="285"/>
                    </a:cubicBezTo>
                    <a:cubicBezTo>
                      <a:pt x="285" y="285"/>
                      <a:pt x="285" y="284"/>
                      <a:pt x="285" y="284"/>
                    </a:cubicBezTo>
                    <a:cubicBezTo>
                      <a:pt x="285" y="284"/>
                      <a:pt x="285" y="284"/>
                      <a:pt x="284" y="284"/>
                    </a:cubicBezTo>
                    <a:cubicBezTo>
                      <a:pt x="284" y="284"/>
                      <a:pt x="284" y="283"/>
                      <a:pt x="283" y="283"/>
                    </a:cubicBezTo>
                    <a:cubicBezTo>
                      <a:pt x="283" y="283"/>
                      <a:pt x="282" y="283"/>
                      <a:pt x="282" y="283"/>
                    </a:cubicBezTo>
                    <a:cubicBezTo>
                      <a:pt x="282" y="283"/>
                      <a:pt x="281" y="283"/>
                      <a:pt x="281" y="283"/>
                    </a:cubicBezTo>
                    <a:cubicBezTo>
                      <a:pt x="281" y="283"/>
                      <a:pt x="280" y="283"/>
                      <a:pt x="280" y="283"/>
                    </a:cubicBezTo>
                    <a:cubicBezTo>
                      <a:pt x="280" y="283"/>
                      <a:pt x="280" y="284"/>
                      <a:pt x="279" y="283"/>
                    </a:cubicBezTo>
                    <a:cubicBezTo>
                      <a:pt x="279" y="283"/>
                      <a:pt x="278" y="283"/>
                      <a:pt x="278" y="283"/>
                    </a:cubicBezTo>
                    <a:cubicBezTo>
                      <a:pt x="276" y="284"/>
                      <a:pt x="275" y="282"/>
                      <a:pt x="275" y="282"/>
                    </a:cubicBezTo>
                    <a:cubicBezTo>
                      <a:pt x="274" y="281"/>
                      <a:pt x="274" y="281"/>
                      <a:pt x="274" y="280"/>
                    </a:cubicBezTo>
                    <a:cubicBezTo>
                      <a:pt x="273" y="280"/>
                      <a:pt x="273" y="281"/>
                      <a:pt x="273" y="281"/>
                    </a:cubicBezTo>
                    <a:cubicBezTo>
                      <a:pt x="272" y="281"/>
                      <a:pt x="272" y="281"/>
                      <a:pt x="271" y="281"/>
                    </a:cubicBezTo>
                    <a:cubicBezTo>
                      <a:pt x="271" y="281"/>
                      <a:pt x="270" y="281"/>
                      <a:pt x="270" y="282"/>
                    </a:cubicBezTo>
                    <a:cubicBezTo>
                      <a:pt x="269" y="282"/>
                      <a:pt x="270" y="283"/>
                      <a:pt x="270" y="283"/>
                    </a:cubicBezTo>
                    <a:cubicBezTo>
                      <a:pt x="269" y="284"/>
                      <a:pt x="269" y="283"/>
                      <a:pt x="268" y="283"/>
                    </a:cubicBezTo>
                    <a:cubicBezTo>
                      <a:pt x="268" y="282"/>
                      <a:pt x="266" y="284"/>
                      <a:pt x="266" y="283"/>
                    </a:cubicBezTo>
                    <a:cubicBezTo>
                      <a:pt x="265" y="282"/>
                      <a:pt x="266" y="282"/>
                      <a:pt x="266" y="282"/>
                    </a:cubicBezTo>
                    <a:cubicBezTo>
                      <a:pt x="267" y="282"/>
                      <a:pt x="265" y="281"/>
                      <a:pt x="265" y="281"/>
                    </a:cubicBezTo>
                    <a:cubicBezTo>
                      <a:pt x="265" y="281"/>
                      <a:pt x="263" y="281"/>
                      <a:pt x="263" y="281"/>
                    </a:cubicBezTo>
                    <a:cubicBezTo>
                      <a:pt x="262" y="281"/>
                      <a:pt x="261" y="280"/>
                      <a:pt x="261" y="280"/>
                    </a:cubicBezTo>
                    <a:cubicBezTo>
                      <a:pt x="260" y="281"/>
                      <a:pt x="261" y="281"/>
                      <a:pt x="261" y="282"/>
                    </a:cubicBezTo>
                    <a:cubicBezTo>
                      <a:pt x="261" y="282"/>
                      <a:pt x="260" y="282"/>
                      <a:pt x="260" y="282"/>
                    </a:cubicBezTo>
                    <a:cubicBezTo>
                      <a:pt x="261" y="282"/>
                      <a:pt x="260" y="281"/>
                      <a:pt x="259" y="282"/>
                    </a:cubicBezTo>
                    <a:cubicBezTo>
                      <a:pt x="259" y="282"/>
                      <a:pt x="259" y="282"/>
                      <a:pt x="259" y="283"/>
                    </a:cubicBezTo>
                    <a:cubicBezTo>
                      <a:pt x="259" y="283"/>
                      <a:pt x="260" y="283"/>
                      <a:pt x="259" y="283"/>
                    </a:cubicBezTo>
                    <a:cubicBezTo>
                      <a:pt x="259" y="284"/>
                      <a:pt x="259" y="284"/>
                      <a:pt x="258" y="284"/>
                    </a:cubicBezTo>
                    <a:cubicBezTo>
                      <a:pt x="258" y="284"/>
                      <a:pt x="258" y="284"/>
                      <a:pt x="258" y="285"/>
                    </a:cubicBezTo>
                    <a:cubicBezTo>
                      <a:pt x="258" y="286"/>
                      <a:pt x="257" y="286"/>
                      <a:pt x="256" y="286"/>
                    </a:cubicBezTo>
                    <a:cubicBezTo>
                      <a:pt x="255" y="286"/>
                      <a:pt x="255" y="286"/>
                      <a:pt x="254" y="287"/>
                    </a:cubicBezTo>
                    <a:cubicBezTo>
                      <a:pt x="253" y="287"/>
                      <a:pt x="252" y="287"/>
                      <a:pt x="252" y="287"/>
                    </a:cubicBezTo>
                    <a:cubicBezTo>
                      <a:pt x="251" y="287"/>
                      <a:pt x="251" y="288"/>
                      <a:pt x="251" y="288"/>
                    </a:cubicBezTo>
                    <a:cubicBezTo>
                      <a:pt x="251" y="289"/>
                      <a:pt x="252" y="289"/>
                      <a:pt x="251" y="290"/>
                    </a:cubicBezTo>
                    <a:cubicBezTo>
                      <a:pt x="251" y="290"/>
                      <a:pt x="250" y="290"/>
                      <a:pt x="249" y="291"/>
                    </a:cubicBezTo>
                    <a:cubicBezTo>
                      <a:pt x="249" y="292"/>
                      <a:pt x="248" y="292"/>
                      <a:pt x="247" y="292"/>
                    </a:cubicBezTo>
                    <a:cubicBezTo>
                      <a:pt x="247" y="292"/>
                      <a:pt x="246" y="292"/>
                      <a:pt x="246" y="292"/>
                    </a:cubicBezTo>
                    <a:cubicBezTo>
                      <a:pt x="246" y="292"/>
                      <a:pt x="245" y="292"/>
                      <a:pt x="245" y="292"/>
                    </a:cubicBezTo>
                    <a:cubicBezTo>
                      <a:pt x="246" y="292"/>
                      <a:pt x="246" y="292"/>
                      <a:pt x="246" y="293"/>
                    </a:cubicBezTo>
                    <a:cubicBezTo>
                      <a:pt x="246" y="293"/>
                      <a:pt x="246" y="294"/>
                      <a:pt x="246" y="294"/>
                    </a:cubicBezTo>
                    <a:cubicBezTo>
                      <a:pt x="247" y="295"/>
                      <a:pt x="247" y="296"/>
                      <a:pt x="248" y="297"/>
                    </a:cubicBezTo>
                    <a:cubicBezTo>
                      <a:pt x="248" y="297"/>
                      <a:pt x="248" y="297"/>
                      <a:pt x="248" y="298"/>
                    </a:cubicBezTo>
                    <a:cubicBezTo>
                      <a:pt x="249" y="298"/>
                      <a:pt x="249" y="298"/>
                      <a:pt x="249" y="298"/>
                    </a:cubicBezTo>
                    <a:cubicBezTo>
                      <a:pt x="250" y="300"/>
                      <a:pt x="247" y="300"/>
                      <a:pt x="246" y="301"/>
                    </a:cubicBezTo>
                    <a:cubicBezTo>
                      <a:pt x="246" y="301"/>
                      <a:pt x="245" y="301"/>
                      <a:pt x="245" y="300"/>
                    </a:cubicBezTo>
                    <a:cubicBezTo>
                      <a:pt x="244" y="300"/>
                      <a:pt x="244" y="300"/>
                      <a:pt x="244" y="300"/>
                    </a:cubicBezTo>
                    <a:cubicBezTo>
                      <a:pt x="244" y="300"/>
                      <a:pt x="244" y="300"/>
                      <a:pt x="244" y="300"/>
                    </a:cubicBezTo>
                    <a:cubicBezTo>
                      <a:pt x="243" y="299"/>
                      <a:pt x="243" y="299"/>
                      <a:pt x="243" y="299"/>
                    </a:cubicBezTo>
                    <a:cubicBezTo>
                      <a:pt x="243" y="298"/>
                      <a:pt x="242" y="298"/>
                      <a:pt x="242" y="298"/>
                    </a:cubicBezTo>
                    <a:cubicBezTo>
                      <a:pt x="242" y="297"/>
                      <a:pt x="241" y="297"/>
                      <a:pt x="240" y="296"/>
                    </a:cubicBezTo>
                    <a:cubicBezTo>
                      <a:pt x="240" y="296"/>
                      <a:pt x="239" y="295"/>
                      <a:pt x="239" y="295"/>
                    </a:cubicBezTo>
                    <a:cubicBezTo>
                      <a:pt x="238" y="295"/>
                      <a:pt x="238" y="294"/>
                      <a:pt x="238" y="294"/>
                    </a:cubicBezTo>
                    <a:cubicBezTo>
                      <a:pt x="237" y="294"/>
                      <a:pt x="236" y="294"/>
                      <a:pt x="236" y="295"/>
                    </a:cubicBezTo>
                    <a:cubicBezTo>
                      <a:pt x="236" y="296"/>
                      <a:pt x="235" y="296"/>
                      <a:pt x="235" y="296"/>
                    </a:cubicBezTo>
                    <a:cubicBezTo>
                      <a:pt x="236" y="297"/>
                      <a:pt x="235" y="297"/>
                      <a:pt x="235" y="297"/>
                    </a:cubicBezTo>
                    <a:cubicBezTo>
                      <a:pt x="236" y="298"/>
                      <a:pt x="236" y="298"/>
                      <a:pt x="236" y="298"/>
                    </a:cubicBezTo>
                    <a:cubicBezTo>
                      <a:pt x="235" y="299"/>
                      <a:pt x="235" y="299"/>
                      <a:pt x="234" y="300"/>
                    </a:cubicBezTo>
                    <a:cubicBezTo>
                      <a:pt x="234" y="300"/>
                      <a:pt x="233" y="300"/>
                      <a:pt x="233" y="300"/>
                    </a:cubicBezTo>
                    <a:cubicBezTo>
                      <a:pt x="233" y="301"/>
                      <a:pt x="233" y="302"/>
                      <a:pt x="233" y="302"/>
                    </a:cubicBezTo>
                    <a:cubicBezTo>
                      <a:pt x="233" y="303"/>
                      <a:pt x="233" y="304"/>
                      <a:pt x="233" y="305"/>
                    </a:cubicBezTo>
                    <a:cubicBezTo>
                      <a:pt x="233" y="307"/>
                      <a:pt x="234" y="306"/>
                      <a:pt x="235" y="307"/>
                    </a:cubicBezTo>
                    <a:cubicBezTo>
                      <a:pt x="236" y="309"/>
                      <a:pt x="235" y="309"/>
                      <a:pt x="234" y="310"/>
                    </a:cubicBezTo>
                    <a:cubicBezTo>
                      <a:pt x="233" y="311"/>
                      <a:pt x="233" y="312"/>
                      <a:pt x="233" y="312"/>
                    </a:cubicBezTo>
                    <a:cubicBezTo>
                      <a:pt x="233" y="313"/>
                      <a:pt x="233" y="313"/>
                      <a:pt x="233" y="314"/>
                    </a:cubicBezTo>
                    <a:cubicBezTo>
                      <a:pt x="232" y="315"/>
                      <a:pt x="232" y="316"/>
                      <a:pt x="234" y="316"/>
                    </a:cubicBezTo>
                    <a:cubicBezTo>
                      <a:pt x="235" y="316"/>
                      <a:pt x="236" y="317"/>
                      <a:pt x="238" y="317"/>
                    </a:cubicBezTo>
                    <a:cubicBezTo>
                      <a:pt x="238" y="317"/>
                      <a:pt x="238" y="318"/>
                      <a:pt x="238" y="318"/>
                    </a:cubicBezTo>
                    <a:cubicBezTo>
                      <a:pt x="238" y="318"/>
                      <a:pt x="238" y="318"/>
                      <a:pt x="238" y="319"/>
                    </a:cubicBezTo>
                    <a:cubicBezTo>
                      <a:pt x="239" y="319"/>
                      <a:pt x="239" y="319"/>
                      <a:pt x="239" y="319"/>
                    </a:cubicBezTo>
                    <a:cubicBezTo>
                      <a:pt x="239" y="320"/>
                      <a:pt x="238" y="320"/>
                      <a:pt x="238" y="320"/>
                    </a:cubicBezTo>
                    <a:cubicBezTo>
                      <a:pt x="238" y="320"/>
                      <a:pt x="239" y="321"/>
                      <a:pt x="239" y="321"/>
                    </a:cubicBezTo>
                    <a:cubicBezTo>
                      <a:pt x="239" y="322"/>
                      <a:pt x="239" y="322"/>
                      <a:pt x="239" y="322"/>
                    </a:cubicBezTo>
                    <a:cubicBezTo>
                      <a:pt x="240" y="323"/>
                      <a:pt x="241" y="323"/>
                      <a:pt x="241" y="324"/>
                    </a:cubicBezTo>
                    <a:cubicBezTo>
                      <a:pt x="242" y="322"/>
                      <a:pt x="241" y="322"/>
                      <a:pt x="243" y="322"/>
                    </a:cubicBezTo>
                    <a:cubicBezTo>
                      <a:pt x="244" y="323"/>
                      <a:pt x="246" y="322"/>
                      <a:pt x="247" y="323"/>
                    </a:cubicBezTo>
                    <a:cubicBezTo>
                      <a:pt x="248" y="323"/>
                      <a:pt x="249" y="325"/>
                      <a:pt x="250" y="326"/>
                    </a:cubicBezTo>
                    <a:cubicBezTo>
                      <a:pt x="251" y="326"/>
                      <a:pt x="251" y="326"/>
                      <a:pt x="252" y="327"/>
                    </a:cubicBezTo>
                    <a:cubicBezTo>
                      <a:pt x="252" y="327"/>
                      <a:pt x="253" y="328"/>
                      <a:pt x="253" y="328"/>
                    </a:cubicBezTo>
                    <a:cubicBezTo>
                      <a:pt x="254" y="329"/>
                      <a:pt x="254" y="330"/>
                      <a:pt x="255" y="331"/>
                    </a:cubicBezTo>
                    <a:cubicBezTo>
                      <a:pt x="256" y="332"/>
                      <a:pt x="257" y="333"/>
                      <a:pt x="257" y="333"/>
                    </a:cubicBezTo>
                    <a:cubicBezTo>
                      <a:pt x="257" y="334"/>
                      <a:pt x="255" y="334"/>
                      <a:pt x="255" y="334"/>
                    </a:cubicBezTo>
                    <a:cubicBezTo>
                      <a:pt x="255" y="334"/>
                      <a:pt x="254" y="333"/>
                      <a:pt x="254" y="333"/>
                    </a:cubicBezTo>
                    <a:cubicBezTo>
                      <a:pt x="253" y="334"/>
                      <a:pt x="253" y="334"/>
                      <a:pt x="253" y="335"/>
                    </a:cubicBezTo>
                    <a:cubicBezTo>
                      <a:pt x="254" y="335"/>
                      <a:pt x="254" y="336"/>
                      <a:pt x="255" y="336"/>
                    </a:cubicBezTo>
                    <a:cubicBezTo>
                      <a:pt x="256" y="336"/>
                      <a:pt x="256" y="337"/>
                      <a:pt x="257" y="337"/>
                    </a:cubicBezTo>
                    <a:cubicBezTo>
                      <a:pt x="258" y="337"/>
                      <a:pt x="259" y="337"/>
                      <a:pt x="259" y="338"/>
                    </a:cubicBezTo>
                    <a:cubicBezTo>
                      <a:pt x="260" y="338"/>
                      <a:pt x="261" y="339"/>
                      <a:pt x="261" y="339"/>
                    </a:cubicBezTo>
                    <a:cubicBezTo>
                      <a:pt x="260" y="339"/>
                      <a:pt x="260" y="339"/>
                      <a:pt x="260" y="339"/>
                    </a:cubicBezTo>
                    <a:cubicBezTo>
                      <a:pt x="260" y="339"/>
                      <a:pt x="259" y="338"/>
                      <a:pt x="259" y="338"/>
                    </a:cubicBezTo>
                    <a:cubicBezTo>
                      <a:pt x="259" y="338"/>
                      <a:pt x="259" y="339"/>
                      <a:pt x="259" y="339"/>
                    </a:cubicBezTo>
                    <a:cubicBezTo>
                      <a:pt x="259" y="339"/>
                      <a:pt x="259" y="339"/>
                      <a:pt x="259" y="340"/>
                    </a:cubicBezTo>
                    <a:cubicBezTo>
                      <a:pt x="259" y="340"/>
                      <a:pt x="259" y="340"/>
                      <a:pt x="259" y="340"/>
                    </a:cubicBezTo>
                    <a:cubicBezTo>
                      <a:pt x="258" y="340"/>
                      <a:pt x="258" y="340"/>
                      <a:pt x="258" y="340"/>
                    </a:cubicBezTo>
                    <a:cubicBezTo>
                      <a:pt x="258" y="340"/>
                      <a:pt x="258" y="341"/>
                      <a:pt x="258" y="341"/>
                    </a:cubicBezTo>
                    <a:cubicBezTo>
                      <a:pt x="258" y="341"/>
                      <a:pt x="258" y="340"/>
                      <a:pt x="257" y="340"/>
                    </a:cubicBezTo>
                    <a:cubicBezTo>
                      <a:pt x="257" y="340"/>
                      <a:pt x="257" y="340"/>
                      <a:pt x="258" y="341"/>
                    </a:cubicBezTo>
                    <a:cubicBezTo>
                      <a:pt x="257" y="340"/>
                      <a:pt x="257" y="340"/>
                      <a:pt x="257" y="340"/>
                    </a:cubicBezTo>
                    <a:cubicBezTo>
                      <a:pt x="257" y="340"/>
                      <a:pt x="258" y="341"/>
                      <a:pt x="257" y="341"/>
                    </a:cubicBezTo>
                    <a:cubicBezTo>
                      <a:pt x="257" y="341"/>
                      <a:pt x="257" y="340"/>
                      <a:pt x="257" y="340"/>
                    </a:cubicBezTo>
                    <a:cubicBezTo>
                      <a:pt x="257" y="340"/>
                      <a:pt x="257" y="341"/>
                      <a:pt x="257" y="341"/>
                    </a:cubicBezTo>
                    <a:cubicBezTo>
                      <a:pt x="257" y="341"/>
                      <a:pt x="256" y="341"/>
                      <a:pt x="256" y="340"/>
                    </a:cubicBezTo>
                    <a:cubicBezTo>
                      <a:pt x="256" y="340"/>
                      <a:pt x="256" y="341"/>
                      <a:pt x="255" y="341"/>
                    </a:cubicBezTo>
                    <a:cubicBezTo>
                      <a:pt x="256" y="341"/>
                      <a:pt x="257" y="341"/>
                      <a:pt x="256" y="342"/>
                    </a:cubicBezTo>
                    <a:cubicBezTo>
                      <a:pt x="257" y="342"/>
                      <a:pt x="256" y="342"/>
                      <a:pt x="257" y="343"/>
                    </a:cubicBezTo>
                    <a:cubicBezTo>
                      <a:pt x="258" y="344"/>
                      <a:pt x="257" y="343"/>
                      <a:pt x="257" y="344"/>
                    </a:cubicBezTo>
                    <a:cubicBezTo>
                      <a:pt x="256" y="343"/>
                      <a:pt x="257" y="343"/>
                      <a:pt x="256" y="343"/>
                    </a:cubicBezTo>
                    <a:cubicBezTo>
                      <a:pt x="256" y="343"/>
                      <a:pt x="256" y="343"/>
                      <a:pt x="256" y="343"/>
                    </a:cubicBezTo>
                    <a:cubicBezTo>
                      <a:pt x="255" y="342"/>
                      <a:pt x="255" y="342"/>
                      <a:pt x="255" y="342"/>
                    </a:cubicBezTo>
                    <a:cubicBezTo>
                      <a:pt x="255" y="342"/>
                      <a:pt x="254" y="342"/>
                      <a:pt x="254" y="343"/>
                    </a:cubicBezTo>
                    <a:cubicBezTo>
                      <a:pt x="254" y="343"/>
                      <a:pt x="253" y="343"/>
                      <a:pt x="253" y="343"/>
                    </a:cubicBezTo>
                    <a:cubicBezTo>
                      <a:pt x="253" y="343"/>
                      <a:pt x="254" y="343"/>
                      <a:pt x="254" y="343"/>
                    </a:cubicBezTo>
                    <a:cubicBezTo>
                      <a:pt x="254" y="344"/>
                      <a:pt x="253" y="343"/>
                      <a:pt x="253" y="344"/>
                    </a:cubicBezTo>
                    <a:cubicBezTo>
                      <a:pt x="253" y="344"/>
                      <a:pt x="252" y="344"/>
                      <a:pt x="253" y="345"/>
                    </a:cubicBezTo>
                    <a:cubicBezTo>
                      <a:pt x="252" y="344"/>
                      <a:pt x="252" y="345"/>
                      <a:pt x="251" y="345"/>
                    </a:cubicBezTo>
                    <a:cubicBezTo>
                      <a:pt x="251" y="344"/>
                      <a:pt x="251" y="345"/>
                      <a:pt x="251" y="345"/>
                    </a:cubicBezTo>
                    <a:cubicBezTo>
                      <a:pt x="250" y="345"/>
                      <a:pt x="249" y="345"/>
                      <a:pt x="249" y="345"/>
                    </a:cubicBezTo>
                    <a:cubicBezTo>
                      <a:pt x="249" y="345"/>
                      <a:pt x="250" y="346"/>
                      <a:pt x="249" y="346"/>
                    </a:cubicBezTo>
                    <a:cubicBezTo>
                      <a:pt x="249" y="346"/>
                      <a:pt x="249" y="345"/>
                      <a:pt x="248" y="345"/>
                    </a:cubicBezTo>
                    <a:cubicBezTo>
                      <a:pt x="248" y="345"/>
                      <a:pt x="247" y="344"/>
                      <a:pt x="247" y="344"/>
                    </a:cubicBezTo>
                    <a:cubicBezTo>
                      <a:pt x="247" y="344"/>
                      <a:pt x="247" y="345"/>
                      <a:pt x="247" y="345"/>
                    </a:cubicBezTo>
                    <a:cubicBezTo>
                      <a:pt x="247" y="345"/>
                      <a:pt x="247" y="346"/>
                      <a:pt x="248" y="346"/>
                    </a:cubicBezTo>
                    <a:cubicBezTo>
                      <a:pt x="248" y="346"/>
                      <a:pt x="248" y="346"/>
                      <a:pt x="248" y="346"/>
                    </a:cubicBezTo>
                    <a:cubicBezTo>
                      <a:pt x="247" y="347"/>
                      <a:pt x="247" y="346"/>
                      <a:pt x="247" y="345"/>
                    </a:cubicBezTo>
                    <a:cubicBezTo>
                      <a:pt x="246" y="345"/>
                      <a:pt x="246" y="345"/>
                      <a:pt x="246" y="345"/>
                    </a:cubicBezTo>
                    <a:cubicBezTo>
                      <a:pt x="246" y="345"/>
                      <a:pt x="246" y="345"/>
                      <a:pt x="246" y="345"/>
                    </a:cubicBezTo>
                    <a:cubicBezTo>
                      <a:pt x="246" y="345"/>
                      <a:pt x="246" y="345"/>
                      <a:pt x="245" y="344"/>
                    </a:cubicBezTo>
                    <a:cubicBezTo>
                      <a:pt x="245" y="345"/>
                      <a:pt x="246" y="345"/>
                      <a:pt x="247" y="346"/>
                    </a:cubicBezTo>
                    <a:cubicBezTo>
                      <a:pt x="247" y="346"/>
                      <a:pt x="247" y="347"/>
                      <a:pt x="247" y="346"/>
                    </a:cubicBezTo>
                    <a:cubicBezTo>
                      <a:pt x="246" y="346"/>
                      <a:pt x="247" y="347"/>
                      <a:pt x="247" y="347"/>
                    </a:cubicBezTo>
                    <a:cubicBezTo>
                      <a:pt x="247" y="348"/>
                      <a:pt x="246" y="348"/>
                      <a:pt x="246" y="348"/>
                    </a:cubicBezTo>
                    <a:cubicBezTo>
                      <a:pt x="246" y="348"/>
                      <a:pt x="247" y="348"/>
                      <a:pt x="246" y="348"/>
                    </a:cubicBezTo>
                    <a:cubicBezTo>
                      <a:pt x="246" y="349"/>
                      <a:pt x="246" y="350"/>
                      <a:pt x="246" y="350"/>
                    </a:cubicBezTo>
                    <a:cubicBezTo>
                      <a:pt x="246" y="351"/>
                      <a:pt x="246" y="350"/>
                      <a:pt x="246" y="350"/>
                    </a:cubicBezTo>
                    <a:cubicBezTo>
                      <a:pt x="246" y="351"/>
                      <a:pt x="246" y="351"/>
                      <a:pt x="246" y="351"/>
                    </a:cubicBezTo>
                    <a:cubicBezTo>
                      <a:pt x="245" y="352"/>
                      <a:pt x="245" y="353"/>
                      <a:pt x="245" y="353"/>
                    </a:cubicBezTo>
                    <a:cubicBezTo>
                      <a:pt x="245" y="353"/>
                      <a:pt x="245" y="353"/>
                      <a:pt x="244" y="353"/>
                    </a:cubicBezTo>
                    <a:cubicBezTo>
                      <a:pt x="244" y="353"/>
                      <a:pt x="245" y="355"/>
                      <a:pt x="244" y="355"/>
                    </a:cubicBezTo>
                    <a:cubicBezTo>
                      <a:pt x="244" y="355"/>
                      <a:pt x="243" y="354"/>
                      <a:pt x="243" y="353"/>
                    </a:cubicBezTo>
                    <a:cubicBezTo>
                      <a:pt x="243" y="354"/>
                      <a:pt x="244" y="354"/>
                      <a:pt x="244" y="354"/>
                    </a:cubicBezTo>
                    <a:cubicBezTo>
                      <a:pt x="244" y="355"/>
                      <a:pt x="243" y="355"/>
                      <a:pt x="243" y="355"/>
                    </a:cubicBezTo>
                    <a:cubicBezTo>
                      <a:pt x="243" y="355"/>
                      <a:pt x="243" y="356"/>
                      <a:pt x="242" y="356"/>
                    </a:cubicBezTo>
                    <a:cubicBezTo>
                      <a:pt x="242" y="356"/>
                      <a:pt x="242" y="356"/>
                      <a:pt x="242" y="356"/>
                    </a:cubicBezTo>
                    <a:cubicBezTo>
                      <a:pt x="241" y="357"/>
                      <a:pt x="242" y="357"/>
                      <a:pt x="242" y="358"/>
                    </a:cubicBezTo>
                    <a:cubicBezTo>
                      <a:pt x="241" y="358"/>
                      <a:pt x="242" y="359"/>
                      <a:pt x="242" y="359"/>
                    </a:cubicBezTo>
                    <a:cubicBezTo>
                      <a:pt x="243" y="359"/>
                      <a:pt x="244" y="359"/>
                      <a:pt x="245" y="360"/>
                    </a:cubicBezTo>
                    <a:cubicBezTo>
                      <a:pt x="245" y="360"/>
                      <a:pt x="245" y="361"/>
                      <a:pt x="246" y="361"/>
                    </a:cubicBezTo>
                    <a:cubicBezTo>
                      <a:pt x="246" y="361"/>
                      <a:pt x="247" y="361"/>
                      <a:pt x="247" y="361"/>
                    </a:cubicBezTo>
                    <a:cubicBezTo>
                      <a:pt x="248" y="362"/>
                      <a:pt x="247" y="363"/>
                      <a:pt x="248" y="363"/>
                    </a:cubicBezTo>
                    <a:cubicBezTo>
                      <a:pt x="249" y="363"/>
                      <a:pt x="249" y="364"/>
                      <a:pt x="249" y="364"/>
                    </a:cubicBezTo>
                    <a:cubicBezTo>
                      <a:pt x="249" y="364"/>
                      <a:pt x="249" y="365"/>
                      <a:pt x="250" y="365"/>
                    </a:cubicBezTo>
                    <a:cubicBezTo>
                      <a:pt x="250" y="365"/>
                      <a:pt x="250" y="366"/>
                      <a:pt x="250" y="366"/>
                    </a:cubicBezTo>
                    <a:cubicBezTo>
                      <a:pt x="250" y="366"/>
                      <a:pt x="250" y="366"/>
                      <a:pt x="250" y="366"/>
                    </a:cubicBezTo>
                    <a:cubicBezTo>
                      <a:pt x="250" y="366"/>
                      <a:pt x="250" y="367"/>
                      <a:pt x="250" y="367"/>
                    </a:cubicBezTo>
                    <a:cubicBezTo>
                      <a:pt x="250" y="367"/>
                      <a:pt x="250" y="368"/>
                      <a:pt x="249" y="368"/>
                    </a:cubicBezTo>
                    <a:cubicBezTo>
                      <a:pt x="249" y="368"/>
                      <a:pt x="250" y="369"/>
                      <a:pt x="250" y="368"/>
                    </a:cubicBezTo>
                    <a:cubicBezTo>
                      <a:pt x="250" y="367"/>
                      <a:pt x="250" y="367"/>
                      <a:pt x="250" y="366"/>
                    </a:cubicBezTo>
                    <a:cubicBezTo>
                      <a:pt x="250" y="366"/>
                      <a:pt x="250" y="365"/>
                      <a:pt x="250" y="365"/>
                    </a:cubicBezTo>
                    <a:cubicBezTo>
                      <a:pt x="251" y="364"/>
                      <a:pt x="252" y="364"/>
                      <a:pt x="251" y="365"/>
                    </a:cubicBezTo>
                    <a:cubicBezTo>
                      <a:pt x="251" y="365"/>
                      <a:pt x="251" y="366"/>
                      <a:pt x="251" y="366"/>
                    </a:cubicBezTo>
                    <a:cubicBezTo>
                      <a:pt x="251" y="367"/>
                      <a:pt x="251" y="368"/>
                      <a:pt x="251" y="369"/>
                    </a:cubicBezTo>
                    <a:cubicBezTo>
                      <a:pt x="251" y="370"/>
                      <a:pt x="251" y="371"/>
                      <a:pt x="251" y="371"/>
                    </a:cubicBezTo>
                    <a:cubicBezTo>
                      <a:pt x="251" y="371"/>
                      <a:pt x="252" y="370"/>
                      <a:pt x="252" y="371"/>
                    </a:cubicBezTo>
                    <a:cubicBezTo>
                      <a:pt x="252" y="371"/>
                      <a:pt x="251" y="372"/>
                      <a:pt x="251" y="372"/>
                    </a:cubicBezTo>
                    <a:cubicBezTo>
                      <a:pt x="250" y="373"/>
                      <a:pt x="251" y="374"/>
                      <a:pt x="252" y="375"/>
                    </a:cubicBezTo>
                    <a:cubicBezTo>
                      <a:pt x="253" y="375"/>
                      <a:pt x="254" y="376"/>
                      <a:pt x="254" y="377"/>
                    </a:cubicBezTo>
                    <a:cubicBezTo>
                      <a:pt x="254" y="377"/>
                      <a:pt x="254" y="378"/>
                      <a:pt x="254" y="378"/>
                    </a:cubicBezTo>
                    <a:cubicBezTo>
                      <a:pt x="255" y="378"/>
                      <a:pt x="255" y="378"/>
                      <a:pt x="255" y="379"/>
                    </a:cubicBezTo>
                    <a:cubicBezTo>
                      <a:pt x="256" y="379"/>
                      <a:pt x="256" y="379"/>
                      <a:pt x="256" y="379"/>
                    </a:cubicBezTo>
                    <a:cubicBezTo>
                      <a:pt x="257" y="380"/>
                      <a:pt x="257" y="380"/>
                      <a:pt x="258" y="381"/>
                    </a:cubicBezTo>
                    <a:cubicBezTo>
                      <a:pt x="259" y="382"/>
                      <a:pt x="260" y="383"/>
                      <a:pt x="261" y="384"/>
                    </a:cubicBezTo>
                    <a:cubicBezTo>
                      <a:pt x="261" y="385"/>
                      <a:pt x="261" y="386"/>
                      <a:pt x="262" y="386"/>
                    </a:cubicBezTo>
                    <a:cubicBezTo>
                      <a:pt x="263" y="386"/>
                      <a:pt x="264" y="387"/>
                      <a:pt x="263" y="387"/>
                    </a:cubicBezTo>
                    <a:cubicBezTo>
                      <a:pt x="262" y="389"/>
                      <a:pt x="262" y="390"/>
                      <a:pt x="261" y="390"/>
                    </a:cubicBezTo>
                    <a:cubicBezTo>
                      <a:pt x="260" y="391"/>
                      <a:pt x="260" y="391"/>
                      <a:pt x="259" y="391"/>
                    </a:cubicBezTo>
                    <a:cubicBezTo>
                      <a:pt x="259" y="391"/>
                      <a:pt x="259" y="392"/>
                      <a:pt x="259" y="392"/>
                    </a:cubicBezTo>
                    <a:cubicBezTo>
                      <a:pt x="259" y="392"/>
                      <a:pt x="259" y="392"/>
                      <a:pt x="259" y="392"/>
                    </a:cubicBezTo>
                    <a:cubicBezTo>
                      <a:pt x="258" y="393"/>
                      <a:pt x="259" y="394"/>
                      <a:pt x="258" y="394"/>
                    </a:cubicBezTo>
                    <a:cubicBezTo>
                      <a:pt x="257" y="394"/>
                      <a:pt x="257" y="393"/>
                      <a:pt x="256" y="393"/>
                    </a:cubicBezTo>
                    <a:cubicBezTo>
                      <a:pt x="256" y="393"/>
                      <a:pt x="256" y="394"/>
                      <a:pt x="255" y="394"/>
                    </a:cubicBezTo>
                    <a:cubicBezTo>
                      <a:pt x="255" y="394"/>
                      <a:pt x="255" y="393"/>
                      <a:pt x="255" y="393"/>
                    </a:cubicBezTo>
                    <a:cubicBezTo>
                      <a:pt x="255" y="393"/>
                      <a:pt x="254" y="393"/>
                      <a:pt x="254" y="393"/>
                    </a:cubicBezTo>
                    <a:cubicBezTo>
                      <a:pt x="253" y="393"/>
                      <a:pt x="253" y="392"/>
                      <a:pt x="252" y="392"/>
                    </a:cubicBezTo>
                    <a:cubicBezTo>
                      <a:pt x="252" y="391"/>
                      <a:pt x="252" y="391"/>
                      <a:pt x="251" y="390"/>
                    </a:cubicBezTo>
                    <a:cubicBezTo>
                      <a:pt x="251" y="390"/>
                      <a:pt x="251" y="390"/>
                      <a:pt x="251" y="390"/>
                    </a:cubicBezTo>
                    <a:cubicBezTo>
                      <a:pt x="251" y="390"/>
                      <a:pt x="250" y="390"/>
                      <a:pt x="250" y="390"/>
                    </a:cubicBezTo>
                    <a:cubicBezTo>
                      <a:pt x="250" y="390"/>
                      <a:pt x="250" y="389"/>
                      <a:pt x="249" y="389"/>
                    </a:cubicBezTo>
                    <a:cubicBezTo>
                      <a:pt x="249" y="388"/>
                      <a:pt x="249" y="388"/>
                      <a:pt x="248" y="388"/>
                    </a:cubicBezTo>
                    <a:cubicBezTo>
                      <a:pt x="248" y="388"/>
                      <a:pt x="248" y="388"/>
                      <a:pt x="247" y="387"/>
                    </a:cubicBezTo>
                    <a:cubicBezTo>
                      <a:pt x="247" y="387"/>
                      <a:pt x="247" y="387"/>
                      <a:pt x="247" y="387"/>
                    </a:cubicBezTo>
                    <a:cubicBezTo>
                      <a:pt x="247" y="386"/>
                      <a:pt x="246" y="387"/>
                      <a:pt x="246" y="387"/>
                    </a:cubicBezTo>
                    <a:cubicBezTo>
                      <a:pt x="245" y="387"/>
                      <a:pt x="246" y="387"/>
                      <a:pt x="245" y="386"/>
                    </a:cubicBezTo>
                    <a:cubicBezTo>
                      <a:pt x="245" y="386"/>
                      <a:pt x="245" y="386"/>
                      <a:pt x="245" y="386"/>
                    </a:cubicBezTo>
                    <a:cubicBezTo>
                      <a:pt x="244" y="386"/>
                      <a:pt x="244" y="386"/>
                      <a:pt x="244" y="386"/>
                    </a:cubicBezTo>
                    <a:cubicBezTo>
                      <a:pt x="243" y="386"/>
                      <a:pt x="243" y="386"/>
                      <a:pt x="243" y="385"/>
                    </a:cubicBezTo>
                    <a:cubicBezTo>
                      <a:pt x="243" y="385"/>
                      <a:pt x="242" y="385"/>
                      <a:pt x="242" y="385"/>
                    </a:cubicBezTo>
                    <a:cubicBezTo>
                      <a:pt x="242" y="385"/>
                      <a:pt x="241" y="385"/>
                      <a:pt x="241" y="385"/>
                    </a:cubicBezTo>
                    <a:cubicBezTo>
                      <a:pt x="240" y="385"/>
                      <a:pt x="240" y="385"/>
                      <a:pt x="240" y="384"/>
                    </a:cubicBezTo>
                    <a:cubicBezTo>
                      <a:pt x="239" y="384"/>
                      <a:pt x="236" y="383"/>
                      <a:pt x="237" y="382"/>
                    </a:cubicBezTo>
                    <a:cubicBezTo>
                      <a:pt x="237" y="381"/>
                      <a:pt x="238" y="380"/>
                      <a:pt x="236" y="379"/>
                    </a:cubicBezTo>
                    <a:cubicBezTo>
                      <a:pt x="236" y="379"/>
                      <a:pt x="235" y="379"/>
                      <a:pt x="234" y="379"/>
                    </a:cubicBezTo>
                    <a:cubicBezTo>
                      <a:pt x="234" y="379"/>
                      <a:pt x="233" y="379"/>
                      <a:pt x="233" y="379"/>
                    </a:cubicBezTo>
                    <a:cubicBezTo>
                      <a:pt x="233" y="378"/>
                      <a:pt x="232" y="378"/>
                      <a:pt x="232" y="378"/>
                    </a:cubicBezTo>
                    <a:cubicBezTo>
                      <a:pt x="231" y="377"/>
                      <a:pt x="231" y="378"/>
                      <a:pt x="230" y="377"/>
                    </a:cubicBezTo>
                    <a:cubicBezTo>
                      <a:pt x="230" y="377"/>
                      <a:pt x="229" y="376"/>
                      <a:pt x="229" y="377"/>
                    </a:cubicBezTo>
                    <a:cubicBezTo>
                      <a:pt x="229" y="377"/>
                      <a:pt x="229" y="378"/>
                      <a:pt x="228" y="378"/>
                    </a:cubicBezTo>
                    <a:cubicBezTo>
                      <a:pt x="228" y="378"/>
                      <a:pt x="227" y="377"/>
                      <a:pt x="227" y="377"/>
                    </a:cubicBezTo>
                    <a:cubicBezTo>
                      <a:pt x="227" y="377"/>
                      <a:pt x="226" y="377"/>
                      <a:pt x="226" y="377"/>
                    </a:cubicBezTo>
                    <a:cubicBezTo>
                      <a:pt x="225" y="377"/>
                      <a:pt x="224" y="377"/>
                      <a:pt x="224" y="377"/>
                    </a:cubicBezTo>
                    <a:cubicBezTo>
                      <a:pt x="223" y="377"/>
                      <a:pt x="223" y="378"/>
                      <a:pt x="223" y="378"/>
                    </a:cubicBezTo>
                    <a:cubicBezTo>
                      <a:pt x="223" y="378"/>
                      <a:pt x="222" y="378"/>
                      <a:pt x="222" y="378"/>
                    </a:cubicBezTo>
                    <a:cubicBezTo>
                      <a:pt x="222" y="379"/>
                      <a:pt x="222" y="379"/>
                      <a:pt x="221" y="379"/>
                    </a:cubicBezTo>
                    <a:cubicBezTo>
                      <a:pt x="221" y="379"/>
                      <a:pt x="220" y="379"/>
                      <a:pt x="220" y="379"/>
                    </a:cubicBezTo>
                    <a:cubicBezTo>
                      <a:pt x="220" y="379"/>
                      <a:pt x="219" y="378"/>
                      <a:pt x="219" y="378"/>
                    </a:cubicBezTo>
                    <a:cubicBezTo>
                      <a:pt x="219" y="378"/>
                      <a:pt x="220" y="377"/>
                      <a:pt x="220" y="377"/>
                    </a:cubicBezTo>
                    <a:cubicBezTo>
                      <a:pt x="220" y="377"/>
                      <a:pt x="219" y="377"/>
                      <a:pt x="218" y="376"/>
                    </a:cubicBezTo>
                    <a:cubicBezTo>
                      <a:pt x="218" y="376"/>
                      <a:pt x="218" y="376"/>
                      <a:pt x="217" y="376"/>
                    </a:cubicBezTo>
                    <a:cubicBezTo>
                      <a:pt x="216" y="375"/>
                      <a:pt x="216" y="375"/>
                      <a:pt x="215" y="375"/>
                    </a:cubicBezTo>
                    <a:cubicBezTo>
                      <a:pt x="214" y="375"/>
                      <a:pt x="214" y="375"/>
                      <a:pt x="213" y="375"/>
                    </a:cubicBezTo>
                    <a:cubicBezTo>
                      <a:pt x="212" y="374"/>
                      <a:pt x="212" y="373"/>
                      <a:pt x="211" y="373"/>
                    </a:cubicBezTo>
                    <a:cubicBezTo>
                      <a:pt x="210" y="372"/>
                      <a:pt x="210" y="372"/>
                      <a:pt x="209" y="372"/>
                    </a:cubicBezTo>
                    <a:cubicBezTo>
                      <a:pt x="208" y="373"/>
                      <a:pt x="207" y="372"/>
                      <a:pt x="207" y="372"/>
                    </a:cubicBezTo>
                    <a:cubicBezTo>
                      <a:pt x="206" y="372"/>
                      <a:pt x="205" y="371"/>
                      <a:pt x="205" y="372"/>
                    </a:cubicBezTo>
                    <a:cubicBezTo>
                      <a:pt x="204" y="372"/>
                      <a:pt x="204" y="372"/>
                      <a:pt x="203" y="372"/>
                    </a:cubicBezTo>
                    <a:cubicBezTo>
                      <a:pt x="203" y="372"/>
                      <a:pt x="202" y="372"/>
                      <a:pt x="201" y="372"/>
                    </a:cubicBezTo>
                    <a:cubicBezTo>
                      <a:pt x="200" y="372"/>
                      <a:pt x="199" y="372"/>
                      <a:pt x="198" y="371"/>
                    </a:cubicBezTo>
                    <a:cubicBezTo>
                      <a:pt x="197" y="370"/>
                      <a:pt x="197" y="370"/>
                      <a:pt x="196" y="370"/>
                    </a:cubicBezTo>
                    <a:cubicBezTo>
                      <a:pt x="196" y="370"/>
                      <a:pt x="195" y="370"/>
                      <a:pt x="195" y="370"/>
                    </a:cubicBezTo>
                    <a:cubicBezTo>
                      <a:pt x="194" y="370"/>
                      <a:pt x="193" y="370"/>
                      <a:pt x="193" y="369"/>
                    </a:cubicBezTo>
                    <a:cubicBezTo>
                      <a:pt x="192" y="369"/>
                      <a:pt x="192" y="369"/>
                      <a:pt x="191" y="369"/>
                    </a:cubicBezTo>
                    <a:cubicBezTo>
                      <a:pt x="190" y="368"/>
                      <a:pt x="190" y="369"/>
                      <a:pt x="189" y="369"/>
                    </a:cubicBezTo>
                    <a:cubicBezTo>
                      <a:pt x="188" y="368"/>
                      <a:pt x="187" y="368"/>
                      <a:pt x="186" y="368"/>
                    </a:cubicBezTo>
                    <a:cubicBezTo>
                      <a:pt x="185" y="368"/>
                      <a:pt x="185" y="369"/>
                      <a:pt x="185" y="370"/>
                    </a:cubicBezTo>
                    <a:cubicBezTo>
                      <a:pt x="184" y="370"/>
                      <a:pt x="184" y="370"/>
                      <a:pt x="184" y="369"/>
                    </a:cubicBezTo>
                    <a:cubicBezTo>
                      <a:pt x="184" y="369"/>
                      <a:pt x="183" y="369"/>
                      <a:pt x="183" y="368"/>
                    </a:cubicBezTo>
                    <a:cubicBezTo>
                      <a:pt x="181" y="368"/>
                      <a:pt x="180" y="367"/>
                      <a:pt x="179" y="366"/>
                    </a:cubicBezTo>
                    <a:cubicBezTo>
                      <a:pt x="178" y="365"/>
                      <a:pt x="177" y="364"/>
                      <a:pt x="176" y="363"/>
                    </a:cubicBezTo>
                    <a:cubicBezTo>
                      <a:pt x="176" y="363"/>
                      <a:pt x="175" y="362"/>
                      <a:pt x="175" y="362"/>
                    </a:cubicBezTo>
                    <a:cubicBezTo>
                      <a:pt x="174" y="361"/>
                      <a:pt x="174" y="361"/>
                      <a:pt x="173" y="361"/>
                    </a:cubicBezTo>
                    <a:cubicBezTo>
                      <a:pt x="172" y="359"/>
                      <a:pt x="169" y="360"/>
                      <a:pt x="167" y="359"/>
                    </a:cubicBezTo>
                    <a:cubicBezTo>
                      <a:pt x="167" y="358"/>
                      <a:pt x="167" y="358"/>
                      <a:pt x="166" y="358"/>
                    </a:cubicBezTo>
                    <a:cubicBezTo>
                      <a:pt x="166" y="358"/>
                      <a:pt x="166" y="357"/>
                      <a:pt x="166" y="357"/>
                    </a:cubicBezTo>
                    <a:cubicBezTo>
                      <a:pt x="166" y="357"/>
                      <a:pt x="166" y="357"/>
                      <a:pt x="166" y="357"/>
                    </a:cubicBezTo>
                    <a:cubicBezTo>
                      <a:pt x="165" y="357"/>
                      <a:pt x="165" y="357"/>
                      <a:pt x="165" y="357"/>
                    </a:cubicBezTo>
                    <a:cubicBezTo>
                      <a:pt x="165" y="356"/>
                      <a:pt x="164" y="356"/>
                      <a:pt x="164" y="356"/>
                    </a:cubicBezTo>
                    <a:cubicBezTo>
                      <a:pt x="164" y="356"/>
                      <a:pt x="164" y="356"/>
                      <a:pt x="164" y="357"/>
                    </a:cubicBezTo>
                    <a:cubicBezTo>
                      <a:pt x="163" y="357"/>
                      <a:pt x="163" y="356"/>
                      <a:pt x="163" y="356"/>
                    </a:cubicBezTo>
                    <a:cubicBezTo>
                      <a:pt x="161" y="356"/>
                      <a:pt x="160" y="356"/>
                      <a:pt x="160" y="355"/>
                    </a:cubicBezTo>
                    <a:cubicBezTo>
                      <a:pt x="159" y="354"/>
                      <a:pt x="159" y="353"/>
                      <a:pt x="158" y="352"/>
                    </a:cubicBezTo>
                    <a:cubicBezTo>
                      <a:pt x="156" y="352"/>
                      <a:pt x="155" y="351"/>
                      <a:pt x="154" y="351"/>
                    </a:cubicBezTo>
                    <a:cubicBezTo>
                      <a:pt x="154" y="351"/>
                      <a:pt x="153" y="351"/>
                      <a:pt x="153" y="351"/>
                    </a:cubicBezTo>
                    <a:cubicBezTo>
                      <a:pt x="152" y="350"/>
                      <a:pt x="153" y="350"/>
                      <a:pt x="153" y="350"/>
                    </a:cubicBezTo>
                    <a:cubicBezTo>
                      <a:pt x="153" y="350"/>
                      <a:pt x="154" y="350"/>
                      <a:pt x="155" y="350"/>
                    </a:cubicBezTo>
                    <a:cubicBezTo>
                      <a:pt x="155" y="350"/>
                      <a:pt x="156" y="349"/>
                      <a:pt x="155" y="349"/>
                    </a:cubicBezTo>
                    <a:cubicBezTo>
                      <a:pt x="155" y="349"/>
                      <a:pt x="154" y="349"/>
                      <a:pt x="154" y="349"/>
                    </a:cubicBezTo>
                    <a:cubicBezTo>
                      <a:pt x="154" y="349"/>
                      <a:pt x="154" y="349"/>
                      <a:pt x="154" y="349"/>
                    </a:cubicBezTo>
                    <a:cubicBezTo>
                      <a:pt x="154" y="349"/>
                      <a:pt x="154" y="349"/>
                      <a:pt x="154" y="349"/>
                    </a:cubicBezTo>
                    <a:cubicBezTo>
                      <a:pt x="154" y="349"/>
                      <a:pt x="154" y="349"/>
                      <a:pt x="154" y="349"/>
                    </a:cubicBezTo>
                    <a:cubicBezTo>
                      <a:pt x="154" y="349"/>
                      <a:pt x="154" y="348"/>
                      <a:pt x="154" y="349"/>
                    </a:cubicBezTo>
                    <a:cubicBezTo>
                      <a:pt x="153" y="349"/>
                      <a:pt x="153" y="349"/>
                      <a:pt x="153" y="349"/>
                    </a:cubicBezTo>
                    <a:cubicBezTo>
                      <a:pt x="153" y="349"/>
                      <a:pt x="154" y="348"/>
                      <a:pt x="154" y="348"/>
                    </a:cubicBezTo>
                    <a:cubicBezTo>
                      <a:pt x="154" y="348"/>
                      <a:pt x="155" y="348"/>
                      <a:pt x="155" y="348"/>
                    </a:cubicBezTo>
                    <a:cubicBezTo>
                      <a:pt x="156" y="348"/>
                      <a:pt x="157" y="349"/>
                      <a:pt x="157" y="349"/>
                    </a:cubicBezTo>
                    <a:cubicBezTo>
                      <a:pt x="157" y="350"/>
                      <a:pt x="157" y="349"/>
                      <a:pt x="157" y="350"/>
                    </a:cubicBezTo>
                    <a:cubicBezTo>
                      <a:pt x="156" y="350"/>
                      <a:pt x="159" y="350"/>
                      <a:pt x="159" y="350"/>
                    </a:cubicBezTo>
                    <a:cubicBezTo>
                      <a:pt x="158" y="349"/>
                      <a:pt x="158" y="349"/>
                      <a:pt x="157" y="349"/>
                    </a:cubicBezTo>
                    <a:cubicBezTo>
                      <a:pt x="157" y="349"/>
                      <a:pt x="159" y="349"/>
                      <a:pt x="159" y="349"/>
                    </a:cubicBezTo>
                    <a:cubicBezTo>
                      <a:pt x="160" y="349"/>
                      <a:pt x="160" y="349"/>
                      <a:pt x="160" y="349"/>
                    </a:cubicBezTo>
                    <a:cubicBezTo>
                      <a:pt x="160" y="349"/>
                      <a:pt x="162" y="349"/>
                      <a:pt x="161" y="349"/>
                    </a:cubicBezTo>
                    <a:cubicBezTo>
                      <a:pt x="161" y="349"/>
                      <a:pt x="161" y="349"/>
                      <a:pt x="162" y="349"/>
                    </a:cubicBezTo>
                    <a:cubicBezTo>
                      <a:pt x="162" y="349"/>
                      <a:pt x="162" y="349"/>
                      <a:pt x="162" y="349"/>
                    </a:cubicBezTo>
                    <a:cubicBezTo>
                      <a:pt x="162" y="349"/>
                      <a:pt x="162" y="349"/>
                      <a:pt x="162" y="348"/>
                    </a:cubicBezTo>
                    <a:cubicBezTo>
                      <a:pt x="162" y="348"/>
                      <a:pt x="162" y="348"/>
                      <a:pt x="162" y="348"/>
                    </a:cubicBezTo>
                    <a:cubicBezTo>
                      <a:pt x="162" y="347"/>
                      <a:pt x="162" y="347"/>
                      <a:pt x="162" y="347"/>
                    </a:cubicBezTo>
                    <a:cubicBezTo>
                      <a:pt x="162" y="346"/>
                      <a:pt x="161" y="346"/>
                      <a:pt x="161" y="346"/>
                    </a:cubicBezTo>
                    <a:cubicBezTo>
                      <a:pt x="161" y="346"/>
                      <a:pt x="161" y="346"/>
                      <a:pt x="161" y="347"/>
                    </a:cubicBezTo>
                    <a:cubicBezTo>
                      <a:pt x="161" y="347"/>
                      <a:pt x="161" y="347"/>
                      <a:pt x="161" y="347"/>
                    </a:cubicBezTo>
                    <a:cubicBezTo>
                      <a:pt x="161" y="347"/>
                      <a:pt x="161" y="348"/>
                      <a:pt x="161" y="348"/>
                    </a:cubicBezTo>
                    <a:cubicBezTo>
                      <a:pt x="161" y="348"/>
                      <a:pt x="160" y="345"/>
                      <a:pt x="161" y="345"/>
                    </a:cubicBezTo>
                    <a:cubicBezTo>
                      <a:pt x="161" y="345"/>
                      <a:pt x="161" y="346"/>
                      <a:pt x="162" y="346"/>
                    </a:cubicBezTo>
                    <a:cubicBezTo>
                      <a:pt x="161" y="345"/>
                      <a:pt x="162" y="345"/>
                      <a:pt x="162" y="345"/>
                    </a:cubicBezTo>
                    <a:cubicBezTo>
                      <a:pt x="163" y="344"/>
                      <a:pt x="163" y="344"/>
                      <a:pt x="163" y="343"/>
                    </a:cubicBezTo>
                    <a:cubicBezTo>
                      <a:pt x="163" y="343"/>
                      <a:pt x="163" y="342"/>
                      <a:pt x="163" y="341"/>
                    </a:cubicBezTo>
                    <a:cubicBezTo>
                      <a:pt x="163" y="341"/>
                      <a:pt x="164" y="341"/>
                      <a:pt x="164" y="341"/>
                    </a:cubicBezTo>
                    <a:cubicBezTo>
                      <a:pt x="164" y="341"/>
                      <a:pt x="164" y="341"/>
                      <a:pt x="164" y="341"/>
                    </a:cubicBezTo>
                    <a:cubicBezTo>
                      <a:pt x="164" y="341"/>
                      <a:pt x="164" y="342"/>
                      <a:pt x="164" y="342"/>
                    </a:cubicBezTo>
                    <a:cubicBezTo>
                      <a:pt x="164" y="342"/>
                      <a:pt x="164" y="342"/>
                      <a:pt x="164" y="342"/>
                    </a:cubicBezTo>
                    <a:cubicBezTo>
                      <a:pt x="164" y="343"/>
                      <a:pt x="163" y="344"/>
                      <a:pt x="164" y="344"/>
                    </a:cubicBezTo>
                    <a:cubicBezTo>
                      <a:pt x="164" y="344"/>
                      <a:pt x="165" y="342"/>
                      <a:pt x="165" y="342"/>
                    </a:cubicBezTo>
                    <a:cubicBezTo>
                      <a:pt x="165" y="341"/>
                      <a:pt x="165" y="340"/>
                      <a:pt x="166" y="340"/>
                    </a:cubicBezTo>
                    <a:cubicBezTo>
                      <a:pt x="166" y="341"/>
                      <a:pt x="167" y="342"/>
                      <a:pt x="168" y="341"/>
                    </a:cubicBezTo>
                    <a:cubicBezTo>
                      <a:pt x="169" y="341"/>
                      <a:pt x="167" y="340"/>
                      <a:pt x="167" y="340"/>
                    </a:cubicBezTo>
                    <a:cubicBezTo>
                      <a:pt x="166" y="339"/>
                      <a:pt x="165" y="338"/>
                      <a:pt x="163" y="337"/>
                    </a:cubicBezTo>
                    <a:cubicBezTo>
                      <a:pt x="163" y="338"/>
                      <a:pt x="163" y="338"/>
                      <a:pt x="163" y="338"/>
                    </a:cubicBezTo>
                    <a:cubicBezTo>
                      <a:pt x="163" y="337"/>
                      <a:pt x="162" y="337"/>
                      <a:pt x="162" y="337"/>
                    </a:cubicBezTo>
                    <a:cubicBezTo>
                      <a:pt x="161" y="337"/>
                      <a:pt x="160" y="335"/>
                      <a:pt x="160" y="335"/>
                    </a:cubicBezTo>
                    <a:cubicBezTo>
                      <a:pt x="160" y="335"/>
                      <a:pt x="162" y="335"/>
                      <a:pt x="162" y="335"/>
                    </a:cubicBezTo>
                    <a:cubicBezTo>
                      <a:pt x="162" y="335"/>
                      <a:pt x="163" y="335"/>
                      <a:pt x="163" y="335"/>
                    </a:cubicBezTo>
                    <a:cubicBezTo>
                      <a:pt x="164" y="334"/>
                      <a:pt x="165" y="334"/>
                      <a:pt x="165" y="334"/>
                    </a:cubicBezTo>
                    <a:cubicBezTo>
                      <a:pt x="166" y="335"/>
                      <a:pt x="168" y="335"/>
                      <a:pt x="168" y="334"/>
                    </a:cubicBezTo>
                    <a:cubicBezTo>
                      <a:pt x="167" y="334"/>
                      <a:pt x="166" y="333"/>
                      <a:pt x="166" y="334"/>
                    </a:cubicBezTo>
                    <a:cubicBezTo>
                      <a:pt x="165" y="334"/>
                      <a:pt x="166" y="332"/>
                      <a:pt x="167" y="332"/>
                    </a:cubicBezTo>
                    <a:cubicBezTo>
                      <a:pt x="167" y="333"/>
                      <a:pt x="168" y="333"/>
                      <a:pt x="169" y="332"/>
                    </a:cubicBezTo>
                    <a:cubicBezTo>
                      <a:pt x="169" y="332"/>
                      <a:pt x="169" y="332"/>
                      <a:pt x="170" y="332"/>
                    </a:cubicBezTo>
                    <a:cubicBezTo>
                      <a:pt x="171" y="331"/>
                      <a:pt x="171" y="331"/>
                      <a:pt x="171" y="331"/>
                    </a:cubicBezTo>
                    <a:cubicBezTo>
                      <a:pt x="171" y="331"/>
                      <a:pt x="172" y="331"/>
                      <a:pt x="172" y="331"/>
                    </a:cubicBezTo>
                    <a:cubicBezTo>
                      <a:pt x="173" y="331"/>
                      <a:pt x="173" y="331"/>
                      <a:pt x="173" y="330"/>
                    </a:cubicBezTo>
                    <a:cubicBezTo>
                      <a:pt x="173" y="330"/>
                      <a:pt x="173" y="330"/>
                      <a:pt x="174" y="330"/>
                    </a:cubicBezTo>
                    <a:cubicBezTo>
                      <a:pt x="174" y="329"/>
                      <a:pt x="173" y="330"/>
                      <a:pt x="173" y="330"/>
                    </a:cubicBezTo>
                    <a:cubicBezTo>
                      <a:pt x="173" y="330"/>
                      <a:pt x="173" y="329"/>
                      <a:pt x="173" y="328"/>
                    </a:cubicBezTo>
                    <a:cubicBezTo>
                      <a:pt x="172" y="328"/>
                      <a:pt x="171" y="328"/>
                      <a:pt x="170" y="328"/>
                    </a:cubicBezTo>
                    <a:cubicBezTo>
                      <a:pt x="170" y="328"/>
                      <a:pt x="170" y="328"/>
                      <a:pt x="170" y="328"/>
                    </a:cubicBezTo>
                    <a:cubicBezTo>
                      <a:pt x="170" y="328"/>
                      <a:pt x="170" y="329"/>
                      <a:pt x="170" y="329"/>
                    </a:cubicBezTo>
                    <a:cubicBezTo>
                      <a:pt x="169" y="329"/>
                      <a:pt x="168" y="329"/>
                      <a:pt x="168" y="329"/>
                    </a:cubicBezTo>
                    <a:cubicBezTo>
                      <a:pt x="167" y="330"/>
                      <a:pt x="167" y="330"/>
                      <a:pt x="166" y="330"/>
                    </a:cubicBezTo>
                    <a:cubicBezTo>
                      <a:pt x="166" y="329"/>
                      <a:pt x="167" y="328"/>
                      <a:pt x="167" y="328"/>
                    </a:cubicBezTo>
                    <a:cubicBezTo>
                      <a:pt x="168" y="328"/>
                      <a:pt x="169" y="329"/>
                      <a:pt x="169" y="328"/>
                    </a:cubicBezTo>
                    <a:cubicBezTo>
                      <a:pt x="168" y="328"/>
                      <a:pt x="167" y="328"/>
                      <a:pt x="167" y="328"/>
                    </a:cubicBezTo>
                    <a:cubicBezTo>
                      <a:pt x="166" y="329"/>
                      <a:pt x="166" y="329"/>
                      <a:pt x="165" y="330"/>
                    </a:cubicBezTo>
                    <a:cubicBezTo>
                      <a:pt x="165" y="330"/>
                      <a:pt x="164" y="330"/>
                      <a:pt x="164" y="329"/>
                    </a:cubicBezTo>
                    <a:cubicBezTo>
                      <a:pt x="164" y="329"/>
                      <a:pt x="164" y="329"/>
                      <a:pt x="164" y="328"/>
                    </a:cubicBezTo>
                    <a:cubicBezTo>
                      <a:pt x="165" y="328"/>
                      <a:pt x="164" y="328"/>
                      <a:pt x="164" y="327"/>
                    </a:cubicBezTo>
                    <a:cubicBezTo>
                      <a:pt x="163" y="327"/>
                      <a:pt x="164" y="327"/>
                      <a:pt x="164" y="327"/>
                    </a:cubicBezTo>
                    <a:cubicBezTo>
                      <a:pt x="164" y="326"/>
                      <a:pt x="164" y="325"/>
                      <a:pt x="164" y="325"/>
                    </a:cubicBezTo>
                    <a:cubicBezTo>
                      <a:pt x="165" y="324"/>
                      <a:pt x="165" y="324"/>
                      <a:pt x="166" y="324"/>
                    </a:cubicBezTo>
                    <a:cubicBezTo>
                      <a:pt x="167" y="324"/>
                      <a:pt x="167" y="324"/>
                      <a:pt x="167" y="324"/>
                    </a:cubicBezTo>
                    <a:cubicBezTo>
                      <a:pt x="168" y="324"/>
                      <a:pt x="168" y="322"/>
                      <a:pt x="168" y="322"/>
                    </a:cubicBezTo>
                    <a:cubicBezTo>
                      <a:pt x="169" y="321"/>
                      <a:pt x="170" y="322"/>
                      <a:pt x="171" y="322"/>
                    </a:cubicBezTo>
                    <a:cubicBezTo>
                      <a:pt x="172" y="322"/>
                      <a:pt x="173" y="322"/>
                      <a:pt x="174" y="322"/>
                    </a:cubicBezTo>
                    <a:cubicBezTo>
                      <a:pt x="174" y="322"/>
                      <a:pt x="175" y="322"/>
                      <a:pt x="176" y="322"/>
                    </a:cubicBezTo>
                    <a:cubicBezTo>
                      <a:pt x="177" y="321"/>
                      <a:pt x="175" y="320"/>
                      <a:pt x="176" y="320"/>
                    </a:cubicBezTo>
                    <a:cubicBezTo>
                      <a:pt x="176" y="319"/>
                      <a:pt x="176" y="318"/>
                      <a:pt x="177" y="318"/>
                    </a:cubicBezTo>
                    <a:cubicBezTo>
                      <a:pt x="177" y="318"/>
                      <a:pt x="178" y="317"/>
                      <a:pt x="177" y="317"/>
                    </a:cubicBezTo>
                    <a:cubicBezTo>
                      <a:pt x="177" y="317"/>
                      <a:pt x="176" y="317"/>
                      <a:pt x="176" y="317"/>
                    </a:cubicBezTo>
                    <a:cubicBezTo>
                      <a:pt x="176" y="317"/>
                      <a:pt x="176" y="316"/>
                      <a:pt x="176" y="316"/>
                    </a:cubicBezTo>
                    <a:cubicBezTo>
                      <a:pt x="176" y="316"/>
                      <a:pt x="176" y="316"/>
                      <a:pt x="176" y="316"/>
                    </a:cubicBezTo>
                    <a:cubicBezTo>
                      <a:pt x="176" y="315"/>
                      <a:pt x="175" y="315"/>
                      <a:pt x="176" y="315"/>
                    </a:cubicBezTo>
                    <a:cubicBezTo>
                      <a:pt x="176" y="315"/>
                      <a:pt x="176" y="315"/>
                      <a:pt x="175" y="314"/>
                    </a:cubicBezTo>
                    <a:cubicBezTo>
                      <a:pt x="175" y="314"/>
                      <a:pt x="173" y="315"/>
                      <a:pt x="174" y="313"/>
                    </a:cubicBezTo>
                    <a:cubicBezTo>
                      <a:pt x="174" y="313"/>
                      <a:pt x="174" y="312"/>
                      <a:pt x="175" y="312"/>
                    </a:cubicBezTo>
                    <a:cubicBezTo>
                      <a:pt x="175" y="312"/>
                      <a:pt x="175" y="312"/>
                      <a:pt x="176" y="312"/>
                    </a:cubicBezTo>
                    <a:cubicBezTo>
                      <a:pt x="176" y="312"/>
                      <a:pt x="177" y="312"/>
                      <a:pt x="177" y="311"/>
                    </a:cubicBezTo>
                    <a:cubicBezTo>
                      <a:pt x="177" y="311"/>
                      <a:pt x="177" y="311"/>
                      <a:pt x="176" y="311"/>
                    </a:cubicBezTo>
                    <a:cubicBezTo>
                      <a:pt x="175" y="311"/>
                      <a:pt x="174" y="311"/>
                      <a:pt x="173" y="310"/>
                    </a:cubicBezTo>
                    <a:cubicBezTo>
                      <a:pt x="173" y="309"/>
                      <a:pt x="175" y="309"/>
                      <a:pt x="175" y="309"/>
                    </a:cubicBezTo>
                    <a:cubicBezTo>
                      <a:pt x="175" y="309"/>
                      <a:pt x="175" y="308"/>
                      <a:pt x="176" y="308"/>
                    </a:cubicBezTo>
                    <a:cubicBezTo>
                      <a:pt x="176" y="308"/>
                      <a:pt x="176" y="308"/>
                      <a:pt x="176" y="308"/>
                    </a:cubicBezTo>
                    <a:cubicBezTo>
                      <a:pt x="177" y="307"/>
                      <a:pt x="177" y="307"/>
                      <a:pt x="177" y="306"/>
                    </a:cubicBezTo>
                    <a:cubicBezTo>
                      <a:pt x="177" y="305"/>
                      <a:pt x="176" y="305"/>
                      <a:pt x="176" y="305"/>
                    </a:cubicBezTo>
                    <a:cubicBezTo>
                      <a:pt x="175" y="304"/>
                      <a:pt x="176" y="304"/>
                      <a:pt x="176" y="303"/>
                    </a:cubicBezTo>
                    <a:cubicBezTo>
                      <a:pt x="177" y="303"/>
                      <a:pt x="175" y="303"/>
                      <a:pt x="175" y="303"/>
                    </a:cubicBezTo>
                    <a:cubicBezTo>
                      <a:pt x="174" y="303"/>
                      <a:pt x="174" y="304"/>
                      <a:pt x="173" y="304"/>
                    </a:cubicBezTo>
                    <a:cubicBezTo>
                      <a:pt x="173" y="303"/>
                      <a:pt x="172" y="303"/>
                      <a:pt x="172" y="303"/>
                    </a:cubicBezTo>
                    <a:cubicBezTo>
                      <a:pt x="171" y="302"/>
                      <a:pt x="171" y="302"/>
                      <a:pt x="171" y="302"/>
                    </a:cubicBezTo>
                    <a:cubicBezTo>
                      <a:pt x="170" y="302"/>
                      <a:pt x="169" y="302"/>
                      <a:pt x="169" y="302"/>
                    </a:cubicBezTo>
                    <a:cubicBezTo>
                      <a:pt x="168" y="301"/>
                      <a:pt x="168" y="301"/>
                      <a:pt x="168" y="300"/>
                    </a:cubicBezTo>
                    <a:cubicBezTo>
                      <a:pt x="167" y="300"/>
                      <a:pt x="167" y="301"/>
                      <a:pt x="167" y="301"/>
                    </a:cubicBezTo>
                    <a:cubicBezTo>
                      <a:pt x="166" y="301"/>
                      <a:pt x="166" y="301"/>
                      <a:pt x="165" y="300"/>
                    </a:cubicBezTo>
                    <a:cubicBezTo>
                      <a:pt x="165" y="300"/>
                      <a:pt x="164" y="300"/>
                      <a:pt x="164" y="300"/>
                    </a:cubicBezTo>
                    <a:cubicBezTo>
                      <a:pt x="163" y="300"/>
                      <a:pt x="163" y="299"/>
                      <a:pt x="163" y="299"/>
                    </a:cubicBezTo>
                    <a:cubicBezTo>
                      <a:pt x="163" y="299"/>
                      <a:pt x="162" y="299"/>
                      <a:pt x="162" y="299"/>
                    </a:cubicBezTo>
                    <a:cubicBezTo>
                      <a:pt x="162" y="299"/>
                      <a:pt x="161" y="299"/>
                      <a:pt x="161" y="299"/>
                    </a:cubicBezTo>
                    <a:cubicBezTo>
                      <a:pt x="160" y="299"/>
                      <a:pt x="160" y="298"/>
                      <a:pt x="160" y="298"/>
                    </a:cubicBezTo>
                    <a:cubicBezTo>
                      <a:pt x="159" y="298"/>
                      <a:pt x="159" y="298"/>
                      <a:pt x="159" y="299"/>
                    </a:cubicBezTo>
                    <a:cubicBezTo>
                      <a:pt x="159" y="300"/>
                      <a:pt x="159" y="299"/>
                      <a:pt x="158" y="300"/>
                    </a:cubicBezTo>
                    <a:cubicBezTo>
                      <a:pt x="158" y="300"/>
                      <a:pt x="158" y="300"/>
                      <a:pt x="157" y="299"/>
                    </a:cubicBezTo>
                    <a:cubicBezTo>
                      <a:pt x="157" y="299"/>
                      <a:pt x="156" y="299"/>
                      <a:pt x="156" y="298"/>
                    </a:cubicBezTo>
                    <a:cubicBezTo>
                      <a:pt x="155" y="298"/>
                      <a:pt x="154" y="297"/>
                      <a:pt x="154" y="297"/>
                    </a:cubicBezTo>
                    <a:cubicBezTo>
                      <a:pt x="154" y="297"/>
                      <a:pt x="154" y="296"/>
                      <a:pt x="154" y="296"/>
                    </a:cubicBezTo>
                    <a:cubicBezTo>
                      <a:pt x="153" y="295"/>
                      <a:pt x="153" y="295"/>
                      <a:pt x="152" y="295"/>
                    </a:cubicBezTo>
                    <a:cubicBezTo>
                      <a:pt x="152" y="294"/>
                      <a:pt x="152" y="294"/>
                      <a:pt x="152" y="294"/>
                    </a:cubicBezTo>
                    <a:cubicBezTo>
                      <a:pt x="151" y="294"/>
                      <a:pt x="150" y="295"/>
                      <a:pt x="149" y="295"/>
                    </a:cubicBezTo>
                    <a:cubicBezTo>
                      <a:pt x="148" y="295"/>
                      <a:pt x="148" y="295"/>
                      <a:pt x="147" y="296"/>
                    </a:cubicBezTo>
                    <a:cubicBezTo>
                      <a:pt x="146" y="296"/>
                      <a:pt x="146" y="296"/>
                      <a:pt x="146" y="297"/>
                    </a:cubicBezTo>
                    <a:cubicBezTo>
                      <a:pt x="145" y="297"/>
                      <a:pt x="145" y="297"/>
                      <a:pt x="145" y="296"/>
                    </a:cubicBezTo>
                    <a:cubicBezTo>
                      <a:pt x="145" y="296"/>
                      <a:pt x="145" y="296"/>
                      <a:pt x="145" y="296"/>
                    </a:cubicBezTo>
                    <a:cubicBezTo>
                      <a:pt x="145" y="296"/>
                      <a:pt x="144" y="296"/>
                      <a:pt x="144" y="296"/>
                    </a:cubicBezTo>
                    <a:cubicBezTo>
                      <a:pt x="144" y="295"/>
                      <a:pt x="144" y="296"/>
                      <a:pt x="143" y="296"/>
                    </a:cubicBezTo>
                    <a:cubicBezTo>
                      <a:pt x="142" y="296"/>
                      <a:pt x="142" y="295"/>
                      <a:pt x="142" y="295"/>
                    </a:cubicBezTo>
                    <a:cubicBezTo>
                      <a:pt x="141" y="294"/>
                      <a:pt x="139" y="294"/>
                      <a:pt x="138" y="295"/>
                    </a:cubicBezTo>
                    <a:cubicBezTo>
                      <a:pt x="137" y="295"/>
                      <a:pt x="137" y="295"/>
                      <a:pt x="136" y="294"/>
                    </a:cubicBezTo>
                    <a:cubicBezTo>
                      <a:pt x="136" y="294"/>
                      <a:pt x="135" y="294"/>
                      <a:pt x="135" y="293"/>
                    </a:cubicBezTo>
                    <a:cubicBezTo>
                      <a:pt x="135" y="293"/>
                      <a:pt x="134" y="292"/>
                      <a:pt x="135" y="292"/>
                    </a:cubicBezTo>
                    <a:cubicBezTo>
                      <a:pt x="135" y="292"/>
                      <a:pt x="135" y="291"/>
                      <a:pt x="135" y="291"/>
                    </a:cubicBezTo>
                    <a:cubicBezTo>
                      <a:pt x="134" y="290"/>
                      <a:pt x="134" y="289"/>
                      <a:pt x="133" y="289"/>
                    </a:cubicBezTo>
                    <a:cubicBezTo>
                      <a:pt x="133" y="289"/>
                      <a:pt x="133" y="288"/>
                      <a:pt x="134" y="288"/>
                    </a:cubicBezTo>
                    <a:cubicBezTo>
                      <a:pt x="134" y="288"/>
                      <a:pt x="132" y="288"/>
                      <a:pt x="132" y="288"/>
                    </a:cubicBezTo>
                    <a:cubicBezTo>
                      <a:pt x="131" y="287"/>
                      <a:pt x="132" y="286"/>
                      <a:pt x="131" y="286"/>
                    </a:cubicBezTo>
                    <a:cubicBezTo>
                      <a:pt x="130" y="285"/>
                      <a:pt x="128" y="287"/>
                      <a:pt x="127" y="286"/>
                    </a:cubicBezTo>
                    <a:cubicBezTo>
                      <a:pt x="127" y="286"/>
                      <a:pt x="126" y="286"/>
                      <a:pt x="125" y="286"/>
                    </a:cubicBezTo>
                    <a:cubicBezTo>
                      <a:pt x="125" y="285"/>
                      <a:pt x="125" y="286"/>
                      <a:pt x="124" y="286"/>
                    </a:cubicBezTo>
                    <a:cubicBezTo>
                      <a:pt x="124" y="286"/>
                      <a:pt x="124" y="286"/>
                      <a:pt x="124" y="286"/>
                    </a:cubicBezTo>
                    <a:cubicBezTo>
                      <a:pt x="124" y="285"/>
                      <a:pt x="124" y="285"/>
                      <a:pt x="124" y="285"/>
                    </a:cubicBezTo>
                    <a:cubicBezTo>
                      <a:pt x="124" y="284"/>
                      <a:pt x="124" y="284"/>
                      <a:pt x="124" y="284"/>
                    </a:cubicBezTo>
                    <a:cubicBezTo>
                      <a:pt x="123" y="284"/>
                      <a:pt x="124" y="283"/>
                      <a:pt x="123" y="283"/>
                    </a:cubicBezTo>
                    <a:cubicBezTo>
                      <a:pt x="123" y="282"/>
                      <a:pt x="123" y="282"/>
                      <a:pt x="123" y="282"/>
                    </a:cubicBezTo>
                    <a:cubicBezTo>
                      <a:pt x="123" y="282"/>
                      <a:pt x="122" y="281"/>
                      <a:pt x="122" y="281"/>
                    </a:cubicBezTo>
                    <a:cubicBezTo>
                      <a:pt x="122" y="281"/>
                      <a:pt x="123" y="281"/>
                      <a:pt x="123" y="281"/>
                    </a:cubicBezTo>
                    <a:cubicBezTo>
                      <a:pt x="124" y="281"/>
                      <a:pt x="125" y="281"/>
                      <a:pt x="125" y="280"/>
                    </a:cubicBezTo>
                    <a:cubicBezTo>
                      <a:pt x="125" y="280"/>
                      <a:pt x="124" y="279"/>
                      <a:pt x="123" y="279"/>
                    </a:cubicBezTo>
                    <a:cubicBezTo>
                      <a:pt x="123" y="279"/>
                      <a:pt x="122" y="278"/>
                      <a:pt x="122" y="278"/>
                    </a:cubicBezTo>
                    <a:cubicBezTo>
                      <a:pt x="121" y="277"/>
                      <a:pt x="122" y="276"/>
                      <a:pt x="121" y="275"/>
                    </a:cubicBezTo>
                    <a:cubicBezTo>
                      <a:pt x="120" y="275"/>
                      <a:pt x="119" y="274"/>
                      <a:pt x="119" y="274"/>
                    </a:cubicBezTo>
                    <a:cubicBezTo>
                      <a:pt x="118" y="274"/>
                      <a:pt x="118" y="274"/>
                      <a:pt x="117" y="274"/>
                    </a:cubicBezTo>
                    <a:cubicBezTo>
                      <a:pt x="117" y="274"/>
                      <a:pt x="117" y="275"/>
                      <a:pt x="116" y="275"/>
                    </a:cubicBezTo>
                    <a:cubicBezTo>
                      <a:pt x="116" y="274"/>
                      <a:pt x="116" y="274"/>
                      <a:pt x="116" y="274"/>
                    </a:cubicBezTo>
                    <a:cubicBezTo>
                      <a:pt x="115" y="274"/>
                      <a:pt x="115" y="274"/>
                      <a:pt x="114" y="274"/>
                    </a:cubicBezTo>
                    <a:cubicBezTo>
                      <a:pt x="113" y="274"/>
                      <a:pt x="113" y="275"/>
                      <a:pt x="112" y="275"/>
                    </a:cubicBezTo>
                    <a:cubicBezTo>
                      <a:pt x="111" y="275"/>
                      <a:pt x="110" y="275"/>
                      <a:pt x="109" y="274"/>
                    </a:cubicBezTo>
                    <a:cubicBezTo>
                      <a:pt x="108" y="274"/>
                      <a:pt x="107" y="274"/>
                      <a:pt x="107" y="275"/>
                    </a:cubicBezTo>
                    <a:cubicBezTo>
                      <a:pt x="107" y="275"/>
                      <a:pt x="107" y="276"/>
                      <a:pt x="106" y="276"/>
                    </a:cubicBezTo>
                    <a:cubicBezTo>
                      <a:pt x="106" y="277"/>
                      <a:pt x="105" y="277"/>
                      <a:pt x="104" y="277"/>
                    </a:cubicBezTo>
                    <a:cubicBezTo>
                      <a:pt x="104" y="277"/>
                      <a:pt x="103" y="277"/>
                      <a:pt x="103" y="277"/>
                    </a:cubicBezTo>
                    <a:cubicBezTo>
                      <a:pt x="103" y="277"/>
                      <a:pt x="103" y="277"/>
                      <a:pt x="102" y="277"/>
                    </a:cubicBezTo>
                    <a:cubicBezTo>
                      <a:pt x="102" y="276"/>
                      <a:pt x="101" y="276"/>
                      <a:pt x="101" y="275"/>
                    </a:cubicBezTo>
                    <a:cubicBezTo>
                      <a:pt x="101" y="275"/>
                      <a:pt x="101" y="275"/>
                      <a:pt x="101" y="275"/>
                    </a:cubicBezTo>
                    <a:cubicBezTo>
                      <a:pt x="100" y="274"/>
                      <a:pt x="101" y="275"/>
                      <a:pt x="101" y="274"/>
                    </a:cubicBezTo>
                    <a:cubicBezTo>
                      <a:pt x="100" y="273"/>
                      <a:pt x="100" y="273"/>
                      <a:pt x="100" y="272"/>
                    </a:cubicBezTo>
                    <a:cubicBezTo>
                      <a:pt x="100" y="272"/>
                      <a:pt x="100" y="272"/>
                      <a:pt x="100" y="272"/>
                    </a:cubicBezTo>
                    <a:cubicBezTo>
                      <a:pt x="100" y="271"/>
                      <a:pt x="99" y="271"/>
                      <a:pt x="99" y="270"/>
                    </a:cubicBezTo>
                    <a:cubicBezTo>
                      <a:pt x="100" y="270"/>
                      <a:pt x="100" y="269"/>
                      <a:pt x="99" y="269"/>
                    </a:cubicBezTo>
                    <a:cubicBezTo>
                      <a:pt x="98" y="268"/>
                      <a:pt x="98" y="268"/>
                      <a:pt x="97" y="267"/>
                    </a:cubicBezTo>
                    <a:cubicBezTo>
                      <a:pt x="97" y="267"/>
                      <a:pt x="98" y="266"/>
                      <a:pt x="97" y="266"/>
                    </a:cubicBezTo>
                    <a:cubicBezTo>
                      <a:pt x="97" y="265"/>
                      <a:pt x="98" y="265"/>
                      <a:pt x="99" y="265"/>
                    </a:cubicBezTo>
                    <a:cubicBezTo>
                      <a:pt x="100" y="265"/>
                      <a:pt x="100" y="265"/>
                      <a:pt x="101" y="266"/>
                    </a:cubicBezTo>
                    <a:cubicBezTo>
                      <a:pt x="101" y="266"/>
                      <a:pt x="103" y="266"/>
                      <a:pt x="104" y="266"/>
                    </a:cubicBezTo>
                    <a:cubicBezTo>
                      <a:pt x="104" y="266"/>
                      <a:pt x="105" y="266"/>
                      <a:pt x="105" y="266"/>
                    </a:cubicBezTo>
                    <a:cubicBezTo>
                      <a:pt x="106" y="265"/>
                      <a:pt x="106" y="265"/>
                      <a:pt x="106" y="265"/>
                    </a:cubicBezTo>
                    <a:cubicBezTo>
                      <a:pt x="106" y="264"/>
                      <a:pt x="106" y="264"/>
                      <a:pt x="106" y="264"/>
                    </a:cubicBezTo>
                    <a:cubicBezTo>
                      <a:pt x="106" y="264"/>
                      <a:pt x="108" y="264"/>
                      <a:pt x="108" y="264"/>
                    </a:cubicBezTo>
                    <a:cubicBezTo>
                      <a:pt x="109" y="264"/>
                      <a:pt x="108" y="263"/>
                      <a:pt x="108" y="262"/>
                    </a:cubicBezTo>
                    <a:cubicBezTo>
                      <a:pt x="108" y="262"/>
                      <a:pt x="105" y="261"/>
                      <a:pt x="105" y="260"/>
                    </a:cubicBezTo>
                    <a:cubicBezTo>
                      <a:pt x="106" y="260"/>
                      <a:pt x="106" y="260"/>
                      <a:pt x="105" y="260"/>
                    </a:cubicBezTo>
                    <a:cubicBezTo>
                      <a:pt x="104" y="259"/>
                      <a:pt x="103" y="259"/>
                      <a:pt x="102" y="259"/>
                    </a:cubicBezTo>
                    <a:cubicBezTo>
                      <a:pt x="102" y="259"/>
                      <a:pt x="100" y="259"/>
                      <a:pt x="100" y="259"/>
                    </a:cubicBezTo>
                    <a:cubicBezTo>
                      <a:pt x="100" y="258"/>
                      <a:pt x="101" y="257"/>
                      <a:pt x="100" y="256"/>
                    </a:cubicBezTo>
                    <a:cubicBezTo>
                      <a:pt x="99" y="256"/>
                      <a:pt x="98" y="256"/>
                      <a:pt x="98" y="255"/>
                    </a:cubicBezTo>
                    <a:cubicBezTo>
                      <a:pt x="97" y="255"/>
                      <a:pt x="96" y="255"/>
                      <a:pt x="96" y="254"/>
                    </a:cubicBezTo>
                    <a:cubicBezTo>
                      <a:pt x="95" y="254"/>
                      <a:pt x="95" y="252"/>
                      <a:pt x="94" y="252"/>
                    </a:cubicBezTo>
                    <a:cubicBezTo>
                      <a:pt x="94" y="252"/>
                      <a:pt x="93" y="252"/>
                      <a:pt x="93" y="251"/>
                    </a:cubicBezTo>
                    <a:cubicBezTo>
                      <a:pt x="93" y="251"/>
                      <a:pt x="93" y="251"/>
                      <a:pt x="94" y="251"/>
                    </a:cubicBezTo>
                    <a:cubicBezTo>
                      <a:pt x="94" y="250"/>
                      <a:pt x="93" y="250"/>
                      <a:pt x="92" y="250"/>
                    </a:cubicBezTo>
                    <a:cubicBezTo>
                      <a:pt x="92" y="249"/>
                      <a:pt x="91" y="249"/>
                      <a:pt x="90" y="249"/>
                    </a:cubicBezTo>
                    <a:cubicBezTo>
                      <a:pt x="90" y="248"/>
                      <a:pt x="91" y="248"/>
                      <a:pt x="91" y="248"/>
                    </a:cubicBezTo>
                    <a:cubicBezTo>
                      <a:pt x="91" y="247"/>
                      <a:pt x="90" y="247"/>
                      <a:pt x="91" y="247"/>
                    </a:cubicBezTo>
                    <a:cubicBezTo>
                      <a:pt x="91" y="247"/>
                      <a:pt x="91" y="247"/>
                      <a:pt x="91" y="247"/>
                    </a:cubicBezTo>
                    <a:cubicBezTo>
                      <a:pt x="91" y="246"/>
                      <a:pt x="91" y="246"/>
                      <a:pt x="91" y="246"/>
                    </a:cubicBezTo>
                    <a:cubicBezTo>
                      <a:pt x="91" y="246"/>
                      <a:pt x="92" y="246"/>
                      <a:pt x="92" y="246"/>
                    </a:cubicBezTo>
                    <a:cubicBezTo>
                      <a:pt x="92" y="245"/>
                      <a:pt x="91" y="245"/>
                      <a:pt x="91" y="244"/>
                    </a:cubicBezTo>
                    <a:cubicBezTo>
                      <a:pt x="91" y="244"/>
                      <a:pt x="91" y="244"/>
                      <a:pt x="90" y="244"/>
                    </a:cubicBezTo>
                    <a:cubicBezTo>
                      <a:pt x="90" y="244"/>
                      <a:pt x="90" y="244"/>
                      <a:pt x="90" y="243"/>
                    </a:cubicBezTo>
                    <a:cubicBezTo>
                      <a:pt x="90" y="243"/>
                      <a:pt x="90" y="243"/>
                      <a:pt x="90" y="242"/>
                    </a:cubicBezTo>
                    <a:cubicBezTo>
                      <a:pt x="91" y="242"/>
                      <a:pt x="90" y="240"/>
                      <a:pt x="90" y="240"/>
                    </a:cubicBezTo>
                    <a:cubicBezTo>
                      <a:pt x="90" y="240"/>
                      <a:pt x="89" y="240"/>
                      <a:pt x="89" y="240"/>
                    </a:cubicBezTo>
                    <a:cubicBezTo>
                      <a:pt x="89" y="239"/>
                      <a:pt x="88" y="240"/>
                      <a:pt x="88" y="239"/>
                    </a:cubicBezTo>
                    <a:cubicBezTo>
                      <a:pt x="87" y="239"/>
                      <a:pt x="88" y="239"/>
                      <a:pt x="88" y="239"/>
                    </a:cubicBezTo>
                    <a:cubicBezTo>
                      <a:pt x="87" y="239"/>
                      <a:pt x="87" y="239"/>
                      <a:pt x="87" y="238"/>
                    </a:cubicBezTo>
                    <a:cubicBezTo>
                      <a:pt x="86" y="238"/>
                      <a:pt x="87" y="238"/>
                      <a:pt x="86" y="238"/>
                    </a:cubicBezTo>
                    <a:cubicBezTo>
                      <a:pt x="86" y="238"/>
                      <a:pt x="86" y="238"/>
                      <a:pt x="85" y="238"/>
                    </a:cubicBezTo>
                    <a:cubicBezTo>
                      <a:pt x="85" y="238"/>
                      <a:pt x="84" y="237"/>
                      <a:pt x="84" y="238"/>
                    </a:cubicBezTo>
                    <a:cubicBezTo>
                      <a:pt x="83" y="238"/>
                      <a:pt x="83" y="237"/>
                      <a:pt x="82" y="237"/>
                    </a:cubicBezTo>
                    <a:cubicBezTo>
                      <a:pt x="81" y="238"/>
                      <a:pt x="81" y="238"/>
                      <a:pt x="81" y="238"/>
                    </a:cubicBezTo>
                    <a:cubicBezTo>
                      <a:pt x="80" y="238"/>
                      <a:pt x="80" y="238"/>
                      <a:pt x="79" y="239"/>
                    </a:cubicBezTo>
                    <a:cubicBezTo>
                      <a:pt x="78" y="240"/>
                      <a:pt x="77" y="238"/>
                      <a:pt x="77" y="238"/>
                    </a:cubicBezTo>
                    <a:cubicBezTo>
                      <a:pt x="78" y="237"/>
                      <a:pt x="78" y="237"/>
                      <a:pt x="78" y="237"/>
                    </a:cubicBezTo>
                    <a:cubicBezTo>
                      <a:pt x="78" y="236"/>
                      <a:pt x="77" y="236"/>
                      <a:pt x="77" y="236"/>
                    </a:cubicBezTo>
                    <a:cubicBezTo>
                      <a:pt x="76" y="236"/>
                      <a:pt x="75" y="236"/>
                      <a:pt x="75" y="236"/>
                    </a:cubicBezTo>
                    <a:cubicBezTo>
                      <a:pt x="74" y="236"/>
                      <a:pt x="73" y="237"/>
                      <a:pt x="73" y="237"/>
                    </a:cubicBezTo>
                    <a:cubicBezTo>
                      <a:pt x="72" y="237"/>
                      <a:pt x="72" y="236"/>
                      <a:pt x="71" y="235"/>
                    </a:cubicBezTo>
                    <a:cubicBezTo>
                      <a:pt x="71" y="235"/>
                      <a:pt x="70" y="235"/>
                      <a:pt x="70" y="235"/>
                    </a:cubicBezTo>
                    <a:cubicBezTo>
                      <a:pt x="69" y="235"/>
                      <a:pt x="69" y="235"/>
                      <a:pt x="69" y="235"/>
                    </a:cubicBezTo>
                    <a:cubicBezTo>
                      <a:pt x="69" y="235"/>
                      <a:pt x="69" y="236"/>
                      <a:pt x="68" y="235"/>
                    </a:cubicBezTo>
                    <a:cubicBezTo>
                      <a:pt x="68" y="235"/>
                      <a:pt x="68" y="235"/>
                      <a:pt x="67" y="235"/>
                    </a:cubicBezTo>
                    <a:cubicBezTo>
                      <a:pt x="67" y="234"/>
                      <a:pt x="68" y="234"/>
                      <a:pt x="68" y="233"/>
                    </a:cubicBezTo>
                    <a:cubicBezTo>
                      <a:pt x="68" y="233"/>
                      <a:pt x="67" y="232"/>
                      <a:pt x="67" y="232"/>
                    </a:cubicBezTo>
                    <a:cubicBezTo>
                      <a:pt x="67" y="231"/>
                      <a:pt x="67" y="231"/>
                      <a:pt x="67" y="231"/>
                    </a:cubicBezTo>
                    <a:cubicBezTo>
                      <a:pt x="66" y="231"/>
                      <a:pt x="67" y="231"/>
                      <a:pt x="67" y="231"/>
                    </a:cubicBezTo>
                    <a:cubicBezTo>
                      <a:pt x="66" y="230"/>
                      <a:pt x="66" y="230"/>
                      <a:pt x="66" y="230"/>
                    </a:cubicBezTo>
                    <a:cubicBezTo>
                      <a:pt x="66" y="230"/>
                      <a:pt x="66" y="230"/>
                      <a:pt x="66" y="230"/>
                    </a:cubicBezTo>
                    <a:cubicBezTo>
                      <a:pt x="65" y="229"/>
                      <a:pt x="65" y="229"/>
                      <a:pt x="65" y="229"/>
                    </a:cubicBezTo>
                    <a:cubicBezTo>
                      <a:pt x="65" y="229"/>
                      <a:pt x="64" y="228"/>
                      <a:pt x="65" y="228"/>
                    </a:cubicBezTo>
                    <a:cubicBezTo>
                      <a:pt x="65" y="227"/>
                      <a:pt x="62" y="227"/>
                      <a:pt x="62" y="227"/>
                    </a:cubicBezTo>
                    <a:cubicBezTo>
                      <a:pt x="62" y="227"/>
                      <a:pt x="63" y="226"/>
                      <a:pt x="63" y="225"/>
                    </a:cubicBezTo>
                    <a:cubicBezTo>
                      <a:pt x="63" y="225"/>
                      <a:pt x="62" y="225"/>
                      <a:pt x="63" y="224"/>
                    </a:cubicBezTo>
                    <a:cubicBezTo>
                      <a:pt x="65" y="223"/>
                      <a:pt x="62" y="222"/>
                      <a:pt x="61" y="222"/>
                    </a:cubicBezTo>
                    <a:cubicBezTo>
                      <a:pt x="61" y="221"/>
                      <a:pt x="61" y="221"/>
                      <a:pt x="61" y="221"/>
                    </a:cubicBezTo>
                    <a:cubicBezTo>
                      <a:pt x="61" y="221"/>
                      <a:pt x="61" y="220"/>
                      <a:pt x="60" y="220"/>
                    </a:cubicBezTo>
                    <a:cubicBezTo>
                      <a:pt x="60" y="220"/>
                      <a:pt x="59" y="221"/>
                      <a:pt x="59" y="220"/>
                    </a:cubicBezTo>
                    <a:cubicBezTo>
                      <a:pt x="59" y="219"/>
                      <a:pt x="60" y="220"/>
                      <a:pt x="59" y="219"/>
                    </a:cubicBezTo>
                    <a:cubicBezTo>
                      <a:pt x="59" y="219"/>
                      <a:pt x="60" y="219"/>
                      <a:pt x="60" y="218"/>
                    </a:cubicBezTo>
                    <a:cubicBezTo>
                      <a:pt x="60" y="218"/>
                      <a:pt x="61" y="218"/>
                      <a:pt x="60" y="217"/>
                    </a:cubicBezTo>
                    <a:cubicBezTo>
                      <a:pt x="61" y="217"/>
                      <a:pt x="62" y="217"/>
                      <a:pt x="62" y="217"/>
                    </a:cubicBezTo>
                    <a:cubicBezTo>
                      <a:pt x="63" y="217"/>
                      <a:pt x="62" y="216"/>
                      <a:pt x="62" y="216"/>
                    </a:cubicBezTo>
                    <a:cubicBezTo>
                      <a:pt x="61" y="216"/>
                      <a:pt x="61" y="216"/>
                      <a:pt x="61" y="215"/>
                    </a:cubicBezTo>
                    <a:cubicBezTo>
                      <a:pt x="61" y="215"/>
                      <a:pt x="61" y="215"/>
                      <a:pt x="61" y="215"/>
                    </a:cubicBezTo>
                    <a:cubicBezTo>
                      <a:pt x="61" y="215"/>
                      <a:pt x="61" y="215"/>
                      <a:pt x="61" y="215"/>
                    </a:cubicBezTo>
                    <a:cubicBezTo>
                      <a:pt x="61" y="214"/>
                      <a:pt x="60" y="214"/>
                      <a:pt x="60" y="214"/>
                    </a:cubicBezTo>
                    <a:cubicBezTo>
                      <a:pt x="59" y="213"/>
                      <a:pt x="59" y="213"/>
                      <a:pt x="59" y="212"/>
                    </a:cubicBezTo>
                    <a:cubicBezTo>
                      <a:pt x="60" y="211"/>
                      <a:pt x="59" y="209"/>
                      <a:pt x="58" y="208"/>
                    </a:cubicBezTo>
                    <a:cubicBezTo>
                      <a:pt x="58" y="207"/>
                      <a:pt x="58" y="207"/>
                      <a:pt x="59" y="206"/>
                    </a:cubicBezTo>
                    <a:cubicBezTo>
                      <a:pt x="60" y="205"/>
                      <a:pt x="61" y="205"/>
                      <a:pt x="61" y="203"/>
                    </a:cubicBezTo>
                    <a:cubicBezTo>
                      <a:pt x="61" y="202"/>
                      <a:pt x="62" y="202"/>
                      <a:pt x="63" y="202"/>
                    </a:cubicBezTo>
                    <a:cubicBezTo>
                      <a:pt x="62" y="202"/>
                      <a:pt x="62" y="202"/>
                      <a:pt x="62" y="202"/>
                    </a:cubicBezTo>
                    <a:cubicBezTo>
                      <a:pt x="63" y="202"/>
                      <a:pt x="64" y="202"/>
                      <a:pt x="63" y="201"/>
                    </a:cubicBezTo>
                    <a:cubicBezTo>
                      <a:pt x="62" y="201"/>
                      <a:pt x="62" y="201"/>
                      <a:pt x="62" y="200"/>
                    </a:cubicBezTo>
                    <a:cubicBezTo>
                      <a:pt x="62" y="200"/>
                      <a:pt x="62" y="200"/>
                      <a:pt x="62" y="199"/>
                    </a:cubicBezTo>
                    <a:cubicBezTo>
                      <a:pt x="62" y="199"/>
                      <a:pt x="61" y="198"/>
                      <a:pt x="62" y="197"/>
                    </a:cubicBezTo>
                    <a:cubicBezTo>
                      <a:pt x="62" y="197"/>
                      <a:pt x="63" y="198"/>
                      <a:pt x="63" y="198"/>
                    </a:cubicBezTo>
                    <a:cubicBezTo>
                      <a:pt x="64" y="199"/>
                      <a:pt x="65" y="198"/>
                      <a:pt x="65" y="198"/>
                    </a:cubicBezTo>
                    <a:cubicBezTo>
                      <a:pt x="65" y="197"/>
                      <a:pt x="65" y="197"/>
                      <a:pt x="66" y="197"/>
                    </a:cubicBezTo>
                    <a:cubicBezTo>
                      <a:pt x="67" y="197"/>
                      <a:pt x="67" y="198"/>
                      <a:pt x="68" y="197"/>
                    </a:cubicBezTo>
                    <a:cubicBezTo>
                      <a:pt x="69" y="197"/>
                      <a:pt x="70" y="196"/>
                      <a:pt x="69" y="196"/>
                    </a:cubicBezTo>
                    <a:cubicBezTo>
                      <a:pt x="69" y="196"/>
                      <a:pt x="70" y="195"/>
                      <a:pt x="70" y="195"/>
                    </a:cubicBezTo>
                    <a:cubicBezTo>
                      <a:pt x="71" y="195"/>
                      <a:pt x="72" y="195"/>
                      <a:pt x="73" y="195"/>
                    </a:cubicBezTo>
                    <a:cubicBezTo>
                      <a:pt x="74" y="196"/>
                      <a:pt x="74" y="196"/>
                      <a:pt x="75" y="196"/>
                    </a:cubicBezTo>
                    <a:cubicBezTo>
                      <a:pt x="76" y="196"/>
                      <a:pt x="77" y="196"/>
                      <a:pt x="78" y="197"/>
                    </a:cubicBezTo>
                    <a:cubicBezTo>
                      <a:pt x="78" y="197"/>
                      <a:pt x="78" y="196"/>
                      <a:pt x="78" y="196"/>
                    </a:cubicBezTo>
                    <a:cubicBezTo>
                      <a:pt x="78" y="195"/>
                      <a:pt x="77" y="195"/>
                      <a:pt x="77" y="195"/>
                    </a:cubicBezTo>
                    <a:cubicBezTo>
                      <a:pt x="76" y="195"/>
                      <a:pt x="76" y="194"/>
                      <a:pt x="74" y="193"/>
                    </a:cubicBezTo>
                    <a:cubicBezTo>
                      <a:pt x="74" y="193"/>
                      <a:pt x="73" y="193"/>
                      <a:pt x="73" y="193"/>
                    </a:cubicBezTo>
                    <a:cubicBezTo>
                      <a:pt x="72" y="193"/>
                      <a:pt x="72" y="194"/>
                      <a:pt x="71" y="194"/>
                    </a:cubicBezTo>
                    <a:cubicBezTo>
                      <a:pt x="70" y="194"/>
                      <a:pt x="69" y="194"/>
                      <a:pt x="68" y="193"/>
                    </a:cubicBezTo>
                    <a:cubicBezTo>
                      <a:pt x="68" y="193"/>
                      <a:pt x="67" y="192"/>
                      <a:pt x="67" y="192"/>
                    </a:cubicBezTo>
                    <a:cubicBezTo>
                      <a:pt x="67" y="192"/>
                      <a:pt x="65" y="191"/>
                      <a:pt x="65" y="191"/>
                    </a:cubicBezTo>
                    <a:cubicBezTo>
                      <a:pt x="65" y="191"/>
                      <a:pt x="64" y="190"/>
                      <a:pt x="64" y="190"/>
                    </a:cubicBezTo>
                    <a:cubicBezTo>
                      <a:pt x="64" y="190"/>
                      <a:pt x="65" y="190"/>
                      <a:pt x="66" y="191"/>
                    </a:cubicBezTo>
                    <a:cubicBezTo>
                      <a:pt x="66" y="191"/>
                      <a:pt x="65" y="189"/>
                      <a:pt x="65" y="189"/>
                    </a:cubicBezTo>
                    <a:cubicBezTo>
                      <a:pt x="64" y="190"/>
                      <a:pt x="64" y="189"/>
                      <a:pt x="65" y="189"/>
                    </a:cubicBezTo>
                    <a:cubicBezTo>
                      <a:pt x="66" y="189"/>
                      <a:pt x="65" y="188"/>
                      <a:pt x="65" y="188"/>
                    </a:cubicBezTo>
                    <a:cubicBezTo>
                      <a:pt x="66" y="188"/>
                      <a:pt x="66" y="189"/>
                      <a:pt x="66" y="188"/>
                    </a:cubicBezTo>
                    <a:cubicBezTo>
                      <a:pt x="66" y="188"/>
                      <a:pt x="65" y="188"/>
                      <a:pt x="65" y="188"/>
                    </a:cubicBezTo>
                    <a:cubicBezTo>
                      <a:pt x="65" y="188"/>
                      <a:pt x="64" y="188"/>
                      <a:pt x="63" y="189"/>
                    </a:cubicBezTo>
                    <a:cubicBezTo>
                      <a:pt x="63" y="189"/>
                      <a:pt x="62" y="190"/>
                      <a:pt x="61" y="190"/>
                    </a:cubicBezTo>
                    <a:cubicBezTo>
                      <a:pt x="61" y="190"/>
                      <a:pt x="60" y="190"/>
                      <a:pt x="60" y="190"/>
                    </a:cubicBezTo>
                    <a:cubicBezTo>
                      <a:pt x="59" y="190"/>
                      <a:pt x="59" y="190"/>
                      <a:pt x="59" y="190"/>
                    </a:cubicBezTo>
                    <a:cubicBezTo>
                      <a:pt x="60" y="189"/>
                      <a:pt x="61" y="188"/>
                      <a:pt x="61" y="188"/>
                    </a:cubicBezTo>
                    <a:cubicBezTo>
                      <a:pt x="62" y="187"/>
                      <a:pt x="63" y="186"/>
                      <a:pt x="64" y="186"/>
                    </a:cubicBezTo>
                    <a:cubicBezTo>
                      <a:pt x="65" y="186"/>
                      <a:pt x="65" y="185"/>
                      <a:pt x="65" y="184"/>
                    </a:cubicBezTo>
                    <a:cubicBezTo>
                      <a:pt x="66" y="184"/>
                      <a:pt x="66" y="184"/>
                      <a:pt x="67" y="184"/>
                    </a:cubicBezTo>
                    <a:cubicBezTo>
                      <a:pt x="68" y="183"/>
                      <a:pt x="69" y="183"/>
                      <a:pt x="69" y="182"/>
                    </a:cubicBezTo>
                    <a:cubicBezTo>
                      <a:pt x="70" y="181"/>
                      <a:pt x="71" y="180"/>
                      <a:pt x="72" y="180"/>
                    </a:cubicBezTo>
                    <a:cubicBezTo>
                      <a:pt x="73" y="179"/>
                      <a:pt x="73" y="179"/>
                      <a:pt x="74" y="178"/>
                    </a:cubicBezTo>
                    <a:cubicBezTo>
                      <a:pt x="75" y="177"/>
                      <a:pt x="75" y="176"/>
                      <a:pt x="76" y="175"/>
                    </a:cubicBezTo>
                    <a:cubicBezTo>
                      <a:pt x="77" y="175"/>
                      <a:pt x="78" y="174"/>
                      <a:pt x="79" y="173"/>
                    </a:cubicBezTo>
                    <a:cubicBezTo>
                      <a:pt x="80" y="172"/>
                      <a:pt x="80" y="172"/>
                      <a:pt x="81" y="171"/>
                    </a:cubicBezTo>
                    <a:cubicBezTo>
                      <a:pt x="82" y="170"/>
                      <a:pt x="83" y="169"/>
                      <a:pt x="83" y="168"/>
                    </a:cubicBezTo>
                    <a:cubicBezTo>
                      <a:pt x="83" y="167"/>
                      <a:pt x="84" y="167"/>
                      <a:pt x="84" y="166"/>
                    </a:cubicBezTo>
                    <a:cubicBezTo>
                      <a:pt x="83" y="165"/>
                      <a:pt x="82" y="165"/>
                      <a:pt x="82" y="164"/>
                    </a:cubicBezTo>
                    <a:cubicBezTo>
                      <a:pt x="81" y="164"/>
                      <a:pt x="81" y="163"/>
                      <a:pt x="81" y="163"/>
                    </a:cubicBezTo>
                    <a:cubicBezTo>
                      <a:pt x="80" y="163"/>
                      <a:pt x="80" y="163"/>
                      <a:pt x="80" y="163"/>
                    </a:cubicBezTo>
                    <a:cubicBezTo>
                      <a:pt x="79" y="162"/>
                      <a:pt x="78" y="161"/>
                      <a:pt x="77" y="161"/>
                    </a:cubicBezTo>
                    <a:cubicBezTo>
                      <a:pt x="76" y="161"/>
                      <a:pt x="75" y="160"/>
                      <a:pt x="73" y="160"/>
                    </a:cubicBezTo>
                    <a:cubicBezTo>
                      <a:pt x="72" y="159"/>
                      <a:pt x="71" y="158"/>
                      <a:pt x="71" y="158"/>
                    </a:cubicBezTo>
                    <a:cubicBezTo>
                      <a:pt x="71" y="158"/>
                      <a:pt x="72" y="158"/>
                      <a:pt x="72" y="157"/>
                    </a:cubicBezTo>
                    <a:cubicBezTo>
                      <a:pt x="73" y="157"/>
                      <a:pt x="74" y="156"/>
                      <a:pt x="74" y="155"/>
                    </a:cubicBezTo>
                    <a:cubicBezTo>
                      <a:pt x="75" y="155"/>
                      <a:pt x="75" y="155"/>
                      <a:pt x="74" y="154"/>
                    </a:cubicBezTo>
                    <a:cubicBezTo>
                      <a:pt x="74" y="153"/>
                      <a:pt x="75" y="153"/>
                      <a:pt x="74" y="153"/>
                    </a:cubicBezTo>
                    <a:cubicBezTo>
                      <a:pt x="74" y="153"/>
                      <a:pt x="73" y="153"/>
                      <a:pt x="73" y="153"/>
                    </a:cubicBezTo>
                    <a:cubicBezTo>
                      <a:pt x="72" y="152"/>
                      <a:pt x="71" y="152"/>
                      <a:pt x="70" y="152"/>
                    </a:cubicBezTo>
                    <a:cubicBezTo>
                      <a:pt x="70" y="151"/>
                      <a:pt x="71" y="151"/>
                      <a:pt x="70" y="151"/>
                    </a:cubicBezTo>
                    <a:cubicBezTo>
                      <a:pt x="70" y="150"/>
                      <a:pt x="70" y="150"/>
                      <a:pt x="70" y="150"/>
                    </a:cubicBezTo>
                    <a:cubicBezTo>
                      <a:pt x="69" y="149"/>
                      <a:pt x="71" y="150"/>
                      <a:pt x="71" y="149"/>
                    </a:cubicBezTo>
                    <a:cubicBezTo>
                      <a:pt x="71" y="149"/>
                      <a:pt x="71" y="149"/>
                      <a:pt x="71" y="149"/>
                    </a:cubicBezTo>
                    <a:cubicBezTo>
                      <a:pt x="70" y="148"/>
                      <a:pt x="70" y="148"/>
                      <a:pt x="70" y="148"/>
                    </a:cubicBezTo>
                    <a:cubicBezTo>
                      <a:pt x="70" y="147"/>
                      <a:pt x="69" y="148"/>
                      <a:pt x="68" y="148"/>
                    </a:cubicBezTo>
                    <a:cubicBezTo>
                      <a:pt x="67" y="148"/>
                      <a:pt x="67" y="147"/>
                      <a:pt x="66" y="146"/>
                    </a:cubicBezTo>
                    <a:cubicBezTo>
                      <a:pt x="66" y="145"/>
                      <a:pt x="66" y="145"/>
                      <a:pt x="67" y="145"/>
                    </a:cubicBezTo>
                    <a:cubicBezTo>
                      <a:pt x="67" y="145"/>
                      <a:pt x="68" y="145"/>
                      <a:pt x="68" y="145"/>
                    </a:cubicBezTo>
                    <a:cubicBezTo>
                      <a:pt x="68" y="144"/>
                      <a:pt x="67" y="145"/>
                      <a:pt x="67" y="144"/>
                    </a:cubicBezTo>
                    <a:cubicBezTo>
                      <a:pt x="68" y="144"/>
                      <a:pt x="68" y="144"/>
                      <a:pt x="68" y="144"/>
                    </a:cubicBezTo>
                    <a:cubicBezTo>
                      <a:pt x="67" y="144"/>
                      <a:pt x="67" y="144"/>
                      <a:pt x="66" y="144"/>
                    </a:cubicBezTo>
                    <a:cubicBezTo>
                      <a:pt x="65" y="144"/>
                      <a:pt x="66" y="143"/>
                      <a:pt x="66" y="143"/>
                    </a:cubicBezTo>
                    <a:cubicBezTo>
                      <a:pt x="67" y="142"/>
                      <a:pt x="66" y="141"/>
                      <a:pt x="67" y="141"/>
                    </a:cubicBezTo>
                    <a:cubicBezTo>
                      <a:pt x="67" y="140"/>
                      <a:pt x="66" y="140"/>
                      <a:pt x="66" y="140"/>
                    </a:cubicBezTo>
                    <a:cubicBezTo>
                      <a:pt x="67" y="139"/>
                      <a:pt x="68" y="139"/>
                      <a:pt x="68" y="139"/>
                    </a:cubicBezTo>
                    <a:cubicBezTo>
                      <a:pt x="69" y="139"/>
                      <a:pt x="68" y="137"/>
                      <a:pt x="68" y="137"/>
                    </a:cubicBezTo>
                    <a:cubicBezTo>
                      <a:pt x="67" y="136"/>
                      <a:pt x="67" y="135"/>
                      <a:pt x="66" y="134"/>
                    </a:cubicBezTo>
                    <a:cubicBezTo>
                      <a:pt x="65" y="134"/>
                      <a:pt x="64" y="133"/>
                      <a:pt x="64" y="132"/>
                    </a:cubicBezTo>
                    <a:cubicBezTo>
                      <a:pt x="63" y="131"/>
                      <a:pt x="62" y="130"/>
                      <a:pt x="61" y="130"/>
                    </a:cubicBezTo>
                    <a:cubicBezTo>
                      <a:pt x="61" y="129"/>
                      <a:pt x="59" y="128"/>
                      <a:pt x="59" y="127"/>
                    </a:cubicBezTo>
                    <a:cubicBezTo>
                      <a:pt x="60" y="126"/>
                      <a:pt x="61" y="125"/>
                      <a:pt x="62" y="124"/>
                    </a:cubicBezTo>
                    <a:cubicBezTo>
                      <a:pt x="62" y="124"/>
                      <a:pt x="63" y="123"/>
                      <a:pt x="64" y="122"/>
                    </a:cubicBezTo>
                    <a:cubicBezTo>
                      <a:pt x="65" y="122"/>
                      <a:pt x="65" y="121"/>
                      <a:pt x="64" y="120"/>
                    </a:cubicBezTo>
                    <a:cubicBezTo>
                      <a:pt x="64" y="119"/>
                      <a:pt x="63" y="119"/>
                      <a:pt x="62" y="119"/>
                    </a:cubicBezTo>
                    <a:cubicBezTo>
                      <a:pt x="61" y="118"/>
                      <a:pt x="60" y="117"/>
                      <a:pt x="60" y="116"/>
                    </a:cubicBezTo>
                    <a:cubicBezTo>
                      <a:pt x="59" y="116"/>
                      <a:pt x="57" y="116"/>
                      <a:pt x="56" y="116"/>
                    </a:cubicBezTo>
                    <a:cubicBezTo>
                      <a:pt x="55" y="116"/>
                      <a:pt x="55" y="115"/>
                      <a:pt x="54" y="114"/>
                    </a:cubicBezTo>
                    <a:cubicBezTo>
                      <a:pt x="53" y="114"/>
                      <a:pt x="52" y="113"/>
                      <a:pt x="53" y="112"/>
                    </a:cubicBezTo>
                    <a:cubicBezTo>
                      <a:pt x="53" y="111"/>
                      <a:pt x="55" y="110"/>
                      <a:pt x="54" y="109"/>
                    </a:cubicBezTo>
                    <a:cubicBezTo>
                      <a:pt x="54" y="109"/>
                      <a:pt x="52" y="109"/>
                      <a:pt x="52" y="109"/>
                    </a:cubicBezTo>
                    <a:cubicBezTo>
                      <a:pt x="53" y="109"/>
                      <a:pt x="53" y="108"/>
                      <a:pt x="54" y="108"/>
                    </a:cubicBezTo>
                    <a:cubicBezTo>
                      <a:pt x="55" y="108"/>
                      <a:pt x="56" y="108"/>
                      <a:pt x="56" y="108"/>
                    </a:cubicBezTo>
                    <a:cubicBezTo>
                      <a:pt x="57" y="107"/>
                      <a:pt x="58" y="107"/>
                      <a:pt x="58" y="106"/>
                    </a:cubicBezTo>
                    <a:cubicBezTo>
                      <a:pt x="58" y="105"/>
                      <a:pt x="57" y="105"/>
                      <a:pt x="58" y="105"/>
                    </a:cubicBezTo>
                    <a:cubicBezTo>
                      <a:pt x="60" y="105"/>
                      <a:pt x="62" y="105"/>
                      <a:pt x="63" y="104"/>
                    </a:cubicBezTo>
                    <a:cubicBezTo>
                      <a:pt x="63" y="104"/>
                      <a:pt x="63" y="103"/>
                      <a:pt x="63" y="103"/>
                    </a:cubicBezTo>
                    <a:cubicBezTo>
                      <a:pt x="64" y="102"/>
                      <a:pt x="63" y="102"/>
                      <a:pt x="63" y="102"/>
                    </a:cubicBezTo>
                    <a:cubicBezTo>
                      <a:pt x="63" y="102"/>
                      <a:pt x="64" y="102"/>
                      <a:pt x="65" y="103"/>
                    </a:cubicBezTo>
                    <a:cubicBezTo>
                      <a:pt x="66" y="103"/>
                      <a:pt x="66" y="103"/>
                      <a:pt x="67" y="103"/>
                    </a:cubicBezTo>
                    <a:cubicBezTo>
                      <a:pt x="69" y="103"/>
                      <a:pt x="68" y="101"/>
                      <a:pt x="67" y="101"/>
                    </a:cubicBezTo>
                    <a:cubicBezTo>
                      <a:pt x="68" y="101"/>
                      <a:pt x="73" y="101"/>
                      <a:pt x="71" y="102"/>
                    </a:cubicBezTo>
                    <a:cubicBezTo>
                      <a:pt x="71" y="102"/>
                      <a:pt x="72" y="101"/>
                      <a:pt x="73" y="102"/>
                    </a:cubicBezTo>
                    <a:cubicBezTo>
                      <a:pt x="73" y="102"/>
                      <a:pt x="74" y="102"/>
                      <a:pt x="74" y="102"/>
                    </a:cubicBezTo>
                    <a:cubicBezTo>
                      <a:pt x="74" y="101"/>
                      <a:pt x="73" y="101"/>
                      <a:pt x="73" y="100"/>
                    </a:cubicBezTo>
                    <a:cubicBezTo>
                      <a:pt x="74" y="100"/>
                      <a:pt x="76" y="101"/>
                      <a:pt x="76" y="101"/>
                    </a:cubicBezTo>
                    <a:cubicBezTo>
                      <a:pt x="76" y="100"/>
                      <a:pt x="75" y="100"/>
                      <a:pt x="75" y="99"/>
                    </a:cubicBezTo>
                    <a:cubicBezTo>
                      <a:pt x="74" y="99"/>
                      <a:pt x="76" y="99"/>
                      <a:pt x="76" y="99"/>
                    </a:cubicBezTo>
                    <a:cubicBezTo>
                      <a:pt x="77" y="100"/>
                      <a:pt x="78" y="100"/>
                      <a:pt x="78" y="100"/>
                    </a:cubicBezTo>
                    <a:cubicBezTo>
                      <a:pt x="79" y="100"/>
                      <a:pt x="79" y="100"/>
                      <a:pt x="79" y="101"/>
                    </a:cubicBezTo>
                    <a:cubicBezTo>
                      <a:pt x="80" y="101"/>
                      <a:pt x="80" y="101"/>
                      <a:pt x="81" y="101"/>
                    </a:cubicBezTo>
                    <a:cubicBezTo>
                      <a:pt x="82" y="101"/>
                      <a:pt x="83" y="101"/>
                      <a:pt x="83" y="101"/>
                    </a:cubicBezTo>
                    <a:cubicBezTo>
                      <a:pt x="84" y="102"/>
                      <a:pt x="82" y="102"/>
                      <a:pt x="81" y="102"/>
                    </a:cubicBezTo>
                    <a:cubicBezTo>
                      <a:pt x="80" y="102"/>
                      <a:pt x="79" y="102"/>
                      <a:pt x="78" y="102"/>
                    </a:cubicBezTo>
                    <a:cubicBezTo>
                      <a:pt x="77" y="102"/>
                      <a:pt x="77" y="102"/>
                      <a:pt x="77" y="102"/>
                    </a:cubicBezTo>
                    <a:cubicBezTo>
                      <a:pt x="77" y="102"/>
                      <a:pt x="77" y="101"/>
                      <a:pt x="76" y="101"/>
                    </a:cubicBezTo>
                    <a:cubicBezTo>
                      <a:pt x="76" y="101"/>
                      <a:pt x="76" y="101"/>
                      <a:pt x="76" y="102"/>
                    </a:cubicBezTo>
                    <a:cubicBezTo>
                      <a:pt x="76" y="102"/>
                      <a:pt x="76" y="102"/>
                      <a:pt x="75" y="102"/>
                    </a:cubicBezTo>
                    <a:cubicBezTo>
                      <a:pt x="76" y="102"/>
                      <a:pt x="76" y="102"/>
                      <a:pt x="76" y="103"/>
                    </a:cubicBezTo>
                    <a:cubicBezTo>
                      <a:pt x="76" y="102"/>
                      <a:pt x="77" y="102"/>
                      <a:pt x="78" y="103"/>
                    </a:cubicBezTo>
                    <a:cubicBezTo>
                      <a:pt x="78" y="103"/>
                      <a:pt x="79" y="103"/>
                      <a:pt x="79" y="103"/>
                    </a:cubicBezTo>
                    <a:cubicBezTo>
                      <a:pt x="79" y="103"/>
                      <a:pt x="78" y="104"/>
                      <a:pt x="77" y="104"/>
                    </a:cubicBezTo>
                    <a:cubicBezTo>
                      <a:pt x="78" y="104"/>
                      <a:pt x="79" y="103"/>
                      <a:pt x="80" y="103"/>
                    </a:cubicBezTo>
                    <a:cubicBezTo>
                      <a:pt x="81" y="104"/>
                      <a:pt x="81" y="103"/>
                      <a:pt x="82" y="104"/>
                    </a:cubicBezTo>
                    <a:cubicBezTo>
                      <a:pt x="82" y="104"/>
                      <a:pt x="81" y="104"/>
                      <a:pt x="81" y="104"/>
                    </a:cubicBezTo>
                    <a:cubicBezTo>
                      <a:pt x="82" y="104"/>
                      <a:pt x="83" y="103"/>
                      <a:pt x="83" y="104"/>
                    </a:cubicBezTo>
                    <a:cubicBezTo>
                      <a:pt x="83" y="104"/>
                      <a:pt x="82" y="104"/>
                      <a:pt x="82" y="105"/>
                    </a:cubicBezTo>
                    <a:cubicBezTo>
                      <a:pt x="83" y="105"/>
                      <a:pt x="82" y="105"/>
                      <a:pt x="83" y="104"/>
                    </a:cubicBezTo>
                    <a:cubicBezTo>
                      <a:pt x="83" y="104"/>
                      <a:pt x="84" y="104"/>
                      <a:pt x="85" y="104"/>
                    </a:cubicBezTo>
                    <a:cubicBezTo>
                      <a:pt x="85" y="104"/>
                      <a:pt x="87" y="104"/>
                      <a:pt x="86" y="104"/>
                    </a:cubicBezTo>
                    <a:cubicBezTo>
                      <a:pt x="87" y="104"/>
                      <a:pt x="85" y="105"/>
                      <a:pt x="85" y="105"/>
                    </a:cubicBezTo>
                    <a:cubicBezTo>
                      <a:pt x="85" y="105"/>
                      <a:pt x="86" y="105"/>
                      <a:pt x="87" y="105"/>
                    </a:cubicBezTo>
                    <a:cubicBezTo>
                      <a:pt x="87" y="106"/>
                      <a:pt x="86" y="106"/>
                      <a:pt x="86" y="106"/>
                    </a:cubicBezTo>
                    <a:cubicBezTo>
                      <a:pt x="86" y="106"/>
                      <a:pt x="86" y="106"/>
                      <a:pt x="86" y="106"/>
                    </a:cubicBezTo>
                    <a:cubicBezTo>
                      <a:pt x="87" y="106"/>
                      <a:pt x="87" y="106"/>
                      <a:pt x="87" y="106"/>
                    </a:cubicBezTo>
                    <a:cubicBezTo>
                      <a:pt x="87" y="106"/>
                      <a:pt x="85" y="107"/>
                      <a:pt x="85" y="107"/>
                    </a:cubicBezTo>
                    <a:cubicBezTo>
                      <a:pt x="85" y="107"/>
                      <a:pt x="84" y="107"/>
                      <a:pt x="84" y="107"/>
                    </a:cubicBezTo>
                    <a:cubicBezTo>
                      <a:pt x="84" y="108"/>
                      <a:pt x="84" y="108"/>
                      <a:pt x="84" y="108"/>
                    </a:cubicBezTo>
                    <a:cubicBezTo>
                      <a:pt x="84" y="108"/>
                      <a:pt x="84" y="107"/>
                      <a:pt x="85" y="107"/>
                    </a:cubicBezTo>
                    <a:cubicBezTo>
                      <a:pt x="85" y="107"/>
                      <a:pt x="86" y="107"/>
                      <a:pt x="87" y="107"/>
                    </a:cubicBezTo>
                    <a:cubicBezTo>
                      <a:pt x="87" y="106"/>
                      <a:pt x="87" y="106"/>
                      <a:pt x="87" y="105"/>
                    </a:cubicBezTo>
                    <a:cubicBezTo>
                      <a:pt x="87" y="105"/>
                      <a:pt x="88" y="105"/>
                      <a:pt x="88" y="105"/>
                    </a:cubicBezTo>
                    <a:cubicBezTo>
                      <a:pt x="89" y="105"/>
                      <a:pt x="89" y="105"/>
                      <a:pt x="90" y="105"/>
                    </a:cubicBezTo>
                    <a:cubicBezTo>
                      <a:pt x="91" y="105"/>
                      <a:pt x="91" y="105"/>
                      <a:pt x="92" y="105"/>
                    </a:cubicBezTo>
                    <a:cubicBezTo>
                      <a:pt x="93" y="105"/>
                      <a:pt x="94" y="105"/>
                      <a:pt x="95" y="106"/>
                    </a:cubicBezTo>
                    <a:cubicBezTo>
                      <a:pt x="96" y="106"/>
                      <a:pt x="96" y="106"/>
                      <a:pt x="97" y="106"/>
                    </a:cubicBezTo>
                    <a:cubicBezTo>
                      <a:pt x="97" y="106"/>
                      <a:pt x="97" y="106"/>
                      <a:pt x="97" y="106"/>
                    </a:cubicBezTo>
                    <a:cubicBezTo>
                      <a:pt x="98" y="106"/>
                      <a:pt x="98" y="106"/>
                      <a:pt x="98" y="106"/>
                    </a:cubicBezTo>
                    <a:cubicBezTo>
                      <a:pt x="99" y="106"/>
                      <a:pt x="99" y="106"/>
                      <a:pt x="99" y="106"/>
                    </a:cubicBezTo>
                    <a:cubicBezTo>
                      <a:pt x="99" y="106"/>
                      <a:pt x="99" y="106"/>
                      <a:pt x="99" y="106"/>
                    </a:cubicBezTo>
                    <a:cubicBezTo>
                      <a:pt x="99" y="106"/>
                      <a:pt x="99" y="106"/>
                      <a:pt x="98" y="105"/>
                    </a:cubicBezTo>
                    <a:cubicBezTo>
                      <a:pt x="100" y="105"/>
                      <a:pt x="101" y="106"/>
                      <a:pt x="102" y="106"/>
                    </a:cubicBezTo>
                    <a:cubicBezTo>
                      <a:pt x="103" y="106"/>
                      <a:pt x="104" y="106"/>
                      <a:pt x="104" y="106"/>
                    </a:cubicBezTo>
                    <a:cubicBezTo>
                      <a:pt x="105" y="106"/>
                      <a:pt x="105" y="107"/>
                      <a:pt x="106" y="107"/>
                    </a:cubicBezTo>
                    <a:cubicBezTo>
                      <a:pt x="106" y="107"/>
                      <a:pt x="107" y="107"/>
                      <a:pt x="107" y="107"/>
                    </a:cubicBezTo>
                    <a:cubicBezTo>
                      <a:pt x="108" y="108"/>
                      <a:pt x="109" y="108"/>
                      <a:pt x="110" y="108"/>
                    </a:cubicBezTo>
                    <a:cubicBezTo>
                      <a:pt x="111" y="108"/>
                      <a:pt x="112" y="109"/>
                      <a:pt x="113" y="109"/>
                    </a:cubicBezTo>
                    <a:cubicBezTo>
                      <a:pt x="115" y="110"/>
                      <a:pt x="116" y="110"/>
                      <a:pt x="117" y="111"/>
                    </a:cubicBezTo>
                    <a:cubicBezTo>
                      <a:pt x="119" y="111"/>
                      <a:pt x="120" y="112"/>
                      <a:pt x="121" y="112"/>
                    </a:cubicBezTo>
                    <a:cubicBezTo>
                      <a:pt x="121" y="113"/>
                      <a:pt x="123" y="113"/>
                      <a:pt x="123" y="114"/>
                    </a:cubicBezTo>
                    <a:cubicBezTo>
                      <a:pt x="123" y="114"/>
                      <a:pt x="126" y="114"/>
                      <a:pt x="126" y="115"/>
                    </a:cubicBezTo>
                    <a:cubicBezTo>
                      <a:pt x="126" y="114"/>
                      <a:pt x="125" y="114"/>
                      <a:pt x="124" y="114"/>
                    </a:cubicBezTo>
                    <a:cubicBezTo>
                      <a:pt x="125" y="114"/>
                      <a:pt x="125" y="114"/>
                      <a:pt x="126" y="114"/>
                    </a:cubicBezTo>
                    <a:cubicBezTo>
                      <a:pt x="126" y="114"/>
                      <a:pt x="127" y="114"/>
                      <a:pt x="127" y="114"/>
                    </a:cubicBezTo>
                    <a:cubicBezTo>
                      <a:pt x="128" y="115"/>
                      <a:pt x="128" y="115"/>
                      <a:pt x="128" y="115"/>
                    </a:cubicBezTo>
                    <a:cubicBezTo>
                      <a:pt x="130" y="115"/>
                      <a:pt x="132" y="117"/>
                      <a:pt x="135" y="117"/>
                    </a:cubicBezTo>
                    <a:cubicBezTo>
                      <a:pt x="134" y="116"/>
                      <a:pt x="134" y="116"/>
                      <a:pt x="133" y="116"/>
                    </a:cubicBezTo>
                    <a:cubicBezTo>
                      <a:pt x="134" y="115"/>
                      <a:pt x="135" y="117"/>
                      <a:pt x="136" y="117"/>
                    </a:cubicBezTo>
                    <a:cubicBezTo>
                      <a:pt x="137" y="118"/>
                      <a:pt x="137" y="118"/>
                      <a:pt x="138" y="118"/>
                    </a:cubicBezTo>
                    <a:cubicBezTo>
                      <a:pt x="139" y="118"/>
                      <a:pt x="139" y="119"/>
                      <a:pt x="138" y="119"/>
                    </a:cubicBezTo>
                    <a:cubicBezTo>
                      <a:pt x="138" y="119"/>
                      <a:pt x="140" y="120"/>
                      <a:pt x="140" y="119"/>
                    </a:cubicBezTo>
                    <a:cubicBezTo>
                      <a:pt x="140" y="119"/>
                      <a:pt x="142" y="120"/>
                      <a:pt x="142" y="120"/>
                    </a:cubicBezTo>
                    <a:cubicBezTo>
                      <a:pt x="143" y="120"/>
                      <a:pt x="144" y="120"/>
                      <a:pt x="144" y="121"/>
                    </a:cubicBezTo>
                    <a:cubicBezTo>
                      <a:pt x="144" y="121"/>
                      <a:pt x="144" y="121"/>
                      <a:pt x="144" y="121"/>
                    </a:cubicBezTo>
                    <a:cubicBezTo>
                      <a:pt x="144" y="122"/>
                      <a:pt x="144" y="122"/>
                      <a:pt x="144" y="122"/>
                    </a:cubicBezTo>
                    <a:cubicBezTo>
                      <a:pt x="144" y="123"/>
                      <a:pt x="145" y="122"/>
                      <a:pt x="145" y="123"/>
                    </a:cubicBezTo>
                    <a:cubicBezTo>
                      <a:pt x="146" y="124"/>
                      <a:pt x="145" y="125"/>
                      <a:pt x="146" y="125"/>
                    </a:cubicBezTo>
                    <a:cubicBezTo>
                      <a:pt x="147" y="125"/>
                      <a:pt x="147" y="125"/>
                      <a:pt x="148" y="126"/>
                    </a:cubicBezTo>
                    <a:cubicBezTo>
                      <a:pt x="148" y="126"/>
                      <a:pt x="148" y="126"/>
                      <a:pt x="148" y="127"/>
                    </a:cubicBezTo>
                    <a:cubicBezTo>
                      <a:pt x="148" y="127"/>
                      <a:pt x="147" y="127"/>
                      <a:pt x="147" y="127"/>
                    </a:cubicBezTo>
                    <a:cubicBezTo>
                      <a:pt x="147" y="127"/>
                      <a:pt x="147" y="127"/>
                      <a:pt x="147" y="127"/>
                    </a:cubicBezTo>
                    <a:cubicBezTo>
                      <a:pt x="147" y="127"/>
                      <a:pt x="147" y="128"/>
                      <a:pt x="147" y="128"/>
                    </a:cubicBezTo>
                    <a:cubicBezTo>
                      <a:pt x="147" y="128"/>
                      <a:pt x="147" y="129"/>
                      <a:pt x="146" y="129"/>
                    </a:cubicBezTo>
                    <a:cubicBezTo>
                      <a:pt x="146" y="130"/>
                      <a:pt x="145" y="130"/>
                      <a:pt x="144" y="131"/>
                    </a:cubicBezTo>
                    <a:cubicBezTo>
                      <a:pt x="144" y="131"/>
                      <a:pt x="143" y="132"/>
                      <a:pt x="142" y="132"/>
                    </a:cubicBezTo>
                    <a:cubicBezTo>
                      <a:pt x="142" y="133"/>
                      <a:pt x="141" y="133"/>
                      <a:pt x="141" y="133"/>
                    </a:cubicBezTo>
                    <a:cubicBezTo>
                      <a:pt x="141" y="133"/>
                      <a:pt x="140" y="134"/>
                      <a:pt x="140" y="134"/>
                    </a:cubicBezTo>
                    <a:cubicBezTo>
                      <a:pt x="138" y="134"/>
                      <a:pt x="137" y="134"/>
                      <a:pt x="136" y="135"/>
                    </a:cubicBezTo>
                    <a:cubicBezTo>
                      <a:pt x="134" y="135"/>
                      <a:pt x="133" y="135"/>
                      <a:pt x="132" y="135"/>
                    </a:cubicBezTo>
                    <a:cubicBezTo>
                      <a:pt x="129" y="136"/>
                      <a:pt x="126" y="136"/>
                      <a:pt x="124" y="135"/>
                    </a:cubicBezTo>
                    <a:cubicBezTo>
                      <a:pt x="122" y="135"/>
                      <a:pt x="121" y="134"/>
                      <a:pt x="119" y="134"/>
                    </a:cubicBezTo>
                    <a:cubicBezTo>
                      <a:pt x="118" y="134"/>
                      <a:pt x="117" y="133"/>
                      <a:pt x="115" y="133"/>
                    </a:cubicBezTo>
                    <a:cubicBezTo>
                      <a:pt x="114" y="133"/>
                      <a:pt x="112" y="133"/>
                      <a:pt x="111" y="133"/>
                    </a:cubicBezTo>
                    <a:cubicBezTo>
                      <a:pt x="109" y="133"/>
                      <a:pt x="108" y="133"/>
                      <a:pt x="107" y="133"/>
                    </a:cubicBezTo>
                    <a:cubicBezTo>
                      <a:pt x="106" y="132"/>
                      <a:pt x="105" y="131"/>
                      <a:pt x="103" y="131"/>
                    </a:cubicBezTo>
                    <a:cubicBezTo>
                      <a:pt x="102" y="131"/>
                      <a:pt x="101" y="130"/>
                      <a:pt x="100" y="131"/>
                    </a:cubicBezTo>
                    <a:cubicBezTo>
                      <a:pt x="99" y="131"/>
                      <a:pt x="99" y="131"/>
                      <a:pt x="98" y="131"/>
                    </a:cubicBezTo>
                    <a:cubicBezTo>
                      <a:pt x="98" y="130"/>
                      <a:pt x="98" y="130"/>
                      <a:pt x="99" y="130"/>
                    </a:cubicBezTo>
                    <a:cubicBezTo>
                      <a:pt x="99" y="130"/>
                      <a:pt x="98" y="130"/>
                      <a:pt x="98" y="130"/>
                    </a:cubicBezTo>
                    <a:cubicBezTo>
                      <a:pt x="97" y="130"/>
                      <a:pt x="97" y="130"/>
                      <a:pt x="96" y="130"/>
                    </a:cubicBezTo>
                    <a:cubicBezTo>
                      <a:pt x="96" y="130"/>
                      <a:pt x="96" y="129"/>
                      <a:pt x="96" y="129"/>
                    </a:cubicBezTo>
                    <a:cubicBezTo>
                      <a:pt x="96" y="129"/>
                      <a:pt x="96" y="129"/>
                      <a:pt x="96" y="130"/>
                    </a:cubicBezTo>
                    <a:cubicBezTo>
                      <a:pt x="95" y="130"/>
                      <a:pt x="95" y="130"/>
                      <a:pt x="95" y="130"/>
                    </a:cubicBezTo>
                    <a:cubicBezTo>
                      <a:pt x="94" y="129"/>
                      <a:pt x="94" y="129"/>
                      <a:pt x="93" y="129"/>
                    </a:cubicBezTo>
                    <a:cubicBezTo>
                      <a:pt x="93" y="129"/>
                      <a:pt x="92" y="129"/>
                      <a:pt x="92" y="128"/>
                    </a:cubicBezTo>
                    <a:cubicBezTo>
                      <a:pt x="92" y="129"/>
                      <a:pt x="92" y="129"/>
                      <a:pt x="92" y="128"/>
                    </a:cubicBezTo>
                    <a:cubicBezTo>
                      <a:pt x="92" y="129"/>
                      <a:pt x="92" y="129"/>
                      <a:pt x="92" y="129"/>
                    </a:cubicBezTo>
                    <a:cubicBezTo>
                      <a:pt x="92" y="129"/>
                      <a:pt x="92" y="129"/>
                      <a:pt x="92" y="129"/>
                    </a:cubicBezTo>
                    <a:cubicBezTo>
                      <a:pt x="92" y="129"/>
                      <a:pt x="92" y="129"/>
                      <a:pt x="92" y="129"/>
                    </a:cubicBezTo>
                    <a:cubicBezTo>
                      <a:pt x="92" y="129"/>
                      <a:pt x="92" y="129"/>
                      <a:pt x="92" y="129"/>
                    </a:cubicBezTo>
                    <a:cubicBezTo>
                      <a:pt x="92" y="129"/>
                      <a:pt x="92" y="129"/>
                      <a:pt x="92" y="129"/>
                    </a:cubicBezTo>
                    <a:cubicBezTo>
                      <a:pt x="91" y="130"/>
                      <a:pt x="90" y="129"/>
                      <a:pt x="90" y="129"/>
                    </a:cubicBezTo>
                    <a:cubicBezTo>
                      <a:pt x="89" y="128"/>
                      <a:pt x="88" y="128"/>
                      <a:pt x="88" y="128"/>
                    </a:cubicBezTo>
                    <a:cubicBezTo>
                      <a:pt x="87" y="127"/>
                      <a:pt x="86" y="127"/>
                      <a:pt x="86" y="126"/>
                    </a:cubicBezTo>
                    <a:cubicBezTo>
                      <a:pt x="86" y="126"/>
                      <a:pt x="87" y="126"/>
                      <a:pt x="87" y="126"/>
                    </a:cubicBezTo>
                    <a:cubicBezTo>
                      <a:pt x="87" y="126"/>
                      <a:pt x="86" y="126"/>
                      <a:pt x="86" y="126"/>
                    </a:cubicBezTo>
                    <a:cubicBezTo>
                      <a:pt x="86" y="126"/>
                      <a:pt x="85" y="126"/>
                      <a:pt x="85" y="126"/>
                    </a:cubicBezTo>
                    <a:cubicBezTo>
                      <a:pt x="84" y="125"/>
                      <a:pt x="83" y="125"/>
                      <a:pt x="83" y="125"/>
                    </a:cubicBezTo>
                    <a:cubicBezTo>
                      <a:pt x="82" y="125"/>
                      <a:pt x="81" y="125"/>
                      <a:pt x="81" y="125"/>
                    </a:cubicBezTo>
                    <a:cubicBezTo>
                      <a:pt x="80" y="125"/>
                      <a:pt x="79" y="125"/>
                      <a:pt x="79" y="125"/>
                    </a:cubicBezTo>
                    <a:cubicBezTo>
                      <a:pt x="80" y="125"/>
                      <a:pt x="80" y="126"/>
                      <a:pt x="81" y="126"/>
                    </a:cubicBezTo>
                    <a:cubicBezTo>
                      <a:pt x="81" y="126"/>
                      <a:pt x="82" y="126"/>
                      <a:pt x="83" y="126"/>
                    </a:cubicBezTo>
                    <a:cubicBezTo>
                      <a:pt x="83" y="126"/>
                      <a:pt x="82" y="126"/>
                      <a:pt x="82" y="126"/>
                    </a:cubicBezTo>
                    <a:cubicBezTo>
                      <a:pt x="83" y="126"/>
                      <a:pt x="84" y="126"/>
                      <a:pt x="84" y="127"/>
                    </a:cubicBezTo>
                    <a:cubicBezTo>
                      <a:pt x="84" y="127"/>
                      <a:pt x="83" y="127"/>
                      <a:pt x="83" y="127"/>
                    </a:cubicBezTo>
                    <a:cubicBezTo>
                      <a:pt x="84" y="127"/>
                      <a:pt x="84" y="128"/>
                      <a:pt x="84" y="128"/>
                    </a:cubicBezTo>
                    <a:cubicBezTo>
                      <a:pt x="84" y="128"/>
                      <a:pt x="85" y="128"/>
                      <a:pt x="85" y="128"/>
                    </a:cubicBezTo>
                    <a:cubicBezTo>
                      <a:pt x="86" y="129"/>
                      <a:pt x="86" y="129"/>
                      <a:pt x="87" y="129"/>
                    </a:cubicBezTo>
                    <a:cubicBezTo>
                      <a:pt x="88" y="129"/>
                      <a:pt x="87" y="129"/>
                      <a:pt x="86" y="129"/>
                    </a:cubicBezTo>
                    <a:cubicBezTo>
                      <a:pt x="87" y="130"/>
                      <a:pt x="90" y="129"/>
                      <a:pt x="90" y="130"/>
                    </a:cubicBezTo>
                    <a:cubicBezTo>
                      <a:pt x="90" y="130"/>
                      <a:pt x="89" y="130"/>
                      <a:pt x="89" y="130"/>
                    </a:cubicBezTo>
                    <a:cubicBezTo>
                      <a:pt x="88" y="131"/>
                      <a:pt x="88" y="130"/>
                      <a:pt x="87" y="131"/>
                    </a:cubicBezTo>
                    <a:cubicBezTo>
                      <a:pt x="88" y="131"/>
                      <a:pt x="89" y="131"/>
                      <a:pt x="89" y="131"/>
                    </a:cubicBezTo>
                    <a:cubicBezTo>
                      <a:pt x="89" y="130"/>
                      <a:pt x="90" y="131"/>
                      <a:pt x="90" y="130"/>
                    </a:cubicBezTo>
                    <a:cubicBezTo>
                      <a:pt x="90" y="130"/>
                      <a:pt x="92" y="131"/>
                      <a:pt x="92" y="131"/>
                    </a:cubicBezTo>
                    <a:cubicBezTo>
                      <a:pt x="91" y="131"/>
                      <a:pt x="90" y="131"/>
                      <a:pt x="89" y="131"/>
                    </a:cubicBezTo>
                    <a:cubicBezTo>
                      <a:pt x="90" y="131"/>
                      <a:pt x="88" y="131"/>
                      <a:pt x="88" y="131"/>
                    </a:cubicBezTo>
                    <a:cubicBezTo>
                      <a:pt x="89" y="132"/>
                      <a:pt x="89" y="131"/>
                      <a:pt x="90" y="131"/>
                    </a:cubicBezTo>
                    <a:cubicBezTo>
                      <a:pt x="90" y="131"/>
                      <a:pt x="91" y="132"/>
                      <a:pt x="91" y="132"/>
                    </a:cubicBezTo>
                    <a:cubicBezTo>
                      <a:pt x="91" y="132"/>
                      <a:pt x="93" y="132"/>
                      <a:pt x="93" y="132"/>
                    </a:cubicBezTo>
                    <a:cubicBezTo>
                      <a:pt x="93" y="132"/>
                      <a:pt x="93" y="132"/>
                      <a:pt x="93" y="132"/>
                    </a:cubicBezTo>
                    <a:cubicBezTo>
                      <a:pt x="93" y="132"/>
                      <a:pt x="93" y="132"/>
                      <a:pt x="94" y="132"/>
                    </a:cubicBezTo>
                    <a:cubicBezTo>
                      <a:pt x="93" y="132"/>
                      <a:pt x="93" y="132"/>
                      <a:pt x="92" y="132"/>
                    </a:cubicBezTo>
                    <a:cubicBezTo>
                      <a:pt x="93" y="133"/>
                      <a:pt x="93" y="133"/>
                      <a:pt x="93" y="133"/>
                    </a:cubicBezTo>
                    <a:cubicBezTo>
                      <a:pt x="93" y="133"/>
                      <a:pt x="92" y="133"/>
                      <a:pt x="91" y="133"/>
                    </a:cubicBezTo>
                    <a:cubicBezTo>
                      <a:pt x="92" y="133"/>
                      <a:pt x="93" y="133"/>
                      <a:pt x="95" y="134"/>
                    </a:cubicBezTo>
                    <a:cubicBezTo>
                      <a:pt x="95" y="134"/>
                      <a:pt x="95" y="134"/>
                      <a:pt x="96" y="134"/>
                    </a:cubicBezTo>
                    <a:cubicBezTo>
                      <a:pt x="97" y="134"/>
                      <a:pt x="97" y="134"/>
                      <a:pt x="97" y="134"/>
                    </a:cubicBezTo>
                    <a:cubicBezTo>
                      <a:pt x="98" y="135"/>
                      <a:pt x="99" y="135"/>
                      <a:pt x="99" y="135"/>
                    </a:cubicBezTo>
                    <a:cubicBezTo>
                      <a:pt x="100" y="135"/>
                      <a:pt x="100" y="135"/>
                      <a:pt x="101" y="136"/>
                    </a:cubicBezTo>
                    <a:cubicBezTo>
                      <a:pt x="101" y="136"/>
                      <a:pt x="102" y="136"/>
                      <a:pt x="102" y="136"/>
                    </a:cubicBezTo>
                    <a:cubicBezTo>
                      <a:pt x="102" y="137"/>
                      <a:pt x="101" y="137"/>
                      <a:pt x="102" y="137"/>
                    </a:cubicBezTo>
                    <a:cubicBezTo>
                      <a:pt x="102" y="137"/>
                      <a:pt x="103" y="137"/>
                      <a:pt x="103" y="137"/>
                    </a:cubicBezTo>
                    <a:cubicBezTo>
                      <a:pt x="103" y="138"/>
                      <a:pt x="103" y="138"/>
                      <a:pt x="103" y="138"/>
                    </a:cubicBezTo>
                    <a:cubicBezTo>
                      <a:pt x="104" y="138"/>
                      <a:pt x="103" y="138"/>
                      <a:pt x="103" y="138"/>
                    </a:cubicBezTo>
                    <a:cubicBezTo>
                      <a:pt x="103" y="139"/>
                      <a:pt x="104" y="139"/>
                      <a:pt x="104" y="139"/>
                    </a:cubicBezTo>
                    <a:cubicBezTo>
                      <a:pt x="104" y="139"/>
                      <a:pt x="103" y="139"/>
                      <a:pt x="103" y="139"/>
                    </a:cubicBezTo>
                    <a:cubicBezTo>
                      <a:pt x="103" y="139"/>
                      <a:pt x="103" y="138"/>
                      <a:pt x="102" y="138"/>
                    </a:cubicBezTo>
                    <a:cubicBezTo>
                      <a:pt x="102" y="138"/>
                      <a:pt x="102" y="138"/>
                      <a:pt x="102" y="139"/>
                    </a:cubicBezTo>
                    <a:cubicBezTo>
                      <a:pt x="102" y="139"/>
                      <a:pt x="103" y="139"/>
                      <a:pt x="102" y="139"/>
                    </a:cubicBezTo>
                    <a:cubicBezTo>
                      <a:pt x="103" y="140"/>
                      <a:pt x="103" y="140"/>
                      <a:pt x="103" y="141"/>
                    </a:cubicBezTo>
                    <a:cubicBezTo>
                      <a:pt x="103" y="141"/>
                      <a:pt x="102" y="141"/>
                      <a:pt x="102" y="141"/>
                    </a:cubicBezTo>
                    <a:cubicBezTo>
                      <a:pt x="102" y="141"/>
                      <a:pt x="103" y="141"/>
                      <a:pt x="103" y="141"/>
                    </a:cubicBezTo>
                    <a:cubicBezTo>
                      <a:pt x="103" y="142"/>
                      <a:pt x="102" y="141"/>
                      <a:pt x="101" y="141"/>
                    </a:cubicBezTo>
                    <a:cubicBezTo>
                      <a:pt x="101" y="141"/>
                      <a:pt x="101" y="142"/>
                      <a:pt x="101" y="142"/>
                    </a:cubicBezTo>
                    <a:cubicBezTo>
                      <a:pt x="101" y="142"/>
                      <a:pt x="101" y="142"/>
                      <a:pt x="100" y="142"/>
                    </a:cubicBezTo>
                    <a:cubicBezTo>
                      <a:pt x="101" y="142"/>
                      <a:pt x="100" y="142"/>
                      <a:pt x="100" y="142"/>
                    </a:cubicBezTo>
                    <a:cubicBezTo>
                      <a:pt x="100" y="142"/>
                      <a:pt x="101" y="142"/>
                      <a:pt x="101" y="143"/>
                    </a:cubicBezTo>
                    <a:cubicBezTo>
                      <a:pt x="101" y="143"/>
                      <a:pt x="101" y="143"/>
                      <a:pt x="102" y="143"/>
                    </a:cubicBezTo>
                    <a:cubicBezTo>
                      <a:pt x="102" y="143"/>
                      <a:pt x="104" y="144"/>
                      <a:pt x="103" y="144"/>
                    </a:cubicBezTo>
                    <a:cubicBezTo>
                      <a:pt x="103" y="144"/>
                      <a:pt x="103" y="145"/>
                      <a:pt x="103" y="145"/>
                    </a:cubicBezTo>
                    <a:cubicBezTo>
                      <a:pt x="103" y="145"/>
                      <a:pt x="104" y="145"/>
                      <a:pt x="104" y="145"/>
                    </a:cubicBezTo>
                    <a:cubicBezTo>
                      <a:pt x="104" y="145"/>
                      <a:pt x="104" y="145"/>
                      <a:pt x="104" y="145"/>
                    </a:cubicBezTo>
                    <a:cubicBezTo>
                      <a:pt x="104" y="145"/>
                      <a:pt x="104" y="146"/>
                      <a:pt x="104" y="145"/>
                    </a:cubicBezTo>
                    <a:cubicBezTo>
                      <a:pt x="104" y="146"/>
                      <a:pt x="104" y="146"/>
                      <a:pt x="104" y="146"/>
                    </a:cubicBezTo>
                    <a:cubicBezTo>
                      <a:pt x="104" y="146"/>
                      <a:pt x="106" y="147"/>
                      <a:pt x="106" y="147"/>
                    </a:cubicBezTo>
                    <a:cubicBezTo>
                      <a:pt x="106" y="148"/>
                      <a:pt x="105" y="148"/>
                      <a:pt x="105" y="148"/>
                    </a:cubicBezTo>
                    <a:cubicBezTo>
                      <a:pt x="105" y="148"/>
                      <a:pt x="105" y="148"/>
                      <a:pt x="105" y="148"/>
                    </a:cubicBezTo>
                    <a:cubicBezTo>
                      <a:pt x="106" y="148"/>
                      <a:pt x="106" y="148"/>
                      <a:pt x="106" y="148"/>
                    </a:cubicBezTo>
                    <a:cubicBezTo>
                      <a:pt x="106" y="149"/>
                      <a:pt x="105" y="148"/>
                      <a:pt x="106" y="149"/>
                    </a:cubicBezTo>
                    <a:cubicBezTo>
                      <a:pt x="106" y="149"/>
                      <a:pt x="105" y="150"/>
                      <a:pt x="105" y="150"/>
                    </a:cubicBezTo>
                    <a:cubicBezTo>
                      <a:pt x="105" y="150"/>
                      <a:pt x="106" y="150"/>
                      <a:pt x="107" y="151"/>
                    </a:cubicBezTo>
                    <a:cubicBezTo>
                      <a:pt x="107" y="151"/>
                      <a:pt x="108" y="152"/>
                      <a:pt x="108" y="152"/>
                    </a:cubicBezTo>
                    <a:cubicBezTo>
                      <a:pt x="109" y="152"/>
                      <a:pt x="110" y="152"/>
                      <a:pt x="110" y="152"/>
                    </a:cubicBezTo>
                    <a:cubicBezTo>
                      <a:pt x="111" y="152"/>
                      <a:pt x="112" y="152"/>
                      <a:pt x="111" y="152"/>
                    </a:cubicBezTo>
                    <a:cubicBezTo>
                      <a:pt x="112" y="152"/>
                      <a:pt x="113" y="152"/>
                      <a:pt x="113" y="152"/>
                    </a:cubicBezTo>
                    <a:cubicBezTo>
                      <a:pt x="114" y="152"/>
                      <a:pt x="114" y="153"/>
                      <a:pt x="114" y="153"/>
                    </a:cubicBezTo>
                    <a:cubicBezTo>
                      <a:pt x="114" y="153"/>
                      <a:pt x="115" y="154"/>
                      <a:pt x="115" y="154"/>
                    </a:cubicBezTo>
                    <a:cubicBezTo>
                      <a:pt x="115" y="153"/>
                      <a:pt x="115" y="153"/>
                      <a:pt x="115" y="153"/>
                    </a:cubicBezTo>
                    <a:cubicBezTo>
                      <a:pt x="116" y="153"/>
                      <a:pt x="117" y="154"/>
                      <a:pt x="117" y="154"/>
                    </a:cubicBezTo>
                    <a:cubicBezTo>
                      <a:pt x="116" y="155"/>
                      <a:pt x="118" y="156"/>
                      <a:pt x="118" y="156"/>
                    </a:cubicBezTo>
                    <a:cubicBezTo>
                      <a:pt x="119" y="156"/>
                      <a:pt x="120" y="156"/>
                      <a:pt x="120" y="156"/>
                    </a:cubicBezTo>
                    <a:cubicBezTo>
                      <a:pt x="121" y="156"/>
                      <a:pt x="122" y="157"/>
                      <a:pt x="122" y="156"/>
                    </a:cubicBezTo>
                    <a:cubicBezTo>
                      <a:pt x="123" y="156"/>
                      <a:pt x="123" y="157"/>
                      <a:pt x="124" y="157"/>
                    </a:cubicBezTo>
                    <a:cubicBezTo>
                      <a:pt x="124" y="157"/>
                      <a:pt x="124" y="157"/>
                      <a:pt x="125" y="157"/>
                    </a:cubicBezTo>
                    <a:cubicBezTo>
                      <a:pt x="125" y="157"/>
                      <a:pt x="127" y="158"/>
                      <a:pt x="127" y="157"/>
                    </a:cubicBezTo>
                    <a:cubicBezTo>
                      <a:pt x="127" y="156"/>
                      <a:pt x="128" y="156"/>
                      <a:pt x="129" y="156"/>
                    </a:cubicBezTo>
                    <a:cubicBezTo>
                      <a:pt x="130" y="156"/>
                      <a:pt x="131" y="156"/>
                      <a:pt x="130" y="155"/>
                    </a:cubicBezTo>
                    <a:cubicBezTo>
                      <a:pt x="130" y="154"/>
                      <a:pt x="129" y="153"/>
                      <a:pt x="129" y="153"/>
                    </a:cubicBezTo>
                    <a:cubicBezTo>
                      <a:pt x="129" y="153"/>
                      <a:pt x="130" y="153"/>
                      <a:pt x="129" y="152"/>
                    </a:cubicBezTo>
                    <a:cubicBezTo>
                      <a:pt x="129" y="152"/>
                      <a:pt x="129" y="152"/>
                      <a:pt x="128" y="152"/>
                    </a:cubicBezTo>
                    <a:cubicBezTo>
                      <a:pt x="128" y="152"/>
                      <a:pt x="128" y="152"/>
                      <a:pt x="128" y="151"/>
                    </a:cubicBezTo>
                    <a:cubicBezTo>
                      <a:pt x="127" y="151"/>
                      <a:pt x="127" y="152"/>
                      <a:pt x="127" y="152"/>
                    </a:cubicBezTo>
                    <a:cubicBezTo>
                      <a:pt x="126" y="152"/>
                      <a:pt x="126" y="152"/>
                      <a:pt x="125" y="152"/>
                    </a:cubicBezTo>
                    <a:cubicBezTo>
                      <a:pt x="124" y="152"/>
                      <a:pt x="123" y="152"/>
                      <a:pt x="122" y="151"/>
                    </a:cubicBezTo>
                    <a:cubicBezTo>
                      <a:pt x="121" y="150"/>
                      <a:pt x="120" y="150"/>
                      <a:pt x="119" y="149"/>
                    </a:cubicBezTo>
                    <a:cubicBezTo>
                      <a:pt x="119" y="148"/>
                      <a:pt x="118" y="148"/>
                      <a:pt x="118" y="148"/>
                    </a:cubicBezTo>
                    <a:cubicBezTo>
                      <a:pt x="118" y="148"/>
                      <a:pt x="117" y="147"/>
                      <a:pt x="118" y="147"/>
                    </a:cubicBezTo>
                    <a:cubicBezTo>
                      <a:pt x="118" y="147"/>
                      <a:pt x="116" y="146"/>
                      <a:pt x="117" y="146"/>
                    </a:cubicBezTo>
                    <a:cubicBezTo>
                      <a:pt x="118" y="146"/>
                      <a:pt x="119" y="147"/>
                      <a:pt x="119" y="146"/>
                    </a:cubicBezTo>
                    <a:cubicBezTo>
                      <a:pt x="120" y="146"/>
                      <a:pt x="119" y="144"/>
                      <a:pt x="119" y="144"/>
                    </a:cubicBezTo>
                    <a:cubicBezTo>
                      <a:pt x="120" y="144"/>
                      <a:pt x="121" y="144"/>
                      <a:pt x="122" y="144"/>
                    </a:cubicBezTo>
                    <a:cubicBezTo>
                      <a:pt x="123" y="144"/>
                      <a:pt x="124" y="145"/>
                      <a:pt x="125" y="145"/>
                    </a:cubicBezTo>
                    <a:cubicBezTo>
                      <a:pt x="126" y="145"/>
                      <a:pt x="126" y="146"/>
                      <a:pt x="127" y="147"/>
                    </a:cubicBezTo>
                    <a:cubicBezTo>
                      <a:pt x="128" y="147"/>
                      <a:pt x="129" y="147"/>
                      <a:pt x="130" y="147"/>
                    </a:cubicBezTo>
                    <a:cubicBezTo>
                      <a:pt x="132" y="147"/>
                      <a:pt x="131" y="148"/>
                      <a:pt x="131" y="148"/>
                    </a:cubicBezTo>
                    <a:cubicBezTo>
                      <a:pt x="131" y="148"/>
                      <a:pt x="131" y="148"/>
                      <a:pt x="130" y="148"/>
                    </a:cubicBezTo>
                    <a:cubicBezTo>
                      <a:pt x="130" y="148"/>
                      <a:pt x="130" y="148"/>
                      <a:pt x="129" y="148"/>
                    </a:cubicBezTo>
                    <a:cubicBezTo>
                      <a:pt x="128" y="148"/>
                      <a:pt x="130" y="149"/>
                      <a:pt x="129" y="149"/>
                    </a:cubicBezTo>
                    <a:cubicBezTo>
                      <a:pt x="129" y="149"/>
                      <a:pt x="129" y="150"/>
                      <a:pt x="129" y="149"/>
                    </a:cubicBezTo>
                    <a:cubicBezTo>
                      <a:pt x="130" y="149"/>
                      <a:pt x="130" y="149"/>
                      <a:pt x="130" y="149"/>
                    </a:cubicBezTo>
                    <a:cubicBezTo>
                      <a:pt x="130" y="148"/>
                      <a:pt x="132" y="149"/>
                      <a:pt x="132" y="148"/>
                    </a:cubicBezTo>
                    <a:cubicBezTo>
                      <a:pt x="132" y="148"/>
                      <a:pt x="131" y="148"/>
                      <a:pt x="132" y="148"/>
                    </a:cubicBezTo>
                    <a:cubicBezTo>
                      <a:pt x="132" y="147"/>
                      <a:pt x="134" y="148"/>
                      <a:pt x="134" y="148"/>
                    </a:cubicBezTo>
                    <a:cubicBezTo>
                      <a:pt x="136" y="148"/>
                      <a:pt x="136" y="149"/>
                      <a:pt x="137" y="149"/>
                    </a:cubicBezTo>
                    <a:cubicBezTo>
                      <a:pt x="139" y="150"/>
                      <a:pt x="141" y="151"/>
                      <a:pt x="143" y="150"/>
                    </a:cubicBezTo>
                    <a:cubicBezTo>
                      <a:pt x="143" y="149"/>
                      <a:pt x="142" y="150"/>
                      <a:pt x="142" y="150"/>
                    </a:cubicBezTo>
                    <a:cubicBezTo>
                      <a:pt x="142" y="149"/>
                      <a:pt x="142" y="149"/>
                      <a:pt x="142" y="149"/>
                    </a:cubicBezTo>
                    <a:cubicBezTo>
                      <a:pt x="144" y="149"/>
                      <a:pt x="145" y="150"/>
                      <a:pt x="146" y="150"/>
                    </a:cubicBezTo>
                    <a:cubicBezTo>
                      <a:pt x="147" y="150"/>
                      <a:pt x="148" y="151"/>
                      <a:pt x="147" y="149"/>
                    </a:cubicBezTo>
                    <a:cubicBezTo>
                      <a:pt x="147" y="149"/>
                      <a:pt x="146" y="148"/>
                      <a:pt x="147" y="148"/>
                    </a:cubicBezTo>
                    <a:cubicBezTo>
                      <a:pt x="147" y="148"/>
                      <a:pt x="146" y="148"/>
                      <a:pt x="146" y="147"/>
                    </a:cubicBezTo>
                    <a:cubicBezTo>
                      <a:pt x="146" y="147"/>
                      <a:pt x="146" y="147"/>
                      <a:pt x="145" y="146"/>
                    </a:cubicBezTo>
                    <a:cubicBezTo>
                      <a:pt x="145" y="146"/>
                      <a:pt x="144" y="146"/>
                      <a:pt x="143" y="145"/>
                    </a:cubicBezTo>
                    <a:cubicBezTo>
                      <a:pt x="143" y="145"/>
                      <a:pt x="142" y="144"/>
                      <a:pt x="142" y="144"/>
                    </a:cubicBezTo>
                    <a:cubicBezTo>
                      <a:pt x="141" y="143"/>
                      <a:pt x="141" y="143"/>
                      <a:pt x="140" y="143"/>
                    </a:cubicBezTo>
                    <a:cubicBezTo>
                      <a:pt x="139" y="142"/>
                      <a:pt x="140" y="140"/>
                      <a:pt x="141" y="140"/>
                    </a:cubicBezTo>
                    <a:cubicBezTo>
                      <a:pt x="142" y="139"/>
                      <a:pt x="144" y="139"/>
                      <a:pt x="145" y="137"/>
                    </a:cubicBezTo>
                    <a:cubicBezTo>
                      <a:pt x="146" y="136"/>
                      <a:pt x="147" y="136"/>
                      <a:pt x="149" y="136"/>
                    </a:cubicBezTo>
                    <a:cubicBezTo>
                      <a:pt x="150" y="136"/>
                      <a:pt x="152" y="135"/>
                      <a:pt x="153" y="134"/>
                    </a:cubicBezTo>
                    <a:cubicBezTo>
                      <a:pt x="154" y="133"/>
                      <a:pt x="154" y="131"/>
                      <a:pt x="156" y="131"/>
                    </a:cubicBezTo>
                    <a:cubicBezTo>
                      <a:pt x="157" y="131"/>
                      <a:pt x="157" y="132"/>
                      <a:pt x="158" y="132"/>
                    </a:cubicBezTo>
                    <a:cubicBezTo>
                      <a:pt x="159" y="132"/>
                      <a:pt x="158" y="132"/>
                      <a:pt x="158" y="132"/>
                    </a:cubicBezTo>
                    <a:cubicBezTo>
                      <a:pt x="159" y="133"/>
                      <a:pt x="160" y="132"/>
                      <a:pt x="161" y="132"/>
                    </a:cubicBezTo>
                    <a:cubicBezTo>
                      <a:pt x="162" y="132"/>
                      <a:pt x="163" y="132"/>
                      <a:pt x="163" y="132"/>
                    </a:cubicBezTo>
                    <a:cubicBezTo>
                      <a:pt x="164" y="133"/>
                      <a:pt x="165" y="133"/>
                      <a:pt x="166" y="133"/>
                    </a:cubicBezTo>
                    <a:cubicBezTo>
                      <a:pt x="168" y="134"/>
                      <a:pt x="166" y="134"/>
                      <a:pt x="165" y="135"/>
                    </a:cubicBezTo>
                    <a:cubicBezTo>
                      <a:pt x="165" y="135"/>
                      <a:pt x="164" y="135"/>
                      <a:pt x="164" y="136"/>
                    </a:cubicBezTo>
                    <a:cubicBezTo>
                      <a:pt x="165" y="136"/>
                      <a:pt x="165" y="136"/>
                      <a:pt x="166" y="136"/>
                    </a:cubicBezTo>
                    <a:cubicBezTo>
                      <a:pt x="166" y="136"/>
                      <a:pt x="165" y="136"/>
                      <a:pt x="165" y="136"/>
                    </a:cubicBezTo>
                    <a:cubicBezTo>
                      <a:pt x="165" y="135"/>
                      <a:pt x="167" y="135"/>
                      <a:pt x="167" y="135"/>
                    </a:cubicBezTo>
                    <a:cubicBezTo>
                      <a:pt x="168" y="134"/>
                      <a:pt x="169" y="135"/>
                      <a:pt x="170" y="135"/>
                    </a:cubicBezTo>
                    <a:cubicBezTo>
                      <a:pt x="170" y="136"/>
                      <a:pt x="170" y="136"/>
                      <a:pt x="170" y="136"/>
                    </a:cubicBezTo>
                    <a:cubicBezTo>
                      <a:pt x="170" y="137"/>
                      <a:pt x="171" y="137"/>
                      <a:pt x="171" y="137"/>
                    </a:cubicBezTo>
                    <a:cubicBezTo>
                      <a:pt x="171" y="137"/>
                      <a:pt x="171" y="137"/>
                      <a:pt x="171" y="136"/>
                    </a:cubicBezTo>
                    <a:cubicBezTo>
                      <a:pt x="170" y="136"/>
                      <a:pt x="171" y="136"/>
                      <a:pt x="171" y="136"/>
                    </a:cubicBezTo>
                    <a:cubicBezTo>
                      <a:pt x="170" y="135"/>
                      <a:pt x="170" y="135"/>
                      <a:pt x="170" y="135"/>
                    </a:cubicBezTo>
                    <a:cubicBezTo>
                      <a:pt x="170" y="134"/>
                      <a:pt x="170" y="134"/>
                      <a:pt x="170" y="133"/>
                    </a:cubicBezTo>
                    <a:cubicBezTo>
                      <a:pt x="170" y="133"/>
                      <a:pt x="170" y="132"/>
                      <a:pt x="170" y="132"/>
                    </a:cubicBezTo>
                    <a:cubicBezTo>
                      <a:pt x="170" y="132"/>
                      <a:pt x="171" y="132"/>
                      <a:pt x="171" y="131"/>
                    </a:cubicBezTo>
                    <a:cubicBezTo>
                      <a:pt x="171" y="131"/>
                      <a:pt x="171" y="131"/>
                      <a:pt x="171" y="130"/>
                    </a:cubicBezTo>
                    <a:cubicBezTo>
                      <a:pt x="171" y="130"/>
                      <a:pt x="172" y="130"/>
                      <a:pt x="172" y="130"/>
                    </a:cubicBezTo>
                    <a:cubicBezTo>
                      <a:pt x="171" y="130"/>
                      <a:pt x="170" y="129"/>
                      <a:pt x="170" y="129"/>
                    </a:cubicBezTo>
                    <a:cubicBezTo>
                      <a:pt x="170" y="129"/>
                      <a:pt x="171" y="128"/>
                      <a:pt x="171" y="128"/>
                    </a:cubicBezTo>
                    <a:cubicBezTo>
                      <a:pt x="171" y="128"/>
                      <a:pt x="170" y="128"/>
                      <a:pt x="171" y="127"/>
                    </a:cubicBezTo>
                    <a:cubicBezTo>
                      <a:pt x="170" y="127"/>
                      <a:pt x="170" y="127"/>
                      <a:pt x="169" y="126"/>
                    </a:cubicBezTo>
                    <a:cubicBezTo>
                      <a:pt x="169" y="126"/>
                      <a:pt x="169" y="126"/>
                      <a:pt x="169" y="126"/>
                    </a:cubicBezTo>
                    <a:cubicBezTo>
                      <a:pt x="168" y="126"/>
                      <a:pt x="168" y="125"/>
                      <a:pt x="167" y="125"/>
                    </a:cubicBezTo>
                    <a:cubicBezTo>
                      <a:pt x="167" y="125"/>
                      <a:pt x="166" y="125"/>
                      <a:pt x="165" y="125"/>
                    </a:cubicBezTo>
                    <a:cubicBezTo>
                      <a:pt x="164" y="125"/>
                      <a:pt x="164" y="123"/>
                      <a:pt x="165" y="122"/>
                    </a:cubicBezTo>
                    <a:cubicBezTo>
                      <a:pt x="165" y="121"/>
                      <a:pt x="165" y="120"/>
                      <a:pt x="166" y="120"/>
                    </a:cubicBezTo>
                    <a:cubicBezTo>
                      <a:pt x="167" y="121"/>
                      <a:pt x="165" y="120"/>
                      <a:pt x="166" y="120"/>
                    </a:cubicBezTo>
                    <a:cubicBezTo>
                      <a:pt x="165" y="120"/>
                      <a:pt x="166" y="119"/>
                      <a:pt x="166" y="119"/>
                    </a:cubicBezTo>
                    <a:cubicBezTo>
                      <a:pt x="165" y="119"/>
                      <a:pt x="165" y="119"/>
                      <a:pt x="165" y="118"/>
                    </a:cubicBezTo>
                    <a:cubicBezTo>
                      <a:pt x="165" y="118"/>
                      <a:pt x="166" y="118"/>
                      <a:pt x="166" y="118"/>
                    </a:cubicBezTo>
                    <a:cubicBezTo>
                      <a:pt x="166" y="118"/>
                      <a:pt x="166" y="118"/>
                      <a:pt x="166" y="118"/>
                    </a:cubicBezTo>
                    <a:cubicBezTo>
                      <a:pt x="165" y="118"/>
                      <a:pt x="165" y="117"/>
                      <a:pt x="166" y="117"/>
                    </a:cubicBezTo>
                    <a:cubicBezTo>
                      <a:pt x="166" y="117"/>
                      <a:pt x="165" y="117"/>
                      <a:pt x="165" y="117"/>
                    </a:cubicBezTo>
                    <a:cubicBezTo>
                      <a:pt x="165" y="117"/>
                      <a:pt x="166" y="117"/>
                      <a:pt x="166" y="117"/>
                    </a:cubicBezTo>
                    <a:cubicBezTo>
                      <a:pt x="165" y="117"/>
                      <a:pt x="165" y="117"/>
                      <a:pt x="165" y="116"/>
                    </a:cubicBezTo>
                    <a:cubicBezTo>
                      <a:pt x="165" y="115"/>
                      <a:pt x="165" y="114"/>
                      <a:pt x="164" y="114"/>
                    </a:cubicBezTo>
                    <a:cubicBezTo>
                      <a:pt x="163" y="113"/>
                      <a:pt x="161" y="113"/>
                      <a:pt x="160" y="112"/>
                    </a:cubicBezTo>
                    <a:cubicBezTo>
                      <a:pt x="159" y="112"/>
                      <a:pt x="158" y="112"/>
                      <a:pt x="157" y="111"/>
                    </a:cubicBezTo>
                    <a:cubicBezTo>
                      <a:pt x="158" y="110"/>
                      <a:pt x="160" y="111"/>
                      <a:pt x="161" y="111"/>
                    </a:cubicBezTo>
                    <a:cubicBezTo>
                      <a:pt x="161" y="112"/>
                      <a:pt x="162" y="112"/>
                      <a:pt x="163" y="112"/>
                    </a:cubicBezTo>
                    <a:cubicBezTo>
                      <a:pt x="164" y="112"/>
                      <a:pt x="165" y="112"/>
                      <a:pt x="166" y="112"/>
                    </a:cubicBezTo>
                    <a:cubicBezTo>
                      <a:pt x="168" y="112"/>
                      <a:pt x="170" y="112"/>
                      <a:pt x="172" y="112"/>
                    </a:cubicBezTo>
                    <a:cubicBezTo>
                      <a:pt x="173" y="112"/>
                      <a:pt x="174" y="112"/>
                      <a:pt x="176" y="113"/>
                    </a:cubicBezTo>
                    <a:cubicBezTo>
                      <a:pt x="176" y="113"/>
                      <a:pt x="177" y="113"/>
                      <a:pt x="177" y="113"/>
                    </a:cubicBezTo>
                    <a:cubicBezTo>
                      <a:pt x="176" y="113"/>
                      <a:pt x="177" y="114"/>
                      <a:pt x="177" y="114"/>
                    </a:cubicBezTo>
                    <a:cubicBezTo>
                      <a:pt x="178" y="114"/>
                      <a:pt x="179" y="115"/>
                      <a:pt x="179" y="115"/>
                    </a:cubicBezTo>
                    <a:cubicBezTo>
                      <a:pt x="179" y="115"/>
                      <a:pt x="182" y="116"/>
                      <a:pt x="182" y="116"/>
                    </a:cubicBezTo>
                    <a:cubicBezTo>
                      <a:pt x="182" y="116"/>
                      <a:pt x="183" y="117"/>
                      <a:pt x="183" y="118"/>
                    </a:cubicBezTo>
                    <a:cubicBezTo>
                      <a:pt x="184" y="118"/>
                      <a:pt x="185" y="119"/>
                      <a:pt x="184" y="119"/>
                    </a:cubicBezTo>
                    <a:cubicBezTo>
                      <a:pt x="182" y="119"/>
                      <a:pt x="182" y="119"/>
                      <a:pt x="180" y="119"/>
                    </a:cubicBezTo>
                    <a:cubicBezTo>
                      <a:pt x="179" y="119"/>
                      <a:pt x="178" y="119"/>
                      <a:pt x="177" y="119"/>
                    </a:cubicBezTo>
                    <a:cubicBezTo>
                      <a:pt x="177" y="119"/>
                      <a:pt x="175" y="119"/>
                      <a:pt x="174" y="120"/>
                    </a:cubicBezTo>
                    <a:cubicBezTo>
                      <a:pt x="174" y="120"/>
                      <a:pt x="175" y="121"/>
                      <a:pt x="175" y="121"/>
                    </a:cubicBezTo>
                    <a:cubicBezTo>
                      <a:pt x="174" y="121"/>
                      <a:pt x="174" y="121"/>
                      <a:pt x="174" y="121"/>
                    </a:cubicBezTo>
                    <a:cubicBezTo>
                      <a:pt x="173" y="121"/>
                      <a:pt x="173" y="122"/>
                      <a:pt x="173" y="122"/>
                    </a:cubicBezTo>
                    <a:cubicBezTo>
                      <a:pt x="172" y="122"/>
                      <a:pt x="172" y="123"/>
                      <a:pt x="173" y="123"/>
                    </a:cubicBezTo>
                    <a:cubicBezTo>
                      <a:pt x="173" y="124"/>
                      <a:pt x="175" y="124"/>
                      <a:pt x="176" y="124"/>
                    </a:cubicBezTo>
                    <a:cubicBezTo>
                      <a:pt x="176" y="125"/>
                      <a:pt x="177" y="125"/>
                      <a:pt x="177" y="125"/>
                    </a:cubicBezTo>
                    <a:cubicBezTo>
                      <a:pt x="178" y="125"/>
                      <a:pt x="178" y="126"/>
                      <a:pt x="179" y="126"/>
                    </a:cubicBezTo>
                    <a:cubicBezTo>
                      <a:pt x="180" y="128"/>
                      <a:pt x="182" y="129"/>
                      <a:pt x="184" y="128"/>
                    </a:cubicBezTo>
                    <a:cubicBezTo>
                      <a:pt x="184" y="128"/>
                      <a:pt x="186" y="127"/>
                      <a:pt x="186" y="128"/>
                    </a:cubicBezTo>
                    <a:cubicBezTo>
                      <a:pt x="186" y="128"/>
                      <a:pt x="185" y="129"/>
                      <a:pt x="185" y="129"/>
                    </a:cubicBezTo>
                    <a:cubicBezTo>
                      <a:pt x="186" y="129"/>
                      <a:pt x="187" y="128"/>
                      <a:pt x="188" y="128"/>
                    </a:cubicBezTo>
                    <a:cubicBezTo>
                      <a:pt x="188" y="128"/>
                      <a:pt x="189" y="128"/>
                      <a:pt x="190" y="128"/>
                    </a:cubicBezTo>
                    <a:cubicBezTo>
                      <a:pt x="191" y="128"/>
                      <a:pt x="193" y="127"/>
                      <a:pt x="193" y="128"/>
                    </a:cubicBezTo>
                    <a:cubicBezTo>
                      <a:pt x="193" y="127"/>
                      <a:pt x="193" y="127"/>
                      <a:pt x="194" y="127"/>
                    </a:cubicBezTo>
                    <a:cubicBezTo>
                      <a:pt x="194" y="127"/>
                      <a:pt x="194" y="126"/>
                      <a:pt x="194" y="126"/>
                    </a:cubicBezTo>
                    <a:cubicBezTo>
                      <a:pt x="194" y="126"/>
                      <a:pt x="193" y="125"/>
                      <a:pt x="193" y="125"/>
                    </a:cubicBezTo>
                    <a:cubicBezTo>
                      <a:pt x="193" y="125"/>
                      <a:pt x="193" y="125"/>
                      <a:pt x="193" y="124"/>
                    </a:cubicBezTo>
                    <a:cubicBezTo>
                      <a:pt x="194" y="124"/>
                      <a:pt x="193" y="124"/>
                      <a:pt x="193" y="123"/>
                    </a:cubicBezTo>
                    <a:cubicBezTo>
                      <a:pt x="193" y="123"/>
                      <a:pt x="194" y="123"/>
                      <a:pt x="194" y="123"/>
                    </a:cubicBezTo>
                    <a:cubicBezTo>
                      <a:pt x="194" y="122"/>
                      <a:pt x="194" y="122"/>
                      <a:pt x="193" y="122"/>
                    </a:cubicBezTo>
                    <a:cubicBezTo>
                      <a:pt x="193" y="122"/>
                      <a:pt x="193" y="121"/>
                      <a:pt x="193" y="121"/>
                    </a:cubicBezTo>
                    <a:cubicBezTo>
                      <a:pt x="193" y="121"/>
                      <a:pt x="194" y="121"/>
                      <a:pt x="194" y="121"/>
                    </a:cubicBezTo>
                    <a:cubicBezTo>
                      <a:pt x="194" y="121"/>
                      <a:pt x="195" y="121"/>
                      <a:pt x="195" y="121"/>
                    </a:cubicBezTo>
                    <a:cubicBezTo>
                      <a:pt x="195" y="121"/>
                      <a:pt x="195" y="120"/>
                      <a:pt x="196" y="120"/>
                    </a:cubicBezTo>
                    <a:cubicBezTo>
                      <a:pt x="196" y="120"/>
                      <a:pt x="196" y="120"/>
                      <a:pt x="197" y="120"/>
                    </a:cubicBezTo>
                    <a:cubicBezTo>
                      <a:pt x="197" y="120"/>
                      <a:pt x="198" y="120"/>
                      <a:pt x="198" y="120"/>
                    </a:cubicBezTo>
                    <a:cubicBezTo>
                      <a:pt x="198" y="120"/>
                      <a:pt x="199" y="120"/>
                      <a:pt x="199" y="120"/>
                    </a:cubicBezTo>
                    <a:cubicBezTo>
                      <a:pt x="199" y="120"/>
                      <a:pt x="200" y="120"/>
                      <a:pt x="200" y="120"/>
                    </a:cubicBezTo>
                    <a:cubicBezTo>
                      <a:pt x="201" y="120"/>
                      <a:pt x="201" y="121"/>
                      <a:pt x="202" y="121"/>
                    </a:cubicBezTo>
                    <a:cubicBezTo>
                      <a:pt x="201" y="121"/>
                      <a:pt x="199" y="120"/>
                      <a:pt x="199" y="120"/>
                    </a:cubicBezTo>
                    <a:cubicBezTo>
                      <a:pt x="199" y="118"/>
                      <a:pt x="198" y="119"/>
                      <a:pt x="197" y="118"/>
                    </a:cubicBezTo>
                    <a:cubicBezTo>
                      <a:pt x="198" y="118"/>
                      <a:pt x="199" y="119"/>
                      <a:pt x="200" y="119"/>
                    </a:cubicBezTo>
                    <a:cubicBezTo>
                      <a:pt x="201" y="119"/>
                      <a:pt x="202" y="118"/>
                      <a:pt x="203" y="118"/>
                    </a:cubicBezTo>
                    <a:cubicBezTo>
                      <a:pt x="204" y="118"/>
                      <a:pt x="205" y="117"/>
                      <a:pt x="206" y="117"/>
                    </a:cubicBezTo>
                    <a:cubicBezTo>
                      <a:pt x="206" y="117"/>
                      <a:pt x="207" y="116"/>
                      <a:pt x="207" y="117"/>
                    </a:cubicBezTo>
                    <a:cubicBezTo>
                      <a:pt x="207" y="117"/>
                      <a:pt x="206" y="117"/>
                      <a:pt x="206" y="117"/>
                    </a:cubicBezTo>
                    <a:cubicBezTo>
                      <a:pt x="206" y="117"/>
                      <a:pt x="207" y="117"/>
                      <a:pt x="207" y="116"/>
                    </a:cubicBezTo>
                    <a:cubicBezTo>
                      <a:pt x="208" y="116"/>
                      <a:pt x="208" y="116"/>
                      <a:pt x="209" y="115"/>
                    </a:cubicBezTo>
                    <a:cubicBezTo>
                      <a:pt x="209" y="115"/>
                      <a:pt x="210" y="115"/>
                      <a:pt x="210" y="115"/>
                    </a:cubicBezTo>
                    <a:cubicBezTo>
                      <a:pt x="211" y="114"/>
                      <a:pt x="211" y="114"/>
                      <a:pt x="212" y="114"/>
                    </a:cubicBezTo>
                    <a:cubicBezTo>
                      <a:pt x="213" y="114"/>
                      <a:pt x="214" y="114"/>
                      <a:pt x="215" y="114"/>
                    </a:cubicBezTo>
                    <a:cubicBezTo>
                      <a:pt x="215" y="114"/>
                      <a:pt x="215" y="113"/>
                      <a:pt x="216" y="113"/>
                    </a:cubicBezTo>
                    <a:cubicBezTo>
                      <a:pt x="216" y="113"/>
                      <a:pt x="217" y="113"/>
                      <a:pt x="217" y="113"/>
                    </a:cubicBezTo>
                    <a:cubicBezTo>
                      <a:pt x="217" y="113"/>
                      <a:pt x="216" y="113"/>
                      <a:pt x="217" y="113"/>
                    </a:cubicBezTo>
                    <a:cubicBezTo>
                      <a:pt x="218" y="113"/>
                      <a:pt x="218" y="113"/>
                      <a:pt x="219" y="112"/>
                    </a:cubicBezTo>
                    <a:cubicBezTo>
                      <a:pt x="219" y="112"/>
                      <a:pt x="221" y="112"/>
                      <a:pt x="221" y="112"/>
                    </a:cubicBezTo>
                    <a:cubicBezTo>
                      <a:pt x="221" y="112"/>
                      <a:pt x="220" y="112"/>
                      <a:pt x="220" y="113"/>
                    </a:cubicBezTo>
                    <a:cubicBezTo>
                      <a:pt x="220" y="113"/>
                      <a:pt x="221" y="113"/>
                      <a:pt x="221" y="113"/>
                    </a:cubicBezTo>
                    <a:cubicBezTo>
                      <a:pt x="221" y="113"/>
                      <a:pt x="222" y="112"/>
                      <a:pt x="222" y="113"/>
                    </a:cubicBezTo>
                    <a:cubicBezTo>
                      <a:pt x="222" y="113"/>
                      <a:pt x="222" y="113"/>
                      <a:pt x="222" y="113"/>
                    </a:cubicBezTo>
                    <a:cubicBezTo>
                      <a:pt x="222" y="113"/>
                      <a:pt x="221" y="114"/>
                      <a:pt x="221" y="114"/>
                    </a:cubicBezTo>
                    <a:cubicBezTo>
                      <a:pt x="222" y="115"/>
                      <a:pt x="223" y="114"/>
                      <a:pt x="224" y="113"/>
                    </a:cubicBezTo>
                    <a:cubicBezTo>
                      <a:pt x="226" y="113"/>
                      <a:pt x="224" y="112"/>
                      <a:pt x="223" y="112"/>
                    </a:cubicBezTo>
                    <a:cubicBezTo>
                      <a:pt x="222" y="111"/>
                      <a:pt x="224" y="112"/>
                      <a:pt x="224" y="111"/>
                    </a:cubicBezTo>
                    <a:cubicBezTo>
                      <a:pt x="224" y="111"/>
                      <a:pt x="222" y="112"/>
                      <a:pt x="222" y="112"/>
                    </a:cubicBezTo>
                    <a:cubicBezTo>
                      <a:pt x="220" y="112"/>
                      <a:pt x="223" y="111"/>
                      <a:pt x="223" y="111"/>
                    </a:cubicBezTo>
                    <a:cubicBezTo>
                      <a:pt x="224" y="110"/>
                      <a:pt x="226" y="110"/>
                      <a:pt x="227" y="109"/>
                    </a:cubicBezTo>
                    <a:cubicBezTo>
                      <a:pt x="229" y="109"/>
                      <a:pt x="230" y="108"/>
                      <a:pt x="232" y="108"/>
                    </a:cubicBezTo>
                    <a:cubicBezTo>
                      <a:pt x="232" y="108"/>
                      <a:pt x="236" y="107"/>
                      <a:pt x="236" y="108"/>
                    </a:cubicBezTo>
                    <a:cubicBezTo>
                      <a:pt x="236" y="108"/>
                      <a:pt x="233" y="109"/>
                      <a:pt x="233" y="109"/>
                    </a:cubicBezTo>
                    <a:cubicBezTo>
                      <a:pt x="232" y="109"/>
                      <a:pt x="231" y="108"/>
                      <a:pt x="230" y="109"/>
                    </a:cubicBezTo>
                    <a:cubicBezTo>
                      <a:pt x="230" y="109"/>
                      <a:pt x="230" y="109"/>
                      <a:pt x="231" y="109"/>
                    </a:cubicBezTo>
                    <a:cubicBezTo>
                      <a:pt x="230" y="109"/>
                      <a:pt x="233" y="109"/>
                      <a:pt x="232" y="110"/>
                    </a:cubicBezTo>
                    <a:cubicBezTo>
                      <a:pt x="232" y="110"/>
                      <a:pt x="232" y="110"/>
                      <a:pt x="232" y="111"/>
                    </a:cubicBezTo>
                    <a:cubicBezTo>
                      <a:pt x="232" y="111"/>
                      <a:pt x="231" y="111"/>
                      <a:pt x="231" y="111"/>
                    </a:cubicBezTo>
                    <a:cubicBezTo>
                      <a:pt x="232" y="112"/>
                      <a:pt x="233" y="112"/>
                      <a:pt x="234" y="113"/>
                    </a:cubicBezTo>
                    <a:cubicBezTo>
                      <a:pt x="234" y="114"/>
                      <a:pt x="233" y="114"/>
                      <a:pt x="233" y="114"/>
                    </a:cubicBezTo>
                    <a:cubicBezTo>
                      <a:pt x="232" y="114"/>
                      <a:pt x="232" y="113"/>
                      <a:pt x="231" y="113"/>
                    </a:cubicBezTo>
                    <a:cubicBezTo>
                      <a:pt x="231" y="114"/>
                      <a:pt x="232" y="114"/>
                      <a:pt x="232" y="114"/>
                    </a:cubicBezTo>
                    <a:cubicBezTo>
                      <a:pt x="231" y="114"/>
                      <a:pt x="230" y="113"/>
                      <a:pt x="229" y="114"/>
                    </a:cubicBezTo>
                    <a:cubicBezTo>
                      <a:pt x="228" y="115"/>
                      <a:pt x="230" y="115"/>
                      <a:pt x="231" y="115"/>
                    </a:cubicBezTo>
                    <a:cubicBezTo>
                      <a:pt x="232" y="115"/>
                      <a:pt x="233" y="115"/>
                      <a:pt x="234" y="115"/>
                    </a:cubicBezTo>
                    <a:cubicBezTo>
                      <a:pt x="235" y="115"/>
                      <a:pt x="235" y="115"/>
                      <a:pt x="235" y="115"/>
                    </a:cubicBezTo>
                    <a:cubicBezTo>
                      <a:pt x="236" y="115"/>
                      <a:pt x="236" y="114"/>
                      <a:pt x="236" y="114"/>
                    </a:cubicBezTo>
                    <a:cubicBezTo>
                      <a:pt x="236" y="115"/>
                      <a:pt x="236" y="115"/>
                      <a:pt x="236" y="115"/>
                    </a:cubicBezTo>
                    <a:cubicBezTo>
                      <a:pt x="237" y="115"/>
                      <a:pt x="237" y="115"/>
                      <a:pt x="237" y="115"/>
                    </a:cubicBezTo>
                    <a:cubicBezTo>
                      <a:pt x="238" y="114"/>
                      <a:pt x="239" y="115"/>
                      <a:pt x="239" y="115"/>
                    </a:cubicBezTo>
                    <a:cubicBezTo>
                      <a:pt x="240" y="116"/>
                      <a:pt x="241" y="116"/>
                      <a:pt x="241" y="115"/>
                    </a:cubicBezTo>
                    <a:cubicBezTo>
                      <a:pt x="241" y="115"/>
                      <a:pt x="241" y="115"/>
                      <a:pt x="241" y="114"/>
                    </a:cubicBezTo>
                    <a:cubicBezTo>
                      <a:pt x="241" y="114"/>
                      <a:pt x="241" y="113"/>
                      <a:pt x="241" y="113"/>
                    </a:cubicBezTo>
                    <a:cubicBezTo>
                      <a:pt x="242" y="113"/>
                      <a:pt x="243" y="112"/>
                      <a:pt x="244" y="112"/>
                    </a:cubicBezTo>
                    <a:cubicBezTo>
                      <a:pt x="245" y="112"/>
                      <a:pt x="245" y="112"/>
                      <a:pt x="246" y="112"/>
                    </a:cubicBezTo>
                    <a:cubicBezTo>
                      <a:pt x="246" y="112"/>
                      <a:pt x="247" y="111"/>
                      <a:pt x="247" y="111"/>
                    </a:cubicBezTo>
                    <a:cubicBezTo>
                      <a:pt x="248" y="111"/>
                      <a:pt x="249" y="112"/>
                      <a:pt x="250" y="112"/>
                    </a:cubicBezTo>
                    <a:cubicBezTo>
                      <a:pt x="250" y="111"/>
                      <a:pt x="251" y="111"/>
                      <a:pt x="251" y="112"/>
                    </a:cubicBezTo>
                    <a:cubicBezTo>
                      <a:pt x="252" y="111"/>
                      <a:pt x="254" y="112"/>
                      <a:pt x="255" y="112"/>
                    </a:cubicBezTo>
                    <a:cubicBezTo>
                      <a:pt x="256" y="112"/>
                      <a:pt x="257" y="112"/>
                      <a:pt x="257" y="112"/>
                    </a:cubicBezTo>
                    <a:cubicBezTo>
                      <a:pt x="258" y="112"/>
                      <a:pt x="258" y="112"/>
                      <a:pt x="258" y="111"/>
                    </a:cubicBezTo>
                    <a:cubicBezTo>
                      <a:pt x="258" y="111"/>
                      <a:pt x="258" y="111"/>
                      <a:pt x="258" y="111"/>
                    </a:cubicBezTo>
                    <a:cubicBezTo>
                      <a:pt x="259" y="110"/>
                      <a:pt x="259" y="110"/>
                      <a:pt x="259" y="110"/>
                    </a:cubicBezTo>
                    <a:cubicBezTo>
                      <a:pt x="260" y="110"/>
                      <a:pt x="260" y="110"/>
                      <a:pt x="261" y="110"/>
                    </a:cubicBezTo>
                    <a:cubicBezTo>
                      <a:pt x="261" y="110"/>
                      <a:pt x="261" y="110"/>
                      <a:pt x="261" y="110"/>
                    </a:cubicBezTo>
                    <a:cubicBezTo>
                      <a:pt x="261" y="109"/>
                      <a:pt x="261" y="109"/>
                      <a:pt x="262" y="109"/>
                    </a:cubicBezTo>
                    <a:cubicBezTo>
                      <a:pt x="262" y="109"/>
                      <a:pt x="262" y="109"/>
                      <a:pt x="262" y="109"/>
                    </a:cubicBezTo>
                    <a:cubicBezTo>
                      <a:pt x="262" y="110"/>
                      <a:pt x="263" y="110"/>
                      <a:pt x="264" y="110"/>
                    </a:cubicBezTo>
                    <a:cubicBezTo>
                      <a:pt x="264" y="110"/>
                      <a:pt x="264" y="110"/>
                      <a:pt x="264" y="110"/>
                    </a:cubicBezTo>
                    <a:cubicBezTo>
                      <a:pt x="264" y="110"/>
                      <a:pt x="264" y="110"/>
                      <a:pt x="264" y="110"/>
                    </a:cubicBezTo>
                    <a:cubicBezTo>
                      <a:pt x="263" y="110"/>
                      <a:pt x="263" y="110"/>
                      <a:pt x="263" y="109"/>
                    </a:cubicBezTo>
                    <a:cubicBezTo>
                      <a:pt x="262" y="109"/>
                      <a:pt x="268" y="107"/>
                      <a:pt x="269" y="108"/>
                    </a:cubicBezTo>
                    <a:cubicBezTo>
                      <a:pt x="268" y="108"/>
                      <a:pt x="267" y="108"/>
                      <a:pt x="267" y="109"/>
                    </a:cubicBezTo>
                    <a:cubicBezTo>
                      <a:pt x="268" y="109"/>
                      <a:pt x="269" y="109"/>
                      <a:pt x="271" y="110"/>
                    </a:cubicBezTo>
                    <a:cubicBezTo>
                      <a:pt x="272" y="110"/>
                      <a:pt x="272" y="111"/>
                      <a:pt x="271" y="111"/>
                    </a:cubicBezTo>
                    <a:cubicBezTo>
                      <a:pt x="270" y="111"/>
                      <a:pt x="269" y="111"/>
                      <a:pt x="270" y="112"/>
                    </a:cubicBezTo>
                    <a:cubicBezTo>
                      <a:pt x="270" y="112"/>
                      <a:pt x="270" y="113"/>
                      <a:pt x="271" y="114"/>
                    </a:cubicBezTo>
                    <a:cubicBezTo>
                      <a:pt x="272" y="114"/>
                      <a:pt x="273" y="114"/>
                      <a:pt x="274" y="114"/>
                    </a:cubicBezTo>
                    <a:cubicBezTo>
                      <a:pt x="275" y="114"/>
                      <a:pt x="277" y="114"/>
                      <a:pt x="276" y="112"/>
                    </a:cubicBezTo>
                    <a:cubicBezTo>
                      <a:pt x="276" y="112"/>
                      <a:pt x="274" y="111"/>
                      <a:pt x="274" y="111"/>
                    </a:cubicBezTo>
                    <a:cubicBezTo>
                      <a:pt x="274" y="111"/>
                      <a:pt x="275" y="110"/>
                      <a:pt x="276" y="111"/>
                    </a:cubicBezTo>
                    <a:cubicBezTo>
                      <a:pt x="276" y="111"/>
                      <a:pt x="279" y="111"/>
                      <a:pt x="279" y="111"/>
                    </a:cubicBezTo>
                    <a:cubicBezTo>
                      <a:pt x="280" y="110"/>
                      <a:pt x="280" y="109"/>
                      <a:pt x="281" y="109"/>
                    </a:cubicBezTo>
                    <a:cubicBezTo>
                      <a:pt x="281" y="109"/>
                      <a:pt x="281" y="107"/>
                      <a:pt x="280" y="107"/>
                    </a:cubicBezTo>
                    <a:cubicBezTo>
                      <a:pt x="280" y="107"/>
                      <a:pt x="279" y="106"/>
                      <a:pt x="279" y="106"/>
                    </a:cubicBezTo>
                    <a:cubicBezTo>
                      <a:pt x="279" y="107"/>
                      <a:pt x="279" y="107"/>
                      <a:pt x="279" y="107"/>
                    </a:cubicBezTo>
                    <a:cubicBezTo>
                      <a:pt x="279" y="107"/>
                      <a:pt x="279" y="107"/>
                      <a:pt x="278" y="107"/>
                    </a:cubicBezTo>
                    <a:cubicBezTo>
                      <a:pt x="278" y="107"/>
                      <a:pt x="278" y="106"/>
                      <a:pt x="277" y="106"/>
                    </a:cubicBezTo>
                    <a:cubicBezTo>
                      <a:pt x="277" y="104"/>
                      <a:pt x="275" y="104"/>
                      <a:pt x="274" y="103"/>
                    </a:cubicBezTo>
                    <a:cubicBezTo>
                      <a:pt x="274" y="103"/>
                      <a:pt x="272" y="102"/>
                      <a:pt x="273" y="102"/>
                    </a:cubicBezTo>
                    <a:cubicBezTo>
                      <a:pt x="274" y="102"/>
                      <a:pt x="274" y="102"/>
                      <a:pt x="274" y="102"/>
                    </a:cubicBezTo>
                    <a:cubicBezTo>
                      <a:pt x="275" y="102"/>
                      <a:pt x="277" y="102"/>
                      <a:pt x="276" y="101"/>
                    </a:cubicBezTo>
                    <a:cubicBezTo>
                      <a:pt x="276" y="101"/>
                      <a:pt x="276" y="101"/>
                      <a:pt x="276" y="101"/>
                    </a:cubicBezTo>
                    <a:cubicBezTo>
                      <a:pt x="275" y="100"/>
                      <a:pt x="277" y="100"/>
                      <a:pt x="277" y="100"/>
                    </a:cubicBezTo>
                    <a:cubicBezTo>
                      <a:pt x="278" y="100"/>
                      <a:pt x="279" y="100"/>
                      <a:pt x="280" y="100"/>
                    </a:cubicBezTo>
                    <a:cubicBezTo>
                      <a:pt x="282" y="101"/>
                      <a:pt x="283" y="101"/>
                      <a:pt x="285" y="101"/>
                    </a:cubicBezTo>
                    <a:cubicBezTo>
                      <a:pt x="287" y="101"/>
                      <a:pt x="289" y="101"/>
                      <a:pt x="291" y="101"/>
                    </a:cubicBezTo>
                    <a:cubicBezTo>
                      <a:pt x="292" y="101"/>
                      <a:pt x="294" y="102"/>
                      <a:pt x="296" y="102"/>
                    </a:cubicBezTo>
                    <a:cubicBezTo>
                      <a:pt x="297" y="102"/>
                      <a:pt x="299" y="102"/>
                      <a:pt x="301" y="102"/>
                    </a:cubicBezTo>
                    <a:cubicBezTo>
                      <a:pt x="303" y="103"/>
                      <a:pt x="304" y="104"/>
                      <a:pt x="306" y="104"/>
                    </a:cubicBezTo>
                    <a:cubicBezTo>
                      <a:pt x="306" y="104"/>
                      <a:pt x="308" y="105"/>
                      <a:pt x="308" y="105"/>
                    </a:cubicBezTo>
                    <a:cubicBezTo>
                      <a:pt x="308" y="105"/>
                      <a:pt x="307" y="105"/>
                      <a:pt x="307" y="105"/>
                    </a:cubicBezTo>
                    <a:cubicBezTo>
                      <a:pt x="307" y="106"/>
                      <a:pt x="307" y="106"/>
                      <a:pt x="307" y="106"/>
                    </a:cubicBezTo>
                    <a:cubicBezTo>
                      <a:pt x="307" y="107"/>
                      <a:pt x="308" y="106"/>
                      <a:pt x="308" y="106"/>
                    </a:cubicBezTo>
                    <a:cubicBezTo>
                      <a:pt x="308" y="106"/>
                      <a:pt x="308" y="106"/>
                      <a:pt x="308" y="105"/>
                    </a:cubicBezTo>
                    <a:cubicBezTo>
                      <a:pt x="309" y="105"/>
                      <a:pt x="310" y="106"/>
                      <a:pt x="311" y="106"/>
                    </a:cubicBezTo>
                    <a:cubicBezTo>
                      <a:pt x="311" y="106"/>
                      <a:pt x="312" y="106"/>
                      <a:pt x="312" y="106"/>
                    </a:cubicBezTo>
                    <a:cubicBezTo>
                      <a:pt x="313" y="107"/>
                      <a:pt x="315" y="106"/>
                      <a:pt x="315" y="107"/>
                    </a:cubicBezTo>
                    <a:cubicBezTo>
                      <a:pt x="315" y="107"/>
                      <a:pt x="314" y="107"/>
                      <a:pt x="314" y="107"/>
                    </a:cubicBezTo>
                    <a:cubicBezTo>
                      <a:pt x="314" y="107"/>
                      <a:pt x="316" y="107"/>
                      <a:pt x="316" y="107"/>
                    </a:cubicBezTo>
                    <a:cubicBezTo>
                      <a:pt x="317" y="108"/>
                      <a:pt x="318" y="108"/>
                      <a:pt x="319" y="108"/>
                    </a:cubicBezTo>
                    <a:cubicBezTo>
                      <a:pt x="321" y="109"/>
                      <a:pt x="322" y="109"/>
                      <a:pt x="323" y="109"/>
                    </a:cubicBezTo>
                    <a:cubicBezTo>
                      <a:pt x="324" y="109"/>
                      <a:pt x="325" y="109"/>
                      <a:pt x="325" y="109"/>
                    </a:cubicBezTo>
                    <a:cubicBezTo>
                      <a:pt x="324" y="110"/>
                      <a:pt x="327" y="111"/>
                      <a:pt x="327" y="111"/>
                    </a:cubicBezTo>
                    <a:cubicBezTo>
                      <a:pt x="328" y="111"/>
                      <a:pt x="329" y="111"/>
                      <a:pt x="330" y="112"/>
                    </a:cubicBezTo>
                    <a:cubicBezTo>
                      <a:pt x="330" y="112"/>
                      <a:pt x="332" y="113"/>
                      <a:pt x="331" y="112"/>
                    </a:cubicBezTo>
                    <a:cubicBezTo>
                      <a:pt x="332" y="113"/>
                      <a:pt x="336" y="113"/>
                      <a:pt x="336" y="115"/>
                    </a:cubicBezTo>
                    <a:cubicBezTo>
                      <a:pt x="336" y="115"/>
                      <a:pt x="337" y="115"/>
                      <a:pt x="337" y="115"/>
                    </a:cubicBezTo>
                    <a:cubicBezTo>
                      <a:pt x="337" y="115"/>
                      <a:pt x="338" y="114"/>
                      <a:pt x="339" y="114"/>
                    </a:cubicBezTo>
                    <a:cubicBezTo>
                      <a:pt x="338" y="114"/>
                      <a:pt x="338" y="114"/>
                      <a:pt x="338" y="113"/>
                    </a:cubicBezTo>
                    <a:cubicBezTo>
                      <a:pt x="339" y="112"/>
                      <a:pt x="339" y="112"/>
                      <a:pt x="339" y="111"/>
                    </a:cubicBezTo>
                    <a:cubicBezTo>
                      <a:pt x="339" y="111"/>
                      <a:pt x="339" y="110"/>
                      <a:pt x="339" y="110"/>
                    </a:cubicBezTo>
                    <a:cubicBezTo>
                      <a:pt x="339" y="110"/>
                      <a:pt x="339" y="110"/>
                      <a:pt x="339" y="109"/>
                    </a:cubicBezTo>
                    <a:cubicBezTo>
                      <a:pt x="339" y="109"/>
                      <a:pt x="338" y="109"/>
                      <a:pt x="338" y="109"/>
                    </a:cubicBezTo>
                    <a:cubicBezTo>
                      <a:pt x="338" y="109"/>
                      <a:pt x="340" y="109"/>
                      <a:pt x="339" y="109"/>
                    </a:cubicBezTo>
                    <a:cubicBezTo>
                      <a:pt x="339" y="108"/>
                      <a:pt x="339" y="108"/>
                      <a:pt x="340" y="108"/>
                    </a:cubicBezTo>
                    <a:cubicBezTo>
                      <a:pt x="338" y="108"/>
                      <a:pt x="337" y="109"/>
                      <a:pt x="336" y="109"/>
                    </a:cubicBezTo>
                    <a:cubicBezTo>
                      <a:pt x="335" y="108"/>
                      <a:pt x="334" y="108"/>
                      <a:pt x="332" y="107"/>
                    </a:cubicBezTo>
                    <a:cubicBezTo>
                      <a:pt x="332" y="107"/>
                      <a:pt x="329" y="105"/>
                      <a:pt x="330" y="104"/>
                    </a:cubicBezTo>
                    <a:cubicBezTo>
                      <a:pt x="330" y="104"/>
                      <a:pt x="329" y="103"/>
                      <a:pt x="329" y="103"/>
                    </a:cubicBezTo>
                    <a:cubicBezTo>
                      <a:pt x="329" y="103"/>
                      <a:pt x="328" y="103"/>
                      <a:pt x="329" y="103"/>
                    </a:cubicBezTo>
                    <a:cubicBezTo>
                      <a:pt x="327" y="104"/>
                      <a:pt x="326" y="103"/>
                      <a:pt x="325" y="102"/>
                    </a:cubicBezTo>
                    <a:cubicBezTo>
                      <a:pt x="324" y="102"/>
                      <a:pt x="323" y="102"/>
                      <a:pt x="322" y="102"/>
                    </a:cubicBezTo>
                    <a:cubicBezTo>
                      <a:pt x="322" y="102"/>
                      <a:pt x="321" y="101"/>
                      <a:pt x="320" y="101"/>
                    </a:cubicBezTo>
                    <a:cubicBezTo>
                      <a:pt x="321" y="102"/>
                      <a:pt x="320" y="102"/>
                      <a:pt x="320" y="102"/>
                    </a:cubicBezTo>
                    <a:cubicBezTo>
                      <a:pt x="320" y="102"/>
                      <a:pt x="321" y="103"/>
                      <a:pt x="321" y="103"/>
                    </a:cubicBezTo>
                    <a:cubicBezTo>
                      <a:pt x="319" y="103"/>
                      <a:pt x="319" y="101"/>
                      <a:pt x="318" y="100"/>
                    </a:cubicBezTo>
                    <a:cubicBezTo>
                      <a:pt x="318" y="100"/>
                      <a:pt x="318" y="99"/>
                      <a:pt x="318" y="98"/>
                    </a:cubicBezTo>
                    <a:cubicBezTo>
                      <a:pt x="319" y="98"/>
                      <a:pt x="319" y="98"/>
                      <a:pt x="319" y="99"/>
                    </a:cubicBezTo>
                    <a:cubicBezTo>
                      <a:pt x="319" y="99"/>
                      <a:pt x="320" y="99"/>
                      <a:pt x="321" y="99"/>
                    </a:cubicBezTo>
                    <a:cubicBezTo>
                      <a:pt x="321" y="98"/>
                      <a:pt x="321" y="97"/>
                      <a:pt x="320" y="97"/>
                    </a:cubicBezTo>
                    <a:cubicBezTo>
                      <a:pt x="320" y="97"/>
                      <a:pt x="320" y="97"/>
                      <a:pt x="320" y="97"/>
                    </a:cubicBezTo>
                    <a:cubicBezTo>
                      <a:pt x="320" y="97"/>
                      <a:pt x="319" y="97"/>
                      <a:pt x="319" y="97"/>
                    </a:cubicBezTo>
                    <a:cubicBezTo>
                      <a:pt x="319" y="96"/>
                      <a:pt x="319" y="95"/>
                      <a:pt x="319" y="95"/>
                    </a:cubicBezTo>
                    <a:cubicBezTo>
                      <a:pt x="319" y="95"/>
                      <a:pt x="319" y="95"/>
                      <a:pt x="319" y="94"/>
                    </a:cubicBezTo>
                    <a:cubicBezTo>
                      <a:pt x="319" y="94"/>
                      <a:pt x="319" y="94"/>
                      <a:pt x="318" y="94"/>
                    </a:cubicBezTo>
                    <a:cubicBezTo>
                      <a:pt x="318" y="94"/>
                      <a:pt x="318" y="94"/>
                      <a:pt x="318" y="93"/>
                    </a:cubicBezTo>
                    <a:cubicBezTo>
                      <a:pt x="318" y="93"/>
                      <a:pt x="318" y="92"/>
                      <a:pt x="318" y="91"/>
                    </a:cubicBezTo>
                    <a:cubicBezTo>
                      <a:pt x="317" y="91"/>
                      <a:pt x="316" y="91"/>
                      <a:pt x="316" y="91"/>
                    </a:cubicBezTo>
                    <a:cubicBezTo>
                      <a:pt x="315" y="91"/>
                      <a:pt x="314" y="91"/>
                      <a:pt x="314" y="92"/>
                    </a:cubicBezTo>
                    <a:cubicBezTo>
                      <a:pt x="313" y="92"/>
                      <a:pt x="313" y="91"/>
                      <a:pt x="312" y="91"/>
                    </a:cubicBezTo>
                    <a:cubicBezTo>
                      <a:pt x="312" y="91"/>
                      <a:pt x="313" y="90"/>
                      <a:pt x="313" y="90"/>
                    </a:cubicBezTo>
                    <a:cubicBezTo>
                      <a:pt x="313" y="89"/>
                      <a:pt x="313" y="89"/>
                      <a:pt x="313" y="89"/>
                    </a:cubicBezTo>
                    <a:cubicBezTo>
                      <a:pt x="313" y="89"/>
                      <a:pt x="313" y="89"/>
                      <a:pt x="312" y="89"/>
                    </a:cubicBezTo>
                    <a:cubicBezTo>
                      <a:pt x="312" y="89"/>
                      <a:pt x="313" y="90"/>
                      <a:pt x="312" y="89"/>
                    </a:cubicBezTo>
                    <a:cubicBezTo>
                      <a:pt x="311" y="89"/>
                      <a:pt x="312" y="88"/>
                      <a:pt x="312" y="88"/>
                    </a:cubicBezTo>
                    <a:cubicBezTo>
                      <a:pt x="312" y="87"/>
                      <a:pt x="312" y="87"/>
                      <a:pt x="313" y="87"/>
                    </a:cubicBezTo>
                    <a:cubicBezTo>
                      <a:pt x="315" y="87"/>
                      <a:pt x="316" y="86"/>
                      <a:pt x="318" y="85"/>
                    </a:cubicBezTo>
                    <a:cubicBezTo>
                      <a:pt x="318" y="85"/>
                      <a:pt x="318" y="85"/>
                      <a:pt x="319" y="84"/>
                    </a:cubicBezTo>
                    <a:cubicBezTo>
                      <a:pt x="319" y="84"/>
                      <a:pt x="320" y="83"/>
                      <a:pt x="320" y="83"/>
                    </a:cubicBezTo>
                    <a:cubicBezTo>
                      <a:pt x="320" y="83"/>
                      <a:pt x="320" y="83"/>
                      <a:pt x="320" y="83"/>
                    </a:cubicBezTo>
                    <a:cubicBezTo>
                      <a:pt x="320" y="82"/>
                      <a:pt x="320" y="82"/>
                      <a:pt x="320" y="81"/>
                    </a:cubicBezTo>
                    <a:cubicBezTo>
                      <a:pt x="320" y="80"/>
                      <a:pt x="320" y="80"/>
                      <a:pt x="320" y="79"/>
                    </a:cubicBezTo>
                    <a:cubicBezTo>
                      <a:pt x="320" y="78"/>
                      <a:pt x="320" y="77"/>
                      <a:pt x="320" y="76"/>
                    </a:cubicBezTo>
                    <a:cubicBezTo>
                      <a:pt x="320" y="76"/>
                      <a:pt x="320" y="76"/>
                      <a:pt x="320" y="76"/>
                    </a:cubicBezTo>
                    <a:cubicBezTo>
                      <a:pt x="320" y="76"/>
                      <a:pt x="320" y="76"/>
                      <a:pt x="320" y="75"/>
                    </a:cubicBezTo>
                    <a:cubicBezTo>
                      <a:pt x="320" y="75"/>
                      <a:pt x="319" y="75"/>
                      <a:pt x="320" y="75"/>
                    </a:cubicBezTo>
                    <a:cubicBezTo>
                      <a:pt x="319" y="75"/>
                      <a:pt x="321" y="74"/>
                      <a:pt x="321" y="73"/>
                    </a:cubicBezTo>
                    <a:cubicBezTo>
                      <a:pt x="321" y="72"/>
                      <a:pt x="320" y="72"/>
                      <a:pt x="321" y="72"/>
                    </a:cubicBezTo>
                    <a:cubicBezTo>
                      <a:pt x="322" y="72"/>
                      <a:pt x="323" y="72"/>
                      <a:pt x="323" y="72"/>
                    </a:cubicBezTo>
                    <a:cubicBezTo>
                      <a:pt x="323" y="72"/>
                      <a:pt x="322" y="72"/>
                      <a:pt x="322" y="73"/>
                    </a:cubicBezTo>
                    <a:cubicBezTo>
                      <a:pt x="322" y="73"/>
                      <a:pt x="324" y="73"/>
                      <a:pt x="324" y="73"/>
                    </a:cubicBezTo>
                    <a:cubicBezTo>
                      <a:pt x="325" y="73"/>
                      <a:pt x="325" y="73"/>
                      <a:pt x="326" y="73"/>
                    </a:cubicBezTo>
                    <a:cubicBezTo>
                      <a:pt x="328" y="73"/>
                      <a:pt x="329" y="73"/>
                      <a:pt x="331" y="73"/>
                    </a:cubicBezTo>
                    <a:cubicBezTo>
                      <a:pt x="332" y="73"/>
                      <a:pt x="334" y="72"/>
                      <a:pt x="335" y="72"/>
                    </a:cubicBezTo>
                    <a:cubicBezTo>
                      <a:pt x="336" y="73"/>
                      <a:pt x="336" y="73"/>
                      <a:pt x="337" y="73"/>
                    </a:cubicBezTo>
                    <a:cubicBezTo>
                      <a:pt x="338" y="73"/>
                      <a:pt x="338" y="73"/>
                      <a:pt x="339" y="73"/>
                    </a:cubicBezTo>
                    <a:cubicBezTo>
                      <a:pt x="339" y="73"/>
                      <a:pt x="338" y="73"/>
                      <a:pt x="338" y="73"/>
                    </a:cubicBezTo>
                    <a:cubicBezTo>
                      <a:pt x="339" y="74"/>
                      <a:pt x="339" y="73"/>
                      <a:pt x="340" y="73"/>
                    </a:cubicBezTo>
                    <a:cubicBezTo>
                      <a:pt x="341" y="73"/>
                      <a:pt x="341" y="73"/>
                      <a:pt x="342" y="74"/>
                    </a:cubicBezTo>
                    <a:cubicBezTo>
                      <a:pt x="343" y="74"/>
                      <a:pt x="344" y="74"/>
                      <a:pt x="345" y="74"/>
                    </a:cubicBezTo>
                    <a:cubicBezTo>
                      <a:pt x="345" y="74"/>
                      <a:pt x="345" y="74"/>
                      <a:pt x="345" y="74"/>
                    </a:cubicBezTo>
                    <a:cubicBezTo>
                      <a:pt x="345" y="75"/>
                      <a:pt x="345" y="75"/>
                      <a:pt x="345" y="75"/>
                    </a:cubicBezTo>
                    <a:cubicBezTo>
                      <a:pt x="346" y="75"/>
                      <a:pt x="345" y="75"/>
                      <a:pt x="345" y="75"/>
                    </a:cubicBezTo>
                    <a:cubicBezTo>
                      <a:pt x="345" y="76"/>
                      <a:pt x="346" y="76"/>
                      <a:pt x="346" y="76"/>
                    </a:cubicBezTo>
                    <a:cubicBezTo>
                      <a:pt x="347" y="76"/>
                      <a:pt x="346" y="76"/>
                      <a:pt x="346" y="76"/>
                    </a:cubicBezTo>
                    <a:cubicBezTo>
                      <a:pt x="347" y="77"/>
                      <a:pt x="347" y="77"/>
                      <a:pt x="347" y="77"/>
                    </a:cubicBezTo>
                    <a:cubicBezTo>
                      <a:pt x="347" y="77"/>
                      <a:pt x="348" y="78"/>
                      <a:pt x="348" y="78"/>
                    </a:cubicBezTo>
                    <a:cubicBezTo>
                      <a:pt x="347" y="79"/>
                      <a:pt x="347" y="79"/>
                      <a:pt x="348" y="79"/>
                    </a:cubicBezTo>
                    <a:cubicBezTo>
                      <a:pt x="348" y="80"/>
                      <a:pt x="348" y="80"/>
                      <a:pt x="347" y="80"/>
                    </a:cubicBezTo>
                    <a:cubicBezTo>
                      <a:pt x="347" y="80"/>
                      <a:pt x="348" y="81"/>
                      <a:pt x="347" y="81"/>
                    </a:cubicBezTo>
                    <a:cubicBezTo>
                      <a:pt x="347" y="82"/>
                      <a:pt x="346" y="82"/>
                      <a:pt x="347" y="83"/>
                    </a:cubicBezTo>
                    <a:cubicBezTo>
                      <a:pt x="348" y="83"/>
                      <a:pt x="347" y="83"/>
                      <a:pt x="347" y="84"/>
                    </a:cubicBezTo>
                    <a:cubicBezTo>
                      <a:pt x="347" y="84"/>
                      <a:pt x="346" y="84"/>
                      <a:pt x="346" y="84"/>
                    </a:cubicBezTo>
                    <a:cubicBezTo>
                      <a:pt x="345" y="85"/>
                      <a:pt x="345" y="85"/>
                      <a:pt x="346" y="86"/>
                    </a:cubicBezTo>
                    <a:cubicBezTo>
                      <a:pt x="347" y="86"/>
                      <a:pt x="348" y="87"/>
                      <a:pt x="349" y="87"/>
                    </a:cubicBezTo>
                    <a:cubicBezTo>
                      <a:pt x="350" y="87"/>
                      <a:pt x="351" y="88"/>
                      <a:pt x="352" y="88"/>
                    </a:cubicBezTo>
                    <a:cubicBezTo>
                      <a:pt x="353" y="88"/>
                      <a:pt x="353" y="88"/>
                      <a:pt x="353" y="89"/>
                    </a:cubicBezTo>
                    <a:cubicBezTo>
                      <a:pt x="353" y="90"/>
                      <a:pt x="354" y="90"/>
                      <a:pt x="354" y="90"/>
                    </a:cubicBezTo>
                    <a:cubicBezTo>
                      <a:pt x="355" y="91"/>
                      <a:pt x="355" y="91"/>
                      <a:pt x="356" y="92"/>
                    </a:cubicBezTo>
                    <a:cubicBezTo>
                      <a:pt x="356" y="93"/>
                      <a:pt x="355" y="93"/>
                      <a:pt x="356" y="94"/>
                    </a:cubicBezTo>
                    <a:cubicBezTo>
                      <a:pt x="356" y="94"/>
                      <a:pt x="357" y="95"/>
                      <a:pt x="357" y="95"/>
                    </a:cubicBezTo>
                    <a:cubicBezTo>
                      <a:pt x="357" y="95"/>
                      <a:pt x="355" y="95"/>
                      <a:pt x="356" y="96"/>
                    </a:cubicBezTo>
                    <a:cubicBezTo>
                      <a:pt x="356" y="97"/>
                      <a:pt x="358" y="97"/>
                      <a:pt x="358" y="97"/>
                    </a:cubicBezTo>
                    <a:cubicBezTo>
                      <a:pt x="357" y="98"/>
                      <a:pt x="357" y="98"/>
                      <a:pt x="357" y="99"/>
                    </a:cubicBezTo>
                    <a:cubicBezTo>
                      <a:pt x="358" y="99"/>
                      <a:pt x="358" y="99"/>
                      <a:pt x="359" y="99"/>
                    </a:cubicBezTo>
                    <a:cubicBezTo>
                      <a:pt x="359" y="100"/>
                      <a:pt x="360" y="100"/>
                      <a:pt x="360" y="101"/>
                    </a:cubicBezTo>
                    <a:cubicBezTo>
                      <a:pt x="360" y="101"/>
                      <a:pt x="360" y="102"/>
                      <a:pt x="359" y="102"/>
                    </a:cubicBezTo>
                    <a:cubicBezTo>
                      <a:pt x="360" y="102"/>
                      <a:pt x="362" y="104"/>
                      <a:pt x="360" y="104"/>
                    </a:cubicBezTo>
                    <a:cubicBezTo>
                      <a:pt x="361" y="104"/>
                      <a:pt x="362" y="105"/>
                      <a:pt x="362" y="105"/>
                    </a:cubicBezTo>
                    <a:cubicBezTo>
                      <a:pt x="362" y="105"/>
                      <a:pt x="362" y="106"/>
                      <a:pt x="362" y="106"/>
                    </a:cubicBezTo>
                    <a:cubicBezTo>
                      <a:pt x="361" y="107"/>
                      <a:pt x="363" y="108"/>
                      <a:pt x="363" y="108"/>
                    </a:cubicBezTo>
                    <a:cubicBezTo>
                      <a:pt x="365" y="109"/>
                      <a:pt x="366" y="110"/>
                      <a:pt x="367" y="110"/>
                    </a:cubicBezTo>
                    <a:cubicBezTo>
                      <a:pt x="369" y="111"/>
                      <a:pt x="370" y="111"/>
                      <a:pt x="371" y="111"/>
                    </a:cubicBezTo>
                    <a:cubicBezTo>
                      <a:pt x="371" y="112"/>
                      <a:pt x="374" y="113"/>
                      <a:pt x="373" y="113"/>
                    </a:cubicBezTo>
                    <a:cubicBezTo>
                      <a:pt x="373" y="113"/>
                      <a:pt x="373" y="113"/>
                      <a:pt x="373" y="113"/>
                    </a:cubicBezTo>
                    <a:cubicBezTo>
                      <a:pt x="372" y="113"/>
                      <a:pt x="372" y="113"/>
                      <a:pt x="372" y="114"/>
                    </a:cubicBezTo>
                    <a:cubicBezTo>
                      <a:pt x="372" y="114"/>
                      <a:pt x="370" y="115"/>
                      <a:pt x="371" y="116"/>
                    </a:cubicBezTo>
                    <a:cubicBezTo>
                      <a:pt x="372" y="116"/>
                      <a:pt x="371" y="116"/>
                      <a:pt x="372" y="117"/>
                    </a:cubicBezTo>
                    <a:cubicBezTo>
                      <a:pt x="372" y="117"/>
                      <a:pt x="373" y="117"/>
                      <a:pt x="373" y="118"/>
                    </a:cubicBezTo>
                    <a:cubicBezTo>
                      <a:pt x="373" y="118"/>
                      <a:pt x="374" y="119"/>
                      <a:pt x="373" y="119"/>
                    </a:cubicBezTo>
                    <a:cubicBezTo>
                      <a:pt x="373" y="119"/>
                      <a:pt x="373" y="119"/>
                      <a:pt x="373" y="119"/>
                    </a:cubicBezTo>
                    <a:cubicBezTo>
                      <a:pt x="373" y="119"/>
                      <a:pt x="373" y="119"/>
                      <a:pt x="374" y="120"/>
                    </a:cubicBezTo>
                    <a:cubicBezTo>
                      <a:pt x="374" y="120"/>
                      <a:pt x="374" y="120"/>
                      <a:pt x="373" y="120"/>
                    </a:cubicBezTo>
                    <a:cubicBezTo>
                      <a:pt x="373" y="120"/>
                      <a:pt x="372" y="120"/>
                      <a:pt x="372" y="120"/>
                    </a:cubicBezTo>
                    <a:cubicBezTo>
                      <a:pt x="372" y="121"/>
                      <a:pt x="372" y="121"/>
                      <a:pt x="371" y="121"/>
                    </a:cubicBezTo>
                    <a:cubicBezTo>
                      <a:pt x="371" y="121"/>
                      <a:pt x="370" y="121"/>
                      <a:pt x="370" y="121"/>
                    </a:cubicBezTo>
                    <a:cubicBezTo>
                      <a:pt x="370" y="121"/>
                      <a:pt x="371" y="122"/>
                      <a:pt x="370" y="122"/>
                    </a:cubicBezTo>
                    <a:cubicBezTo>
                      <a:pt x="370" y="122"/>
                      <a:pt x="369" y="122"/>
                      <a:pt x="370" y="123"/>
                    </a:cubicBezTo>
                    <a:cubicBezTo>
                      <a:pt x="370" y="123"/>
                      <a:pt x="370" y="123"/>
                      <a:pt x="370" y="123"/>
                    </a:cubicBezTo>
                    <a:cubicBezTo>
                      <a:pt x="370" y="124"/>
                      <a:pt x="369" y="124"/>
                      <a:pt x="368" y="124"/>
                    </a:cubicBezTo>
                    <a:cubicBezTo>
                      <a:pt x="367" y="124"/>
                      <a:pt x="369" y="124"/>
                      <a:pt x="369" y="124"/>
                    </a:cubicBezTo>
                    <a:cubicBezTo>
                      <a:pt x="369" y="125"/>
                      <a:pt x="370" y="125"/>
                      <a:pt x="370" y="125"/>
                    </a:cubicBezTo>
                    <a:cubicBezTo>
                      <a:pt x="370" y="125"/>
                      <a:pt x="369" y="125"/>
                      <a:pt x="369" y="125"/>
                    </a:cubicBezTo>
                    <a:cubicBezTo>
                      <a:pt x="369" y="125"/>
                      <a:pt x="369" y="125"/>
                      <a:pt x="369" y="125"/>
                    </a:cubicBezTo>
                    <a:cubicBezTo>
                      <a:pt x="369" y="125"/>
                      <a:pt x="368" y="125"/>
                      <a:pt x="368" y="125"/>
                    </a:cubicBezTo>
                    <a:cubicBezTo>
                      <a:pt x="368" y="126"/>
                      <a:pt x="369" y="126"/>
                      <a:pt x="369" y="126"/>
                    </a:cubicBezTo>
                    <a:cubicBezTo>
                      <a:pt x="369" y="126"/>
                      <a:pt x="368" y="126"/>
                      <a:pt x="368" y="126"/>
                    </a:cubicBezTo>
                    <a:cubicBezTo>
                      <a:pt x="368" y="127"/>
                      <a:pt x="368" y="128"/>
                      <a:pt x="367" y="127"/>
                    </a:cubicBezTo>
                    <a:cubicBezTo>
                      <a:pt x="367" y="127"/>
                      <a:pt x="367" y="127"/>
                      <a:pt x="366" y="127"/>
                    </a:cubicBezTo>
                    <a:cubicBezTo>
                      <a:pt x="366" y="127"/>
                      <a:pt x="366" y="127"/>
                      <a:pt x="366" y="127"/>
                    </a:cubicBezTo>
                    <a:cubicBezTo>
                      <a:pt x="365" y="127"/>
                      <a:pt x="365" y="127"/>
                      <a:pt x="364" y="127"/>
                    </a:cubicBezTo>
                    <a:cubicBezTo>
                      <a:pt x="365" y="127"/>
                      <a:pt x="365" y="127"/>
                      <a:pt x="365" y="128"/>
                    </a:cubicBezTo>
                    <a:cubicBezTo>
                      <a:pt x="365" y="128"/>
                      <a:pt x="364" y="128"/>
                      <a:pt x="364" y="128"/>
                    </a:cubicBezTo>
                    <a:cubicBezTo>
                      <a:pt x="363" y="128"/>
                      <a:pt x="363" y="128"/>
                      <a:pt x="362" y="128"/>
                    </a:cubicBezTo>
                    <a:cubicBezTo>
                      <a:pt x="362" y="128"/>
                      <a:pt x="362" y="128"/>
                      <a:pt x="361" y="129"/>
                    </a:cubicBezTo>
                    <a:cubicBezTo>
                      <a:pt x="361" y="129"/>
                      <a:pt x="360" y="129"/>
                      <a:pt x="360" y="129"/>
                    </a:cubicBezTo>
                    <a:cubicBezTo>
                      <a:pt x="360" y="129"/>
                      <a:pt x="360" y="129"/>
                      <a:pt x="360" y="129"/>
                    </a:cubicBezTo>
                    <a:cubicBezTo>
                      <a:pt x="360" y="129"/>
                      <a:pt x="360" y="129"/>
                      <a:pt x="359" y="129"/>
                    </a:cubicBezTo>
                    <a:cubicBezTo>
                      <a:pt x="360" y="129"/>
                      <a:pt x="360" y="129"/>
                      <a:pt x="360" y="130"/>
                    </a:cubicBezTo>
                    <a:cubicBezTo>
                      <a:pt x="359" y="130"/>
                      <a:pt x="357" y="130"/>
                      <a:pt x="357" y="129"/>
                    </a:cubicBezTo>
                    <a:cubicBezTo>
                      <a:pt x="357" y="129"/>
                      <a:pt x="356" y="129"/>
                      <a:pt x="355" y="128"/>
                    </a:cubicBezTo>
                    <a:cubicBezTo>
                      <a:pt x="355" y="128"/>
                      <a:pt x="355" y="128"/>
                      <a:pt x="354" y="128"/>
                    </a:cubicBezTo>
                    <a:cubicBezTo>
                      <a:pt x="354" y="129"/>
                      <a:pt x="353" y="128"/>
                      <a:pt x="352" y="128"/>
                    </a:cubicBezTo>
                    <a:cubicBezTo>
                      <a:pt x="353" y="128"/>
                      <a:pt x="353" y="128"/>
                      <a:pt x="353" y="129"/>
                    </a:cubicBezTo>
                    <a:cubicBezTo>
                      <a:pt x="352" y="129"/>
                      <a:pt x="351" y="128"/>
                      <a:pt x="351" y="128"/>
                    </a:cubicBezTo>
                    <a:cubicBezTo>
                      <a:pt x="350" y="128"/>
                      <a:pt x="349" y="128"/>
                      <a:pt x="348" y="129"/>
                    </a:cubicBezTo>
                    <a:cubicBezTo>
                      <a:pt x="348" y="129"/>
                      <a:pt x="349" y="129"/>
                      <a:pt x="349" y="129"/>
                    </a:cubicBezTo>
                    <a:cubicBezTo>
                      <a:pt x="350" y="130"/>
                      <a:pt x="350" y="130"/>
                      <a:pt x="350" y="131"/>
                    </a:cubicBezTo>
                    <a:cubicBezTo>
                      <a:pt x="352" y="131"/>
                      <a:pt x="353" y="131"/>
                      <a:pt x="355" y="132"/>
                    </a:cubicBezTo>
                    <a:cubicBezTo>
                      <a:pt x="356" y="132"/>
                      <a:pt x="358" y="132"/>
                      <a:pt x="359" y="133"/>
                    </a:cubicBezTo>
                    <a:cubicBezTo>
                      <a:pt x="361" y="133"/>
                      <a:pt x="362" y="133"/>
                      <a:pt x="364" y="133"/>
                    </a:cubicBezTo>
                    <a:cubicBezTo>
                      <a:pt x="365" y="133"/>
                      <a:pt x="367" y="133"/>
                      <a:pt x="369" y="133"/>
                    </a:cubicBezTo>
                    <a:cubicBezTo>
                      <a:pt x="370" y="133"/>
                      <a:pt x="370" y="133"/>
                      <a:pt x="371" y="134"/>
                    </a:cubicBezTo>
                    <a:cubicBezTo>
                      <a:pt x="372" y="134"/>
                      <a:pt x="372" y="134"/>
                      <a:pt x="373" y="134"/>
                    </a:cubicBezTo>
                    <a:cubicBezTo>
                      <a:pt x="373" y="134"/>
                      <a:pt x="375" y="134"/>
                      <a:pt x="375" y="133"/>
                    </a:cubicBezTo>
                    <a:cubicBezTo>
                      <a:pt x="375" y="133"/>
                      <a:pt x="374" y="131"/>
                      <a:pt x="374" y="131"/>
                    </a:cubicBezTo>
                    <a:cubicBezTo>
                      <a:pt x="374" y="131"/>
                      <a:pt x="374" y="131"/>
                      <a:pt x="374" y="131"/>
                    </a:cubicBezTo>
                    <a:cubicBezTo>
                      <a:pt x="374" y="131"/>
                      <a:pt x="374" y="130"/>
                      <a:pt x="375" y="130"/>
                    </a:cubicBezTo>
                    <a:cubicBezTo>
                      <a:pt x="375" y="130"/>
                      <a:pt x="376" y="130"/>
                      <a:pt x="376" y="130"/>
                    </a:cubicBezTo>
                    <a:cubicBezTo>
                      <a:pt x="377" y="130"/>
                      <a:pt x="377" y="130"/>
                      <a:pt x="378" y="130"/>
                    </a:cubicBezTo>
                    <a:cubicBezTo>
                      <a:pt x="378" y="129"/>
                      <a:pt x="377" y="129"/>
                      <a:pt x="378" y="129"/>
                    </a:cubicBezTo>
                    <a:cubicBezTo>
                      <a:pt x="379" y="129"/>
                      <a:pt x="381" y="129"/>
                      <a:pt x="381" y="128"/>
                    </a:cubicBezTo>
                    <a:cubicBezTo>
                      <a:pt x="381" y="127"/>
                      <a:pt x="383" y="127"/>
                      <a:pt x="382" y="126"/>
                    </a:cubicBezTo>
                    <a:cubicBezTo>
                      <a:pt x="382" y="125"/>
                      <a:pt x="382" y="125"/>
                      <a:pt x="382" y="124"/>
                    </a:cubicBezTo>
                    <a:cubicBezTo>
                      <a:pt x="381" y="124"/>
                      <a:pt x="381" y="124"/>
                      <a:pt x="382" y="123"/>
                    </a:cubicBezTo>
                    <a:cubicBezTo>
                      <a:pt x="382" y="122"/>
                      <a:pt x="383" y="122"/>
                      <a:pt x="384" y="121"/>
                    </a:cubicBezTo>
                    <a:cubicBezTo>
                      <a:pt x="387" y="119"/>
                      <a:pt x="383" y="116"/>
                      <a:pt x="382" y="115"/>
                    </a:cubicBezTo>
                    <a:cubicBezTo>
                      <a:pt x="381" y="115"/>
                      <a:pt x="379" y="114"/>
                      <a:pt x="379" y="113"/>
                    </a:cubicBezTo>
                    <a:cubicBezTo>
                      <a:pt x="379" y="113"/>
                      <a:pt x="379" y="113"/>
                      <a:pt x="379" y="112"/>
                    </a:cubicBezTo>
                    <a:cubicBezTo>
                      <a:pt x="378" y="112"/>
                      <a:pt x="378" y="112"/>
                      <a:pt x="378" y="111"/>
                    </a:cubicBezTo>
                    <a:cubicBezTo>
                      <a:pt x="378" y="109"/>
                      <a:pt x="384" y="109"/>
                      <a:pt x="385" y="109"/>
                    </a:cubicBezTo>
                    <a:cubicBezTo>
                      <a:pt x="388" y="108"/>
                      <a:pt x="391" y="107"/>
                      <a:pt x="393" y="109"/>
                    </a:cubicBezTo>
                    <a:cubicBezTo>
                      <a:pt x="393" y="109"/>
                      <a:pt x="393" y="110"/>
                      <a:pt x="393" y="110"/>
                    </a:cubicBezTo>
                    <a:cubicBezTo>
                      <a:pt x="394" y="110"/>
                      <a:pt x="394" y="111"/>
                      <a:pt x="395" y="111"/>
                    </a:cubicBezTo>
                    <a:cubicBezTo>
                      <a:pt x="395" y="111"/>
                      <a:pt x="396" y="111"/>
                      <a:pt x="396" y="111"/>
                    </a:cubicBezTo>
                    <a:cubicBezTo>
                      <a:pt x="397" y="112"/>
                      <a:pt x="397" y="112"/>
                      <a:pt x="398" y="112"/>
                    </a:cubicBezTo>
                    <a:cubicBezTo>
                      <a:pt x="397" y="111"/>
                      <a:pt x="398" y="112"/>
                      <a:pt x="398" y="112"/>
                    </a:cubicBezTo>
                    <a:cubicBezTo>
                      <a:pt x="398" y="112"/>
                      <a:pt x="399" y="112"/>
                      <a:pt x="399" y="112"/>
                    </a:cubicBezTo>
                    <a:cubicBezTo>
                      <a:pt x="399" y="112"/>
                      <a:pt x="399" y="113"/>
                      <a:pt x="399" y="113"/>
                    </a:cubicBezTo>
                    <a:cubicBezTo>
                      <a:pt x="400" y="114"/>
                      <a:pt x="400" y="114"/>
                      <a:pt x="399" y="114"/>
                    </a:cubicBezTo>
                    <a:cubicBezTo>
                      <a:pt x="399" y="115"/>
                      <a:pt x="400" y="115"/>
                      <a:pt x="400" y="115"/>
                    </a:cubicBezTo>
                    <a:cubicBezTo>
                      <a:pt x="401" y="115"/>
                      <a:pt x="401" y="115"/>
                      <a:pt x="401" y="116"/>
                    </a:cubicBezTo>
                    <a:cubicBezTo>
                      <a:pt x="401" y="116"/>
                      <a:pt x="401" y="116"/>
                      <a:pt x="401" y="117"/>
                    </a:cubicBezTo>
                    <a:cubicBezTo>
                      <a:pt x="401" y="117"/>
                      <a:pt x="401" y="117"/>
                      <a:pt x="401" y="117"/>
                    </a:cubicBezTo>
                    <a:cubicBezTo>
                      <a:pt x="401" y="118"/>
                      <a:pt x="402" y="118"/>
                      <a:pt x="402" y="118"/>
                    </a:cubicBezTo>
                    <a:cubicBezTo>
                      <a:pt x="402" y="119"/>
                      <a:pt x="402" y="119"/>
                      <a:pt x="402" y="119"/>
                    </a:cubicBezTo>
                    <a:cubicBezTo>
                      <a:pt x="400" y="119"/>
                      <a:pt x="404" y="120"/>
                      <a:pt x="404" y="120"/>
                    </a:cubicBezTo>
                    <a:cubicBezTo>
                      <a:pt x="405" y="120"/>
                      <a:pt x="406" y="120"/>
                      <a:pt x="406" y="121"/>
                    </a:cubicBezTo>
                    <a:cubicBezTo>
                      <a:pt x="407" y="121"/>
                      <a:pt x="407" y="122"/>
                      <a:pt x="407" y="121"/>
                    </a:cubicBezTo>
                    <a:cubicBezTo>
                      <a:pt x="408" y="121"/>
                      <a:pt x="409" y="122"/>
                      <a:pt x="410" y="121"/>
                    </a:cubicBezTo>
                    <a:cubicBezTo>
                      <a:pt x="411" y="121"/>
                      <a:pt x="411" y="121"/>
                      <a:pt x="412" y="122"/>
                    </a:cubicBezTo>
                    <a:cubicBezTo>
                      <a:pt x="413" y="122"/>
                      <a:pt x="414" y="121"/>
                      <a:pt x="415" y="121"/>
                    </a:cubicBezTo>
                    <a:cubicBezTo>
                      <a:pt x="415" y="121"/>
                      <a:pt x="416" y="122"/>
                      <a:pt x="417" y="121"/>
                    </a:cubicBezTo>
                    <a:cubicBezTo>
                      <a:pt x="417" y="121"/>
                      <a:pt x="414" y="121"/>
                      <a:pt x="415" y="121"/>
                    </a:cubicBezTo>
                    <a:cubicBezTo>
                      <a:pt x="414" y="120"/>
                      <a:pt x="413" y="121"/>
                      <a:pt x="412" y="121"/>
                    </a:cubicBezTo>
                    <a:cubicBezTo>
                      <a:pt x="412" y="121"/>
                      <a:pt x="413" y="121"/>
                      <a:pt x="413" y="121"/>
                    </a:cubicBezTo>
                    <a:cubicBezTo>
                      <a:pt x="413" y="120"/>
                      <a:pt x="413" y="120"/>
                      <a:pt x="412" y="120"/>
                    </a:cubicBezTo>
                    <a:cubicBezTo>
                      <a:pt x="412" y="120"/>
                      <a:pt x="412" y="120"/>
                      <a:pt x="412" y="120"/>
                    </a:cubicBezTo>
                    <a:cubicBezTo>
                      <a:pt x="412" y="120"/>
                      <a:pt x="412" y="120"/>
                      <a:pt x="412" y="121"/>
                    </a:cubicBezTo>
                    <a:cubicBezTo>
                      <a:pt x="412" y="120"/>
                      <a:pt x="410" y="120"/>
                      <a:pt x="409" y="120"/>
                    </a:cubicBezTo>
                    <a:cubicBezTo>
                      <a:pt x="409" y="120"/>
                      <a:pt x="408" y="120"/>
                      <a:pt x="408" y="120"/>
                    </a:cubicBezTo>
                    <a:cubicBezTo>
                      <a:pt x="408" y="120"/>
                      <a:pt x="408" y="120"/>
                      <a:pt x="408" y="120"/>
                    </a:cubicBezTo>
                    <a:cubicBezTo>
                      <a:pt x="408" y="120"/>
                      <a:pt x="407" y="120"/>
                      <a:pt x="407" y="120"/>
                    </a:cubicBezTo>
                    <a:cubicBezTo>
                      <a:pt x="407" y="120"/>
                      <a:pt x="407" y="119"/>
                      <a:pt x="406" y="119"/>
                    </a:cubicBezTo>
                    <a:cubicBezTo>
                      <a:pt x="407" y="120"/>
                      <a:pt x="405" y="120"/>
                      <a:pt x="405" y="120"/>
                    </a:cubicBezTo>
                    <a:cubicBezTo>
                      <a:pt x="404" y="119"/>
                      <a:pt x="403" y="118"/>
                      <a:pt x="404" y="118"/>
                    </a:cubicBezTo>
                    <a:cubicBezTo>
                      <a:pt x="403" y="118"/>
                      <a:pt x="403" y="117"/>
                      <a:pt x="403" y="116"/>
                    </a:cubicBezTo>
                    <a:cubicBezTo>
                      <a:pt x="403" y="115"/>
                      <a:pt x="404" y="115"/>
                      <a:pt x="405" y="115"/>
                    </a:cubicBezTo>
                    <a:cubicBezTo>
                      <a:pt x="405" y="115"/>
                      <a:pt x="406" y="115"/>
                      <a:pt x="406" y="115"/>
                    </a:cubicBezTo>
                    <a:cubicBezTo>
                      <a:pt x="407" y="115"/>
                      <a:pt x="405" y="114"/>
                      <a:pt x="405" y="114"/>
                    </a:cubicBezTo>
                    <a:cubicBezTo>
                      <a:pt x="404" y="114"/>
                      <a:pt x="404" y="113"/>
                      <a:pt x="403" y="112"/>
                    </a:cubicBezTo>
                    <a:cubicBezTo>
                      <a:pt x="403" y="112"/>
                      <a:pt x="403" y="113"/>
                      <a:pt x="402" y="112"/>
                    </a:cubicBezTo>
                    <a:cubicBezTo>
                      <a:pt x="402" y="112"/>
                      <a:pt x="402" y="112"/>
                      <a:pt x="402" y="111"/>
                    </a:cubicBezTo>
                    <a:cubicBezTo>
                      <a:pt x="401" y="111"/>
                      <a:pt x="401" y="110"/>
                      <a:pt x="400" y="110"/>
                    </a:cubicBezTo>
                    <a:cubicBezTo>
                      <a:pt x="400" y="109"/>
                      <a:pt x="399" y="109"/>
                      <a:pt x="398" y="109"/>
                    </a:cubicBezTo>
                    <a:cubicBezTo>
                      <a:pt x="396" y="109"/>
                      <a:pt x="394" y="108"/>
                      <a:pt x="393" y="107"/>
                    </a:cubicBezTo>
                    <a:cubicBezTo>
                      <a:pt x="392" y="107"/>
                      <a:pt x="391" y="107"/>
                      <a:pt x="390" y="107"/>
                    </a:cubicBezTo>
                    <a:cubicBezTo>
                      <a:pt x="389" y="107"/>
                      <a:pt x="388" y="106"/>
                      <a:pt x="387" y="106"/>
                    </a:cubicBezTo>
                    <a:cubicBezTo>
                      <a:pt x="386" y="106"/>
                      <a:pt x="385" y="106"/>
                      <a:pt x="384" y="106"/>
                    </a:cubicBezTo>
                    <a:cubicBezTo>
                      <a:pt x="384" y="106"/>
                      <a:pt x="383" y="105"/>
                      <a:pt x="382" y="106"/>
                    </a:cubicBezTo>
                    <a:cubicBezTo>
                      <a:pt x="382" y="106"/>
                      <a:pt x="380" y="107"/>
                      <a:pt x="381" y="107"/>
                    </a:cubicBezTo>
                    <a:cubicBezTo>
                      <a:pt x="380" y="107"/>
                      <a:pt x="378" y="107"/>
                      <a:pt x="377" y="107"/>
                    </a:cubicBezTo>
                    <a:cubicBezTo>
                      <a:pt x="376" y="107"/>
                      <a:pt x="375" y="106"/>
                      <a:pt x="373" y="107"/>
                    </a:cubicBezTo>
                    <a:cubicBezTo>
                      <a:pt x="372" y="107"/>
                      <a:pt x="371" y="107"/>
                      <a:pt x="371" y="106"/>
                    </a:cubicBezTo>
                    <a:cubicBezTo>
                      <a:pt x="370" y="106"/>
                      <a:pt x="371" y="105"/>
                      <a:pt x="370" y="104"/>
                    </a:cubicBezTo>
                    <a:cubicBezTo>
                      <a:pt x="370" y="103"/>
                      <a:pt x="368" y="103"/>
                      <a:pt x="367" y="102"/>
                    </a:cubicBezTo>
                    <a:cubicBezTo>
                      <a:pt x="367" y="102"/>
                      <a:pt x="366" y="102"/>
                      <a:pt x="366" y="101"/>
                    </a:cubicBezTo>
                    <a:cubicBezTo>
                      <a:pt x="366" y="101"/>
                      <a:pt x="366" y="100"/>
                      <a:pt x="366" y="100"/>
                    </a:cubicBezTo>
                    <a:cubicBezTo>
                      <a:pt x="366" y="99"/>
                      <a:pt x="366" y="98"/>
                      <a:pt x="366" y="98"/>
                    </a:cubicBezTo>
                    <a:cubicBezTo>
                      <a:pt x="365" y="98"/>
                      <a:pt x="365" y="98"/>
                      <a:pt x="365" y="97"/>
                    </a:cubicBezTo>
                    <a:cubicBezTo>
                      <a:pt x="365" y="97"/>
                      <a:pt x="365" y="97"/>
                      <a:pt x="366" y="97"/>
                    </a:cubicBezTo>
                    <a:cubicBezTo>
                      <a:pt x="366" y="96"/>
                      <a:pt x="368" y="94"/>
                      <a:pt x="367" y="93"/>
                    </a:cubicBezTo>
                    <a:cubicBezTo>
                      <a:pt x="367" y="92"/>
                      <a:pt x="365" y="92"/>
                      <a:pt x="363" y="91"/>
                    </a:cubicBezTo>
                    <a:cubicBezTo>
                      <a:pt x="363" y="91"/>
                      <a:pt x="363" y="90"/>
                      <a:pt x="362" y="90"/>
                    </a:cubicBezTo>
                    <a:cubicBezTo>
                      <a:pt x="361" y="89"/>
                      <a:pt x="361" y="89"/>
                      <a:pt x="360" y="89"/>
                    </a:cubicBezTo>
                    <a:cubicBezTo>
                      <a:pt x="358" y="88"/>
                      <a:pt x="357" y="87"/>
                      <a:pt x="355" y="86"/>
                    </a:cubicBezTo>
                    <a:cubicBezTo>
                      <a:pt x="355" y="86"/>
                      <a:pt x="353" y="86"/>
                      <a:pt x="354" y="85"/>
                    </a:cubicBezTo>
                    <a:cubicBezTo>
                      <a:pt x="354" y="85"/>
                      <a:pt x="356" y="84"/>
                      <a:pt x="356" y="83"/>
                    </a:cubicBezTo>
                    <a:cubicBezTo>
                      <a:pt x="355" y="83"/>
                      <a:pt x="354" y="83"/>
                      <a:pt x="355" y="82"/>
                    </a:cubicBezTo>
                    <a:cubicBezTo>
                      <a:pt x="357" y="81"/>
                      <a:pt x="359" y="81"/>
                      <a:pt x="360" y="81"/>
                    </a:cubicBezTo>
                    <a:cubicBezTo>
                      <a:pt x="361" y="80"/>
                      <a:pt x="363" y="80"/>
                      <a:pt x="363" y="79"/>
                    </a:cubicBezTo>
                    <a:cubicBezTo>
                      <a:pt x="363" y="77"/>
                      <a:pt x="361" y="76"/>
                      <a:pt x="360" y="75"/>
                    </a:cubicBezTo>
                    <a:cubicBezTo>
                      <a:pt x="360" y="74"/>
                      <a:pt x="359" y="74"/>
                      <a:pt x="359" y="74"/>
                    </a:cubicBezTo>
                    <a:cubicBezTo>
                      <a:pt x="358" y="74"/>
                      <a:pt x="357" y="73"/>
                      <a:pt x="358" y="73"/>
                    </a:cubicBezTo>
                    <a:cubicBezTo>
                      <a:pt x="359" y="73"/>
                      <a:pt x="361" y="73"/>
                      <a:pt x="362" y="73"/>
                    </a:cubicBezTo>
                    <a:cubicBezTo>
                      <a:pt x="362" y="74"/>
                      <a:pt x="363" y="74"/>
                      <a:pt x="363" y="74"/>
                    </a:cubicBezTo>
                    <a:cubicBezTo>
                      <a:pt x="363" y="74"/>
                      <a:pt x="363" y="74"/>
                      <a:pt x="362" y="74"/>
                    </a:cubicBezTo>
                    <a:cubicBezTo>
                      <a:pt x="363" y="74"/>
                      <a:pt x="365" y="75"/>
                      <a:pt x="366" y="76"/>
                    </a:cubicBezTo>
                    <a:cubicBezTo>
                      <a:pt x="363" y="76"/>
                      <a:pt x="367" y="78"/>
                      <a:pt x="367" y="78"/>
                    </a:cubicBezTo>
                    <a:cubicBezTo>
                      <a:pt x="368" y="79"/>
                      <a:pt x="366" y="79"/>
                      <a:pt x="367" y="79"/>
                    </a:cubicBezTo>
                    <a:cubicBezTo>
                      <a:pt x="367" y="79"/>
                      <a:pt x="367" y="80"/>
                      <a:pt x="367" y="80"/>
                    </a:cubicBezTo>
                    <a:cubicBezTo>
                      <a:pt x="367" y="80"/>
                      <a:pt x="367" y="80"/>
                      <a:pt x="367" y="80"/>
                    </a:cubicBezTo>
                    <a:cubicBezTo>
                      <a:pt x="367" y="81"/>
                      <a:pt x="367" y="81"/>
                      <a:pt x="367" y="81"/>
                    </a:cubicBezTo>
                    <a:cubicBezTo>
                      <a:pt x="367" y="81"/>
                      <a:pt x="366" y="81"/>
                      <a:pt x="366" y="81"/>
                    </a:cubicBezTo>
                    <a:cubicBezTo>
                      <a:pt x="366" y="81"/>
                      <a:pt x="366" y="81"/>
                      <a:pt x="366" y="81"/>
                    </a:cubicBezTo>
                    <a:cubicBezTo>
                      <a:pt x="367" y="82"/>
                      <a:pt x="366" y="82"/>
                      <a:pt x="367" y="83"/>
                    </a:cubicBezTo>
                    <a:cubicBezTo>
                      <a:pt x="367" y="83"/>
                      <a:pt x="368" y="83"/>
                      <a:pt x="369" y="83"/>
                    </a:cubicBezTo>
                    <a:cubicBezTo>
                      <a:pt x="369" y="84"/>
                      <a:pt x="370" y="84"/>
                      <a:pt x="369" y="84"/>
                    </a:cubicBezTo>
                    <a:cubicBezTo>
                      <a:pt x="369" y="84"/>
                      <a:pt x="370" y="84"/>
                      <a:pt x="370" y="85"/>
                    </a:cubicBezTo>
                    <a:cubicBezTo>
                      <a:pt x="370" y="85"/>
                      <a:pt x="369" y="85"/>
                      <a:pt x="370" y="85"/>
                    </a:cubicBezTo>
                    <a:cubicBezTo>
                      <a:pt x="370" y="86"/>
                      <a:pt x="369" y="85"/>
                      <a:pt x="369" y="86"/>
                    </a:cubicBezTo>
                    <a:cubicBezTo>
                      <a:pt x="368" y="86"/>
                      <a:pt x="370" y="87"/>
                      <a:pt x="370" y="87"/>
                    </a:cubicBezTo>
                    <a:cubicBezTo>
                      <a:pt x="372" y="87"/>
                      <a:pt x="374" y="87"/>
                      <a:pt x="376" y="88"/>
                    </a:cubicBezTo>
                    <a:cubicBezTo>
                      <a:pt x="376" y="87"/>
                      <a:pt x="377" y="88"/>
                      <a:pt x="377" y="88"/>
                    </a:cubicBezTo>
                    <a:cubicBezTo>
                      <a:pt x="378" y="88"/>
                      <a:pt x="379" y="88"/>
                      <a:pt x="380" y="88"/>
                    </a:cubicBezTo>
                    <a:cubicBezTo>
                      <a:pt x="380" y="88"/>
                      <a:pt x="381" y="88"/>
                      <a:pt x="381" y="88"/>
                    </a:cubicBezTo>
                    <a:cubicBezTo>
                      <a:pt x="382" y="88"/>
                      <a:pt x="382" y="89"/>
                      <a:pt x="382" y="89"/>
                    </a:cubicBezTo>
                    <a:cubicBezTo>
                      <a:pt x="383" y="89"/>
                      <a:pt x="381" y="88"/>
                      <a:pt x="383" y="88"/>
                    </a:cubicBezTo>
                    <a:cubicBezTo>
                      <a:pt x="383" y="88"/>
                      <a:pt x="384" y="88"/>
                      <a:pt x="385" y="88"/>
                    </a:cubicBezTo>
                    <a:cubicBezTo>
                      <a:pt x="386" y="88"/>
                      <a:pt x="387" y="88"/>
                      <a:pt x="388" y="88"/>
                    </a:cubicBezTo>
                    <a:cubicBezTo>
                      <a:pt x="389" y="89"/>
                      <a:pt x="389" y="90"/>
                      <a:pt x="390" y="90"/>
                    </a:cubicBezTo>
                    <a:cubicBezTo>
                      <a:pt x="391" y="90"/>
                      <a:pt x="392" y="90"/>
                      <a:pt x="392" y="90"/>
                    </a:cubicBezTo>
                    <a:cubicBezTo>
                      <a:pt x="393" y="90"/>
                      <a:pt x="394" y="91"/>
                      <a:pt x="395" y="90"/>
                    </a:cubicBezTo>
                    <a:cubicBezTo>
                      <a:pt x="395" y="90"/>
                      <a:pt x="398" y="90"/>
                      <a:pt x="398" y="90"/>
                    </a:cubicBezTo>
                    <a:cubicBezTo>
                      <a:pt x="398" y="90"/>
                      <a:pt x="398" y="90"/>
                      <a:pt x="397" y="90"/>
                    </a:cubicBezTo>
                    <a:cubicBezTo>
                      <a:pt x="398" y="90"/>
                      <a:pt x="397" y="89"/>
                      <a:pt x="397" y="90"/>
                    </a:cubicBezTo>
                    <a:cubicBezTo>
                      <a:pt x="397" y="90"/>
                      <a:pt x="396" y="89"/>
                      <a:pt x="396" y="90"/>
                    </a:cubicBezTo>
                    <a:cubicBezTo>
                      <a:pt x="396" y="90"/>
                      <a:pt x="396" y="90"/>
                      <a:pt x="396" y="90"/>
                    </a:cubicBezTo>
                    <a:cubicBezTo>
                      <a:pt x="397" y="90"/>
                      <a:pt x="394" y="90"/>
                      <a:pt x="394" y="90"/>
                    </a:cubicBezTo>
                    <a:cubicBezTo>
                      <a:pt x="393" y="91"/>
                      <a:pt x="393" y="89"/>
                      <a:pt x="394" y="89"/>
                    </a:cubicBezTo>
                    <a:cubicBezTo>
                      <a:pt x="393" y="89"/>
                      <a:pt x="393" y="88"/>
                      <a:pt x="392" y="89"/>
                    </a:cubicBezTo>
                    <a:cubicBezTo>
                      <a:pt x="392" y="89"/>
                      <a:pt x="393" y="89"/>
                      <a:pt x="393" y="89"/>
                    </a:cubicBezTo>
                    <a:cubicBezTo>
                      <a:pt x="393" y="89"/>
                      <a:pt x="392" y="89"/>
                      <a:pt x="391" y="89"/>
                    </a:cubicBezTo>
                    <a:cubicBezTo>
                      <a:pt x="391" y="88"/>
                      <a:pt x="391" y="88"/>
                      <a:pt x="391" y="88"/>
                    </a:cubicBezTo>
                    <a:cubicBezTo>
                      <a:pt x="391" y="87"/>
                      <a:pt x="389" y="87"/>
                      <a:pt x="388" y="87"/>
                    </a:cubicBezTo>
                    <a:cubicBezTo>
                      <a:pt x="388" y="87"/>
                      <a:pt x="388" y="87"/>
                      <a:pt x="388" y="87"/>
                    </a:cubicBezTo>
                    <a:cubicBezTo>
                      <a:pt x="388" y="86"/>
                      <a:pt x="388" y="86"/>
                      <a:pt x="388" y="86"/>
                    </a:cubicBezTo>
                    <a:cubicBezTo>
                      <a:pt x="388" y="86"/>
                      <a:pt x="386" y="87"/>
                      <a:pt x="387" y="87"/>
                    </a:cubicBezTo>
                    <a:cubicBezTo>
                      <a:pt x="386" y="87"/>
                      <a:pt x="385" y="86"/>
                      <a:pt x="384" y="87"/>
                    </a:cubicBezTo>
                    <a:cubicBezTo>
                      <a:pt x="385" y="87"/>
                      <a:pt x="385" y="87"/>
                      <a:pt x="385" y="87"/>
                    </a:cubicBezTo>
                    <a:cubicBezTo>
                      <a:pt x="384" y="87"/>
                      <a:pt x="382" y="86"/>
                      <a:pt x="381" y="86"/>
                    </a:cubicBezTo>
                    <a:cubicBezTo>
                      <a:pt x="380" y="85"/>
                      <a:pt x="379" y="85"/>
                      <a:pt x="377" y="85"/>
                    </a:cubicBezTo>
                    <a:cubicBezTo>
                      <a:pt x="377" y="85"/>
                      <a:pt x="376" y="85"/>
                      <a:pt x="375" y="84"/>
                    </a:cubicBezTo>
                    <a:cubicBezTo>
                      <a:pt x="375" y="84"/>
                      <a:pt x="374" y="84"/>
                      <a:pt x="374" y="83"/>
                    </a:cubicBezTo>
                    <a:cubicBezTo>
                      <a:pt x="374" y="83"/>
                      <a:pt x="371" y="81"/>
                      <a:pt x="371" y="81"/>
                    </a:cubicBezTo>
                    <a:cubicBezTo>
                      <a:pt x="371" y="81"/>
                      <a:pt x="372" y="81"/>
                      <a:pt x="373" y="81"/>
                    </a:cubicBezTo>
                    <a:cubicBezTo>
                      <a:pt x="373" y="81"/>
                      <a:pt x="373" y="80"/>
                      <a:pt x="374" y="80"/>
                    </a:cubicBezTo>
                    <a:cubicBezTo>
                      <a:pt x="375" y="80"/>
                      <a:pt x="376" y="80"/>
                      <a:pt x="377" y="80"/>
                    </a:cubicBezTo>
                    <a:cubicBezTo>
                      <a:pt x="380" y="81"/>
                      <a:pt x="382" y="83"/>
                      <a:pt x="385" y="82"/>
                    </a:cubicBezTo>
                    <a:cubicBezTo>
                      <a:pt x="385" y="82"/>
                      <a:pt x="387" y="81"/>
                      <a:pt x="386" y="81"/>
                    </a:cubicBezTo>
                    <a:cubicBezTo>
                      <a:pt x="385" y="80"/>
                      <a:pt x="384" y="80"/>
                      <a:pt x="383" y="80"/>
                    </a:cubicBezTo>
                    <a:cubicBezTo>
                      <a:pt x="382" y="79"/>
                      <a:pt x="381" y="80"/>
                      <a:pt x="380" y="80"/>
                    </a:cubicBezTo>
                    <a:cubicBezTo>
                      <a:pt x="379" y="80"/>
                      <a:pt x="380" y="79"/>
                      <a:pt x="379" y="79"/>
                    </a:cubicBezTo>
                    <a:cubicBezTo>
                      <a:pt x="380" y="79"/>
                      <a:pt x="381" y="79"/>
                      <a:pt x="381" y="79"/>
                    </a:cubicBezTo>
                    <a:cubicBezTo>
                      <a:pt x="382" y="78"/>
                      <a:pt x="382" y="78"/>
                      <a:pt x="382" y="78"/>
                    </a:cubicBezTo>
                    <a:cubicBezTo>
                      <a:pt x="383" y="77"/>
                      <a:pt x="383" y="77"/>
                      <a:pt x="384" y="77"/>
                    </a:cubicBezTo>
                    <a:cubicBezTo>
                      <a:pt x="384" y="77"/>
                      <a:pt x="385" y="77"/>
                      <a:pt x="386" y="77"/>
                    </a:cubicBezTo>
                    <a:cubicBezTo>
                      <a:pt x="385" y="77"/>
                      <a:pt x="387" y="77"/>
                      <a:pt x="388" y="77"/>
                    </a:cubicBezTo>
                    <a:cubicBezTo>
                      <a:pt x="389" y="77"/>
                      <a:pt x="390" y="77"/>
                      <a:pt x="391" y="77"/>
                    </a:cubicBezTo>
                    <a:cubicBezTo>
                      <a:pt x="392" y="77"/>
                      <a:pt x="394" y="78"/>
                      <a:pt x="396" y="78"/>
                    </a:cubicBezTo>
                    <a:cubicBezTo>
                      <a:pt x="398" y="79"/>
                      <a:pt x="400" y="79"/>
                      <a:pt x="401" y="80"/>
                    </a:cubicBezTo>
                    <a:cubicBezTo>
                      <a:pt x="402" y="80"/>
                      <a:pt x="403" y="80"/>
                      <a:pt x="403" y="80"/>
                    </a:cubicBezTo>
                    <a:cubicBezTo>
                      <a:pt x="403" y="80"/>
                      <a:pt x="402" y="80"/>
                      <a:pt x="403" y="80"/>
                    </a:cubicBezTo>
                    <a:cubicBezTo>
                      <a:pt x="403" y="80"/>
                      <a:pt x="402" y="80"/>
                      <a:pt x="402" y="80"/>
                    </a:cubicBezTo>
                    <a:cubicBezTo>
                      <a:pt x="403" y="81"/>
                      <a:pt x="405" y="81"/>
                      <a:pt x="406" y="82"/>
                    </a:cubicBezTo>
                    <a:cubicBezTo>
                      <a:pt x="407" y="82"/>
                      <a:pt x="408" y="83"/>
                      <a:pt x="409" y="83"/>
                    </a:cubicBezTo>
                    <a:cubicBezTo>
                      <a:pt x="412" y="84"/>
                      <a:pt x="415" y="83"/>
                      <a:pt x="418" y="83"/>
                    </a:cubicBezTo>
                    <a:cubicBezTo>
                      <a:pt x="417" y="82"/>
                      <a:pt x="416" y="81"/>
                      <a:pt x="415" y="81"/>
                    </a:cubicBezTo>
                    <a:cubicBezTo>
                      <a:pt x="414" y="80"/>
                      <a:pt x="413" y="80"/>
                      <a:pt x="412" y="80"/>
                    </a:cubicBezTo>
                    <a:cubicBezTo>
                      <a:pt x="413" y="80"/>
                      <a:pt x="412" y="79"/>
                      <a:pt x="412" y="79"/>
                    </a:cubicBezTo>
                    <a:cubicBezTo>
                      <a:pt x="411" y="78"/>
                      <a:pt x="411" y="78"/>
                      <a:pt x="410" y="78"/>
                    </a:cubicBezTo>
                    <a:cubicBezTo>
                      <a:pt x="407" y="78"/>
                      <a:pt x="404" y="77"/>
                      <a:pt x="401" y="77"/>
                    </a:cubicBezTo>
                    <a:cubicBezTo>
                      <a:pt x="401" y="76"/>
                      <a:pt x="400" y="76"/>
                      <a:pt x="400" y="76"/>
                    </a:cubicBezTo>
                    <a:cubicBezTo>
                      <a:pt x="399" y="76"/>
                      <a:pt x="400" y="75"/>
                      <a:pt x="400" y="75"/>
                    </a:cubicBezTo>
                    <a:cubicBezTo>
                      <a:pt x="400" y="75"/>
                      <a:pt x="398" y="75"/>
                      <a:pt x="398" y="74"/>
                    </a:cubicBezTo>
                    <a:cubicBezTo>
                      <a:pt x="398" y="74"/>
                      <a:pt x="398" y="74"/>
                      <a:pt x="398" y="74"/>
                    </a:cubicBezTo>
                    <a:cubicBezTo>
                      <a:pt x="398" y="73"/>
                      <a:pt x="398" y="72"/>
                      <a:pt x="398" y="72"/>
                    </a:cubicBezTo>
                    <a:cubicBezTo>
                      <a:pt x="397" y="72"/>
                      <a:pt x="396" y="71"/>
                      <a:pt x="396" y="71"/>
                    </a:cubicBezTo>
                    <a:cubicBezTo>
                      <a:pt x="395" y="71"/>
                      <a:pt x="395" y="71"/>
                      <a:pt x="394" y="71"/>
                    </a:cubicBezTo>
                    <a:cubicBezTo>
                      <a:pt x="395" y="71"/>
                      <a:pt x="395" y="71"/>
                      <a:pt x="395" y="71"/>
                    </a:cubicBezTo>
                    <a:cubicBezTo>
                      <a:pt x="394" y="70"/>
                      <a:pt x="393" y="70"/>
                      <a:pt x="392" y="70"/>
                    </a:cubicBezTo>
                    <a:cubicBezTo>
                      <a:pt x="393" y="70"/>
                      <a:pt x="394" y="70"/>
                      <a:pt x="394" y="70"/>
                    </a:cubicBezTo>
                    <a:cubicBezTo>
                      <a:pt x="395" y="69"/>
                      <a:pt x="393" y="69"/>
                      <a:pt x="393" y="69"/>
                    </a:cubicBezTo>
                    <a:cubicBezTo>
                      <a:pt x="392" y="69"/>
                      <a:pt x="392" y="69"/>
                      <a:pt x="392" y="69"/>
                    </a:cubicBezTo>
                    <a:cubicBezTo>
                      <a:pt x="391" y="69"/>
                      <a:pt x="392" y="68"/>
                      <a:pt x="392" y="68"/>
                    </a:cubicBezTo>
                    <a:cubicBezTo>
                      <a:pt x="392" y="69"/>
                      <a:pt x="393" y="68"/>
                      <a:pt x="393" y="68"/>
                    </a:cubicBezTo>
                    <a:cubicBezTo>
                      <a:pt x="393" y="68"/>
                      <a:pt x="393" y="68"/>
                      <a:pt x="393" y="67"/>
                    </a:cubicBezTo>
                    <a:cubicBezTo>
                      <a:pt x="393" y="67"/>
                      <a:pt x="393" y="67"/>
                      <a:pt x="392" y="67"/>
                    </a:cubicBezTo>
                    <a:cubicBezTo>
                      <a:pt x="392" y="67"/>
                      <a:pt x="392" y="67"/>
                      <a:pt x="392" y="67"/>
                    </a:cubicBezTo>
                    <a:cubicBezTo>
                      <a:pt x="393" y="66"/>
                      <a:pt x="394" y="67"/>
                      <a:pt x="395" y="67"/>
                    </a:cubicBezTo>
                    <a:cubicBezTo>
                      <a:pt x="395" y="66"/>
                      <a:pt x="396" y="66"/>
                      <a:pt x="397" y="66"/>
                    </a:cubicBezTo>
                    <a:cubicBezTo>
                      <a:pt x="399" y="66"/>
                      <a:pt x="401" y="66"/>
                      <a:pt x="403" y="66"/>
                    </a:cubicBezTo>
                    <a:cubicBezTo>
                      <a:pt x="404" y="66"/>
                      <a:pt x="405" y="66"/>
                      <a:pt x="406" y="66"/>
                    </a:cubicBezTo>
                    <a:cubicBezTo>
                      <a:pt x="407" y="66"/>
                      <a:pt x="408" y="66"/>
                      <a:pt x="409" y="66"/>
                    </a:cubicBezTo>
                    <a:cubicBezTo>
                      <a:pt x="411" y="66"/>
                      <a:pt x="413" y="66"/>
                      <a:pt x="415" y="66"/>
                    </a:cubicBezTo>
                    <a:cubicBezTo>
                      <a:pt x="416" y="65"/>
                      <a:pt x="417" y="65"/>
                      <a:pt x="418" y="65"/>
                    </a:cubicBezTo>
                    <a:cubicBezTo>
                      <a:pt x="419" y="65"/>
                      <a:pt x="420" y="65"/>
                      <a:pt x="421" y="65"/>
                    </a:cubicBezTo>
                    <a:cubicBezTo>
                      <a:pt x="422" y="66"/>
                      <a:pt x="423" y="66"/>
                      <a:pt x="423" y="65"/>
                    </a:cubicBezTo>
                    <a:cubicBezTo>
                      <a:pt x="424" y="65"/>
                      <a:pt x="423" y="65"/>
                      <a:pt x="424" y="65"/>
                    </a:cubicBezTo>
                    <a:cubicBezTo>
                      <a:pt x="426" y="64"/>
                      <a:pt x="428" y="64"/>
                      <a:pt x="430" y="64"/>
                    </a:cubicBezTo>
                    <a:cubicBezTo>
                      <a:pt x="430" y="64"/>
                      <a:pt x="431" y="64"/>
                      <a:pt x="432" y="64"/>
                    </a:cubicBezTo>
                    <a:cubicBezTo>
                      <a:pt x="433" y="64"/>
                      <a:pt x="433" y="64"/>
                      <a:pt x="434" y="64"/>
                    </a:cubicBezTo>
                    <a:cubicBezTo>
                      <a:pt x="434" y="64"/>
                      <a:pt x="431" y="63"/>
                      <a:pt x="431" y="63"/>
                    </a:cubicBezTo>
                    <a:cubicBezTo>
                      <a:pt x="432" y="62"/>
                      <a:pt x="434" y="63"/>
                      <a:pt x="434" y="63"/>
                    </a:cubicBezTo>
                    <a:cubicBezTo>
                      <a:pt x="434" y="62"/>
                      <a:pt x="432" y="62"/>
                      <a:pt x="432" y="62"/>
                    </a:cubicBezTo>
                    <a:cubicBezTo>
                      <a:pt x="431" y="62"/>
                      <a:pt x="431" y="62"/>
                      <a:pt x="430" y="62"/>
                    </a:cubicBezTo>
                    <a:cubicBezTo>
                      <a:pt x="430" y="62"/>
                      <a:pt x="429" y="62"/>
                      <a:pt x="429" y="62"/>
                    </a:cubicBezTo>
                    <a:cubicBezTo>
                      <a:pt x="429" y="62"/>
                      <a:pt x="429" y="61"/>
                      <a:pt x="429" y="61"/>
                    </a:cubicBezTo>
                    <a:cubicBezTo>
                      <a:pt x="429" y="61"/>
                      <a:pt x="429" y="61"/>
                      <a:pt x="429" y="61"/>
                    </a:cubicBezTo>
                    <a:cubicBezTo>
                      <a:pt x="429" y="61"/>
                      <a:pt x="428" y="61"/>
                      <a:pt x="428" y="61"/>
                    </a:cubicBezTo>
                    <a:cubicBezTo>
                      <a:pt x="427" y="61"/>
                      <a:pt x="425" y="61"/>
                      <a:pt x="424" y="61"/>
                    </a:cubicBezTo>
                    <a:cubicBezTo>
                      <a:pt x="424" y="61"/>
                      <a:pt x="422" y="60"/>
                      <a:pt x="422" y="60"/>
                    </a:cubicBezTo>
                    <a:cubicBezTo>
                      <a:pt x="423" y="59"/>
                      <a:pt x="425" y="60"/>
                      <a:pt x="425" y="60"/>
                    </a:cubicBezTo>
                    <a:cubicBezTo>
                      <a:pt x="425" y="59"/>
                      <a:pt x="424" y="60"/>
                      <a:pt x="423" y="59"/>
                    </a:cubicBezTo>
                    <a:cubicBezTo>
                      <a:pt x="424" y="59"/>
                      <a:pt x="425" y="59"/>
                      <a:pt x="427" y="59"/>
                    </a:cubicBezTo>
                    <a:cubicBezTo>
                      <a:pt x="427" y="60"/>
                      <a:pt x="430" y="59"/>
                      <a:pt x="428" y="60"/>
                    </a:cubicBezTo>
                    <a:cubicBezTo>
                      <a:pt x="428" y="61"/>
                      <a:pt x="429" y="60"/>
                      <a:pt x="430" y="60"/>
                    </a:cubicBezTo>
                    <a:cubicBezTo>
                      <a:pt x="430" y="61"/>
                      <a:pt x="430" y="61"/>
                      <a:pt x="430" y="60"/>
                    </a:cubicBezTo>
                    <a:cubicBezTo>
                      <a:pt x="430" y="60"/>
                      <a:pt x="430" y="60"/>
                      <a:pt x="429" y="60"/>
                    </a:cubicBezTo>
                    <a:cubicBezTo>
                      <a:pt x="430" y="60"/>
                      <a:pt x="430" y="60"/>
                      <a:pt x="431" y="60"/>
                    </a:cubicBezTo>
                    <a:cubicBezTo>
                      <a:pt x="431" y="60"/>
                      <a:pt x="429" y="60"/>
                      <a:pt x="429" y="59"/>
                    </a:cubicBezTo>
                    <a:cubicBezTo>
                      <a:pt x="429" y="59"/>
                      <a:pt x="429" y="59"/>
                      <a:pt x="429" y="59"/>
                    </a:cubicBezTo>
                    <a:cubicBezTo>
                      <a:pt x="428" y="59"/>
                      <a:pt x="427" y="59"/>
                      <a:pt x="425" y="58"/>
                    </a:cubicBezTo>
                    <a:cubicBezTo>
                      <a:pt x="426" y="58"/>
                      <a:pt x="426" y="58"/>
                      <a:pt x="426" y="58"/>
                    </a:cubicBezTo>
                    <a:cubicBezTo>
                      <a:pt x="425" y="58"/>
                      <a:pt x="424" y="58"/>
                      <a:pt x="423" y="58"/>
                    </a:cubicBezTo>
                    <a:cubicBezTo>
                      <a:pt x="421" y="58"/>
                      <a:pt x="420" y="58"/>
                      <a:pt x="419" y="57"/>
                    </a:cubicBezTo>
                    <a:cubicBezTo>
                      <a:pt x="419" y="57"/>
                      <a:pt x="419" y="57"/>
                      <a:pt x="420" y="57"/>
                    </a:cubicBezTo>
                    <a:cubicBezTo>
                      <a:pt x="419" y="57"/>
                      <a:pt x="420" y="57"/>
                      <a:pt x="420" y="57"/>
                    </a:cubicBezTo>
                    <a:cubicBezTo>
                      <a:pt x="421" y="57"/>
                      <a:pt x="420" y="56"/>
                      <a:pt x="420" y="56"/>
                    </a:cubicBezTo>
                    <a:cubicBezTo>
                      <a:pt x="421" y="56"/>
                      <a:pt x="422" y="56"/>
                      <a:pt x="422" y="56"/>
                    </a:cubicBezTo>
                    <a:cubicBezTo>
                      <a:pt x="422" y="56"/>
                      <a:pt x="422" y="56"/>
                      <a:pt x="421" y="56"/>
                    </a:cubicBezTo>
                    <a:cubicBezTo>
                      <a:pt x="422" y="57"/>
                      <a:pt x="422" y="57"/>
                      <a:pt x="423" y="57"/>
                    </a:cubicBezTo>
                    <a:cubicBezTo>
                      <a:pt x="423" y="57"/>
                      <a:pt x="424" y="57"/>
                      <a:pt x="424" y="57"/>
                    </a:cubicBezTo>
                    <a:cubicBezTo>
                      <a:pt x="425" y="57"/>
                      <a:pt x="425" y="57"/>
                      <a:pt x="426" y="58"/>
                    </a:cubicBezTo>
                    <a:cubicBezTo>
                      <a:pt x="426" y="58"/>
                      <a:pt x="427" y="58"/>
                      <a:pt x="427" y="58"/>
                    </a:cubicBezTo>
                    <a:cubicBezTo>
                      <a:pt x="427" y="57"/>
                      <a:pt x="427" y="57"/>
                      <a:pt x="427" y="57"/>
                    </a:cubicBezTo>
                    <a:cubicBezTo>
                      <a:pt x="426" y="57"/>
                      <a:pt x="425" y="57"/>
                      <a:pt x="425" y="57"/>
                    </a:cubicBezTo>
                    <a:cubicBezTo>
                      <a:pt x="425" y="56"/>
                      <a:pt x="427" y="56"/>
                      <a:pt x="427" y="57"/>
                    </a:cubicBezTo>
                    <a:cubicBezTo>
                      <a:pt x="427" y="56"/>
                      <a:pt x="426" y="56"/>
                      <a:pt x="426" y="55"/>
                    </a:cubicBezTo>
                    <a:cubicBezTo>
                      <a:pt x="426" y="55"/>
                      <a:pt x="428" y="55"/>
                      <a:pt x="428" y="55"/>
                    </a:cubicBezTo>
                    <a:cubicBezTo>
                      <a:pt x="427" y="54"/>
                      <a:pt x="426" y="55"/>
                      <a:pt x="426" y="54"/>
                    </a:cubicBezTo>
                    <a:cubicBezTo>
                      <a:pt x="426" y="54"/>
                      <a:pt x="428" y="54"/>
                      <a:pt x="428" y="55"/>
                    </a:cubicBezTo>
                    <a:cubicBezTo>
                      <a:pt x="428" y="55"/>
                      <a:pt x="429" y="55"/>
                      <a:pt x="429" y="55"/>
                    </a:cubicBezTo>
                    <a:cubicBezTo>
                      <a:pt x="428" y="55"/>
                      <a:pt x="429" y="55"/>
                      <a:pt x="429" y="54"/>
                    </a:cubicBezTo>
                    <a:cubicBezTo>
                      <a:pt x="430" y="54"/>
                      <a:pt x="429" y="54"/>
                      <a:pt x="429" y="54"/>
                    </a:cubicBezTo>
                    <a:cubicBezTo>
                      <a:pt x="429" y="54"/>
                      <a:pt x="428" y="54"/>
                      <a:pt x="427" y="54"/>
                    </a:cubicBezTo>
                    <a:cubicBezTo>
                      <a:pt x="426" y="54"/>
                      <a:pt x="425" y="54"/>
                      <a:pt x="424" y="54"/>
                    </a:cubicBezTo>
                    <a:cubicBezTo>
                      <a:pt x="424" y="54"/>
                      <a:pt x="423" y="54"/>
                      <a:pt x="423" y="53"/>
                    </a:cubicBezTo>
                    <a:cubicBezTo>
                      <a:pt x="424" y="53"/>
                      <a:pt x="425" y="53"/>
                      <a:pt x="425" y="53"/>
                    </a:cubicBezTo>
                    <a:cubicBezTo>
                      <a:pt x="426" y="53"/>
                      <a:pt x="427" y="53"/>
                      <a:pt x="428" y="53"/>
                    </a:cubicBezTo>
                    <a:cubicBezTo>
                      <a:pt x="428" y="53"/>
                      <a:pt x="430" y="54"/>
                      <a:pt x="430" y="53"/>
                    </a:cubicBezTo>
                    <a:cubicBezTo>
                      <a:pt x="431" y="53"/>
                      <a:pt x="432" y="53"/>
                      <a:pt x="432" y="53"/>
                    </a:cubicBezTo>
                    <a:cubicBezTo>
                      <a:pt x="431" y="52"/>
                      <a:pt x="433" y="52"/>
                      <a:pt x="433" y="52"/>
                    </a:cubicBezTo>
                    <a:cubicBezTo>
                      <a:pt x="433" y="52"/>
                      <a:pt x="432" y="52"/>
                      <a:pt x="433" y="51"/>
                    </a:cubicBezTo>
                    <a:cubicBezTo>
                      <a:pt x="433" y="51"/>
                      <a:pt x="434" y="51"/>
                      <a:pt x="433" y="51"/>
                    </a:cubicBezTo>
                    <a:cubicBezTo>
                      <a:pt x="434" y="51"/>
                      <a:pt x="435" y="51"/>
                      <a:pt x="435" y="51"/>
                    </a:cubicBezTo>
                    <a:cubicBezTo>
                      <a:pt x="435" y="51"/>
                      <a:pt x="435" y="51"/>
                      <a:pt x="434" y="51"/>
                    </a:cubicBezTo>
                    <a:cubicBezTo>
                      <a:pt x="435" y="50"/>
                      <a:pt x="436" y="50"/>
                      <a:pt x="436" y="50"/>
                    </a:cubicBezTo>
                    <a:cubicBezTo>
                      <a:pt x="437" y="51"/>
                      <a:pt x="438" y="51"/>
                      <a:pt x="439" y="50"/>
                    </a:cubicBezTo>
                    <a:cubicBezTo>
                      <a:pt x="439" y="50"/>
                      <a:pt x="438" y="50"/>
                      <a:pt x="438" y="50"/>
                    </a:cubicBezTo>
                    <a:cubicBezTo>
                      <a:pt x="439" y="50"/>
                      <a:pt x="440" y="50"/>
                      <a:pt x="441" y="50"/>
                    </a:cubicBezTo>
                    <a:cubicBezTo>
                      <a:pt x="440" y="50"/>
                      <a:pt x="440" y="50"/>
                      <a:pt x="439" y="49"/>
                    </a:cubicBezTo>
                    <a:cubicBezTo>
                      <a:pt x="441" y="49"/>
                      <a:pt x="442" y="49"/>
                      <a:pt x="443" y="49"/>
                    </a:cubicBezTo>
                    <a:cubicBezTo>
                      <a:pt x="444" y="49"/>
                      <a:pt x="445" y="48"/>
                      <a:pt x="445" y="49"/>
                    </a:cubicBezTo>
                    <a:cubicBezTo>
                      <a:pt x="446" y="49"/>
                      <a:pt x="446" y="49"/>
                      <a:pt x="446" y="49"/>
                    </a:cubicBezTo>
                    <a:cubicBezTo>
                      <a:pt x="447" y="49"/>
                      <a:pt x="448" y="49"/>
                      <a:pt x="449" y="49"/>
                    </a:cubicBezTo>
                    <a:cubicBezTo>
                      <a:pt x="450" y="49"/>
                      <a:pt x="449" y="49"/>
                      <a:pt x="449" y="48"/>
                    </a:cubicBezTo>
                    <a:cubicBezTo>
                      <a:pt x="450" y="48"/>
                      <a:pt x="453" y="48"/>
                      <a:pt x="453" y="48"/>
                    </a:cubicBezTo>
                    <a:cubicBezTo>
                      <a:pt x="454" y="48"/>
                      <a:pt x="456" y="48"/>
                      <a:pt x="457" y="47"/>
                    </a:cubicBezTo>
                    <a:cubicBezTo>
                      <a:pt x="459" y="47"/>
                      <a:pt x="460" y="47"/>
                      <a:pt x="461" y="47"/>
                    </a:cubicBezTo>
                    <a:cubicBezTo>
                      <a:pt x="462" y="47"/>
                      <a:pt x="463" y="47"/>
                      <a:pt x="464" y="46"/>
                    </a:cubicBezTo>
                    <a:cubicBezTo>
                      <a:pt x="463" y="46"/>
                      <a:pt x="462" y="47"/>
                      <a:pt x="461" y="47"/>
                    </a:cubicBezTo>
                    <a:cubicBezTo>
                      <a:pt x="461" y="47"/>
                      <a:pt x="460" y="46"/>
                      <a:pt x="459" y="46"/>
                    </a:cubicBezTo>
                    <a:cubicBezTo>
                      <a:pt x="460" y="47"/>
                      <a:pt x="460" y="47"/>
                      <a:pt x="460" y="47"/>
                    </a:cubicBezTo>
                    <a:cubicBezTo>
                      <a:pt x="460" y="47"/>
                      <a:pt x="458" y="46"/>
                      <a:pt x="458" y="46"/>
                    </a:cubicBezTo>
                    <a:cubicBezTo>
                      <a:pt x="458" y="46"/>
                      <a:pt x="457" y="46"/>
                      <a:pt x="456" y="46"/>
                    </a:cubicBezTo>
                    <a:cubicBezTo>
                      <a:pt x="457" y="46"/>
                      <a:pt x="457" y="46"/>
                      <a:pt x="457" y="47"/>
                    </a:cubicBezTo>
                    <a:cubicBezTo>
                      <a:pt x="456" y="47"/>
                      <a:pt x="456" y="46"/>
                      <a:pt x="455" y="46"/>
                    </a:cubicBezTo>
                    <a:cubicBezTo>
                      <a:pt x="456" y="46"/>
                      <a:pt x="455" y="46"/>
                      <a:pt x="455" y="45"/>
                    </a:cubicBezTo>
                    <a:cubicBezTo>
                      <a:pt x="455" y="45"/>
                      <a:pt x="456" y="46"/>
                      <a:pt x="457" y="46"/>
                    </a:cubicBezTo>
                    <a:cubicBezTo>
                      <a:pt x="457" y="45"/>
                      <a:pt x="456" y="45"/>
                      <a:pt x="456" y="45"/>
                    </a:cubicBezTo>
                    <a:cubicBezTo>
                      <a:pt x="456" y="45"/>
                      <a:pt x="457" y="45"/>
                      <a:pt x="458" y="45"/>
                    </a:cubicBezTo>
                    <a:cubicBezTo>
                      <a:pt x="458" y="45"/>
                      <a:pt x="457" y="45"/>
                      <a:pt x="457" y="45"/>
                    </a:cubicBezTo>
                    <a:cubicBezTo>
                      <a:pt x="458" y="46"/>
                      <a:pt x="459" y="46"/>
                      <a:pt x="459" y="45"/>
                    </a:cubicBezTo>
                    <a:cubicBezTo>
                      <a:pt x="460" y="45"/>
                      <a:pt x="461" y="46"/>
                      <a:pt x="462" y="45"/>
                    </a:cubicBezTo>
                    <a:cubicBezTo>
                      <a:pt x="461" y="45"/>
                      <a:pt x="460" y="45"/>
                      <a:pt x="459" y="45"/>
                    </a:cubicBezTo>
                    <a:cubicBezTo>
                      <a:pt x="460" y="45"/>
                      <a:pt x="462" y="45"/>
                      <a:pt x="463" y="45"/>
                    </a:cubicBezTo>
                    <a:cubicBezTo>
                      <a:pt x="464" y="45"/>
                      <a:pt x="465" y="46"/>
                      <a:pt x="466" y="45"/>
                    </a:cubicBezTo>
                    <a:cubicBezTo>
                      <a:pt x="465" y="45"/>
                      <a:pt x="466" y="45"/>
                      <a:pt x="466" y="45"/>
                    </a:cubicBezTo>
                    <a:cubicBezTo>
                      <a:pt x="466" y="45"/>
                      <a:pt x="465" y="45"/>
                      <a:pt x="465" y="44"/>
                    </a:cubicBezTo>
                    <a:cubicBezTo>
                      <a:pt x="466" y="44"/>
                      <a:pt x="467" y="45"/>
                      <a:pt x="468" y="45"/>
                    </a:cubicBezTo>
                    <a:cubicBezTo>
                      <a:pt x="469" y="45"/>
                      <a:pt x="470" y="44"/>
                      <a:pt x="470" y="44"/>
                    </a:cubicBezTo>
                    <a:cubicBezTo>
                      <a:pt x="471" y="44"/>
                      <a:pt x="472" y="45"/>
                      <a:pt x="473" y="45"/>
                    </a:cubicBezTo>
                    <a:cubicBezTo>
                      <a:pt x="474" y="45"/>
                      <a:pt x="475" y="45"/>
                      <a:pt x="476" y="45"/>
                    </a:cubicBezTo>
                    <a:cubicBezTo>
                      <a:pt x="476" y="45"/>
                      <a:pt x="475" y="45"/>
                      <a:pt x="475" y="45"/>
                    </a:cubicBezTo>
                    <a:cubicBezTo>
                      <a:pt x="475" y="45"/>
                      <a:pt x="475" y="45"/>
                      <a:pt x="475" y="45"/>
                    </a:cubicBezTo>
                    <a:cubicBezTo>
                      <a:pt x="475" y="45"/>
                      <a:pt x="475" y="46"/>
                      <a:pt x="475" y="46"/>
                    </a:cubicBezTo>
                    <a:cubicBezTo>
                      <a:pt x="475" y="46"/>
                      <a:pt x="474" y="46"/>
                      <a:pt x="473" y="47"/>
                    </a:cubicBezTo>
                    <a:cubicBezTo>
                      <a:pt x="474" y="47"/>
                      <a:pt x="475" y="47"/>
                      <a:pt x="475" y="47"/>
                    </a:cubicBezTo>
                    <a:cubicBezTo>
                      <a:pt x="475" y="47"/>
                      <a:pt x="475" y="46"/>
                      <a:pt x="475" y="46"/>
                    </a:cubicBezTo>
                    <a:cubicBezTo>
                      <a:pt x="476" y="46"/>
                      <a:pt x="477" y="46"/>
                      <a:pt x="478" y="46"/>
                    </a:cubicBezTo>
                    <a:cubicBezTo>
                      <a:pt x="477" y="46"/>
                      <a:pt x="477" y="46"/>
                      <a:pt x="477" y="46"/>
                    </a:cubicBezTo>
                    <a:cubicBezTo>
                      <a:pt x="477" y="46"/>
                      <a:pt x="478" y="46"/>
                      <a:pt x="478" y="46"/>
                    </a:cubicBezTo>
                    <a:cubicBezTo>
                      <a:pt x="479" y="46"/>
                      <a:pt x="478" y="46"/>
                      <a:pt x="479" y="46"/>
                    </a:cubicBezTo>
                    <a:cubicBezTo>
                      <a:pt x="480" y="46"/>
                      <a:pt x="479" y="46"/>
                      <a:pt x="479" y="47"/>
                    </a:cubicBezTo>
                    <a:cubicBezTo>
                      <a:pt x="480" y="47"/>
                      <a:pt x="480" y="47"/>
                      <a:pt x="481" y="47"/>
                    </a:cubicBezTo>
                    <a:cubicBezTo>
                      <a:pt x="481" y="47"/>
                      <a:pt x="481" y="47"/>
                      <a:pt x="482" y="46"/>
                    </a:cubicBezTo>
                    <a:cubicBezTo>
                      <a:pt x="482" y="46"/>
                      <a:pt x="483" y="45"/>
                      <a:pt x="484" y="45"/>
                    </a:cubicBezTo>
                    <a:cubicBezTo>
                      <a:pt x="484" y="46"/>
                      <a:pt x="483" y="46"/>
                      <a:pt x="483" y="46"/>
                    </a:cubicBezTo>
                    <a:cubicBezTo>
                      <a:pt x="483" y="46"/>
                      <a:pt x="484" y="46"/>
                      <a:pt x="483" y="46"/>
                    </a:cubicBezTo>
                    <a:cubicBezTo>
                      <a:pt x="484" y="46"/>
                      <a:pt x="484" y="46"/>
                      <a:pt x="485" y="46"/>
                    </a:cubicBezTo>
                    <a:cubicBezTo>
                      <a:pt x="485" y="46"/>
                      <a:pt x="487" y="46"/>
                      <a:pt x="487" y="46"/>
                    </a:cubicBezTo>
                    <a:cubicBezTo>
                      <a:pt x="487" y="46"/>
                      <a:pt x="485" y="45"/>
                      <a:pt x="485" y="45"/>
                    </a:cubicBezTo>
                    <a:cubicBezTo>
                      <a:pt x="485" y="45"/>
                      <a:pt x="486" y="45"/>
                      <a:pt x="487" y="45"/>
                    </a:cubicBezTo>
                    <a:cubicBezTo>
                      <a:pt x="487" y="45"/>
                      <a:pt x="488" y="45"/>
                      <a:pt x="488" y="45"/>
                    </a:cubicBezTo>
                    <a:cubicBezTo>
                      <a:pt x="488" y="45"/>
                      <a:pt x="487" y="45"/>
                      <a:pt x="486" y="45"/>
                    </a:cubicBezTo>
                    <a:cubicBezTo>
                      <a:pt x="487" y="44"/>
                      <a:pt x="488" y="44"/>
                      <a:pt x="488" y="44"/>
                    </a:cubicBezTo>
                    <a:cubicBezTo>
                      <a:pt x="489" y="44"/>
                      <a:pt x="489" y="44"/>
                      <a:pt x="489" y="44"/>
                    </a:cubicBezTo>
                    <a:cubicBezTo>
                      <a:pt x="490" y="44"/>
                      <a:pt x="491" y="43"/>
                      <a:pt x="491" y="44"/>
                    </a:cubicBezTo>
                    <a:cubicBezTo>
                      <a:pt x="492" y="44"/>
                      <a:pt x="493" y="44"/>
                      <a:pt x="493" y="44"/>
                    </a:cubicBezTo>
                    <a:cubicBezTo>
                      <a:pt x="494" y="44"/>
                      <a:pt x="494" y="44"/>
                      <a:pt x="494" y="44"/>
                    </a:cubicBezTo>
                    <a:cubicBezTo>
                      <a:pt x="494" y="44"/>
                      <a:pt x="494" y="44"/>
                      <a:pt x="494" y="44"/>
                    </a:cubicBezTo>
                    <a:cubicBezTo>
                      <a:pt x="494" y="45"/>
                      <a:pt x="495" y="45"/>
                      <a:pt x="496" y="45"/>
                    </a:cubicBezTo>
                    <a:cubicBezTo>
                      <a:pt x="496" y="44"/>
                      <a:pt x="497" y="44"/>
                      <a:pt x="497" y="45"/>
                    </a:cubicBezTo>
                    <a:cubicBezTo>
                      <a:pt x="497" y="45"/>
                      <a:pt x="497" y="45"/>
                      <a:pt x="497" y="45"/>
                    </a:cubicBezTo>
                    <a:cubicBezTo>
                      <a:pt x="497" y="45"/>
                      <a:pt x="499" y="45"/>
                      <a:pt x="499" y="45"/>
                    </a:cubicBezTo>
                    <a:cubicBezTo>
                      <a:pt x="499" y="44"/>
                      <a:pt x="497" y="44"/>
                      <a:pt x="497" y="44"/>
                    </a:cubicBezTo>
                    <a:cubicBezTo>
                      <a:pt x="496" y="44"/>
                      <a:pt x="496" y="43"/>
                      <a:pt x="495" y="43"/>
                    </a:cubicBezTo>
                    <a:cubicBezTo>
                      <a:pt x="495" y="43"/>
                      <a:pt x="494" y="43"/>
                      <a:pt x="493" y="43"/>
                    </a:cubicBezTo>
                    <a:cubicBezTo>
                      <a:pt x="492" y="43"/>
                      <a:pt x="492" y="43"/>
                      <a:pt x="491" y="42"/>
                    </a:cubicBezTo>
                    <a:cubicBezTo>
                      <a:pt x="490" y="42"/>
                      <a:pt x="490" y="42"/>
                      <a:pt x="489" y="42"/>
                    </a:cubicBezTo>
                    <a:cubicBezTo>
                      <a:pt x="488" y="41"/>
                      <a:pt x="490" y="42"/>
                      <a:pt x="491" y="42"/>
                    </a:cubicBezTo>
                    <a:cubicBezTo>
                      <a:pt x="493" y="42"/>
                      <a:pt x="495" y="42"/>
                      <a:pt x="497" y="42"/>
                    </a:cubicBezTo>
                    <a:cubicBezTo>
                      <a:pt x="498" y="42"/>
                      <a:pt x="498" y="42"/>
                      <a:pt x="499" y="42"/>
                    </a:cubicBezTo>
                    <a:cubicBezTo>
                      <a:pt x="500" y="42"/>
                      <a:pt x="501" y="41"/>
                      <a:pt x="502" y="41"/>
                    </a:cubicBezTo>
                    <a:cubicBezTo>
                      <a:pt x="503" y="41"/>
                      <a:pt x="503" y="42"/>
                      <a:pt x="504" y="42"/>
                    </a:cubicBezTo>
                    <a:cubicBezTo>
                      <a:pt x="505" y="42"/>
                      <a:pt x="506" y="42"/>
                      <a:pt x="507" y="42"/>
                    </a:cubicBezTo>
                    <a:cubicBezTo>
                      <a:pt x="508" y="42"/>
                      <a:pt x="510" y="43"/>
                      <a:pt x="512" y="43"/>
                    </a:cubicBezTo>
                    <a:cubicBezTo>
                      <a:pt x="511" y="42"/>
                      <a:pt x="509" y="42"/>
                      <a:pt x="508" y="42"/>
                    </a:cubicBezTo>
                    <a:cubicBezTo>
                      <a:pt x="507" y="42"/>
                      <a:pt x="506" y="42"/>
                      <a:pt x="505" y="41"/>
                    </a:cubicBezTo>
                    <a:cubicBezTo>
                      <a:pt x="504" y="41"/>
                      <a:pt x="502" y="42"/>
                      <a:pt x="502" y="41"/>
                    </a:cubicBezTo>
                    <a:cubicBezTo>
                      <a:pt x="502" y="41"/>
                      <a:pt x="502" y="41"/>
                      <a:pt x="502" y="41"/>
                    </a:cubicBezTo>
                    <a:cubicBezTo>
                      <a:pt x="503" y="41"/>
                      <a:pt x="502" y="40"/>
                      <a:pt x="502" y="40"/>
                    </a:cubicBezTo>
                    <a:cubicBezTo>
                      <a:pt x="502" y="40"/>
                      <a:pt x="502" y="39"/>
                      <a:pt x="501" y="39"/>
                    </a:cubicBezTo>
                    <a:cubicBezTo>
                      <a:pt x="501" y="39"/>
                      <a:pt x="500" y="39"/>
                      <a:pt x="499" y="39"/>
                    </a:cubicBezTo>
                    <a:cubicBezTo>
                      <a:pt x="499" y="39"/>
                      <a:pt x="499" y="39"/>
                      <a:pt x="498" y="38"/>
                    </a:cubicBezTo>
                    <a:cubicBezTo>
                      <a:pt x="498" y="38"/>
                      <a:pt x="498" y="38"/>
                      <a:pt x="498" y="38"/>
                    </a:cubicBezTo>
                    <a:cubicBezTo>
                      <a:pt x="498" y="37"/>
                      <a:pt x="499" y="38"/>
                      <a:pt x="500" y="37"/>
                    </a:cubicBezTo>
                    <a:cubicBezTo>
                      <a:pt x="499" y="37"/>
                      <a:pt x="498" y="37"/>
                      <a:pt x="499" y="36"/>
                    </a:cubicBezTo>
                    <a:cubicBezTo>
                      <a:pt x="500" y="36"/>
                      <a:pt x="500" y="36"/>
                      <a:pt x="500" y="35"/>
                    </a:cubicBezTo>
                    <a:cubicBezTo>
                      <a:pt x="501" y="35"/>
                      <a:pt x="501" y="35"/>
                      <a:pt x="501" y="35"/>
                    </a:cubicBezTo>
                    <a:cubicBezTo>
                      <a:pt x="501" y="35"/>
                      <a:pt x="499" y="35"/>
                      <a:pt x="500" y="34"/>
                    </a:cubicBezTo>
                    <a:cubicBezTo>
                      <a:pt x="500" y="34"/>
                      <a:pt x="500" y="34"/>
                      <a:pt x="501" y="34"/>
                    </a:cubicBezTo>
                    <a:cubicBezTo>
                      <a:pt x="501" y="34"/>
                      <a:pt x="502" y="34"/>
                      <a:pt x="502" y="33"/>
                    </a:cubicBezTo>
                    <a:cubicBezTo>
                      <a:pt x="503" y="33"/>
                      <a:pt x="503" y="33"/>
                      <a:pt x="504" y="33"/>
                    </a:cubicBezTo>
                    <a:cubicBezTo>
                      <a:pt x="503" y="33"/>
                      <a:pt x="505" y="32"/>
                      <a:pt x="505" y="32"/>
                    </a:cubicBezTo>
                    <a:cubicBezTo>
                      <a:pt x="506" y="33"/>
                      <a:pt x="507" y="32"/>
                      <a:pt x="508" y="32"/>
                    </a:cubicBezTo>
                    <a:cubicBezTo>
                      <a:pt x="509" y="31"/>
                      <a:pt x="511" y="31"/>
                      <a:pt x="511" y="32"/>
                    </a:cubicBezTo>
                    <a:cubicBezTo>
                      <a:pt x="511" y="32"/>
                      <a:pt x="513" y="32"/>
                      <a:pt x="513" y="32"/>
                    </a:cubicBezTo>
                    <a:cubicBezTo>
                      <a:pt x="513" y="32"/>
                      <a:pt x="514" y="32"/>
                      <a:pt x="514" y="32"/>
                    </a:cubicBezTo>
                    <a:cubicBezTo>
                      <a:pt x="515" y="32"/>
                      <a:pt x="516" y="32"/>
                      <a:pt x="516" y="32"/>
                    </a:cubicBezTo>
                    <a:cubicBezTo>
                      <a:pt x="517" y="33"/>
                      <a:pt x="519" y="33"/>
                      <a:pt x="520" y="33"/>
                    </a:cubicBezTo>
                    <a:cubicBezTo>
                      <a:pt x="522" y="33"/>
                      <a:pt x="523" y="33"/>
                      <a:pt x="524" y="34"/>
                    </a:cubicBezTo>
                    <a:cubicBezTo>
                      <a:pt x="525" y="34"/>
                      <a:pt x="527" y="34"/>
                      <a:pt x="528" y="34"/>
                    </a:cubicBezTo>
                    <a:cubicBezTo>
                      <a:pt x="527" y="35"/>
                      <a:pt x="526" y="35"/>
                      <a:pt x="525" y="34"/>
                    </a:cubicBezTo>
                    <a:cubicBezTo>
                      <a:pt x="524" y="34"/>
                      <a:pt x="524" y="35"/>
                      <a:pt x="523" y="35"/>
                    </a:cubicBezTo>
                    <a:cubicBezTo>
                      <a:pt x="523" y="35"/>
                      <a:pt x="523" y="35"/>
                      <a:pt x="524" y="35"/>
                    </a:cubicBezTo>
                    <a:cubicBezTo>
                      <a:pt x="523" y="36"/>
                      <a:pt x="521" y="36"/>
                      <a:pt x="520" y="36"/>
                    </a:cubicBezTo>
                    <a:cubicBezTo>
                      <a:pt x="519" y="36"/>
                      <a:pt x="519" y="36"/>
                      <a:pt x="518" y="36"/>
                    </a:cubicBezTo>
                    <a:cubicBezTo>
                      <a:pt x="517" y="36"/>
                      <a:pt x="517" y="36"/>
                      <a:pt x="516" y="37"/>
                    </a:cubicBezTo>
                    <a:cubicBezTo>
                      <a:pt x="518" y="37"/>
                      <a:pt x="519" y="36"/>
                      <a:pt x="520" y="37"/>
                    </a:cubicBezTo>
                    <a:cubicBezTo>
                      <a:pt x="521" y="37"/>
                      <a:pt x="523" y="37"/>
                      <a:pt x="524" y="37"/>
                    </a:cubicBezTo>
                    <a:cubicBezTo>
                      <a:pt x="525" y="37"/>
                      <a:pt x="526" y="37"/>
                      <a:pt x="527" y="36"/>
                    </a:cubicBezTo>
                    <a:cubicBezTo>
                      <a:pt x="528" y="36"/>
                      <a:pt x="528" y="37"/>
                      <a:pt x="527" y="37"/>
                    </a:cubicBezTo>
                    <a:cubicBezTo>
                      <a:pt x="527" y="37"/>
                      <a:pt x="527" y="37"/>
                      <a:pt x="527" y="37"/>
                    </a:cubicBezTo>
                    <a:cubicBezTo>
                      <a:pt x="527" y="37"/>
                      <a:pt x="526" y="37"/>
                      <a:pt x="526" y="37"/>
                    </a:cubicBezTo>
                    <a:cubicBezTo>
                      <a:pt x="525" y="38"/>
                      <a:pt x="527" y="38"/>
                      <a:pt x="527" y="38"/>
                    </a:cubicBezTo>
                    <a:cubicBezTo>
                      <a:pt x="528" y="38"/>
                      <a:pt x="529" y="38"/>
                      <a:pt x="530" y="37"/>
                    </a:cubicBezTo>
                    <a:cubicBezTo>
                      <a:pt x="531" y="36"/>
                      <a:pt x="533" y="38"/>
                      <a:pt x="534" y="37"/>
                    </a:cubicBezTo>
                    <a:cubicBezTo>
                      <a:pt x="534" y="37"/>
                      <a:pt x="534" y="37"/>
                      <a:pt x="533" y="37"/>
                    </a:cubicBezTo>
                    <a:cubicBezTo>
                      <a:pt x="534" y="37"/>
                      <a:pt x="534" y="37"/>
                      <a:pt x="535" y="37"/>
                    </a:cubicBezTo>
                    <a:cubicBezTo>
                      <a:pt x="535" y="37"/>
                      <a:pt x="535" y="37"/>
                      <a:pt x="536" y="37"/>
                    </a:cubicBezTo>
                    <a:cubicBezTo>
                      <a:pt x="536" y="37"/>
                      <a:pt x="537" y="37"/>
                      <a:pt x="537" y="37"/>
                    </a:cubicBezTo>
                    <a:cubicBezTo>
                      <a:pt x="538" y="38"/>
                      <a:pt x="539" y="38"/>
                      <a:pt x="540" y="38"/>
                    </a:cubicBezTo>
                    <a:cubicBezTo>
                      <a:pt x="539" y="38"/>
                      <a:pt x="539" y="38"/>
                      <a:pt x="539" y="38"/>
                    </a:cubicBezTo>
                    <a:cubicBezTo>
                      <a:pt x="539" y="38"/>
                      <a:pt x="539" y="38"/>
                      <a:pt x="539" y="39"/>
                    </a:cubicBezTo>
                    <a:cubicBezTo>
                      <a:pt x="539" y="39"/>
                      <a:pt x="539" y="39"/>
                      <a:pt x="539" y="39"/>
                    </a:cubicBezTo>
                    <a:cubicBezTo>
                      <a:pt x="539" y="39"/>
                      <a:pt x="539" y="39"/>
                      <a:pt x="539" y="39"/>
                    </a:cubicBezTo>
                    <a:cubicBezTo>
                      <a:pt x="539" y="39"/>
                      <a:pt x="539" y="39"/>
                      <a:pt x="538" y="39"/>
                    </a:cubicBezTo>
                    <a:cubicBezTo>
                      <a:pt x="538" y="39"/>
                      <a:pt x="538" y="39"/>
                      <a:pt x="538" y="40"/>
                    </a:cubicBezTo>
                    <a:cubicBezTo>
                      <a:pt x="538" y="40"/>
                      <a:pt x="537" y="40"/>
                      <a:pt x="537" y="40"/>
                    </a:cubicBezTo>
                    <a:cubicBezTo>
                      <a:pt x="537" y="40"/>
                      <a:pt x="538" y="40"/>
                      <a:pt x="538" y="41"/>
                    </a:cubicBezTo>
                    <a:cubicBezTo>
                      <a:pt x="538" y="41"/>
                      <a:pt x="538" y="41"/>
                      <a:pt x="537" y="41"/>
                    </a:cubicBezTo>
                    <a:cubicBezTo>
                      <a:pt x="537" y="41"/>
                      <a:pt x="536" y="41"/>
                      <a:pt x="536" y="41"/>
                    </a:cubicBezTo>
                    <a:cubicBezTo>
                      <a:pt x="535" y="41"/>
                      <a:pt x="538" y="42"/>
                      <a:pt x="538" y="42"/>
                    </a:cubicBezTo>
                    <a:cubicBezTo>
                      <a:pt x="538" y="42"/>
                      <a:pt x="540" y="42"/>
                      <a:pt x="540" y="42"/>
                    </a:cubicBezTo>
                    <a:cubicBezTo>
                      <a:pt x="542" y="41"/>
                      <a:pt x="543" y="42"/>
                      <a:pt x="545" y="42"/>
                    </a:cubicBezTo>
                    <a:cubicBezTo>
                      <a:pt x="546" y="41"/>
                      <a:pt x="546" y="41"/>
                      <a:pt x="546" y="40"/>
                    </a:cubicBezTo>
                    <a:cubicBezTo>
                      <a:pt x="546" y="40"/>
                      <a:pt x="545" y="40"/>
                      <a:pt x="545" y="40"/>
                    </a:cubicBezTo>
                    <a:cubicBezTo>
                      <a:pt x="545" y="40"/>
                      <a:pt x="545" y="40"/>
                      <a:pt x="544" y="40"/>
                    </a:cubicBezTo>
                    <a:cubicBezTo>
                      <a:pt x="545" y="39"/>
                      <a:pt x="546" y="40"/>
                      <a:pt x="547" y="40"/>
                    </a:cubicBezTo>
                    <a:cubicBezTo>
                      <a:pt x="548" y="40"/>
                      <a:pt x="549" y="40"/>
                      <a:pt x="549" y="40"/>
                    </a:cubicBezTo>
                    <a:cubicBezTo>
                      <a:pt x="551" y="40"/>
                      <a:pt x="553" y="40"/>
                      <a:pt x="555" y="40"/>
                    </a:cubicBezTo>
                    <a:cubicBezTo>
                      <a:pt x="556" y="40"/>
                      <a:pt x="558" y="40"/>
                      <a:pt x="559" y="40"/>
                    </a:cubicBezTo>
                    <a:cubicBezTo>
                      <a:pt x="560" y="40"/>
                      <a:pt x="561" y="39"/>
                      <a:pt x="562" y="39"/>
                    </a:cubicBezTo>
                    <a:cubicBezTo>
                      <a:pt x="562" y="40"/>
                      <a:pt x="563" y="40"/>
                      <a:pt x="564" y="40"/>
                    </a:cubicBezTo>
                    <a:cubicBezTo>
                      <a:pt x="563" y="39"/>
                      <a:pt x="564" y="39"/>
                      <a:pt x="565" y="39"/>
                    </a:cubicBezTo>
                    <a:cubicBezTo>
                      <a:pt x="565" y="39"/>
                      <a:pt x="565" y="40"/>
                      <a:pt x="565" y="40"/>
                    </a:cubicBezTo>
                    <a:cubicBezTo>
                      <a:pt x="566" y="40"/>
                      <a:pt x="566" y="40"/>
                      <a:pt x="566" y="40"/>
                    </a:cubicBezTo>
                    <a:cubicBezTo>
                      <a:pt x="567" y="40"/>
                      <a:pt x="568" y="40"/>
                      <a:pt x="568" y="40"/>
                    </a:cubicBezTo>
                    <a:cubicBezTo>
                      <a:pt x="568" y="40"/>
                      <a:pt x="568" y="40"/>
                      <a:pt x="568" y="40"/>
                    </a:cubicBezTo>
                    <a:cubicBezTo>
                      <a:pt x="568" y="40"/>
                      <a:pt x="568" y="40"/>
                      <a:pt x="568" y="40"/>
                    </a:cubicBezTo>
                    <a:cubicBezTo>
                      <a:pt x="568" y="41"/>
                      <a:pt x="570" y="41"/>
                      <a:pt x="571" y="41"/>
                    </a:cubicBezTo>
                    <a:cubicBezTo>
                      <a:pt x="572" y="41"/>
                      <a:pt x="573" y="41"/>
                      <a:pt x="574" y="42"/>
                    </a:cubicBezTo>
                    <a:cubicBezTo>
                      <a:pt x="574" y="42"/>
                      <a:pt x="574" y="42"/>
                      <a:pt x="574" y="42"/>
                    </a:cubicBezTo>
                    <a:cubicBezTo>
                      <a:pt x="574" y="43"/>
                      <a:pt x="574" y="43"/>
                      <a:pt x="574" y="43"/>
                    </a:cubicBezTo>
                    <a:cubicBezTo>
                      <a:pt x="575" y="42"/>
                      <a:pt x="575" y="42"/>
                      <a:pt x="576" y="42"/>
                    </a:cubicBezTo>
                    <a:cubicBezTo>
                      <a:pt x="577" y="42"/>
                      <a:pt x="578" y="43"/>
                      <a:pt x="579" y="43"/>
                    </a:cubicBezTo>
                    <a:cubicBezTo>
                      <a:pt x="579" y="43"/>
                      <a:pt x="579" y="43"/>
                      <a:pt x="579" y="43"/>
                    </a:cubicBezTo>
                    <a:cubicBezTo>
                      <a:pt x="580" y="43"/>
                      <a:pt x="580" y="43"/>
                      <a:pt x="580" y="44"/>
                    </a:cubicBezTo>
                    <a:cubicBezTo>
                      <a:pt x="580" y="44"/>
                      <a:pt x="579" y="44"/>
                      <a:pt x="579" y="44"/>
                    </a:cubicBezTo>
                    <a:cubicBezTo>
                      <a:pt x="580" y="44"/>
                      <a:pt x="581" y="44"/>
                      <a:pt x="582" y="44"/>
                    </a:cubicBezTo>
                    <a:cubicBezTo>
                      <a:pt x="583" y="45"/>
                      <a:pt x="582" y="45"/>
                      <a:pt x="581" y="45"/>
                    </a:cubicBezTo>
                    <a:cubicBezTo>
                      <a:pt x="582" y="45"/>
                      <a:pt x="583" y="45"/>
                      <a:pt x="583" y="45"/>
                    </a:cubicBezTo>
                    <a:cubicBezTo>
                      <a:pt x="584" y="45"/>
                      <a:pt x="583" y="45"/>
                      <a:pt x="583" y="45"/>
                    </a:cubicBezTo>
                    <a:cubicBezTo>
                      <a:pt x="584" y="44"/>
                      <a:pt x="584" y="44"/>
                      <a:pt x="585" y="45"/>
                    </a:cubicBezTo>
                    <a:cubicBezTo>
                      <a:pt x="584" y="44"/>
                      <a:pt x="584" y="44"/>
                      <a:pt x="583" y="44"/>
                    </a:cubicBezTo>
                    <a:cubicBezTo>
                      <a:pt x="583" y="44"/>
                      <a:pt x="582" y="44"/>
                      <a:pt x="582" y="44"/>
                    </a:cubicBezTo>
                    <a:cubicBezTo>
                      <a:pt x="582" y="44"/>
                      <a:pt x="583" y="43"/>
                      <a:pt x="584" y="44"/>
                    </a:cubicBezTo>
                    <a:cubicBezTo>
                      <a:pt x="584" y="44"/>
                      <a:pt x="584" y="44"/>
                      <a:pt x="584" y="44"/>
                    </a:cubicBezTo>
                    <a:cubicBezTo>
                      <a:pt x="585" y="44"/>
                      <a:pt x="585" y="44"/>
                      <a:pt x="586" y="44"/>
                    </a:cubicBezTo>
                    <a:cubicBezTo>
                      <a:pt x="586" y="45"/>
                      <a:pt x="587" y="45"/>
                      <a:pt x="587" y="46"/>
                    </a:cubicBezTo>
                    <a:cubicBezTo>
                      <a:pt x="588" y="46"/>
                      <a:pt x="589" y="46"/>
                      <a:pt x="588" y="46"/>
                    </a:cubicBezTo>
                    <a:cubicBezTo>
                      <a:pt x="588" y="46"/>
                      <a:pt x="590" y="47"/>
                      <a:pt x="589" y="47"/>
                    </a:cubicBezTo>
                    <a:cubicBezTo>
                      <a:pt x="589" y="47"/>
                      <a:pt x="590" y="47"/>
                      <a:pt x="590" y="47"/>
                    </a:cubicBezTo>
                    <a:cubicBezTo>
                      <a:pt x="590" y="47"/>
                      <a:pt x="590" y="47"/>
                      <a:pt x="589" y="46"/>
                    </a:cubicBezTo>
                    <a:cubicBezTo>
                      <a:pt x="591" y="46"/>
                      <a:pt x="592" y="47"/>
                      <a:pt x="592" y="48"/>
                    </a:cubicBezTo>
                    <a:cubicBezTo>
                      <a:pt x="593" y="49"/>
                      <a:pt x="594" y="49"/>
                      <a:pt x="592" y="50"/>
                    </a:cubicBezTo>
                    <a:cubicBezTo>
                      <a:pt x="592" y="50"/>
                      <a:pt x="592" y="49"/>
                      <a:pt x="592" y="49"/>
                    </a:cubicBezTo>
                    <a:cubicBezTo>
                      <a:pt x="592" y="49"/>
                      <a:pt x="592" y="49"/>
                      <a:pt x="591" y="49"/>
                    </a:cubicBezTo>
                    <a:cubicBezTo>
                      <a:pt x="590" y="48"/>
                      <a:pt x="589" y="48"/>
                      <a:pt x="588" y="49"/>
                    </a:cubicBezTo>
                    <a:cubicBezTo>
                      <a:pt x="589" y="48"/>
                      <a:pt x="586" y="48"/>
                      <a:pt x="586" y="48"/>
                    </a:cubicBezTo>
                    <a:cubicBezTo>
                      <a:pt x="585" y="47"/>
                      <a:pt x="583" y="47"/>
                      <a:pt x="582" y="47"/>
                    </a:cubicBezTo>
                    <a:cubicBezTo>
                      <a:pt x="583" y="48"/>
                      <a:pt x="584" y="48"/>
                      <a:pt x="585" y="48"/>
                    </a:cubicBezTo>
                    <a:cubicBezTo>
                      <a:pt x="585" y="48"/>
                      <a:pt x="586" y="48"/>
                      <a:pt x="586" y="48"/>
                    </a:cubicBezTo>
                    <a:cubicBezTo>
                      <a:pt x="586" y="48"/>
                      <a:pt x="587" y="48"/>
                      <a:pt x="586" y="48"/>
                    </a:cubicBezTo>
                    <a:cubicBezTo>
                      <a:pt x="587" y="49"/>
                      <a:pt x="587" y="49"/>
                      <a:pt x="587" y="49"/>
                    </a:cubicBezTo>
                    <a:cubicBezTo>
                      <a:pt x="588" y="49"/>
                      <a:pt x="587" y="49"/>
                      <a:pt x="588" y="49"/>
                    </a:cubicBezTo>
                    <a:cubicBezTo>
                      <a:pt x="588" y="50"/>
                      <a:pt x="589" y="50"/>
                      <a:pt x="589" y="50"/>
                    </a:cubicBezTo>
                    <a:cubicBezTo>
                      <a:pt x="589" y="49"/>
                      <a:pt x="588" y="49"/>
                      <a:pt x="589" y="49"/>
                    </a:cubicBezTo>
                    <a:cubicBezTo>
                      <a:pt x="590" y="49"/>
                      <a:pt x="590" y="49"/>
                      <a:pt x="591" y="49"/>
                    </a:cubicBezTo>
                    <a:cubicBezTo>
                      <a:pt x="592" y="50"/>
                      <a:pt x="594" y="49"/>
                      <a:pt x="595" y="51"/>
                    </a:cubicBezTo>
                    <a:cubicBezTo>
                      <a:pt x="595" y="51"/>
                      <a:pt x="594" y="51"/>
                      <a:pt x="594" y="51"/>
                    </a:cubicBezTo>
                    <a:cubicBezTo>
                      <a:pt x="594" y="51"/>
                      <a:pt x="595" y="51"/>
                      <a:pt x="596" y="52"/>
                    </a:cubicBezTo>
                    <a:cubicBezTo>
                      <a:pt x="596" y="52"/>
                      <a:pt x="595" y="53"/>
                      <a:pt x="594" y="54"/>
                    </a:cubicBezTo>
                    <a:cubicBezTo>
                      <a:pt x="594" y="54"/>
                      <a:pt x="594" y="54"/>
                      <a:pt x="594" y="54"/>
                    </a:cubicBezTo>
                    <a:cubicBezTo>
                      <a:pt x="593" y="55"/>
                      <a:pt x="593" y="55"/>
                      <a:pt x="593" y="55"/>
                    </a:cubicBezTo>
                    <a:cubicBezTo>
                      <a:pt x="592" y="55"/>
                      <a:pt x="591" y="55"/>
                      <a:pt x="591" y="55"/>
                    </a:cubicBezTo>
                    <a:cubicBezTo>
                      <a:pt x="591" y="55"/>
                      <a:pt x="590" y="55"/>
                      <a:pt x="590" y="55"/>
                    </a:cubicBezTo>
                    <a:cubicBezTo>
                      <a:pt x="590" y="56"/>
                      <a:pt x="590" y="56"/>
                      <a:pt x="590" y="56"/>
                    </a:cubicBezTo>
                    <a:cubicBezTo>
                      <a:pt x="590" y="56"/>
                      <a:pt x="590" y="56"/>
                      <a:pt x="590" y="56"/>
                    </a:cubicBezTo>
                    <a:cubicBezTo>
                      <a:pt x="590" y="57"/>
                      <a:pt x="590" y="57"/>
                      <a:pt x="590" y="57"/>
                    </a:cubicBezTo>
                    <a:cubicBezTo>
                      <a:pt x="589" y="57"/>
                      <a:pt x="588" y="57"/>
                      <a:pt x="587" y="57"/>
                    </a:cubicBezTo>
                    <a:cubicBezTo>
                      <a:pt x="587" y="57"/>
                      <a:pt x="586" y="58"/>
                      <a:pt x="585" y="58"/>
                    </a:cubicBezTo>
                    <a:cubicBezTo>
                      <a:pt x="586" y="58"/>
                      <a:pt x="585" y="58"/>
                      <a:pt x="584" y="58"/>
                    </a:cubicBezTo>
                    <a:cubicBezTo>
                      <a:pt x="584" y="59"/>
                      <a:pt x="584" y="59"/>
                      <a:pt x="583" y="59"/>
                    </a:cubicBezTo>
                    <a:cubicBezTo>
                      <a:pt x="583" y="59"/>
                      <a:pt x="582" y="59"/>
                      <a:pt x="582" y="59"/>
                    </a:cubicBezTo>
                    <a:cubicBezTo>
                      <a:pt x="583" y="59"/>
                      <a:pt x="583" y="60"/>
                      <a:pt x="581" y="60"/>
                    </a:cubicBezTo>
                    <a:cubicBezTo>
                      <a:pt x="581" y="60"/>
                      <a:pt x="581" y="60"/>
                      <a:pt x="580" y="60"/>
                    </a:cubicBezTo>
                    <a:cubicBezTo>
                      <a:pt x="580" y="60"/>
                      <a:pt x="579" y="60"/>
                      <a:pt x="579" y="60"/>
                    </a:cubicBezTo>
                    <a:cubicBezTo>
                      <a:pt x="579" y="60"/>
                      <a:pt x="582" y="60"/>
                      <a:pt x="582" y="61"/>
                    </a:cubicBezTo>
                    <a:cubicBezTo>
                      <a:pt x="582" y="61"/>
                      <a:pt x="581" y="62"/>
                      <a:pt x="580" y="62"/>
                    </a:cubicBezTo>
                    <a:cubicBezTo>
                      <a:pt x="579" y="62"/>
                      <a:pt x="578" y="62"/>
                      <a:pt x="577" y="63"/>
                    </a:cubicBezTo>
                    <a:cubicBezTo>
                      <a:pt x="577" y="63"/>
                      <a:pt x="576" y="64"/>
                      <a:pt x="576" y="64"/>
                    </a:cubicBezTo>
                    <a:cubicBezTo>
                      <a:pt x="576" y="65"/>
                      <a:pt x="576" y="65"/>
                      <a:pt x="575" y="65"/>
                    </a:cubicBezTo>
                    <a:cubicBezTo>
                      <a:pt x="576" y="65"/>
                      <a:pt x="576" y="65"/>
                      <a:pt x="576" y="65"/>
                    </a:cubicBezTo>
                    <a:cubicBezTo>
                      <a:pt x="576" y="65"/>
                      <a:pt x="575" y="66"/>
                      <a:pt x="575" y="66"/>
                    </a:cubicBezTo>
                    <a:cubicBezTo>
                      <a:pt x="574" y="66"/>
                      <a:pt x="574" y="66"/>
                      <a:pt x="573" y="66"/>
                    </a:cubicBezTo>
                    <a:cubicBezTo>
                      <a:pt x="572" y="66"/>
                      <a:pt x="571" y="66"/>
                      <a:pt x="569" y="66"/>
                    </a:cubicBezTo>
                    <a:cubicBezTo>
                      <a:pt x="569" y="66"/>
                      <a:pt x="568" y="66"/>
                      <a:pt x="569" y="67"/>
                    </a:cubicBezTo>
                    <a:cubicBezTo>
                      <a:pt x="569" y="67"/>
                      <a:pt x="569" y="67"/>
                      <a:pt x="569" y="67"/>
                    </a:cubicBezTo>
                    <a:cubicBezTo>
                      <a:pt x="569" y="67"/>
                      <a:pt x="568" y="68"/>
                      <a:pt x="568" y="68"/>
                    </a:cubicBezTo>
                    <a:cubicBezTo>
                      <a:pt x="568" y="69"/>
                      <a:pt x="569" y="69"/>
                      <a:pt x="568" y="69"/>
                    </a:cubicBezTo>
                    <a:cubicBezTo>
                      <a:pt x="567" y="69"/>
                      <a:pt x="566" y="69"/>
                      <a:pt x="565" y="69"/>
                    </a:cubicBezTo>
                    <a:cubicBezTo>
                      <a:pt x="563" y="70"/>
                      <a:pt x="565" y="70"/>
                      <a:pt x="565" y="70"/>
                    </a:cubicBezTo>
                    <a:cubicBezTo>
                      <a:pt x="564" y="71"/>
                      <a:pt x="564" y="71"/>
                      <a:pt x="564" y="71"/>
                    </a:cubicBezTo>
                    <a:cubicBezTo>
                      <a:pt x="565" y="72"/>
                      <a:pt x="565" y="72"/>
                      <a:pt x="564" y="72"/>
                    </a:cubicBezTo>
                    <a:cubicBezTo>
                      <a:pt x="564" y="73"/>
                      <a:pt x="562" y="74"/>
                      <a:pt x="561" y="74"/>
                    </a:cubicBezTo>
                    <a:cubicBezTo>
                      <a:pt x="562" y="74"/>
                      <a:pt x="565" y="74"/>
                      <a:pt x="565" y="73"/>
                    </a:cubicBezTo>
                    <a:cubicBezTo>
                      <a:pt x="565" y="73"/>
                      <a:pt x="566" y="73"/>
                      <a:pt x="566" y="72"/>
                    </a:cubicBezTo>
                    <a:cubicBezTo>
                      <a:pt x="566" y="72"/>
                      <a:pt x="568" y="72"/>
                      <a:pt x="568" y="72"/>
                    </a:cubicBezTo>
                    <a:cubicBezTo>
                      <a:pt x="567" y="72"/>
                      <a:pt x="565" y="70"/>
                      <a:pt x="567" y="70"/>
                    </a:cubicBezTo>
                    <a:cubicBezTo>
                      <a:pt x="568" y="70"/>
                      <a:pt x="569" y="70"/>
                      <a:pt x="570" y="70"/>
                    </a:cubicBezTo>
                    <a:cubicBezTo>
                      <a:pt x="571" y="71"/>
                      <a:pt x="571" y="70"/>
                      <a:pt x="572" y="70"/>
                    </a:cubicBezTo>
                    <a:cubicBezTo>
                      <a:pt x="574" y="70"/>
                      <a:pt x="575" y="70"/>
                      <a:pt x="576" y="70"/>
                    </a:cubicBezTo>
                    <a:cubicBezTo>
                      <a:pt x="577" y="70"/>
                      <a:pt x="578" y="69"/>
                      <a:pt x="579" y="70"/>
                    </a:cubicBezTo>
                    <a:cubicBezTo>
                      <a:pt x="579" y="70"/>
                      <a:pt x="580" y="70"/>
                      <a:pt x="580" y="70"/>
                    </a:cubicBezTo>
                    <a:cubicBezTo>
                      <a:pt x="580" y="69"/>
                      <a:pt x="579" y="69"/>
                      <a:pt x="579" y="69"/>
                    </a:cubicBezTo>
                    <a:cubicBezTo>
                      <a:pt x="579" y="69"/>
                      <a:pt x="580" y="69"/>
                      <a:pt x="580" y="69"/>
                    </a:cubicBezTo>
                    <a:cubicBezTo>
                      <a:pt x="581" y="69"/>
                      <a:pt x="582" y="69"/>
                      <a:pt x="583" y="69"/>
                    </a:cubicBezTo>
                    <a:cubicBezTo>
                      <a:pt x="583" y="69"/>
                      <a:pt x="584" y="69"/>
                      <a:pt x="584" y="68"/>
                    </a:cubicBezTo>
                    <a:cubicBezTo>
                      <a:pt x="585" y="68"/>
                      <a:pt x="584" y="68"/>
                      <a:pt x="584" y="68"/>
                    </a:cubicBezTo>
                    <a:cubicBezTo>
                      <a:pt x="584" y="68"/>
                      <a:pt x="585" y="68"/>
                      <a:pt x="585" y="68"/>
                    </a:cubicBezTo>
                    <a:cubicBezTo>
                      <a:pt x="586" y="68"/>
                      <a:pt x="583" y="67"/>
                      <a:pt x="583" y="67"/>
                    </a:cubicBezTo>
                    <a:cubicBezTo>
                      <a:pt x="584" y="67"/>
                      <a:pt x="586" y="68"/>
                      <a:pt x="587" y="68"/>
                    </a:cubicBezTo>
                    <a:cubicBezTo>
                      <a:pt x="588" y="68"/>
                      <a:pt x="590" y="67"/>
                      <a:pt x="589" y="67"/>
                    </a:cubicBezTo>
                    <a:cubicBezTo>
                      <a:pt x="589" y="67"/>
                      <a:pt x="591" y="67"/>
                      <a:pt x="590" y="66"/>
                    </a:cubicBezTo>
                    <a:cubicBezTo>
                      <a:pt x="590" y="66"/>
                      <a:pt x="591" y="66"/>
                      <a:pt x="592" y="66"/>
                    </a:cubicBezTo>
                    <a:cubicBezTo>
                      <a:pt x="592" y="66"/>
                      <a:pt x="593" y="66"/>
                      <a:pt x="593" y="66"/>
                    </a:cubicBezTo>
                    <a:cubicBezTo>
                      <a:pt x="593" y="65"/>
                      <a:pt x="592" y="65"/>
                      <a:pt x="592" y="65"/>
                    </a:cubicBezTo>
                    <a:cubicBezTo>
                      <a:pt x="591" y="65"/>
                      <a:pt x="591" y="65"/>
                      <a:pt x="590" y="65"/>
                    </a:cubicBezTo>
                    <a:cubicBezTo>
                      <a:pt x="590" y="65"/>
                      <a:pt x="589" y="65"/>
                      <a:pt x="589" y="65"/>
                    </a:cubicBezTo>
                    <a:cubicBezTo>
                      <a:pt x="588" y="66"/>
                      <a:pt x="587" y="65"/>
                      <a:pt x="587" y="65"/>
                    </a:cubicBezTo>
                    <a:cubicBezTo>
                      <a:pt x="586" y="65"/>
                      <a:pt x="585" y="65"/>
                      <a:pt x="586" y="66"/>
                    </a:cubicBezTo>
                    <a:cubicBezTo>
                      <a:pt x="585" y="66"/>
                      <a:pt x="582" y="65"/>
                      <a:pt x="583" y="64"/>
                    </a:cubicBezTo>
                    <a:cubicBezTo>
                      <a:pt x="583" y="64"/>
                      <a:pt x="584" y="64"/>
                      <a:pt x="584" y="64"/>
                    </a:cubicBezTo>
                    <a:cubicBezTo>
                      <a:pt x="584" y="64"/>
                      <a:pt x="584" y="64"/>
                      <a:pt x="584" y="63"/>
                    </a:cubicBezTo>
                    <a:cubicBezTo>
                      <a:pt x="584" y="63"/>
                      <a:pt x="586" y="63"/>
                      <a:pt x="587" y="63"/>
                    </a:cubicBezTo>
                    <a:cubicBezTo>
                      <a:pt x="588" y="63"/>
                      <a:pt x="589" y="63"/>
                      <a:pt x="590" y="63"/>
                    </a:cubicBezTo>
                    <a:cubicBezTo>
                      <a:pt x="590" y="63"/>
                      <a:pt x="593" y="64"/>
                      <a:pt x="592" y="63"/>
                    </a:cubicBezTo>
                    <a:cubicBezTo>
                      <a:pt x="592" y="63"/>
                      <a:pt x="592" y="63"/>
                      <a:pt x="592" y="63"/>
                    </a:cubicBezTo>
                    <a:cubicBezTo>
                      <a:pt x="592" y="63"/>
                      <a:pt x="592" y="62"/>
                      <a:pt x="592" y="62"/>
                    </a:cubicBezTo>
                    <a:cubicBezTo>
                      <a:pt x="593" y="62"/>
                      <a:pt x="593" y="62"/>
                      <a:pt x="594" y="62"/>
                    </a:cubicBezTo>
                    <a:cubicBezTo>
                      <a:pt x="595" y="63"/>
                      <a:pt x="593" y="63"/>
                      <a:pt x="593" y="63"/>
                    </a:cubicBezTo>
                    <a:cubicBezTo>
                      <a:pt x="593" y="64"/>
                      <a:pt x="596" y="65"/>
                      <a:pt x="596" y="65"/>
                    </a:cubicBezTo>
                    <a:cubicBezTo>
                      <a:pt x="598" y="65"/>
                      <a:pt x="601" y="66"/>
                      <a:pt x="603" y="65"/>
                    </a:cubicBezTo>
                    <a:cubicBezTo>
                      <a:pt x="604" y="65"/>
                      <a:pt x="607" y="66"/>
                      <a:pt x="606" y="65"/>
                    </a:cubicBezTo>
                    <a:cubicBezTo>
                      <a:pt x="605" y="64"/>
                      <a:pt x="604" y="64"/>
                      <a:pt x="603" y="63"/>
                    </a:cubicBezTo>
                    <a:cubicBezTo>
                      <a:pt x="604" y="63"/>
                      <a:pt x="605" y="64"/>
                      <a:pt x="606" y="64"/>
                    </a:cubicBezTo>
                    <a:cubicBezTo>
                      <a:pt x="607" y="64"/>
                      <a:pt x="608" y="65"/>
                      <a:pt x="609" y="65"/>
                    </a:cubicBezTo>
                    <a:cubicBezTo>
                      <a:pt x="610" y="65"/>
                      <a:pt x="611" y="66"/>
                      <a:pt x="611" y="66"/>
                    </a:cubicBezTo>
                    <a:cubicBezTo>
                      <a:pt x="611" y="66"/>
                      <a:pt x="610" y="67"/>
                      <a:pt x="610" y="67"/>
                    </a:cubicBezTo>
                    <a:cubicBezTo>
                      <a:pt x="610" y="68"/>
                      <a:pt x="614" y="68"/>
                      <a:pt x="614" y="69"/>
                    </a:cubicBezTo>
                    <a:cubicBezTo>
                      <a:pt x="615" y="69"/>
                      <a:pt x="615" y="70"/>
                      <a:pt x="615" y="69"/>
                    </a:cubicBezTo>
                    <a:cubicBezTo>
                      <a:pt x="616" y="69"/>
                      <a:pt x="617" y="69"/>
                      <a:pt x="617" y="69"/>
                    </a:cubicBezTo>
                    <a:cubicBezTo>
                      <a:pt x="616" y="68"/>
                      <a:pt x="615" y="69"/>
                      <a:pt x="615" y="68"/>
                    </a:cubicBezTo>
                    <a:cubicBezTo>
                      <a:pt x="614" y="68"/>
                      <a:pt x="613" y="68"/>
                      <a:pt x="612" y="67"/>
                    </a:cubicBezTo>
                    <a:cubicBezTo>
                      <a:pt x="613" y="67"/>
                      <a:pt x="613" y="67"/>
                      <a:pt x="614" y="67"/>
                    </a:cubicBezTo>
                    <a:cubicBezTo>
                      <a:pt x="615" y="67"/>
                      <a:pt x="615" y="67"/>
                      <a:pt x="616" y="66"/>
                    </a:cubicBezTo>
                    <a:cubicBezTo>
                      <a:pt x="617" y="66"/>
                      <a:pt x="619" y="67"/>
                      <a:pt x="620" y="66"/>
                    </a:cubicBezTo>
                    <a:cubicBezTo>
                      <a:pt x="622" y="66"/>
                      <a:pt x="623" y="65"/>
                      <a:pt x="625" y="65"/>
                    </a:cubicBezTo>
                    <a:cubicBezTo>
                      <a:pt x="626" y="66"/>
                      <a:pt x="628" y="66"/>
                      <a:pt x="630" y="66"/>
                    </a:cubicBezTo>
                    <a:cubicBezTo>
                      <a:pt x="631" y="66"/>
                      <a:pt x="633" y="66"/>
                      <a:pt x="634" y="66"/>
                    </a:cubicBezTo>
                    <a:cubicBezTo>
                      <a:pt x="636" y="66"/>
                      <a:pt x="638" y="67"/>
                      <a:pt x="640" y="67"/>
                    </a:cubicBezTo>
                    <a:cubicBezTo>
                      <a:pt x="642" y="67"/>
                      <a:pt x="644" y="67"/>
                      <a:pt x="645" y="67"/>
                    </a:cubicBezTo>
                    <a:cubicBezTo>
                      <a:pt x="646" y="67"/>
                      <a:pt x="649" y="67"/>
                      <a:pt x="649" y="68"/>
                    </a:cubicBezTo>
                    <a:cubicBezTo>
                      <a:pt x="649" y="68"/>
                      <a:pt x="647" y="67"/>
                      <a:pt x="646" y="67"/>
                    </a:cubicBezTo>
                    <a:cubicBezTo>
                      <a:pt x="646" y="67"/>
                      <a:pt x="646" y="68"/>
                      <a:pt x="646" y="68"/>
                    </a:cubicBezTo>
                    <a:cubicBezTo>
                      <a:pt x="646" y="68"/>
                      <a:pt x="646" y="68"/>
                      <a:pt x="646" y="68"/>
                    </a:cubicBezTo>
                    <a:cubicBezTo>
                      <a:pt x="647" y="69"/>
                      <a:pt x="647" y="69"/>
                      <a:pt x="647" y="70"/>
                    </a:cubicBezTo>
                    <a:cubicBezTo>
                      <a:pt x="648" y="70"/>
                      <a:pt x="649" y="70"/>
                      <a:pt x="650" y="70"/>
                    </a:cubicBezTo>
                    <a:cubicBezTo>
                      <a:pt x="652" y="71"/>
                      <a:pt x="654" y="71"/>
                      <a:pt x="656" y="71"/>
                    </a:cubicBezTo>
                    <a:cubicBezTo>
                      <a:pt x="657" y="71"/>
                      <a:pt x="658" y="72"/>
                      <a:pt x="659" y="72"/>
                    </a:cubicBezTo>
                    <a:cubicBezTo>
                      <a:pt x="659" y="72"/>
                      <a:pt x="660" y="71"/>
                      <a:pt x="661" y="72"/>
                    </a:cubicBezTo>
                    <a:cubicBezTo>
                      <a:pt x="662" y="72"/>
                      <a:pt x="665" y="72"/>
                      <a:pt x="667" y="72"/>
                    </a:cubicBezTo>
                    <a:cubicBezTo>
                      <a:pt x="669" y="72"/>
                      <a:pt x="670" y="72"/>
                      <a:pt x="672" y="72"/>
                    </a:cubicBezTo>
                    <a:cubicBezTo>
                      <a:pt x="673" y="72"/>
                      <a:pt x="674" y="72"/>
                      <a:pt x="675" y="72"/>
                    </a:cubicBezTo>
                    <a:cubicBezTo>
                      <a:pt x="676" y="72"/>
                      <a:pt x="676" y="72"/>
                      <a:pt x="677" y="72"/>
                    </a:cubicBezTo>
                    <a:cubicBezTo>
                      <a:pt x="677" y="72"/>
                      <a:pt x="677" y="72"/>
                      <a:pt x="678" y="72"/>
                    </a:cubicBezTo>
                    <a:cubicBezTo>
                      <a:pt x="677" y="71"/>
                      <a:pt x="678" y="71"/>
                      <a:pt x="678" y="71"/>
                    </a:cubicBezTo>
                    <a:cubicBezTo>
                      <a:pt x="678" y="71"/>
                      <a:pt x="679" y="72"/>
                      <a:pt x="679" y="72"/>
                    </a:cubicBezTo>
                    <a:cubicBezTo>
                      <a:pt x="680" y="72"/>
                      <a:pt x="681" y="72"/>
                      <a:pt x="682" y="72"/>
                    </a:cubicBezTo>
                    <a:cubicBezTo>
                      <a:pt x="683" y="73"/>
                      <a:pt x="683" y="72"/>
                      <a:pt x="683" y="72"/>
                    </a:cubicBezTo>
                    <a:cubicBezTo>
                      <a:pt x="683" y="71"/>
                      <a:pt x="682" y="70"/>
                      <a:pt x="683" y="71"/>
                    </a:cubicBezTo>
                    <a:cubicBezTo>
                      <a:pt x="683" y="71"/>
                      <a:pt x="682" y="71"/>
                      <a:pt x="682" y="70"/>
                    </a:cubicBezTo>
                    <a:cubicBezTo>
                      <a:pt x="682" y="70"/>
                      <a:pt x="683" y="70"/>
                      <a:pt x="683" y="70"/>
                    </a:cubicBezTo>
                    <a:cubicBezTo>
                      <a:pt x="683" y="70"/>
                      <a:pt x="682" y="70"/>
                      <a:pt x="682" y="70"/>
                    </a:cubicBezTo>
                    <a:cubicBezTo>
                      <a:pt x="681" y="69"/>
                      <a:pt x="681" y="69"/>
                      <a:pt x="680" y="69"/>
                    </a:cubicBezTo>
                    <a:cubicBezTo>
                      <a:pt x="680" y="69"/>
                      <a:pt x="680" y="68"/>
                      <a:pt x="679" y="68"/>
                    </a:cubicBezTo>
                    <a:cubicBezTo>
                      <a:pt x="679" y="68"/>
                      <a:pt x="679" y="68"/>
                      <a:pt x="678" y="68"/>
                    </a:cubicBezTo>
                    <a:cubicBezTo>
                      <a:pt x="678" y="68"/>
                      <a:pt x="678" y="68"/>
                      <a:pt x="678" y="68"/>
                    </a:cubicBezTo>
                    <a:cubicBezTo>
                      <a:pt x="678" y="68"/>
                      <a:pt x="678" y="68"/>
                      <a:pt x="678" y="68"/>
                    </a:cubicBezTo>
                    <a:cubicBezTo>
                      <a:pt x="678" y="68"/>
                      <a:pt x="679" y="68"/>
                      <a:pt x="679" y="68"/>
                    </a:cubicBezTo>
                    <a:cubicBezTo>
                      <a:pt x="679" y="67"/>
                      <a:pt x="677" y="67"/>
                      <a:pt x="677" y="67"/>
                    </a:cubicBezTo>
                    <a:cubicBezTo>
                      <a:pt x="677" y="67"/>
                      <a:pt x="677" y="67"/>
                      <a:pt x="677" y="67"/>
                    </a:cubicBezTo>
                    <a:cubicBezTo>
                      <a:pt x="677" y="67"/>
                      <a:pt x="677" y="67"/>
                      <a:pt x="677" y="66"/>
                    </a:cubicBezTo>
                    <a:cubicBezTo>
                      <a:pt x="677" y="67"/>
                      <a:pt x="677" y="67"/>
                      <a:pt x="678" y="67"/>
                    </a:cubicBezTo>
                    <a:cubicBezTo>
                      <a:pt x="677" y="66"/>
                      <a:pt x="677" y="66"/>
                      <a:pt x="677" y="66"/>
                    </a:cubicBezTo>
                    <a:cubicBezTo>
                      <a:pt x="677" y="66"/>
                      <a:pt x="677" y="65"/>
                      <a:pt x="678" y="66"/>
                    </a:cubicBezTo>
                    <a:cubicBezTo>
                      <a:pt x="678" y="66"/>
                      <a:pt x="678" y="66"/>
                      <a:pt x="678" y="66"/>
                    </a:cubicBezTo>
                    <a:cubicBezTo>
                      <a:pt x="678" y="66"/>
                      <a:pt x="678" y="66"/>
                      <a:pt x="679" y="66"/>
                    </a:cubicBezTo>
                    <a:cubicBezTo>
                      <a:pt x="679" y="67"/>
                      <a:pt x="680" y="66"/>
                      <a:pt x="681" y="66"/>
                    </a:cubicBezTo>
                    <a:cubicBezTo>
                      <a:pt x="681" y="66"/>
                      <a:pt x="680" y="66"/>
                      <a:pt x="680" y="66"/>
                    </a:cubicBezTo>
                    <a:cubicBezTo>
                      <a:pt x="680" y="65"/>
                      <a:pt x="679" y="65"/>
                      <a:pt x="679" y="65"/>
                    </a:cubicBezTo>
                    <a:cubicBezTo>
                      <a:pt x="679" y="65"/>
                      <a:pt x="680" y="65"/>
                      <a:pt x="680" y="65"/>
                    </a:cubicBezTo>
                    <a:cubicBezTo>
                      <a:pt x="680" y="65"/>
                      <a:pt x="680" y="66"/>
                      <a:pt x="680" y="66"/>
                    </a:cubicBezTo>
                    <a:cubicBezTo>
                      <a:pt x="681" y="66"/>
                      <a:pt x="681" y="65"/>
                      <a:pt x="682" y="65"/>
                    </a:cubicBezTo>
                    <a:cubicBezTo>
                      <a:pt x="681" y="65"/>
                      <a:pt x="681" y="65"/>
                      <a:pt x="682" y="65"/>
                    </a:cubicBezTo>
                    <a:cubicBezTo>
                      <a:pt x="682" y="65"/>
                      <a:pt x="682" y="65"/>
                      <a:pt x="682" y="65"/>
                    </a:cubicBezTo>
                    <a:cubicBezTo>
                      <a:pt x="683" y="65"/>
                      <a:pt x="684" y="65"/>
                      <a:pt x="685" y="65"/>
                    </a:cubicBezTo>
                    <a:cubicBezTo>
                      <a:pt x="686" y="65"/>
                      <a:pt x="686" y="66"/>
                      <a:pt x="687" y="66"/>
                    </a:cubicBezTo>
                    <a:cubicBezTo>
                      <a:pt x="687" y="66"/>
                      <a:pt x="688" y="66"/>
                      <a:pt x="688" y="66"/>
                    </a:cubicBezTo>
                    <a:cubicBezTo>
                      <a:pt x="688" y="66"/>
                      <a:pt x="688" y="66"/>
                      <a:pt x="688" y="66"/>
                    </a:cubicBezTo>
                    <a:cubicBezTo>
                      <a:pt x="688" y="65"/>
                      <a:pt x="689" y="66"/>
                      <a:pt x="690" y="67"/>
                    </a:cubicBezTo>
                    <a:cubicBezTo>
                      <a:pt x="690" y="67"/>
                      <a:pt x="691" y="67"/>
                      <a:pt x="691" y="67"/>
                    </a:cubicBezTo>
                    <a:cubicBezTo>
                      <a:pt x="691" y="67"/>
                      <a:pt x="693" y="66"/>
                      <a:pt x="693" y="67"/>
                    </a:cubicBezTo>
                    <a:cubicBezTo>
                      <a:pt x="693" y="68"/>
                      <a:pt x="693" y="68"/>
                      <a:pt x="693" y="68"/>
                    </a:cubicBezTo>
                    <a:cubicBezTo>
                      <a:pt x="693" y="68"/>
                      <a:pt x="694" y="68"/>
                      <a:pt x="694" y="68"/>
                    </a:cubicBezTo>
                    <a:cubicBezTo>
                      <a:pt x="694" y="68"/>
                      <a:pt x="694" y="68"/>
                      <a:pt x="694" y="68"/>
                    </a:cubicBezTo>
                    <a:cubicBezTo>
                      <a:pt x="694" y="68"/>
                      <a:pt x="695" y="68"/>
                      <a:pt x="695" y="68"/>
                    </a:cubicBezTo>
                    <a:cubicBezTo>
                      <a:pt x="695" y="68"/>
                      <a:pt x="695" y="67"/>
                      <a:pt x="695" y="67"/>
                    </a:cubicBezTo>
                    <a:cubicBezTo>
                      <a:pt x="695" y="67"/>
                      <a:pt x="695" y="67"/>
                      <a:pt x="695" y="67"/>
                    </a:cubicBezTo>
                    <a:cubicBezTo>
                      <a:pt x="696" y="67"/>
                      <a:pt x="696" y="68"/>
                      <a:pt x="696" y="68"/>
                    </a:cubicBezTo>
                    <a:cubicBezTo>
                      <a:pt x="697" y="68"/>
                      <a:pt x="696" y="68"/>
                      <a:pt x="696" y="67"/>
                    </a:cubicBezTo>
                    <a:cubicBezTo>
                      <a:pt x="697" y="67"/>
                      <a:pt x="697" y="67"/>
                      <a:pt x="698" y="67"/>
                    </a:cubicBezTo>
                    <a:cubicBezTo>
                      <a:pt x="698" y="67"/>
                      <a:pt x="699" y="68"/>
                      <a:pt x="698" y="68"/>
                    </a:cubicBezTo>
                    <a:cubicBezTo>
                      <a:pt x="698" y="68"/>
                      <a:pt x="697" y="68"/>
                      <a:pt x="697" y="68"/>
                    </a:cubicBezTo>
                    <a:cubicBezTo>
                      <a:pt x="697" y="68"/>
                      <a:pt x="699" y="68"/>
                      <a:pt x="698" y="68"/>
                    </a:cubicBezTo>
                    <a:cubicBezTo>
                      <a:pt x="698" y="68"/>
                      <a:pt x="700" y="68"/>
                      <a:pt x="700" y="69"/>
                    </a:cubicBezTo>
                    <a:cubicBezTo>
                      <a:pt x="700" y="68"/>
                      <a:pt x="701" y="68"/>
                      <a:pt x="701" y="68"/>
                    </a:cubicBezTo>
                    <a:cubicBezTo>
                      <a:pt x="700" y="68"/>
                      <a:pt x="702" y="68"/>
                      <a:pt x="702" y="68"/>
                    </a:cubicBezTo>
                    <a:cubicBezTo>
                      <a:pt x="702" y="68"/>
                      <a:pt x="702" y="68"/>
                      <a:pt x="702" y="68"/>
                    </a:cubicBezTo>
                    <a:cubicBezTo>
                      <a:pt x="702" y="68"/>
                      <a:pt x="702" y="68"/>
                      <a:pt x="703" y="68"/>
                    </a:cubicBezTo>
                    <a:cubicBezTo>
                      <a:pt x="702" y="68"/>
                      <a:pt x="702" y="67"/>
                      <a:pt x="701" y="67"/>
                    </a:cubicBezTo>
                    <a:cubicBezTo>
                      <a:pt x="702" y="67"/>
                      <a:pt x="703" y="67"/>
                      <a:pt x="704" y="67"/>
                    </a:cubicBezTo>
                    <a:cubicBezTo>
                      <a:pt x="706" y="67"/>
                      <a:pt x="707" y="67"/>
                      <a:pt x="708" y="67"/>
                    </a:cubicBezTo>
                    <a:cubicBezTo>
                      <a:pt x="708" y="67"/>
                      <a:pt x="709" y="67"/>
                      <a:pt x="709" y="68"/>
                    </a:cubicBezTo>
                    <a:cubicBezTo>
                      <a:pt x="709" y="68"/>
                      <a:pt x="709" y="68"/>
                      <a:pt x="710" y="68"/>
                    </a:cubicBezTo>
                    <a:cubicBezTo>
                      <a:pt x="710" y="68"/>
                      <a:pt x="710" y="68"/>
                      <a:pt x="710" y="68"/>
                    </a:cubicBezTo>
                    <a:cubicBezTo>
                      <a:pt x="711" y="69"/>
                      <a:pt x="712" y="69"/>
                      <a:pt x="713" y="69"/>
                    </a:cubicBezTo>
                    <a:cubicBezTo>
                      <a:pt x="713" y="69"/>
                      <a:pt x="713" y="69"/>
                      <a:pt x="713" y="69"/>
                    </a:cubicBezTo>
                    <a:cubicBezTo>
                      <a:pt x="714" y="69"/>
                      <a:pt x="714" y="69"/>
                      <a:pt x="714" y="69"/>
                    </a:cubicBezTo>
                    <a:cubicBezTo>
                      <a:pt x="715" y="70"/>
                      <a:pt x="716" y="69"/>
                      <a:pt x="717" y="70"/>
                    </a:cubicBezTo>
                    <a:cubicBezTo>
                      <a:pt x="718" y="70"/>
                      <a:pt x="719" y="70"/>
                      <a:pt x="719" y="70"/>
                    </a:cubicBezTo>
                    <a:cubicBezTo>
                      <a:pt x="719" y="70"/>
                      <a:pt x="719" y="70"/>
                      <a:pt x="719" y="70"/>
                    </a:cubicBezTo>
                    <a:cubicBezTo>
                      <a:pt x="719" y="71"/>
                      <a:pt x="719" y="72"/>
                      <a:pt x="719" y="71"/>
                    </a:cubicBezTo>
                    <a:cubicBezTo>
                      <a:pt x="720" y="70"/>
                      <a:pt x="721" y="71"/>
                      <a:pt x="721" y="71"/>
                    </a:cubicBezTo>
                    <a:cubicBezTo>
                      <a:pt x="722" y="72"/>
                      <a:pt x="719" y="72"/>
                      <a:pt x="718" y="72"/>
                    </a:cubicBezTo>
                    <a:cubicBezTo>
                      <a:pt x="719" y="73"/>
                      <a:pt x="721" y="73"/>
                      <a:pt x="721" y="73"/>
                    </a:cubicBezTo>
                    <a:cubicBezTo>
                      <a:pt x="722" y="73"/>
                      <a:pt x="724" y="73"/>
                      <a:pt x="725" y="73"/>
                    </a:cubicBezTo>
                    <a:cubicBezTo>
                      <a:pt x="724" y="74"/>
                      <a:pt x="723" y="73"/>
                      <a:pt x="722" y="74"/>
                    </a:cubicBezTo>
                    <a:cubicBezTo>
                      <a:pt x="723" y="75"/>
                      <a:pt x="725" y="74"/>
                      <a:pt x="727" y="74"/>
                    </a:cubicBezTo>
                    <a:cubicBezTo>
                      <a:pt x="726" y="74"/>
                      <a:pt x="726" y="74"/>
                      <a:pt x="726" y="75"/>
                    </a:cubicBezTo>
                    <a:cubicBezTo>
                      <a:pt x="726" y="75"/>
                      <a:pt x="725" y="74"/>
                      <a:pt x="724" y="75"/>
                    </a:cubicBezTo>
                    <a:cubicBezTo>
                      <a:pt x="724" y="75"/>
                      <a:pt x="725" y="75"/>
                      <a:pt x="725" y="75"/>
                    </a:cubicBezTo>
                    <a:cubicBezTo>
                      <a:pt x="724" y="75"/>
                      <a:pt x="724" y="76"/>
                      <a:pt x="724" y="76"/>
                    </a:cubicBezTo>
                    <a:cubicBezTo>
                      <a:pt x="723" y="76"/>
                      <a:pt x="722" y="76"/>
                      <a:pt x="722" y="76"/>
                    </a:cubicBezTo>
                    <a:cubicBezTo>
                      <a:pt x="722" y="77"/>
                      <a:pt x="725" y="76"/>
                      <a:pt x="726" y="76"/>
                    </a:cubicBezTo>
                    <a:cubicBezTo>
                      <a:pt x="727" y="76"/>
                      <a:pt x="728" y="76"/>
                      <a:pt x="729" y="77"/>
                    </a:cubicBezTo>
                    <a:cubicBezTo>
                      <a:pt x="730" y="77"/>
                      <a:pt x="731" y="77"/>
                      <a:pt x="732" y="78"/>
                    </a:cubicBezTo>
                    <a:cubicBezTo>
                      <a:pt x="731" y="78"/>
                      <a:pt x="731" y="78"/>
                      <a:pt x="731" y="78"/>
                    </a:cubicBezTo>
                    <a:cubicBezTo>
                      <a:pt x="731" y="78"/>
                      <a:pt x="733" y="78"/>
                      <a:pt x="733" y="79"/>
                    </a:cubicBezTo>
                    <a:cubicBezTo>
                      <a:pt x="733" y="79"/>
                      <a:pt x="732" y="79"/>
                      <a:pt x="732" y="79"/>
                    </a:cubicBezTo>
                    <a:cubicBezTo>
                      <a:pt x="732" y="80"/>
                      <a:pt x="733" y="79"/>
                      <a:pt x="733" y="79"/>
                    </a:cubicBezTo>
                    <a:cubicBezTo>
                      <a:pt x="733" y="80"/>
                      <a:pt x="732" y="80"/>
                      <a:pt x="731" y="80"/>
                    </a:cubicBezTo>
                    <a:cubicBezTo>
                      <a:pt x="731" y="80"/>
                      <a:pt x="730" y="80"/>
                      <a:pt x="729" y="80"/>
                    </a:cubicBezTo>
                    <a:cubicBezTo>
                      <a:pt x="729" y="80"/>
                      <a:pt x="726" y="79"/>
                      <a:pt x="727" y="79"/>
                    </a:cubicBezTo>
                    <a:cubicBezTo>
                      <a:pt x="726" y="79"/>
                      <a:pt x="725" y="78"/>
                      <a:pt x="724" y="78"/>
                    </a:cubicBezTo>
                    <a:cubicBezTo>
                      <a:pt x="725" y="80"/>
                      <a:pt x="727" y="80"/>
                      <a:pt x="728" y="81"/>
                    </a:cubicBezTo>
                    <a:cubicBezTo>
                      <a:pt x="729" y="81"/>
                      <a:pt x="731" y="82"/>
                      <a:pt x="732" y="83"/>
                    </a:cubicBezTo>
                    <a:cubicBezTo>
                      <a:pt x="733" y="83"/>
                      <a:pt x="734" y="83"/>
                      <a:pt x="734" y="83"/>
                    </a:cubicBezTo>
                    <a:cubicBezTo>
                      <a:pt x="735" y="83"/>
                      <a:pt x="735" y="82"/>
                      <a:pt x="734" y="82"/>
                    </a:cubicBezTo>
                    <a:cubicBezTo>
                      <a:pt x="734" y="82"/>
                      <a:pt x="732" y="81"/>
                      <a:pt x="732" y="80"/>
                    </a:cubicBezTo>
                    <a:cubicBezTo>
                      <a:pt x="732" y="80"/>
                      <a:pt x="733" y="81"/>
                      <a:pt x="733" y="81"/>
                    </a:cubicBezTo>
                    <a:cubicBezTo>
                      <a:pt x="734" y="81"/>
                      <a:pt x="734" y="81"/>
                      <a:pt x="735" y="82"/>
                    </a:cubicBezTo>
                    <a:cubicBezTo>
                      <a:pt x="735" y="82"/>
                      <a:pt x="736" y="82"/>
                      <a:pt x="736" y="82"/>
                    </a:cubicBezTo>
                    <a:cubicBezTo>
                      <a:pt x="737" y="83"/>
                      <a:pt x="737" y="83"/>
                      <a:pt x="738" y="83"/>
                    </a:cubicBezTo>
                    <a:cubicBezTo>
                      <a:pt x="737" y="83"/>
                      <a:pt x="736" y="83"/>
                      <a:pt x="735" y="83"/>
                    </a:cubicBezTo>
                    <a:cubicBezTo>
                      <a:pt x="735" y="83"/>
                      <a:pt x="733" y="83"/>
                      <a:pt x="734" y="84"/>
                    </a:cubicBezTo>
                    <a:cubicBezTo>
                      <a:pt x="734" y="84"/>
                      <a:pt x="736" y="84"/>
                      <a:pt x="736" y="84"/>
                    </a:cubicBezTo>
                    <a:cubicBezTo>
                      <a:pt x="737" y="84"/>
                      <a:pt x="738" y="85"/>
                      <a:pt x="738" y="85"/>
                    </a:cubicBezTo>
                    <a:cubicBezTo>
                      <a:pt x="739" y="86"/>
                      <a:pt x="740" y="86"/>
                      <a:pt x="741" y="86"/>
                    </a:cubicBezTo>
                    <a:cubicBezTo>
                      <a:pt x="741" y="87"/>
                      <a:pt x="742" y="87"/>
                      <a:pt x="743" y="87"/>
                    </a:cubicBezTo>
                    <a:cubicBezTo>
                      <a:pt x="743" y="87"/>
                      <a:pt x="746" y="88"/>
                      <a:pt x="745" y="89"/>
                    </a:cubicBezTo>
                    <a:cubicBezTo>
                      <a:pt x="746" y="89"/>
                      <a:pt x="746" y="89"/>
                      <a:pt x="747" y="89"/>
                    </a:cubicBezTo>
                    <a:cubicBezTo>
                      <a:pt x="747" y="89"/>
                      <a:pt x="747" y="89"/>
                      <a:pt x="748" y="89"/>
                    </a:cubicBezTo>
                    <a:cubicBezTo>
                      <a:pt x="749" y="89"/>
                      <a:pt x="750" y="89"/>
                      <a:pt x="751" y="90"/>
                    </a:cubicBezTo>
                    <a:cubicBezTo>
                      <a:pt x="751" y="90"/>
                      <a:pt x="752" y="90"/>
                      <a:pt x="752" y="90"/>
                    </a:cubicBezTo>
                    <a:cubicBezTo>
                      <a:pt x="753" y="90"/>
                      <a:pt x="753" y="91"/>
                      <a:pt x="754" y="91"/>
                    </a:cubicBezTo>
                    <a:cubicBezTo>
                      <a:pt x="755" y="91"/>
                      <a:pt x="754" y="90"/>
                      <a:pt x="754" y="90"/>
                    </a:cubicBezTo>
                    <a:cubicBezTo>
                      <a:pt x="754" y="90"/>
                      <a:pt x="756" y="91"/>
                      <a:pt x="757" y="91"/>
                    </a:cubicBezTo>
                    <a:cubicBezTo>
                      <a:pt x="757" y="92"/>
                      <a:pt x="758" y="92"/>
                      <a:pt x="759" y="92"/>
                    </a:cubicBezTo>
                    <a:cubicBezTo>
                      <a:pt x="760" y="92"/>
                      <a:pt x="760" y="90"/>
                      <a:pt x="760" y="90"/>
                    </a:cubicBezTo>
                    <a:cubicBezTo>
                      <a:pt x="760" y="89"/>
                      <a:pt x="759" y="88"/>
                      <a:pt x="760" y="88"/>
                    </a:cubicBezTo>
                    <a:cubicBezTo>
                      <a:pt x="760" y="88"/>
                      <a:pt x="759" y="88"/>
                      <a:pt x="759" y="88"/>
                    </a:cubicBezTo>
                    <a:cubicBezTo>
                      <a:pt x="760" y="87"/>
                      <a:pt x="761" y="88"/>
                      <a:pt x="761" y="88"/>
                    </a:cubicBezTo>
                    <a:cubicBezTo>
                      <a:pt x="761" y="87"/>
                      <a:pt x="760" y="88"/>
                      <a:pt x="759" y="87"/>
                    </a:cubicBezTo>
                    <a:cubicBezTo>
                      <a:pt x="759" y="87"/>
                      <a:pt x="759" y="86"/>
                      <a:pt x="759" y="86"/>
                    </a:cubicBezTo>
                    <a:cubicBezTo>
                      <a:pt x="758" y="85"/>
                      <a:pt x="757" y="84"/>
                      <a:pt x="757" y="82"/>
                    </a:cubicBezTo>
                    <a:cubicBezTo>
                      <a:pt x="757" y="81"/>
                      <a:pt x="758" y="81"/>
                      <a:pt x="759" y="82"/>
                    </a:cubicBezTo>
                    <a:cubicBezTo>
                      <a:pt x="759" y="83"/>
                      <a:pt x="761" y="83"/>
                      <a:pt x="762" y="83"/>
                    </a:cubicBezTo>
                    <a:cubicBezTo>
                      <a:pt x="765" y="85"/>
                      <a:pt x="768" y="85"/>
                      <a:pt x="771" y="86"/>
                    </a:cubicBezTo>
                    <a:cubicBezTo>
                      <a:pt x="773" y="86"/>
                      <a:pt x="774" y="86"/>
                      <a:pt x="776" y="86"/>
                    </a:cubicBezTo>
                    <a:cubicBezTo>
                      <a:pt x="776" y="86"/>
                      <a:pt x="777" y="86"/>
                      <a:pt x="778" y="87"/>
                    </a:cubicBezTo>
                    <a:cubicBezTo>
                      <a:pt x="778" y="87"/>
                      <a:pt x="777" y="87"/>
                      <a:pt x="778" y="87"/>
                    </a:cubicBezTo>
                    <a:cubicBezTo>
                      <a:pt x="778" y="87"/>
                      <a:pt x="778" y="86"/>
                      <a:pt x="778" y="86"/>
                    </a:cubicBezTo>
                    <a:cubicBezTo>
                      <a:pt x="777" y="86"/>
                      <a:pt x="777" y="86"/>
                      <a:pt x="777" y="86"/>
                    </a:cubicBezTo>
                    <a:cubicBezTo>
                      <a:pt x="777" y="86"/>
                      <a:pt x="777" y="85"/>
                      <a:pt x="777" y="85"/>
                    </a:cubicBezTo>
                    <a:cubicBezTo>
                      <a:pt x="777" y="85"/>
                      <a:pt x="778" y="85"/>
                      <a:pt x="778" y="85"/>
                    </a:cubicBezTo>
                    <a:cubicBezTo>
                      <a:pt x="778" y="85"/>
                      <a:pt x="778" y="85"/>
                      <a:pt x="779" y="85"/>
                    </a:cubicBezTo>
                    <a:cubicBezTo>
                      <a:pt x="779" y="85"/>
                      <a:pt x="780" y="85"/>
                      <a:pt x="780" y="85"/>
                    </a:cubicBezTo>
                    <a:cubicBezTo>
                      <a:pt x="780" y="85"/>
                      <a:pt x="780" y="85"/>
                      <a:pt x="779" y="84"/>
                    </a:cubicBezTo>
                    <a:cubicBezTo>
                      <a:pt x="780" y="84"/>
                      <a:pt x="782" y="84"/>
                      <a:pt x="783" y="84"/>
                    </a:cubicBezTo>
                    <a:cubicBezTo>
                      <a:pt x="785" y="84"/>
                      <a:pt x="787" y="84"/>
                      <a:pt x="788" y="85"/>
                    </a:cubicBezTo>
                    <a:cubicBezTo>
                      <a:pt x="789" y="85"/>
                      <a:pt x="788" y="85"/>
                      <a:pt x="789" y="85"/>
                    </a:cubicBezTo>
                    <a:cubicBezTo>
                      <a:pt x="790" y="85"/>
                      <a:pt x="791" y="85"/>
                      <a:pt x="791" y="85"/>
                    </a:cubicBezTo>
                    <a:cubicBezTo>
                      <a:pt x="792" y="86"/>
                      <a:pt x="794" y="86"/>
                      <a:pt x="796" y="86"/>
                    </a:cubicBezTo>
                    <a:cubicBezTo>
                      <a:pt x="795" y="86"/>
                      <a:pt x="796" y="86"/>
                      <a:pt x="796" y="87"/>
                    </a:cubicBezTo>
                    <a:cubicBezTo>
                      <a:pt x="797" y="87"/>
                      <a:pt x="797" y="87"/>
                      <a:pt x="797" y="87"/>
                    </a:cubicBezTo>
                    <a:cubicBezTo>
                      <a:pt x="797" y="87"/>
                      <a:pt x="798" y="88"/>
                      <a:pt x="798" y="87"/>
                    </a:cubicBezTo>
                    <a:cubicBezTo>
                      <a:pt x="798" y="87"/>
                      <a:pt x="799" y="87"/>
                      <a:pt x="799" y="87"/>
                    </a:cubicBezTo>
                    <a:cubicBezTo>
                      <a:pt x="799" y="88"/>
                      <a:pt x="798" y="88"/>
                      <a:pt x="798" y="88"/>
                    </a:cubicBezTo>
                    <a:cubicBezTo>
                      <a:pt x="799" y="88"/>
                      <a:pt x="800" y="88"/>
                      <a:pt x="800" y="88"/>
                    </a:cubicBezTo>
                    <a:cubicBezTo>
                      <a:pt x="800" y="88"/>
                      <a:pt x="801" y="88"/>
                      <a:pt x="801" y="88"/>
                    </a:cubicBezTo>
                    <a:cubicBezTo>
                      <a:pt x="801" y="89"/>
                      <a:pt x="803" y="88"/>
                      <a:pt x="803" y="88"/>
                    </a:cubicBezTo>
                    <a:cubicBezTo>
                      <a:pt x="803" y="88"/>
                      <a:pt x="801" y="88"/>
                      <a:pt x="801" y="88"/>
                    </a:cubicBezTo>
                    <a:cubicBezTo>
                      <a:pt x="801" y="88"/>
                      <a:pt x="800" y="88"/>
                      <a:pt x="800" y="87"/>
                    </a:cubicBezTo>
                    <a:cubicBezTo>
                      <a:pt x="800" y="87"/>
                      <a:pt x="801" y="87"/>
                      <a:pt x="801" y="87"/>
                    </a:cubicBezTo>
                    <a:cubicBezTo>
                      <a:pt x="801" y="88"/>
                      <a:pt x="803" y="87"/>
                      <a:pt x="802" y="87"/>
                    </a:cubicBezTo>
                    <a:cubicBezTo>
                      <a:pt x="802" y="87"/>
                      <a:pt x="801" y="87"/>
                      <a:pt x="800" y="87"/>
                    </a:cubicBezTo>
                    <a:cubicBezTo>
                      <a:pt x="801" y="87"/>
                      <a:pt x="802" y="87"/>
                      <a:pt x="803" y="87"/>
                    </a:cubicBezTo>
                    <a:cubicBezTo>
                      <a:pt x="801" y="86"/>
                      <a:pt x="800" y="87"/>
                      <a:pt x="798" y="86"/>
                    </a:cubicBezTo>
                    <a:cubicBezTo>
                      <a:pt x="799" y="86"/>
                      <a:pt x="798" y="85"/>
                      <a:pt x="798" y="85"/>
                    </a:cubicBezTo>
                    <a:cubicBezTo>
                      <a:pt x="798" y="84"/>
                      <a:pt x="800" y="84"/>
                      <a:pt x="800" y="84"/>
                    </a:cubicBezTo>
                    <a:cubicBezTo>
                      <a:pt x="800" y="85"/>
                      <a:pt x="801" y="85"/>
                      <a:pt x="802" y="85"/>
                    </a:cubicBezTo>
                    <a:cubicBezTo>
                      <a:pt x="802" y="84"/>
                      <a:pt x="801" y="84"/>
                      <a:pt x="802" y="84"/>
                    </a:cubicBezTo>
                    <a:cubicBezTo>
                      <a:pt x="802" y="84"/>
                      <a:pt x="803" y="84"/>
                      <a:pt x="803" y="84"/>
                    </a:cubicBezTo>
                    <a:cubicBezTo>
                      <a:pt x="805" y="85"/>
                      <a:pt x="806" y="85"/>
                      <a:pt x="807" y="86"/>
                    </a:cubicBezTo>
                    <a:cubicBezTo>
                      <a:pt x="808" y="86"/>
                      <a:pt x="808" y="86"/>
                      <a:pt x="808" y="85"/>
                    </a:cubicBezTo>
                    <a:cubicBezTo>
                      <a:pt x="808" y="85"/>
                      <a:pt x="809" y="85"/>
                      <a:pt x="810" y="85"/>
                    </a:cubicBezTo>
                    <a:cubicBezTo>
                      <a:pt x="810" y="85"/>
                      <a:pt x="810" y="85"/>
                      <a:pt x="811" y="85"/>
                    </a:cubicBezTo>
                    <a:cubicBezTo>
                      <a:pt x="811" y="85"/>
                      <a:pt x="811" y="85"/>
                      <a:pt x="811" y="85"/>
                    </a:cubicBezTo>
                    <a:cubicBezTo>
                      <a:pt x="812" y="85"/>
                      <a:pt x="812" y="85"/>
                      <a:pt x="812" y="85"/>
                    </a:cubicBezTo>
                    <a:cubicBezTo>
                      <a:pt x="812" y="85"/>
                      <a:pt x="806" y="83"/>
                      <a:pt x="807" y="82"/>
                    </a:cubicBezTo>
                    <a:cubicBezTo>
                      <a:pt x="806" y="82"/>
                      <a:pt x="805" y="81"/>
                      <a:pt x="805" y="81"/>
                    </a:cubicBezTo>
                    <a:cubicBezTo>
                      <a:pt x="804" y="81"/>
                      <a:pt x="803" y="81"/>
                      <a:pt x="803" y="81"/>
                    </a:cubicBezTo>
                    <a:cubicBezTo>
                      <a:pt x="803" y="81"/>
                      <a:pt x="805" y="81"/>
                      <a:pt x="805" y="81"/>
                    </a:cubicBezTo>
                    <a:cubicBezTo>
                      <a:pt x="804" y="80"/>
                      <a:pt x="804" y="80"/>
                      <a:pt x="804" y="80"/>
                    </a:cubicBezTo>
                    <a:cubicBezTo>
                      <a:pt x="803" y="78"/>
                      <a:pt x="806" y="80"/>
                      <a:pt x="806" y="79"/>
                    </a:cubicBezTo>
                    <a:cubicBezTo>
                      <a:pt x="806" y="78"/>
                      <a:pt x="803" y="78"/>
                      <a:pt x="803" y="78"/>
                    </a:cubicBezTo>
                    <a:cubicBezTo>
                      <a:pt x="802" y="79"/>
                      <a:pt x="802" y="78"/>
                      <a:pt x="801" y="78"/>
                    </a:cubicBezTo>
                    <a:cubicBezTo>
                      <a:pt x="801" y="78"/>
                      <a:pt x="800" y="79"/>
                      <a:pt x="801" y="79"/>
                    </a:cubicBezTo>
                    <a:cubicBezTo>
                      <a:pt x="801" y="79"/>
                      <a:pt x="801" y="79"/>
                      <a:pt x="801" y="79"/>
                    </a:cubicBezTo>
                    <a:cubicBezTo>
                      <a:pt x="801" y="79"/>
                      <a:pt x="800" y="79"/>
                      <a:pt x="799" y="79"/>
                    </a:cubicBezTo>
                    <a:cubicBezTo>
                      <a:pt x="800" y="79"/>
                      <a:pt x="800" y="79"/>
                      <a:pt x="800" y="79"/>
                    </a:cubicBezTo>
                    <a:cubicBezTo>
                      <a:pt x="799" y="80"/>
                      <a:pt x="798" y="79"/>
                      <a:pt x="798" y="78"/>
                    </a:cubicBezTo>
                    <a:cubicBezTo>
                      <a:pt x="797" y="78"/>
                      <a:pt x="797" y="76"/>
                      <a:pt x="798" y="76"/>
                    </a:cubicBezTo>
                    <a:cubicBezTo>
                      <a:pt x="800" y="76"/>
                      <a:pt x="801" y="76"/>
                      <a:pt x="803" y="76"/>
                    </a:cubicBezTo>
                    <a:cubicBezTo>
                      <a:pt x="805" y="76"/>
                      <a:pt x="806" y="76"/>
                      <a:pt x="807" y="75"/>
                    </a:cubicBezTo>
                    <a:cubicBezTo>
                      <a:pt x="807" y="75"/>
                      <a:pt x="806" y="76"/>
                      <a:pt x="806" y="75"/>
                    </a:cubicBezTo>
                    <a:cubicBezTo>
                      <a:pt x="806" y="74"/>
                      <a:pt x="805" y="74"/>
                      <a:pt x="804" y="74"/>
                    </a:cubicBezTo>
                    <a:cubicBezTo>
                      <a:pt x="803" y="74"/>
                      <a:pt x="802" y="73"/>
                      <a:pt x="800" y="73"/>
                    </a:cubicBezTo>
                    <a:cubicBezTo>
                      <a:pt x="801" y="72"/>
                      <a:pt x="803" y="73"/>
                      <a:pt x="804" y="73"/>
                    </a:cubicBezTo>
                    <a:cubicBezTo>
                      <a:pt x="805" y="73"/>
                      <a:pt x="806" y="73"/>
                      <a:pt x="807" y="73"/>
                    </a:cubicBezTo>
                    <a:cubicBezTo>
                      <a:pt x="808" y="74"/>
                      <a:pt x="809" y="74"/>
                      <a:pt x="810" y="74"/>
                    </a:cubicBezTo>
                    <a:cubicBezTo>
                      <a:pt x="814" y="74"/>
                      <a:pt x="819" y="74"/>
                      <a:pt x="823" y="75"/>
                    </a:cubicBezTo>
                    <a:cubicBezTo>
                      <a:pt x="828" y="75"/>
                      <a:pt x="832" y="75"/>
                      <a:pt x="837" y="76"/>
                    </a:cubicBezTo>
                    <a:cubicBezTo>
                      <a:pt x="839" y="76"/>
                      <a:pt x="841" y="76"/>
                      <a:pt x="843" y="77"/>
                    </a:cubicBezTo>
                    <a:cubicBezTo>
                      <a:pt x="845" y="77"/>
                      <a:pt x="846" y="77"/>
                      <a:pt x="847" y="77"/>
                    </a:cubicBezTo>
                    <a:cubicBezTo>
                      <a:pt x="847" y="77"/>
                      <a:pt x="848" y="77"/>
                      <a:pt x="849" y="78"/>
                    </a:cubicBezTo>
                    <a:cubicBezTo>
                      <a:pt x="848" y="78"/>
                      <a:pt x="847" y="77"/>
                      <a:pt x="846" y="77"/>
                    </a:cubicBezTo>
                    <a:cubicBezTo>
                      <a:pt x="845" y="77"/>
                      <a:pt x="845" y="77"/>
                      <a:pt x="844" y="77"/>
                    </a:cubicBezTo>
                    <a:cubicBezTo>
                      <a:pt x="842" y="77"/>
                      <a:pt x="841" y="77"/>
                      <a:pt x="839" y="77"/>
                    </a:cubicBezTo>
                    <a:cubicBezTo>
                      <a:pt x="838" y="77"/>
                      <a:pt x="833" y="76"/>
                      <a:pt x="835" y="78"/>
                    </a:cubicBezTo>
                    <a:cubicBezTo>
                      <a:pt x="834" y="79"/>
                      <a:pt x="833" y="78"/>
                      <a:pt x="833" y="78"/>
                    </a:cubicBezTo>
                    <a:cubicBezTo>
                      <a:pt x="832" y="78"/>
                      <a:pt x="832" y="78"/>
                      <a:pt x="831" y="78"/>
                    </a:cubicBezTo>
                    <a:cubicBezTo>
                      <a:pt x="832" y="79"/>
                      <a:pt x="833" y="79"/>
                      <a:pt x="834" y="79"/>
                    </a:cubicBezTo>
                    <a:cubicBezTo>
                      <a:pt x="835" y="79"/>
                      <a:pt x="835" y="79"/>
                      <a:pt x="836" y="79"/>
                    </a:cubicBezTo>
                    <a:cubicBezTo>
                      <a:pt x="836" y="79"/>
                      <a:pt x="836" y="78"/>
                      <a:pt x="836" y="78"/>
                    </a:cubicBezTo>
                    <a:cubicBezTo>
                      <a:pt x="839" y="78"/>
                      <a:pt x="842" y="78"/>
                      <a:pt x="845" y="78"/>
                    </a:cubicBezTo>
                    <a:cubicBezTo>
                      <a:pt x="847" y="78"/>
                      <a:pt x="848" y="78"/>
                      <a:pt x="850" y="78"/>
                    </a:cubicBezTo>
                    <a:cubicBezTo>
                      <a:pt x="850" y="78"/>
                      <a:pt x="850" y="79"/>
                      <a:pt x="850" y="80"/>
                    </a:cubicBezTo>
                    <a:cubicBezTo>
                      <a:pt x="850" y="80"/>
                      <a:pt x="849" y="82"/>
                      <a:pt x="849" y="82"/>
                    </a:cubicBezTo>
                    <a:cubicBezTo>
                      <a:pt x="849" y="82"/>
                      <a:pt x="847" y="81"/>
                      <a:pt x="847" y="80"/>
                    </a:cubicBezTo>
                    <a:cubicBezTo>
                      <a:pt x="847" y="80"/>
                      <a:pt x="848" y="80"/>
                      <a:pt x="848" y="80"/>
                    </a:cubicBezTo>
                    <a:cubicBezTo>
                      <a:pt x="848" y="80"/>
                      <a:pt x="848" y="80"/>
                      <a:pt x="848" y="79"/>
                    </a:cubicBezTo>
                    <a:cubicBezTo>
                      <a:pt x="848" y="79"/>
                      <a:pt x="846" y="79"/>
                      <a:pt x="846" y="79"/>
                    </a:cubicBezTo>
                    <a:cubicBezTo>
                      <a:pt x="846" y="79"/>
                      <a:pt x="846" y="79"/>
                      <a:pt x="846" y="80"/>
                    </a:cubicBezTo>
                    <a:cubicBezTo>
                      <a:pt x="846" y="80"/>
                      <a:pt x="846" y="80"/>
                      <a:pt x="846" y="80"/>
                    </a:cubicBezTo>
                    <a:cubicBezTo>
                      <a:pt x="846" y="80"/>
                      <a:pt x="846" y="79"/>
                      <a:pt x="845" y="79"/>
                    </a:cubicBezTo>
                    <a:cubicBezTo>
                      <a:pt x="845" y="79"/>
                      <a:pt x="844" y="79"/>
                      <a:pt x="844" y="79"/>
                    </a:cubicBezTo>
                    <a:cubicBezTo>
                      <a:pt x="844" y="78"/>
                      <a:pt x="842" y="78"/>
                      <a:pt x="842" y="78"/>
                    </a:cubicBezTo>
                    <a:cubicBezTo>
                      <a:pt x="842" y="79"/>
                      <a:pt x="843" y="79"/>
                      <a:pt x="843" y="79"/>
                    </a:cubicBezTo>
                    <a:cubicBezTo>
                      <a:pt x="844" y="79"/>
                      <a:pt x="844" y="80"/>
                      <a:pt x="844" y="80"/>
                    </a:cubicBezTo>
                    <a:cubicBezTo>
                      <a:pt x="845" y="81"/>
                      <a:pt x="846" y="80"/>
                      <a:pt x="847" y="81"/>
                    </a:cubicBezTo>
                    <a:cubicBezTo>
                      <a:pt x="847" y="81"/>
                      <a:pt x="844" y="82"/>
                      <a:pt x="844" y="82"/>
                    </a:cubicBezTo>
                    <a:cubicBezTo>
                      <a:pt x="843" y="82"/>
                      <a:pt x="842" y="81"/>
                      <a:pt x="841" y="81"/>
                    </a:cubicBezTo>
                    <a:cubicBezTo>
                      <a:pt x="841" y="82"/>
                      <a:pt x="842" y="82"/>
                      <a:pt x="843" y="82"/>
                    </a:cubicBezTo>
                    <a:cubicBezTo>
                      <a:pt x="845" y="82"/>
                      <a:pt x="843" y="82"/>
                      <a:pt x="842" y="83"/>
                    </a:cubicBezTo>
                    <a:cubicBezTo>
                      <a:pt x="843" y="83"/>
                      <a:pt x="843" y="83"/>
                      <a:pt x="843" y="83"/>
                    </a:cubicBezTo>
                    <a:cubicBezTo>
                      <a:pt x="844" y="83"/>
                      <a:pt x="844" y="83"/>
                      <a:pt x="844" y="83"/>
                    </a:cubicBezTo>
                    <a:cubicBezTo>
                      <a:pt x="844" y="84"/>
                      <a:pt x="845" y="83"/>
                      <a:pt x="845" y="83"/>
                    </a:cubicBezTo>
                    <a:cubicBezTo>
                      <a:pt x="845" y="83"/>
                      <a:pt x="846" y="84"/>
                      <a:pt x="847" y="84"/>
                    </a:cubicBezTo>
                    <a:cubicBezTo>
                      <a:pt x="847" y="83"/>
                      <a:pt x="847" y="83"/>
                      <a:pt x="848" y="83"/>
                    </a:cubicBezTo>
                    <a:cubicBezTo>
                      <a:pt x="848" y="83"/>
                      <a:pt x="848" y="83"/>
                      <a:pt x="849" y="83"/>
                    </a:cubicBezTo>
                    <a:cubicBezTo>
                      <a:pt x="850" y="83"/>
                      <a:pt x="850" y="82"/>
                      <a:pt x="851" y="82"/>
                    </a:cubicBezTo>
                    <a:cubicBezTo>
                      <a:pt x="851" y="81"/>
                      <a:pt x="850" y="78"/>
                      <a:pt x="852" y="78"/>
                    </a:cubicBezTo>
                    <a:cubicBezTo>
                      <a:pt x="854" y="78"/>
                      <a:pt x="856" y="78"/>
                      <a:pt x="858" y="78"/>
                    </a:cubicBezTo>
                    <a:cubicBezTo>
                      <a:pt x="861" y="78"/>
                      <a:pt x="864" y="78"/>
                      <a:pt x="866" y="79"/>
                    </a:cubicBezTo>
                    <a:cubicBezTo>
                      <a:pt x="868" y="79"/>
                      <a:pt x="870" y="79"/>
                      <a:pt x="872" y="80"/>
                    </a:cubicBezTo>
                    <a:cubicBezTo>
                      <a:pt x="874" y="80"/>
                      <a:pt x="875" y="81"/>
                      <a:pt x="876" y="81"/>
                    </a:cubicBezTo>
                    <a:cubicBezTo>
                      <a:pt x="876" y="82"/>
                      <a:pt x="877" y="82"/>
                      <a:pt x="876" y="82"/>
                    </a:cubicBezTo>
                    <a:cubicBezTo>
                      <a:pt x="875" y="83"/>
                      <a:pt x="874" y="82"/>
                      <a:pt x="874" y="82"/>
                    </a:cubicBezTo>
                    <a:cubicBezTo>
                      <a:pt x="873" y="82"/>
                      <a:pt x="872" y="81"/>
                      <a:pt x="871" y="81"/>
                    </a:cubicBezTo>
                    <a:cubicBezTo>
                      <a:pt x="871" y="81"/>
                      <a:pt x="871" y="82"/>
                      <a:pt x="871" y="83"/>
                    </a:cubicBezTo>
                    <a:cubicBezTo>
                      <a:pt x="871" y="83"/>
                      <a:pt x="869" y="82"/>
                      <a:pt x="869" y="82"/>
                    </a:cubicBezTo>
                    <a:cubicBezTo>
                      <a:pt x="870" y="83"/>
                      <a:pt x="871" y="83"/>
                      <a:pt x="871" y="83"/>
                    </a:cubicBezTo>
                    <a:cubicBezTo>
                      <a:pt x="871" y="83"/>
                      <a:pt x="870" y="83"/>
                      <a:pt x="870" y="83"/>
                    </a:cubicBezTo>
                    <a:cubicBezTo>
                      <a:pt x="871" y="84"/>
                      <a:pt x="872" y="83"/>
                      <a:pt x="873" y="83"/>
                    </a:cubicBezTo>
                    <a:cubicBezTo>
                      <a:pt x="874" y="83"/>
                      <a:pt x="875" y="84"/>
                      <a:pt x="876" y="84"/>
                    </a:cubicBezTo>
                    <a:cubicBezTo>
                      <a:pt x="877" y="84"/>
                      <a:pt x="878" y="83"/>
                      <a:pt x="879" y="84"/>
                    </a:cubicBezTo>
                    <a:cubicBezTo>
                      <a:pt x="879" y="84"/>
                      <a:pt x="880" y="84"/>
                      <a:pt x="880" y="84"/>
                    </a:cubicBezTo>
                    <a:cubicBezTo>
                      <a:pt x="880" y="85"/>
                      <a:pt x="879" y="84"/>
                      <a:pt x="879" y="84"/>
                    </a:cubicBezTo>
                    <a:cubicBezTo>
                      <a:pt x="879" y="84"/>
                      <a:pt x="880" y="85"/>
                      <a:pt x="880" y="85"/>
                    </a:cubicBezTo>
                    <a:cubicBezTo>
                      <a:pt x="880" y="85"/>
                      <a:pt x="880" y="85"/>
                      <a:pt x="880" y="85"/>
                    </a:cubicBezTo>
                    <a:cubicBezTo>
                      <a:pt x="882" y="85"/>
                      <a:pt x="883" y="85"/>
                      <a:pt x="884" y="85"/>
                    </a:cubicBezTo>
                    <a:cubicBezTo>
                      <a:pt x="885" y="85"/>
                      <a:pt x="885" y="85"/>
                      <a:pt x="886" y="86"/>
                    </a:cubicBezTo>
                    <a:cubicBezTo>
                      <a:pt x="886" y="86"/>
                      <a:pt x="886" y="86"/>
                      <a:pt x="886" y="86"/>
                    </a:cubicBezTo>
                    <a:cubicBezTo>
                      <a:pt x="886" y="87"/>
                      <a:pt x="884" y="88"/>
                      <a:pt x="884" y="88"/>
                    </a:cubicBezTo>
                    <a:cubicBezTo>
                      <a:pt x="885" y="88"/>
                      <a:pt x="885" y="87"/>
                      <a:pt x="885" y="87"/>
                    </a:cubicBezTo>
                    <a:cubicBezTo>
                      <a:pt x="886" y="87"/>
                      <a:pt x="886" y="87"/>
                      <a:pt x="886" y="87"/>
                    </a:cubicBezTo>
                    <a:cubicBezTo>
                      <a:pt x="886" y="87"/>
                      <a:pt x="886" y="86"/>
                      <a:pt x="887" y="86"/>
                    </a:cubicBezTo>
                    <a:cubicBezTo>
                      <a:pt x="887" y="86"/>
                      <a:pt x="887" y="87"/>
                      <a:pt x="888" y="87"/>
                    </a:cubicBezTo>
                    <a:cubicBezTo>
                      <a:pt x="888" y="86"/>
                      <a:pt x="889" y="86"/>
                      <a:pt x="890" y="86"/>
                    </a:cubicBezTo>
                    <a:cubicBezTo>
                      <a:pt x="892" y="86"/>
                      <a:pt x="894" y="87"/>
                      <a:pt x="896" y="88"/>
                    </a:cubicBezTo>
                    <a:cubicBezTo>
                      <a:pt x="897" y="88"/>
                      <a:pt x="898" y="88"/>
                      <a:pt x="899" y="89"/>
                    </a:cubicBezTo>
                    <a:cubicBezTo>
                      <a:pt x="900" y="89"/>
                      <a:pt x="901" y="89"/>
                      <a:pt x="901" y="90"/>
                    </a:cubicBezTo>
                    <a:cubicBezTo>
                      <a:pt x="900" y="90"/>
                      <a:pt x="899" y="90"/>
                      <a:pt x="898" y="90"/>
                    </a:cubicBezTo>
                    <a:cubicBezTo>
                      <a:pt x="900" y="90"/>
                      <a:pt x="901" y="90"/>
                      <a:pt x="903" y="91"/>
                    </a:cubicBezTo>
                    <a:cubicBezTo>
                      <a:pt x="904" y="91"/>
                      <a:pt x="906" y="91"/>
                      <a:pt x="906" y="91"/>
                    </a:cubicBezTo>
                    <a:cubicBezTo>
                      <a:pt x="906" y="91"/>
                      <a:pt x="909" y="91"/>
                      <a:pt x="909" y="91"/>
                    </a:cubicBezTo>
                    <a:cubicBezTo>
                      <a:pt x="909" y="91"/>
                      <a:pt x="910" y="91"/>
                      <a:pt x="911" y="91"/>
                    </a:cubicBezTo>
                    <a:cubicBezTo>
                      <a:pt x="912" y="91"/>
                      <a:pt x="910" y="91"/>
                      <a:pt x="911" y="91"/>
                    </a:cubicBezTo>
                    <a:cubicBezTo>
                      <a:pt x="912" y="91"/>
                      <a:pt x="913" y="91"/>
                      <a:pt x="914" y="91"/>
                    </a:cubicBezTo>
                    <a:cubicBezTo>
                      <a:pt x="915" y="90"/>
                      <a:pt x="916" y="90"/>
                      <a:pt x="917" y="90"/>
                    </a:cubicBezTo>
                    <a:cubicBezTo>
                      <a:pt x="918" y="90"/>
                      <a:pt x="919" y="90"/>
                      <a:pt x="920" y="89"/>
                    </a:cubicBezTo>
                    <a:cubicBezTo>
                      <a:pt x="921" y="89"/>
                      <a:pt x="922" y="89"/>
                      <a:pt x="923" y="89"/>
                    </a:cubicBezTo>
                    <a:cubicBezTo>
                      <a:pt x="923" y="89"/>
                      <a:pt x="924" y="89"/>
                      <a:pt x="924" y="89"/>
                    </a:cubicBezTo>
                    <a:cubicBezTo>
                      <a:pt x="924" y="90"/>
                      <a:pt x="925" y="90"/>
                      <a:pt x="925" y="90"/>
                    </a:cubicBezTo>
                    <a:cubicBezTo>
                      <a:pt x="924" y="89"/>
                      <a:pt x="926" y="89"/>
                      <a:pt x="926" y="89"/>
                    </a:cubicBezTo>
                    <a:cubicBezTo>
                      <a:pt x="928" y="89"/>
                      <a:pt x="930" y="89"/>
                      <a:pt x="932" y="89"/>
                    </a:cubicBezTo>
                    <a:cubicBezTo>
                      <a:pt x="937" y="89"/>
                      <a:pt x="941" y="89"/>
                      <a:pt x="945" y="90"/>
                    </a:cubicBezTo>
                    <a:cubicBezTo>
                      <a:pt x="949" y="90"/>
                      <a:pt x="953" y="91"/>
                      <a:pt x="957" y="92"/>
                    </a:cubicBezTo>
                    <a:cubicBezTo>
                      <a:pt x="959" y="93"/>
                      <a:pt x="961" y="94"/>
                      <a:pt x="963" y="95"/>
                    </a:cubicBezTo>
                    <a:cubicBezTo>
                      <a:pt x="964" y="95"/>
                      <a:pt x="964" y="96"/>
                      <a:pt x="965" y="96"/>
                    </a:cubicBezTo>
                    <a:cubicBezTo>
                      <a:pt x="965" y="96"/>
                      <a:pt x="965" y="96"/>
                      <a:pt x="965" y="97"/>
                    </a:cubicBezTo>
                    <a:cubicBezTo>
                      <a:pt x="966" y="97"/>
                      <a:pt x="966" y="97"/>
                      <a:pt x="966" y="98"/>
                    </a:cubicBezTo>
                    <a:cubicBezTo>
                      <a:pt x="966" y="98"/>
                      <a:pt x="965" y="97"/>
                      <a:pt x="964" y="97"/>
                    </a:cubicBezTo>
                    <a:cubicBezTo>
                      <a:pt x="965" y="98"/>
                      <a:pt x="966" y="98"/>
                      <a:pt x="966" y="98"/>
                    </a:cubicBezTo>
                    <a:cubicBezTo>
                      <a:pt x="967" y="98"/>
                      <a:pt x="967" y="98"/>
                      <a:pt x="967" y="99"/>
                    </a:cubicBezTo>
                    <a:cubicBezTo>
                      <a:pt x="967" y="99"/>
                      <a:pt x="967" y="99"/>
                      <a:pt x="967" y="99"/>
                    </a:cubicBezTo>
                    <a:cubicBezTo>
                      <a:pt x="967" y="100"/>
                      <a:pt x="969" y="100"/>
                      <a:pt x="969" y="101"/>
                    </a:cubicBezTo>
                    <a:cubicBezTo>
                      <a:pt x="970" y="100"/>
                      <a:pt x="971" y="101"/>
                      <a:pt x="971" y="101"/>
                    </a:cubicBezTo>
                    <a:cubicBezTo>
                      <a:pt x="972" y="101"/>
                      <a:pt x="973" y="101"/>
                      <a:pt x="974" y="102"/>
                    </a:cubicBezTo>
                    <a:cubicBezTo>
                      <a:pt x="975" y="102"/>
                      <a:pt x="975" y="102"/>
                      <a:pt x="976" y="102"/>
                    </a:cubicBezTo>
                    <a:cubicBezTo>
                      <a:pt x="977" y="102"/>
                      <a:pt x="978" y="102"/>
                      <a:pt x="979" y="102"/>
                    </a:cubicBezTo>
                    <a:cubicBezTo>
                      <a:pt x="981" y="103"/>
                      <a:pt x="981" y="103"/>
                      <a:pt x="983" y="102"/>
                    </a:cubicBezTo>
                    <a:cubicBezTo>
                      <a:pt x="983" y="102"/>
                      <a:pt x="983" y="102"/>
                      <a:pt x="984" y="102"/>
                    </a:cubicBezTo>
                    <a:cubicBezTo>
                      <a:pt x="984" y="102"/>
                      <a:pt x="985" y="102"/>
                      <a:pt x="985" y="102"/>
                    </a:cubicBezTo>
                    <a:cubicBezTo>
                      <a:pt x="986" y="102"/>
                      <a:pt x="986" y="102"/>
                      <a:pt x="987" y="102"/>
                    </a:cubicBezTo>
                    <a:cubicBezTo>
                      <a:pt x="988" y="102"/>
                      <a:pt x="989" y="102"/>
                      <a:pt x="988" y="102"/>
                    </a:cubicBezTo>
                    <a:cubicBezTo>
                      <a:pt x="989" y="102"/>
                      <a:pt x="990" y="102"/>
                      <a:pt x="991" y="102"/>
                    </a:cubicBezTo>
                    <a:cubicBezTo>
                      <a:pt x="992" y="102"/>
                      <a:pt x="993" y="101"/>
                      <a:pt x="994" y="101"/>
                    </a:cubicBezTo>
                    <a:cubicBezTo>
                      <a:pt x="995" y="101"/>
                      <a:pt x="996" y="102"/>
                      <a:pt x="997" y="102"/>
                    </a:cubicBezTo>
                    <a:cubicBezTo>
                      <a:pt x="997" y="102"/>
                      <a:pt x="998" y="101"/>
                      <a:pt x="999" y="101"/>
                    </a:cubicBezTo>
                    <a:cubicBezTo>
                      <a:pt x="999" y="101"/>
                      <a:pt x="1000" y="101"/>
                      <a:pt x="1001" y="102"/>
                    </a:cubicBezTo>
                    <a:cubicBezTo>
                      <a:pt x="1002" y="102"/>
                      <a:pt x="1003" y="102"/>
                      <a:pt x="1004" y="102"/>
                    </a:cubicBezTo>
                    <a:cubicBezTo>
                      <a:pt x="1006" y="103"/>
                      <a:pt x="1008" y="102"/>
                      <a:pt x="1010" y="102"/>
                    </a:cubicBezTo>
                    <a:cubicBezTo>
                      <a:pt x="1012" y="102"/>
                      <a:pt x="1014" y="103"/>
                      <a:pt x="1016" y="103"/>
                    </a:cubicBezTo>
                    <a:cubicBezTo>
                      <a:pt x="1018" y="103"/>
                      <a:pt x="1020" y="103"/>
                      <a:pt x="1021" y="103"/>
                    </a:cubicBezTo>
                    <a:cubicBezTo>
                      <a:pt x="1023" y="103"/>
                      <a:pt x="1024" y="103"/>
                      <a:pt x="1024" y="101"/>
                    </a:cubicBezTo>
                    <a:cubicBezTo>
                      <a:pt x="1025" y="100"/>
                      <a:pt x="1026" y="101"/>
                      <a:pt x="1026" y="101"/>
                    </a:cubicBezTo>
                    <a:cubicBezTo>
                      <a:pt x="1027" y="101"/>
                      <a:pt x="1027" y="101"/>
                      <a:pt x="1028" y="101"/>
                    </a:cubicBezTo>
                    <a:cubicBezTo>
                      <a:pt x="1027" y="102"/>
                      <a:pt x="1028" y="102"/>
                      <a:pt x="1028" y="102"/>
                    </a:cubicBezTo>
                    <a:cubicBezTo>
                      <a:pt x="1029" y="102"/>
                      <a:pt x="1030" y="102"/>
                      <a:pt x="1030" y="103"/>
                    </a:cubicBezTo>
                    <a:cubicBezTo>
                      <a:pt x="1031" y="103"/>
                      <a:pt x="1032" y="103"/>
                      <a:pt x="1033" y="104"/>
                    </a:cubicBezTo>
                    <a:cubicBezTo>
                      <a:pt x="1034" y="105"/>
                      <a:pt x="1036" y="106"/>
                      <a:pt x="1038" y="106"/>
                    </a:cubicBezTo>
                    <a:cubicBezTo>
                      <a:pt x="1039" y="106"/>
                      <a:pt x="1040" y="106"/>
                      <a:pt x="1041" y="106"/>
                    </a:cubicBezTo>
                    <a:cubicBezTo>
                      <a:pt x="1043" y="107"/>
                      <a:pt x="1044" y="107"/>
                      <a:pt x="1046" y="108"/>
                    </a:cubicBezTo>
                    <a:cubicBezTo>
                      <a:pt x="1047" y="108"/>
                      <a:pt x="1048" y="109"/>
                      <a:pt x="1049" y="110"/>
                    </a:cubicBezTo>
                    <a:cubicBezTo>
                      <a:pt x="1051" y="110"/>
                      <a:pt x="1053" y="110"/>
                      <a:pt x="1054" y="110"/>
                    </a:cubicBezTo>
                    <a:cubicBezTo>
                      <a:pt x="1055" y="110"/>
                      <a:pt x="1055" y="110"/>
                      <a:pt x="1056" y="110"/>
                    </a:cubicBezTo>
                    <a:cubicBezTo>
                      <a:pt x="1057" y="110"/>
                      <a:pt x="1057" y="110"/>
                      <a:pt x="1058" y="110"/>
                    </a:cubicBezTo>
                    <a:cubicBezTo>
                      <a:pt x="1058" y="110"/>
                      <a:pt x="1056" y="109"/>
                      <a:pt x="1056" y="109"/>
                    </a:cubicBezTo>
                    <a:cubicBezTo>
                      <a:pt x="1056" y="108"/>
                      <a:pt x="1058" y="109"/>
                      <a:pt x="1058" y="110"/>
                    </a:cubicBezTo>
                    <a:cubicBezTo>
                      <a:pt x="1058" y="109"/>
                      <a:pt x="1056" y="109"/>
                      <a:pt x="1057" y="108"/>
                    </a:cubicBezTo>
                    <a:cubicBezTo>
                      <a:pt x="1057" y="108"/>
                      <a:pt x="1057" y="107"/>
                      <a:pt x="1057" y="107"/>
                    </a:cubicBezTo>
                    <a:cubicBezTo>
                      <a:pt x="1058" y="107"/>
                      <a:pt x="1058" y="108"/>
                      <a:pt x="1058" y="108"/>
                    </a:cubicBezTo>
                    <a:cubicBezTo>
                      <a:pt x="1058" y="107"/>
                      <a:pt x="1057" y="107"/>
                      <a:pt x="1057" y="107"/>
                    </a:cubicBezTo>
                    <a:cubicBezTo>
                      <a:pt x="1056" y="107"/>
                      <a:pt x="1056" y="107"/>
                      <a:pt x="1055" y="106"/>
                    </a:cubicBezTo>
                    <a:cubicBezTo>
                      <a:pt x="1055" y="106"/>
                      <a:pt x="1054" y="106"/>
                      <a:pt x="1054" y="105"/>
                    </a:cubicBezTo>
                    <a:cubicBezTo>
                      <a:pt x="1053" y="105"/>
                      <a:pt x="1053" y="105"/>
                      <a:pt x="1052" y="105"/>
                    </a:cubicBezTo>
                    <a:cubicBezTo>
                      <a:pt x="1051" y="104"/>
                      <a:pt x="1049" y="103"/>
                      <a:pt x="1048" y="103"/>
                    </a:cubicBezTo>
                    <a:cubicBezTo>
                      <a:pt x="1047" y="102"/>
                      <a:pt x="1046" y="102"/>
                      <a:pt x="1045" y="102"/>
                    </a:cubicBezTo>
                    <a:cubicBezTo>
                      <a:pt x="1044" y="102"/>
                      <a:pt x="1043" y="102"/>
                      <a:pt x="1043" y="101"/>
                    </a:cubicBezTo>
                    <a:cubicBezTo>
                      <a:pt x="1043" y="101"/>
                      <a:pt x="1045" y="101"/>
                      <a:pt x="1044" y="101"/>
                    </a:cubicBezTo>
                    <a:cubicBezTo>
                      <a:pt x="1044" y="100"/>
                      <a:pt x="1043" y="100"/>
                      <a:pt x="1042" y="99"/>
                    </a:cubicBezTo>
                    <a:cubicBezTo>
                      <a:pt x="1041" y="99"/>
                      <a:pt x="1041" y="98"/>
                      <a:pt x="1040" y="98"/>
                    </a:cubicBezTo>
                    <a:cubicBezTo>
                      <a:pt x="1040" y="98"/>
                      <a:pt x="1039" y="98"/>
                      <a:pt x="1039" y="98"/>
                    </a:cubicBezTo>
                    <a:cubicBezTo>
                      <a:pt x="1040" y="97"/>
                      <a:pt x="1042" y="98"/>
                      <a:pt x="1043" y="98"/>
                    </a:cubicBezTo>
                    <a:cubicBezTo>
                      <a:pt x="1045" y="98"/>
                      <a:pt x="1046" y="98"/>
                      <a:pt x="1048" y="98"/>
                    </a:cubicBezTo>
                    <a:cubicBezTo>
                      <a:pt x="1050" y="99"/>
                      <a:pt x="1052" y="99"/>
                      <a:pt x="1054" y="99"/>
                    </a:cubicBezTo>
                    <a:cubicBezTo>
                      <a:pt x="1055" y="99"/>
                      <a:pt x="1056" y="99"/>
                      <a:pt x="1057" y="99"/>
                    </a:cubicBezTo>
                    <a:cubicBezTo>
                      <a:pt x="1057" y="99"/>
                      <a:pt x="1058" y="99"/>
                      <a:pt x="1058" y="99"/>
                    </a:cubicBezTo>
                    <a:cubicBezTo>
                      <a:pt x="1060" y="100"/>
                      <a:pt x="1061" y="100"/>
                      <a:pt x="1063" y="101"/>
                    </a:cubicBezTo>
                    <a:cubicBezTo>
                      <a:pt x="1063" y="101"/>
                      <a:pt x="1064" y="101"/>
                      <a:pt x="1064" y="100"/>
                    </a:cubicBezTo>
                    <a:cubicBezTo>
                      <a:pt x="1064" y="100"/>
                      <a:pt x="1061" y="100"/>
                      <a:pt x="1061" y="100"/>
                    </a:cubicBezTo>
                    <a:cubicBezTo>
                      <a:pt x="1060" y="100"/>
                      <a:pt x="1062" y="99"/>
                      <a:pt x="1062" y="99"/>
                    </a:cubicBezTo>
                    <a:cubicBezTo>
                      <a:pt x="1062" y="99"/>
                      <a:pt x="1063" y="99"/>
                      <a:pt x="1063" y="99"/>
                    </a:cubicBezTo>
                    <a:cubicBezTo>
                      <a:pt x="1064" y="99"/>
                      <a:pt x="1065" y="100"/>
                      <a:pt x="1066" y="100"/>
                    </a:cubicBezTo>
                    <a:cubicBezTo>
                      <a:pt x="1066" y="100"/>
                      <a:pt x="1066" y="100"/>
                      <a:pt x="1066" y="100"/>
                    </a:cubicBezTo>
                    <a:cubicBezTo>
                      <a:pt x="1066" y="100"/>
                      <a:pt x="1066" y="100"/>
                      <a:pt x="1067" y="100"/>
                    </a:cubicBezTo>
                    <a:cubicBezTo>
                      <a:pt x="1067" y="100"/>
                      <a:pt x="1067" y="100"/>
                      <a:pt x="1067" y="100"/>
                    </a:cubicBezTo>
                    <a:cubicBezTo>
                      <a:pt x="1068" y="100"/>
                      <a:pt x="1069" y="100"/>
                      <a:pt x="1070" y="100"/>
                    </a:cubicBezTo>
                    <a:cubicBezTo>
                      <a:pt x="1072" y="100"/>
                      <a:pt x="1074" y="100"/>
                      <a:pt x="1076" y="100"/>
                    </a:cubicBezTo>
                    <a:cubicBezTo>
                      <a:pt x="1076" y="100"/>
                      <a:pt x="1077" y="100"/>
                      <a:pt x="1078" y="100"/>
                    </a:cubicBezTo>
                    <a:cubicBezTo>
                      <a:pt x="1078" y="99"/>
                      <a:pt x="1079" y="100"/>
                      <a:pt x="1080" y="100"/>
                    </a:cubicBezTo>
                    <a:cubicBezTo>
                      <a:pt x="1080" y="100"/>
                      <a:pt x="1084" y="100"/>
                      <a:pt x="1084" y="101"/>
                    </a:cubicBezTo>
                    <a:cubicBezTo>
                      <a:pt x="1085" y="101"/>
                      <a:pt x="1086" y="101"/>
                      <a:pt x="1087" y="101"/>
                    </a:cubicBezTo>
                    <a:cubicBezTo>
                      <a:pt x="1088" y="101"/>
                      <a:pt x="1089" y="102"/>
                      <a:pt x="1090" y="102"/>
                    </a:cubicBezTo>
                    <a:cubicBezTo>
                      <a:pt x="1091" y="102"/>
                      <a:pt x="1093" y="102"/>
                      <a:pt x="1094" y="102"/>
                    </a:cubicBezTo>
                    <a:cubicBezTo>
                      <a:pt x="1095" y="102"/>
                      <a:pt x="1096" y="102"/>
                      <a:pt x="1097" y="103"/>
                    </a:cubicBezTo>
                    <a:cubicBezTo>
                      <a:pt x="1096" y="103"/>
                      <a:pt x="1098" y="103"/>
                      <a:pt x="1099" y="103"/>
                    </a:cubicBezTo>
                    <a:cubicBezTo>
                      <a:pt x="1099" y="103"/>
                      <a:pt x="1100" y="103"/>
                      <a:pt x="1100" y="103"/>
                    </a:cubicBezTo>
                    <a:cubicBezTo>
                      <a:pt x="1101" y="103"/>
                      <a:pt x="1103" y="104"/>
                      <a:pt x="1103" y="104"/>
                    </a:cubicBezTo>
                    <a:cubicBezTo>
                      <a:pt x="1103" y="104"/>
                      <a:pt x="1103" y="104"/>
                      <a:pt x="1103" y="104"/>
                    </a:cubicBezTo>
                    <a:cubicBezTo>
                      <a:pt x="1104" y="103"/>
                      <a:pt x="1105" y="104"/>
                      <a:pt x="1106" y="104"/>
                    </a:cubicBezTo>
                    <a:cubicBezTo>
                      <a:pt x="1108" y="104"/>
                      <a:pt x="1109" y="104"/>
                      <a:pt x="1110" y="105"/>
                    </a:cubicBezTo>
                    <a:cubicBezTo>
                      <a:pt x="1109" y="105"/>
                      <a:pt x="1108" y="105"/>
                      <a:pt x="1107" y="104"/>
                    </a:cubicBezTo>
                    <a:cubicBezTo>
                      <a:pt x="1108" y="105"/>
                      <a:pt x="1108" y="105"/>
                      <a:pt x="1110" y="105"/>
                    </a:cubicBezTo>
                    <a:cubicBezTo>
                      <a:pt x="1111" y="105"/>
                      <a:pt x="1113" y="105"/>
                      <a:pt x="1114" y="106"/>
                    </a:cubicBezTo>
                    <a:cubicBezTo>
                      <a:pt x="1115" y="106"/>
                      <a:pt x="1117" y="107"/>
                      <a:pt x="1118" y="107"/>
                    </a:cubicBezTo>
                    <a:cubicBezTo>
                      <a:pt x="1119" y="107"/>
                      <a:pt x="1120" y="108"/>
                      <a:pt x="1120" y="108"/>
                    </a:cubicBezTo>
                    <a:cubicBezTo>
                      <a:pt x="1121" y="108"/>
                      <a:pt x="1121" y="108"/>
                      <a:pt x="1122" y="108"/>
                    </a:cubicBezTo>
                    <a:cubicBezTo>
                      <a:pt x="1122" y="108"/>
                      <a:pt x="1122" y="108"/>
                      <a:pt x="1122" y="108"/>
                    </a:cubicBezTo>
                    <a:cubicBezTo>
                      <a:pt x="1123" y="108"/>
                      <a:pt x="1125" y="109"/>
                      <a:pt x="1126" y="109"/>
                    </a:cubicBezTo>
                    <a:cubicBezTo>
                      <a:pt x="1126" y="109"/>
                      <a:pt x="1125" y="108"/>
                      <a:pt x="1125" y="108"/>
                    </a:cubicBezTo>
                    <a:cubicBezTo>
                      <a:pt x="1126" y="108"/>
                      <a:pt x="1126" y="109"/>
                      <a:pt x="1127" y="109"/>
                    </a:cubicBezTo>
                    <a:cubicBezTo>
                      <a:pt x="1127" y="109"/>
                      <a:pt x="1128" y="109"/>
                      <a:pt x="1128" y="109"/>
                    </a:cubicBezTo>
                    <a:cubicBezTo>
                      <a:pt x="1128" y="110"/>
                      <a:pt x="1129" y="110"/>
                      <a:pt x="1130" y="110"/>
                    </a:cubicBezTo>
                    <a:cubicBezTo>
                      <a:pt x="1130" y="110"/>
                      <a:pt x="1131" y="110"/>
                      <a:pt x="1132" y="110"/>
                    </a:cubicBezTo>
                    <a:cubicBezTo>
                      <a:pt x="1134" y="110"/>
                      <a:pt x="1136" y="111"/>
                      <a:pt x="1137" y="112"/>
                    </a:cubicBezTo>
                    <a:cubicBezTo>
                      <a:pt x="1137" y="112"/>
                      <a:pt x="1136" y="111"/>
                      <a:pt x="1135" y="111"/>
                    </a:cubicBezTo>
                    <a:cubicBezTo>
                      <a:pt x="1136" y="112"/>
                      <a:pt x="1137" y="112"/>
                      <a:pt x="1138" y="112"/>
                    </a:cubicBezTo>
                    <a:cubicBezTo>
                      <a:pt x="1140" y="113"/>
                      <a:pt x="1141" y="113"/>
                      <a:pt x="1143" y="113"/>
                    </a:cubicBezTo>
                    <a:cubicBezTo>
                      <a:pt x="1143" y="113"/>
                      <a:pt x="1145" y="114"/>
                      <a:pt x="1145" y="114"/>
                    </a:cubicBezTo>
                    <a:cubicBezTo>
                      <a:pt x="1145" y="115"/>
                      <a:pt x="1146" y="114"/>
                      <a:pt x="1147" y="114"/>
                    </a:cubicBezTo>
                    <a:cubicBezTo>
                      <a:pt x="1147" y="114"/>
                      <a:pt x="1146" y="114"/>
                      <a:pt x="1146" y="114"/>
                    </a:cubicBezTo>
                    <a:cubicBezTo>
                      <a:pt x="1147" y="114"/>
                      <a:pt x="1148" y="114"/>
                      <a:pt x="1149" y="115"/>
                    </a:cubicBezTo>
                    <a:cubicBezTo>
                      <a:pt x="1148" y="115"/>
                      <a:pt x="1148" y="114"/>
                      <a:pt x="1148" y="115"/>
                    </a:cubicBezTo>
                    <a:cubicBezTo>
                      <a:pt x="1148" y="115"/>
                      <a:pt x="1149" y="116"/>
                      <a:pt x="1150" y="115"/>
                    </a:cubicBezTo>
                    <a:cubicBezTo>
                      <a:pt x="1150" y="114"/>
                      <a:pt x="1152" y="115"/>
                      <a:pt x="1152" y="115"/>
                    </a:cubicBezTo>
                    <a:cubicBezTo>
                      <a:pt x="1152" y="115"/>
                      <a:pt x="1152" y="115"/>
                      <a:pt x="1152" y="115"/>
                    </a:cubicBezTo>
                    <a:cubicBezTo>
                      <a:pt x="1152" y="116"/>
                      <a:pt x="1153" y="116"/>
                      <a:pt x="1153" y="116"/>
                    </a:cubicBezTo>
                    <a:cubicBezTo>
                      <a:pt x="1153" y="116"/>
                      <a:pt x="1154" y="116"/>
                      <a:pt x="1154" y="116"/>
                    </a:cubicBezTo>
                    <a:cubicBezTo>
                      <a:pt x="1155" y="116"/>
                      <a:pt x="1157" y="116"/>
                      <a:pt x="1159" y="117"/>
                    </a:cubicBezTo>
                    <a:cubicBezTo>
                      <a:pt x="1161" y="117"/>
                      <a:pt x="1162" y="117"/>
                      <a:pt x="1164" y="118"/>
                    </a:cubicBezTo>
                    <a:cubicBezTo>
                      <a:pt x="1166" y="118"/>
                      <a:pt x="1168" y="119"/>
                      <a:pt x="1170" y="119"/>
                    </a:cubicBezTo>
                    <a:cubicBezTo>
                      <a:pt x="1170" y="120"/>
                      <a:pt x="1171" y="120"/>
                      <a:pt x="1172" y="120"/>
                    </a:cubicBezTo>
                    <a:cubicBezTo>
                      <a:pt x="1172" y="120"/>
                      <a:pt x="1173" y="120"/>
                      <a:pt x="1173" y="121"/>
                    </a:cubicBezTo>
                    <a:cubicBezTo>
                      <a:pt x="1174" y="121"/>
                      <a:pt x="1174" y="121"/>
                      <a:pt x="1175" y="121"/>
                    </a:cubicBezTo>
                    <a:cubicBezTo>
                      <a:pt x="1176" y="122"/>
                      <a:pt x="1176" y="122"/>
                      <a:pt x="1177" y="122"/>
                    </a:cubicBezTo>
                    <a:cubicBezTo>
                      <a:pt x="1176" y="122"/>
                      <a:pt x="1176" y="122"/>
                      <a:pt x="1176" y="122"/>
                    </a:cubicBezTo>
                    <a:cubicBezTo>
                      <a:pt x="1176" y="122"/>
                      <a:pt x="1176" y="122"/>
                      <a:pt x="1177" y="123"/>
                    </a:cubicBezTo>
                    <a:cubicBezTo>
                      <a:pt x="1177" y="123"/>
                      <a:pt x="1177" y="123"/>
                      <a:pt x="1178" y="123"/>
                    </a:cubicBezTo>
                    <a:cubicBezTo>
                      <a:pt x="1179" y="123"/>
                      <a:pt x="1179" y="123"/>
                      <a:pt x="1178" y="122"/>
                    </a:cubicBezTo>
                    <a:cubicBezTo>
                      <a:pt x="1178" y="122"/>
                      <a:pt x="1179" y="123"/>
                      <a:pt x="1180" y="123"/>
                    </a:cubicBezTo>
                    <a:cubicBezTo>
                      <a:pt x="1181" y="123"/>
                      <a:pt x="1182" y="123"/>
                      <a:pt x="1182" y="124"/>
                    </a:cubicBezTo>
                    <a:cubicBezTo>
                      <a:pt x="1182" y="124"/>
                      <a:pt x="1182" y="124"/>
                      <a:pt x="1181" y="124"/>
                    </a:cubicBezTo>
                    <a:cubicBezTo>
                      <a:pt x="1181" y="124"/>
                      <a:pt x="1184" y="126"/>
                      <a:pt x="1184" y="126"/>
                    </a:cubicBezTo>
                    <a:cubicBezTo>
                      <a:pt x="1185" y="127"/>
                      <a:pt x="1186" y="127"/>
                      <a:pt x="1188" y="127"/>
                    </a:cubicBezTo>
                    <a:cubicBezTo>
                      <a:pt x="1187" y="127"/>
                      <a:pt x="1190" y="129"/>
                      <a:pt x="1190" y="129"/>
                    </a:cubicBezTo>
                    <a:cubicBezTo>
                      <a:pt x="1190" y="129"/>
                      <a:pt x="1190" y="129"/>
                      <a:pt x="1189" y="129"/>
                    </a:cubicBezTo>
                    <a:cubicBezTo>
                      <a:pt x="1190" y="129"/>
                      <a:pt x="1189" y="130"/>
                      <a:pt x="1189" y="130"/>
                    </a:cubicBezTo>
                    <a:cubicBezTo>
                      <a:pt x="1192" y="131"/>
                      <a:pt x="1194" y="130"/>
                      <a:pt x="1196" y="132"/>
                    </a:cubicBezTo>
                    <a:cubicBezTo>
                      <a:pt x="1196" y="132"/>
                      <a:pt x="1196" y="132"/>
                      <a:pt x="1196" y="132"/>
                    </a:cubicBezTo>
                    <a:cubicBezTo>
                      <a:pt x="1196" y="132"/>
                      <a:pt x="1197" y="132"/>
                      <a:pt x="1198" y="133"/>
                    </a:cubicBezTo>
                    <a:cubicBezTo>
                      <a:pt x="1198" y="133"/>
                      <a:pt x="1199" y="134"/>
                      <a:pt x="1199" y="133"/>
                    </a:cubicBezTo>
                    <a:cubicBezTo>
                      <a:pt x="1199" y="133"/>
                      <a:pt x="1197" y="132"/>
                      <a:pt x="1198" y="132"/>
                    </a:cubicBezTo>
                    <a:cubicBezTo>
                      <a:pt x="1199" y="132"/>
                      <a:pt x="1198" y="132"/>
                      <a:pt x="1197" y="132"/>
                    </a:cubicBezTo>
                    <a:cubicBezTo>
                      <a:pt x="1198" y="132"/>
                      <a:pt x="1199" y="131"/>
                      <a:pt x="1200" y="132"/>
                    </a:cubicBezTo>
                    <a:cubicBezTo>
                      <a:pt x="1200" y="132"/>
                      <a:pt x="1201" y="133"/>
                      <a:pt x="1201" y="133"/>
                    </a:cubicBezTo>
                    <a:cubicBezTo>
                      <a:pt x="1200" y="133"/>
                      <a:pt x="1202" y="134"/>
                      <a:pt x="1203" y="134"/>
                    </a:cubicBezTo>
                    <a:cubicBezTo>
                      <a:pt x="1202" y="134"/>
                      <a:pt x="1202" y="134"/>
                      <a:pt x="1202" y="133"/>
                    </a:cubicBezTo>
                    <a:cubicBezTo>
                      <a:pt x="1202" y="133"/>
                      <a:pt x="1202" y="133"/>
                      <a:pt x="1202" y="133"/>
                    </a:cubicBezTo>
                    <a:cubicBezTo>
                      <a:pt x="1202" y="133"/>
                      <a:pt x="1202" y="133"/>
                      <a:pt x="1202" y="133"/>
                    </a:cubicBezTo>
                    <a:cubicBezTo>
                      <a:pt x="1202" y="132"/>
                      <a:pt x="1201" y="132"/>
                      <a:pt x="1200" y="132"/>
                    </a:cubicBezTo>
                    <a:cubicBezTo>
                      <a:pt x="1200" y="131"/>
                      <a:pt x="1199" y="131"/>
                      <a:pt x="1198" y="131"/>
                    </a:cubicBezTo>
                    <a:cubicBezTo>
                      <a:pt x="1197" y="131"/>
                      <a:pt x="1196" y="131"/>
                      <a:pt x="1196" y="131"/>
                    </a:cubicBezTo>
                    <a:cubicBezTo>
                      <a:pt x="1195" y="130"/>
                      <a:pt x="1196" y="130"/>
                      <a:pt x="1197" y="130"/>
                    </a:cubicBezTo>
                    <a:cubicBezTo>
                      <a:pt x="1195" y="129"/>
                      <a:pt x="1193" y="127"/>
                      <a:pt x="1191" y="127"/>
                    </a:cubicBezTo>
                    <a:cubicBezTo>
                      <a:pt x="1191" y="127"/>
                      <a:pt x="1190" y="127"/>
                      <a:pt x="1190" y="127"/>
                    </a:cubicBezTo>
                    <a:cubicBezTo>
                      <a:pt x="1190" y="127"/>
                      <a:pt x="1190" y="126"/>
                      <a:pt x="1190" y="126"/>
                    </a:cubicBezTo>
                    <a:cubicBezTo>
                      <a:pt x="1189" y="126"/>
                      <a:pt x="1188" y="127"/>
                      <a:pt x="1187" y="126"/>
                    </a:cubicBezTo>
                    <a:cubicBezTo>
                      <a:pt x="1187" y="126"/>
                      <a:pt x="1188" y="126"/>
                      <a:pt x="1188" y="126"/>
                    </a:cubicBezTo>
                    <a:cubicBezTo>
                      <a:pt x="1188" y="126"/>
                      <a:pt x="1186" y="126"/>
                      <a:pt x="1186" y="126"/>
                    </a:cubicBezTo>
                    <a:cubicBezTo>
                      <a:pt x="1186" y="125"/>
                      <a:pt x="1190" y="126"/>
                      <a:pt x="1191" y="126"/>
                    </a:cubicBezTo>
                    <a:cubicBezTo>
                      <a:pt x="1191" y="126"/>
                      <a:pt x="1193" y="126"/>
                      <a:pt x="1192" y="125"/>
                    </a:cubicBezTo>
                    <a:cubicBezTo>
                      <a:pt x="1193" y="125"/>
                      <a:pt x="1194" y="126"/>
                      <a:pt x="1194" y="126"/>
                    </a:cubicBezTo>
                    <a:cubicBezTo>
                      <a:pt x="1194" y="126"/>
                      <a:pt x="1195" y="126"/>
                      <a:pt x="1195" y="126"/>
                    </a:cubicBezTo>
                    <a:cubicBezTo>
                      <a:pt x="1195" y="126"/>
                      <a:pt x="1195" y="126"/>
                      <a:pt x="1195" y="126"/>
                    </a:cubicBezTo>
                    <a:cubicBezTo>
                      <a:pt x="1196" y="126"/>
                      <a:pt x="1197" y="126"/>
                      <a:pt x="1197" y="126"/>
                    </a:cubicBezTo>
                    <a:cubicBezTo>
                      <a:pt x="1197" y="126"/>
                      <a:pt x="1197" y="126"/>
                      <a:pt x="1196" y="126"/>
                    </a:cubicBezTo>
                    <a:cubicBezTo>
                      <a:pt x="1196" y="126"/>
                      <a:pt x="1198" y="127"/>
                      <a:pt x="1198" y="127"/>
                    </a:cubicBezTo>
                    <a:cubicBezTo>
                      <a:pt x="1197" y="127"/>
                      <a:pt x="1197" y="126"/>
                      <a:pt x="1197" y="127"/>
                    </a:cubicBezTo>
                    <a:cubicBezTo>
                      <a:pt x="1197" y="127"/>
                      <a:pt x="1198" y="127"/>
                      <a:pt x="1198" y="128"/>
                    </a:cubicBezTo>
                    <a:cubicBezTo>
                      <a:pt x="1198" y="128"/>
                      <a:pt x="1200" y="129"/>
                      <a:pt x="1200" y="128"/>
                    </a:cubicBezTo>
                    <a:cubicBezTo>
                      <a:pt x="1200" y="128"/>
                      <a:pt x="1198" y="127"/>
                      <a:pt x="1198" y="127"/>
                    </a:cubicBezTo>
                    <a:cubicBezTo>
                      <a:pt x="1198" y="126"/>
                      <a:pt x="1200" y="127"/>
                      <a:pt x="1201" y="127"/>
                    </a:cubicBezTo>
                    <a:cubicBezTo>
                      <a:pt x="1202" y="128"/>
                      <a:pt x="1202" y="127"/>
                      <a:pt x="1203" y="127"/>
                    </a:cubicBezTo>
                    <a:cubicBezTo>
                      <a:pt x="1203" y="127"/>
                      <a:pt x="1204" y="127"/>
                      <a:pt x="1204" y="127"/>
                    </a:cubicBezTo>
                    <a:cubicBezTo>
                      <a:pt x="1203" y="127"/>
                      <a:pt x="1202" y="127"/>
                      <a:pt x="1201" y="127"/>
                    </a:cubicBezTo>
                    <a:cubicBezTo>
                      <a:pt x="1200" y="127"/>
                      <a:pt x="1198" y="127"/>
                      <a:pt x="1198" y="126"/>
                    </a:cubicBezTo>
                    <a:cubicBezTo>
                      <a:pt x="1199" y="126"/>
                      <a:pt x="1200" y="126"/>
                      <a:pt x="1200" y="126"/>
                    </a:cubicBezTo>
                    <a:cubicBezTo>
                      <a:pt x="1201" y="126"/>
                      <a:pt x="1202" y="126"/>
                      <a:pt x="1203" y="127"/>
                    </a:cubicBezTo>
                    <a:cubicBezTo>
                      <a:pt x="1202" y="127"/>
                      <a:pt x="1201" y="126"/>
                      <a:pt x="1201" y="126"/>
                    </a:cubicBezTo>
                    <a:cubicBezTo>
                      <a:pt x="1202" y="127"/>
                      <a:pt x="1204" y="127"/>
                      <a:pt x="1205" y="127"/>
                    </a:cubicBezTo>
                    <a:cubicBezTo>
                      <a:pt x="1205" y="127"/>
                      <a:pt x="1206" y="127"/>
                      <a:pt x="1207" y="127"/>
                    </a:cubicBezTo>
                    <a:cubicBezTo>
                      <a:pt x="1207" y="127"/>
                      <a:pt x="1208" y="127"/>
                      <a:pt x="1208" y="127"/>
                    </a:cubicBezTo>
                    <a:cubicBezTo>
                      <a:pt x="1209" y="127"/>
                      <a:pt x="1210" y="128"/>
                      <a:pt x="1211" y="128"/>
                    </a:cubicBezTo>
                    <a:cubicBezTo>
                      <a:pt x="1212" y="128"/>
                      <a:pt x="1212" y="129"/>
                      <a:pt x="1213" y="129"/>
                    </a:cubicBezTo>
                    <a:cubicBezTo>
                      <a:pt x="1214" y="129"/>
                      <a:pt x="1215" y="130"/>
                      <a:pt x="1216" y="130"/>
                    </a:cubicBezTo>
                    <a:cubicBezTo>
                      <a:pt x="1217" y="131"/>
                      <a:pt x="1219" y="131"/>
                      <a:pt x="1220" y="131"/>
                    </a:cubicBezTo>
                    <a:cubicBezTo>
                      <a:pt x="1221" y="131"/>
                      <a:pt x="1222" y="132"/>
                      <a:pt x="1224" y="132"/>
                    </a:cubicBezTo>
                    <a:cubicBezTo>
                      <a:pt x="1225" y="133"/>
                      <a:pt x="1226" y="133"/>
                      <a:pt x="1227" y="133"/>
                    </a:cubicBezTo>
                    <a:cubicBezTo>
                      <a:pt x="1227" y="133"/>
                      <a:pt x="1227" y="133"/>
                      <a:pt x="1227" y="133"/>
                    </a:cubicBezTo>
                    <a:cubicBezTo>
                      <a:pt x="1227" y="134"/>
                      <a:pt x="1227" y="134"/>
                      <a:pt x="1227" y="134"/>
                    </a:cubicBezTo>
                    <a:cubicBezTo>
                      <a:pt x="1228" y="134"/>
                      <a:pt x="1227" y="133"/>
                      <a:pt x="1228" y="133"/>
                    </a:cubicBezTo>
                    <a:cubicBezTo>
                      <a:pt x="1228" y="133"/>
                      <a:pt x="1231" y="134"/>
                      <a:pt x="1231" y="134"/>
                    </a:cubicBezTo>
                    <a:cubicBezTo>
                      <a:pt x="1231" y="134"/>
                      <a:pt x="1230" y="134"/>
                      <a:pt x="1230" y="134"/>
                    </a:cubicBezTo>
                    <a:cubicBezTo>
                      <a:pt x="1230" y="135"/>
                      <a:pt x="1231" y="135"/>
                      <a:pt x="1231" y="135"/>
                    </a:cubicBezTo>
                    <a:cubicBezTo>
                      <a:pt x="1232" y="134"/>
                      <a:pt x="1232" y="135"/>
                      <a:pt x="1233" y="135"/>
                    </a:cubicBezTo>
                    <a:cubicBezTo>
                      <a:pt x="1233" y="135"/>
                      <a:pt x="1233" y="135"/>
                      <a:pt x="1233" y="135"/>
                    </a:cubicBezTo>
                    <a:cubicBezTo>
                      <a:pt x="1233" y="134"/>
                      <a:pt x="1234" y="135"/>
                      <a:pt x="1234" y="135"/>
                    </a:cubicBezTo>
                    <a:cubicBezTo>
                      <a:pt x="1235" y="136"/>
                      <a:pt x="1234" y="136"/>
                      <a:pt x="1233" y="136"/>
                    </a:cubicBezTo>
                    <a:cubicBezTo>
                      <a:pt x="1233" y="137"/>
                      <a:pt x="1232" y="138"/>
                      <a:pt x="1233" y="138"/>
                    </a:cubicBezTo>
                    <a:cubicBezTo>
                      <a:pt x="1233" y="138"/>
                      <a:pt x="1233" y="138"/>
                      <a:pt x="1234" y="138"/>
                    </a:cubicBezTo>
                    <a:cubicBezTo>
                      <a:pt x="1234" y="138"/>
                      <a:pt x="1234" y="139"/>
                      <a:pt x="1235" y="139"/>
                    </a:cubicBezTo>
                    <a:cubicBezTo>
                      <a:pt x="1235" y="139"/>
                      <a:pt x="1236" y="140"/>
                      <a:pt x="1235" y="140"/>
                    </a:cubicBezTo>
                    <a:cubicBezTo>
                      <a:pt x="1234" y="140"/>
                      <a:pt x="1233" y="140"/>
                      <a:pt x="1232" y="139"/>
                    </a:cubicBezTo>
                    <a:cubicBezTo>
                      <a:pt x="1230" y="139"/>
                      <a:pt x="1228" y="138"/>
                      <a:pt x="1226" y="138"/>
                    </a:cubicBezTo>
                    <a:cubicBezTo>
                      <a:pt x="1227" y="138"/>
                      <a:pt x="1228" y="139"/>
                      <a:pt x="1229" y="139"/>
                    </a:cubicBezTo>
                    <a:cubicBezTo>
                      <a:pt x="1229" y="139"/>
                      <a:pt x="1230" y="139"/>
                      <a:pt x="1230" y="139"/>
                    </a:cubicBezTo>
                    <a:cubicBezTo>
                      <a:pt x="1231" y="139"/>
                      <a:pt x="1231" y="140"/>
                      <a:pt x="1232" y="140"/>
                    </a:cubicBezTo>
                    <a:cubicBezTo>
                      <a:pt x="1233" y="140"/>
                      <a:pt x="1234" y="140"/>
                      <a:pt x="1234" y="141"/>
                    </a:cubicBezTo>
                    <a:cubicBezTo>
                      <a:pt x="1233" y="141"/>
                      <a:pt x="1232" y="141"/>
                      <a:pt x="1231" y="141"/>
                    </a:cubicBezTo>
                    <a:cubicBezTo>
                      <a:pt x="1230" y="141"/>
                      <a:pt x="1228" y="141"/>
                      <a:pt x="1227" y="141"/>
                    </a:cubicBezTo>
                    <a:cubicBezTo>
                      <a:pt x="1228" y="141"/>
                      <a:pt x="1228" y="141"/>
                      <a:pt x="1228" y="141"/>
                    </a:cubicBezTo>
                    <a:cubicBezTo>
                      <a:pt x="1228" y="140"/>
                      <a:pt x="1227" y="141"/>
                      <a:pt x="1226" y="141"/>
                    </a:cubicBezTo>
                    <a:cubicBezTo>
                      <a:pt x="1225" y="140"/>
                      <a:pt x="1225" y="141"/>
                      <a:pt x="1224" y="140"/>
                    </a:cubicBezTo>
                    <a:cubicBezTo>
                      <a:pt x="1223" y="140"/>
                      <a:pt x="1222" y="139"/>
                      <a:pt x="1221" y="139"/>
                    </a:cubicBezTo>
                    <a:cubicBezTo>
                      <a:pt x="1220" y="139"/>
                      <a:pt x="1219" y="139"/>
                      <a:pt x="1219" y="139"/>
                    </a:cubicBezTo>
                    <a:cubicBezTo>
                      <a:pt x="1219" y="139"/>
                      <a:pt x="1220" y="139"/>
                      <a:pt x="1220" y="140"/>
                    </a:cubicBezTo>
                    <a:cubicBezTo>
                      <a:pt x="1221" y="140"/>
                      <a:pt x="1221" y="140"/>
                      <a:pt x="1222" y="140"/>
                    </a:cubicBezTo>
                    <a:cubicBezTo>
                      <a:pt x="1223" y="140"/>
                      <a:pt x="1223" y="140"/>
                      <a:pt x="1223" y="141"/>
                    </a:cubicBezTo>
                    <a:cubicBezTo>
                      <a:pt x="1224" y="141"/>
                      <a:pt x="1225" y="141"/>
                      <a:pt x="1225" y="141"/>
                    </a:cubicBezTo>
                    <a:cubicBezTo>
                      <a:pt x="1225" y="141"/>
                      <a:pt x="1225" y="141"/>
                      <a:pt x="1224" y="141"/>
                    </a:cubicBezTo>
                    <a:cubicBezTo>
                      <a:pt x="1225" y="141"/>
                      <a:pt x="1225" y="142"/>
                      <a:pt x="1226" y="142"/>
                    </a:cubicBezTo>
                    <a:cubicBezTo>
                      <a:pt x="1226" y="142"/>
                      <a:pt x="1226" y="141"/>
                      <a:pt x="1226" y="141"/>
                    </a:cubicBezTo>
                    <a:cubicBezTo>
                      <a:pt x="1226" y="141"/>
                      <a:pt x="1229" y="143"/>
                      <a:pt x="1229" y="144"/>
                    </a:cubicBezTo>
                    <a:cubicBezTo>
                      <a:pt x="1228" y="143"/>
                      <a:pt x="1228" y="143"/>
                      <a:pt x="1227" y="143"/>
                    </a:cubicBezTo>
                    <a:cubicBezTo>
                      <a:pt x="1226" y="144"/>
                      <a:pt x="1226" y="143"/>
                      <a:pt x="1226" y="143"/>
                    </a:cubicBezTo>
                    <a:cubicBezTo>
                      <a:pt x="1226" y="144"/>
                      <a:pt x="1228" y="144"/>
                      <a:pt x="1228" y="144"/>
                    </a:cubicBezTo>
                    <a:cubicBezTo>
                      <a:pt x="1229" y="144"/>
                      <a:pt x="1229" y="144"/>
                      <a:pt x="1230" y="144"/>
                    </a:cubicBezTo>
                    <a:cubicBezTo>
                      <a:pt x="1230" y="144"/>
                      <a:pt x="1231" y="145"/>
                      <a:pt x="1231" y="145"/>
                    </a:cubicBezTo>
                    <a:cubicBezTo>
                      <a:pt x="1231" y="145"/>
                      <a:pt x="1232" y="145"/>
                      <a:pt x="1232" y="146"/>
                    </a:cubicBezTo>
                    <a:cubicBezTo>
                      <a:pt x="1232" y="147"/>
                      <a:pt x="1231" y="147"/>
                      <a:pt x="1231" y="147"/>
                    </a:cubicBezTo>
                    <a:cubicBezTo>
                      <a:pt x="1230" y="147"/>
                      <a:pt x="1231" y="147"/>
                      <a:pt x="1230" y="147"/>
                    </a:cubicBezTo>
                    <a:cubicBezTo>
                      <a:pt x="1230" y="147"/>
                      <a:pt x="1229" y="147"/>
                      <a:pt x="1229" y="147"/>
                    </a:cubicBezTo>
                    <a:cubicBezTo>
                      <a:pt x="1228" y="147"/>
                      <a:pt x="1229" y="148"/>
                      <a:pt x="1228" y="148"/>
                    </a:cubicBezTo>
                    <a:cubicBezTo>
                      <a:pt x="1229" y="148"/>
                      <a:pt x="1229" y="148"/>
                      <a:pt x="1229" y="147"/>
                    </a:cubicBezTo>
                    <a:cubicBezTo>
                      <a:pt x="1229" y="147"/>
                      <a:pt x="1230" y="147"/>
                      <a:pt x="1230" y="148"/>
                    </a:cubicBezTo>
                    <a:cubicBezTo>
                      <a:pt x="1231" y="148"/>
                      <a:pt x="1231" y="148"/>
                      <a:pt x="1232" y="148"/>
                    </a:cubicBezTo>
                    <a:cubicBezTo>
                      <a:pt x="1232" y="148"/>
                      <a:pt x="1231" y="148"/>
                      <a:pt x="1232" y="149"/>
                    </a:cubicBezTo>
                    <a:cubicBezTo>
                      <a:pt x="1232" y="149"/>
                      <a:pt x="1231" y="149"/>
                      <a:pt x="1231" y="149"/>
                    </a:cubicBezTo>
                    <a:cubicBezTo>
                      <a:pt x="1231" y="149"/>
                      <a:pt x="1232" y="149"/>
                      <a:pt x="1232" y="149"/>
                    </a:cubicBezTo>
                    <a:cubicBezTo>
                      <a:pt x="1232" y="149"/>
                      <a:pt x="1233" y="150"/>
                      <a:pt x="1232" y="150"/>
                    </a:cubicBezTo>
                    <a:cubicBezTo>
                      <a:pt x="1233" y="150"/>
                      <a:pt x="1233" y="149"/>
                      <a:pt x="1234" y="149"/>
                    </a:cubicBezTo>
                    <a:cubicBezTo>
                      <a:pt x="1234" y="150"/>
                      <a:pt x="1235" y="150"/>
                      <a:pt x="1236" y="150"/>
                    </a:cubicBezTo>
                    <a:cubicBezTo>
                      <a:pt x="1237" y="150"/>
                      <a:pt x="1239" y="151"/>
                      <a:pt x="1240" y="151"/>
                    </a:cubicBezTo>
                    <a:cubicBezTo>
                      <a:pt x="1239" y="151"/>
                      <a:pt x="1238" y="152"/>
                      <a:pt x="1237" y="152"/>
                    </a:cubicBezTo>
                    <a:cubicBezTo>
                      <a:pt x="1237" y="152"/>
                      <a:pt x="1236" y="151"/>
                      <a:pt x="1235" y="151"/>
                    </a:cubicBezTo>
                    <a:cubicBezTo>
                      <a:pt x="1235" y="151"/>
                      <a:pt x="1234" y="150"/>
                      <a:pt x="1234" y="151"/>
                    </a:cubicBezTo>
                    <a:close/>
                    <a:moveTo>
                      <a:pt x="98" y="189"/>
                    </a:moveTo>
                    <a:cubicBezTo>
                      <a:pt x="98" y="188"/>
                      <a:pt x="97" y="188"/>
                      <a:pt x="97" y="188"/>
                    </a:cubicBezTo>
                    <a:cubicBezTo>
                      <a:pt x="97" y="187"/>
                      <a:pt x="97" y="187"/>
                      <a:pt x="97" y="187"/>
                    </a:cubicBezTo>
                    <a:cubicBezTo>
                      <a:pt x="97" y="186"/>
                      <a:pt x="96" y="186"/>
                      <a:pt x="96" y="186"/>
                    </a:cubicBezTo>
                    <a:cubicBezTo>
                      <a:pt x="95" y="186"/>
                      <a:pt x="95" y="185"/>
                      <a:pt x="95" y="185"/>
                    </a:cubicBezTo>
                    <a:cubicBezTo>
                      <a:pt x="94" y="183"/>
                      <a:pt x="91" y="183"/>
                      <a:pt x="90" y="182"/>
                    </a:cubicBezTo>
                    <a:cubicBezTo>
                      <a:pt x="89" y="182"/>
                      <a:pt x="89" y="182"/>
                      <a:pt x="88" y="181"/>
                    </a:cubicBezTo>
                    <a:cubicBezTo>
                      <a:pt x="88" y="181"/>
                      <a:pt x="87" y="180"/>
                      <a:pt x="87" y="180"/>
                    </a:cubicBezTo>
                    <a:cubicBezTo>
                      <a:pt x="86" y="181"/>
                      <a:pt x="87" y="181"/>
                      <a:pt x="87" y="181"/>
                    </a:cubicBezTo>
                    <a:cubicBezTo>
                      <a:pt x="87" y="181"/>
                      <a:pt x="86" y="181"/>
                      <a:pt x="86" y="180"/>
                    </a:cubicBezTo>
                    <a:cubicBezTo>
                      <a:pt x="86" y="180"/>
                      <a:pt x="85" y="179"/>
                      <a:pt x="85" y="179"/>
                    </a:cubicBezTo>
                    <a:cubicBezTo>
                      <a:pt x="84" y="179"/>
                      <a:pt x="84" y="179"/>
                      <a:pt x="84" y="179"/>
                    </a:cubicBezTo>
                    <a:cubicBezTo>
                      <a:pt x="84" y="179"/>
                      <a:pt x="84" y="179"/>
                      <a:pt x="84" y="179"/>
                    </a:cubicBezTo>
                    <a:cubicBezTo>
                      <a:pt x="83" y="179"/>
                      <a:pt x="82" y="179"/>
                      <a:pt x="82" y="179"/>
                    </a:cubicBezTo>
                    <a:cubicBezTo>
                      <a:pt x="82" y="178"/>
                      <a:pt x="81" y="178"/>
                      <a:pt x="81" y="178"/>
                    </a:cubicBezTo>
                    <a:cubicBezTo>
                      <a:pt x="81" y="177"/>
                      <a:pt x="80" y="178"/>
                      <a:pt x="80" y="178"/>
                    </a:cubicBezTo>
                    <a:cubicBezTo>
                      <a:pt x="79" y="178"/>
                      <a:pt x="79" y="178"/>
                      <a:pt x="79" y="179"/>
                    </a:cubicBezTo>
                    <a:cubicBezTo>
                      <a:pt x="78" y="179"/>
                      <a:pt x="79" y="179"/>
                      <a:pt x="79" y="180"/>
                    </a:cubicBezTo>
                    <a:cubicBezTo>
                      <a:pt x="79" y="180"/>
                      <a:pt x="78" y="180"/>
                      <a:pt x="78" y="180"/>
                    </a:cubicBezTo>
                    <a:cubicBezTo>
                      <a:pt x="79" y="181"/>
                      <a:pt x="76" y="180"/>
                      <a:pt x="76" y="180"/>
                    </a:cubicBezTo>
                    <a:cubicBezTo>
                      <a:pt x="76" y="181"/>
                      <a:pt x="77" y="181"/>
                      <a:pt x="77" y="181"/>
                    </a:cubicBezTo>
                    <a:cubicBezTo>
                      <a:pt x="77" y="181"/>
                      <a:pt x="76" y="181"/>
                      <a:pt x="76" y="181"/>
                    </a:cubicBezTo>
                    <a:cubicBezTo>
                      <a:pt x="76" y="181"/>
                      <a:pt x="76" y="182"/>
                      <a:pt x="76" y="182"/>
                    </a:cubicBezTo>
                    <a:cubicBezTo>
                      <a:pt x="76" y="182"/>
                      <a:pt x="77" y="182"/>
                      <a:pt x="76" y="182"/>
                    </a:cubicBezTo>
                    <a:cubicBezTo>
                      <a:pt x="76" y="182"/>
                      <a:pt x="76" y="182"/>
                      <a:pt x="77" y="182"/>
                    </a:cubicBezTo>
                    <a:cubicBezTo>
                      <a:pt x="76" y="182"/>
                      <a:pt x="75" y="182"/>
                      <a:pt x="75" y="183"/>
                    </a:cubicBezTo>
                    <a:cubicBezTo>
                      <a:pt x="75" y="183"/>
                      <a:pt x="74" y="182"/>
                      <a:pt x="74" y="182"/>
                    </a:cubicBezTo>
                    <a:cubicBezTo>
                      <a:pt x="74" y="183"/>
                      <a:pt x="75" y="183"/>
                      <a:pt x="75" y="184"/>
                    </a:cubicBezTo>
                    <a:cubicBezTo>
                      <a:pt x="75" y="184"/>
                      <a:pt x="73" y="183"/>
                      <a:pt x="73" y="183"/>
                    </a:cubicBezTo>
                    <a:cubicBezTo>
                      <a:pt x="75" y="184"/>
                      <a:pt x="77" y="185"/>
                      <a:pt x="79" y="187"/>
                    </a:cubicBezTo>
                    <a:cubicBezTo>
                      <a:pt x="80" y="187"/>
                      <a:pt x="79" y="188"/>
                      <a:pt x="79" y="188"/>
                    </a:cubicBezTo>
                    <a:cubicBezTo>
                      <a:pt x="79" y="189"/>
                      <a:pt x="80" y="189"/>
                      <a:pt x="81" y="189"/>
                    </a:cubicBezTo>
                    <a:cubicBezTo>
                      <a:pt x="81" y="189"/>
                      <a:pt x="81" y="190"/>
                      <a:pt x="82" y="190"/>
                    </a:cubicBezTo>
                    <a:cubicBezTo>
                      <a:pt x="82" y="190"/>
                      <a:pt x="82" y="191"/>
                      <a:pt x="82" y="191"/>
                    </a:cubicBezTo>
                    <a:cubicBezTo>
                      <a:pt x="82" y="190"/>
                      <a:pt x="84" y="193"/>
                      <a:pt x="84" y="193"/>
                    </a:cubicBezTo>
                    <a:cubicBezTo>
                      <a:pt x="84" y="193"/>
                      <a:pt x="85" y="194"/>
                      <a:pt x="85" y="194"/>
                    </a:cubicBezTo>
                    <a:cubicBezTo>
                      <a:pt x="85" y="195"/>
                      <a:pt x="85" y="194"/>
                      <a:pt x="85" y="195"/>
                    </a:cubicBezTo>
                    <a:cubicBezTo>
                      <a:pt x="86" y="195"/>
                      <a:pt x="84" y="196"/>
                      <a:pt x="86" y="196"/>
                    </a:cubicBezTo>
                    <a:cubicBezTo>
                      <a:pt x="86" y="196"/>
                      <a:pt x="87" y="196"/>
                      <a:pt x="87" y="196"/>
                    </a:cubicBezTo>
                    <a:cubicBezTo>
                      <a:pt x="88" y="196"/>
                      <a:pt x="88" y="196"/>
                      <a:pt x="88" y="196"/>
                    </a:cubicBezTo>
                    <a:cubicBezTo>
                      <a:pt x="89" y="196"/>
                      <a:pt x="89" y="195"/>
                      <a:pt x="88" y="195"/>
                    </a:cubicBezTo>
                    <a:cubicBezTo>
                      <a:pt x="88" y="194"/>
                      <a:pt x="89" y="194"/>
                      <a:pt x="89" y="194"/>
                    </a:cubicBezTo>
                    <a:cubicBezTo>
                      <a:pt x="89" y="194"/>
                      <a:pt x="89" y="193"/>
                      <a:pt x="89" y="193"/>
                    </a:cubicBezTo>
                    <a:cubicBezTo>
                      <a:pt x="89" y="193"/>
                      <a:pt x="89" y="193"/>
                      <a:pt x="90" y="193"/>
                    </a:cubicBezTo>
                    <a:cubicBezTo>
                      <a:pt x="91" y="193"/>
                      <a:pt x="92" y="193"/>
                      <a:pt x="93" y="193"/>
                    </a:cubicBezTo>
                    <a:cubicBezTo>
                      <a:pt x="94" y="194"/>
                      <a:pt x="94" y="194"/>
                      <a:pt x="95" y="194"/>
                    </a:cubicBezTo>
                    <a:cubicBezTo>
                      <a:pt x="95" y="194"/>
                      <a:pt x="95" y="194"/>
                      <a:pt x="96" y="193"/>
                    </a:cubicBezTo>
                    <a:cubicBezTo>
                      <a:pt x="97" y="193"/>
                      <a:pt x="96" y="192"/>
                      <a:pt x="96" y="192"/>
                    </a:cubicBezTo>
                    <a:cubicBezTo>
                      <a:pt x="96" y="192"/>
                      <a:pt x="97" y="191"/>
                      <a:pt x="97" y="191"/>
                    </a:cubicBezTo>
                    <a:cubicBezTo>
                      <a:pt x="96" y="191"/>
                      <a:pt x="96" y="190"/>
                      <a:pt x="96" y="190"/>
                    </a:cubicBezTo>
                    <a:cubicBezTo>
                      <a:pt x="96" y="189"/>
                      <a:pt x="97" y="190"/>
                      <a:pt x="97" y="191"/>
                    </a:cubicBezTo>
                    <a:cubicBezTo>
                      <a:pt x="98" y="190"/>
                      <a:pt x="98" y="190"/>
                      <a:pt x="98" y="189"/>
                    </a:cubicBezTo>
                    <a:close/>
                    <a:moveTo>
                      <a:pt x="124" y="183"/>
                    </a:moveTo>
                    <a:cubicBezTo>
                      <a:pt x="124" y="183"/>
                      <a:pt x="123" y="183"/>
                      <a:pt x="123" y="183"/>
                    </a:cubicBezTo>
                    <a:cubicBezTo>
                      <a:pt x="123" y="182"/>
                      <a:pt x="124" y="182"/>
                      <a:pt x="124" y="182"/>
                    </a:cubicBezTo>
                    <a:cubicBezTo>
                      <a:pt x="124" y="181"/>
                      <a:pt x="122" y="181"/>
                      <a:pt x="122" y="180"/>
                    </a:cubicBezTo>
                    <a:cubicBezTo>
                      <a:pt x="122" y="180"/>
                      <a:pt x="121" y="179"/>
                      <a:pt x="121" y="179"/>
                    </a:cubicBezTo>
                    <a:cubicBezTo>
                      <a:pt x="120" y="179"/>
                      <a:pt x="120" y="178"/>
                      <a:pt x="120" y="178"/>
                    </a:cubicBezTo>
                    <a:cubicBezTo>
                      <a:pt x="119" y="177"/>
                      <a:pt x="118" y="177"/>
                      <a:pt x="118" y="176"/>
                    </a:cubicBezTo>
                    <a:cubicBezTo>
                      <a:pt x="118" y="175"/>
                      <a:pt x="116" y="175"/>
                      <a:pt x="117" y="174"/>
                    </a:cubicBezTo>
                    <a:cubicBezTo>
                      <a:pt x="117" y="174"/>
                      <a:pt x="117" y="174"/>
                      <a:pt x="117" y="173"/>
                    </a:cubicBezTo>
                    <a:cubicBezTo>
                      <a:pt x="117" y="173"/>
                      <a:pt x="117" y="172"/>
                      <a:pt x="117" y="171"/>
                    </a:cubicBezTo>
                    <a:cubicBezTo>
                      <a:pt x="117" y="170"/>
                      <a:pt x="116" y="170"/>
                      <a:pt x="115" y="170"/>
                    </a:cubicBezTo>
                    <a:cubicBezTo>
                      <a:pt x="115" y="170"/>
                      <a:pt x="115" y="170"/>
                      <a:pt x="115" y="169"/>
                    </a:cubicBezTo>
                    <a:cubicBezTo>
                      <a:pt x="114" y="169"/>
                      <a:pt x="114" y="169"/>
                      <a:pt x="114" y="169"/>
                    </a:cubicBezTo>
                    <a:cubicBezTo>
                      <a:pt x="114" y="169"/>
                      <a:pt x="114" y="169"/>
                      <a:pt x="113" y="169"/>
                    </a:cubicBezTo>
                    <a:cubicBezTo>
                      <a:pt x="113" y="169"/>
                      <a:pt x="113" y="169"/>
                      <a:pt x="112" y="168"/>
                    </a:cubicBezTo>
                    <a:cubicBezTo>
                      <a:pt x="112" y="168"/>
                      <a:pt x="111" y="168"/>
                      <a:pt x="110" y="168"/>
                    </a:cubicBezTo>
                    <a:cubicBezTo>
                      <a:pt x="110" y="168"/>
                      <a:pt x="110" y="168"/>
                      <a:pt x="111" y="168"/>
                    </a:cubicBezTo>
                    <a:cubicBezTo>
                      <a:pt x="110" y="167"/>
                      <a:pt x="110" y="167"/>
                      <a:pt x="109" y="167"/>
                    </a:cubicBezTo>
                    <a:cubicBezTo>
                      <a:pt x="109" y="167"/>
                      <a:pt x="108" y="167"/>
                      <a:pt x="108" y="167"/>
                    </a:cubicBezTo>
                    <a:cubicBezTo>
                      <a:pt x="107" y="167"/>
                      <a:pt x="107" y="166"/>
                      <a:pt x="106" y="166"/>
                    </a:cubicBezTo>
                    <a:cubicBezTo>
                      <a:pt x="105" y="166"/>
                      <a:pt x="107" y="167"/>
                      <a:pt x="107" y="167"/>
                    </a:cubicBezTo>
                    <a:cubicBezTo>
                      <a:pt x="107" y="168"/>
                      <a:pt x="107" y="168"/>
                      <a:pt x="108" y="168"/>
                    </a:cubicBezTo>
                    <a:cubicBezTo>
                      <a:pt x="108" y="169"/>
                      <a:pt x="108" y="169"/>
                      <a:pt x="109" y="169"/>
                    </a:cubicBezTo>
                    <a:cubicBezTo>
                      <a:pt x="109" y="169"/>
                      <a:pt x="108" y="169"/>
                      <a:pt x="108" y="169"/>
                    </a:cubicBezTo>
                    <a:cubicBezTo>
                      <a:pt x="108" y="168"/>
                      <a:pt x="110" y="170"/>
                      <a:pt x="110" y="170"/>
                    </a:cubicBezTo>
                    <a:cubicBezTo>
                      <a:pt x="110" y="169"/>
                      <a:pt x="110" y="170"/>
                      <a:pt x="110" y="170"/>
                    </a:cubicBezTo>
                    <a:cubicBezTo>
                      <a:pt x="111" y="170"/>
                      <a:pt x="111" y="171"/>
                      <a:pt x="111" y="171"/>
                    </a:cubicBezTo>
                    <a:cubicBezTo>
                      <a:pt x="111" y="171"/>
                      <a:pt x="110" y="170"/>
                      <a:pt x="110" y="170"/>
                    </a:cubicBezTo>
                    <a:cubicBezTo>
                      <a:pt x="109" y="169"/>
                      <a:pt x="109" y="169"/>
                      <a:pt x="110" y="169"/>
                    </a:cubicBezTo>
                    <a:cubicBezTo>
                      <a:pt x="110" y="169"/>
                      <a:pt x="110" y="169"/>
                      <a:pt x="110" y="169"/>
                    </a:cubicBezTo>
                    <a:cubicBezTo>
                      <a:pt x="110" y="169"/>
                      <a:pt x="111" y="169"/>
                      <a:pt x="111" y="169"/>
                    </a:cubicBezTo>
                    <a:cubicBezTo>
                      <a:pt x="111" y="170"/>
                      <a:pt x="112" y="170"/>
                      <a:pt x="112" y="170"/>
                    </a:cubicBezTo>
                    <a:cubicBezTo>
                      <a:pt x="112" y="170"/>
                      <a:pt x="113" y="170"/>
                      <a:pt x="113" y="170"/>
                    </a:cubicBezTo>
                    <a:cubicBezTo>
                      <a:pt x="113" y="170"/>
                      <a:pt x="113" y="170"/>
                      <a:pt x="113" y="170"/>
                    </a:cubicBezTo>
                    <a:cubicBezTo>
                      <a:pt x="114" y="170"/>
                      <a:pt x="114" y="171"/>
                      <a:pt x="115" y="171"/>
                    </a:cubicBezTo>
                    <a:cubicBezTo>
                      <a:pt x="115" y="172"/>
                      <a:pt x="116" y="173"/>
                      <a:pt x="115" y="174"/>
                    </a:cubicBezTo>
                    <a:cubicBezTo>
                      <a:pt x="114" y="174"/>
                      <a:pt x="114" y="173"/>
                      <a:pt x="114" y="174"/>
                    </a:cubicBezTo>
                    <a:cubicBezTo>
                      <a:pt x="114" y="174"/>
                      <a:pt x="113" y="174"/>
                      <a:pt x="113" y="174"/>
                    </a:cubicBezTo>
                    <a:cubicBezTo>
                      <a:pt x="113" y="173"/>
                      <a:pt x="113" y="173"/>
                      <a:pt x="112" y="173"/>
                    </a:cubicBezTo>
                    <a:cubicBezTo>
                      <a:pt x="112" y="173"/>
                      <a:pt x="112" y="173"/>
                      <a:pt x="111" y="173"/>
                    </a:cubicBezTo>
                    <a:cubicBezTo>
                      <a:pt x="112" y="173"/>
                      <a:pt x="112" y="173"/>
                      <a:pt x="112" y="174"/>
                    </a:cubicBezTo>
                    <a:cubicBezTo>
                      <a:pt x="113" y="174"/>
                      <a:pt x="113" y="174"/>
                      <a:pt x="113" y="175"/>
                    </a:cubicBezTo>
                    <a:cubicBezTo>
                      <a:pt x="111" y="175"/>
                      <a:pt x="111" y="174"/>
                      <a:pt x="110" y="173"/>
                    </a:cubicBezTo>
                    <a:cubicBezTo>
                      <a:pt x="110" y="173"/>
                      <a:pt x="110" y="172"/>
                      <a:pt x="110" y="172"/>
                    </a:cubicBezTo>
                    <a:cubicBezTo>
                      <a:pt x="109" y="172"/>
                      <a:pt x="109" y="171"/>
                      <a:pt x="108" y="171"/>
                    </a:cubicBezTo>
                    <a:cubicBezTo>
                      <a:pt x="108" y="170"/>
                      <a:pt x="107" y="170"/>
                      <a:pt x="106" y="169"/>
                    </a:cubicBezTo>
                    <a:cubicBezTo>
                      <a:pt x="107" y="171"/>
                      <a:pt x="109" y="171"/>
                      <a:pt x="109" y="172"/>
                    </a:cubicBezTo>
                    <a:cubicBezTo>
                      <a:pt x="110" y="173"/>
                      <a:pt x="109" y="172"/>
                      <a:pt x="109" y="172"/>
                    </a:cubicBezTo>
                    <a:cubicBezTo>
                      <a:pt x="108" y="172"/>
                      <a:pt x="107" y="171"/>
                      <a:pt x="107" y="171"/>
                    </a:cubicBezTo>
                    <a:cubicBezTo>
                      <a:pt x="106" y="171"/>
                      <a:pt x="107" y="172"/>
                      <a:pt x="108" y="172"/>
                    </a:cubicBezTo>
                    <a:cubicBezTo>
                      <a:pt x="108" y="172"/>
                      <a:pt x="109" y="173"/>
                      <a:pt x="109" y="174"/>
                    </a:cubicBezTo>
                    <a:cubicBezTo>
                      <a:pt x="109" y="173"/>
                      <a:pt x="108" y="173"/>
                      <a:pt x="108" y="173"/>
                    </a:cubicBezTo>
                    <a:cubicBezTo>
                      <a:pt x="108" y="173"/>
                      <a:pt x="110" y="175"/>
                      <a:pt x="110" y="175"/>
                    </a:cubicBezTo>
                    <a:cubicBezTo>
                      <a:pt x="109" y="175"/>
                      <a:pt x="108" y="174"/>
                      <a:pt x="107" y="174"/>
                    </a:cubicBezTo>
                    <a:cubicBezTo>
                      <a:pt x="107" y="174"/>
                      <a:pt x="106" y="174"/>
                      <a:pt x="106" y="173"/>
                    </a:cubicBezTo>
                    <a:cubicBezTo>
                      <a:pt x="106" y="173"/>
                      <a:pt x="106" y="173"/>
                      <a:pt x="106" y="173"/>
                    </a:cubicBezTo>
                    <a:cubicBezTo>
                      <a:pt x="106" y="172"/>
                      <a:pt x="105" y="172"/>
                      <a:pt x="104" y="171"/>
                    </a:cubicBezTo>
                    <a:cubicBezTo>
                      <a:pt x="104" y="171"/>
                      <a:pt x="104" y="171"/>
                      <a:pt x="104" y="171"/>
                    </a:cubicBezTo>
                    <a:cubicBezTo>
                      <a:pt x="104" y="171"/>
                      <a:pt x="104" y="170"/>
                      <a:pt x="103" y="170"/>
                    </a:cubicBezTo>
                    <a:cubicBezTo>
                      <a:pt x="102" y="169"/>
                      <a:pt x="102" y="171"/>
                      <a:pt x="103" y="172"/>
                    </a:cubicBezTo>
                    <a:cubicBezTo>
                      <a:pt x="103" y="172"/>
                      <a:pt x="104" y="171"/>
                      <a:pt x="104" y="171"/>
                    </a:cubicBezTo>
                    <a:cubicBezTo>
                      <a:pt x="104" y="172"/>
                      <a:pt x="105" y="172"/>
                      <a:pt x="106" y="173"/>
                    </a:cubicBezTo>
                    <a:cubicBezTo>
                      <a:pt x="106" y="173"/>
                      <a:pt x="105" y="173"/>
                      <a:pt x="106" y="173"/>
                    </a:cubicBezTo>
                    <a:cubicBezTo>
                      <a:pt x="106" y="174"/>
                      <a:pt x="106" y="174"/>
                      <a:pt x="106" y="174"/>
                    </a:cubicBezTo>
                    <a:cubicBezTo>
                      <a:pt x="106" y="174"/>
                      <a:pt x="106" y="174"/>
                      <a:pt x="106" y="174"/>
                    </a:cubicBezTo>
                    <a:cubicBezTo>
                      <a:pt x="107" y="174"/>
                      <a:pt x="107" y="175"/>
                      <a:pt x="107" y="175"/>
                    </a:cubicBezTo>
                    <a:cubicBezTo>
                      <a:pt x="108" y="175"/>
                      <a:pt x="109" y="176"/>
                      <a:pt x="109" y="177"/>
                    </a:cubicBezTo>
                    <a:cubicBezTo>
                      <a:pt x="108" y="178"/>
                      <a:pt x="106" y="176"/>
                      <a:pt x="106" y="176"/>
                    </a:cubicBezTo>
                    <a:cubicBezTo>
                      <a:pt x="106" y="177"/>
                      <a:pt x="109" y="178"/>
                      <a:pt x="109" y="178"/>
                    </a:cubicBezTo>
                    <a:cubicBezTo>
                      <a:pt x="110" y="179"/>
                      <a:pt x="111" y="180"/>
                      <a:pt x="112" y="180"/>
                    </a:cubicBezTo>
                    <a:cubicBezTo>
                      <a:pt x="113" y="180"/>
                      <a:pt x="113" y="180"/>
                      <a:pt x="113" y="180"/>
                    </a:cubicBezTo>
                    <a:cubicBezTo>
                      <a:pt x="113" y="180"/>
                      <a:pt x="114" y="180"/>
                      <a:pt x="114" y="180"/>
                    </a:cubicBezTo>
                    <a:cubicBezTo>
                      <a:pt x="114" y="181"/>
                      <a:pt x="115" y="181"/>
                      <a:pt x="115" y="181"/>
                    </a:cubicBezTo>
                    <a:cubicBezTo>
                      <a:pt x="115" y="181"/>
                      <a:pt x="115" y="181"/>
                      <a:pt x="116" y="181"/>
                    </a:cubicBezTo>
                    <a:cubicBezTo>
                      <a:pt x="117" y="182"/>
                      <a:pt x="117" y="182"/>
                      <a:pt x="117" y="182"/>
                    </a:cubicBezTo>
                    <a:cubicBezTo>
                      <a:pt x="118" y="183"/>
                      <a:pt x="118" y="183"/>
                      <a:pt x="118" y="184"/>
                    </a:cubicBezTo>
                    <a:cubicBezTo>
                      <a:pt x="119" y="184"/>
                      <a:pt x="118" y="184"/>
                      <a:pt x="118" y="185"/>
                    </a:cubicBezTo>
                    <a:cubicBezTo>
                      <a:pt x="118" y="186"/>
                      <a:pt x="117" y="184"/>
                      <a:pt x="116" y="184"/>
                    </a:cubicBezTo>
                    <a:cubicBezTo>
                      <a:pt x="115" y="184"/>
                      <a:pt x="115" y="185"/>
                      <a:pt x="114" y="185"/>
                    </a:cubicBezTo>
                    <a:cubicBezTo>
                      <a:pt x="114" y="184"/>
                      <a:pt x="114" y="184"/>
                      <a:pt x="113" y="184"/>
                    </a:cubicBezTo>
                    <a:cubicBezTo>
                      <a:pt x="113" y="183"/>
                      <a:pt x="115" y="184"/>
                      <a:pt x="115" y="184"/>
                    </a:cubicBezTo>
                    <a:cubicBezTo>
                      <a:pt x="115" y="183"/>
                      <a:pt x="114" y="183"/>
                      <a:pt x="114" y="183"/>
                    </a:cubicBezTo>
                    <a:cubicBezTo>
                      <a:pt x="114" y="183"/>
                      <a:pt x="114" y="183"/>
                      <a:pt x="113" y="183"/>
                    </a:cubicBezTo>
                    <a:cubicBezTo>
                      <a:pt x="113" y="183"/>
                      <a:pt x="112" y="183"/>
                      <a:pt x="112" y="183"/>
                    </a:cubicBezTo>
                    <a:cubicBezTo>
                      <a:pt x="112" y="184"/>
                      <a:pt x="112" y="185"/>
                      <a:pt x="112" y="185"/>
                    </a:cubicBezTo>
                    <a:cubicBezTo>
                      <a:pt x="113" y="185"/>
                      <a:pt x="112" y="184"/>
                      <a:pt x="112" y="184"/>
                    </a:cubicBezTo>
                    <a:cubicBezTo>
                      <a:pt x="112" y="184"/>
                      <a:pt x="114" y="185"/>
                      <a:pt x="114" y="185"/>
                    </a:cubicBezTo>
                    <a:cubicBezTo>
                      <a:pt x="114" y="185"/>
                      <a:pt x="114" y="185"/>
                      <a:pt x="114" y="185"/>
                    </a:cubicBezTo>
                    <a:cubicBezTo>
                      <a:pt x="115" y="185"/>
                      <a:pt x="114" y="185"/>
                      <a:pt x="114" y="185"/>
                    </a:cubicBezTo>
                    <a:cubicBezTo>
                      <a:pt x="114" y="185"/>
                      <a:pt x="115" y="185"/>
                      <a:pt x="116" y="185"/>
                    </a:cubicBezTo>
                    <a:cubicBezTo>
                      <a:pt x="116" y="185"/>
                      <a:pt x="116" y="185"/>
                      <a:pt x="117" y="185"/>
                    </a:cubicBezTo>
                    <a:cubicBezTo>
                      <a:pt x="117" y="185"/>
                      <a:pt x="117" y="186"/>
                      <a:pt x="118" y="186"/>
                    </a:cubicBezTo>
                    <a:cubicBezTo>
                      <a:pt x="118" y="186"/>
                      <a:pt x="119" y="186"/>
                      <a:pt x="119" y="186"/>
                    </a:cubicBezTo>
                    <a:cubicBezTo>
                      <a:pt x="119" y="186"/>
                      <a:pt x="120" y="187"/>
                      <a:pt x="120" y="187"/>
                    </a:cubicBezTo>
                    <a:cubicBezTo>
                      <a:pt x="122" y="187"/>
                      <a:pt x="120" y="186"/>
                      <a:pt x="120" y="186"/>
                    </a:cubicBezTo>
                    <a:cubicBezTo>
                      <a:pt x="120" y="186"/>
                      <a:pt x="121" y="186"/>
                      <a:pt x="121" y="185"/>
                    </a:cubicBezTo>
                    <a:cubicBezTo>
                      <a:pt x="121" y="185"/>
                      <a:pt x="121" y="184"/>
                      <a:pt x="122" y="184"/>
                    </a:cubicBezTo>
                    <a:cubicBezTo>
                      <a:pt x="122" y="184"/>
                      <a:pt x="123" y="185"/>
                      <a:pt x="123" y="184"/>
                    </a:cubicBezTo>
                    <a:cubicBezTo>
                      <a:pt x="123" y="184"/>
                      <a:pt x="124" y="183"/>
                      <a:pt x="124" y="183"/>
                    </a:cubicBezTo>
                    <a:close/>
                    <a:moveTo>
                      <a:pt x="733" y="261"/>
                    </a:moveTo>
                    <a:cubicBezTo>
                      <a:pt x="733" y="261"/>
                      <a:pt x="734" y="261"/>
                      <a:pt x="734" y="261"/>
                    </a:cubicBezTo>
                    <a:cubicBezTo>
                      <a:pt x="735" y="260"/>
                      <a:pt x="733" y="259"/>
                      <a:pt x="733" y="258"/>
                    </a:cubicBezTo>
                    <a:cubicBezTo>
                      <a:pt x="734" y="257"/>
                      <a:pt x="735" y="256"/>
                      <a:pt x="734" y="255"/>
                    </a:cubicBezTo>
                    <a:cubicBezTo>
                      <a:pt x="733" y="254"/>
                      <a:pt x="732" y="253"/>
                      <a:pt x="731" y="251"/>
                    </a:cubicBezTo>
                    <a:cubicBezTo>
                      <a:pt x="731" y="251"/>
                      <a:pt x="731" y="250"/>
                      <a:pt x="731" y="250"/>
                    </a:cubicBezTo>
                    <a:cubicBezTo>
                      <a:pt x="731" y="249"/>
                      <a:pt x="731" y="249"/>
                      <a:pt x="731" y="249"/>
                    </a:cubicBezTo>
                    <a:cubicBezTo>
                      <a:pt x="730" y="249"/>
                      <a:pt x="731" y="248"/>
                      <a:pt x="731" y="248"/>
                    </a:cubicBezTo>
                    <a:cubicBezTo>
                      <a:pt x="730" y="248"/>
                      <a:pt x="730" y="247"/>
                      <a:pt x="730" y="247"/>
                    </a:cubicBezTo>
                    <a:cubicBezTo>
                      <a:pt x="730" y="246"/>
                      <a:pt x="730" y="246"/>
                      <a:pt x="729" y="245"/>
                    </a:cubicBezTo>
                    <a:cubicBezTo>
                      <a:pt x="729" y="245"/>
                      <a:pt x="729" y="245"/>
                      <a:pt x="729" y="244"/>
                    </a:cubicBezTo>
                    <a:cubicBezTo>
                      <a:pt x="729" y="244"/>
                      <a:pt x="727" y="242"/>
                      <a:pt x="728" y="242"/>
                    </a:cubicBezTo>
                    <a:cubicBezTo>
                      <a:pt x="728" y="241"/>
                      <a:pt x="727" y="241"/>
                      <a:pt x="727" y="241"/>
                    </a:cubicBezTo>
                    <a:cubicBezTo>
                      <a:pt x="728" y="241"/>
                      <a:pt x="727" y="241"/>
                      <a:pt x="727" y="241"/>
                    </a:cubicBezTo>
                    <a:cubicBezTo>
                      <a:pt x="727" y="240"/>
                      <a:pt x="727" y="240"/>
                      <a:pt x="727" y="239"/>
                    </a:cubicBezTo>
                    <a:cubicBezTo>
                      <a:pt x="727" y="239"/>
                      <a:pt x="726" y="239"/>
                      <a:pt x="726" y="239"/>
                    </a:cubicBezTo>
                    <a:cubicBezTo>
                      <a:pt x="725" y="238"/>
                      <a:pt x="724" y="238"/>
                      <a:pt x="724" y="238"/>
                    </a:cubicBezTo>
                    <a:cubicBezTo>
                      <a:pt x="724" y="238"/>
                      <a:pt x="725" y="238"/>
                      <a:pt x="726" y="239"/>
                    </a:cubicBezTo>
                    <a:cubicBezTo>
                      <a:pt x="725" y="239"/>
                      <a:pt x="724" y="238"/>
                      <a:pt x="723" y="238"/>
                    </a:cubicBezTo>
                    <a:cubicBezTo>
                      <a:pt x="723" y="239"/>
                      <a:pt x="723" y="240"/>
                      <a:pt x="722" y="240"/>
                    </a:cubicBezTo>
                    <a:cubicBezTo>
                      <a:pt x="721" y="240"/>
                      <a:pt x="722" y="242"/>
                      <a:pt x="723" y="242"/>
                    </a:cubicBezTo>
                    <a:cubicBezTo>
                      <a:pt x="723" y="243"/>
                      <a:pt x="724" y="244"/>
                      <a:pt x="724" y="245"/>
                    </a:cubicBezTo>
                    <a:cubicBezTo>
                      <a:pt x="724" y="246"/>
                      <a:pt x="724" y="246"/>
                      <a:pt x="724" y="247"/>
                    </a:cubicBezTo>
                    <a:cubicBezTo>
                      <a:pt x="724" y="247"/>
                      <a:pt x="724" y="247"/>
                      <a:pt x="724" y="247"/>
                    </a:cubicBezTo>
                    <a:cubicBezTo>
                      <a:pt x="724" y="248"/>
                      <a:pt x="724" y="248"/>
                      <a:pt x="724" y="248"/>
                    </a:cubicBezTo>
                    <a:cubicBezTo>
                      <a:pt x="724" y="249"/>
                      <a:pt x="725" y="250"/>
                      <a:pt x="724" y="250"/>
                    </a:cubicBezTo>
                    <a:cubicBezTo>
                      <a:pt x="724" y="251"/>
                      <a:pt x="724" y="251"/>
                      <a:pt x="724" y="252"/>
                    </a:cubicBezTo>
                    <a:cubicBezTo>
                      <a:pt x="724" y="253"/>
                      <a:pt x="725" y="254"/>
                      <a:pt x="724" y="255"/>
                    </a:cubicBezTo>
                    <a:cubicBezTo>
                      <a:pt x="724" y="255"/>
                      <a:pt x="724" y="255"/>
                      <a:pt x="724" y="256"/>
                    </a:cubicBezTo>
                    <a:cubicBezTo>
                      <a:pt x="725" y="256"/>
                      <a:pt x="724" y="257"/>
                      <a:pt x="724" y="257"/>
                    </a:cubicBezTo>
                    <a:cubicBezTo>
                      <a:pt x="725" y="258"/>
                      <a:pt x="724" y="259"/>
                      <a:pt x="723" y="259"/>
                    </a:cubicBezTo>
                    <a:cubicBezTo>
                      <a:pt x="723" y="260"/>
                      <a:pt x="722" y="261"/>
                      <a:pt x="722" y="262"/>
                    </a:cubicBezTo>
                    <a:cubicBezTo>
                      <a:pt x="722" y="262"/>
                      <a:pt x="722" y="262"/>
                      <a:pt x="722" y="263"/>
                    </a:cubicBezTo>
                    <a:cubicBezTo>
                      <a:pt x="722" y="263"/>
                      <a:pt x="721" y="263"/>
                      <a:pt x="721" y="264"/>
                    </a:cubicBezTo>
                    <a:cubicBezTo>
                      <a:pt x="720" y="264"/>
                      <a:pt x="720" y="264"/>
                      <a:pt x="720" y="265"/>
                    </a:cubicBezTo>
                    <a:cubicBezTo>
                      <a:pt x="720" y="265"/>
                      <a:pt x="719" y="266"/>
                      <a:pt x="719" y="266"/>
                    </a:cubicBezTo>
                    <a:cubicBezTo>
                      <a:pt x="719" y="266"/>
                      <a:pt x="718" y="267"/>
                      <a:pt x="719" y="267"/>
                    </a:cubicBezTo>
                    <a:cubicBezTo>
                      <a:pt x="719" y="267"/>
                      <a:pt x="720" y="267"/>
                      <a:pt x="720" y="267"/>
                    </a:cubicBezTo>
                    <a:cubicBezTo>
                      <a:pt x="720" y="268"/>
                      <a:pt x="719" y="268"/>
                      <a:pt x="719" y="268"/>
                    </a:cubicBezTo>
                    <a:cubicBezTo>
                      <a:pt x="719" y="269"/>
                      <a:pt x="720" y="269"/>
                      <a:pt x="719" y="269"/>
                    </a:cubicBezTo>
                    <a:cubicBezTo>
                      <a:pt x="719" y="269"/>
                      <a:pt x="719" y="270"/>
                      <a:pt x="719" y="270"/>
                    </a:cubicBezTo>
                    <a:cubicBezTo>
                      <a:pt x="720" y="270"/>
                      <a:pt x="717" y="271"/>
                      <a:pt x="717" y="272"/>
                    </a:cubicBezTo>
                    <a:cubicBezTo>
                      <a:pt x="716" y="272"/>
                      <a:pt x="715" y="272"/>
                      <a:pt x="715" y="273"/>
                    </a:cubicBezTo>
                    <a:cubicBezTo>
                      <a:pt x="715" y="275"/>
                      <a:pt x="715" y="276"/>
                      <a:pt x="714" y="277"/>
                    </a:cubicBezTo>
                    <a:cubicBezTo>
                      <a:pt x="714" y="277"/>
                      <a:pt x="713" y="278"/>
                      <a:pt x="713" y="278"/>
                    </a:cubicBezTo>
                    <a:cubicBezTo>
                      <a:pt x="713" y="278"/>
                      <a:pt x="713" y="279"/>
                      <a:pt x="712" y="279"/>
                    </a:cubicBezTo>
                    <a:cubicBezTo>
                      <a:pt x="711" y="279"/>
                      <a:pt x="711" y="279"/>
                      <a:pt x="710" y="279"/>
                    </a:cubicBezTo>
                    <a:cubicBezTo>
                      <a:pt x="710" y="279"/>
                      <a:pt x="709" y="279"/>
                      <a:pt x="709" y="279"/>
                    </a:cubicBezTo>
                    <a:cubicBezTo>
                      <a:pt x="709" y="280"/>
                      <a:pt x="709" y="280"/>
                      <a:pt x="708" y="280"/>
                    </a:cubicBezTo>
                    <a:cubicBezTo>
                      <a:pt x="707" y="280"/>
                      <a:pt x="706" y="280"/>
                      <a:pt x="705" y="280"/>
                    </a:cubicBezTo>
                    <a:cubicBezTo>
                      <a:pt x="704" y="280"/>
                      <a:pt x="701" y="280"/>
                      <a:pt x="701" y="281"/>
                    </a:cubicBezTo>
                    <a:cubicBezTo>
                      <a:pt x="701" y="281"/>
                      <a:pt x="705" y="282"/>
                      <a:pt x="705" y="282"/>
                    </a:cubicBezTo>
                    <a:cubicBezTo>
                      <a:pt x="706" y="283"/>
                      <a:pt x="707" y="283"/>
                      <a:pt x="708" y="283"/>
                    </a:cubicBezTo>
                    <a:cubicBezTo>
                      <a:pt x="709" y="283"/>
                      <a:pt x="710" y="283"/>
                      <a:pt x="710" y="283"/>
                    </a:cubicBezTo>
                    <a:cubicBezTo>
                      <a:pt x="712" y="283"/>
                      <a:pt x="713" y="282"/>
                      <a:pt x="715" y="282"/>
                    </a:cubicBezTo>
                    <a:cubicBezTo>
                      <a:pt x="716" y="282"/>
                      <a:pt x="717" y="282"/>
                      <a:pt x="717" y="281"/>
                    </a:cubicBezTo>
                    <a:cubicBezTo>
                      <a:pt x="718" y="281"/>
                      <a:pt x="719" y="281"/>
                      <a:pt x="719" y="281"/>
                    </a:cubicBezTo>
                    <a:cubicBezTo>
                      <a:pt x="720" y="280"/>
                      <a:pt x="720" y="279"/>
                      <a:pt x="720" y="279"/>
                    </a:cubicBezTo>
                    <a:cubicBezTo>
                      <a:pt x="720" y="278"/>
                      <a:pt x="721" y="279"/>
                      <a:pt x="720" y="278"/>
                    </a:cubicBezTo>
                    <a:cubicBezTo>
                      <a:pt x="720" y="278"/>
                      <a:pt x="720" y="278"/>
                      <a:pt x="720" y="278"/>
                    </a:cubicBezTo>
                    <a:cubicBezTo>
                      <a:pt x="720" y="277"/>
                      <a:pt x="720" y="277"/>
                      <a:pt x="720" y="277"/>
                    </a:cubicBezTo>
                    <a:cubicBezTo>
                      <a:pt x="720" y="276"/>
                      <a:pt x="719" y="276"/>
                      <a:pt x="719" y="275"/>
                    </a:cubicBezTo>
                    <a:cubicBezTo>
                      <a:pt x="719" y="274"/>
                      <a:pt x="720" y="274"/>
                      <a:pt x="720" y="274"/>
                    </a:cubicBezTo>
                    <a:cubicBezTo>
                      <a:pt x="721" y="274"/>
                      <a:pt x="722" y="274"/>
                      <a:pt x="722" y="274"/>
                    </a:cubicBezTo>
                    <a:cubicBezTo>
                      <a:pt x="724" y="275"/>
                      <a:pt x="723" y="273"/>
                      <a:pt x="724" y="273"/>
                    </a:cubicBezTo>
                    <a:cubicBezTo>
                      <a:pt x="724" y="272"/>
                      <a:pt x="725" y="272"/>
                      <a:pt x="726" y="271"/>
                    </a:cubicBezTo>
                    <a:cubicBezTo>
                      <a:pt x="726" y="271"/>
                      <a:pt x="727" y="271"/>
                      <a:pt x="727" y="270"/>
                    </a:cubicBezTo>
                    <a:cubicBezTo>
                      <a:pt x="728" y="270"/>
                      <a:pt x="728" y="270"/>
                      <a:pt x="729" y="270"/>
                    </a:cubicBezTo>
                    <a:cubicBezTo>
                      <a:pt x="730" y="270"/>
                      <a:pt x="730" y="269"/>
                      <a:pt x="730" y="269"/>
                    </a:cubicBezTo>
                    <a:cubicBezTo>
                      <a:pt x="731" y="268"/>
                      <a:pt x="731" y="268"/>
                      <a:pt x="731" y="267"/>
                    </a:cubicBezTo>
                    <a:cubicBezTo>
                      <a:pt x="731" y="267"/>
                      <a:pt x="731" y="267"/>
                      <a:pt x="731" y="266"/>
                    </a:cubicBezTo>
                    <a:cubicBezTo>
                      <a:pt x="731" y="266"/>
                      <a:pt x="732" y="264"/>
                      <a:pt x="732" y="264"/>
                    </a:cubicBezTo>
                    <a:cubicBezTo>
                      <a:pt x="733" y="264"/>
                      <a:pt x="734" y="265"/>
                      <a:pt x="734" y="264"/>
                    </a:cubicBezTo>
                    <a:cubicBezTo>
                      <a:pt x="735" y="263"/>
                      <a:pt x="734" y="262"/>
                      <a:pt x="734" y="262"/>
                    </a:cubicBezTo>
                    <a:cubicBezTo>
                      <a:pt x="733" y="261"/>
                      <a:pt x="733" y="261"/>
                      <a:pt x="732" y="261"/>
                    </a:cubicBezTo>
                    <a:cubicBezTo>
                      <a:pt x="732" y="261"/>
                      <a:pt x="730" y="262"/>
                      <a:pt x="730" y="262"/>
                    </a:cubicBezTo>
                    <a:cubicBezTo>
                      <a:pt x="730" y="262"/>
                      <a:pt x="730" y="261"/>
                      <a:pt x="730" y="261"/>
                    </a:cubicBezTo>
                    <a:cubicBezTo>
                      <a:pt x="730" y="261"/>
                      <a:pt x="730" y="260"/>
                      <a:pt x="730" y="260"/>
                    </a:cubicBezTo>
                    <a:cubicBezTo>
                      <a:pt x="730" y="259"/>
                      <a:pt x="730" y="259"/>
                      <a:pt x="731" y="258"/>
                    </a:cubicBezTo>
                    <a:cubicBezTo>
                      <a:pt x="731" y="258"/>
                      <a:pt x="732" y="258"/>
                      <a:pt x="732" y="259"/>
                    </a:cubicBezTo>
                    <a:cubicBezTo>
                      <a:pt x="733" y="259"/>
                      <a:pt x="732" y="259"/>
                      <a:pt x="732" y="259"/>
                    </a:cubicBezTo>
                    <a:cubicBezTo>
                      <a:pt x="733" y="260"/>
                      <a:pt x="733" y="259"/>
                      <a:pt x="733" y="260"/>
                    </a:cubicBezTo>
                    <a:cubicBezTo>
                      <a:pt x="733" y="260"/>
                      <a:pt x="733" y="261"/>
                      <a:pt x="733" y="261"/>
                    </a:cubicBezTo>
                    <a:close/>
                    <a:moveTo>
                      <a:pt x="1121" y="108"/>
                    </a:moveTo>
                    <a:cubicBezTo>
                      <a:pt x="1119" y="108"/>
                      <a:pt x="1118" y="107"/>
                      <a:pt x="1117" y="107"/>
                    </a:cubicBezTo>
                    <a:cubicBezTo>
                      <a:pt x="1118" y="108"/>
                      <a:pt x="1119" y="108"/>
                      <a:pt x="1121" y="108"/>
                    </a:cubicBezTo>
                    <a:close/>
                    <a:moveTo>
                      <a:pt x="1164" y="184"/>
                    </a:moveTo>
                    <a:cubicBezTo>
                      <a:pt x="1165" y="184"/>
                      <a:pt x="1166" y="185"/>
                      <a:pt x="1166" y="185"/>
                    </a:cubicBezTo>
                    <a:cubicBezTo>
                      <a:pt x="1166" y="185"/>
                      <a:pt x="1165" y="184"/>
                      <a:pt x="1164" y="18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5" name="Romania">
                <a:extLst>
                  <a:ext uri="{FF2B5EF4-FFF2-40B4-BE49-F238E27FC236}">
                    <a16:creationId xmlns:a16="http://schemas.microsoft.com/office/drawing/2014/main" id="{51D2C066-B83D-6B34-4902-8FF532270D77}"/>
                  </a:ext>
                </a:extLst>
              </p:cNvPr>
              <p:cNvSpPr>
                <a:spLocks/>
              </p:cNvSpPr>
              <p:nvPr/>
            </p:nvSpPr>
            <p:spPr bwMode="auto">
              <a:xfrm>
                <a:off x="6352413" y="2168316"/>
                <a:ext cx="294048" cy="177409"/>
              </a:xfrm>
              <a:custGeom>
                <a:avLst/>
                <a:gdLst/>
                <a:ahLst/>
                <a:cxnLst>
                  <a:cxn ang="0">
                    <a:pos x="80" y="31"/>
                  </a:cxn>
                  <a:cxn ang="0">
                    <a:pos x="75" y="32"/>
                  </a:cxn>
                  <a:cxn ang="0">
                    <a:pos x="73" y="33"/>
                  </a:cxn>
                  <a:cxn ang="0">
                    <a:pos x="69" y="30"/>
                  </a:cxn>
                  <a:cxn ang="0">
                    <a:pos x="68" y="27"/>
                  </a:cxn>
                  <a:cxn ang="0">
                    <a:pos x="68" y="22"/>
                  </a:cxn>
                  <a:cxn ang="0">
                    <a:pos x="69" y="19"/>
                  </a:cxn>
                  <a:cxn ang="0">
                    <a:pos x="66" y="14"/>
                  </a:cxn>
                  <a:cxn ang="0">
                    <a:pos x="61" y="9"/>
                  </a:cxn>
                  <a:cxn ang="0">
                    <a:pos x="59" y="6"/>
                  </a:cxn>
                  <a:cxn ang="0">
                    <a:pos x="58" y="4"/>
                  </a:cxn>
                  <a:cxn ang="0">
                    <a:pos x="56" y="2"/>
                  </a:cxn>
                  <a:cxn ang="0">
                    <a:pos x="51" y="1"/>
                  </a:cxn>
                  <a:cxn ang="0">
                    <a:pos x="43" y="4"/>
                  </a:cxn>
                  <a:cxn ang="0">
                    <a:pos x="38" y="5"/>
                  </a:cxn>
                  <a:cxn ang="0">
                    <a:pos x="32" y="4"/>
                  </a:cxn>
                  <a:cxn ang="0">
                    <a:pos x="29" y="3"/>
                  </a:cxn>
                  <a:cxn ang="0">
                    <a:pos x="23" y="3"/>
                  </a:cxn>
                  <a:cxn ang="0">
                    <a:pos x="21" y="5"/>
                  </a:cxn>
                  <a:cxn ang="0">
                    <a:pos x="18" y="5"/>
                  </a:cxn>
                  <a:cxn ang="0">
                    <a:pos x="16" y="7"/>
                  </a:cxn>
                  <a:cxn ang="0">
                    <a:pos x="14" y="10"/>
                  </a:cxn>
                  <a:cxn ang="0">
                    <a:pos x="12" y="14"/>
                  </a:cxn>
                  <a:cxn ang="0">
                    <a:pos x="11" y="15"/>
                  </a:cxn>
                  <a:cxn ang="0">
                    <a:pos x="10" y="17"/>
                  </a:cxn>
                  <a:cxn ang="0">
                    <a:pos x="8" y="21"/>
                  </a:cxn>
                  <a:cxn ang="0">
                    <a:pos x="4" y="22"/>
                  </a:cxn>
                  <a:cxn ang="0">
                    <a:pos x="0" y="23"/>
                  </a:cxn>
                  <a:cxn ang="0">
                    <a:pos x="5" y="27"/>
                  </a:cxn>
                  <a:cxn ang="0">
                    <a:pos x="6" y="31"/>
                  </a:cxn>
                  <a:cxn ang="0">
                    <a:pos x="9" y="33"/>
                  </a:cxn>
                  <a:cxn ang="0">
                    <a:pos x="10" y="35"/>
                  </a:cxn>
                  <a:cxn ang="0">
                    <a:pos x="12" y="38"/>
                  </a:cxn>
                  <a:cxn ang="0">
                    <a:pos x="16" y="39"/>
                  </a:cxn>
                  <a:cxn ang="0">
                    <a:pos x="20" y="39"/>
                  </a:cxn>
                  <a:cxn ang="0">
                    <a:pos x="21" y="41"/>
                  </a:cxn>
                  <a:cxn ang="0">
                    <a:pos x="22" y="43"/>
                  </a:cxn>
                  <a:cxn ang="0">
                    <a:pos x="25" y="45"/>
                  </a:cxn>
                  <a:cxn ang="0">
                    <a:pos x="24" y="48"/>
                  </a:cxn>
                  <a:cxn ang="0">
                    <a:pos x="32" y="49"/>
                  </a:cxn>
                  <a:cxn ang="0">
                    <a:pos x="41" y="49"/>
                  </a:cxn>
                  <a:cxn ang="0">
                    <a:pos x="48" y="50"/>
                  </a:cxn>
                  <a:cxn ang="0">
                    <a:pos x="57" y="46"/>
                  </a:cxn>
                  <a:cxn ang="0">
                    <a:pos x="62" y="45"/>
                  </a:cxn>
                  <a:cxn ang="0">
                    <a:pos x="67" y="47"/>
                  </a:cxn>
                  <a:cxn ang="0">
                    <a:pos x="71" y="49"/>
                  </a:cxn>
                  <a:cxn ang="0">
                    <a:pos x="75" y="44"/>
                  </a:cxn>
                  <a:cxn ang="0">
                    <a:pos x="76" y="40"/>
                  </a:cxn>
                  <a:cxn ang="0">
                    <a:pos x="75" y="40"/>
                  </a:cxn>
                  <a:cxn ang="0">
                    <a:pos x="77" y="39"/>
                  </a:cxn>
                  <a:cxn ang="0">
                    <a:pos x="75" y="39"/>
                  </a:cxn>
                  <a:cxn ang="0">
                    <a:pos x="76" y="36"/>
                  </a:cxn>
                  <a:cxn ang="0">
                    <a:pos x="78" y="37"/>
                  </a:cxn>
                  <a:cxn ang="0">
                    <a:pos x="79" y="38"/>
                  </a:cxn>
                </a:cxnLst>
                <a:rect l="0" t="0" r="r" b="b"/>
                <a:pathLst>
                  <a:path w="83" h="50">
                    <a:moveTo>
                      <a:pt x="83" y="34"/>
                    </a:moveTo>
                    <a:cubicBezTo>
                      <a:pt x="82" y="34"/>
                      <a:pt x="82" y="32"/>
                      <a:pt x="82" y="32"/>
                    </a:cubicBezTo>
                    <a:cubicBezTo>
                      <a:pt x="82" y="31"/>
                      <a:pt x="81" y="31"/>
                      <a:pt x="80" y="31"/>
                    </a:cubicBezTo>
                    <a:cubicBezTo>
                      <a:pt x="78" y="31"/>
                      <a:pt x="78" y="32"/>
                      <a:pt x="76" y="32"/>
                    </a:cubicBezTo>
                    <a:cubicBezTo>
                      <a:pt x="76" y="32"/>
                      <a:pt x="76" y="33"/>
                      <a:pt x="76" y="32"/>
                    </a:cubicBezTo>
                    <a:cubicBezTo>
                      <a:pt x="75" y="32"/>
                      <a:pt x="75" y="32"/>
                      <a:pt x="75" y="32"/>
                    </a:cubicBezTo>
                    <a:cubicBezTo>
                      <a:pt x="75" y="32"/>
                      <a:pt x="75" y="33"/>
                      <a:pt x="75" y="33"/>
                    </a:cubicBezTo>
                    <a:cubicBezTo>
                      <a:pt x="75" y="33"/>
                      <a:pt x="74" y="33"/>
                      <a:pt x="74" y="33"/>
                    </a:cubicBezTo>
                    <a:cubicBezTo>
                      <a:pt x="74" y="33"/>
                      <a:pt x="73" y="33"/>
                      <a:pt x="73" y="33"/>
                    </a:cubicBezTo>
                    <a:cubicBezTo>
                      <a:pt x="73" y="33"/>
                      <a:pt x="72" y="33"/>
                      <a:pt x="71" y="32"/>
                    </a:cubicBezTo>
                    <a:cubicBezTo>
                      <a:pt x="71" y="32"/>
                      <a:pt x="70" y="32"/>
                      <a:pt x="70" y="31"/>
                    </a:cubicBezTo>
                    <a:cubicBezTo>
                      <a:pt x="70" y="31"/>
                      <a:pt x="70" y="31"/>
                      <a:pt x="69" y="30"/>
                    </a:cubicBezTo>
                    <a:cubicBezTo>
                      <a:pt x="69" y="30"/>
                      <a:pt x="69" y="30"/>
                      <a:pt x="68" y="29"/>
                    </a:cubicBezTo>
                    <a:cubicBezTo>
                      <a:pt x="68" y="29"/>
                      <a:pt x="68" y="29"/>
                      <a:pt x="69" y="29"/>
                    </a:cubicBezTo>
                    <a:cubicBezTo>
                      <a:pt x="69" y="29"/>
                      <a:pt x="69" y="27"/>
                      <a:pt x="68" y="27"/>
                    </a:cubicBezTo>
                    <a:cubicBezTo>
                      <a:pt x="68" y="26"/>
                      <a:pt x="68" y="26"/>
                      <a:pt x="68" y="26"/>
                    </a:cubicBezTo>
                    <a:cubicBezTo>
                      <a:pt x="68" y="25"/>
                      <a:pt x="68" y="25"/>
                      <a:pt x="68" y="24"/>
                    </a:cubicBezTo>
                    <a:cubicBezTo>
                      <a:pt x="68" y="24"/>
                      <a:pt x="68" y="23"/>
                      <a:pt x="68" y="22"/>
                    </a:cubicBezTo>
                    <a:cubicBezTo>
                      <a:pt x="68" y="22"/>
                      <a:pt x="68" y="22"/>
                      <a:pt x="68" y="22"/>
                    </a:cubicBezTo>
                    <a:cubicBezTo>
                      <a:pt x="69" y="21"/>
                      <a:pt x="69" y="21"/>
                      <a:pt x="69" y="20"/>
                    </a:cubicBezTo>
                    <a:cubicBezTo>
                      <a:pt x="69" y="20"/>
                      <a:pt x="69" y="20"/>
                      <a:pt x="69" y="19"/>
                    </a:cubicBezTo>
                    <a:cubicBezTo>
                      <a:pt x="69" y="19"/>
                      <a:pt x="69" y="18"/>
                      <a:pt x="68" y="18"/>
                    </a:cubicBezTo>
                    <a:cubicBezTo>
                      <a:pt x="68" y="17"/>
                      <a:pt x="68" y="17"/>
                      <a:pt x="68" y="16"/>
                    </a:cubicBezTo>
                    <a:cubicBezTo>
                      <a:pt x="67" y="15"/>
                      <a:pt x="68" y="14"/>
                      <a:pt x="66" y="14"/>
                    </a:cubicBezTo>
                    <a:cubicBezTo>
                      <a:pt x="65" y="13"/>
                      <a:pt x="64" y="12"/>
                      <a:pt x="64" y="11"/>
                    </a:cubicBezTo>
                    <a:cubicBezTo>
                      <a:pt x="63" y="11"/>
                      <a:pt x="62" y="10"/>
                      <a:pt x="62" y="9"/>
                    </a:cubicBezTo>
                    <a:cubicBezTo>
                      <a:pt x="62" y="9"/>
                      <a:pt x="61" y="9"/>
                      <a:pt x="61" y="9"/>
                    </a:cubicBezTo>
                    <a:cubicBezTo>
                      <a:pt x="61" y="8"/>
                      <a:pt x="61" y="8"/>
                      <a:pt x="61" y="8"/>
                    </a:cubicBezTo>
                    <a:cubicBezTo>
                      <a:pt x="60" y="7"/>
                      <a:pt x="60" y="7"/>
                      <a:pt x="59" y="7"/>
                    </a:cubicBezTo>
                    <a:cubicBezTo>
                      <a:pt x="59" y="6"/>
                      <a:pt x="59" y="6"/>
                      <a:pt x="59" y="6"/>
                    </a:cubicBezTo>
                    <a:cubicBezTo>
                      <a:pt x="59" y="5"/>
                      <a:pt x="59" y="5"/>
                      <a:pt x="58" y="4"/>
                    </a:cubicBezTo>
                    <a:cubicBezTo>
                      <a:pt x="58" y="4"/>
                      <a:pt x="58" y="4"/>
                      <a:pt x="58" y="4"/>
                    </a:cubicBezTo>
                    <a:cubicBezTo>
                      <a:pt x="58" y="4"/>
                      <a:pt x="58" y="4"/>
                      <a:pt x="58" y="4"/>
                    </a:cubicBezTo>
                    <a:cubicBezTo>
                      <a:pt x="58" y="3"/>
                      <a:pt x="58" y="3"/>
                      <a:pt x="57" y="3"/>
                    </a:cubicBezTo>
                    <a:cubicBezTo>
                      <a:pt x="57" y="3"/>
                      <a:pt x="57" y="2"/>
                      <a:pt x="57" y="2"/>
                    </a:cubicBezTo>
                    <a:cubicBezTo>
                      <a:pt x="57" y="2"/>
                      <a:pt x="56" y="2"/>
                      <a:pt x="56" y="2"/>
                    </a:cubicBezTo>
                    <a:cubicBezTo>
                      <a:pt x="57" y="2"/>
                      <a:pt x="55" y="1"/>
                      <a:pt x="55" y="1"/>
                    </a:cubicBezTo>
                    <a:cubicBezTo>
                      <a:pt x="55" y="0"/>
                      <a:pt x="54" y="1"/>
                      <a:pt x="53" y="0"/>
                    </a:cubicBezTo>
                    <a:cubicBezTo>
                      <a:pt x="53" y="1"/>
                      <a:pt x="51" y="1"/>
                      <a:pt x="51" y="1"/>
                    </a:cubicBezTo>
                    <a:cubicBezTo>
                      <a:pt x="50" y="2"/>
                      <a:pt x="50" y="3"/>
                      <a:pt x="50" y="3"/>
                    </a:cubicBezTo>
                    <a:cubicBezTo>
                      <a:pt x="49" y="4"/>
                      <a:pt x="47" y="3"/>
                      <a:pt x="47" y="4"/>
                    </a:cubicBezTo>
                    <a:cubicBezTo>
                      <a:pt x="46" y="4"/>
                      <a:pt x="45" y="4"/>
                      <a:pt x="43" y="4"/>
                    </a:cubicBezTo>
                    <a:cubicBezTo>
                      <a:pt x="42" y="4"/>
                      <a:pt x="42" y="4"/>
                      <a:pt x="41" y="5"/>
                    </a:cubicBezTo>
                    <a:cubicBezTo>
                      <a:pt x="41" y="6"/>
                      <a:pt x="40" y="7"/>
                      <a:pt x="39" y="6"/>
                    </a:cubicBezTo>
                    <a:cubicBezTo>
                      <a:pt x="39" y="6"/>
                      <a:pt x="38" y="5"/>
                      <a:pt x="38" y="5"/>
                    </a:cubicBezTo>
                    <a:cubicBezTo>
                      <a:pt x="37" y="5"/>
                      <a:pt x="37" y="5"/>
                      <a:pt x="37" y="4"/>
                    </a:cubicBezTo>
                    <a:cubicBezTo>
                      <a:pt x="36" y="4"/>
                      <a:pt x="35" y="4"/>
                      <a:pt x="34" y="4"/>
                    </a:cubicBezTo>
                    <a:cubicBezTo>
                      <a:pt x="33" y="4"/>
                      <a:pt x="33" y="4"/>
                      <a:pt x="32" y="4"/>
                    </a:cubicBezTo>
                    <a:cubicBezTo>
                      <a:pt x="31" y="4"/>
                      <a:pt x="31" y="4"/>
                      <a:pt x="31" y="4"/>
                    </a:cubicBezTo>
                    <a:cubicBezTo>
                      <a:pt x="30" y="4"/>
                      <a:pt x="30" y="4"/>
                      <a:pt x="30" y="4"/>
                    </a:cubicBezTo>
                    <a:cubicBezTo>
                      <a:pt x="30" y="4"/>
                      <a:pt x="29" y="4"/>
                      <a:pt x="29" y="3"/>
                    </a:cubicBezTo>
                    <a:cubicBezTo>
                      <a:pt x="28" y="3"/>
                      <a:pt x="27" y="3"/>
                      <a:pt x="26" y="3"/>
                    </a:cubicBezTo>
                    <a:cubicBezTo>
                      <a:pt x="25" y="3"/>
                      <a:pt x="24" y="1"/>
                      <a:pt x="23" y="2"/>
                    </a:cubicBezTo>
                    <a:cubicBezTo>
                      <a:pt x="23" y="3"/>
                      <a:pt x="23" y="3"/>
                      <a:pt x="23" y="3"/>
                    </a:cubicBezTo>
                    <a:cubicBezTo>
                      <a:pt x="23" y="3"/>
                      <a:pt x="22" y="3"/>
                      <a:pt x="22" y="3"/>
                    </a:cubicBezTo>
                    <a:cubicBezTo>
                      <a:pt x="22" y="4"/>
                      <a:pt x="21" y="4"/>
                      <a:pt x="21" y="4"/>
                    </a:cubicBezTo>
                    <a:cubicBezTo>
                      <a:pt x="21" y="4"/>
                      <a:pt x="21" y="5"/>
                      <a:pt x="21" y="5"/>
                    </a:cubicBezTo>
                    <a:cubicBezTo>
                      <a:pt x="21" y="5"/>
                      <a:pt x="20" y="5"/>
                      <a:pt x="20" y="5"/>
                    </a:cubicBezTo>
                    <a:cubicBezTo>
                      <a:pt x="20" y="6"/>
                      <a:pt x="19" y="6"/>
                      <a:pt x="19" y="6"/>
                    </a:cubicBezTo>
                    <a:cubicBezTo>
                      <a:pt x="19" y="6"/>
                      <a:pt x="18" y="5"/>
                      <a:pt x="18" y="5"/>
                    </a:cubicBezTo>
                    <a:cubicBezTo>
                      <a:pt x="18" y="6"/>
                      <a:pt x="18" y="6"/>
                      <a:pt x="18" y="6"/>
                    </a:cubicBezTo>
                    <a:cubicBezTo>
                      <a:pt x="17" y="6"/>
                      <a:pt x="17" y="6"/>
                      <a:pt x="17" y="6"/>
                    </a:cubicBezTo>
                    <a:cubicBezTo>
                      <a:pt x="16" y="6"/>
                      <a:pt x="16" y="7"/>
                      <a:pt x="16" y="7"/>
                    </a:cubicBezTo>
                    <a:cubicBezTo>
                      <a:pt x="16" y="8"/>
                      <a:pt x="15" y="8"/>
                      <a:pt x="15" y="8"/>
                    </a:cubicBezTo>
                    <a:cubicBezTo>
                      <a:pt x="14" y="9"/>
                      <a:pt x="15" y="9"/>
                      <a:pt x="14" y="10"/>
                    </a:cubicBezTo>
                    <a:cubicBezTo>
                      <a:pt x="14" y="10"/>
                      <a:pt x="14" y="10"/>
                      <a:pt x="14" y="10"/>
                    </a:cubicBezTo>
                    <a:cubicBezTo>
                      <a:pt x="14" y="10"/>
                      <a:pt x="13" y="11"/>
                      <a:pt x="13" y="11"/>
                    </a:cubicBezTo>
                    <a:cubicBezTo>
                      <a:pt x="13" y="11"/>
                      <a:pt x="13" y="12"/>
                      <a:pt x="13" y="13"/>
                    </a:cubicBezTo>
                    <a:cubicBezTo>
                      <a:pt x="13" y="13"/>
                      <a:pt x="11" y="13"/>
                      <a:pt x="12" y="14"/>
                    </a:cubicBezTo>
                    <a:cubicBezTo>
                      <a:pt x="12" y="14"/>
                      <a:pt x="12" y="14"/>
                      <a:pt x="12" y="15"/>
                    </a:cubicBezTo>
                    <a:cubicBezTo>
                      <a:pt x="11" y="15"/>
                      <a:pt x="11" y="15"/>
                      <a:pt x="11" y="15"/>
                    </a:cubicBezTo>
                    <a:cubicBezTo>
                      <a:pt x="11" y="15"/>
                      <a:pt x="11" y="15"/>
                      <a:pt x="11" y="15"/>
                    </a:cubicBezTo>
                    <a:cubicBezTo>
                      <a:pt x="11" y="15"/>
                      <a:pt x="11" y="16"/>
                      <a:pt x="11" y="16"/>
                    </a:cubicBezTo>
                    <a:cubicBezTo>
                      <a:pt x="10" y="16"/>
                      <a:pt x="10" y="17"/>
                      <a:pt x="11" y="17"/>
                    </a:cubicBezTo>
                    <a:cubicBezTo>
                      <a:pt x="11" y="17"/>
                      <a:pt x="10" y="17"/>
                      <a:pt x="10" y="17"/>
                    </a:cubicBezTo>
                    <a:cubicBezTo>
                      <a:pt x="10" y="18"/>
                      <a:pt x="9" y="18"/>
                      <a:pt x="9" y="18"/>
                    </a:cubicBezTo>
                    <a:cubicBezTo>
                      <a:pt x="9" y="19"/>
                      <a:pt x="8" y="19"/>
                      <a:pt x="9" y="20"/>
                    </a:cubicBezTo>
                    <a:cubicBezTo>
                      <a:pt x="9" y="20"/>
                      <a:pt x="8" y="20"/>
                      <a:pt x="8" y="21"/>
                    </a:cubicBezTo>
                    <a:cubicBezTo>
                      <a:pt x="8" y="21"/>
                      <a:pt x="8" y="21"/>
                      <a:pt x="7" y="22"/>
                    </a:cubicBezTo>
                    <a:cubicBezTo>
                      <a:pt x="7" y="22"/>
                      <a:pt x="7" y="22"/>
                      <a:pt x="6" y="22"/>
                    </a:cubicBezTo>
                    <a:cubicBezTo>
                      <a:pt x="6" y="22"/>
                      <a:pt x="4" y="22"/>
                      <a:pt x="4" y="22"/>
                    </a:cubicBezTo>
                    <a:cubicBezTo>
                      <a:pt x="4" y="23"/>
                      <a:pt x="4" y="23"/>
                      <a:pt x="3" y="23"/>
                    </a:cubicBezTo>
                    <a:cubicBezTo>
                      <a:pt x="3" y="23"/>
                      <a:pt x="2" y="23"/>
                      <a:pt x="2" y="23"/>
                    </a:cubicBezTo>
                    <a:cubicBezTo>
                      <a:pt x="1" y="23"/>
                      <a:pt x="1" y="23"/>
                      <a:pt x="0" y="23"/>
                    </a:cubicBezTo>
                    <a:cubicBezTo>
                      <a:pt x="0" y="24"/>
                      <a:pt x="2" y="26"/>
                      <a:pt x="3" y="26"/>
                    </a:cubicBezTo>
                    <a:cubicBezTo>
                      <a:pt x="4" y="26"/>
                      <a:pt x="4" y="27"/>
                      <a:pt x="4" y="27"/>
                    </a:cubicBezTo>
                    <a:cubicBezTo>
                      <a:pt x="4" y="28"/>
                      <a:pt x="5" y="27"/>
                      <a:pt x="5" y="27"/>
                    </a:cubicBezTo>
                    <a:cubicBezTo>
                      <a:pt x="5" y="28"/>
                      <a:pt x="5" y="28"/>
                      <a:pt x="5" y="29"/>
                    </a:cubicBezTo>
                    <a:cubicBezTo>
                      <a:pt x="5" y="29"/>
                      <a:pt x="6" y="30"/>
                      <a:pt x="5" y="30"/>
                    </a:cubicBezTo>
                    <a:cubicBezTo>
                      <a:pt x="5" y="30"/>
                      <a:pt x="6" y="31"/>
                      <a:pt x="6" y="31"/>
                    </a:cubicBezTo>
                    <a:cubicBezTo>
                      <a:pt x="7" y="31"/>
                      <a:pt x="7" y="32"/>
                      <a:pt x="8" y="32"/>
                    </a:cubicBezTo>
                    <a:cubicBezTo>
                      <a:pt x="8" y="32"/>
                      <a:pt x="8" y="32"/>
                      <a:pt x="9" y="32"/>
                    </a:cubicBezTo>
                    <a:cubicBezTo>
                      <a:pt x="9" y="33"/>
                      <a:pt x="9" y="33"/>
                      <a:pt x="9" y="33"/>
                    </a:cubicBezTo>
                    <a:cubicBezTo>
                      <a:pt x="10" y="33"/>
                      <a:pt x="11" y="33"/>
                      <a:pt x="11" y="34"/>
                    </a:cubicBezTo>
                    <a:cubicBezTo>
                      <a:pt x="12" y="34"/>
                      <a:pt x="11" y="34"/>
                      <a:pt x="11" y="35"/>
                    </a:cubicBezTo>
                    <a:cubicBezTo>
                      <a:pt x="11" y="35"/>
                      <a:pt x="11" y="35"/>
                      <a:pt x="10" y="35"/>
                    </a:cubicBezTo>
                    <a:cubicBezTo>
                      <a:pt x="10" y="36"/>
                      <a:pt x="13" y="36"/>
                      <a:pt x="12" y="37"/>
                    </a:cubicBezTo>
                    <a:cubicBezTo>
                      <a:pt x="11" y="37"/>
                      <a:pt x="11" y="37"/>
                      <a:pt x="10" y="37"/>
                    </a:cubicBezTo>
                    <a:cubicBezTo>
                      <a:pt x="10" y="38"/>
                      <a:pt x="11" y="38"/>
                      <a:pt x="12" y="38"/>
                    </a:cubicBezTo>
                    <a:cubicBezTo>
                      <a:pt x="13" y="38"/>
                      <a:pt x="13" y="38"/>
                      <a:pt x="13" y="39"/>
                    </a:cubicBezTo>
                    <a:cubicBezTo>
                      <a:pt x="13" y="39"/>
                      <a:pt x="14" y="39"/>
                      <a:pt x="14" y="39"/>
                    </a:cubicBezTo>
                    <a:cubicBezTo>
                      <a:pt x="15" y="39"/>
                      <a:pt x="15" y="39"/>
                      <a:pt x="16" y="39"/>
                    </a:cubicBezTo>
                    <a:cubicBezTo>
                      <a:pt x="16" y="40"/>
                      <a:pt x="16" y="40"/>
                      <a:pt x="17" y="41"/>
                    </a:cubicBezTo>
                    <a:cubicBezTo>
                      <a:pt x="18" y="42"/>
                      <a:pt x="18" y="40"/>
                      <a:pt x="19" y="39"/>
                    </a:cubicBezTo>
                    <a:cubicBezTo>
                      <a:pt x="19" y="39"/>
                      <a:pt x="20" y="38"/>
                      <a:pt x="20" y="39"/>
                    </a:cubicBezTo>
                    <a:cubicBezTo>
                      <a:pt x="21" y="39"/>
                      <a:pt x="21" y="40"/>
                      <a:pt x="22" y="40"/>
                    </a:cubicBezTo>
                    <a:cubicBezTo>
                      <a:pt x="22" y="40"/>
                      <a:pt x="23" y="41"/>
                      <a:pt x="22" y="41"/>
                    </a:cubicBezTo>
                    <a:cubicBezTo>
                      <a:pt x="22" y="41"/>
                      <a:pt x="21" y="40"/>
                      <a:pt x="21" y="41"/>
                    </a:cubicBezTo>
                    <a:cubicBezTo>
                      <a:pt x="21" y="41"/>
                      <a:pt x="20" y="41"/>
                      <a:pt x="20" y="41"/>
                    </a:cubicBezTo>
                    <a:cubicBezTo>
                      <a:pt x="20" y="42"/>
                      <a:pt x="21" y="42"/>
                      <a:pt x="21" y="42"/>
                    </a:cubicBezTo>
                    <a:cubicBezTo>
                      <a:pt x="21" y="43"/>
                      <a:pt x="22" y="43"/>
                      <a:pt x="22" y="43"/>
                    </a:cubicBezTo>
                    <a:cubicBezTo>
                      <a:pt x="23" y="43"/>
                      <a:pt x="22" y="44"/>
                      <a:pt x="22" y="44"/>
                    </a:cubicBezTo>
                    <a:cubicBezTo>
                      <a:pt x="22" y="44"/>
                      <a:pt x="23" y="44"/>
                      <a:pt x="23" y="44"/>
                    </a:cubicBezTo>
                    <a:cubicBezTo>
                      <a:pt x="24" y="44"/>
                      <a:pt x="24" y="45"/>
                      <a:pt x="25" y="45"/>
                    </a:cubicBezTo>
                    <a:cubicBezTo>
                      <a:pt x="25" y="45"/>
                      <a:pt x="26" y="45"/>
                      <a:pt x="25" y="46"/>
                    </a:cubicBezTo>
                    <a:cubicBezTo>
                      <a:pt x="25" y="46"/>
                      <a:pt x="24" y="46"/>
                      <a:pt x="24" y="47"/>
                    </a:cubicBezTo>
                    <a:cubicBezTo>
                      <a:pt x="24" y="47"/>
                      <a:pt x="24" y="48"/>
                      <a:pt x="24" y="48"/>
                    </a:cubicBezTo>
                    <a:cubicBezTo>
                      <a:pt x="25" y="49"/>
                      <a:pt x="27" y="48"/>
                      <a:pt x="28" y="48"/>
                    </a:cubicBezTo>
                    <a:cubicBezTo>
                      <a:pt x="29" y="48"/>
                      <a:pt x="29" y="48"/>
                      <a:pt x="30" y="48"/>
                    </a:cubicBezTo>
                    <a:cubicBezTo>
                      <a:pt x="31" y="49"/>
                      <a:pt x="31" y="48"/>
                      <a:pt x="32" y="49"/>
                    </a:cubicBezTo>
                    <a:cubicBezTo>
                      <a:pt x="34" y="49"/>
                      <a:pt x="35" y="50"/>
                      <a:pt x="37" y="50"/>
                    </a:cubicBezTo>
                    <a:cubicBezTo>
                      <a:pt x="38" y="49"/>
                      <a:pt x="38" y="49"/>
                      <a:pt x="39" y="49"/>
                    </a:cubicBezTo>
                    <a:cubicBezTo>
                      <a:pt x="40" y="49"/>
                      <a:pt x="41" y="49"/>
                      <a:pt x="41" y="49"/>
                    </a:cubicBezTo>
                    <a:cubicBezTo>
                      <a:pt x="42" y="49"/>
                      <a:pt x="43" y="49"/>
                      <a:pt x="44" y="50"/>
                    </a:cubicBezTo>
                    <a:cubicBezTo>
                      <a:pt x="44" y="50"/>
                      <a:pt x="45" y="50"/>
                      <a:pt x="46" y="50"/>
                    </a:cubicBezTo>
                    <a:cubicBezTo>
                      <a:pt x="46" y="50"/>
                      <a:pt x="47" y="50"/>
                      <a:pt x="48" y="50"/>
                    </a:cubicBezTo>
                    <a:cubicBezTo>
                      <a:pt x="49" y="50"/>
                      <a:pt x="50" y="50"/>
                      <a:pt x="50" y="49"/>
                    </a:cubicBezTo>
                    <a:cubicBezTo>
                      <a:pt x="51" y="48"/>
                      <a:pt x="52" y="47"/>
                      <a:pt x="53" y="46"/>
                    </a:cubicBezTo>
                    <a:cubicBezTo>
                      <a:pt x="54" y="46"/>
                      <a:pt x="55" y="46"/>
                      <a:pt x="57" y="46"/>
                    </a:cubicBezTo>
                    <a:cubicBezTo>
                      <a:pt x="57" y="46"/>
                      <a:pt x="58" y="45"/>
                      <a:pt x="58" y="45"/>
                    </a:cubicBezTo>
                    <a:cubicBezTo>
                      <a:pt x="59" y="45"/>
                      <a:pt x="60" y="45"/>
                      <a:pt x="61" y="45"/>
                    </a:cubicBezTo>
                    <a:cubicBezTo>
                      <a:pt x="61" y="45"/>
                      <a:pt x="62" y="45"/>
                      <a:pt x="62" y="45"/>
                    </a:cubicBezTo>
                    <a:cubicBezTo>
                      <a:pt x="63" y="45"/>
                      <a:pt x="63" y="46"/>
                      <a:pt x="64" y="46"/>
                    </a:cubicBezTo>
                    <a:cubicBezTo>
                      <a:pt x="64" y="46"/>
                      <a:pt x="65" y="46"/>
                      <a:pt x="66" y="46"/>
                    </a:cubicBezTo>
                    <a:cubicBezTo>
                      <a:pt x="66" y="46"/>
                      <a:pt x="66" y="47"/>
                      <a:pt x="67" y="47"/>
                    </a:cubicBezTo>
                    <a:cubicBezTo>
                      <a:pt x="67" y="47"/>
                      <a:pt x="68" y="46"/>
                      <a:pt x="68" y="46"/>
                    </a:cubicBezTo>
                    <a:cubicBezTo>
                      <a:pt x="69" y="46"/>
                      <a:pt x="69" y="47"/>
                      <a:pt x="69" y="48"/>
                    </a:cubicBezTo>
                    <a:cubicBezTo>
                      <a:pt x="69" y="48"/>
                      <a:pt x="70" y="48"/>
                      <a:pt x="71" y="49"/>
                    </a:cubicBezTo>
                    <a:cubicBezTo>
                      <a:pt x="72" y="49"/>
                      <a:pt x="73" y="49"/>
                      <a:pt x="74" y="49"/>
                    </a:cubicBezTo>
                    <a:cubicBezTo>
                      <a:pt x="74" y="48"/>
                      <a:pt x="75" y="47"/>
                      <a:pt x="75" y="46"/>
                    </a:cubicBezTo>
                    <a:cubicBezTo>
                      <a:pt x="75" y="46"/>
                      <a:pt x="74" y="44"/>
                      <a:pt x="75" y="44"/>
                    </a:cubicBezTo>
                    <a:cubicBezTo>
                      <a:pt x="75" y="44"/>
                      <a:pt x="74" y="44"/>
                      <a:pt x="74" y="43"/>
                    </a:cubicBezTo>
                    <a:cubicBezTo>
                      <a:pt x="74" y="43"/>
                      <a:pt x="75" y="43"/>
                      <a:pt x="75" y="42"/>
                    </a:cubicBezTo>
                    <a:cubicBezTo>
                      <a:pt x="75" y="42"/>
                      <a:pt x="76" y="41"/>
                      <a:pt x="76" y="40"/>
                    </a:cubicBezTo>
                    <a:cubicBezTo>
                      <a:pt x="76" y="40"/>
                      <a:pt x="75" y="41"/>
                      <a:pt x="75" y="41"/>
                    </a:cubicBezTo>
                    <a:cubicBezTo>
                      <a:pt x="75" y="41"/>
                      <a:pt x="75" y="40"/>
                      <a:pt x="75" y="40"/>
                    </a:cubicBezTo>
                    <a:cubicBezTo>
                      <a:pt x="75" y="40"/>
                      <a:pt x="75" y="40"/>
                      <a:pt x="75" y="40"/>
                    </a:cubicBezTo>
                    <a:cubicBezTo>
                      <a:pt x="75" y="40"/>
                      <a:pt x="75" y="39"/>
                      <a:pt x="75" y="40"/>
                    </a:cubicBezTo>
                    <a:cubicBezTo>
                      <a:pt x="75" y="40"/>
                      <a:pt x="75" y="40"/>
                      <a:pt x="75" y="40"/>
                    </a:cubicBezTo>
                    <a:cubicBezTo>
                      <a:pt x="76" y="40"/>
                      <a:pt x="76" y="39"/>
                      <a:pt x="77" y="39"/>
                    </a:cubicBezTo>
                    <a:cubicBezTo>
                      <a:pt x="77" y="39"/>
                      <a:pt x="77" y="40"/>
                      <a:pt x="77" y="39"/>
                    </a:cubicBezTo>
                    <a:cubicBezTo>
                      <a:pt x="77" y="39"/>
                      <a:pt x="76" y="39"/>
                      <a:pt x="76" y="39"/>
                    </a:cubicBezTo>
                    <a:cubicBezTo>
                      <a:pt x="76" y="40"/>
                      <a:pt x="75" y="39"/>
                      <a:pt x="75" y="39"/>
                    </a:cubicBezTo>
                    <a:cubicBezTo>
                      <a:pt x="75" y="39"/>
                      <a:pt x="76" y="38"/>
                      <a:pt x="76" y="38"/>
                    </a:cubicBezTo>
                    <a:cubicBezTo>
                      <a:pt x="77" y="38"/>
                      <a:pt x="76" y="37"/>
                      <a:pt x="76" y="37"/>
                    </a:cubicBezTo>
                    <a:cubicBezTo>
                      <a:pt x="76" y="37"/>
                      <a:pt x="76" y="36"/>
                      <a:pt x="76" y="36"/>
                    </a:cubicBezTo>
                    <a:cubicBezTo>
                      <a:pt x="76" y="36"/>
                      <a:pt x="78" y="35"/>
                      <a:pt x="78" y="36"/>
                    </a:cubicBezTo>
                    <a:cubicBezTo>
                      <a:pt x="78" y="36"/>
                      <a:pt x="77" y="36"/>
                      <a:pt x="77" y="37"/>
                    </a:cubicBezTo>
                    <a:cubicBezTo>
                      <a:pt x="77" y="37"/>
                      <a:pt x="78" y="37"/>
                      <a:pt x="78" y="37"/>
                    </a:cubicBezTo>
                    <a:cubicBezTo>
                      <a:pt x="79" y="38"/>
                      <a:pt x="78" y="38"/>
                      <a:pt x="77" y="38"/>
                    </a:cubicBezTo>
                    <a:cubicBezTo>
                      <a:pt x="77" y="38"/>
                      <a:pt x="77" y="39"/>
                      <a:pt x="77" y="39"/>
                    </a:cubicBezTo>
                    <a:cubicBezTo>
                      <a:pt x="78" y="38"/>
                      <a:pt x="78" y="38"/>
                      <a:pt x="79" y="38"/>
                    </a:cubicBezTo>
                    <a:cubicBezTo>
                      <a:pt x="80" y="38"/>
                      <a:pt x="82" y="38"/>
                      <a:pt x="82" y="37"/>
                    </a:cubicBezTo>
                    <a:cubicBezTo>
                      <a:pt x="83" y="36"/>
                      <a:pt x="82" y="35"/>
                      <a:pt x="83" y="3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6" name="Reunion (France)">
                <a:extLst>
                  <a:ext uri="{FF2B5EF4-FFF2-40B4-BE49-F238E27FC236}">
                    <a16:creationId xmlns:a16="http://schemas.microsoft.com/office/drawing/2014/main" id="{C67B6766-54EF-3EA2-146A-9567856AEFC0}"/>
                  </a:ext>
                </a:extLst>
              </p:cNvPr>
              <p:cNvSpPr>
                <a:spLocks/>
              </p:cNvSpPr>
              <p:nvPr/>
            </p:nvSpPr>
            <p:spPr bwMode="auto">
              <a:xfrm>
                <a:off x="7562915" y="4859845"/>
                <a:ext cx="21564" cy="20584"/>
              </a:xfrm>
              <a:custGeom>
                <a:avLst/>
                <a:gdLst/>
                <a:ahLst/>
                <a:cxnLst>
                  <a:cxn ang="0">
                    <a:pos x="6" y="2"/>
                  </a:cxn>
                  <a:cxn ang="0">
                    <a:pos x="5" y="1"/>
                  </a:cxn>
                  <a:cxn ang="0">
                    <a:pos x="3" y="0"/>
                  </a:cxn>
                  <a:cxn ang="0">
                    <a:pos x="1" y="0"/>
                  </a:cxn>
                  <a:cxn ang="0">
                    <a:pos x="0" y="2"/>
                  </a:cxn>
                  <a:cxn ang="0">
                    <a:pos x="1" y="4"/>
                  </a:cxn>
                  <a:cxn ang="0">
                    <a:pos x="5" y="4"/>
                  </a:cxn>
                  <a:cxn ang="0">
                    <a:pos x="6" y="2"/>
                  </a:cxn>
                </a:cxnLst>
                <a:rect l="0" t="0" r="r" b="b"/>
                <a:pathLst>
                  <a:path w="6" h="6">
                    <a:moveTo>
                      <a:pt x="6" y="2"/>
                    </a:moveTo>
                    <a:cubicBezTo>
                      <a:pt x="5" y="2"/>
                      <a:pt x="5" y="1"/>
                      <a:pt x="5" y="1"/>
                    </a:cubicBezTo>
                    <a:cubicBezTo>
                      <a:pt x="4" y="0"/>
                      <a:pt x="3" y="0"/>
                      <a:pt x="3" y="0"/>
                    </a:cubicBezTo>
                    <a:cubicBezTo>
                      <a:pt x="2" y="0"/>
                      <a:pt x="1" y="0"/>
                      <a:pt x="1" y="0"/>
                    </a:cubicBezTo>
                    <a:cubicBezTo>
                      <a:pt x="1" y="1"/>
                      <a:pt x="0" y="1"/>
                      <a:pt x="0" y="2"/>
                    </a:cubicBezTo>
                    <a:cubicBezTo>
                      <a:pt x="1" y="3"/>
                      <a:pt x="0" y="3"/>
                      <a:pt x="1" y="4"/>
                    </a:cubicBezTo>
                    <a:cubicBezTo>
                      <a:pt x="2" y="5"/>
                      <a:pt x="5" y="6"/>
                      <a:pt x="5" y="4"/>
                    </a:cubicBezTo>
                    <a:cubicBezTo>
                      <a:pt x="5" y="4"/>
                      <a:pt x="6" y="3"/>
                      <a:pt x="6"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7" name="Qatar">
                <a:extLst>
                  <a:ext uri="{FF2B5EF4-FFF2-40B4-BE49-F238E27FC236}">
                    <a16:creationId xmlns:a16="http://schemas.microsoft.com/office/drawing/2014/main" id="{63C05AE3-1501-18A8-5ACF-35469B5A8ADB}"/>
                  </a:ext>
                </a:extLst>
              </p:cNvPr>
              <p:cNvSpPr>
                <a:spLocks/>
              </p:cNvSpPr>
              <p:nvPr/>
            </p:nvSpPr>
            <p:spPr bwMode="auto">
              <a:xfrm>
                <a:off x="7400208" y="3026940"/>
                <a:ext cx="32346" cy="63711"/>
              </a:xfrm>
              <a:custGeom>
                <a:avLst/>
                <a:gdLst/>
                <a:ahLst/>
                <a:cxnLst>
                  <a:cxn ang="0">
                    <a:pos x="8" y="9"/>
                  </a:cxn>
                  <a:cxn ang="0">
                    <a:pos x="7" y="8"/>
                  </a:cxn>
                  <a:cxn ang="0">
                    <a:pos x="7" y="6"/>
                  </a:cxn>
                  <a:cxn ang="0">
                    <a:pos x="7" y="5"/>
                  </a:cxn>
                  <a:cxn ang="0">
                    <a:pos x="7" y="5"/>
                  </a:cxn>
                  <a:cxn ang="0">
                    <a:pos x="7" y="4"/>
                  </a:cxn>
                  <a:cxn ang="0">
                    <a:pos x="8" y="4"/>
                  </a:cxn>
                  <a:cxn ang="0">
                    <a:pos x="7" y="2"/>
                  </a:cxn>
                  <a:cxn ang="0">
                    <a:pos x="6" y="2"/>
                  </a:cxn>
                  <a:cxn ang="0">
                    <a:pos x="5" y="1"/>
                  </a:cxn>
                  <a:cxn ang="0">
                    <a:pos x="4" y="0"/>
                  </a:cxn>
                  <a:cxn ang="0">
                    <a:pos x="3" y="1"/>
                  </a:cxn>
                  <a:cxn ang="0">
                    <a:pos x="2" y="1"/>
                  </a:cxn>
                  <a:cxn ang="0">
                    <a:pos x="2" y="2"/>
                  </a:cxn>
                  <a:cxn ang="0">
                    <a:pos x="2" y="3"/>
                  </a:cxn>
                  <a:cxn ang="0">
                    <a:pos x="2" y="4"/>
                  </a:cxn>
                  <a:cxn ang="0">
                    <a:pos x="1" y="5"/>
                  </a:cxn>
                  <a:cxn ang="0">
                    <a:pos x="2" y="5"/>
                  </a:cxn>
                  <a:cxn ang="0">
                    <a:pos x="1" y="6"/>
                  </a:cxn>
                  <a:cxn ang="0">
                    <a:pos x="1" y="6"/>
                  </a:cxn>
                  <a:cxn ang="0">
                    <a:pos x="0" y="6"/>
                  </a:cxn>
                  <a:cxn ang="0">
                    <a:pos x="1" y="7"/>
                  </a:cxn>
                  <a:cxn ang="0">
                    <a:pos x="0" y="7"/>
                  </a:cxn>
                  <a:cxn ang="0">
                    <a:pos x="0" y="9"/>
                  </a:cxn>
                  <a:cxn ang="0">
                    <a:pos x="0" y="11"/>
                  </a:cxn>
                  <a:cxn ang="0">
                    <a:pos x="1" y="12"/>
                  </a:cxn>
                  <a:cxn ang="0">
                    <a:pos x="1" y="13"/>
                  </a:cxn>
                  <a:cxn ang="0">
                    <a:pos x="1" y="15"/>
                  </a:cxn>
                  <a:cxn ang="0">
                    <a:pos x="3" y="17"/>
                  </a:cxn>
                  <a:cxn ang="0">
                    <a:pos x="4" y="17"/>
                  </a:cxn>
                  <a:cxn ang="0">
                    <a:pos x="6" y="16"/>
                  </a:cxn>
                  <a:cxn ang="0">
                    <a:pos x="7" y="17"/>
                  </a:cxn>
                  <a:cxn ang="0">
                    <a:pos x="7" y="15"/>
                  </a:cxn>
                  <a:cxn ang="0">
                    <a:pos x="8" y="12"/>
                  </a:cxn>
                  <a:cxn ang="0">
                    <a:pos x="8" y="11"/>
                  </a:cxn>
                  <a:cxn ang="0">
                    <a:pos x="8" y="9"/>
                  </a:cxn>
                </a:cxnLst>
                <a:rect l="0" t="0" r="r" b="b"/>
                <a:pathLst>
                  <a:path w="9" h="18">
                    <a:moveTo>
                      <a:pt x="8" y="9"/>
                    </a:moveTo>
                    <a:cubicBezTo>
                      <a:pt x="7" y="9"/>
                      <a:pt x="7" y="9"/>
                      <a:pt x="7" y="8"/>
                    </a:cubicBezTo>
                    <a:cubicBezTo>
                      <a:pt x="7" y="7"/>
                      <a:pt x="7" y="7"/>
                      <a:pt x="7" y="6"/>
                    </a:cubicBezTo>
                    <a:cubicBezTo>
                      <a:pt x="7" y="6"/>
                      <a:pt x="8" y="5"/>
                      <a:pt x="7" y="5"/>
                    </a:cubicBezTo>
                    <a:cubicBezTo>
                      <a:pt x="7" y="5"/>
                      <a:pt x="7" y="5"/>
                      <a:pt x="7" y="5"/>
                    </a:cubicBezTo>
                    <a:cubicBezTo>
                      <a:pt x="8" y="5"/>
                      <a:pt x="7" y="5"/>
                      <a:pt x="7" y="4"/>
                    </a:cubicBezTo>
                    <a:cubicBezTo>
                      <a:pt x="7" y="4"/>
                      <a:pt x="8" y="4"/>
                      <a:pt x="8" y="4"/>
                    </a:cubicBezTo>
                    <a:cubicBezTo>
                      <a:pt x="8" y="3"/>
                      <a:pt x="7" y="3"/>
                      <a:pt x="7" y="2"/>
                    </a:cubicBezTo>
                    <a:cubicBezTo>
                      <a:pt x="7" y="2"/>
                      <a:pt x="6" y="2"/>
                      <a:pt x="6" y="2"/>
                    </a:cubicBezTo>
                    <a:cubicBezTo>
                      <a:pt x="6" y="2"/>
                      <a:pt x="5" y="1"/>
                      <a:pt x="5" y="1"/>
                    </a:cubicBezTo>
                    <a:cubicBezTo>
                      <a:pt x="5" y="1"/>
                      <a:pt x="5" y="0"/>
                      <a:pt x="4" y="0"/>
                    </a:cubicBezTo>
                    <a:cubicBezTo>
                      <a:pt x="4" y="0"/>
                      <a:pt x="3" y="0"/>
                      <a:pt x="3" y="1"/>
                    </a:cubicBezTo>
                    <a:cubicBezTo>
                      <a:pt x="3" y="1"/>
                      <a:pt x="2" y="1"/>
                      <a:pt x="2" y="1"/>
                    </a:cubicBezTo>
                    <a:cubicBezTo>
                      <a:pt x="2" y="2"/>
                      <a:pt x="2" y="2"/>
                      <a:pt x="2" y="2"/>
                    </a:cubicBezTo>
                    <a:cubicBezTo>
                      <a:pt x="2" y="2"/>
                      <a:pt x="1" y="3"/>
                      <a:pt x="2" y="3"/>
                    </a:cubicBezTo>
                    <a:cubicBezTo>
                      <a:pt x="2" y="4"/>
                      <a:pt x="2" y="4"/>
                      <a:pt x="2" y="4"/>
                    </a:cubicBezTo>
                    <a:cubicBezTo>
                      <a:pt x="1" y="3"/>
                      <a:pt x="1" y="4"/>
                      <a:pt x="1" y="5"/>
                    </a:cubicBezTo>
                    <a:cubicBezTo>
                      <a:pt x="1" y="5"/>
                      <a:pt x="1" y="6"/>
                      <a:pt x="2" y="5"/>
                    </a:cubicBezTo>
                    <a:cubicBezTo>
                      <a:pt x="2" y="6"/>
                      <a:pt x="1" y="6"/>
                      <a:pt x="1" y="6"/>
                    </a:cubicBezTo>
                    <a:cubicBezTo>
                      <a:pt x="1" y="6"/>
                      <a:pt x="1" y="7"/>
                      <a:pt x="1" y="6"/>
                    </a:cubicBezTo>
                    <a:cubicBezTo>
                      <a:pt x="1" y="6"/>
                      <a:pt x="1" y="5"/>
                      <a:pt x="0" y="6"/>
                    </a:cubicBezTo>
                    <a:cubicBezTo>
                      <a:pt x="1" y="6"/>
                      <a:pt x="1" y="7"/>
                      <a:pt x="1" y="7"/>
                    </a:cubicBezTo>
                    <a:cubicBezTo>
                      <a:pt x="1" y="8"/>
                      <a:pt x="0" y="7"/>
                      <a:pt x="0" y="7"/>
                    </a:cubicBezTo>
                    <a:cubicBezTo>
                      <a:pt x="0" y="7"/>
                      <a:pt x="0" y="8"/>
                      <a:pt x="0" y="9"/>
                    </a:cubicBezTo>
                    <a:cubicBezTo>
                      <a:pt x="0" y="10"/>
                      <a:pt x="0" y="11"/>
                      <a:pt x="0" y="11"/>
                    </a:cubicBezTo>
                    <a:cubicBezTo>
                      <a:pt x="1" y="12"/>
                      <a:pt x="1" y="12"/>
                      <a:pt x="1" y="12"/>
                    </a:cubicBezTo>
                    <a:cubicBezTo>
                      <a:pt x="1" y="12"/>
                      <a:pt x="1" y="13"/>
                      <a:pt x="1" y="13"/>
                    </a:cubicBezTo>
                    <a:cubicBezTo>
                      <a:pt x="1" y="14"/>
                      <a:pt x="1" y="14"/>
                      <a:pt x="1" y="15"/>
                    </a:cubicBezTo>
                    <a:cubicBezTo>
                      <a:pt x="1" y="16"/>
                      <a:pt x="2" y="16"/>
                      <a:pt x="3" y="17"/>
                    </a:cubicBezTo>
                    <a:cubicBezTo>
                      <a:pt x="3" y="17"/>
                      <a:pt x="4" y="18"/>
                      <a:pt x="4" y="17"/>
                    </a:cubicBezTo>
                    <a:cubicBezTo>
                      <a:pt x="5" y="17"/>
                      <a:pt x="5" y="16"/>
                      <a:pt x="6" y="16"/>
                    </a:cubicBezTo>
                    <a:cubicBezTo>
                      <a:pt x="6" y="16"/>
                      <a:pt x="6" y="17"/>
                      <a:pt x="7" y="17"/>
                    </a:cubicBezTo>
                    <a:cubicBezTo>
                      <a:pt x="7" y="17"/>
                      <a:pt x="7" y="16"/>
                      <a:pt x="7" y="15"/>
                    </a:cubicBezTo>
                    <a:cubicBezTo>
                      <a:pt x="8" y="14"/>
                      <a:pt x="8" y="13"/>
                      <a:pt x="8" y="12"/>
                    </a:cubicBezTo>
                    <a:cubicBezTo>
                      <a:pt x="8" y="12"/>
                      <a:pt x="8" y="12"/>
                      <a:pt x="8" y="11"/>
                    </a:cubicBezTo>
                    <a:cubicBezTo>
                      <a:pt x="8" y="11"/>
                      <a:pt x="9" y="9"/>
                      <a:pt x="8" y="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8" name="Puerto Rico">
                <a:extLst>
                  <a:ext uri="{FF2B5EF4-FFF2-40B4-BE49-F238E27FC236}">
                    <a16:creationId xmlns:a16="http://schemas.microsoft.com/office/drawing/2014/main" id="{7D584B4E-44B8-A73D-A0FF-1845B112952C}"/>
                  </a:ext>
                </a:extLst>
              </p:cNvPr>
              <p:cNvSpPr>
                <a:spLocks noEditPoints="1"/>
              </p:cNvSpPr>
              <p:nvPr/>
            </p:nvSpPr>
            <p:spPr bwMode="auto">
              <a:xfrm>
                <a:off x="3396240" y="3324907"/>
                <a:ext cx="95076" cy="20584"/>
              </a:xfrm>
              <a:custGeom>
                <a:avLst/>
                <a:gdLst/>
                <a:ahLst/>
                <a:cxnLst>
                  <a:cxn ang="0">
                    <a:pos x="1" y="5"/>
                  </a:cxn>
                  <a:cxn ang="0">
                    <a:pos x="1" y="5"/>
                  </a:cxn>
                  <a:cxn ang="0">
                    <a:pos x="23" y="2"/>
                  </a:cxn>
                  <a:cxn ang="0">
                    <a:pos x="23" y="1"/>
                  </a:cxn>
                  <a:cxn ang="0">
                    <a:pos x="22" y="1"/>
                  </a:cxn>
                  <a:cxn ang="0">
                    <a:pos x="19" y="0"/>
                  </a:cxn>
                  <a:cxn ang="0">
                    <a:pos x="19" y="1"/>
                  </a:cxn>
                  <a:cxn ang="0">
                    <a:pos x="18" y="0"/>
                  </a:cxn>
                  <a:cxn ang="0">
                    <a:pos x="16" y="0"/>
                  </a:cxn>
                  <a:cxn ang="0">
                    <a:pos x="14" y="0"/>
                  </a:cxn>
                  <a:cxn ang="0">
                    <a:pos x="12" y="0"/>
                  </a:cxn>
                  <a:cxn ang="0">
                    <a:pos x="11" y="0"/>
                  </a:cxn>
                  <a:cxn ang="0">
                    <a:pos x="9" y="0"/>
                  </a:cxn>
                  <a:cxn ang="0">
                    <a:pos x="9" y="1"/>
                  </a:cxn>
                  <a:cxn ang="0">
                    <a:pos x="8" y="1"/>
                  </a:cxn>
                  <a:cxn ang="0">
                    <a:pos x="9" y="3"/>
                  </a:cxn>
                  <a:cxn ang="0">
                    <a:pos x="8" y="5"/>
                  </a:cxn>
                  <a:cxn ang="0">
                    <a:pos x="8" y="6"/>
                  </a:cxn>
                  <a:cxn ang="0">
                    <a:pos x="10" y="6"/>
                  </a:cxn>
                  <a:cxn ang="0">
                    <a:pos x="11" y="6"/>
                  </a:cxn>
                  <a:cxn ang="0">
                    <a:pos x="12" y="6"/>
                  </a:cxn>
                  <a:cxn ang="0">
                    <a:pos x="12" y="5"/>
                  </a:cxn>
                  <a:cxn ang="0">
                    <a:pos x="13" y="6"/>
                  </a:cxn>
                  <a:cxn ang="0">
                    <a:pos x="14" y="6"/>
                  </a:cxn>
                  <a:cxn ang="0">
                    <a:pos x="15" y="6"/>
                  </a:cxn>
                  <a:cxn ang="0">
                    <a:pos x="16" y="6"/>
                  </a:cxn>
                  <a:cxn ang="0">
                    <a:pos x="17" y="6"/>
                  </a:cxn>
                  <a:cxn ang="0">
                    <a:pos x="18" y="6"/>
                  </a:cxn>
                  <a:cxn ang="0">
                    <a:pos x="18" y="6"/>
                  </a:cxn>
                  <a:cxn ang="0">
                    <a:pos x="20" y="6"/>
                  </a:cxn>
                  <a:cxn ang="0">
                    <a:pos x="21" y="5"/>
                  </a:cxn>
                  <a:cxn ang="0">
                    <a:pos x="22" y="4"/>
                  </a:cxn>
                  <a:cxn ang="0">
                    <a:pos x="23" y="3"/>
                  </a:cxn>
                  <a:cxn ang="0">
                    <a:pos x="23" y="2"/>
                  </a:cxn>
                  <a:cxn ang="0">
                    <a:pos x="26" y="4"/>
                  </a:cxn>
                  <a:cxn ang="0">
                    <a:pos x="24" y="4"/>
                  </a:cxn>
                  <a:cxn ang="0">
                    <a:pos x="24" y="5"/>
                  </a:cxn>
                  <a:cxn ang="0">
                    <a:pos x="26" y="4"/>
                  </a:cxn>
                  <a:cxn ang="0">
                    <a:pos x="26" y="4"/>
                  </a:cxn>
                </a:cxnLst>
                <a:rect l="0" t="0" r="r" b="b"/>
                <a:pathLst>
                  <a:path w="27" h="6">
                    <a:moveTo>
                      <a:pt x="1" y="5"/>
                    </a:moveTo>
                    <a:cubicBezTo>
                      <a:pt x="0" y="4"/>
                      <a:pt x="3" y="4"/>
                      <a:pt x="1" y="5"/>
                    </a:cubicBezTo>
                    <a:close/>
                    <a:moveTo>
                      <a:pt x="23" y="2"/>
                    </a:moveTo>
                    <a:cubicBezTo>
                      <a:pt x="23" y="2"/>
                      <a:pt x="23" y="2"/>
                      <a:pt x="23" y="1"/>
                    </a:cubicBezTo>
                    <a:cubicBezTo>
                      <a:pt x="23" y="2"/>
                      <a:pt x="22" y="1"/>
                      <a:pt x="22" y="1"/>
                    </a:cubicBezTo>
                    <a:cubicBezTo>
                      <a:pt x="21" y="0"/>
                      <a:pt x="20" y="1"/>
                      <a:pt x="19" y="0"/>
                    </a:cubicBezTo>
                    <a:cubicBezTo>
                      <a:pt x="19" y="0"/>
                      <a:pt x="19" y="1"/>
                      <a:pt x="19" y="1"/>
                    </a:cubicBezTo>
                    <a:cubicBezTo>
                      <a:pt x="19" y="1"/>
                      <a:pt x="19" y="0"/>
                      <a:pt x="18" y="0"/>
                    </a:cubicBezTo>
                    <a:cubicBezTo>
                      <a:pt x="17" y="0"/>
                      <a:pt x="17" y="0"/>
                      <a:pt x="16" y="0"/>
                    </a:cubicBezTo>
                    <a:cubicBezTo>
                      <a:pt x="15" y="0"/>
                      <a:pt x="14" y="0"/>
                      <a:pt x="14" y="0"/>
                    </a:cubicBezTo>
                    <a:cubicBezTo>
                      <a:pt x="13" y="0"/>
                      <a:pt x="13" y="0"/>
                      <a:pt x="12" y="0"/>
                    </a:cubicBezTo>
                    <a:cubicBezTo>
                      <a:pt x="12" y="0"/>
                      <a:pt x="11" y="0"/>
                      <a:pt x="11" y="0"/>
                    </a:cubicBezTo>
                    <a:cubicBezTo>
                      <a:pt x="10" y="0"/>
                      <a:pt x="10" y="0"/>
                      <a:pt x="9" y="0"/>
                    </a:cubicBezTo>
                    <a:cubicBezTo>
                      <a:pt x="9" y="0"/>
                      <a:pt x="9" y="0"/>
                      <a:pt x="9" y="1"/>
                    </a:cubicBezTo>
                    <a:cubicBezTo>
                      <a:pt x="8" y="1"/>
                      <a:pt x="8" y="1"/>
                      <a:pt x="8" y="1"/>
                    </a:cubicBezTo>
                    <a:cubicBezTo>
                      <a:pt x="7" y="2"/>
                      <a:pt x="9" y="3"/>
                      <a:pt x="9" y="3"/>
                    </a:cubicBezTo>
                    <a:cubicBezTo>
                      <a:pt x="8" y="4"/>
                      <a:pt x="8" y="4"/>
                      <a:pt x="8" y="5"/>
                    </a:cubicBezTo>
                    <a:cubicBezTo>
                      <a:pt x="8" y="5"/>
                      <a:pt x="8" y="6"/>
                      <a:pt x="8" y="6"/>
                    </a:cubicBezTo>
                    <a:cubicBezTo>
                      <a:pt x="8" y="6"/>
                      <a:pt x="9" y="6"/>
                      <a:pt x="10" y="6"/>
                    </a:cubicBezTo>
                    <a:cubicBezTo>
                      <a:pt x="10" y="6"/>
                      <a:pt x="11" y="6"/>
                      <a:pt x="11" y="6"/>
                    </a:cubicBezTo>
                    <a:cubicBezTo>
                      <a:pt x="11" y="6"/>
                      <a:pt x="12" y="6"/>
                      <a:pt x="12" y="6"/>
                    </a:cubicBezTo>
                    <a:cubicBezTo>
                      <a:pt x="12" y="6"/>
                      <a:pt x="12" y="6"/>
                      <a:pt x="12" y="5"/>
                    </a:cubicBezTo>
                    <a:cubicBezTo>
                      <a:pt x="12" y="5"/>
                      <a:pt x="12" y="6"/>
                      <a:pt x="13" y="6"/>
                    </a:cubicBezTo>
                    <a:cubicBezTo>
                      <a:pt x="13" y="6"/>
                      <a:pt x="13" y="6"/>
                      <a:pt x="14" y="6"/>
                    </a:cubicBezTo>
                    <a:cubicBezTo>
                      <a:pt x="14" y="6"/>
                      <a:pt x="14" y="6"/>
                      <a:pt x="15" y="6"/>
                    </a:cubicBezTo>
                    <a:cubicBezTo>
                      <a:pt x="15" y="6"/>
                      <a:pt x="15" y="6"/>
                      <a:pt x="16" y="6"/>
                    </a:cubicBezTo>
                    <a:cubicBezTo>
                      <a:pt x="16" y="6"/>
                      <a:pt x="17" y="6"/>
                      <a:pt x="17" y="6"/>
                    </a:cubicBezTo>
                    <a:cubicBezTo>
                      <a:pt x="17" y="6"/>
                      <a:pt x="17" y="6"/>
                      <a:pt x="18" y="6"/>
                    </a:cubicBezTo>
                    <a:cubicBezTo>
                      <a:pt x="18" y="6"/>
                      <a:pt x="18" y="6"/>
                      <a:pt x="18" y="6"/>
                    </a:cubicBezTo>
                    <a:cubicBezTo>
                      <a:pt x="19" y="6"/>
                      <a:pt x="19" y="6"/>
                      <a:pt x="20" y="6"/>
                    </a:cubicBezTo>
                    <a:cubicBezTo>
                      <a:pt x="20" y="6"/>
                      <a:pt x="21" y="5"/>
                      <a:pt x="21" y="5"/>
                    </a:cubicBezTo>
                    <a:cubicBezTo>
                      <a:pt x="21" y="5"/>
                      <a:pt x="22" y="4"/>
                      <a:pt x="22" y="4"/>
                    </a:cubicBezTo>
                    <a:cubicBezTo>
                      <a:pt x="22" y="3"/>
                      <a:pt x="23" y="3"/>
                      <a:pt x="23" y="3"/>
                    </a:cubicBezTo>
                    <a:cubicBezTo>
                      <a:pt x="23" y="3"/>
                      <a:pt x="23" y="2"/>
                      <a:pt x="23" y="2"/>
                    </a:cubicBezTo>
                    <a:close/>
                    <a:moveTo>
                      <a:pt x="26" y="4"/>
                    </a:moveTo>
                    <a:cubicBezTo>
                      <a:pt x="25" y="4"/>
                      <a:pt x="25" y="4"/>
                      <a:pt x="24" y="4"/>
                    </a:cubicBezTo>
                    <a:cubicBezTo>
                      <a:pt x="24" y="4"/>
                      <a:pt x="23" y="4"/>
                      <a:pt x="24" y="5"/>
                    </a:cubicBezTo>
                    <a:cubicBezTo>
                      <a:pt x="25" y="4"/>
                      <a:pt x="25" y="4"/>
                      <a:pt x="26" y="4"/>
                    </a:cubicBezTo>
                    <a:cubicBezTo>
                      <a:pt x="27" y="4"/>
                      <a:pt x="26" y="4"/>
                      <a:pt x="26" y="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29" name="Portugal">
                <a:extLst>
                  <a:ext uri="{FF2B5EF4-FFF2-40B4-BE49-F238E27FC236}">
                    <a16:creationId xmlns:a16="http://schemas.microsoft.com/office/drawing/2014/main" id="{1D3E8181-B05F-8C79-5A3A-EB887705A9F7}"/>
                  </a:ext>
                </a:extLst>
              </p:cNvPr>
              <p:cNvSpPr>
                <a:spLocks noEditPoints="1"/>
              </p:cNvSpPr>
              <p:nvPr/>
            </p:nvSpPr>
            <p:spPr bwMode="auto">
              <a:xfrm>
                <a:off x="4727301" y="2402575"/>
                <a:ext cx="803734" cy="372463"/>
              </a:xfrm>
              <a:custGeom>
                <a:avLst/>
                <a:gdLst/>
                <a:ahLst/>
                <a:cxnLst>
                  <a:cxn ang="0">
                    <a:pos x="26" y="42"/>
                  </a:cxn>
                  <a:cxn ang="0">
                    <a:pos x="25" y="40"/>
                  </a:cxn>
                  <a:cxn ang="0">
                    <a:pos x="35" y="37"/>
                  </a:cxn>
                  <a:cxn ang="0">
                    <a:pos x="37" y="37"/>
                  </a:cxn>
                  <a:cxn ang="0">
                    <a:pos x="53" y="57"/>
                  </a:cxn>
                  <a:cxn ang="0">
                    <a:pos x="1" y="31"/>
                  </a:cxn>
                  <a:cxn ang="0">
                    <a:pos x="50" y="48"/>
                  </a:cxn>
                  <a:cxn ang="0">
                    <a:pos x="49" y="49"/>
                  </a:cxn>
                  <a:cxn ang="0">
                    <a:pos x="52" y="47"/>
                  </a:cxn>
                  <a:cxn ang="0">
                    <a:pos x="121" y="103"/>
                  </a:cxn>
                  <a:cxn ang="0">
                    <a:pos x="122" y="105"/>
                  </a:cxn>
                  <a:cxn ang="0">
                    <a:pos x="123" y="103"/>
                  </a:cxn>
                  <a:cxn ang="0">
                    <a:pos x="127" y="100"/>
                  </a:cxn>
                  <a:cxn ang="0">
                    <a:pos x="225" y="5"/>
                  </a:cxn>
                  <a:cxn ang="0">
                    <a:pos x="223" y="3"/>
                  </a:cxn>
                  <a:cxn ang="0">
                    <a:pos x="220" y="2"/>
                  </a:cxn>
                  <a:cxn ang="0">
                    <a:pos x="218" y="3"/>
                  </a:cxn>
                  <a:cxn ang="0">
                    <a:pos x="215" y="4"/>
                  </a:cxn>
                  <a:cxn ang="0">
                    <a:pos x="212" y="3"/>
                  </a:cxn>
                  <a:cxn ang="0">
                    <a:pos x="210" y="2"/>
                  </a:cxn>
                  <a:cxn ang="0">
                    <a:pos x="209" y="0"/>
                  </a:cxn>
                  <a:cxn ang="0">
                    <a:pos x="203" y="4"/>
                  </a:cxn>
                  <a:cxn ang="0">
                    <a:pos x="203" y="6"/>
                  </a:cxn>
                  <a:cxn ang="0">
                    <a:pos x="204" y="12"/>
                  </a:cxn>
                  <a:cxn ang="0">
                    <a:pos x="204" y="14"/>
                  </a:cxn>
                  <a:cxn ang="0">
                    <a:pos x="205" y="16"/>
                  </a:cxn>
                  <a:cxn ang="0">
                    <a:pos x="202" y="22"/>
                  </a:cxn>
                  <a:cxn ang="0">
                    <a:pos x="199" y="29"/>
                  </a:cxn>
                  <a:cxn ang="0">
                    <a:pos x="198" y="30"/>
                  </a:cxn>
                  <a:cxn ang="0">
                    <a:pos x="196" y="36"/>
                  </a:cxn>
                  <a:cxn ang="0">
                    <a:pos x="200" y="35"/>
                  </a:cxn>
                  <a:cxn ang="0">
                    <a:pos x="200" y="38"/>
                  </a:cxn>
                  <a:cxn ang="0">
                    <a:pos x="198" y="39"/>
                  </a:cxn>
                  <a:cxn ang="0">
                    <a:pos x="198" y="40"/>
                  </a:cxn>
                  <a:cxn ang="0">
                    <a:pos x="201" y="40"/>
                  </a:cxn>
                  <a:cxn ang="0">
                    <a:pos x="202" y="39"/>
                  </a:cxn>
                  <a:cxn ang="0">
                    <a:pos x="201" y="41"/>
                  </a:cxn>
                  <a:cxn ang="0">
                    <a:pos x="201" y="43"/>
                  </a:cxn>
                  <a:cxn ang="0">
                    <a:pos x="201" y="47"/>
                  </a:cxn>
                  <a:cxn ang="0">
                    <a:pos x="200" y="53"/>
                  </a:cxn>
                  <a:cxn ang="0">
                    <a:pos x="201" y="56"/>
                  </a:cxn>
                  <a:cxn ang="0">
                    <a:pos x="206" y="56"/>
                  </a:cxn>
                  <a:cxn ang="0">
                    <a:pos x="211" y="55"/>
                  </a:cxn>
                  <a:cxn ang="0">
                    <a:pos x="212" y="51"/>
                  </a:cxn>
                  <a:cxn ang="0">
                    <a:pos x="215" y="46"/>
                  </a:cxn>
                  <a:cxn ang="0">
                    <a:pos x="218" y="44"/>
                  </a:cxn>
                  <a:cxn ang="0">
                    <a:pos x="215" y="39"/>
                  </a:cxn>
                  <a:cxn ang="0">
                    <a:pos x="217" y="34"/>
                  </a:cxn>
                  <a:cxn ang="0">
                    <a:pos x="216" y="32"/>
                  </a:cxn>
                  <a:cxn ang="0">
                    <a:pos x="215" y="29"/>
                  </a:cxn>
                  <a:cxn ang="0">
                    <a:pos x="218" y="27"/>
                  </a:cxn>
                  <a:cxn ang="0">
                    <a:pos x="219" y="23"/>
                  </a:cxn>
                  <a:cxn ang="0">
                    <a:pos x="220" y="19"/>
                  </a:cxn>
                  <a:cxn ang="0">
                    <a:pos x="221" y="16"/>
                  </a:cxn>
                  <a:cxn ang="0">
                    <a:pos x="220" y="13"/>
                  </a:cxn>
                  <a:cxn ang="0">
                    <a:pos x="222" y="11"/>
                  </a:cxn>
                  <a:cxn ang="0">
                    <a:pos x="226" y="9"/>
                  </a:cxn>
                  <a:cxn ang="0">
                    <a:pos x="225" y="5"/>
                  </a:cxn>
                </a:cxnLst>
                <a:rect l="0" t="0" r="r" b="b"/>
                <a:pathLst>
                  <a:path w="227" h="105">
                    <a:moveTo>
                      <a:pt x="27" y="41"/>
                    </a:moveTo>
                    <a:cubicBezTo>
                      <a:pt x="28" y="41"/>
                      <a:pt x="27" y="41"/>
                      <a:pt x="27" y="41"/>
                    </a:cubicBezTo>
                    <a:cubicBezTo>
                      <a:pt x="27" y="41"/>
                      <a:pt x="26" y="41"/>
                      <a:pt x="26" y="42"/>
                    </a:cubicBezTo>
                    <a:cubicBezTo>
                      <a:pt x="26" y="42"/>
                      <a:pt x="25" y="41"/>
                      <a:pt x="25" y="41"/>
                    </a:cubicBezTo>
                    <a:cubicBezTo>
                      <a:pt x="24" y="41"/>
                      <a:pt x="24" y="41"/>
                      <a:pt x="23" y="41"/>
                    </a:cubicBezTo>
                    <a:cubicBezTo>
                      <a:pt x="22" y="40"/>
                      <a:pt x="24" y="40"/>
                      <a:pt x="25" y="40"/>
                    </a:cubicBezTo>
                    <a:cubicBezTo>
                      <a:pt x="25" y="40"/>
                      <a:pt x="26" y="40"/>
                      <a:pt x="26" y="41"/>
                    </a:cubicBezTo>
                    <a:cubicBezTo>
                      <a:pt x="27" y="41"/>
                      <a:pt x="27" y="41"/>
                      <a:pt x="27" y="41"/>
                    </a:cubicBezTo>
                    <a:close/>
                    <a:moveTo>
                      <a:pt x="35" y="37"/>
                    </a:moveTo>
                    <a:cubicBezTo>
                      <a:pt x="35" y="37"/>
                      <a:pt x="34" y="37"/>
                      <a:pt x="34" y="38"/>
                    </a:cubicBezTo>
                    <a:cubicBezTo>
                      <a:pt x="34" y="39"/>
                      <a:pt x="35" y="38"/>
                      <a:pt x="36" y="39"/>
                    </a:cubicBezTo>
                    <a:cubicBezTo>
                      <a:pt x="37" y="39"/>
                      <a:pt x="37" y="38"/>
                      <a:pt x="37" y="37"/>
                    </a:cubicBezTo>
                    <a:cubicBezTo>
                      <a:pt x="37" y="37"/>
                      <a:pt x="36" y="37"/>
                      <a:pt x="35" y="37"/>
                    </a:cubicBezTo>
                    <a:close/>
                    <a:moveTo>
                      <a:pt x="51" y="57"/>
                    </a:moveTo>
                    <a:cubicBezTo>
                      <a:pt x="51" y="57"/>
                      <a:pt x="52" y="57"/>
                      <a:pt x="53" y="57"/>
                    </a:cubicBezTo>
                    <a:cubicBezTo>
                      <a:pt x="53" y="57"/>
                      <a:pt x="52" y="56"/>
                      <a:pt x="51" y="57"/>
                    </a:cubicBezTo>
                    <a:close/>
                    <a:moveTo>
                      <a:pt x="1" y="29"/>
                    </a:moveTo>
                    <a:cubicBezTo>
                      <a:pt x="0" y="30"/>
                      <a:pt x="0" y="31"/>
                      <a:pt x="1" y="31"/>
                    </a:cubicBezTo>
                    <a:cubicBezTo>
                      <a:pt x="2" y="31"/>
                      <a:pt x="1" y="29"/>
                      <a:pt x="1" y="29"/>
                    </a:cubicBezTo>
                    <a:close/>
                    <a:moveTo>
                      <a:pt x="52" y="47"/>
                    </a:moveTo>
                    <a:cubicBezTo>
                      <a:pt x="51" y="47"/>
                      <a:pt x="50" y="47"/>
                      <a:pt x="50" y="48"/>
                    </a:cubicBezTo>
                    <a:cubicBezTo>
                      <a:pt x="49" y="48"/>
                      <a:pt x="48" y="48"/>
                      <a:pt x="48" y="47"/>
                    </a:cubicBezTo>
                    <a:cubicBezTo>
                      <a:pt x="48" y="47"/>
                      <a:pt x="47" y="46"/>
                      <a:pt x="46" y="47"/>
                    </a:cubicBezTo>
                    <a:cubicBezTo>
                      <a:pt x="46" y="48"/>
                      <a:pt x="48" y="49"/>
                      <a:pt x="49" y="49"/>
                    </a:cubicBezTo>
                    <a:cubicBezTo>
                      <a:pt x="49" y="49"/>
                      <a:pt x="50" y="49"/>
                      <a:pt x="50" y="49"/>
                    </a:cubicBezTo>
                    <a:cubicBezTo>
                      <a:pt x="51" y="49"/>
                      <a:pt x="52" y="49"/>
                      <a:pt x="52" y="48"/>
                    </a:cubicBezTo>
                    <a:cubicBezTo>
                      <a:pt x="53" y="48"/>
                      <a:pt x="53" y="47"/>
                      <a:pt x="52" y="47"/>
                    </a:cubicBezTo>
                    <a:close/>
                    <a:moveTo>
                      <a:pt x="123" y="103"/>
                    </a:moveTo>
                    <a:cubicBezTo>
                      <a:pt x="122" y="103"/>
                      <a:pt x="122" y="102"/>
                      <a:pt x="122" y="102"/>
                    </a:cubicBezTo>
                    <a:cubicBezTo>
                      <a:pt x="121" y="102"/>
                      <a:pt x="121" y="103"/>
                      <a:pt x="121" y="103"/>
                    </a:cubicBezTo>
                    <a:cubicBezTo>
                      <a:pt x="120" y="103"/>
                      <a:pt x="120" y="102"/>
                      <a:pt x="120" y="102"/>
                    </a:cubicBezTo>
                    <a:cubicBezTo>
                      <a:pt x="119" y="102"/>
                      <a:pt x="119" y="103"/>
                      <a:pt x="119" y="103"/>
                    </a:cubicBezTo>
                    <a:cubicBezTo>
                      <a:pt x="120" y="104"/>
                      <a:pt x="121" y="104"/>
                      <a:pt x="122" y="105"/>
                    </a:cubicBezTo>
                    <a:cubicBezTo>
                      <a:pt x="122" y="105"/>
                      <a:pt x="123" y="105"/>
                      <a:pt x="123" y="104"/>
                    </a:cubicBezTo>
                    <a:cubicBezTo>
                      <a:pt x="123" y="104"/>
                      <a:pt x="124" y="103"/>
                      <a:pt x="124" y="103"/>
                    </a:cubicBezTo>
                    <a:cubicBezTo>
                      <a:pt x="124" y="103"/>
                      <a:pt x="123" y="103"/>
                      <a:pt x="123" y="103"/>
                    </a:cubicBezTo>
                    <a:close/>
                    <a:moveTo>
                      <a:pt x="128" y="99"/>
                    </a:moveTo>
                    <a:cubicBezTo>
                      <a:pt x="128" y="100"/>
                      <a:pt x="127" y="100"/>
                      <a:pt x="127" y="100"/>
                    </a:cubicBezTo>
                    <a:cubicBezTo>
                      <a:pt x="127" y="100"/>
                      <a:pt x="127" y="100"/>
                      <a:pt x="127" y="100"/>
                    </a:cubicBezTo>
                    <a:cubicBezTo>
                      <a:pt x="128" y="100"/>
                      <a:pt x="128" y="100"/>
                      <a:pt x="128" y="100"/>
                    </a:cubicBezTo>
                    <a:cubicBezTo>
                      <a:pt x="128" y="99"/>
                      <a:pt x="128" y="99"/>
                      <a:pt x="128" y="99"/>
                    </a:cubicBezTo>
                    <a:close/>
                    <a:moveTo>
                      <a:pt x="225" y="5"/>
                    </a:moveTo>
                    <a:cubicBezTo>
                      <a:pt x="225" y="5"/>
                      <a:pt x="224" y="6"/>
                      <a:pt x="224" y="5"/>
                    </a:cubicBezTo>
                    <a:cubicBezTo>
                      <a:pt x="224" y="5"/>
                      <a:pt x="224" y="5"/>
                      <a:pt x="224" y="4"/>
                    </a:cubicBezTo>
                    <a:cubicBezTo>
                      <a:pt x="224" y="4"/>
                      <a:pt x="224" y="2"/>
                      <a:pt x="223" y="3"/>
                    </a:cubicBezTo>
                    <a:cubicBezTo>
                      <a:pt x="223" y="3"/>
                      <a:pt x="222" y="3"/>
                      <a:pt x="222" y="2"/>
                    </a:cubicBezTo>
                    <a:cubicBezTo>
                      <a:pt x="222" y="2"/>
                      <a:pt x="221" y="3"/>
                      <a:pt x="221" y="3"/>
                    </a:cubicBezTo>
                    <a:cubicBezTo>
                      <a:pt x="220" y="3"/>
                      <a:pt x="220" y="2"/>
                      <a:pt x="220" y="2"/>
                    </a:cubicBezTo>
                    <a:cubicBezTo>
                      <a:pt x="220" y="3"/>
                      <a:pt x="220" y="3"/>
                      <a:pt x="219" y="3"/>
                    </a:cubicBezTo>
                    <a:cubicBezTo>
                      <a:pt x="219" y="2"/>
                      <a:pt x="219" y="2"/>
                      <a:pt x="219" y="2"/>
                    </a:cubicBezTo>
                    <a:cubicBezTo>
                      <a:pt x="218" y="2"/>
                      <a:pt x="218" y="3"/>
                      <a:pt x="218" y="3"/>
                    </a:cubicBezTo>
                    <a:cubicBezTo>
                      <a:pt x="218" y="3"/>
                      <a:pt x="218" y="3"/>
                      <a:pt x="218" y="3"/>
                    </a:cubicBezTo>
                    <a:cubicBezTo>
                      <a:pt x="217" y="4"/>
                      <a:pt x="217" y="4"/>
                      <a:pt x="216" y="4"/>
                    </a:cubicBezTo>
                    <a:cubicBezTo>
                      <a:pt x="216" y="4"/>
                      <a:pt x="216" y="3"/>
                      <a:pt x="215" y="4"/>
                    </a:cubicBezTo>
                    <a:cubicBezTo>
                      <a:pt x="215" y="4"/>
                      <a:pt x="215" y="4"/>
                      <a:pt x="214" y="4"/>
                    </a:cubicBezTo>
                    <a:cubicBezTo>
                      <a:pt x="215" y="3"/>
                      <a:pt x="213" y="3"/>
                      <a:pt x="212" y="3"/>
                    </a:cubicBezTo>
                    <a:cubicBezTo>
                      <a:pt x="212" y="3"/>
                      <a:pt x="212" y="3"/>
                      <a:pt x="212" y="3"/>
                    </a:cubicBezTo>
                    <a:cubicBezTo>
                      <a:pt x="211" y="3"/>
                      <a:pt x="211" y="4"/>
                      <a:pt x="210" y="4"/>
                    </a:cubicBezTo>
                    <a:cubicBezTo>
                      <a:pt x="210" y="4"/>
                      <a:pt x="209" y="4"/>
                      <a:pt x="209" y="3"/>
                    </a:cubicBezTo>
                    <a:cubicBezTo>
                      <a:pt x="209" y="3"/>
                      <a:pt x="210" y="2"/>
                      <a:pt x="210" y="2"/>
                    </a:cubicBezTo>
                    <a:cubicBezTo>
                      <a:pt x="210" y="2"/>
                      <a:pt x="211" y="2"/>
                      <a:pt x="210" y="1"/>
                    </a:cubicBezTo>
                    <a:cubicBezTo>
                      <a:pt x="210" y="1"/>
                      <a:pt x="210" y="1"/>
                      <a:pt x="210" y="1"/>
                    </a:cubicBezTo>
                    <a:cubicBezTo>
                      <a:pt x="209" y="1"/>
                      <a:pt x="210" y="1"/>
                      <a:pt x="209" y="0"/>
                    </a:cubicBezTo>
                    <a:cubicBezTo>
                      <a:pt x="209" y="1"/>
                      <a:pt x="208" y="1"/>
                      <a:pt x="208" y="1"/>
                    </a:cubicBezTo>
                    <a:cubicBezTo>
                      <a:pt x="207" y="1"/>
                      <a:pt x="206" y="1"/>
                      <a:pt x="205" y="2"/>
                    </a:cubicBezTo>
                    <a:cubicBezTo>
                      <a:pt x="204" y="3"/>
                      <a:pt x="203" y="3"/>
                      <a:pt x="203" y="4"/>
                    </a:cubicBezTo>
                    <a:cubicBezTo>
                      <a:pt x="203" y="5"/>
                      <a:pt x="203" y="5"/>
                      <a:pt x="203" y="5"/>
                    </a:cubicBezTo>
                    <a:cubicBezTo>
                      <a:pt x="204" y="5"/>
                      <a:pt x="204" y="5"/>
                      <a:pt x="204" y="5"/>
                    </a:cubicBezTo>
                    <a:cubicBezTo>
                      <a:pt x="204" y="6"/>
                      <a:pt x="203" y="5"/>
                      <a:pt x="203" y="6"/>
                    </a:cubicBezTo>
                    <a:cubicBezTo>
                      <a:pt x="203" y="7"/>
                      <a:pt x="204" y="7"/>
                      <a:pt x="204" y="8"/>
                    </a:cubicBezTo>
                    <a:cubicBezTo>
                      <a:pt x="204" y="8"/>
                      <a:pt x="204" y="11"/>
                      <a:pt x="205" y="11"/>
                    </a:cubicBezTo>
                    <a:cubicBezTo>
                      <a:pt x="204" y="12"/>
                      <a:pt x="204" y="12"/>
                      <a:pt x="204" y="12"/>
                    </a:cubicBezTo>
                    <a:cubicBezTo>
                      <a:pt x="205" y="13"/>
                      <a:pt x="204" y="13"/>
                      <a:pt x="204" y="14"/>
                    </a:cubicBezTo>
                    <a:cubicBezTo>
                      <a:pt x="204" y="15"/>
                      <a:pt x="203" y="16"/>
                      <a:pt x="203" y="17"/>
                    </a:cubicBezTo>
                    <a:cubicBezTo>
                      <a:pt x="204" y="16"/>
                      <a:pt x="204" y="15"/>
                      <a:pt x="204" y="14"/>
                    </a:cubicBezTo>
                    <a:cubicBezTo>
                      <a:pt x="204" y="15"/>
                      <a:pt x="204" y="15"/>
                      <a:pt x="204" y="15"/>
                    </a:cubicBezTo>
                    <a:cubicBezTo>
                      <a:pt x="205" y="14"/>
                      <a:pt x="204" y="15"/>
                      <a:pt x="204" y="15"/>
                    </a:cubicBezTo>
                    <a:cubicBezTo>
                      <a:pt x="204" y="16"/>
                      <a:pt x="204" y="16"/>
                      <a:pt x="205" y="16"/>
                    </a:cubicBezTo>
                    <a:cubicBezTo>
                      <a:pt x="204" y="16"/>
                      <a:pt x="204" y="16"/>
                      <a:pt x="204" y="17"/>
                    </a:cubicBezTo>
                    <a:cubicBezTo>
                      <a:pt x="203" y="16"/>
                      <a:pt x="203" y="19"/>
                      <a:pt x="203" y="19"/>
                    </a:cubicBezTo>
                    <a:cubicBezTo>
                      <a:pt x="202" y="20"/>
                      <a:pt x="201" y="21"/>
                      <a:pt x="202" y="22"/>
                    </a:cubicBezTo>
                    <a:cubicBezTo>
                      <a:pt x="202" y="23"/>
                      <a:pt x="201" y="24"/>
                      <a:pt x="201" y="25"/>
                    </a:cubicBezTo>
                    <a:cubicBezTo>
                      <a:pt x="200" y="26"/>
                      <a:pt x="200" y="26"/>
                      <a:pt x="200" y="26"/>
                    </a:cubicBezTo>
                    <a:cubicBezTo>
                      <a:pt x="200" y="27"/>
                      <a:pt x="199" y="29"/>
                      <a:pt x="199" y="29"/>
                    </a:cubicBezTo>
                    <a:cubicBezTo>
                      <a:pt x="198" y="29"/>
                      <a:pt x="198" y="29"/>
                      <a:pt x="198" y="30"/>
                    </a:cubicBezTo>
                    <a:cubicBezTo>
                      <a:pt x="198" y="30"/>
                      <a:pt x="198" y="30"/>
                      <a:pt x="198" y="30"/>
                    </a:cubicBezTo>
                    <a:cubicBezTo>
                      <a:pt x="198" y="30"/>
                      <a:pt x="198" y="30"/>
                      <a:pt x="198" y="30"/>
                    </a:cubicBezTo>
                    <a:cubicBezTo>
                      <a:pt x="197" y="31"/>
                      <a:pt x="197" y="31"/>
                      <a:pt x="196" y="31"/>
                    </a:cubicBezTo>
                    <a:cubicBezTo>
                      <a:pt x="198" y="31"/>
                      <a:pt x="196" y="33"/>
                      <a:pt x="196" y="34"/>
                    </a:cubicBezTo>
                    <a:cubicBezTo>
                      <a:pt x="196" y="34"/>
                      <a:pt x="196" y="35"/>
                      <a:pt x="196" y="36"/>
                    </a:cubicBezTo>
                    <a:cubicBezTo>
                      <a:pt x="195" y="36"/>
                      <a:pt x="195" y="37"/>
                      <a:pt x="195" y="38"/>
                    </a:cubicBezTo>
                    <a:cubicBezTo>
                      <a:pt x="195" y="39"/>
                      <a:pt x="197" y="38"/>
                      <a:pt x="198" y="38"/>
                    </a:cubicBezTo>
                    <a:cubicBezTo>
                      <a:pt x="199" y="38"/>
                      <a:pt x="199" y="36"/>
                      <a:pt x="200" y="35"/>
                    </a:cubicBezTo>
                    <a:cubicBezTo>
                      <a:pt x="200" y="36"/>
                      <a:pt x="200" y="36"/>
                      <a:pt x="200" y="37"/>
                    </a:cubicBezTo>
                    <a:cubicBezTo>
                      <a:pt x="200" y="38"/>
                      <a:pt x="199" y="38"/>
                      <a:pt x="199" y="38"/>
                    </a:cubicBezTo>
                    <a:cubicBezTo>
                      <a:pt x="199" y="38"/>
                      <a:pt x="200" y="38"/>
                      <a:pt x="200" y="38"/>
                    </a:cubicBezTo>
                    <a:cubicBezTo>
                      <a:pt x="199" y="38"/>
                      <a:pt x="199" y="38"/>
                      <a:pt x="199" y="38"/>
                    </a:cubicBezTo>
                    <a:cubicBezTo>
                      <a:pt x="199" y="39"/>
                      <a:pt x="199" y="39"/>
                      <a:pt x="199" y="39"/>
                    </a:cubicBezTo>
                    <a:cubicBezTo>
                      <a:pt x="199" y="39"/>
                      <a:pt x="198" y="39"/>
                      <a:pt x="198" y="39"/>
                    </a:cubicBezTo>
                    <a:cubicBezTo>
                      <a:pt x="198" y="39"/>
                      <a:pt x="198" y="39"/>
                      <a:pt x="198" y="39"/>
                    </a:cubicBezTo>
                    <a:cubicBezTo>
                      <a:pt x="198" y="38"/>
                      <a:pt x="197" y="38"/>
                      <a:pt x="197" y="39"/>
                    </a:cubicBezTo>
                    <a:cubicBezTo>
                      <a:pt x="198" y="39"/>
                      <a:pt x="198" y="40"/>
                      <a:pt x="198" y="40"/>
                    </a:cubicBezTo>
                    <a:cubicBezTo>
                      <a:pt x="198" y="40"/>
                      <a:pt x="197" y="41"/>
                      <a:pt x="197" y="41"/>
                    </a:cubicBezTo>
                    <a:cubicBezTo>
                      <a:pt x="197" y="41"/>
                      <a:pt x="199" y="41"/>
                      <a:pt x="200" y="40"/>
                    </a:cubicBezTo>
                    <a:cubicBezTo>
                      <a:pt x="200" y="40"/>
                      <a:pt x="200" y="40"/>
                      <a:pt x="201" y="40"/>
                    </a:cubicBezTo>
                    <a:cubicBezTo>
                      <a:pt x="201" y="40"/>
                      <a:pt x="202" y="41"/>
                      <a:pt x="201" y="40"/>
                    </a:cubicBezTo>
                    <a:cubicBezTo>
                      <a:pt x="201" y="40"/>
                      <a:pt x="201" y="40"/>
                      <a:pt x="201" y="40"/>
                    </a:cubicBezTo>
                    <a:cubicBezTo>
                      <a:pt x="201" y="40"/>
                      <a:pt x="201" y="40"/>
                      <a:pt x="202" y="39"/>
                    </a:cubicBezTo>
                    <a:cubicBezTo>
                      <a:pt x="202" y="40"/>
                      <a:pt x="202" y="40"/>
                      <a:pt x="202" y="40"/>
                    </a:cubicBezTo>
                    <a:cubicBezTo>
                      <a:pt x="201" y="41"/>
                      <a:pt x="202" y="41"/>
                      <a:pt x="202" y="41"/>
                    </a:cubicBezTo>
                    <a:cubicBezTo>
                      <a:pt x="202" y="41"/>
                      <a:pt x="201" y="41"/>
                      <a:pt x="201" y="41"/>
                    </a:cubicBezTo>
                    <a:cubicBezTo>
                      <a:pt x="201" y="41"/>
                      <a:pt x="201" y="41"/>
                      <a:pt x="201" y="41"/>
                    </a:cubicBezTo>
                    <a:cubicBezTo>
                      <a:pt x="201" y="41"/>
                      <a:pt x="201" y="40"/>
                      <a:pt x="200" y="40"/>
                    </a:cubicBezTo>
                    <a:cubicBezTo>
                      <a:pt x="201" y="41"/>
                      <a:pt x="201" y="42"/>
                      <a:pt x="201" y="43"/>
                    </a:cubicBezTo>
                    <a:cubicBezTo>
                      <a:pt x="201" y="44"/>
                      <a:pt x="201" y="44"/>
                      <a:pt x="201" y="45"/>
                    </a:cubicBezTo>
                    <a:cubicBezTo>
                      <a:pt x="200" y="45"/>
                      <a:pt x="200" y="46"/>
                      <a:pt x="200" y="46"/>
                    </a:cubicBezTo>
                    <a:cubicBezTo>
                      <a:pt x="200" y="46"/>
                      <a:pt x="201" y="47"/>
                      <a:pt x="201" y="47"/>
                    </a:cubicBezTo>
                    <a:cubicBezTo>
                      <a:pt x="201" y="48"/>
                      <a:pt x="200" y="49"/>
                      <a:pt x="201" y="49"/>
                    </a:cubicBezTo>
                    <a:cubicBezTo>
                      <a:pt x="200" y="49"/>
                      <a:pt x="200" y="50"/>
                      <a:pt x="200" y="51"/>
                    </a:cubicBezTo>
                    <a:cubicBezTo>
                      <a:pt x="200" y="51"/>
                      <a:pt x="200" y="52"/>
                      <a:pt x="200" y="53"/>
                    </a:cubicBezTo>
                    <a:cubicBezTo>
                      <a:pt x="199" y="53"/>
                      <a:pt x="199" y="54"/>
                      <a:pt x="199" y="55"/>
                    </a:cubicBezTo>
                    <a:cubicBezTo>
                      <a:pt x="199" y="56"/>
                      <a:pt x="198" y="56"/>
                      <a:pt x="199" y="57"/>
                    </a:cubicBezTo>
                    <a:cubicBezTo>
                      <a:pt x="199" y="56"/>
                      <a:pt x="200" y="56"/>
                      <a:pt x="201" y="56"/>
                    </a:cubicBezTo>
                    <a:cubicBezTo>
                      <a:pt x="201" y="56"/>
                      <a:pt x="201" y="55"/>
                      <a:pt x="202" y="55"/>
                    </a:cubicBezTo>
                    <a:cubicBezTo>
                      <a:pt x="202" y="55"/>
                      <a:pt x="202" y="55"/>
                      <a:pt x="203" y="55"/>
                    </a:cubicBezTo>
                    <a:cubicBezTo>
                      <a:pt x="202" y="56"/>
                      <a:pt x="206" y="56"/>
                      <a:pt x="206" y="56"/>
                    </a:cubicBezTo>
                    <a:cubicBezTo>
                      <a:pt x="207" y="57"/>
                      <a:pt x="208" y="57"/>
                      <a:pt x="209" y="56"/>
                    </a:cubicBezTo>
                    <a:cubicBezTo>
                      <a:pt x="209" y="57"/>
                      <a:pt x="210" y="56"/>
                      <a:pt x="210" y="56"/>
                    </a:cubicBezTo>
                    <a:cubicBezTo>
                      <a:pt x="210" y="56"/>
                      <a:pt x="210" y="56"/>
                      <a:pt x="211" y="55"/>
                    </a:cubicBezTo>
                    <a:cubicBezTo>
                      <a:pt x="211" y="55"/>
                      <a:pt x="212" y="54"/>
                      <a:pt x="213" y="55"/>
                    </a:cubicBezTo>
                    <a:cubicBezTo>
                      <a:pt x="212" y="54"/>
                      <a:pt x="213" y="53"/>
                      <a:pt x="212" y="52"/>
                    </a:cubicBezTo>
                    <a:cubicBezTo>
                      <a:pt x="212" y="51"/>
                      <a:pt x="212" y="51"/>
                      <a:pt x="212" y="51"/>
                    </a:cubicBezTo>
                    <a:cubicBezTo>
                      <a:pt x="212" y="50"/>
                      <a:pt x="212" y="50"/>
                      <a:pt x="212" y="49"/>
                    </a:cubicBezTo>
                    <a:cubicBezTo>
                      <a:pt x="213" y="48"/>
                      <a:pt x="214" y="48"/>
                      <a:pt x="214" y="47"/>
                    </a:cubicBezTo>
                    <a:cubicBezTo>
                      <a:pt x="215" y="47"/>
                      <a:pt x="214" y="46"/>
                      <a:pt x="215" y="46"/>
                    </a:cubicBezTo>
                    <a:cubicBezTo>
                      <a:pt x="216" y="46"/>
                      <a:pt x="216" y="45"/>
                      <a:pt x="216" y="45"/>
                    </a:cubicBezTo>
                    <a:cubicBezTo>
                      <a:pt x="217" y="45"/>
                      <a:pt x="217" y="45"/>
                      <a:pt x="217" y="45"/>
                    </a:cubicBezTo>
                    <a:cubicBezTo>
                      <a:pt x="217" y="45"/>
                      <a:pt x="218" y="44"/>
                      <a:pt x="218" y="44"/>
                    </a:cubicBezTo>
                    <a:cubicBezTo>
                      <a:pt x="218" y="43"/>
                      <a:pt x="216" y="44"/>
                      <a:pt x="216" y="43"/>
                    </a:cubicBezTo>
                    <a:cubicBezTo>
                      <a:pt x="216" y="43"/>
                      <a:pt x="215" y="42"/>
                      <a:pt x="214" y="41"/>
                    </a:cubicBezTo>
                    <a:cubicBezTo>
                      <a:pt x="214" y="41"/>
                      <a:pt x="215" y="39"/>
                      <a:pt x="215" y="39"/>
                    </a:cubicBezTo>
                    <a:cubicBezTo>
                      <a:pt x="215" y="38"/>
                      <a:pt x="215" y="38"/>
                      <a:pt x="216" y="37"/>
                    </a:cubicBezTo>
                    <a:cubicBezTo>
                      <a:pt x="217" y="36"/>
                      <a:pt x="218" y="35"/>
                      <a:pt x="218" y="35"/>
                    </a:cubicBezTo>
                    <a:cubicBezTo>
                      <a:pt x="218" y="34"/>
                      <a:pt x="217" y="34"/>
                      <a:pt x="217" y="34"/>
                    </a:cubicBezTo>
                    <a:cubicBezTo>
                      <a:pt x="216" y="33"/>
                      <a:pt x="217" y="33"/>
                      <a:pt x="216" y="33"/>
                    </a:cubicBezTo>
                    <a:cubicBezTo>
                      <a:pt x="216" y="33"/>
                      <a:pt x="216" y="33"/>
                      <a:pt x="216" y="32"/>
                    </a:cubicBezTo>
                    <a:cubicBezTo>
                      <a:pt x="216" y="32"/>
                      <a:pt x="216" y="32"/>
                      <a:pt x="216" y="32"/>
                    </a:cubicBezTo>
                    <a:cubicBezTo>
                      <a:pt x="215" y="31"/>
                      <a:pt x="215" y="31"/>
                      <a:pt x="215" y="31"/>
                    </a:cubicBezTo>
                    <a:cubicBezTo>
                      <a:pt x="215" y="30"/>
                      <a:pt x="215" y="30"/>
                      <a:pt x="215" y="30"/>
                    </a:cubicBezTo>
                    <a:cubicBezTo>
                      <a:pt x="215" y="29"/>
                      <a:pt x="215" y="29"/>
                      <a:pt x="215" y="29"/>
                    </a:cubicBezTo>
                    <a:cubicBezTo>
                      <a:pt x="214" y="28"/>
                      <a:pt x="213" y="28"/>
                      <a:pt x="213" y="27"/>
                    </a:cubicBezTo>
                    <a:cubicBezTo>
                      <a:pt x="214" y="28"/>
                      <a:pt x="214" y="28"/>
                      <a:pt x="215" y="28"/>
                    </a:cubicBezTo>
                    <a:cubicBezTo>
                      <a:pt x="216" y="28"/>
                      <a:pt x="217" y="28"/>
                      <a:pt x="218" y="27"/>
                    </a:cubicBezTo>
                    <a:cubicBezTo>
                      <a:pt x="218" y="27"/>
                      <a:pt x="218" y="26"/>
                      <a:pt x="219" y="26"/>
                    </a:cubicBezTo>
                    <a:cubicBezTo>
                      <a:pt x="219" y="25"/>
                      <a:pt x="219" y="25"/>
                      <a:pt x="219" y="24"/>
                    </a:cubicBezTo>
                    <a:cubicBezTo>
                      <a:pt x="219" y="24"/>
                      <a:pt x="219" y="23"/>
                      <a:pt x="219" y="23"/>
                    </a:cubicBezTo>
                    <a:cubicBezTo>
                      <a:pt x="218" y="22"/>
                      <a:pt x="218" y="22"/>
                      <a:pt x="219" y="21"/>
                    </a:cubicBezTo>
                    <a:cubicBezTo>
                      <a:pt x="219" y="21"/>
                      <a:pt x="220" y="21"/>
                      <a:pt x="221" y="20"/>
                    </a:cubicBezTo>
                    <a:cubicBezTo>
                      <a:pt x="221" y="19"/>
                      <a:pt x="220" y="19"/>
                      <a:pt x="220" y="19"/>
                    </a:cubicBezTo>
                    <a:cubicBezTo>
                      <a:pt x="221" y="18"/>
                      <a:pt x="220" y="18"/>
                      <a:pt x="220" y="17"/>
                    </a:cubicBezTo>
                    <a:cubicBezTo>
                      <a:pt x="220" y="17"/>
                      <a:pt x="221" y="17"/>
                      <a:pt x="221" y="17"/>
                    </a:cubicBezTo>
                    <a:cubicBezTo>
                      <a:pt x="221" y="16"/>
                      <a:pt x="221" y="16"/>
                      <a:pt x="221" y="16"/>
                    </a:cubicBezTo>
                    <a:cubicBezTo>
                      <a:pt x="221" y="15"/>
                      <a:pt x="221" y="15"/>
                      <a:pt x="221" y="15"/>
                    </a:cubicBezTo>
                    <a:cubicBezTo>
                      <a:pt x="221" y="14"/>
                      <a:pt x="221" y="14"/>
                      <a:pt x="221" y="14"/>
                    </a:cubicBezTo>
                    <a:cubicBezTo>
                      <a:pt x="220" y="14"/>
                      <a:pt x="220" y="13"/>
                      <a:pt x="220" y="13"/>
                    </a:cubicBezTo>
                    <a:cubicBezTo>
                      <a:pt x="220" y="12"/>
                      <a:pt x="221" y="13"/>
                      <a:pt x="221" y="12"/>
                    </a:cubicBezTo>
                    <a:cubicBezTo>
                      <a:pt x="221" y="12"/>
                      <a:pt x="221" y="12"/>
                      <a:pt x="221" y="11"/>
                    </a:cubicBezTo>
                    <a:cubicBezTo>
                      <a:pt x="222" y="11"/>
                      <a:pt x="222" y="11"/>
                      <a:pt x="222" y="11"/>
                    </a:cubicBezTo>
                    <a:cubicBezTo>
                      <a:pt x="223" y="10"/>
                      <a:pt x="223" y="10"/>
                      <a:pt x="223" y="10"/>
                    </a:cubicBezTo>
                    <a:cubicBezTo>
                      <a:pt x="224" y="10"/>
                      <a:pt x="225" y="9"/>
                      <a:pt x="225" y="9"/>
                    </a:cubicBezTo>
                    <a:cubicBezTo>
                      <a:pt x="225" y="9"/>
                      <a:pt x="225" y="9"/>
                      <a:pt x="226" y="9"/>
                    </a:cubicBezTo>
                    <a:cubicBezTo>
                      <a:pt x="226" y="9"/>
                      <a:pt x="226" y="8"/>
                      <a:pt x="226" y="8"/>
                    </a:cubicBezTo>
                    <a:cubicBezTo>
                      <a:pt x="226" y="8"/>
                      <a:pt x="227" y="7"/>
                      <a:pt x="227" y="7"/>
                    </a:cubicBezTo>
                    <a:cubicBezTo>
                      <a:pt x="227" y="6"/>
                      <a:pt x="226" y="6"/>
                      <a:pt x="225" y="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0" name="Poland">
                <a:extLst>
                  <a:ext uri="{FF2B5EF4-FFF2-40B4-BE49-F238E27FC236}">
                    <a16:creationId xmlns:a16="http://schemas.microsoft.com/office/drawing/2014/main" id="{4A10EB6B-8309-1824-54C1-DCCC76B1E199}"/>
                  </a:ext>
                </a:extLst>
              </p:cNvPr>
              <p:cNvSpPr>
                <a:spLocks/>
              </p:cNvSpPr>
              <p:nvPr/>
            </p:nvSpPr>
            <p:spPr bwMode="auto">
              <a:xfrm>
                <a:off x="6157362" y="1924256"/>
                <a:ext cx="304831" cy="216617"/>
              </a:xfrm>
              <a:custGeom>
                <a:avLst/>
                <a:gdLst/>
                <a:ahLst/>
                <a:cxnLst>
                  <a:cxn ang="0">
                    <a:pos x="83" y="40"/>
                  </a:cxn>
                  <a:cxn ang="0">
                    <a:pos x="80" y="37"/>
                  </a:cxn>
                  <a:cxn ang="0">
                    <a:pos x="80" y="32"/>
                  </a:cxn>
                  <a:cxn ang="0">
                    <a:pos x="77" y="28"/>
                  </a:cxn>
                  <a:cxn ang="0">
                    <a:pos x="78" y="24"/>
                  </a:cxn>
                  <a:cxn ang="0">
                    <a:pos x="81" y="18"/>
                  </a:cxn>
                  <a:cxn ang="0">
                    <a:pos x="77" y="9"/>
                  </a:cxn>
                  <a:cxn ang="0">
                    <a:pos x="73" y="5"/>
                  </a:cxn>
                  <a:cxn ang="0">
                    <a:pos x="51" y="5"/>
                  </a:cxn>
                  <a:cxn ang="0">
                    <a:pos x="43" y="6"/>
                  </a:cxn>
                  <a:cxn ang="0">
                    <a:pos x="45" y="4"/>
                  </a:cxn>
                  <a:cxn ang="0">
                    <a:pos x="35" y="1"/>
                  </a:cxn>
                  <a:cxn ang="0">
                    <a:pos x="34" y="0"/>
                  </a:cxn>
                  <a:cxn ang="0">
                    <a:pos x="19" y="4"/>
                  </a:cxn>
                  <a:cxn ang="0">
                    <a:pos x="18" y="5"/>
                  </a:cxn>
                  <a:cxn ang="0">
                    <a:pos x="16" y="6"/>
                  </a:cxn>
                  <a:cxn ang="0">
                    <a:pos x="2" y="10"/>
                  </a:cxn>
                  <a:cxn ang="0">
                    <a:pos x="2" y="10"/>
                  </a:cxn>
                  <a:cxn ang="0">
                    <a:pos x="4" y="10"/>
                  </a:cxn>
                  <a:cxn ang="0">
                    <a:pos x="2" y="11"/>
                  </a:cxn>
                  <a:cxn ang="0">
                    <a:pos x="2" y="13"/>
                  </a:cxn>
                  <a:cxn ang="0">
                    <a:pos x="1" y="20"/>
                  </a:cxn>
                  <a:cxn ang="0">
                    <a:pos x="4" y="23"/>
                  </a:cxn>
                  <a:cxn ang="0">
                    <a:pos x="5" y="28"/>
                  </a:cxn>
                  <a:cxn ang="0">
                    <a:pos x="5" y="32"/>
                  </a:cxn>
                  <a:cxn ang="0">
                    <a:pos x="8" y="36"/>
                  </a:cxn>
                  <a:cxn ang="0">
                    <a:pos x="7" y="42"/>
                  </a:cxn>
                  <a:cxn ang="0">
                    <a:pos x="9" y="40"/>
                  </a:cxn>
                  <a:cxn ang="0">
                    <a:pos x="11" y="41"/>
                  </a:cxn>
                  <a:cxn ang="0">
                    <a:pos x="15" y="43"/>
                  </a:cxn>
                  <a:cxn ang="0">
                    <a:pos x="19" y="44"/>
                  </a:cxn>
                  <a:cxn ang="0">
                    <a:pos x="19" y="47"/>
                  </a:cxn>
                  <a:cxn ang="0">
                    <a:pos x="23" y="50"/>
                  </a:cxn>
                  <a:cxn ang="0">
                    <a:pos x="25" y="46"/>
                  </a:cxn>
                  <a:cxn ang="0">
                    <a:pos x="29" y="48"/>
                  </a:cxn>
                  <a:cxn ang="0">
                    <a:pos x="30" y="49"/>
                  </a:cxn>
                  <a:cxn ang="0">
                    <a:pos x="34" y="51"/>
                  </a:cxn>
                  <a:cxn ang="0">
                    <a:pos x="37" y="52"/>
                  </a:cxn>
                  <a:cxn ang="0">
                    <a:pos x="39" y="54"/>
                  </a:cxn>
                  <a:cxn ang="0">
                    <a:pos x="43" y="57"/>
                  </a:cxn>
                  <a:cxn ang="0">
                    <a:pos x="48" y="57"/>
                  </a:cxn>
                  <a:cxn ang="0">
                    <a:pos x="52" y="59"/>
                  </a:cxn>
                  <a:cxn ang="0">
                    <a:pos x="56" y="57"/>
                  </a:cxn>
                  <a:cxn ang="0">
                    <a:pos x="60" y="58"/>
                  </a:cxn>
                  <a:cxn ang="0">
                    <a:pos x="66" y="57"/>
                  </a:cxn>
                  <a:cxn ang="0">
                    <a:pos x="69" y="59"/>
                  </a:cxn>
                  <a:cxn ang="0">
                    <a:pos x="75" y="60"/>
                  </a:cxn>
                  <a:cxn ang="0">
                    <a:pos x="74" y="55"/>
                  </a:cxn>
                  <a:cxn ang="0">
                    <a:pos x="81" y="48"/>
                  </a:cxn>
                  <a:cxn ang="0">
                    <a:pos x="85" y="45"/>
                  </a:cxn>
                </a:cxnLst>
                <a:rect l="0" t="0" r="r" b="b"/>
                <a:pathLst>
                  <a:path w="86" h="61">
                    <a:moveTo>
                      <a:pt x="84" y="43"/>
                    </a:moveTo>
                    <a:cubicBezTo>
                      <a:pt x="84" y="43"/>
                      <a:pt x="83" y="43"/>
                      <a:pt x="83" y="42"/>
                    </a:cubicBezTo>
                    <a:cubicBezTo>
                      <a:pt x="83" y="42"/>
                      <a:pt x="86" y="42"/>
                      <a:pt x="84" y="41"/>
                    </a:cubicBezTo>
                    <a:cubicBezTo>
                      <a:pt x="84" y="41"/>
                      <a:pt x="83" y="41"/>
                      <a:pt x="83" y="40"/>
                    </a:cubicBezTo>
                    <a:cubicBezTo>
                      <a:pt x="83" y="40"/>
                      <a:pt x="83" y="40"/>
                      <a:pt x="83" y="39"/>
                    </a:cubicBezTo>
                    <a:cubicBezTo>
                      <a:pt x="82" y="39"/>
                      <a:pt x="82" y="39"/>
                      <a:pt x="82" y="39"/>
                    </a:cubicBezTo>
                    <a:cubicBezTo>
                      <a:pt x="82" y="38"/>
                      <a:pt x="81" y="38"/>
                      <a:pt x="81" y="38"/>
                    </a:cubicBezTo>
                    <a:cubicBezTo>
                      <a:pt x="81" y="37"/>
                      <a:pt x="81" y="37"/>
                      <a:pt x="80" y="37"/>
                    </a:cubicBezTo>
                    <a:cubicBezTo>
                      <a:pt x="80" y="37"/>
                      <a:pt x="81" y="36"/>
                      <a:pt x="81" y="36"/>
                    </a:cubicBezTo>
                    <a:cubicBezTo>
                      <a:pt x="81" y="36"/>
                      <a:pt x="80" y="35"/>
                      <a:pt x="80" y="35"/>
                    </a:cubicBezTo>
                    <a:cubicBezTo>
                      <a:pt x="79" y="34"/>
                      <a:pt x="79" y="33"/>
                      <a:pt x="79" y="32"/>
                    </a:cubicBezTo>
                    <a:cubicBezTo>
                      <a:pt x="79" y="32"/>
                      <a:pt x="80" y="32"/>
                      <a:pt x="80" y="32"/>
                    </a:cubicBezTo>
                    <a:cubicBezTo>
                      <a:pt x="80" y="32"/>
                      <a:pt x="80" y="31"/>
                      <a:pt x="80" y="31"/>
                    </a:cubicBezTo>
                    <a:cubicBezTo>
                      <a:pt x="80" y="30"/>
                      <a:pt x="81" y="30"/>
                      <a:pt x="80" y="29"/>
                    </a:cubicBezTo>
                    <a:cubicBezTo>
                      <a:pt x="79" y="28"/>
                      <a:pt x="79" y="29"/>
                      <a:pt x="78" y="28"/>
                    </a:cubicBezTo>
                    <a:cubicBezTo>
                      <a:pt x="78" y="28"/>
                      <a:pt x="77" y="28"/>
                      <a:pt x="77" y="28"/>
                    </a:cubicBezTo>
                    <a:cubicBezTo>
                      <a:pt x="77" y="27"/>
                      <a:pt x="76" y="27"/>
                      <a:pt x="76" y="27"/>
                    </a:cubicBezTo>
                    <a:cubicBezTo>
                      <a:pt x="76" y="27"/>
                      <a:pt x="75" y="27"/>
                      <a:pt x="76" y="26"/>
                    </a:cubicBezTo>
                    <a:cubicBezTo>
                      <a:pt x="76" y="26"/>
                      <a:pt x="76" y="26"/>
                      <a:pt x="76" y="25"/>
                    </a:cubicBezTo>
                    <a:cubicBezTo>
                      <a:pt x="77" y="25"/>
                      <a:pt x="77" y="24"/>
                      <a:pt x="78" y="24"/>
                    </a:cubicBezTo>
                    <a:cubicBezTo>
                      <a:pt x="78" y="24"/>
                      <a:pt x="79" y="23"/>
                      <a:pt x="80" y="23"/>
                    </a:cubicBezTo>
                    <a:cubicBezTo>
                      <a:pt x="81" y="23"/>
                      <a:pt x="81" y="23"/>
                      <a:pt x="82" y="22"/>
                    </a:cubicBezTo>
                    <a:cubicBezTo>
                      <a:pt x="82" y="21"/>
                      <a:pt x="81" y="19"/>
                      <a:pt x="81" y="19"/>
                    </a:cubicBezTo>
                    <a:cubicBezTo>
                      <a:pt x="81" y="18"/>
                      <a:pt x="81" y="18"/>
                      <a:pt x="81" y="18"/>
                    </a:cubicBezTo>
                    <a:cubicBezTo>
                      <a:pt x="81" y="17"/>
                      <a:pt x="80" y="17"/>
                      <a:pt x="80" y="17"/>
                    </a:cubicBezTo>
                    <a:cubicBezTo>
                      <a:pt x="80" y="16"/>
                      <a:pt x="80" y="15"/>
                      <a:pt x="79" y="15"/>
                    </a:cubicBezTo>
                    <a:cubicBezTo>
                      <a:pt x="78" y="13"/>
                      <a:pt x="78" y="12"/>
                      <a:pt x="77" y="10"/>
                    </a:cubicBezTo>
                    <a:cubicBezTo>
                      <a:pt x="77" y="10"/>
                      <a:pt x="77" y="9"/>
                      <a:pt x="77" y="9"/>
                    </a:cubicBezTo>
                    <a:cubicBezTo>
                      <a:pt x="77" y="8"/>
                      <a:pt x="77" y="8"/>
                      <a:pt x="77" y="8"/>
                    </a:cubicBezTo>
                    <a:cubicBezTo>
                      <a:pt x="77" y="7"/>
                      <a:pt x="76" y="7"/>
                      <a:pt x="76" y="7"/>
                    </a:cubicBezTo>
                    <a:cubicBezTo>
                      <a:pt x="75" y="6"/>
                      <a:pt x="74" y="6"/>
                      <a:pt x="73" y="6"/>
                    </a:cubicBezTo>
                    <a:cubicBezTo>
                      <a:pt x="73" y="5"/>
                      <a:pt x="73" y="5"/>
                      <a:pt x="73" y="5"/>
                    </a:cubicBezTo>
                    <a:cubicBezTo>
                      <a:pt x="71" y="4"/>
                      <a:pt x="71" y="5"/>
                      <a:pt x="69" y="5"/>
                    </a:cubicBezTo>
                    <a:cubicBezTo>
                      <a:pt x="67" y="5"/>
                      <a:pt x="65" y="5"/>
                      <a:pt x="64" y="5"/>
                    </a:cubicBezTo>
                    <a:cubicBezTo>
                      <a:pt x="61" y="5"/>
                      <a:pt x="59" y="5"/>
                      <a:pt x="57" y="5"/>
                    </a:cubicBezTo>
                    <a:cubicBezTo>
                      <a:pt x="55" y="5"/>
                      <a:pt x="53" y="5"/>
                      <a:pt x="51" y="5"/>
                    </a:cubicBezTo>
                    <a:cubicBezTo>
                      <a:pt x="50" y="5"/>
                      <a:pt x="49" y="4"/>
                      <a:pt x="48" y="4"/>
                    </a:cubicBezTo>
                    <a:cubicBezTo>
                      <a:pt x="48" y="4"/>
                      <a:pt x="46" y="4"/>
                      <a:pt x="46" y="4"/>
                    </a:cubicBezTo>
                    <a:cubicBezTo>
                      <a:pt x="46" y="5"/>
                      <a:pt x="45" y="5"/>
                      <a:pt x="44" y="5"/>
                    </a:cubicBezTo>
                    <a:cubicBezTo>
                      <a:pt x="44" y="5"/>
                      <a:pt x="43" y="6"/>
                      <a:pt x="43" y="6"/>
                    </a:cubicBezTo>
                    <a:cubicBezTo>
                      <a:pt x="43" y="6"/>
                      <a:pt x="43" y="6"/>
                      <a:pt x="43" y="6"/>
                    </a:cubicBezTo>
                    <a:cubicBezTo>
                      <a:pt x="42" y="6"/>
                      <a:pt x="42" y="6"/>
                      <a:pt x="42" y="5"/>
                    </a:cubicBezTo>
                    <a:cubicBezTo>
                      <a:pt x="42" y="5"/>
                      <a:pt x="43" y="5"/>
                      <a:pt x="44" y="5"/>
                    </a:cubicBezTo>
                    <a:cubicBezTo>
                      <a:pt x="44" y="5"/>
                      <a:pt x="45" y="4"/>
                      <a:pt x="45" y="4"/>
                    </a:cubicBezTo>
                    <a:cubicBezTo>
                      <a:pt x="45" y="4"/>
                      <a:pt x="44" y="5"/>
                      <a:pt x="43" y="5"/>
                    </a:cubicBezTo>
                    <a:cubicBezTo>
                      <a:pt x="42" y="5"/>
                      <a:pt x="41" y="5"/>
                      <a:pt x="40" y="5"/>
                    </a:cubicBezTo>
                    <a:cubicBezTo>
                      <a:pt x="38" y="5"/>
                      <a:pt x="36" y="4"/>
                      <a:pt x="36" y="2"/>
                    </a:cubicBezTo>
                    <a:cubicBezTo>
                      <a:pt x="35" y="2"/>
                      <a:pt x="35" y="1"/>
                      <a:pt x="35" y="1"/>
                    </a:cubicBezTo>
                    <a:cubicBezTo>
                      <a:pt x="34" y="1"/>
                      <a:pt x="35" y="1"/>
                      <a:pt x="36" y="1"/>
                    </a:cubicBezTo>
                    <a:cubicBezTo>
                      <a:pt x="36" y="1"/>
                      <a:pt x="37" y="1"/>
                      <a:pt x="37" y="2"/>
                    </a:cubicBezTo>
                    <a:cubicBezTo>
                      <a:pt x="38" y="2"/>
                      <a:pt x="38" y="3"/>
                      <a:pt x="38" y="2"/>
                    </a:cubicBezTo>
                    <a:cubicBezTo>
                      <a:pt x="39" y="2"/>
                      <a:pt x="35" y="0"/>
                      <a:pt x="34" y="0"/>
                    </a:cubicBezTo>
                    <a:cubicBezTo>
                      <a:pt x="33" y="0"/>
                      <a:pt x="31" y="0"/>
                      <a:pt x="29" y="1"/>
                    </a:cubicBezTo>
                    <a:cubicBezTo>
                      <a:pt x="28" y="1"/>
                      <a:pt x="27" y="1"/>
                      <a:pt x="26" y="1"/>
                    </a:cubicBezTo>
                    <a:cubicBezTo>
                      <a:pt x="25" y="1"/>
                      <a:pt x="24" y="2"/>
                      <a:pt x="23" y="2"/>
                    </a:cubicBezTo>
                    <a:cubicBezTo>
                      <a:pt x="22" y="3"/>
                      <a:pt x="20" y="2"/>
                      <a:pt x="19" y="4"/>
                    </a:cubicBezTo>
                    <a:cubicBezTo>
                      <a:pt x="19" y="4"/>
                      <a:pt x="19" y="4"/>
                      <a:pt x="19" y="4"/>
                    </a:cubicBezTo>
                    <a:cubicBezTo>
                      <a:pt x="18" y="4"/>
                      <a:pt x="18" y="5"/>
                      <a:pt x="18" y="5"/>
                    </a:cubicBezTo>
                    <a:cubicBezTo>
                      <a:pt x="18" y="5"/>
                      <a:pt x="18" y="5"/>
                      <a:pt x="18" y="5"/>
                    </a:cubicBezTo>
                    <a:cubicBezTo>
                      <a:pt x="18" y="5"/>
                      <a:pt x="17" y="6"/>
                      <a:pt x="18" y="5"/>
                    </a:cubicBezTo>
                    <a:cubicBezTo>
                      <a:pt x="17" y="5"/>
                      <a:pt x="17" y="6"/>
                      <a:pt x="17" y="6"/>
                    </a:cubicBezTo>
                    <a:cubicBezTo>
                      <a:pt x="17" y="6"/>
                      <a:pt x="17" y="6"/>
                      <a:pt x="17" y="6"/>
                    </a:cubicBezTo>
                    <a:cubicBezTo>
                      <a:pt x="17" y="6"/>
                      <a:pt x="16" y="6"/>
                      <a:pt x="16" y="6"/>
                    </a:cubicBezTo>
                    <a:cubicBezTo>
                      <a:pt x="16" y="6"/>
                      <a:pt x="16" y="6"/>
                      <a:pt x="16" y="6"/>
                    </a:cubicBezTo>
                    <a:cubicBezTo>
                      <a:pt x="15" y="6"/>
                      <a:pt x="14" y="6"/>
                      <a:pt x="12" y="7"/>
                    </a:cubicBezTo>
                    <a:cubicBezTo>
                      <a:pt x="11" y="7"/>
                      <a:pt x="9" y="7"/>
                      <a:pt x="8" y="8"/>
                    </a:cubicBezTo>
                    <a:cubicBezTo>
                      <a:pt x="7" y="8"/>
                      <a:pt x="5" y="8"/>
                      <a:pt x="4" y="9"/>
                    </a:cubicBezTo>
                    <a:cubicBezTo>
                      <a:pt x="3" y="9"/>
                      <a:pt x="3" y="10"/>
                      <a:pt x="2" y="10"/>
                    </a:cubicBezTo>
                    <a:cubicBezTo>
                      <a:pt x="2" y="10"/>
                      <a:pt x="1" y="9"/>
                      <a:pt x="1" y="10"/>
                    </a:cubicBezTo>
                    <a:cubicBezTo>
                      <a:pt x="1" y="10"/>
                      <a:pt x="1" y="11"/>
                      <a:pt x="2" y="11"/>
                    </a:cubicBezTo>
                    <a:cubicBezTo>
                      <a:pt x="2" y="10"/>
                      <a:pt x="3" y="11"/>
                      <a:pt x="3" y="10"/>
                    </a:cubicBezTo>
                    <a:cubicBezTo>
                      <a:pt x="2" y="10"/>
                      <a:pt x="2" y="10"/>
                      <a:pt x="2" y="10"/>
                    </a:cubicBezTo>
                    <a:cubicBezTo>
                      <a:pt x="2" y="10"/>
                      <a:pt x="3" y="10"/>
                      <a:pt x="3" y="10"/>
                    </a:cubicBezTo>
                    <a:cubicBezTo>
                      <a:pt x="2" y="10"/>
                      <a:pt x="3" y="10"/>
                      <a:pt x="4" y="10"/>
                    </a:cubicBezTo>
                    <a:cubicBezTo>
                      <a:pt x="4" y="10"/>
                      <a:pt x="4" y="10"/>
                      <a:pt x="4" y="11"/>
                    </a:cubicBezTo>
                    <a:cubicBezTo>
                      <a:pt x="4" y="11"/>
                      <a:pt x="4" y="10"/>
                      <a:pt x="4" y="10"/>
                    </a:cubicBezTo>
                    <a:cubicBezTo>
                      <a:pt x="4" y="11"/>
                      <a:pt x="4" y="11"/>
                      <a:pt x="4" y="11"/>
                    </a:cubicBezTo>
                    <a:cubicBezTo>
                      <a:pt x="4" y="11"/>
                      <a:pt x="4" y="12"/>
                      <a:pt x="4" y="12"/>
                    </a:cubicBezTo>
                    <a:cubicBezTo>
                      <a:pt x="4" y="13"/>
                      <a:pt x="4" y="12"/>
                      <a:pt x="4" y="13"/>
                    </a:cubicBezTo>
                    <a:cubicBezTo>
                      <a:pt x="4" y="13"/>
                      <a:pt x="2" y="11"/>
                      <a:pt x="2" y="11"/>
                    </a:cubicBezTo>
                    <a:cubicBezTo>
                      <a:pt x="2" y="11"/>
                      <a:pt x="2" y="12"/>
                      <a:pt x="2" y="12"/>
                    </a:cubicBezTo>
                    <a:cubicBezTo>
                      <a:pt x="1" y="12"/>
                      <a:pt x="1" y="12"/>
                      <a:pt x="2" y="12"/>
                    </a:cubicBezTo>
                    <a:cubicBezTo>
                      <a:pt x="2" y="12"/>
                      <a:pt x="2" y="13"/>
                      <a:pt x="2" y="13"/>
                    </a:cubicBezTo>
                    <a:cubicBezTo>
                      <a:pt x="2" y="13"/>
                      <a:pt x="2" y="13"/>
                      <a:pt x="2" y="13"/>
                    </a:cubicBezTo>
                    <a:cubicBezTo>
                      <a:pt x="2" y="14"/>
                      <a:pt x="2" y="14"/>
                      <a:pt x="2" y="15"/>
                    </a:cubicBezTo>
                    <a:cubicBezTo>
                      <a:pt x="3" y="15"/>
                      <a:pt x="3" y="16"/>
                      <a:pt x="3" y="17"/>
                    </a:cubicBezTo>
                    <a:cubicBezTo>
                      <a:pt x="2" y="17"/>
                      <a:pt x="3" y="19"/>
                      <a:pt x="2" y="19"/>
                    </a:cubicBezTo>
                    <a:cubicBezTo>
                      <a:pt x="1" y="19"/>
                      <a:pt x="1" y="19"/>
                      <a:pt x="1" y="20"/>
                    </a:cubicBezTo>
                    <a:cubicBezTo>
                      <a:pt x="1" y="20"/>
                      <a:pt x="1" y="20"/>
                      <a:pt x="1" y="20"/>
                    </a:cubicBezTo>
                    <a:cubicBezTo>
                      <a:pt x="0" y="21"/>
                      <a:pt x="1" y="21"/>
                      <a:pt x="2" y="21"/>
                    </a:cubicBezTo>
                    <a:cubicBezTo>
                      <a:pt x="2" y="22"/>
                      <a:pt x="2" y="22"/>
                      <a:pt x="3" y="22"/>
                    </a:cubicBezTo>
                    <a:cubicBezTo>
                      <a:pt x="3" y="23"/>
                      <a:pt x="4" y="23"/>
                      <a:pt x="4" y="23"/>
                    </a:cubicBezTo>
                    <a:cubicBezTo>
                      <a:pt x="5" y="24"/>
                      <a:pt x="5" y="25"/>
                      <a:pt x="4" y="25"/>
                    </a:cubicBezTo>
                    <a:cubicBezTo>
                      <a:pt x="4" y="25"/>
                      <a:pt x="4" y="27"/>
                      <a:pt x="5" y="27"/>
                    </a:cubicBezTo>
                    <a:cubicBezTo>
                      <a:pt x="5" y="27"/>
                      <a:pt x="5" y="27"/>
                      <a:pt x="5" y="27"/>
                    </a:cubicBezTo>
                    <a:cubicBezTo>
                      <a:pt x="6" y="28"/>
                      <a:pt x="5" y="28"/>
                      <a:pt x="5" y="28"/>
                    </a:cubicBezTo>
                    <a:cubicBezTo>
                      <a:pt x="5" y="29"/>
                      <a:pt x="6" y="29"/>
                      <a:pt x="6" y="29"/>
                    </a:cubicBezTo>
                    <a:cubicBezTo>
                      <a:pt x="6" y="29"/>
                      <a:pt x="6" y="30"/>
                      <a:pt x="6" y="30"/>
                    </a:cubicBezTo>
                    <a:cubicBezTo>
                      <a:pt x="6" y="30"/>
                      <a:pt x="6" y="30"/>
                      <a:pt x="5" y="31"/>
                    </a:cubicBezTo>
                    <a:cubicBezTo>
                      <a:pt x="5" y="31"/>
                      <a:pt x="5" y="31"/>
                      <a:pt x="5" y="32"/>
                    </a:cubicBezTo>
                    <a:cubicBezTo>
                      <a:pt x="5" y="32"/>
                      <a:pt x="6" y="33"/>
                      <a:pt x="6" y="33"/>
                    </a:cubicBezTo>
                    <a:cubicBezTo>
                      <a:pt x="6" y="34"/>
                      <a:pt x="5" y="34"/>
                      <a:pt x="7" y="35"/>
                    </a:cubicBezTo>
                    <a:cubicBezTo>
                      <a:pt x="7" y="35"/>
                      <a:pt x="7" y="35"/>
                      <a:pt x="8" y="35"/>
                    </a:cubicBezTo>
                    <a:cubicBezTo>
                      <a:pt x="8" y="36"/>
                      <a:pt x="8" y="36"/>
                      <a:pt x="8" y="36"/>
                    </a:cubicBezTo>
                    <a:cubicBezTo>
                      <a:pt x="8" y="37"/>
                      <a:pt x="8" y="37"/>
                      <a:pt x="8" y="38"/>
                    </a:cubicBezTo>
                    <a:cubicBezTo>
                      <a:pt x="8" y="38"/>
                      <a:pt x="8" y="38"/>
                      <a:pt x="8" y="39"/>
                    </a:cubicBezTo>
                    <a:cubicBezTo>
                      <a:pt x="8" y="39"/>
                      <a:pt x="8" y="40"/>
                      <a:pt x="8" y="41"/>
                    </a:cubicBezTo>
                    <a:cubicBezTo>
                      <a:pt x="7" y="41"/>
                      <a:pt x="7" y="41"/>
                      <a:pt x="7" y="42"/>
                    </a:cubicBezTo>
                    <a:cubicBezTo>
                      <a:pt x="7" y="42"/>
                      <a:pt x="8" y="42"/>
                      <a:pt x="8" y="41"/>
                    </a:cubicBezTo>
                    <a:cubicBezTo>
                      <a:pt x="8" y="41"/>
                      <a:pt x="9" y="41"/>
                      <a:pt x="8" y="41"/>
                    </a:cubicBezTo>
                    <a:cubicBezTo>
                      <a:pt x="8" y="41"/>
                      <a:pt x="8" y="40"/>
                      <a:pt x="8" y="40"/>
                    </a:cubicBezTo>
                    <a:cubicBezTo>
                      <a:pt x="8" y="40"/>
                      <a:pt x="9" y="40"/>
                      <a:pt x="9" y="40"/>
                    </a:cubicBezTo>
                    <a:cubicBezTo>
                      <a:pt x="9" y="40"/>
                      <a:pt x="10" y="40"/>
                      <a:pt x="10" y="40"/>
                    </a:cubicBezTo>
                    <a:cubicBezTo>
                      <a:pt x="10" y="40"/>
                      <a:pt x="10" y="40"/>
                      <a:pt x="10" y="40"/>
                    </a:cubicBezTo>
                    <a:cubicBezTo>
                      <a:pt x="10" y="41"/>
                      <a:pt x="10" y="40"/>
                      <a:pt x="11" y="41"/>
                    </a:cubicBezTo>
                    <a:cubicBezTo>
                      <a:pt x="11" y="41"/>
                      <a:pt x="10" y="41"/>
                      <a:pt x="11" y="41"/>
                    </a:cubicBezTo>
                    <a:cubicBezTo>
                      <a:pt x="11" y="42"/>
                      <a:pt x="11" y="43"/>
                      <a:pt x="12" y="43"/>
                    </a:cubicBezTo>
                    <a:cubicBezTo>
                      <a:pt x="12" y="43"/>
                      <a:pt x="12" y="42"/>
                      <a:pt x="12" y="42"/>
                    </a:cubicBezTo>
                    <a:cubicBezTo>
                      <a:pt x="13" y="42"/>
                      <a:pt x="13" y="43"/>
                      <a:pt x="13" y="43"/>
                    </a:cubicBezTo>
                    <a:cubicBezTo>
                      <a:pt x="14" y="43"/>
                      <a:pt x="15" y="43"/>
                      <a:pt x="15" y="43"/>
                    </a:cubicBezTo>
                    <a:cubicBezTo>
                      <a:pt x="16" y="44"/>
                      <a:pt x="17" y="43"/>
                      <a:pt x="17" y="44"/>
                    </a:cubicBezTo>
                    <a:cubicBezTo>
                      <a:pt x="17" y="44"/>
                      <a:pt x="17" y="44"/>
                      <a:pt x="17" y="44"/>
                    </a:cubicBezTo>
                    <a:cubicBezTo>
                      <a:pt x="17" y="44"/>
                      <a:pt x="18" y="44"/>
                      <a:pt x="18" y="44"/>
                    </a:cubicBezTo>
                    <a:cubicBezTo>
                      <a:pt x="18" y="44"/>
                      <a:pt x="18" y="44"/>
                      <a:pt x="19" y="44"/>
                    </a:cubicBezTo>
                    <a:cubicBezTo>
                      <a:pt x="19" y="44"/>
                      <a:pt x="19" y="44"/>
                      <a:pt x="19" y="44"/>
                    </a:cubicBezTo>
                    <a:cubicBezTo>
                      <a:pt x="20" y="44"/>
                      <a:pt x="21" y="44"/>
                      <a:pt x="21" y="45"/>
                    </a:cubicBezTo>
                    <a:cubicBezTo>
                      <a:pt x="21" y="45"/>
                      <a:pt x="19" y="46"/>
                      <a:pt x="19" y="46"/>
                    </a:cubicBezTo>
                    <a:cubicBezTo>
                      <a:pt x="19" y="46"/>
                      <a:pt x="19" y="47"/>
                      <a:pt x="19" y="47"/>
                    </a:cubicBezTo>
                    <a:cubicBezTo>
                      <a:pt x="20" y="47"/>
                      <a:pt x="20" y="47"/>
                      <a:pt x="20" y="47"/>
                    </a:cubicBezTo>
                    <a:cubicBezTo>
                      <a:pt x="20" y="47"/>
                      <a:pt x="20" y="47"/>
                      <a:pt x="21" y="48"/>
                    </a:cubicBezTo>
                    <a:cubicBezTo>
                      <a:pt x="21" y="48"/>
                      <a:pt x="21" y="48"/>
                      <a:pt x="22" y="49"/>
                    </a:cubicBezTo>
                    <a:cubicBezTo>
                      <a:pt x="22" y="50"/>
                      <a:pt x="23" y="50"/>
                      <a:pt x="23" y="50"/>
                    </a:cubicBezTo>
                    <a:cubicBezTo>
                      <a:pt x="24" y="49"/>
                      <a:pt x="24" y="49"/>
                      <a:pt x="24" y="49"/>
                    </a:cubicBezTo>
                    <a:cubicBezTo>
                      <a:pt x="24" y="49"/>
                      <a:pt x="24" y="49"/>
                      <a:pt x="25" y="49"/>
                    </a:cubicBezTo>
                    <a:cubicBezTo>
                      <a:pt x="25" y="49"/>
                      <a:pt x="25" y="48"/>
                      <a:pt x="26" y="48"/>
                    </a:cubicBezTo>
                    <a:cubicBezTo>
                      <a:pt x="25" y="48"/>
                      <a:pt x="23" y="46"/>
                      <a:pt x="25" y="46"/>
                    </a:cubicBezTo>
                    <a:cubicBezTo>
                      <a:pt x="26" y="47"/>
                      <a:pt x="26" y="47"/>
                      <a:pt x="27" y="47"/>
                    </a:cubicBezTo>
                    <a:cubicBezTo>
                      <a:pt x="27" y="47"/>
                      <a:pt x="27" y="47"/>
                      <a:pt x="27" y="47"/>
                    </a:cubicBezTo>
                    <a:cubicBezTo>
                      <a:pt x="27" y="47"/>
                      <a:pt x="29" y="48"/>
                      <a:pt x="28" y="48"/>
                    </a:cubicBezTo>
                    <a:cubicBezTo>
                      <a:pt x="29" y="48"/>
                      <a:pt x="29" y="48"/>
                      <a:pt x="29" y="48"/>
                    </a:cubicBezTo>
                    <a:cubicBezTo>
                      <a:pt x="29" y="48"/>
                      <a:pt x="30" y="48"/>
                      <a:pt x="30" y="48"/>
                    </a:cubicBezTo>
                    <a:cubicBezTo>
                      <a:pt x="30" y="48"/>
                      <a:pt x="31" y="48"/>
                      <a:pt x="31" y="48"/>
                    </a:cubicBezTo>
                    <a:cubicBezTo>
                      <a:pt x="32" y="47"/>
                      <a:pt x="32" y="48"/>
                      <a:pt x="32" y="48"/>
                    </a:cubicBezTo>
                    <a:cubicBezTo>
                      <a:pt x="32" y="49"/>
                      <a:pt x="30" y="49"/>
                      <a:pt x="30" y="49"/>
                    </a:cubicBezTo>
                    <a:cubicBezTo>
                      <a:pt x="30" y="50"/>
                      <a:pt x="32" y="50"/>
                      <a:pt x="32" y="50"/>
                    </a:cubicBezTo>
                    <a:cubicBezTo>
                      <a:pt x="32" y="50"/>
                      <a:pt x="32" y="51"/>
                      <a:pt x="32" y="51"/>
                    </a:cubicBezTo>
                    <a:cubicBezTo>
                      <a:pt x="33" y="51"/>
                      <a:pt x="34" y="51"/>
                      <a:pt x="34" y="51"/>
                    </a:cubicBezTo>
                    <a:cubicBezTo>
                      <a:pt x="34" y="51"/>
                      <a:pt x="34" y="51"/>
                      <a:pt x="34" y="51"/>
                    </a:cubicBezTo>
                    <a:cubicBezTo>
                      <a:pt x="34" y="50"/>
                      <a:pt x="34" y="50"/>
                      <a:pt x="34" y="50"/>
                    </a:cubicBezTo>
                    <a:cubicBezTo>
                      <a:pt x="34" y="50"/>
                      <a:pt x="35" y="51"/>
                      <a:pt x="35" y="51"/>
                    </a:cubicBezTo>
                    <a:cubicBezTo>
                      <a:pt x="35" y="51"/>
                      <a:pt x="36" y="51"/>
                      <a:pt x="36" y="51"/>
                    </a:cubicBezTo>
                    <a:cubicBezTo>
                      <a:pt x="36" y="52"/>
                      <a:pt x="37" y="52"/>
                      <a:pt x="37" y="52"/>
                    </a:cubicBezTo>
                    <a:cubicBezTo>
                      <a:pt x="38" y="52"/>
                      <a:pt x="38" y="52"/>
                      <a:pt x="38" y="52"/>
                    </a:cubicBezTo>
                    <a:cubicBezTo>
                      <a:pt x="39" y="52"/>
                      <a:pt x="38" y="52"/>
                      <a:pt x="39" y="52"/>
                    </a:cubicBezTo>
                    <a:cubicBezTo>
                      <a:pt x="39" y="52"/>
                      <a:pt x="39" y="52"/>
                      <a:pt x="39" y="52"/>
                    </a:cubicBezTo>
                    <a:cubicBezTo>
                      <a:pt x="39" y="53"/>
                      <a:pt x="39" y="53"/>
                      <a:pt x="39" y="54"/>
                    </a:cubicBezTo>
                    <a:cubicBezTo>
                      <a:pt x="40" y="54"/>
                      <a:pt x="41" y="54"/>
                      <a:pt x="41" y="55"/>
                    </a:cubicBezTo>
                    <a:cubicBezTo>
                      <a:pt x="41" y="56"/>
                      <a:pt x="41" y="56"/>
                      <a:pt x="42" y="56"/>
                    </a:cubicBezTo>
                    <a:cubicBezTo>
                      <a:pt x="42" y="56"/>
                      <a:pt x="42" y="57"/>
                      <a:pt x="42" y="57"/>
                    </a:cubicBezTo>
                    <a:cubicBezTo>
                      <a:pt x="42" y="58"/>
                      <a:pt x="43" y="57"/>
                      <a:pt x="43" y="57"/>
                    </a:cubicBezTo>
                    <a:cubicBezTo>
                      <a:pt x="44" y="57"/>
                      <a:pt x="44" y="57"/>
                      <a:pt x="44" y="57"/>
                    </a:cubicBezTo>
                    <a:cubicBezTo>
                      <a:pt x="45" y="56"/>
                      <a:pt x="45" y="56"/>
                      <a:pt x="45" y="56"/>
                    </a:cubicBezTo>
                    <a:cubicBezTo>
                      <a:pt x="46" y="56"/>
                      <a:pt x="46" y="55"/>
                      <a:pt x="46" y="55"/>
                    </a:cubicBezTo>
                    <a:cubicBezTo>
                      <a:pt x="47" y="55"/>
                      <a:pt x="47" y="57"/>
                      <a:pt x="48" y="57"/>
                    </a:cubicBezTo>
                    <a:cubicBezTo>
                      <a:pt x="48" y="58"/>
                      <a:pt x="49" y="57"/>
                      <a:pt x="49" y="58"/>
                    </a:cubicBezTo>
                    <a:cubicBezTo>
                      <a:pt x="50" y="58"/>
                      <a:pt x="49" y="59"/>
                      <a:pt x="49" y="59"/>
                    </a:cubicBezTo>
                    <a:cubicBezTo>
                      <a:pt x="50" y="60"/>
                      <a:pt x="50" y="59"/>
                      <a:pt x="51" y="59"/>
                    </a:cubicBezTo>
                    <a:cubicBezTo>
                      <a:pt x="51" y="59"/>
                      <a:pt x="52" y="60"/>
                      <a:pt x="52" y="59"/>
                    </a:cubicBezTo>
                    <a:cubicBezTo>
                      <a:pt x="52" y="59"/>
                      <a:pt x="52" y="59"/>
                      <a:pt x="52" y="58"/>
                    </a:cubicBezTo>
                    <a:cubicBezTo>
                      <a:pt x="53" y="58"/>
                      <a:pt x="53" y="58"/>
                      <a:pt x="54" y="58"/>
                    </a:cubicBezTo>
                    <a:cubicBezTo>
                      <a:pt x="54" y="58"/>
                      <a:pt x="54" y="58"/>
                      <a:pt x="54" y="57"/>
                    </a:cubicBezTo>
                    <a:cubicBezTo>
                      <a:pt x="54" y="57"/>
                      <a:pt x="55" y="58"/>
                      <a:pt x="56" y="57"/>
                    </a:cubicBezTo>
                    <a:cubicBezTo>
                      <a:pt x="56" y="57"/>
                      <a:pt x="57" y="57"/>
                      <a:pt x="57" y="57"/>
                    </a:cubicBezTo>
                    <a:cubicBezTo>
                      <a:pt x="58" y="58"/>
                      <a:pt x="58" y="58"/>
                      <a:pt x="58" y="58"/>
                    </a:cubicBezTo>
                    <a:cubicBezTo>
                      <a:pt x="59" y="58"/>
                      <a:pt x="59" y="59"/>
                      <a:pt x="60" y="58"/>
                    </a:cubicBezTo>
                    <a:cubicBezTo>
                      <a:pt x="60" y="58"/>
                      <a:pt x="60" y="58"/>
                      <a:pt x="60" y="58"/>
                    </a:cubicBezTo>
                    <a:cubicBezTo>
                      <a:pt x="60" y="57"/>
                      <a:pt x="60" y="57"/>
                      <a:pt x="60" y="57"/>
                    </a:cubicBezTo>
                    <a:cubicBezTo>
                      <a:pt x="61" y="57"/>
                      <a:pt x="61" y="57"/>
                      <a:pt x="62" y="57"/>
                    </a:cubicBezTo>
                    <a:cubicBezTo>
                      <a:pt x="62" y="57"/>
                      <a:pt x="62" y="57"/>
                      <a:pt x="63" y="57"/>
                    </a:cubicBezTo>
                    <a:cubicBezTo>
                      <a:pt x="64" y="57"/>
                      <a:pt x="65" y="57"/>
                      <a:pt x="66" y="57"/>
                    </a:cubicBezTo>
                    <a:cubicBezTo>
                      <a:pt x="66" y="57"/>
                      <a:pt x="66" y="58"/>
                      <a:pt x="66" y="57"/>
                    </a:cubicBezTo>
                    <a:cubicBezTo>
                      <a:pt x="67" y="57"/>
                      <a:pt x="67" y="58"/>
                      <a:pt x="67" y="58"/>
                    </a:cubicBezTo>
                    <a:cubicBezTo>
                      <a:pt x="68" y="58"/>
                      <a:pt x="68" y="58"/>
                      <a:pt x="68" y="59"/>
                    </a:cubicBezTo>
                    <a:cubicBezTo>
                      <a:pt x="68" y="59"/>
                      <a:pt x="69" y="59"/>
                      <a:pt x="69" y="59"/>
                    </a:cubicBezTo>
                    <a:cubicBezTo>
                      <a:pt x="70" y="60"/>
                      <a:pt x="70" y="60"/>
                      <a:pt x="70" y="60"/>
                    </a:cubicBezTo>
                    <a:cubicBezTo>
                      <a:pt x="71" y="60"/>
                      <a:pt x="71" y="60"/>
                      <a:pt x="72" y="60"/>
                    </a:cubicBezTo>
                    <a:cubicBezTo>
                      <a:pt x="72" y="60"/>
                      <a:pt x="76" y="61"/>
                      <a:pt x="76" y="61"/>
                    </a:cubicBezTo>
                    <a:cubicBezTo>
                      <a:pt x="76" y="61"/>
                      <a:pt x="75" y="60"/>
                      <a:pt x="75" y="60"/>
                    </a:cubicBezTo>
                    <a:cubicBezTo>
                      <a:pt x="75" y="60"/>
                      <a:pt x="74" y="60"/>
                      <a:pt x="74" y="60"/>
                    </a:cubicBezTo>
                    <a:cubicBezTo>
                      <a:pt x="74" y="59"/>
                      <a:pt x="74" y="59"/>
                      <a:pt x="74" y="59"/>
                    </a:cubicBezTo>
                    <a:cubicBezTo>
                      <a:pt x="74" y="58"/>
                      <a:pt x="74" y="58"/>
                      <a:pt x="74" y="57"/>
                    </a:cubicBezTo>
                    <a:cubicBezTo>
                      <a:pt x="74" y="57"/>
                      <a:pt x="73" y="56"/>
                      <a:pt x="74" y="55"/>
                    </a:cubicBezTo>
                    <a:cubicBezTo>
                      <a:pt x="74" y="55"/>
                      <a:pt x="75" y="54"/>
                      <a:pt x="75" y="53"/>
                    </a:cubicBezTo>
                    <a:cubicBezTo>
                      <a:pt x="76" y="53"/>
                      <a:pt x="77" y="52"/>
                      <a:pt x="77" y="51"/>
                    </a:cubicBezTo>
                    <a:cubicBezTo>
                      <a:pt x="78" y="50"/>
                      <a:pt x="79" y="49"/>
                      <a:pt x="80" y="49"/>
                    </a:cubicBezTo>
                    <a:cubicBezTo>
                      <a:pt x="80" y="48"/>
                      <a:pt x="81" y="48"/>
                      <a:pt x="81" y="48"/>
                    </a:cubicBezTo>
                    <a:cubicBezTo>
                      <a:pt x="81" y="47"/>
                      <a:pt x="82" y="47"/>
                      <a:pt x="82" y="47"/>
                    </a:cubicBezTo>
                    <a:cubicBezTo>
                      <a:pt x="82" y="46"/>
                      <a:pt x="83" y="47"/>
                      <a:pt x="84" y="47"/>
                    </a:cubicBezTo>
                    <a:cubicBezTo>
                      <a:pt x="84" y="46"/>
                      <a:pt x="84" y="46"/>
                      <a:pt x="84" y="46"/>
                    </a:cubicBezTo>
                    <a:cubicBezTo>
                      <a:pt x="84" y="45"/>
                      <a:pt x="85" y="45"/>
                      <a:pt x="85" y="45"/>
                    </a:cubicBezTo>
                    <a:cubicBezTo>
                      <a:pt x="85" y="45"/>
                      <a:pt x="84" y="44"/>
                      <a:pt x="84" y="4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1" name="Philippines">
                <a:extLst>
                  <a:ext uri="{FF2B5EF4-FFF2-40B4-BE49-F238E27FC236}">
                    <a16:creationId xmlns:a16="http://schemas.microsoft.com/office/drawing/2014/main" id="{1E7C537B-AA82-55C1-4FEB-7F650EB8A60C}"/>
                  </a:ext>
                </a:extLst>
              </p:cNvPr>
              <p:cNvSpPr>
                <a:spLocks noEditPoints="1"/>
              </p:cNvSpPr>
              <p:nvPr/>
            </p:nvSpPr>
            <p:spPr bwMode="auto">
              <a:xfrm>
                <a:off x="9701635" y="3232773"/>
                <a:ext cx="336197" cy="630246"/>
              </a:xfrm>
              <a:custGeom>
                <a:avLst/>
                <a:gdLst/>
                <a:ahLst/>
                <a:cxnLst>
                  <a:cxn ang="0">
                    <a:pos x="65" y="112"/>
                  </a:cxn>
                  <a:cxn ang="0">
                    <a:pos x="21" y="56"/>
                  </a:cxn>
                  <a:cxn ang="0">
                    <a:pos x="29" y="71"/>
                  </a:cxn>
                  <a:cxn ang="0">
                    <a:pos x="30" y="75"/>
                  </a:cxn>
                  <a:cxn ang="0">
                    <a:pos x="42" y="76"/>
                  </a:cxn>
                  <a:cxn ang="0">
                    <a:pos x="49" y="78"/>
                  </a:cxn>
                  <a:cxn ang="0">
                    <a:pos x="61" y="88"/>
                  </a:cxn>
                  <a:cxn ang="0">
                    <a:pos x="65" y="86"/>
                  </a:cxn>
                  <a:cxn ang="0">
                    <a:pos x="59" y="77"/>
                  </a:cxn>
                  <a:cxn ang="0">
                    <a:pos x="55" y="78"/>
                  </a:cxn>
                  <a:cxn ang="0">
                    <a:pos x="46" y="74"/>
                  </a:cxn>
                  <a:cxn ang="0">
                    <a:pos x="38" y="65"/>
                  </a:cxn>
                  <a:cxn ang="0">
                    <a:pos x="42" y="48"/>
                  </a:cxn>
                  <a:cxn ang="0">
                    <a:pos x="38" y="26"/>
                  </a:cxn>
                  <a:cxn ang="0">
                    <a:pos x="22" y="32"/>
                  </a:cxn>
                  <a:cxn ang="0">
                    <a:pos x="24" y="53"/>
                  </a:cxn>
                  <a:cxn ang="0">
                    <a:pos x="92" y="140"/>
                  </a:cxn>
                  <a:cxn ang="0">
                    <a:pos x="89" y="130"/>
                  </a:cxn>
                  <a:cxn ang="0">
                    <a:pos x="82" y="125"/>
                  </a:cxn>
                  <a:cxn ang="0">
                    <a:pos x="66" y="141"/>
                  </a:cxn>
                  <a:cxn ang="0">
                    <a:pos x="56" y="140"/>
                  </a:cxn>
                  <a:cxn ang="0">
                    <a:pos x="52" y="153"/>
                  </a:cxn>
                  <a:cxn ang="0">
                    <a:pos x="57" y="147"/>
                  </a:cxn>
                  <a:cxn ang="0">
                    <a:pos x="64" y="145"/>
                  </a:cxn>
                  <a:cxn ang="0">
                    <a:pos x="70" y="159"/>
                  </a:cxn>
                  <a:cxn ang="0">
                    <a:pos x="84" y="156"/>
                  </a:cxn>
                  <a:cxn ang="0">
                    <a:pos x="91" y="155"/>
                  </a:cxn>
                  <a:cxn ang="0">
                    <a:pos x="72" y="98"/>
                  </a:cxn>
                  <a:cxn ang="0">
                    <a:pos x="78" y="107"/>
                  </a:cxn>
                  <a:cxn ang="0">
                    <a:pos x="80" y="97"/>
                  </a:cxn>
                  <a:cxn ang="0">
                    <a:pos x="69" y="92"/>
                  </a:cxn>
                  <a:cxn ang="0">
                    <a:pos x="22" y="107"/>
                  </a:cxn>
                  <a:cxn ang="0">
                    <a:pos x="21" y="111"/>
                  </a:cxn>
                  <a:cxn ang="0">
                    <a:pos x="15" y="121"/>
                  </a:cxn>
                  <a:cxn ang="0">
                    <a:pos x="3" y="135"/>
                  </a:cxn>
                  <a:cxn ang="0">
                    <a:pos x="16" y="124"/>
                  </a:cxn>
                  <a:cxn ang="0">
                    <a:pos x="28" y="96"/>
                  </a:cxn>
                  <a:cxn ang="0">
                    <a:pos x="29" y="97"/>
                  </a:cxn>
                  <a:cxn ang="0">
                    <a:pos x="65" y="81"/>
                  </a:cxn>
                  <a:cxn ang="0">
                    <a:pos x="82" y="121"/>
                  </a:cxn>
                  <a:cxn ang="0">
                    <a:pos x="64" y="95"/>
                  </a:cxn>
                  <a:cxn ang="0">
                    <a:pos x="27" y="99"/>
                  </a:cxn>
                  <a:cxn ang="0">
                    <a:pos x="69" y="124"/>
                  </a:cxn>
                  <a:cxn ang="0">
                    <a:pos x="66" y="121"/>
                  </a:cxn>
                  <a:cxn ang="0">
                    <a:pos x="75" y="105"/>
                  </a:cxn>
                  <a:cxn ang="0">
                    <a:pos x="70" y="109"/>
                  </a:cxn>
                  <a:cxn ang="0">
                    <a:pos x="74" y="128"/>
                  </a:cxn>
                  <a:cxn ang="0">
                    <a:pos x="60" y="117"/>
                  </a:cxn>
                  <a:cxn ang="0">
                    <a:pos x="56" y="116"/>
                  </a:cxn>
                  <a:cxn ang="0">
                    <a:pos x="40" y="86"/>
                  </a:cxn>
                  <a:cxn ang="0">
                    <a:pos x="37" y="94"/>
                  </a:cxn>
                  <a:cxn ang="0">
                    <a:pos x="54" y="109"/>
                  </a:cxn>
                  <a:cxn ang="0">
                    <a:pos x="55" y="102"/>
                  </a:cxn>
                  <a:cxn ang="0">
                    <a:pos x="46" y="111"/>
                  </a:cxn>
                  <a:cxn ang="0">
                    <a:pos x="41" y="67"/>
                  </a:cxn>
                  <a:cxn ang="0">
                    <a:pos x="52" y="113"/>
                  </a:cxn>
                  <a:cxn ang="0">
                    <a:pos x="87" y="122"/>
                  </a:cxn>
                  <a:cxn ang="0">
                    <a:pos x="64" y="129"/>
                  </a:cxn>
                  <a:cxn ang="0">
                    <a:pos x="53" y="157"/>
                  </a:cxn>
                  <a:cxn ang="0">
                    <a:pos x="57" y="87"/>
                  </a:cxn>
                  <a:cxn ang="0">
                    <a:pos x="29" y="17"/>
                  </a:cxn>
                  <a:cxn ang="0">
                    <a:pos x="45" y="164"/>
                  </a:cxn>
                  <a:cxn ang="0">
                    <a:pos x="46" y="90"/>
                  </a:cxn>
                </a:cxnLst>
                <a:rect l="0" t="0" r="r" b="b"/>
                <a:pathLst>
                  <a:path w="95" h="178">
                    <a:moveTo>
                      <a:pt x="64" y="117"/>
                    </a:moveTo>
                    <a:cubicBezTo>
                      <a:pt x="64" y="117"/>
                      <a:pt x="64" y="118"/>
                      <a:pt x="64" y="118"/>
                    </a:cubicBezTo>
                    <a:cubicBezTo>
                      <a:pt x="63" y="119"/>
                      <a:pt x="63" y="120"/>
                      <a:pt x="63" y="120"/>
                    </a:cubicBezTo>
                    <a:cubicBezTo>
                      <a:pt x="63" y="121"/>
                      <a:pt x="63" y="121"/>
                      <a:pt x="63" y="122"/>
                    </a:cubicBezTo>
                    <a:cubicBezTo>
                      <a:pt x="62" y="123"/>
                      <a:pt x="62" y="125"/>
                      <a:pt x="61" y="126"/>
                    </a:cubicBezTo>
                    <a:cubicBezTo>
                      <a:pt x="60" y="126"/>
                      <a:pt x="61" y="123"/>
                      <a:pt x="61" y="123"/>
                    </a:cubicBezTo>
                    <a:cubicBezTo>
                      <a:pt x="61" y="122"/>
                      <a:pt x="61" y="122"/>
                      <a:pt x="61" y="121"/>
                    </a:cubicBezTo>
                    <a:cubicBezTo>
                      <a:pt x="61" y="121"/>
                      <a:pt x="61" y="121"/>
                      <a:pt x="61" y="120"/>
                    </a:cubicBezTo>
                    <a:cubicBezTo>
                      <a:pt x="61" y="120"/>
                      <a:pt x="61" y="120"/>
                      <a:pt x="61" y="119"/>
                    </a:cubicBezTo>
                    <a:cubicBezTo>
                      <a:pt x="61" y="119"/>
                      <a:pt x="61" y="120"/>
                      <a:pt x="61" y="120"/>
                    </a:cubicBezTo>
                    <a:cubicBezTo>
                      <a:pt x="61" y="119"/>
                      <a:pt x="61" y="119"/>
                      <a:pt x="61" y="119"/>
                    </a:cubicBezTo>
                    <a:cubicBezTo>
                      <a:pt x="61" y="119"/>
                      <a:pt x="62" y="118"/>
                      <a:pt x="62" y="118"/>
                    </a:cubicBezTo>
                    <a:cubicBezTo>
                      <a:pt x="62" y="118"/>
                      <a:pt x="62" y="117"/>
                      <a:pt x="63" y="117"/>
                    </a:cubicBezTo>
                    <a:cubicBezTo>
                      <a:pt x="63" y="116"/>
                      <a:pt x="64" y="114"/>
                      <a:pt x="64" y="113"/>
                    </a:cubicBezTo>
                    <a:cubicBezTo>
                      <a:pt x="64" y="113"/>
                      <a:pt x="64" y="112"/>
                      <a:pt x="65" y="112"/>
                    </a:cubicBezTo>
                    <a:cubicBezTo>
                      <a:pt x="65" y="111"/>
                      <a:pt x="65" y="111"/>
                      <a:pt x="65" y="110"/>
                    </a:cubicBezTo>
                    <a:cubicBezTo>
                      <a:pt x="65" y="110"/>
                      <a:pt x="66" y="109"/>
                      <a:pt x="65" y="109"/>
                    </a:cubicBezTo>
                    <a:cubicBezTo>
                      <a:pt x="65" y="108"/>
                      <a:pt x="65" y="108"/>
                      <a:pt x="65" y="108"/>
                    </a:cubicBezTo>
                    <a:cubicBezTo>
                      <a:pt x="65" y="108"/>
                      <a:pt x="65" y="108"/>
                      <a:pt x="65" y="107"/>
                    </a:cubicBezTo>
                    <a:cubicBezTo>
                      <a:pt x="65" y="107"/>
                      <a:pt x="66" y="107"/>
                      <a:pt x="66" y="107"/>
                    </a:cubicBezTo>
                    <a:cubicBezTo>
                      <a:pt x="66" y="107"/>
                      <a:pt x="65" y="106"/>
                      <a:pt x="66" y="106"/>
                    </a:cubicBezTo>
                    <a:cubicBezTo>
                      <a:pt x="66" y="105"/>
                      <a:pt x="66" y="105"/>
                      <a:pt x="66" y="106"/>
                    </a:cubicBezTo>
                    <a:cubicBezTo>
                      <a:pt x="66" y="106"/>
                      <a:pt x="66" y="108"/>
                      <a:pt x="66" y="108"/>
                    </a:cubicBezTo>
                    <a:cubicBezTo>
                      <a:pt x="67" y="108"/>
                      <a:pt x="67" y="111"/>
                      <a:pt x="67" y="112"/>
                    </a:cubicBezTo>
                    <a:cubicBezTo>
                      <a:pt x="67" y="113"/>
                      <a:pt x="67" y="114"/>
                      <a:pt x="67" y="115"/>
                    </a:cubicBezTo>
                    <a:cubicBezTo>
                      <a:pt x="67" y="116"/>
                      <a:pt x="66" y="116"/>
                      <a:pt x="66" y="117"/>
                    </a:cubicBezTo>
                    <a:cubicBezTo>
                      <a:pt x="65" y="117"/>
                      <a:pt x="65" y="117"/>
                      <a:pt x="64" y="117"/>
                    </a:cubicBezTo>
                    <a:close/>
                    <a:moveTo>
                      <a:pt x="19" y="54"/>
                    </a:moveTo>
                    <a:cubicBezTo>
                      <a:pt x="19" y="55"/>
                      <a:pt x="20" y="53"/>
                      <a:pt x="20" y="54"/>
                    </a:cubicBezTo>
                    <a:cubicBezTo>
                      <a:pt x="20" y="54"/>
                      <a:pt x="21" y="56"/>
                      <a:pt x="21" y="56"/>
                    </a:cubicBezTo>
                    <a:cubicBezTo>
                      <a:pt x="20" y="56"/>
                      <a:pt x="21" y="57"/>
                      <a:pt x="21" y="57"/>
                    </a:cubicBezTo>
                    <a:cubicBezTo>
                      <a:pt x="21" y="57"/>
                      <a:pt x="21" y="58"/>
                      <a:pt x="21" y="58"/>
                    </a:cubicBezTo>
                    <a:cubicBezTo>
                      <a:pt x="21" y="58"/>
                      <a:pt x="22" y="60"/>
                      <a:pt x="21" y="59"/>
                    </a:cubicBezTo>
                    <a:cubicBezTo>
                      <a:pt x="21" y="59"/>
                      <a:pt x="21" y="60"/>
                      <a:pt x="21" y="60"/>
                    </a:cubicBezTo>
                    <a:cubicBezTo>
                      <a:pt x="21" y="60"/>
                      <a:pt x="22" y="60"/>
                      <a:pt x="22" y="61"/>
                    </a:cubicBezTo>
                    <a:cubicBezTo>
                      <a:pt x="22" y="61"/>
                      <a:pt x="23" y="62"/>
                      <a:pt x="23" y="63"/>
                    </a:cubicBezTo>
                    <a:cubicBezTo>
                      <a:pt x="23" y="64"/>
                      <a:pt x="23" y="65"/>
                      <a:pt x="24" y="66"/>
                    </a:cubicBezTo>
                    <a:cubicBezTo>
                      <a:pt x="24" y="67"/>
                      <a:pt x="24" y="67"/>
                      <a:pt x="24" y="67"/>
                    </a:cubicBezTo>
                    <a:cubicBezTo>
                      <a:pt x="24" y="67"/>
                      <a:pt x="24" y="67"/>
                      <a:pt x="24" y="67"/>
                    </a:cubicBezTo>
                    <a:cubicBezTo>
                      <a:pt x="25" y="67"/>
                      <a:pt x="25" y="67"/>
                      <a:pt x="25" y="67"/>
                    </a:cubicBezTo>
                    <a:cubicBezTo>
                      <a:pt x="25" y="65"/>
                      <a:pt x="25" y="66"/>
                      <a:pt x="26" y="67"/>
                    </a:cubicBezTo>
                    <a:cubicBezTo>
                      <a:pt x="25" y="67"/>
                      <a:pt x="26" y="68"/>
                      <a:pt x="26" y="68"/>
                    </a:cubicBezTo>
                    <a:cubicBezTo>
                      <a:pt x="26" y="69"/>
                      <a:pt x="27" y="68"/>
                      <a:pt x="27" y="69"/>
                    </a:cubicBezTo>
                    <a:cubicBezTo>
                      <a:pt x="27" y="69"/>
                      <a:pt x="27" y="70"/>
                      <a:pt x="27" y="70"/>
                    </a:cubicBezTo>
                    <a:cubicBezTo>
                      <a:pt x="27" y="71"/>
                      <a:pt x="28" y="71"/>
                      <a:pt x="29" y="71"/>
                    </a:cubicBezTo>
                    <a:cubicBezTo>
                      <a:pt x="30" y="70"/>
                      <a:pt x="29" y="69"/>
                      <a:pt x="29" y="68"/>
                    </a:cubicBezTo>
                    <a:cubicBezTo>
                      <a:pt x="29" y="68"/>
                      <a:pt x="28" y="66"/>
                      <a:pt x="28" y="66"/>
                    </a:cubicBezTo>
                    <a:cubicBezTo>
                      <a:pt x="29" y="67"/>
                      <a:pt x="29" y="67"/>
                      <a:pt x="30" y="67"/>
                    </a:cubicBezTo>
                    <a:cubicBezTo>
                      <a:pt x="30" y="67"/>
                      <a:pt x="30" y="67"/>
                      <a:pt x="31" y="67"/>
                    </a:cubicBezTo>
                    <a:cubicBezTo>
                      <a:pt x="32" y="67"/>
                      <a:pt x="32" y="68"/>
                      <a:pt x="33" y="69"/>
                    </a:cubicBezTo>
                    <a:cubicBezTo>
                      <a:pt x="33" y="69"/>
                      <a:pt x="33" y="70"/>
                      <a:pt x="33" y="70"/>
                    </a:cubicBezTo>
                    <a:cubicBezTo>
                      <a:pt x="33" y="70"/>
                      <a:pt x="32" y="70"/>
                      <a:pt x="32" y="70"/>
                    </a:cubicBezTo>
                    <a:cubicBezTo>
                      <a:pt x="32" y="70"/>
                      <a:pt x="32" y="70"/>
                      <a:pt x="32" y="70"/>
                    </a:cubicBezTo>
                    <a:cubicBezTo>
                      <a:pt x="32" y="70"/>
                      <a:pt x="32" y="71"/>
                      <a:pt x="31" y="71"/>
                    </a:cubicBezTo>
                    <a:cubicBezTo>
                      <a:pt x="31" y="72"/>
                      <a:pt x="31" y="72"/>
                      <a:pt x="30" y="72"/>
                    </a:cubicBezTo>
                    <a:cubicBezTo>
                      <a:pt x="30" y="72"/>
                      <a:pt x="29" y="73"/>
                      <a:pt x="30" y="73"/>
                    </a:cubicBezTo>
                    <a:cubicBezTo>
                      <a:pt x="30" y="73"/>
                      <a:pt x="30" y="73"/>
                      <a:pt x="29" y="74"/>
                    </a:cubicBezTo>
                    <a:cubicBezTo>
                      <a:pt x="30" y="74"/>
                      <a:pt x="30" y="74"/>
                      <a:pt x="30" y="74"/>
                    </a:cubicBezTo>
                    <a:cubicBezTo>
                      <a:pt x="30" y="74"/>
                      <a:pt x="30" y="74"/>
                      <a:pt x="29" y="74"/>
                    </a:cubicBezTo>
                    <a:cubicBezTo>
                      <a:pt x="30" y="74"/>
                      <a:pt x="30" y="75"/>
                      <a:pt x="30" y="75"/>
                    </a:cubicBezTo>
                    <a:cubicBezTo>
                      <a:pt x="30" y="75"/>
                      <a:pt x="30" y="76"/>
                      <a:pt x="30" y="76"/>
                    </a:cubicBezTo>
                    <a:cubicBezTo>
                      <a:pt x="30" y="76"/>
                      <a:pt x="30" y="76"/>
                      <a:pt x="30" y="76"/>
                    </a:cubicBezTo>
                    <a:cubicBezTo>
                      <a:pt x="30" y="77"/>
                      <a:pt x="30" y="78"/>
                      <a:pt x="31" y="78"/>
                    </a:cubicBezTo>
                    <a:cubicBezTo>
                      <a:pt x="31" y="78"/>
                      <a:pt x="31" y="77"/>
                      <a:pt x="31" y="77"/>
                    </a:cubicBezTo>
                    <a:cubicBezTo>
                      <a:pt x="31" y="77"/>
                      <a:pt x="31" y="77"/>
                      <a:pt x="31" y="76"/>
                    </a:cubicBezTo>
                    <a:cubicBezTo>
                      <a:pt x="32" y="76"/>
                      <a:pt x="33" y="77"/>
                      <a:pt x="33" y="77"/>
                    </a:cubicBezTo>
                    <a:cubicBezTo>
                      <a:pt x="33" y="78"/>
                      <a:pt x="33" y="78"/>
                      <a:pt x="33" y="79"/>
                    </a:cubicBezTo>
                    <a:cubicBezTo>
                      <a:pt x="33" y="79"/>
                      <a:pt x="34" y="78"/>
                      <a:pt x="34" y="78"/>
                    </a:cubicBezTo>
                    <a:cubicBezTo>
                      <a:pt x="35" y="78"/>
                      <a:pt x="34" y="79"/>
                      <a:pt x="35" y="79"/>
                    </a:cubicBezTo>
                    <a:cubicBezTo>
                      <a:pt x="35" y="80"/>
                      <a:pt x="36" y="79"/>
                      <a:pt x="36" y="79"/>
                    </a:cubicBezTo>
                    <a:cubicBezTo>
                      <a:pt x="36" y="79"/>
                      <a:pt x="37" y="80"/>
                      <a:pt x="37" y="80"/>
                    </a:cubicBezTo>
                    <a:cubicBezTo>
                      <a:pt x="37" y="80"/>
                      <a:pt x="38" y="79"/>
                      <a:pt x="38" y="79"/>
                    </a:cubicBezTo>
                    <a:cubicBezTo>
                      <a:pt x="38" y="79"/>
                      <a:pt x="39" y="79"/>
                      <a:pt x="39" y="79"/>
                    </a:cubicBezTo>
                    <a:cubicBezTo>
                      <a:pt x="38" y="78"/>
                      <a:pt x="38" y="77"/>
                      <a:pt x="40" y="77"/>
                    </a:cubicBezTo>
                    <a:cubicBezTo>
                      <a:pt x="40" y="76"/>
                      <a:pt x="41" y="75"/>
                      <a:pt x="42" y="76"/>
                    </a:cubicBezTo>
                    <a:cubicBezTo>
                      <a:pt x="42" y="77"/>
                      <a:pt x="43" y="77"/>
                      <a:pt x="43" y="77"/>
                    </a:cubicBezTo>
                    <a:cubicBezTo>
                      <a:pt x="43" y="77"/>
                      <a:pt x="43" y="78"/>
                      <a:pt x="44" y="78"/>
                    </a:cubicBezTo>
                    <a:cubicBezTo>
                      <a:pt x="45" y="78"/>
                      <a:pt x="45" y="78"/>
                      <a:pt x="46" y="79"/>
                    </a:cubicBezTo>
                    <a:cubicBezTo>
                      <a:pt x="46" y="80"/>
                      <a:pt x="46" y="80"/>
                      <a:pt x="46" y="80"/>
                    </a:cubicBezTo>
                    <a:cubicBezTo>
                      <a:pt x="47" y="80"/>
                      <a:pt x="47" y="80"/>
                      <a:pt x="47" y="80"/>
                    </a:cubicBezTo>
                    <a:cubicBezTo>
                      <a:pt x="47" y="80"/>
                      <a:pt x="48" y="81"/>
                      <a:pt x="48" y="81"/>
                    </a:cubicBezTo>
                    <a:cubicBezTo>
                      <a:pt x="49" y="82"/>
                      <a:pt x="49" y="82"/>
                      <a:pt x="49" y="83"/>
                    </a:cubicBezTo>
                    <a:cubicBezTo>
                      <a:pt x="49" y="83"/>
                      <a:pt x="50" y="85"/>
                      <a:pt x="50" y="84"/>
                    </a:cubicBezTo>
                    <a:cubicBezTo>
                      <a:pt x="51" y="84"/>
                      <a:pt x="51" y="83"/>
                      <a:pt x="51" y="83"/>
                    </a:cubicBezTo>
                    <a:cubicBezTo>
                      <a:pt x="51" y="82"/>
                      <a:pt x="50" y="82"/>
                      <a:pt x="50" y="81"/>
                    </a:cubicBezTo>
                    <a:cubicBezTo>
                      <a:pt x="50" y="81"/>
                      <a:pt x="49" y="81"/>
                      <a:pt x="49" y="80"/>
                    </a:cubicBezTo>
                    <a:cubicBezTo>
                      <a:pt x="49" y="80"/>
                      <a:pt x="50" y="81"/>
                      <a:pt x="50" y="81"/>
                    </a:cubicBezTo>
                    <a:cubicBezTo>
                      <a:pt x="50" y="80"/>
                      <a:pt x="48" y="79"/>
                      <a:pt x="48" y="79"/>
                    </a:cubicBezTo>
                    <a:cubicBezTo>
                      <a:pt x="48" y="78"/>
                      <a:pt x="49" y="78"/>
                      <a:pt x="49" y="78"/>
                    </a:cubicBezTo>
                    <a:cubicBezTo>
                      <a:pt x="49" y="78"/>
                      <a:pt x="49" y="78"/>
                      <a:pt x="49" y="78"/>
                    </a:cubicBezTo>
                    <a:cubicBezTo>
                      <a:pt x="48" y="77"/>
                      <a:pt x="48" y="77"/>
                      <a:pt x="47" y="76"/>
                    </a:cubicBezTo>
                    <a:cubicBezTo>
                      <a:pt x="48" y="76"/>
                      <a:pt x="49" y="76"/>
                      <a:pt x="48" y="76"/>
                    </a:cubicBezTo>
                    <a:cubicBezTo>
                      <a:pt x="49" y="76"/>
                      <a:pt x="49" y="76"/>
                      <a:pt x="49" y="77"/>
                    </a:cubicBezTo>
                    <a:cubicBezTo>
                      <a:pt x="50" y="77"/>
                      <a:pt x="50" y="77"/>
                      <a:pt x="50" y="77"/>
                    </a:cubicBezTo>
                    <a:cubicBezTo>
                      <a:pt x="50" y="77"/>
                      <a:pt x="51" y="78"/>
                      <a:pt x="51" y="78"/>
                    </a:cubicBezTo>
                    <a:cubicBezTo>
                      <a:pt x="51" y="78"/>
                      <a:pt x="53" y="79"/>
                      <a:pt x="51" y="79"/>
                    </a:cubicBezTo>
                    <a:cubicBezTo>
                      <a:pt x="52" y="79"/>
                      <a:pt x="53" y="80"/>
                      <a:pt x="53" y="80"/>
                    </a:cubicBezTo>
                    <a:cubicBezTo>
                      <a:pt x="54" y="81"/>
                      <a:pt x="54" y="81"/>
                      <a:pt x="55" y="81"/>
                    </a:cubicBezTo>
                    <a:cubicBezTo>
                      <a:pt x="55" y="82"/>
                      <a:pt x="56" y="82"/>
                      <a:pt x="56" y="83"/>
                    </a:cubicBezTo>
                    <a:cubicBezTo>
                      <a:pt x="56" y="83"/>
                      <a:pt x="57" y="84"/>
                      <a:pt x="57" y="84"/>
                    </a:cubicBezTo>
                    <a:cubicBezTo>
                      <a:pt x="57" y="85"/>
                      <a:pt x="57" y="86"/>
                      <a:pt x="57" y="86"/>
                    </a:cubicBezTo>
                    <a:cubicBezTo>
                      <a:pt x="57" y="86"/>
                      <a:pt x="58" y="86"/>
                      <a:pt x="58" y="86"/>
                    </a:cubicBezTo>
                    <a:cubicBezTo>
                      <a:pt x="59" y="86"/>
                      <a:pt x="60" y="88"/>
                      <a:pt x="61" y="88"/>
                    </a:cubicBezTo>
                    <a:cubicBezTo>
                      <a:pt x="61" y="88"/>
                      <a:pt x="61" y="87"/>
                      <a:pt x="61" y="87"/>
                    </a:cubicBezTo>
                    <a:cubicBezTo>
                      <a:pt x="61" y="87"/>
                      <a:pt x="61" y="88"/>
                      <a:pt x="61" y="88"/>
                    </a:cubicBezTo>
                    <a:cubicBezTo>
                      <a:pt x="61" y="88"/>
                      <a:pt x="61" y="87"/>
                      <a:pt x="61" y="88"/>
                    </a:cubicBezTo>
                    <a:cubicBezTo>
                      <a:pt x="61" y="88"/>
                      <a:pt x="61" y="88"/>
                      <a:pt x="61" y="88"/>
                    </a:cubicBezTo>
                    <a:cubicBezTo>
                      <a:pt x="61" y="88"/>
                      <a:pt x="61" y="88"/>
                      <a:pt x="62" y="88"/>
                    </a:cubicBezTo>
                    <a:cubicBezTo>
                      <a:pt x="62" y="88"/>
                      <a:pt x="63" y="88"/>
                      <a:pt x="63" y="87"/>
                    </a:cubicBezTo>
                    <a:cubicBezTo>
                      <a:pt x="63" y="87"/>
                      <a:pt x="63" y="87"/>
                      <a:pt x="63" y="87"/>
                    </a:cubicBezTo>
                    <a:cubicBezTo>
                      <a:pt x="64" y="87"/>
                      <a:pt x="64" y="87"/>
                      <a:pt x="64" y="87"/>
                    </a:cubicBezTo>
                    <a:cubicBezTo>
                      <a:pt x="64" y="88"/>
                      <a:pt x="64" y="88"/>
                      <a:pt x="63" y="88"/>
                    </a:cubicBezTo>
                    <a:cubicBezTo>
                      <a:pt x="63" y="88"/>
                      <a:pt x="62" y="88"/>
                      <a:pt x="62" y="88"/>
                    </a:cubicBezTo>
                    <a:cubicBezTo>
                      <a:pt x="62" y="89"/>
                      <a:pt x="63" y="89"/>
                      <a:pt x="63" y="90"/>
                    </a:cubicBezTo>
                    <a:cubicBezTo>
                      <a:pt x="63" y="90"/>
                      <a:pt x="65" y="92"/>
                      <a:pt x="65" y="91"/>
                    </a:cubicBezTo>
                    <a:cubicBezTo>
                      <a:pt x="66" y="91"/>
                      <a:pt x="66" y="89"/>
                      <a:pt x="66" y="89"/>
                    </a:cubicBezTo>
                    <a:cubicBezTo>
                      <a:pt x="66" y="88"/>
                      <a:pt x="65" y="88"/>
                      <a:pt x="65" y="87"/>
                    </a:cubicBezTo>
                    <a:cubicBezTo>
                      <a:pt x="65" y="87"/>
                      <a:pt x="65" y="87"/>
                      <a:pt x="66" y="86"/>
                    </a:cubicBezTo>
                    <a:cubicBezTo>
                      <a:pt x="66" y="86"/>
                      <a:pt x="66" y="85"/>
                      <a:pt x="65" y="86"/>
                    </a:cubicBezTo>
                    <a:cubicBezTo>
                      <a:pt x="65" y="86"/>
                      <a:pt x="64" y="86"/>
                      <a:pt x="65" y="86"/>
                    </a:cubicBezTo>
                    <a:cubicBezTo>
                      <a:pt x="64" y="86"/>
                      <a:pt x="64" y="86"/>
                      <a:pt x="64" y="85"/>
                    </a:cubicBezTo>
                    <a:cubicBezTo>
                      <a:pt x="63" y="85"/>
                      <a:pt x="63" y="85"/>
                      <a:pt x="63" y="85"/>
                    </a:cubicBezTo>
                    <a:cubicBezTo>
                      <a:pt x="62" y="85"/>
                      <a:pt x="62" y="86"/>
                      <a:pt x="62" y="86"/>
                    </a:cubicBezTo>
                    <a:cubicBezTo>
                      <a:pt x="61" y="86"/>
                      <a:pt x="61" y="85"/>
                      <a:pt x="61" y="85"/>
                    </a:cubicBezTo>
                    <a:cubicBezTo>
                      <a:pt x="61" y="84"/>
                      <a:pt x="62" y="84"/>
                      <a:pt x="62" y="84"/>
                    </a:cubicBezTo>
                    <a:cubicBezTo>
                      <a:pt x="62" y="84"/>
                      <a:pt x="62" y="83"/>
                      <a:pt x="62" y="84"/>
                    </a:cubicBezTo>
                    <a:cubicBezTo>
                      <a:pt x="61" y="83"/>
                      <a:pt x="61" y="82"/>
                      <a:pt x="60" y="81"/>
                    </a:cubicBezTo>
                    <a:cubicBezTo>
                      <a:pt x="59" y="81"/>
                      <a:pt x="58" y="80"/>
                      <a:pt x="59" y="79"/>
                    </a:cubicBezTo>
                    <a:cubicBezTo>
                      <a:pt x="59" y="78"/>
                      <a:pt x="60" y="79"/>
                      <a:pt x="61" y="79"/>
                    </a:cubicBezTo>
                    <a:cubicBezTo>
                      <a:pt x="61" y="79"/>
                      <a:pt x="62" y="78"/>
                      <a:pt x="62" y="78"/>
                    </a:cubicBezTo>
                    <a:cubicBezTo>
                      <a:pt x="62" y="78"/>
                      <a:pt x="62" y="79"/>
                      <a:pt x="62" y="78"/>
                    </a:cubicBezTo>
                    <a:cubicBezTo>
                      <a:pt x="62" y="78"/>
                      <a:pt x="63" y="78"/>
                      <a:pt x="63" y="79"/>
                    </a:cubicBezTo>
                    <a:cubicBezTo>
                      <a:pt x="63" y="78"/>
                      <a:pt x="62" y="77"/>
                      <a:pt x="61" y="77"/>
                    </a:cubicBezTo>
                    <a:cubicBezTo>
                      <a:pt x="61" y="78"/>
                      <a:pt x="60" y="77"/>
                      <a:pt x="60" y="76"/>
                    </a:cubicBezTo>
                    <a:cubicBezTo>
                      <a:pt x="60" y="77"/>
                      <a:pt x="59" y="77"/>
                      <a:pt x="59" y="77"/>
                    </a:cubicBezTo>
                    <a:cubicBezTo>
                      <a:pt x="59" y="76"/>
                      <a:pt x="58" y="76"/>
                      <a:pt x="58" y="76"/>
                    </a:cubicBezTo>
                    <a:cubicBezTo>
                      <a:pt x="58" y="76"/>
                      <a:pt x="58" y="76"/>
                      <a:pt x="57" y="76"/>
                    </a:cubicBezTo>
                    <a:cubicBezTo>
                      <a:pt x="57" y="76"/>
                      <a:pt x="57" y="77"/>
                      <a:pt x="57" y="76"/>
                    </a:cubicBezTo>
                    <a:cubicBezTo>
                      <a:pt x="57" y="76"/>
                      <a:pt x="57" y="75"/>
                      <a:pt x="57" y="75"/>
                    </a:cubicBezTo>
                    <a:cubicBezTo>
                      <a:pt x="57" y="75"/>
                      <a:pt x="56" y="75"/>
                      <a:pt x="56" y="75"/>
                    </a:cubicBezTo>
                    <a:cubicBezTo>
                      <a:pt x="56" y="75"/>
                      <a:pt x="57" y="75"/>
                      <a:pt x="56" y="75"/>
                    </a:cubicBezTo>
                    <a:cubicBezTo>
                      <a:pt x="56" y="75"/>
                      <a:pt x="56" y="74"/>
                      <a:pt x="56" y="74"/>
                    </a:cubicBezTo>
                    <a:cubicBezTo>
                      <a:pt x="56" y="75"/>
                      <a:pt x="56" y="75"/>
                      <a:pt x="56" y="75"/>
                    </a:cubicBezTo>
                    <a:cubicBezTo>
                      <a:pt x="56" y="75"/>
                      <a:pt x="56" y="75"/>
                      <a:pt x="55" y="75"/>
                    </a:cubicBezTo>
                    <a:cubicBezTo>
                      <a:pt x="56" y="75"/>
                      <a:pt x="56" y="75"/>
                      <a:pt x="55" y="75"/>
                    </a:cubicBezTo>
                    <a:cubicBezTo>
                      <a:pt x="55" y="75"/>
                      <a:pt x="55" y="75"/>
                      <a:pt x="55" y="75"/>
                    </a:cubicBezTo>
                    <a:cubicBezTo>
                      <a:pt x="55" y="76"/>
                      <a:pt x="56" y="77"/>
                      <a:pt x="56" y="76"/>
                    </a:cubicBezTo>
                    <a:cubicBezTo>
                      <a:pt x="56" y="76"/>
                      <a:pt x="56" y="76"/>
                      <a:pt x="56" y="77"/>
                    </a:cubicBezTo>
                    <a:cubicBezTo>
                      <a:pt x="56" y="77"/>
                      <a:pt x="56" y="78"/>
                      <a:pt x="56" y="78"/>
                    </a:cubicBezTo>
                    <a:cubicBezTo>
                      <a:pt x="56" y="78"/>
                      <a:pt x="55" y="78"/>
                      <a:pt x="55" y="78"/>
                    </a:cubicBezTo>
                    <a:cubicBezTo>
                      <a:pt x="54" y="78"/>
                      <a:pt x="55" y="79"/>
                      <a:pt x="54" y="79"/>
                    </a:cubicBezTo>
                    <a:cubicBezTo>
                      <a:pt x="55" y="79"/>
                      <a:pt x="54" y="78"/>
                      <a:pt x="54" y="78"/>
                    </a:cubicBezTo>
                    <a:cubicBezTo>
                      <a:pt x="54" y="78"/>
                      <a:pt x="54" y="77"/>
                      <a:pt x="54" y="77"/>
                    </a:cubicBezTo>
                    <a:cubicBezTo>
                      <a:pt x="54" y="76"/>
                      <a:pt x="54" y="76"/>
                      <a:pt x="53" y="75"/>
                    </a:cubicBezTo>
                    <a:cubicBezTo>
                      <a:pt x="53" y="75"/>
                      <a:pt x="53" y="75"/>
                      <a:pt x="53" y="74"/>
                    </a:cubicBezTo>
                    <a:cubicBezTo>
                      <a:pt x="53" y="74"/>
                      <a:pt x="53" y="74"/>
                      <a:pt x="53" y="74"/>
                    </a:cubicBezTo>
                    <a:cubicBezTo>
                      <a:pt x="52" y="74"/>
                      <a:pt x="52" y="74"/>
                      <a:pt x="52" y="73"/>
                    </a:cubicBezTo>
                    <a:cubicBezTo>
                      <a:pt x="52" y="73"/>
                      <a:pt x="51" y="73"/>
                      <a:pt x="51" y="72"/>
                    </a:cubicBezTo>
                    <a:cubicBezTo>
                      <a:pt x="50" y="72"/>
                      <a:pt x="49" y="71"/>
                      <a:pt x="50" y="72"/>
                    </a:cubicBezTo>
                    <a:cubicBezTo>
                      <a:pt x="49" y="72"/>
                      <a:pt x="49" y="72"/>
                      <a:pt x="49" y="72"/>
                    </a:cubicBezTo>
                    <a:cubicBezTo>
                      <a:pt x="49" y="72"/>
                      <a:pt x="48" y="71"/>
                      <a:pt x="48" y="72"/>
                    </a:cubicBezTo>
                    <a:cubicBezTo>
                      <a:pt x="47" y="72"/>
                      <a:pt x="47" y="72"/>
                      <a:pt x="47" y="72"/>
                    </a:cubicBezTo>
                    <a:cubicBezTo>
                      <a:pt x="47" y="72"/>
                      <a:pt x="46" y="73"/>
                      <a:pt x="47" y="73"/>
                    </a:cubicBezTo>
                    <a:cubicBezTo>
                      <a:pt x="46" y="73"/>
                      <a:pt x="46" y="73"/>
                      <a:pt x="46" y="73"/>
                    </a:cubicBezTo>
                    <a:cubicBezTo>
                      <a:pt x="46" y="73"/>
                      <a:pt x="47" y="74"/>
                      <a:pt x="46" y="74"/>
                    </a:cubicBezTo>
                    <a:cubicBezTo>
                      <a:pt x="46" y="74"/>
                      <a:pt x="46" y="74"/>
                      <a:pt x="46" y="74"/>
                    </a:cubicBezTo>
                    <a:cubicBezTo>
                      <a:pt x="46" y="74"/>
                      <a:pt x="46" y="73"/>
                      <a:pt x="46" y="73"/>
                    </a:cubicBezTo>
                    <a:cubicBezTo>
                      <a:pt x="45" y="73"/>
                      <a:pt x="45" y="73"/>
                      <a:pt x="45" y="73"/>
                    </a:cubicBezTo>
                    <a:cubicBezTo>
                      <a:pt x="45" y="74"/>
                      <a:pt x="45" y="74"/>
                      <a:pt x="45" y="74"/>
                    </a:cubicBezTo>
                    <a:cubicBezTo>
                      <a:pt x="45" y="74"/>
                      <a:pt x="46" y="75"/>
                      <a:pt x="46" y="75"/>
                    </a:cubicBezTo>
                    <a:cubicBezTo>
                      <a:pt x="46" y="75"/>
                      <a:pt x="47" y="76"/>
                      <a:pt x="46" y="76"/>
                    </a:cubicBezTo>
                    <a:cubicBezTo>
                      <a:pt x="45" y="76"/>
                      <a:pt x="45" y="75"/>
                      <a:pt x="45" y="76"/>
                    </a:cubicBezTo>
                    <a:cubicBezTo>
                      <a:pt x="46" y="76"/>
                      <a:pt x="46" y="76"/>
                      <a:pt x="45" y="76"/>
                    </a:cubicBezTo>
                    <a:cubicBezTo>
                      <a:pt x="44" y="76"/>
                      <a:pt x="43" y="76"/>
                      <a:pt x="43" y="75"/>
                    </a:cubicBezTo>
                    <a:cubicBezTo>
                      <a:pt x="42" y="75"/>
                      <a:pt x="40" y="74"/>
                      <a:pt x="41" y="73"/>
                    </a:cubicBezTo>
                    <a:cubicBezTo>
                      <a:pt x="41" y="72"/>
                      <a:pt x="40" y="72"/>
                      <a:pt x="40" y="71"/>
                    </a:cubicBezTo>
                    <a:cubicBezTo>
                      <a:pt x="39" y="71"/>
                      <a:pt x="39" y="69"/>
                      <a:pt x="39" y="68"/>
                    </a:cubicBezTo>
                    <a:cubicBezTo>
                      <a:pt x="39" y="68"/>
                      <a:pt x="39" y="68"/>
                      <a:pt x="40" y="68"/>
                    </a:cubicBezTo>
                    <a:cubicBezTo>
                      <a:pt x="39" y="67"/>
                      <a:pt x="39" y="67"/>
                      <a:pt x="39" y="66"/>
                    </a:cubicBezTo>
                    <a:cubicBezTo>
                      <a:pt x="38" y="66"/>
                      <a:pt x="38" y="66"/>
                      <a:pt x="38" y="65"/>
                    </a:cubicBezTo>
                    <a:cubicBezTo>
                      <a:pt x="38" y="64"/>
                      <a:pt x="37" y="63"/>
                      <a:pt x="36" y="62"/>
                    </a:cubicBezTo>
                    <a:cubicBezTo>
                      <a:pt x="36" y="62"/>
                      <a:pt x="35" y="60"/>
                      <a:pt x="36" y="60"/>
                    </a:cubicBezTo>
                    <a:cubicBezTo>
                      <a:pt x="36" y="60"/>
                      <a:pt x="36" y="58"/>
                      <a:pt x="37" y="58"/>
                    </a:cubicBezTo>
                    <a:cubicBezTo>
                      <a:pt x="37" y="58"/>
                      <a:pt x="38" y="56"/>
                      <a:pt x="37" y="56"/>
                    </a:cubicBezTo>
                    <a:cubicBezTo>
                      <a:pt x="36" y="56"/>
                      <a:pt x="36" y="55"/>
                      <a:pt x="36" y="55"/>
                    </a:cubicBezTo>
                    <a:cubicBezTo>
                      <a:pt x="36" y="54"/>
                      <a:pt x="37" y="54"/>
                      <a:pt x="37" y="54"/>
                    </a:cubicBezTo>
                    <a:cubicBezTo>
                      <a:pt x="38" y="53"/>
                      <a:pt x="38" y="52"/>
                      <a:pt x="39" y="52"/>
                    </a:cubicBezTo>
                    <a:cubicBezTo>
                      <a:pt x="40" y="52"/>
                      <a:pt x="40" y="52"/>
                      <a:pt x="41" y="51"/>
                    </a:cubicBezTo>
                    <a:cubicBezTo>
                      <a:pt x="41" y="51"/>
                      <a:pt x="41" y="50"/>
                      <a:pt x="41" y="51"/>
                    </a:cubicBezTo>
                    <a:cubicBezTo>
                      <a:pt x="41" y="51"/>
                      <a:pt x="40" y="53"/>
                      <a:pt x="40" y="53"/>
                    </a:cubicBezTo>
                    <a:cubicBezTo>
                      <a:pt x="41" y="53"/>
                      <a:pt x="41" y="52"/>
                      <a:pt x="41" y="52"/>
                    </a:cubicBezTo>
                    <a:cubicBezTo>
                      <a:pt x="42" y="51"/>
                      <a:pt x="42" y="51"/>
                      <a:pt x="42" y="50"/>
                    </a:cubicBezTo>
                    <a:cubicBezTo>
                      <a:pt x="41" y="51"/>
                      <a:pt x="42" y="49"/>
                      <a:pt x="42" y="49"/>
                    </a:cubicBezTo>
                    <a:cubicBezTo>
                      <a:pt x="42" y="49"/>
                      <a:pt x="42" y="49"/>
                      <a:pt x="42" y="49"/>
                    </a:cubicBezTo>
                    <a:cubicBezTo>
                      <a:pt x="42" y="48"/>
                      <a:pt x="42" y="48"/>
                      <a:pt x="42" y="48"/>
                    </a:cubicBezTo>
                    <a:cubicBezTo>
                      <a:pt x="42" y="48"/>
                      <a:pt x="42" y="47"/>
                      <a:pt x="42" y="47"/>
                    </a:cubicBezTo>
                    <a:cubicBezTo>
                      <a:pt x="43" y="46"/>
                      <a:pt x="43" y="45"/>
                      <a:pt x="43" y="43"/>
                    </a:cubicBezTo>
                    <a:cubicBezTo>
                      <a:pt x="43" y="43"/>
                      <a:pt x="44" y="41"/>
                      <a:pt x="43" y="41"/>
                    </a:cubicBezTo>
                    <a:cubicBezTo>
                      <a:pt x="42" y="41"/>
                      <a:pt x="42" y="40"/>
                      <a:pt x="42" y="39"/>
                    </a:cubicBezTo>
                    <a:cubicBezTo>
                      <a:pt x="42" y="39"/>
                      <a:pt x="42" y="40"/>
                      <a:pt x="43" y="40"/>
                    </a:cubicBezTo>
                    <a:cubicBezTo>
                      <a:pt x="43" y="39"/>
                      <a:pt x="42" y="39"/>
                      <a:pt x="42" y="39"/>
                    </a:cubicBezTo>
                    <a:cubicBezTo>
                      <a:pt x="42" y="39"/>
                      <a:pt x="42" y="39"/>
                      <a:pt x="42" y="39"/>
                    </a:cubicBezTo>
                    <a:cubicBezTo>
                      <a:pt x="42" y="39"/>
                      <a:pt x="42" y="39"/>
                      <a:pt x="41" y="39"/>
                    </a:cubicBezTo>
                    <a:cubicBezTo>
                      <a:pt x="41" y="39"/>
                      <a:pt x="40" y="38"/>
                      <a:pt x="40" y="38"/>
                    </a:cubicBezTo>
                    <a:cubicBezTo>
                      <a:pt x="40" y="37"/>
                      <a:pt x="39" y="36"/>
                      <a:pt x="39" y="35"/>
                    </a:cubicBezTo>
                    <a:cubicBezTo>
                      <a:pt x="39" y="34"/>
                      <a:pt x="39" y="33"/>
                      <a:pt x="39" y="32"/>
                    </a:cubicBezTo>
                    <a:cubicBezTo>
                      <a:pt x="39" y="31"/>
                      <a:pt x="39" y="31"/>
                      <a:pt x="39" y="30"/>
                    </a:cubicBezTo>
                    <a:cubicBezTo>
                      <a:pt x="39" y="30"/>
                      <a:pt x="39" y="30"/>
                      <a:pt x="39" y="29"/>
                    </a:cubicBezTo>
                    <a:cubicBezTo>
                      <a:pt x="40" y="28"/>
                      <a:pt x="39" y="27"/>
                      <a:pt x="39" y="27"/>
                    </a:cubicBezTo>
                    <a:cubicBezTo>
                      <a:pt x="39" y="26"/>
                      <a:pt x="38" y="25"/>
                      <a:pt x="38" y="26"/>
                    </a:cubicBezTo>
                    <a:cubicBezTo>
                      <a:pt x="38" y="26"/>
                      <a:pt x="38" y="26"/>
                      <a:pt x="38" y="27"/>
                    </a:cubicBezTo>
                    <a:cubicBezTo>
                      <a:pt x="38" y="27"/>
                      <a:pt x="37" y="28"/>
                      <a:pt x="36" y="28"/>
                    </a:cubicBezTo>
                    <a:cubicBezTo>
                      <a:pt x="35" y="29"/>
                      <a:pt x="34" y="28"/>
                      <a:pt x="33" y="28"/>
                    </a:cubicBezTo>
                    <a:cubicBezTo>
                      <a:pt x="33" y="28"/>
                      <a:pt x="33" y="28"/>
                      <a:pt x="33" y="29"/>
                    </a:cubicBezTo>
                    <a:cubicBezTo>
                      <a:pt x="34" y="29"/>
                      <a:pt x="33" y="30"/>
                      <a:pt x="34" y="30"/>
                    </a:cubicBezTo>
                    <a:cubicBezTo>
                      <a:pt x="33" y="30"/>
                      <a:pt x="33" y="29"/>
                      <a:pt x="33" y="29"/>
                    </a:cubicBezTo>
                    <a:cubicBezTo>
                      <a:pt x="33" y="28"/>
                      <a:pt x="33" y="28"/>
                      <a:pt x="32" y="27"/>
                    </a:cubicBezTo>
                    <a:cubicBezTo>
                      <a:pt x="31" y="26"/>
                      <a:pt x="30" y="26"/>
                      <a:pt x="28" y="25"/>
                    </a:cubicBezTo>
                    <a:cubicBezTo>
                      <a:pt x="28" y="24"/>
                      <a:pt x="27" y="25"/>
                      <a:pt x="26" y="25"/>
                    </a:cubicBezTo>
                    <a:cubicBezTo>
                      <a:pt x="26" y="25"/>
                      <a:pt x="26" y="25"/>
                      <a:pt x="25" y="25"/>
                    </a:cubicBezTo>
                    <a:cubicBezTo>
                      <a:pt x="24" y="24"/>
                      <a:pt x="25" y="25"/>
                      <a:pt x="24" y="26"/>
                    </a:cubicBezTo>
                    <a:cubicBezTo>
                      <a:pt x="24" y="26"/>
                      <a:pt x="23" y="25"/>
                      <a:pt x="23" y="26"/>
                    </a:cubicBezTo>
                    <a:cubicBezTo>
                      <a:pt x="22" y="26"/>
                      <a:pt x="23" y="27"/>
                      <a:pt x="23" y="27"/>
                    </a:cubicBezTo>
                    <a:cubicBezTo>
                      <a:pt x="23" y="28"/>
                      <a:pt x="22" y="30"/>
                      <a:pt x="22" y="31"/>
                    </a:cubicBezTo>
                    <a:cubicBezTo>
                      <a:pt x="23" y="31"/>
                      <a:pt x="23" y="31"/>
                      <a:pt x="22" y="32"/>
                    </a:cubicBezTo>
                    <a:cubicBezTo>
                      <a:pt x="22" y="32"/>
                      <a:pt x="23" y="33"/>
                      <a:pt x="22" y="33"/>
                    </a:cubicBezTo>
                    <a:cubicBezTo>
                      <a:pt x="22" y="34"/>
                      <a:pt x="22" y="34"/>
                      <a:pt x="22" y="34"/>
                    </a:cubicBezTo>
                    <a:cubicBezTo>
                      <a:pt x="22" y="35"/>
                      <a:pt x="22" y="35"/>
                      <a:pt x="22" y="35"/>
                    </a:cubicBezTo>
                    <a:cubicBezTo>
                      <a:pt x="22" y="35"/>
                      <a:pt x="22" y="36"/>
                      <a:pt x="22" y="37"/>
                    </a:cubicBezTo>
                    <a:cubicBezTo>
                      <a:pt x="23" y="37"/>
                      <a:pt x="23" y="37"/>
                      <a:pt x="23" y="37"/>
                    </a:cubicBezTo>
                    <a:cubicBezTo>
                      <a:pt x="23" y="38"/>
                      <a:pt x="23" y="38"/>
                      <a:pt x="23" y="39"/>
                    </a:cubicBezTo>
                    <a:cubicBezTo>
                      <a:pt x="23" y="40"/>
                      <a:pt x="23" y="40"/>
                      <a:pt x="23" y="41"/>
                    </a:cubicBezTo>
                    <a:cubicBezTo>
                      <a:pt x="24" y="42"/>
                      <a:pt x="24" y="43"/>
                      <a:pt x="23" y="44"/>
                    </a:cubicBezTo>
                    <a:cubicBezTo>
                      <a:pt x="23" y="44"/>
                      <a:pt x="23" y="44"/>
                      <a:pt x="23" y="45"/>
                    </a:cubicBezTo>
                    <a:cubicBezTo>
                      <a:pt x="23" y="46"/>
                      <a:pt x="23" y="47"/>
                      <a:pt x="23" y="47"/>
                    </a:cubicBezTo>
                    <a:cubicBezTo>
                      <a:pt x="23" y="47"/>
                      <a:pt x="24" y="48"/>
                      <a:pt x="24" y="49"/>
                    </a:cubicBezTo>
                    <a:cubicBezTo>
                      <a:pt x="24" y="50"/>
                      <a:pt x="24" y="50"/>
                      <a:pt x="24" y="51"/>
                    </a:cubicBezTo>
                    <a:cubicBezTo>
                      <a:pt x="24" y="50"/>
                      <a:pt x="25" y="51"/>
                      <a:pt x="25" y="51"/>
                    </a:cubicBezTo>
                    <a:cubicBezTo>
                      <a:pt x="25" y="51"/>
                      <a:pt x="25" y="51"/>
                      <a:pt x="25" y="52"/>
                    </a:cubicBezTo>
                    <a:cubicBezTo>
                      <a:pt x="25" y="52"/>
                      <a:pt x="24" y="53"/>
                      <a:pt x="24" y="53"/>
                    </a:cubicBezTo>
                    <a:cubicBezTo>
                      <a:pt x="23" y="53"/>
                      <a:pt x="22" y="53"/>
                      <a:pt x="22" y="53"/>
                    </a:cubicBezTo>
                    <a:cubicBezTo>
                      <a:pt x="22" y="52"/>
                      <a:pt x="22" y="52"/>
                      <a:pt x="22" y="52"/>
                    </a:cubicBezTo>
                    <a:cubicBezTo>
                      <a:pt x="22" y="51"/>
                      <a:pt x="21" y="51"/>
                      <a:pt x="20" y="51"/>
                    </a:cubicBezTo>
                    <a:cubicBezTo>
                      <a:pt x="20" y="50"/>
                      <a:pt x="20" y="49"/>
                      <a:pt x="19" y="49"/>
                    </a:cubicBezTo>
                    <a:cubicBezTo>
                      <a:pt x="18" y="50"/>
                      <a:pt x="19" y="51"/>
                      <a:pt x="19" y="52"/>
                    </a:cubicBezTo>
                    <a:cubicBezTo>
                      <a:pt x="19" y="52"/>
                      <a:pt x="19" y="54"/>
                      <a:pt x="19" y="54"/>
                    </a:cubicBezTo>
                    <a:close/>
                    <a:moveTo>
                      <a:pt x="94" y="149"/>
                    </a:moveTo>
                    <a:cubicBezTo>
                      <a:pt x="94" y="149"/>
                      <a:pt x="94" y="148"/>
                      <a:pt x="94" y="148"/>
                    </a:cubicBezTo>
                    <a:cubicBezTo>
                      <a:pt x="94" y="147"/>
                      <a:pt x="94" y="148"/>
                      <a:pt x="94" y="147"/>
                    </a:cubicBezTo>
                    <a:cubicBezTo>
                      <a:pt x="94" y="147"/>
                      <a:pt x="94" y="146"/>
                      <a:pt x="94" y="146"/>
                    </a:cubicBezTo>
                    <a:cubicBezTo>
                      <a:pt x="94" y="145"/>
                      <a:pt x="94" y="144"/>
                      <a:pt x="93" y="144"/>
                    </a:cubicBezTo>
                    <a:cubicBezTo>
                      <a:pt x="93" y="144"/>
                      <a:pt x="93" y="144"/>
                      <a:pt x="92" y="143"/>
                    </a:cubicBezTo>
                    <a:cubicBezTo>
                      <a:pt x="92" y="143"/>
                      <a:pt x="92" y="143"/>
                      <a:pt x="92" y="142"/>
                    </a:cubicBezTo>
                    <a:cubicBezTo>
                      <a:pt x="92" y="142"/>
                      <a:pt x="92" y="142"/>
                      <a:pt x="92" y="141"/>
                    </a:cubicBezTo>
                    <a:cubicBezTo>
                      <a:pt x="92" y="141"/>
                      <a:pt x="92" y="141"/>
                      <a:pt x="92" y="140"/>
                    </a:cubicBezTo>
                    <a:cubicBezTo>
                      <a:pt x="92" y="140"/>
                      <a:pt x="92" y="139"/>
                      <a:pt x="92" y="139"/>
                    </a:cubicBezTo>
                    <a:cubicBezTo>
                      <a:pt x="92" y="139"/>
                      <a:pt x="92" y="139"/>
                      <a:pt x="92" y="139"/>
                    </a:cubicBezTo>
                    <a:cubicBezTo>
                      <a:pt x="92" y="139"/>
                      <a:pt x="91" y="139"/>
                      <a:pt x="91" y="139"/>
                    </a:cubicBezTo>
                    <a:cubicBezTo>
                      <a:pt x="91" y="139"/>
                      <a:pt x="92" y="139"/>
                      <a:pt x="91" y="138"/>
                    </a:cubicBezTo>
                    <a:cubicBezTo>
                      <a:pt x="91" y="138"/>
                      <a:pt x="91" y="138"/>
                      <a:pt x="91" y="137"/>
                    </a:cubicBezTo>
                    <a:cubicBezTo>
                      <a:pt x="91" y="137"/>
                      <a:pt x="91" y="137"/>
                      <a:pt x="91" y="137"/>
                    </a:cubicBezTo>
                    <a:cubicBezTo>
                      <a:pt x="91" y="137"/>
                      <a:pt x="91" y="136"/>
                      <a:pt x="91" y="136"/>
                    </a:cubicBezTo>
                    <a:cubicBezTo>
                      <a:pt x="92" y="136"/>
                      <a:pt x="91" y="136"/>
                      <a:pt x="91" y="135"/>
                    </a:cubicBezTo>
                    <a:cubicBezTo>
                      <a:pt x="91" y="135"/>
                      <a:pt x="90" y="135"/>
                      <a:pt x="90" y="135"/>
                    </a:cubicBezTo>
                    <a:cubicBezTo>
                      <a:pt x="90" y="135"/>
                      <a:pt x="90" y="135"/>
                      <a:pt x="90" y="136"/>
                    </a:cubicBezTo>
                    <a:cubicBezTo>
                      <a:pt x="88" y="136"/>
                      <a:pt x="88" y="133"/>
                      <a:pt x="90" y="134"/>
                    </a:cubicBezTo>
                    <a:cubicBezTo>
                      <a:pt x="89" y="133"/>
                      <a:pt x="90" y="133"/>
                      <a:pt x="90" y="133"/>
                    </a:cubicBezTo>
                    <a:cubicBezTo>
                      <a:pt x="90" y="133"/>
                      <a:pt x="90" y="132"/>
                      <a:pt x="91" y="132"/>
                    </a:cubicBezTo>
                    <a:cubicBezTo>
                      <a:pt x="91" y="132"/>
                      <a:pt x="90" y="131"/>
                      <a:pt x="90" y="131"/>
                    </a:cubicBezTo>
                    <a:cubicBezTo>
                      <a:pt x="90" y="131"/>
                      <a:pt x="89" y="130"/>
                      <a:pt x="89" y="130"/>
                    </a:cubicBezTo>
                    <a:cubicBezTo>
                      <a:pt x="89" y="130"/>
                      <a:pt x="89" y="130"/>
                      <a:pt x="90" y="130"/>
                    </a:cubicBezTo>
                    <a:cubicBezTo>
                      <a:pt x="89" y="130"/>
                      <a:pt x="89" y="130"/>
                      <a:pt x="89" y="129"/>
                    </a:cubicBezTo>
                    <a:cubicBezTo>
                      <a:pt x="89" y="129"/>
                      <a:pt x="89" y="128"/>
                      <a:pt x="89" y="128"/>
                    </a:cubicBezTo>
                    <a:cubicBezTo>
                      <a:pt x="89" y="128"/>
                      <a:pt x="89" y="127"/>
                      <a:pt x="89" y="127"/>
                    </a:cubicBezTo>
                    <a:cubicBezTo>
                      <a:pt x="88" y="127"/>
                      <a:pt x="88" y="128"/>
                      <a:pt x="87" y="127"/>
                    </a:cubicBezTo>
                    <a:cubicBezTo>
                      <a:pt x="87" y="127"/>
                      <a:pt x="87" y="126"/>
                      <a:pt x="87" y="126"/>
                    </a:cubicBezTo>
                    <a:cubicBezTo>
                      <a:pt x="87" y="126"/>
                      <a:pt x="86" y="126"/>
                      <a:pt x="86" y="126"/>
                    </a:cubicBezTo>
                    <a:cubicBezTo>
                      <a:pt x="86" y="125"/>
                      <a:pt x="87" y="126"/>
                      <a:pt x="87" y="125"/>
                    </a:cubicBezTo>
                    <a:cubicBezTo>
                      <a:pt x="86" y="125"/>
                      <a:pt x="86" y="125"/>
                      <a:pt x="86" y="125"/>
                    </a:cubicBezTo>
                    <a:cubicBezTo>
                      <a:pt x="86" y="125"/>
                      <a:pt x="85" y="124"/>
                      <a:pt x="85" y="124"/>
                    </a:cubicBezTo>
                    <a:cubicBezTo>
                      <a:pt x="84" y="124"/>
                      <a:pt x="83" y="124"/>
                      <a:pt x="83" y="123"/>
                    </a:cubicBezTo>
                    <a:cubicBezTo>
                      <a:pt x="83" y="123"/>
                      <a:pt x="83" y="123"/>
                      <a:pt x="83" y="122"/>
                    </a:cubicBezTo>
                    <a:cubicBezTo>
                      <a:pt x="82" y="122"/>
                      <a:pt x="82" y="122"/>
                      <a:pt x="81" y="121"/>
                    </a:cubicBezTo>
                    <a:cubicBezTo>
                      <a:pt x="81" y="122"/>
                      <a:pt x="81" y="123"/>
                      <a:pt x="81" y="124"/>
                    </a:cubicBezTo>
                    <a:cubicBezTo>
                      <a:pt x="81" y="124"/>
                      <a:pt x="81" y="125"/>
                      <a:pt x="82" y="125"/>
                    </a:cubicBezTo>
                    <a:cubicBezTo>
                      <a:pt x="82" y="127"/>
                      <a:pt x="83" y="128"/>
                      <a:pt x="83" y="130"/>
                    </a:cubicBezTo>
                    <a:cubicBezTo>
                      <a:pt x="83" y="131"/>
                      <a:pt x="81" y="131"/>
                      <a:pt x="80" y="130"/>
                    </a:cubicBezTo>
                    <a:cubicBezTo>
                      <a:pt x="80" y="130"/>
                      <a:pt x="79" y="129"/>
                      <a:pt x="79" y="130"/>
                    </a:cubicBezTo>
                    <a:cubicBezTo>
                      <a:pt x="79" y="131"/>
                      <a:pt x="80" y="132"/>
                      <a:pt x="79" y="132"/>
                    </a:cubicBezTo>
                    <a:cubicBezTo>
                      <a:pt x="78" y="132"/>
                      <a:pt x="77" y="130"/>
                      <a:pt x="76" y="130"/>
                    </a:cubicBezTo>
                    <a:cubicBezTo>
                      <a:pt x="75" y="131"/>
                      <a:pt x="76" y="133"/>
                      <a:pt x="76" y="133"/>
                    </a:cubicBezTo>
                    <a:cubicBezTo>
                      <a:pt x="76" y="134"/>
                      <a:pt x="75" y="134"/>
                      <a:pt x="75" y="134"/>
                    </a:cubicBezTo>
                    <a:cubicBezTo>
                      <a:pt x="75" y="134"/>
                      <a:pt x="76" y="134"/>
                      <a:pt x="76" y="135"/>
                    </a:cubicBezTo>
                    <a:cubicBezTo>
                      <a:pt x="76" y="135"/>
                      <a:pt x="76" y="135"/>
                      <a:pt x="76" y="136"/>
                    </a:cubicBezTo>
                    <a:cubicBezTo>
                      <a:pt x="75" y="137"/>
                      <a:pt x="73" y="135"/>
                      <a:pt x="73" y="135"/>
                    </a:cubicBezTo>
                    <a:cubicBezTo>
                      <a:pt x="72" y="134"/>
                      <a:pt x="71" y="136"/>
                      <a:pt x="71" y="137"/>
                    </a:cubicBezTo>
                    <a:cubicBezTo>
                      <a:pt x="71" y="138"/>
                      <a:pt x="71" y="139"/>
                      <a:pt x="69" y="139"/>
                    </a:cubicBezTo>
                    <a:cubicBezTo>
                      <a:pt x="68" y="139"/>
                      <a:pt x="67" y="140"/>
                      <a:pt x="67" y="141"/>
                    </a:cubicBezTo>
                    <a:cubicBezTo>
                      <a:pt x="67" y="141"/>
                      <a:pt x="66" y="142"/>
                      <a:pt x="65" y="142"/>
                    </a:cubicBezTo>
                    <a:cubicBezTo>
                      <a:pt x="65" y="141"/>
                      <a:pt x="66" y="141"/>
                      <a:pt x="66" y="141"/>
                    </a:cubicBezTo>
                    <a:cubicBezTo>
                      <a:pt x="67" y="141"/>
                      <a:pt x="67" y="140"/>
                      <a:pt x="67" y="139"/>
                    </a:cubicBezTo>
                    <a:cubicBezTo>
                      <a:pt x="67" y="137"/>
                      <a:pt x="66" y="134"/>
                      <a:pt x="64" y="134"/>
                    </a:cubicBezTo>
                    <a:cubicBezTo>
                      <a:pt x="64" y="134"/>
                      <a:pt x="64" y="135"/>
                      <a:pt x="64" y="135"/>
                    </a:cubicBezTo>
                    <a:cubicBezTo>
                      <a:pt x="64" y="135"/>
                      <a:pt x="64" y="135"/>
                      <a:pt x="63" y="134"/>
                    </a:cubicBezTo>
                    <a:cubicBezTo>
                      <a:pt x="63" y="134"/>
                      <a:pt x="63" y="134"/>
                      <a:pt x="63" y="134"/>
                    </a:cubicBezTo>
                    <a:cubicBezTo>
                      <a:pt x="63" y="134"/>
                      <a:pt x="63" y="133"/>
                      <a:pt x="62" y="133"/>
                    </a:cubicBezTo>
                    <a:cubicBezTo>
                      <a:pt x="62" y="133"/>
                      <a:pt x="62" y="134"/>
                      <a:pt x="62" y="134"/>
                    </a:cubicBezTo>
                    <a:cubicBezTo>
                      <a:pt x="62" y="134"/>
                      <a:pt x="63" y="134"/>
                      <a:pt x="63" y="134"/>
                    </a:cubicBezTo>
                    <a:cubicBezTo>
                      <a:pt x="63" y="134"/>
                      <a:pt x="62" y="134"/>
                      <a:pt x="62" y="135"/>
                    </a:cubicBezTo>
                    <a:cubicBezTo>
                      <a:pt x="62" y="135"/>
                      <a:pt x="62" y="136"/>
                      <a:pt x="61" y="136"/>
                    </a:cubicBezTo>
                    <a:cubicBezTo>
                      <a:pt x="60" y="136"/>
                      <a:pt x="60" y="135"/>
                      <a:pt x="59" y="136"/>
                    </a:cubicBezTo>
                    <a:cubicBezTo>
                      <a:pt x="59" y="136"/>
                      <a:pt x="59" y="136"/>
                      <a:pt x="59" y="137"/>
                    </a:cubicBezTo>
                    <a:cubicBezTo>
                      <a:pt x="59" y="137"/>
                      <a:pt x="59" y="138"/>
                      <a:pt x="59" y="138"/>
                    </a:cubicBezTo>
                    <a:cubicBezTo>
                      <a:pt x="58" y="138"/>
                      <a:pt x="59" y="139"/>
                      <a:pt x="59" y="139"/>
                    </a:cubicBezTo>
                    <a:cubicBezTo>
                      <a:pt x="58" y="140"/>
                      <a:pt x="57" y="140"/>
                      <a:pt x="56" y="140"/>
                    </a:cubicBezTo>
                    <a:cubicBezTo>
                      <a:pt x="56" y="140"/>
                      <a:pt x="56" y="140"/>
                      <a:pt x="55" y="140"/>
                    </a:cubicBezTo>
                    <a:cubicBezTo>
                      <a:pt x="55" y="140"/>
                      <a:pt x="55" y="140"/>
                      <a:pt x="54" y="141"/>
                    </a:cubicBezTo>
                    <a:cubicBezTo>
                      <a:pt x="54" y="141"/>
                      <a:pt x="52" y="141"/>
                      <a:pt x="52" y="142"/>
                    </a:cubicBezTo>
                    <a:cubicBezTo>
                      <a:pt x="52" y="142"/>
                      <a:pt x="51" y="144"/>
                      <a:pt x="50" y="144"/>
                    </a:cubicBezTo>
                    <a:cubicBezTo>
                      <a:pt x="51" y="144"/>
                      <a:pt x="51" y="144"/>
                      <a:pt x="51" y="144"/>
                    </a:cubicBezTo>
                    <a:cubicBezTo>
                      <a:pt x="50" y="144"/>
                      <a:pt x="51" y="144"/>
                      <a:pt x="51" y="144"/>
                    </a:cubicBezTo>
                    <a:cubicBezTo>
                      <a:pt x="51" y="145"/>
                      <a:pt x="51" y="145"/>
                      <a:pt x="51" y="146"/>
                    </a:cubicBezTo>
                    <a:cubicBezTo>
                      <a:pt x="51" y="146"/>
                      <a:pt x="51" y="146"/>
                      <a:pt x="51" y="146"/>
                    </a:cubicBezTo>
                    <a:cubicBezTo>
                      <a:pt x="51" y="146"/>
                      <a:pt x="50" y="147"/>
                      <a:pt x="50" y="147"/>
                    </a:cubicBezTo>
                    <a:cubicBezTo>
                      <a:pt x="51" y="147"/>
                      <a:pt x="51" y="147"/>
                      <a:pt x="50" y="147"/>
                    </a:cubicBezTo>
                    <a:cubicBezTo>
                      <a:pt x="50" y="147"/>
                      <a:pt x="50" y="147"/>
                      <a:pt x="50" y="148"/>
                    </a:cubicBezTo>
                    <a:cubicBezTo>
                      <a:pt x="50" y="148"/>
                      <a:pt x="50" y="148"/>
                      <a:pt x="50" y="148"/>
                    </a:cubicBezTo>
                    <a:cubicBezTo>
                      <a:pt x="50" y="149"/>
                      <a:pt x="51" y="149"/>
                      <a:pt x="50" y="150"/>
                    </a:cubicBezTo>
                    <a:cubicBezTo>
                      <a:pt x="49" y="151"/>
                      <a:pt x="49" y="152"/>
                      <a:pt x="50" y="153"/>
                    </a:cubicBezTo>
                    <a:cubicBezTo>
                      <a:pt x="51" y="153"/>
                      <a:pt x="51" y="154"/>
                      <a:pt x="52" y="153"/>
                    </a:cubicBezTo>
                    <a:cubicBezTo>
                      <a:pt x="52" y="153"/>
                      <a:pt x="52" y="152"/>
                      <a:pt x="52" y="152"/>
                    </a:cubicBezTo>
                    <a:cubicBezTo>
                      <a:pt x="52" y="151"/>
                      <a:pt x="52" y="151"/>
                      <a:pt x="52" y="151"/>
                    </a:cubicBezTo>
                    <a:cubicBezTo>
                      <a:pt x="52" y="151"/>
                      <a:pt x="53" y="148"/>
                      <a:pt x="53" y="149"/>
                    </a:cubicBezTo>
                    <a:cubicBezTo>
                      <a:pt x="53" y="149"/>
                      <a:pt x="54" y="148"/>
                      <a:pt x="54" y="148"/>
                    </a:cubicBezTo>
                    <a:cubicBezTo>
                      <a:pt x="54" y="148"/>
                      <a:pt x="53" y="148"/>
                      <a:pt x="53" y="147"/>
                    </a:cubicBezTo>
                    <a:cubicBezTo>
                      <a:pt x="53" y="147"/>
                      <a:pt x="54" y="146"/>
                      <a:pt x="54" y="146"/>
                    </a:cubicBezTo>
                    <a:cubicBezTo>
                      <a:pt x="54" y="147"/>
                      <a:pt x="54" y="147"/>
                      <a:pt x="54" y="147"/>
                    </a:cubicBezTo>
                    <a:cubicBezTo>
                      <a:pt x="54" y="147"/>
                      <a:pt x="55" y="146"/>
                      <a:pt x="54" y="146"/>
                    </a:cubicBezTo>
                    <a:cubicBezTo>
                      <a:pt x="54" y="146"/>
                      <a:pt x="54" y="146"/>
                      <a:pt x="54" y="146"/>
                    </a:cubicBezTo>
                    <a:cubicBezTo>
                      <a:pt x="54" y="145"/>
                      <a:pt x="55" y="144"/>
                      <a:pt x="55" y="144"/>
                    </a:cubicBezTo>
                    <a:cubicBezTo>
                      <a:pt x="56" y="144"/>
                      <a:pt x="56" y="144"/>
                      <a:pt x="57" y="144"/>
                    </a:cubicBezTo>
                    <a:cubicBezTo>
                      <a:pt x="57" y="144"/>
                      <a:pt x="57" y="144"/>
                      <a:pt x="58" y="144"/>
                    </a:cubicBezTo>
                    <a:cubicBezTo>
                      <a:pt x="57" y="144"/>
                      <a:pt x="58" y="147"/>
                      <a:pt x="58" y="147"/>
                    </a:cubicBezTo>
                    <a:cubicBezTo>
                      <a:pt x="58" y="147"/>
                      <a:pt x="58" y="147"/>
                      <a:pt x="58" y="146"/>
                    </a:cubicBezTo>
                    <a:cubicBezTo>
                      <a:pt x="57" y="147"/>
                      <a:pt x="57" y="147"/>
                      <a:pt x="57" y="147"/>
                    </a:cubicBezTo>
                    <a:cubicBezTo>
                      <a:pt x="57" y="147"/>
                      <a:pt x="58" y="148"/>
                      <a:pt x="58" y="147"/>
                    </a:cubicBezTo>
                    <a:cubicBezTo>
                      <a:pt x="58" y="146"/>
                      <a:pt x="59" y="147"/>
                      <a:pt x="59" y="147"/>
                    </a:cubicBezTo>
                    <a:cubicBezTo>
                      <a:pt x="60" y="147"/>
                      <a:pt x="59" y="146"/>
                      <a:pt x="60" y="145"/>
                    </a:cubicBezTo>
                    <a:cubicBezTo>
                      <a:pt x="60" y="145"/>
                      <a:pt x="60" y="145"/>
                      <a:pt x="60" y="145"/>
                    </a:cubicBezTo>
                    <a:cubicBezTo>
                      <a:pt x="60" y="145"/>
                      <a:pt x="60" y="145"/>
                      <a:pt x="60" y="144"/>
                    </a:cubicBezTo>
                    <a:cubicBezTo>
                      <a:pt x="61" y="145"/>
                      <a:pt x="60" y="145"/>
                      <a:pt x="61" y="145"/>
                    </a:cubicBezTo>
                    <a:cubicBezTo>
                      <a:pt x="61" y="145"/>
                      <a:pt x="61" y="146"/>
                      <a:pt x="61" y="146"/>
                    </a:cubicBezTo>
                    <a:cubicBezTo>
                      <a:pt x="61" y="146"/>
                      <a:pt x="60" y="146"/>
                      <a:pt x="60" y="146"/>
                    </a:cubicBezTo>
                    <a:cubicBezTo>
                      <a:pt x="60" y="147"/>
                      <a:pt x="61" y="147"/>
                      <a:pt x="61" y="147"/>
                    </a:cubicBezTo>
                    <a:cubicBezTo>
                      <a:pt x="61" y="147"/>
                      <a:pt x="62" y="147"/>
                      <a:pt x="62" y="147"/>
                    </a:cubicBezTo>
                    <a:cubicBezTo>
                      <a:pt x="62" y="146"/>
                      <a:pt x="62" y="147"/>
                      <a:pt x="62" y="147"/>
                    </a:cubicBezTo>
                    <a:cubicBezTo>
                      <a:pt x="62" y="147"/>
                      <a:pt x="63" y="149"/>
                      <a:pt x="64" y="148"/>
                    </a:cubicBezTo>
                    <a:cubicBezTo>
                      <a:pt x="64" y="148"/>
                      <a:pt x="64" y="147"/>
                      <a:pt x="63" y="147"/>
                    </a:cubicBezTo>
                    <a:cubicBezTo>
                      <a:pt x="63" y="147"/>
                      <a:pt x="63" y="147"/>
                      <a:pt x="63" y="147"/>
                    </a:cubicBezTo>
                    <a:cubicBezTo>
                      <a:pt x="62" y="146"/>
                      <a:pt x="64" y="146"/>
                      <a:pt x="64" y="145"/>
                    </a:cubicBezTo>
                    <a:cubicBezTo>
                      <a:pt x="64" y="144"/>
                      <a:pt x="63" y="143"/>
                      <a:pt x="64" y="143"/>
                    </a:cubicBezTo>
                    <a:cubicBezTo>
                      <a:pt x="65" y="143"/>
                      <a:pt x="66" y="143"/>
                      <a:pt x="66" y="144"/>
                    </a:cubicBezTo>
                    <a:cubicBezTo>
                      <a:pt x="66" y="144"/>
                      <a:pt x="66" y="144"/>
                      <a:pt x="67" y="145"/>
                    </a:cubicBezTo>
                    <a:cubicBezTo>
                      <a:pt x="67" y="145"/>
                      <a:pt x="68" y="145"/>
                      <a:pt x="69" y="145"/>
                    </a:cubicBezTo>
                    <a:cubicBezTo>
                      <a:pt x="69" y="145"/>
                      <a:pt x="69" y="146"/>
                      <a:pt x="70" y="146"/>
                    </a:cubicBezTo>
                    <a:cubicBezTo>
                      <a:pt x="70" y="146"/>
                      <a:pt x="71" y="148"/>
                      <a:pt x="71" y="148"/>
                    </a:cubicBezTo>
                    <a:cubicBezTo>
                      <a:pt x="72" y="147"/>
                      <a:pt x="72" y="149"/>
                      <a:pt x="71" y="148"/>
                    </a:cubicBezTo>
                    <a:cubicBezTo>
                      <a:pt x="72" y="150"/>
                      <a:pt x="70" y="150"/>
                      <a:pt x="70" y="151"/>
                    </a:cubicBezTo>
                    <a:cubicBezTo>
                      <a:pt x="69" y="152"/>
                      <a:pt x="69" y="153"/>
                      <a:pt x="69" y="154"/>
                    </a:cubicBezTo>
                    <a:cubicBezTo>
                      <a:pt x="69" y="154"/>
                      <a:pt x="69" y="155"/>
                      <a:pt x="69" y="155"/>
                    </a:cubicBezTo>
                    <a:cubicBezTo>
                      <a:pt x="69" y="155"/>
                      <a:pt x="70" y="155"/>
                      <a:pt x="70" y="155"/>
                    </a:cubicBezTo>
                    <a:cubicBezTo>
                      <a:pt x="70" y="155"/>
                      <a:pt x="70" y="156"/>
                      <a:pt x="70" y="156"/>
                    </a:cubicBezTo>
                    <a:cubicBezTo>
                      <a:pt x="70" y="156"/>
                      <a:pt x="70" y="157"/>
                      <a:pt x="70" y="157"/>
                    </a:cubicBezTo>
                    <a:cubicBezTo>
                      <a:pt x="70" y="158"/>
                      <a:pt x="70" y="158"/>
                      <a:pt x="70" y="159"/>
                    </a:cubicBezTo>
                    <a:cubicBezTo>
                      <a:pt x="70" y="159"/>
                      <a:pt x="70" y="159"/>
                      <a:pt x="70" y="159"/>
                    </a:cubicBezTo>
                    <a:cubicBezTo>
                      <a:pt x="71" y="160"/>
                      <a:pt x="72" y="161"/>
                      <a:pt x="72" y="161"/>
                    </a:cubicBezTo>
                    <a:cubicBezTo>
                      <a:pt x="73" y="162"/>
                      <a:pt x="74" y="162"/>
                      <a:pt x="74" y="163"/>
                    </a:cubicBezTo>
                    <a:cubicBezTo>
                      <a:pt x="76" y="164"/>
                      <a:pt x="78" y="165"/>
                      <a:pt x="80" y="165"/>
                    </a:cubicBezTo>
                    <a:cubicBezTo>
                      <a:pt x="81" y="165"/>
                      <a:pt x="81" y="162"/>
                      <a:pt x="82" y="162"/>
                    </a:cubicBezTo>
                    <a:cubicBezTo>
                      <a:pt x="84" y="162"/>
                      <a:pt x="81" y="165"/>
                      <a:pt x="82" y="166"/>
                    </a:cubicBezTo>
                    <a:cubicBezTo>
                      <a:pt x="82" y="166"/>
                      <a:pt x="83" y="166"/>
                      <a:pt x="83" y="167"/>
                    </a:cubicBezTo>
                    <a:cubicBezTo>
                      <a:pt x="83" y="168"/>
                      <a:pt x="83" y="168"/>
                      <a:pt x="84" y="168"/>
                    </a:cubicBezTo>
                    <a:cubicBezTo>
                      <a:pt x="84" y="168"/>
                      <a:pt x="85" y="167"/>
                      <a:pt x="85" y="166"/>
                    </a:cubicBezTo>
                    <a:cubicBezTo>
                      <a:pt x="85" y="166"/>
                      <a:pt x="86" y="165"/>
                      <a:pt x="86" y="164"/>
                    </a:cubicBezTo>
                    <a:cubicBezTo>
                      <a:pt x="87" y="163"/>
                      <a:pt x="86" y="161"/>
                      <a:pt x="85" y="159"/>
                    </a:cubicBezTo>
                    <a:cubicBezTo>
                      <a:pt x="85" y="159"/>
                      <a:pt x="85" y="158"/>
                      <a:pt x="85" y="158"/>
                    </a:cubicBezTo>
                    <a:cubicBezTo>
                      <a:pt x="85" y="158"/>
                      <a:pt x="85" y="158"/>
                      <a:pt x="85" y="158"/>
                    </a:cubicBezTo>
                    <a:cubicBezTo>
                      <a:pt x="85" y="158"/>
                      <a:pt x="85" y="158"/>
                      <a:pt x="85" y="158"/>
                    </a:cubicBezTo>
                    <a:cubicBezTo>
                      <a:pt x="84" y="157"/>
                      <a:pt x="84" y="157"/>
                      <a:pt x="84" y="157"/>
                    </a:cubicBezTo>
                    <a:cubicBezTo>
                      <a:pt x="84" y="157"/>
                      <a:pt x="84" y="157"/>
                      <a:pt x="84" y="156"/>
                    </a:cubicBezTo>
                    <a:cubicBezTo>
                      <a:pt x="84" y="156"/>
                      <a:pt x="84" y="157"/>
                      <a:pt x="84" y="157"/>
                    </a:cubicBezTo>
                    <a:cubicBezTo>
                      <a:pt x="83" y="157"/>
                      <a:pt x="83" y="155"/>
                      <a:pt x="83" y="155"/>
                    </a:cubicBezTo>
                    <a:cubicBezTo>
                      <a:pt x="83" y="154"/>
                      <a:pt x="84" y="154"/>
                      <a:pt x="84" y="153"/>
                    </a:cubicBezTo>
                    <a:cubicBezTo>
                      <a:pt x="84" y="153"/>
                      <a:pt x="84" y="152"/>
                      <a:pt x="84" y="152"/>
                    </a:cubicBezTo>
                    <a:cubicBezTo>
                      <a:pt x="85" y="152"/>
                      <a:pt x="85" y="152"/>
                      <a:pt x="85" y="151"/>
                    </a:cubicBezTo>
                    <a:cubicBezTo>
                      <a:pt x="85" y="151"/>
                      <a:pt x="85" y="150"/>
                      <a:pt x="85" y="150"/>
                    </a:cubicBezTo>
                    <a:cubicBezTo>
                      <a:pt x="85" y="150"/>
                      <a:pt x="87" y="148"/>
                      <a:pt x="87" y="148"/>
                    </a:cubicBezTo>
                    <a:cubicBezTo>
                      <a:pt x="87" y="149"/>
                      <a:pt x="87" y="150"/>
                      <a:pt x="87" y="150"/>
                    </a:cubicBezTo>
                    <a:cubicBezTo>
                      <a:pt x="88" y="151"/>
                      <a:pt x="88" y="151"/>
                      <a:pt x="88" y="152"/>
                    </a:cubicBezTo>
                    <a:cubicBezTo>
                      <a:pt x="89" y="152"/>
                      <a:pt x="88" y="153"/>
                      <a:pt x="89" y="153"/>
                    </a:cubicBezTo>
                    <a:cubicBezTo>
                      <a:pt x="89" y="154"/>
                      <a:pt x="89" y="154"/>
                      <a:pt x="90" y="154"/>
                    </a:cubicBezTo>
                    <a:cubicBezTo>
                      <a:pt x="90" y="155"/>
                      <a:pt x="90" y="156"/>
                      <a:pt x="90" y="158"/>
                    </a:cubicBezTo>
                    <a:cubicBezTo>
                      <a:pt x="90" y="159"/>
                      <a:pt x="91" y="159"/>
                      <a:pt x="91" y="160"/>
                    </a:cubicBezTo>
                    <a:cubicBezTo>
                      <a:pt x="92" y="160"/>
                      <a:pt x="91" y="158"/>
                      <a:pt x="91" y="157"/>
                    </a:cubicBezTo>
                    <a:cubicBezTo>
                      <a:pt x="91" y="156"/>
                      <a:pt x="91" y="156"/>
                      <a:pt x="91" y="155"/>
                    </a:cubicBezTo>
                    <a:cubicBezTo>
                      <a:pt x="91" y="155"/>
                      <a:pt x="91" y="154"/>
                      <a:pt x="90" y="153"/>
                    </a:cubicBezTo>
                    <a:cubicBezTo>
                      <a:pt x="91" y="154"/>
                      <a:pt x="90" y="153"/>
                      <a:pt x="91" y="153"/>
                    </a:cubicBezTo>
                    <a:cubicBezTo>
                      <a:pt x="91" y="153"/>
                      <a:pt x="92" y="153"/>
                      <a:pt x="92" y="154"/>
                    </a:cubicBezTo>
                    <a:cubicBezTo>
                      <a:pt x="92" y="154"/>
                      <a:pt x="92" y="154"/>
                      <a:pt x="92" y="155"/>
                    </a:cubicBezTo>
                    <a:cubicBezTo>
                      <a:pt x="92" y="155"/>
                      <a:pt x="92" y="155"/>
                      <a:pt x="92" y="154"/>
                    </a:cubicBezTo>
                    <a:cubicBezTo>
                      <a:pt x="92" y="154"/>
                      <a:pt x="91" y="154"/>
                      <a:pt x="92" y="153"/>
                    </a:cubicBezTo>
                    <a:cubicBezTo>
                      <a:pt x="92" y="152"/>
                      <a:pt x="93" y="152"/>
                      <a:pt x="93" y="152"/>
                    </a:cubicBezTo>
                    <a:cubicBezTo>
                      <a:pt x="93" y="151"/>
                      <a:pt x="94" y="150"/>
                      <a:pt x="94" y="150"/>
                    </a:cubicBezTo>
                    <a:cubicBezTo>
                      <a:pt x="95" y="149"/>
                      <a:pt x="94" y="149"/>
                      <a:pt x="94" y="149"/>
                    </a:cubicBezTo>
                    <a:close/>
                    <a:moveTo>
                      <a:pt x="70" y="96"/>
                    </a:moveTo>
                    <a:cubicBezTo>
                      <a:pt x="70" y="97"/>
                      <a:pt x="70" y="97"/>
                      <a:pt x="70" y="97"/>
                    </a:cubicBezTo>
                    <a:cubicBezTo>
                      <a:pt x="70" y="97"/>
                      <a:pt x="71" y="97"/>
                      <a:pt x="71" y="97"/>
                    </a:cubicBezTo>
                    <a:cubicBezTo>
                      <a:pt x="71" y="97"/>
                      <a:pt x="72" y="97"/>
                      <a:pt x="72" y="97"/>
                    </a:cubicBezTo>
                    <a:cubicBezTo>
                      <a:pt x="72" y="98"/>
                      <a:pt x="72" y="98"/>
                      <a:pt x="72" y="98"/>
                    </a:cubicBezTo>
                    <a:cubicBezTo>
                      <a:pt x="72" y="98"/>
                      <a:pt x="72" y="98"/>
                      <a:pt x="72" y="98"/>
                    </a:cubicBezTo>
                    <a:cubicBezTo>
                      <a:pt x="72" y="99"/>
                      <a:pt x="73" y="98"/>
                      <a:pt x="73" y="99"/>
                    </a:cubicBezTo>
                    <a:cubicBezTo>
                      <a:pt x="73" y="98"/>
                      <a:pt x="73" y="99"/>
                      <a:pt x="73" y="99"/>
                    </a:cubicBezTo>
                    <a:cubicBezTo>
                      <a:pt x="73" y="100"/>
                      <a:pt x="74" y="100"/>
                      <a:pt x="74" y="100"/>
                    </a:cubicBezTo>
                    <a:cubicBezTo>
                      <a:pt x="74" y="100"/>
                      <a:pt x="75" y="100"/>
                      <a:pt x="75" y="100"/>
                    </a:cubicBezTo>
                    <a:cubicBezTo>
                      <a:pt x="76" y="101"/>
                      <a:pt x="75" y="101"/>
                      <a:pt x="75" y="101"/>
                    </a:cubicBezTo>
                    <a:cubicBezTo>
                      <a:pt x="75" y="102"/>
                      <a:pt x="74" y="102"/>
                      <a:pt x="74" y="102"/>
                    </a:cubicBezTo>
                    <a:cubicBezTo>
                      <a:pt x="74" y="102"/>
                      <a:pt x="74" y="102"/>
                      <a:pt x="74" y="103"/>
                    </a:cubicBezTo>
                    <a:cubicBezTo>
                      <a:pt x="74" y="103"/>
                      <a:pt x="74" y="103"/>
                      <a:pt x="74" y="103"/>
                    </a:cubicBezTo>
                    <a:cubicBezTo>
                      <a:pt x="73" y="103"/>
                      <a:pt x="74" y="104"/>
                      <a:pt x="74" y="103"/>
                    </a:cubicBezTo>
                    <a:cubicBezTo>
                      <a:pt x="74" y="103"/>
                      <a:pt x="75" y="103"/>
                      <a:pt x="75" y="104"/>
                    </a:cubicBezTo>
                    <a:cubicBezTo>
                      <a:pt x="75" y="104"/>
                      <a:pt x="75" y="105"/>
                      <a:pt x="75" y="105"/>
                    </a:cubicBezTo>
                    <a:cubicBezTo>
                      <a:pt x="76" y="105"/>
                      <a:pt x="76" y="105"/>
                      <a:pt x="76" y="105"/>
                    </a:cubicBezTo>
                    <a:cubicBezTo>
                      <a:pt x="77" y="105"/>
                      <a:pt x="77" y="106"/>
                      <a:pt x="77" y="106"/>
                    </a:cubicBezTo>
                    <a:cubicBezTo>
                      <a:pt x="77" y="106"/>
                      <a:pt x="78" y="107"/>
                      <a:pt x="78" y="107"/>
                    </a:cubicBezTo>
                    <a:cubicBezTo>
                      <a:pt x="78" y="108"/>
                      <a:pt x="78" y="107"/>
                      <a:pt x="78" y="107"/>
                    </a:cubicBezTo>
                    <a:cubicBezTo>
                      <a:pt x="79" y="107"/>
                      <a:pt x="79" y="108"/>
                      <a:pt x="80" y="107"/>
                    </a:cubicBezTo>
                    <a:cubicBezTo>
                      <a:pt x="80" y="107"/>
                      <a:pt x="80" y="107"/>
                      <a:pt x="81" y="107"/>
                    </a:cubicBezTo>
                    <a:cubicBezTo>
                      <a:pt x="81" y="107"/>
                      <a:pt x="81" y="106"/>
                      <a:pt x="81" y="107"/>
                    </a:cubicBezTo>
                    <a:cubicBezTo>
                      <a:pt x="81" y="107"/>
                      <a:pt x="81" y="107"/>
                      <a:pt x="82" y="107"/>
                    </a:cubicBezTo>
                    <a:cubicBezTo>
                      <a:pt x="82" y="107"/>
                      <a:pt x="82" y="109"/>
                      <a:pt x="83" y="108"/>
                    </a:cubicBezTo>
                    <a:cubicBezTo>
                      <a:pt x="83" y="108"/>
                      <a:pt x="82" y="106"/>
                      <a:pt x="81" y="106"/>
                    </a:cubicBezTo>
                    <a:cubicBezTo>
                      <a:pt x="81" y="106"/>
                      <a:pt x="81" y="106"/>
                      <a:pt x="81" y="106"/>
                    </a:cubicBezTo>
                    <a:cubicBezTo>
                      <a:pt x="81" y="107"/>
                      <a:pt x="81" y="106"/>
                      <a:pt x="81" y="106"/>
                    </a:cubicBezTo>
                    <a:cubicBezTo>
                      <a:pt x="81" y="105"/>
                      <a:pt x="81" y="105"/>
                      <a:pt x="81" y="105"/>
                    </a:cubicBezTo>
                    <a:cubicBezTo>
                      <a:pt x="82" y="104"/>
                      <a:pt x="81" y="103"/>
                      <a:pt x="80" y="103"/>
                    </a:cubicBezTo>
                    <a:cubicBezTo>
                      <a:pt x="80" y="103"/>
                      <a:pt x="79" y="101"/>
                      <a:pt x="80" y="101"/>
                    </a:cubicBezTo>
                    <a:cubicBezTo>
                      <a:pt x="79" y="101"/>
                      <a:pt x="80" y="100"/>
                      <a:pt x="79" y="100"/>
                    </a:cubicBezTo>
                    <a:cubicBezTo>
                      <a:pt x="79" y="100"/>
                      <a:pt x="79" y="100"/>
                      <a:pt x="79" y="100"/>
                    </a:cubicBezTo>
                    <a:cubicBezTo>
                      <a:pt x="80" y="100"/>
                      <a:pt x="79" y="99"/>
                      <a:pt x="79" y="99"/>
                    </a:cubicBezTo>
                    <a:cubicBezTo>
                      <a:pt x="79" y="99"/>
                      <a:pt x="79" y="97"/>
                      <a:pt x="80" y="97"/>
                    </a:cubicBezTo>
                    <a:cubicBezTo>
                      <a:pt x="80" y="97"/>
                      <a:pt x="79" y="97"/>
                      <a:pt x="79" y="96"/>
                    </a:cubicBezTo>
                    <a:cubicBezTo>
                      <a:pt x="79" y="96"/>
                      <a:pt x="79" y="95"/>
                      <a:pt x="79" y="95"/>
                    </a:cubicBezTo>
                    <a:cubicBezTo>
                      <a:pt x="79" y="95"/>
                      <a:pt x="79" y="94"/>
                      <a:pt x="78" y="94"/>
                    </a:cubicBezTo>
                    <a:cubicBezTo>
                      <a:pt x="78" y="94"/>
                      <a:pt x="78" y="94"/>
                      <a:pt x="78" y="94"/>
                    </a:cubicBezTo>
                    <a:cubicBezTo>
                      <a:pt x="78" y="94"/>
                      <a:pt x="78" y="94"/>
                      <a:pt x="78" y="94"/>
                    </a:cubicBezTo>
                    <a:cubicBezTo>
                      <a:pt x="78" y="94"/>
                      <a:pt x="78" y="94"/>
                      <a:pt x="78" y="94"/>
                    </a:cubicBezTo>
                    <a:cubicBezTo>
                      <a:pt x="77" y="94"/>
                      <a:pt x="77" y="94"/>
                      <a:pt x="77" y="94"/>
                    </a:cubicBezTo>
                    <a:cubicBezTo>
                      <a:pt x="77" y="94"/>
                      <a:pt x="77" y="93"/>
                      <a:pt x="77" y="93"/>
                    </a:cubicBezTo>
                    <a:cubicBezTo>
                      <a:pt x="77" y="93"/>
                      <a:pt x="76" y="92"/>
                      <a:pt x="76" y="91"/>
                    </a:cubicBezTo>
                    <a:cubicBezTo>
                      <a:pt x="76" y="91"/>
                      <a:pt x="75" y="91"/>
                      <a:pt x="75" y="91"/>
                    </a:cubicBezTo>
                    <a:cubicBezTo>
                      <a:pt x="75" y="91"/>
                      <a:pt x="75" y="92"/>
                      <a:pt x="74" y="91"/>
                    </a:cubicBezTo>
                    <a:cubicBezTo>
                      <a:pt x="74" y="91"/>
                      <a:pt x="74" y="91"/>
                      <a:pt x="74" y="91"/>
                    </a:cubicBezTo>
                    <a:cubicBezTo>
                      <a:pt x="73" y="91"/>
                      <a:pt x="73" y="91"/>
                      <a:pt x="73" y="91"/>
                    </a:cubicBezTo>
                    <a:cubicBezTo>
                      <a:pt x="73" y="91"/>
                      <a:pt x="72" y="92"/>
                      <a:pt x="71" y="92"/>
                    </a:cubicBezTo>
                    <a:cubicBezTo>
                      <a:pt x="71" y="92"/>
                      <a:pt x="70" y="91"/>
                      <a:pt x="69" y="92"/>
                    </a:cubicBezTo>
                    <a:cubicBezTo>
                      <a:pt x="69" y="91"/>
                      <a:pt x="67" y="91"/>
                      <a:pt x="67" y="91"/>
                    </a:cubicBezTo>
                    <a:cubicBezTo>
                      <a:pt x="68" y="93"/>
                      <a:pt x="68" y="94"/>
                      <a:pt x="69" y="95"/>
                    </a:cubicBezTo>
                    <a:cubicBezTo>
                      <a:pt x="69" y="96"/>
                      <a:pt x="69" y="96"/>
                      <a:pt x="70" y="96"/>
                    </a:cubicBezTo>
                    <a:close/>
                    <a:moveTo>
                      <a:pt x="24" y="112"/>
                    </a:moveTo>
                    <a:cubicBezTo>
                      <a:pt x="24" y="112"/>
                      <a:pt x="24" y="112"/>
                      <a:pt x="24" y="112"/>
                    </a:cubicBezTo>
                    <a:cubicBezTo>
                      <a:pt x="24" y="112"/>
                      <a:pt x="24" y="111"/>
                      <a:pt x="24" y="111"/>
                    </a:cubicBezTo>
                    <a:cubicBezTo>
                      <a:pt x="24" y="110"/>
                      <a:pt x="23" y="110"/>
                      <a:pt x="23" y="110"/>
                    </a:cubicBezTo>
                    <a:cubicBezTo>
                      <a:pt x="22" y="110"/>
                      <a:pt x="22" y="108"/>
                      <a:pt x="23" y="108"/>
                    </a:cubicBezTo>
                    <a:cubicBezTo>
                      <a:pt x="23" y="108"/>
                      <a:pt x="23" y="108"/>
                      <a:pt x="23" y="108"/>
                    </a:cubicBezTo>
                    <a:cubicBezTo>
                      <a:pt x="22" y="108"/>
                      <a:pt x="23" y="106"/>
                      <a:pt x="23" y="106"/>
                    </a:cubicBezTo>
                    <a:cubicBezTo>
                      <a:pt x="23" y="105"/>
                      <a:pt x="23" y="105"/>
                      <a:pt x="23" y="105"/>
                    </a:cubicBezTo>
                    <a:cubicBezTo>
                      <a:pt x="22" y="104"/>
                      <a:pt x="22" y="104"/>
                      <a:pt x="22" y="104"/>
                    </a:cubicBezTo>
                    <a:cubicBezTo>
                      <a:pt x="22" y="104"/>
                      <a:pt x="22" y="105"/>
                      <a:pt x="22" y="105"/>
                    </a:cubicBezTo>
                    <a:cubicBezTo>
                      <a:pt x="22" y="105"/>
                      <a:pt x="22" y="105"/>
                      <a:pt x="22" y="105"/>
                    </a:cubicBezTo>
                    <a:cubicBezTo>
                      <a:pt x="22" y="106"/>
                      <a:pt x="21" y="106"/>
                      <a:pt x="22" y="107"/>
                    </a:cubicBezTo>
                    <a:cubicBezTo>
                      <a:pt x="22" y="107"/>
                      <a:pt x="22" y="108"/>
                      <a:pt x="22" y="108"/>
                    </a:cubicBezTo>
                    <a:cubicBezTo>
                      <a:pt x="22" y="108"/>
                      <a:pt x="21" y="107"/>
                      <a:pt x="21" y="107"/>
                    </a:cubicBezTo>
                    <a:cubicBezTo>
                      <a:pt x="21" y="107"/>
                      <a:pt x="21" y="108"/>
                      <a:pt x="21" y="108"/>
                    </a:cubicBezTo>
                    <a:cubicBezTo>
                      <a:pt x="21" y="108"/>
                      <a:pt x="20" y="108"/>
                      <a:pt x="21" y="109"/>
                    </a:cubicBezTo>
                    <a:cubicBezTo>
                      <a:pt x="21" y="109"/>
                      <a:pt x="21" y="109"/>
                      <a:pt x="21" y="109"/>
                    </a:cubicBezTo>
                    <a:cubicBezTo>
                      <a:pt x="21" y="110"/>
                      <a:pt x="22" y="110"/>
                      <a:pt x="22" y="110"/>
                    </a:cubicBezTo>
                    <a:cubicBezTo>
                      <a:pt x="22" y="110"/>
                      <a:pt x="22" y="110"/>
                      <a:pt x="22" y="111"/>
                    </a:cubicBezTo>
                    <a:cubicBezTo>
                      <a:pt x="23" y="112"/>
                      <a:pt x="22" y="111"/>
                      <a:pt x="21" y="111"/>
                    </a:cubicBezTo>
                    <a:cubicBezTo>
                      <a:pt x="21" y="110"/>
                      <a:pt x="21" y="110"/>
                      <a:pt x="21" y="110"/>
                    </a:cubicBezTo>
                    <a:cubicBezTo>
                      <a:pt x="21" y="110"/>
                      <a:pt x="20" y="109"/>
                      <a:pt x="20" y="109"/>
                    </a:cubicBezTo>
                    <a:cubicBezTo>
                      <a:pt x="20" y="109"/>
                      <a:pt x="20" y="109"/>
                      <a:pt x="20" y="109"/>
                    </a:cubicBezTo>
                    <a:cubicBezTo>
                      <a:pt x="20" y="109"/>
                      <a:pt x="20" y="109"/>
                      <a:pt x="20" y="109"/>
                    </a:cubicBezTo>
                    <a:cubicBezTo>
                      <a:pt x="20" y="109"/>
                      <a:pt x="20" y="109"/>
                      <a:pt x="20" y="110"/>
                    </a:cubicBezTo>
                    <a:cubicBezTo>
                      <a:pt x="20" y="110"/>
                      <a:pt x="20" y="110"/>
                      <a:pt x="20" y="110"/>
                    </a:cubicBezTo>
                    <a:cubicBezTo>
                      <a:pt x="20" y="110"/>
                      <a:pt x="21" y="111"/>
                      <a:pt x="21" y="111"/>
                    </a:cubicBezTo>
                    <a:cubicBezTo>
                      <a:pt x="21" y="111"/>
                      <a:pt x="21" y="111"/>
                      <a:pt x="21" y="112"/>
                    </a:cubicBezTo>
                    <a:cubicBezTo>
                      <a:pt x="21" y="112"/>
                      <a:pt x="21" y="113"/>
                      <a:pt x="20" y="113"/>
                    </a:cubicBezTo>
                    <a:cubicBezTo>
                      <a:pt x="21" y="114"/>
                      <a:pt x="20" y="115"/>
                      <a:pt x="20" y="115"/>
                    </a:cubicBezTo>
                    <a:cubicBezTo>
                      <a:pt x="19" y="115"/>
                      <a:pt x="19" y="114"/>
                      <a:pt x="19" y="114"/>
                    </a:cubicBezTo>
                    <a:cubicBezTo>
                      <a:pt x="19" y="114"/>
                      <a:pt x="19" y="115"/>
                      <a:pt x="19" y="115"/>
                    </a:cubicBezTo>
                    <a:cubicBezTo>
                      <a:pt x="19" y="115"/>
                      <a:pt x="19" y="115"/>
                      <a:pt x="18" y="115"/>
                    </a:cubicBezTo>
                    <a:cubicBezTo>
                      <a:pt x="19" y="115"/>
                      <a:pt x="18" y="115"/>
                      <a:pt x="18" y="115"/>
                    </a:cubicBezTo>
                    <a:cubicBezTo>
                      <a:pt x="18" y="116"/>
                      <a:pt x="18" y="115"/>
                      <a:pt x="19" y="115"/>
                    </a:cubicBezTo>
                    <a:cubicBezTo>
                      <a:pt x="19" y="116"/>
                      <a:pt x="18" y="116"/>
                      <a:pt x="18" y="116"/>
                    </a:cubicBezTo>
                    <a:cubicBezTo>
                      <a:pt x="19" y="117"/>
                      <a:pt x="18" y="117"/>
                      <a:pt x="17" y="117"/>
                    </a:cubicBezTo>
                    <a:cubicBezTo>
                      <a:pt x="16" y="117"/>
                      <a:pt x="17" y="119"/>
                      <a:pt x="17" y="119"/>
                    </a:cubicBezTo>
                    <a:cubicBezTo>
                      <a:pt x="16" y="119"/>
                      <a:pt x="16" y="119"/>
                      <a:pt x="16" y="119"/>
                    </a:cubicBezTo>
                    <a:cubicBezTo>
                      <a:pt x="17" y="119"/>
                      <a:pt x="16" y="118"/>
                      <a:pt x="16" y="118"/>
                    </a:cubicBezTo>
                    <a:cubicBezTo>
                      <a:pt x="16" y="118"/>
                      <a:pt x="16" y="119"/>
                      <a:pt x="15" y="119"/>
                    </a:cubicBezTo>
                    <a:cubicBezTo>
                      <a:pt x="16" y="120"/>
                      <a:pt x="15" y="121"/>
                      <a:pt x="15" y="121"/>
                    </a:cubicBezTo>
                    <a:cubicBezTo>
                      <a:pt x="14" y="122"/>
                      <a:pt x="14" y="122"/>
                      <a:pt x="13" y="123"/>
                    </a:cubicBezTo>
                    <a:cubicBezTo>
                      <a:pt x="13" y="123"/>
                      <a:pt x="13" y="123"/>
                      <a:pt x="13" y="123"/>
                    </a:cubicBezTo>
                    <a:cubicBezTo>
                      <a:pt x="13" y="123"/>
                      <a:pt x="13" y="123"/>
                      <a:pt x="13" y="124"/>
                    </a:cubicBezTo>
                    <a:cubicBezTo>
                      <a:pt x="12" y="124"/>
                      <a:pt x="12" y="125"/>
                      <a:pt x="11" y="125"/>
                    </a:cubicBezTo>
                    <a:cubicBezTo>
                      <a:pt x="11" y="126"/>
                      <a:pt x="11" y="126"/>
                      <a:pt x="11" y="126"/>
                    </a:cubicBezTo>
                    <a:cubicBezTo>
                      <a:pt x="11" y="126"/>
                      <a:pt x="11" y="126"/>
                      <a:pt x="11" y="126"/>
                    </a:cubicBezTo>
                    <a:cubicBezTo>
                      <a:pt x="11" y="127"/>
                      <a:pt x="9" y="128"/>
                      <a:pt x="10" y="127"/>
                    </a:cubicBezTo>
                    <a:cubicBezTo>
                      <a:pt x="9" y="128"/>
                      <a:pt x="9" y="128"/>
                      <a:pt x="8" y="128"/>
                    </a:cubicBezTo>
                    <a:cubicBezTo>
                      <a:pt x="8" y="128"/>
                      <a:pt x="8" y="129"/>
                      <a:pt x="8" y="129"/>
                    </a:cubicBezTo>
                    <a:cubicBezTo>
                      <a:pt x="7" y="130"/>
                      <a:pt x="7" y="129"/>
                      <a:pt x="6" y="130"/>
                    </a:cubicBezTo>
                    <a:cubicBezTo>
                      <a:pt x="6" y="131"/>
                      <a:pt x="5" y="131"/>
                      <a:pt x="5" y="132"/>
                    </a:cubicBezTo>
                    <a:cubicBezTo>
                      <a:pt x="5" y="132"/>
                      <a:pt x="5" y="132"/>
                      <a:pt x="5" y="133"/>
                    </a:cubicBezTo>
                    <a:cubicBezTo>
                      <a:pt x="4" y="133"/>
                      <a:pt x="4" y="133"/>
                      <a:pt x="3" y="134"/>
                    </a:cubicBezTo>
                    <a:cubicBezTo>
                      <a:pt x="3" y="134"/>
                      <a:pt x="3" y="135"/>
                      <a:pt x="3" y="135"/>
                    </a:cubicBezTo>
                    <a:cubicBezTo>
                      <a:pt x="3" y="135"/>
                      <a:pt x="3" y="135"/>
                      <a:pt x="3" y="135"/>
                    </a:cubicBezTo>
                    <a:cubicBezTo>
                      <a:pt x="3" y="136"/>
                      <a:pt x="2" y="137"/>
                      <a:pt x="2" y="137"/>
                    </a:cubicBezTo>
                    <a:cubicBezTo>
                      <a:pt x="2" y="138"/>
                      <a:pt x="3" y="137"/>
                      <a:pt x="3" y="137"/>
                    </a:cubicBezTo>
                    <a:cubicBezTo>
                      <a:pt x="3" y="137"/>
                      <a:pt x="4" y="136"/>
                      <a:pt x="4" y="136"/>
                    </a:cubicBezTo>
                    <a:cubicBezTo>
                      <a:pt x="4" y="136"/>
                      <a:pt x="5" y="136"/>
                      <a:pt x="5" y="136"/>
                    </a:cubicBezTo>
                    <a:cubicBezTo>
                      <a:pt x="5" y="136"/>
                      <a:pt x="6" y="135"/>
                      <a:pt x="6" y="135"/>
                    </a:cubicBezTo>
                    <a:cubicBezTo>
                      <a:pt x="6" y="134"/>
                      <a:pt x="6" y="134"/>
                      <a:pt x="6" y="134"/>
                    </a:cubicBezTo>
                    <a:cubicBezTo>
                      <a:pt x="7" y="134"/>
                      <a:pt x="8" y="134"/>
                      <a:pt x="8" y="133"/>
                    </a:cubicBezTo>
                    <a:cubicBezTo>
                      <a:pt x="9" y="133"/>
                      <a:pt x="9" y="132"/>
                      <a:pt x="9" y="132"/>
                    </a:cubicBezTo>
                    <a:cubicBezTo>
                      <a:pt x="10" y="132"/>
                      <a:pt x="10" y="132"/>
                      <a:pt x="10" y="131"/>
                    </a:cubicBezTo>
                    <a:cubicBezTo>
                      <a:pt x="11" y="131"/>
                      <a:pt x="11" y="130"/>
                      <a:pt x="11" y="129"/>
                    </a:cubicBezTo>
                    <a:cubicBezTo>
                      <a:pt x="11" y="129"/>
                      <a:pt x="11" y="129"/>
                      <a:pt x="12" y="129"/>
                    </a:cubicBezTo>
                    <a:cubicBezTo>
                      <a:pt x="12" y="128"/>
                      <a:pt x="13" y="129"/>
                      <a:pt x="13" y="128"/>
                    </a:cubicBezTo>
                    <a:cubicBezTo>
                      <a:pt x="14" y="128"/>
                      <a:pt x="14" y="127"/>
                      <a:pt x="14" y="127"/>
                    </a:cubicBezTo>
                    <a:cubicBezTo>
                      <a:pt x="15" y="127"/>
                      <a:pt x="15" y="126"/>
                      <a:pt x="15" y="126"/>
                    </a:cubicBezTo>
                    <a:cubicBezTo>
                      <a:pt x="15" y="125"/>
                      <a:pt x="16" y="125"/>
                      <a:pt x="16" y="124"/>
                    </a:cubicBezTo>
                    <a:cubicBezTo>
                      <a:pt x="16" y="124"/>
                      <a:pt x="17" y="122"/>
                      <a:pt x="16" y="123"/>
                    </a:cubicBezTo>
                    <a:cubicBezTo>
                      <a:pt x="16" y="123"/>
                      <a:pt x="16" y="122"/>
                      <a:pt x="16" y="122"/>
                    </a:cubicBezTo>
                    <a:cubicBezTo>
                      <a:pt x="16" y="122"/>
                      <a:pt x="16" y="122"/>
                      <a:pt x="16" y="122"/>
                    </a:cubicBezTo>
                    <a:cubicBezTo>
                      <a:pt x="16" y="123"/>
                      <a:pt x="17" y="122"/>
                      <a:pt x="17" y="122"/>
                    </a:cubicBezTo>
                    <a:cubicBezTo>
                      <a:pt x="17" y="122"/>
                      <a:pt x="17" y="121"/>
                      <a:pt x="16" y="121"/>
                    </a:cubicBezTo>
                    <a:cubicBezTo>
                      <a:pt x="16" y="119"/>
                      <a:pt x="19" y="119"/>
                      <a:pt x="20" y="119"/>
                    </a:cubicBezTo>
                    <a:cubicBezTo>
                      <a:pt x="21" y="119"/>
                      <a:pt x="21" y="118"/>
                      <a:pt x="21" y="117"/>
                    </a:cubicBezTo>
                    <a:cubicBezTo>
                      <a:pt x="21" y="116"/>
                      <a:pt x="22" y="115"/>
                      <a:pt x="23" y="115"/>
                    </a:cubicBezTo>
                    <a:cubicBezTo>
                      <a:pt x="24" y="115"/>
                      <a:pt x="24" y="115"/>
                      <a:pt x="24" y="115"/>
                    </a:cubicBezTo>
                    <a:cubicBezTo>
                      <a:pt x="24" y="115"/>
                      <a:pt x="25" y="114"/>
                      <a:pt x="25" y="114"/>
                    </a:cubicBezTo>
                    <a:cubicBezTo>
                      <a:pt x="26" y="114"/>
                      <a:pt x="24" y="113"/>
                      <a:pt x="24" y="112"/>
                    </a:cubicBezTo>
                    <a:cubicBezTo>
                      <a:pt x="25" y="112"/>
                      <a:pt x="24" y="112"/>
                      <a:pt x="24" y="112"/>
                    </a:cubicBezTo>
                    <a:close/>
                    <a:moveTo>
                      <a:pt x="29" y="96"/>
                    </a:moveTo>
                    <a:cubicBezTo>
                      <a:pt x="29" y="96"/>
                      <a:pt x="28" y="95"/>
                      <a:pt x="28" y="95"/>
                    </a:cubicBezTo>
                    <a:cubicBezTo>
                      <a:pt x="28" y="95"/>
                      <a:pt x="28" y="96"/>
                      <a:pt x="28" y="96"/>
                    </a:cubicBezTo>
                    <a:cubicBezTo>
                      <a:pt x="28" y="96"/>
                      <a:pt x="28" y="96"/>
                      <a:pt x="27" y="96"/>
                    </a:cubicBezTo>
                    <a:cubicBezTo>
                      <a:pt x="27" y="96"/>
                      <a:pt x="27" y="96"/>
                      <a:pt x="27" y="95"/>
                    </a:cubicBezTo>
                    <a:cubicBezTo>
                      <a:pt x="27" y="95"/>
                      <a:pt x="27" y="95"/>
                      <a:pt x="27" y="95"/>
                    </a:cubicBezTo>
                    <a:cubicBezTo>
                      <a:pt x="27" y="95"/>
                      <a:pt x="27" y="95"/>
                      <a:pt x="26" y="95"/>
                    </a:cubicBezTo>
                    <a:cubicBezTo>
                      <a:pt x="26" y="94"/>
                      <a:pt x="26" y="94"/>
                      <a:pt x="25" y="94"/>
                    </a:cubicBezTo>
                    <a:cubicBezTo>
                      <a:pt x="25" y="93"/>
                      <a:pt x="25" y="94"/>
                      <a:pt x="25" y="94"/>
                    </a:cubicBezTo>
                    <a:cubicBezTo>
                      <a:pt x="25" y="94"/>
                      <a:pt x="25" y="95"/>
                      <a:pt x="25" y="96"/>
                    </a:cubicBezTo>
                    <a:cubicBezTo>
                      <a:pt x="25" y="95"/>
                      <a:pt x="26" y="96"/>
                      <a:pt x="26" y="96"/>
                    </a:cubicBezTo>
                    <a:cubicBezTo>
                      <a:pt x="26" y="97"/>
                      <a:pt x="27" y="98"/>
                      <a:pt x="27" y="97"/>
                    </a:cubicBezTo>
                    <a:cubicBezTo>
                      <a:pt x="27" y="97"/>
                      <a:pt x="27" y="98"/>
                      <a:pt x="27" y="98"/>
                    </a:cubicBezTo>
                    <a:cubicBezTo>
                      <a:pt x="28" y="98"/>
                      <a:pt x="28" y="97"/>
                      <a:pt x="27" y="97"/>
                    </a:cubicBezTo>
                    <a:cubicBezTo>
                      <a:pt x="28" y="97"/>
                      <a:pt x="28" y="97"/>
                      <a:pt x="28" y="97"/>
                    </a:cubicBezTo>
                    <a:cubicBezTo>
                      <a:pt x="28" y="97"/>
                      <a:pt x="28" y="97"/>
                      <a:pt x="28" y="97"/>
                    </a:cubicBezTo>
                    <a:cubicBezTo>
                      <a:pt x="29" y="97"/>
                      <a:pt x="30" y="97"/>
                      <a:pt x="30" y="97"/>
                    </a:cubicBezTo>
                    <a:cubicBezTo>
                      <a:pt x="30" y="97"/>
                      <a:pt x="29" y="97"/>
                      <a:pt x="29" y="97"/>
                    </a:cubicBezTo>
                    <a:cubicBezTo>
                      <a:pt x="29" y="97"/>
                      <a:pt x="29" y="96"/>
                      <a:pt x="29" y="96"/>
                    </a:cubicBezTo>
                    <a:close/>
                    <a:moveTo>
                      <a:pt x="65" y="81"/>
                    </a:moveTo>
                    <a:cubicBezTo>
                      <a:pt x="65" y="80"/>
                      <a:pt x="66" y="80"/>
                      <a:pt x="66" y="80"/>
                    </a:cubicBezTo>
                    <a:cubicBezTo>
                      <a:pt x="66" y="80"/>
                      <a:pt x="66" y="79"/>
                      <a:pt x="67" y="79"/>
                    </a:cubicBezTo>
                    <a:cubicBezTo>
                      <a:pt x="67" y="79"/>
                      <a:pt x="67" y="79"/>
                      <a:pt x="67" y="79"/>
                    </a:cubicBezTo>
                    <a:cubicBezTo>
                      <a:pt x="67" y="78"/>
                      <a:pt x="67" y="78"/>
                      <a:pt x="67" y="78"/>
                    </a:cubicBezTo>
                    <a:cubicBezTo>
                      <a:pt x="67" y="77"/>
                      <a:pt x="67" y="77"/>
                      <a:pt x="66" y="77"/>
                    </a:cubicBezTo>
                    <a:cubicBezTo>
                      <a:pt x="66" y="77"/>
                      <a:pt x="66" y="76"/>
                      <a:pt x="66" y="76"/>
                    </a:cubicBezTo>
                    <a:cubicBezTo>
                      <a:pt x="66" y="76"/>
                      <a:pt x="65" y="74"/>
                      <a:pt x="64" y="75"/>
                    </a:cubicBezTo>
                    <a:cubicBezTo>
                      <a:pt x="64" y="75"/>
                      <a:pt x="64" y="75"/>
                      <a:pt x="64" y="75"/>
                    </a:cubicBezTo>
                    <a:cubicBezTo>
                      <a:pt x="64" y="76"/>
                      <a:pt x="64" y="76"/>
                      <a:pt x="64" y="77"/>
                    </a:cubicBezTo>
                    <a:cubicBezTo>
                      <a:pt x="64" y="77"/>
                      <a:pt x="64" y="78"/>
                      <a:pt x="64" y="78"/>
                    </a:cubicBezTo>
                    <a:cubicBezTo>
                      <a:pt x="64" y="79"/>
                      <a:pt x="63" y="79"/>
                      <a:pt x="63" y="79"/>
                    </a:cubicBezTo>
                    <a:cubicBezTo>
                      <a:pt x="63" y="80"/>
                      <a:pt x="64" y="80"/>
                      <a:pt x="64" y="80"/>
                    </a:cubicBezTo>
                    <a:cubicBezTo>
                      <a:pt x="64" y="80"/>
                      <a:pt x="65" y="81"/>
                      <a:pt x="65" y="81"/>
                    </a:cubicBezTo>
                    <a:close/>
                    <a:moveTo>
                      <a:pt x="83" y="119"/>
                    </a:moveTo>
                    <a:cubicBezTo>
                      <a:pt x="83" y="118"/>
                      <a:pt x="83" y="117"/>
                      <a:pt x="82" y="116"/>
                    </a:cubicBezTo>
                    <a:cubicBezTo>
                      <a:pt x="83" y="117"/>
                      <a:pt x="83" y="115"/>
                      <a:pt x="83" y="114"/>
                    </a:cubicBezTo>
                    <a:cubicBezTo>
                      <a:pt x="82" y="114"/>
                      <a:pt x="82" y="115"/>
                      <a:pt x="82" y="115"/>
                    </a:cubicBezTo>
                    <a:cubicBezTo>
                      <a:pt x="82" y="116"/>
                      <a:pt x="82" y="115"/>
                      <a:pt x="82" y="115"/>
                    </a:cubicBezTo>
                    <a:cubicBezTo>
                      <a:pt x="82" y="115"/>
                      <a:pt x="81" y="116"/>
                      <a:pt x="81" y="116"/>
                    </a:cubicBezTo>
                    <a:cubicBezTo>
                      <a:pt x="81" y="116"/>
                      <a:pt x="82" y="117"/>
                      <a:pt x="82" y="117"/>
                    </a:cubicBezTo>
                    <a:cubicBezTo>
                      <a:pt x="82" y="117"/>
                      <a:pt x="81" y="117"/>
                      <a:pt x="81" y="117"/>
                    </a:cubicBezTo>
                    <a:cubicBezTo>
                      <a:pt x="81" y="117"/>
                      <a:pt x="81" y="117"/>
                      <a:pt x="82" y="117"/>
                    </a:cubicBezTo>
                    <a:cubicBezTo>
                      <a:pt x="81" y="117"/>
                      <a:pt x="82" y="120"/>
                      <a:pt x="82" y="118"/>
                    </a:cubicBezTo>
                    <a:cubicBezTo>
                      <a:pt x="82" y="119"/>
                      <a:pt x="82" y="119"/>
                      <a:pt x="82" y="119"/>
                    </a:cubicBezTo>
                    <a:cubicBezTo>
                      <a:pt x="82" y="119"/>
                      <a:pt x="82" y="120"/>
                      <a:pt x="83" y="119"/>
                    </a:cubicBezTo>
                    <a:cubicBezTo>
                      <a:pt x="83" y="120"/>
                      <a:pt x="83" y="120"/>
                      <a:pt x="82" y="120"/>
                    </a:cubicBezTo>
                    <a:cubicBezTo>
                      <a:pt x="83" y="120"/>
                      <a:pt x="83" y="120"/>
                      <a:pt x="83" y="121"/>
                    </a:cubicBezTo>
                    <a:cubicBezTo>
                      <a:pt x="83" y="120"/>
                      <a:pt x="82" y="121"/>
                      <a:pt x="82" y="121"/>
                    </a:cubicBezTo>
                    <a:cubicBezTo>
                      <a:pt x="83" y="121"/>
                      <a:pt x="83" y="121"/>
                      <a:pt x="83" y="121"/>
                    </a:cubicBezTo>
                    <a:cubicBezTo>
                      <a:pt x="83" y="121"/>
                      <a:pt x="84" y="121"/>
                      <a:pt x="84" y="121"/>
                    </a:cubicBezTo>
                    <a:cubicBezTo>
                      <a:pt x="83" y="120"/>
                      <a:pt x="83" y="120"/>
                      <a:pt x="83" y="120"/>
                    </a:cubicBezTo>
                    <a:cubicBezTo>
                      <a:pt x="83" y="120"/>
                      <a:pt x="83" y="119"/>
                      <a:pt x="83" y="119"/>
                    </a:cubicBezTo>
                    <a:close/>
                    <a:moveTo>
                      <a:pt x="58" y="97"/>
                    </a:moveTo>
                    <a:cubicBezTo>
                      <a:pt x="59" y="96"/>
                      <a:pt x="59" y="95"/>
                      <a:pt x="60" y="95"/>
                    </a:cubicBezTo>
                    <a:cubicBezTo>
                      <a:pt x="60" y="95"/>
                      <a:pt x="61" y="95"/>
                      <a:pt x="61" y="96"/>
                    </a:cubicBezTo>
                    <a:cubicBezTo>
                      <a:pt x="61" y="96"/>
                      <a:pt x="61" y="97"/>
                      <a:pt x="62" y="97"/>
                    </a:cubicBezTo>
                    <a:cubicBezTo>
                      <a:pt x="61" y="97"/>
                      <a:pt x="62" y="97"/>
                      <a:pt x="63" y="98"/>
                    </a:cubicBezTo>
                    <a:cubicBezTo>
                      <a:pt x="62" y="98"/>
                      <a:pt x="63" y="98"/>
                      <a:pt x="64" y="99"/>
                    </a:cubicBezTo>
                    <a:cubicBezTo>
                      <a:pt x="65" y="99"/>
                      <a:pt x="65" y="100"/>
                      <a:pt x="66" y="101"/>
                    </a:cubicBezTo>
                    <a:cubicBezTo>
                      <a:pt x="67" y="100"/>
                      <a:pt x="65" y="98"/>
                      <a:pt x="65" y="97"/>
                    </a:cubicBezTo>
                    <a:cubicBezTo>
                      <a:pt x="65" y="98"/>
                      <a:pt x="65" y="98"/>
                      <a:pt x="66" y="98"/>
                    </a:cubicBezTo>
                    <a:cubicBezTo>
                      <a:pt x="66" y="97"/>
                      <a:pt x="65" y="97"/>
                      <a:pt x="65" y="96"/>
                    </a:cubicBezTo>
                    <a:cubicBezTo>
                      <a:pt x="64" y="96"/>
                      <a:pt x="64" y="95"/>
                      <a:pt x="64" y="95"/>
                    </a:cubicBezTo>
                    <a:cubicBezTo>
                      <a:pt x="64" y="95"/>
                      <a:pt x="63" y="95"/>
                      <a:pt x="63" y="95"/>
                    </a:cubicBezTo>
                    <a:cubicBezTo>
                      <a:pt x="63" y="95"/>
                      <a:pt x="63" y="95"/>
                      <a:pt x="63" y="95"/>
                    </a:cubicBezTo>
                    <a:cubicBezTo>
                      <a:pt x="62" y="95"/>
                      <a:pt x="62" y="93"/>
                      <a:pt x="61" y="93"/>
                    </a:cubicBezTo>
                    <a:cubicBezTo>
                      <a:pt x="61" y="93"/>
                      <a:pt x="60" y="92"/>
                      <a:pt x="59" y="92"/>
                    </a:cubicBezTo>
                    <a:cubicBezTo>
                      <a:pt x="59" y="92"/>
                      <a:pt x="58" y="92"/>
                      <a:pt x="58" y="92"/>
                    </a:cubicBezTo>
                    <a:cubicBezTo>
                      <a:pt x="59" y="92"/>
                      <a:pt x="58" y="93"/>
                      <a:pt x="58" y="93"/>
                    </a:cubicBezTo>
                    <a:cubicBezTo>
                      <a:pt x="58" y="93"/>
                      <a:pt x="58" y="91"/>
                      <a:pt x="58" y="91"/>
                    </a:cubicBezTo>
                    <a:cubicBezTo>
                      <a:pt x="58" y="91"/>
                      <a:pt x="57" y="90"/>
                      <a:pt x="57" y="91"/>
                    </a:cubicBezTo>
                    <a:cubicBezTo>
                      <a:pt x="57" y="91"/>
                      <a:pt x="57" y="92"/>
                      <a:pt x="57" y="92"/>
                    </a:cubicBezTo>
                    <a:cubicBezTo>
                      <a:pt x="58" y="93"/>
                      <a:pt x="57" y="94"/>
                      <a:pt x="57" y="94"/>
                    </a:cubicBezTo>
                    <a:cubicBezTo>
                      <a:pt x="57" y="95"/>
                      <a:pt x="58" y="95"/>
                      <a:pt x="58" y="95"/>
                    </a:cubicBezTo>
                    <a:cubicBezTo>
                      <a:pt x="58" y="95"/>
                      <a:pt x="58" y="96"/>
                      <a:pt x="57" y="96"/>
                    </a:cubicBezTo>
                    <a:cubicBezTo>
                      <a:pt x="57" y="97"/>
                      <a:pt x="57" y="98"/>
                      <a:pt x="57" y="98"/>
                    </a:cubicBezTo>
                    <a:cubicBezTo>
                      <a:pt x="57" y="99"/>
                      <a:pt x="58" y="97"/>
                      <a:pt x="58" y="97"/>
                    </a:cubicBezTo>
                    <a:close/>
                    <a:moveTo>
                      <a:pt x="27" y="99"/>
                    </a:moveTo>
                    <a:cubicBezTo>
                      <a:pt x="27" y="99"/>
                      <a:pt x="27" y="99"/>
                      <a:pt x="26" y="98"/>
                    </a:cubicBezTo>
                    <a:cubicBezTo>
                      <a:pt x="27" y="98"/>
                      <a:pt x="27" y="98"/>
                      <a:pt x="27" y="98"/>
                    </a:cubicBezTo>
                    <a:cubicBezTo>
                      <a:pt x="27" y="98"/>
                      <a:pt x="26" y="98"/>
                      <a:pt x="26" y="98"/>
                    </a:cubicBezTo>
                    <a:cubicBezTo>
                      <a:pt x="26" y="98"/>
                      <a:pt x="25" y="97"/>
                      <a:pt x="25" y="98"/>
                    </a:cubicBezTo>
                    <a:cubicBezTo>
                      <a:pt x="25" y="98"/>
                      <a:pt x="25" y="98"/>
                      <a:pt x="25" y="98"/>
                    </a:cubicBezTo>
                    <a:cubicBezTo>
                      <a:pt x="25" y="98"/>
                      <a:pt x="26" y="100"/>
                      <a:pt x="26" y="100"/>
                    </a:cubicBezTo>
                    <a:cubicBezTo>
                      <a:pt x="26" y="100"/>
                      <a:pt x="26" y="100"/>
                      <a:pt x="26" y="100"/>
                    </a:cubicBezTo>
                    <a:cubicBezTo>
                      <a:pt x="27" y="100"/>
                      <a:pt x="26" y="101"/>
                      <a:pt x="26" y="101"/>
                    </a:cubicBezTo>
                    <a:cubicBezTo>
                      <a:pt x="26" y="101"/>
                      <a:pt x="27" y="101"/>
                      <a:pt x="27" y="101"/>
                    </a:cubicBezTo>
                    <a:cubicBezTo>
                      <a:pt x="27" y="101"/>
                      <a:pt x="27" y="100"/>
                      <a:pt x="27" y="100"/>
                    </a:cubicBezTo>
                    <a:cubicBezTo>
                      <a:pt x="27" y="100"/>
                      <a:pt x="27" y="99"/>
                      <a:pt x="27" y="99"/>
                    </a:cubicBezTo>
                    <a:cubicBezTo>
                      <a:pt x="27" y="99"/>
                      <a:pt x="27" y="99"/>
                      <a:pt x="27" y="99"/>
                    </a:cubicBezTo>
                    <a:close/>
                    <a:moveTo>
                      <a:pt x="66" y="124"/>
                    </a:moveTo>
                    <a:cubicBezTo>
                      <a:pt x="67" y="124"/>
                      <a:pt x="68" y="124"/>
                      <a:pt x="68" y="124"/>
                    </a:cubicBezTo>
                    <a:cubicBezTo>
                      <a:pt x="68" y="124"/>
                      <a:pt x="69" y="124"/>
                      <a:pt x="69" y="124"/>
                    </a:cubicBezTo>
                    <a:cubicBezTo>
                      <a:pt x="70" y="124"/>
                      <a:pt x="71" y="124"/>
                      <a:pt x="71" y="123"/>
                    </a:cubicBezTo>
                    <a:cubicBezTo>
                      <a:pt x="71" y="122"/>
                      <a:pt x="73" y="122"/>
                      <a:pt x="73" y="122"/>
                    </a:cubicBezTo>
                    <a:cubicBezTo>
                      <a:pt x="74" y="122"/>
                      <a:pt x="72" y="121"/>
                      <a:pt x="72" y="121"/>
                    </a:cubicBezTo>
                    <a:cubicBezTo>
                      <a:pt x="73" y="121"/>
                      <a:pt x="73" y="121"/>
                      <a:pt x="73" y="120"/>
                    </a:cubicBezTo>
                    <a:cubicBezTo>
                      <a:pt x="73" y="120"/>
                      <a:pt x="72" y="119"/>
                      <a:pt x="73" y="120"/>
                    </a:cubicBezTo>
                    <a:cubicBezTo>
                      <a:pt x="73" y="119"/>
                      <a:pt x="72" y="119"/>
                      <a:pt x="71" y="119"/>
                    </a:cubicBezTo>
                    <a:cubicBezTo>
                      <a:pt x="71" y="118"/>
                      <a:pt x="71" y="118"/>
                      <a:pt x="71" y="118"/>
                    </a:cubicBezTo>
                    <a:cubicBezTo>
                      <a:pt x="71" y="118"/>
                      <a:pt x="71" y="118"/>
                      <a:pt x="71" y="118"/>
                    </a:cubicBezTo>
                    <a:cubicBezTo>
                      <a:pt x="70" y="118"/>
                      <a:pt x="70" y="118"/>
                      <a:pt x="70" y="118"/>
                    </a:cubicBezTo>
                    <a:cubicBezTo>
                      <a:pt x="70" y="117"/>
                      <a:pt x="70" y="118"/>
                      <a:pt x="69" y="118"/>
                    </a:cubicBezTo>
                    <a:cubicBezTo>
                      <a:pt x="69" y="118"/>
                      <a:pt x="68" y="118"/>
                      <a:pt x="68" y="118"/>
                    </a:cubicBezTo>
                    <a:cubicBezTo>
                      <a:pt x="68" y="118"/>
                      <a:pt x="68" y="119"/>
                      <a:pt x="68" y="119"/>
                    </a:cubicBezTo>
                    <a:cubicBezTo>
                      <a:pt x="68" y="119"/>
                      <a:pt x="68" y="119"/>
                      <a:pt x="68" y="119"/>
                    </a:cubicBezTo>
                    <a:cubicBezTo>
                      <a:pt x="67" y="120"/>
                      <a:pt x="67" y="120"/>
                      <a:pt x="67" y="120"/>
                    </a:cubicBezTo>
                    <a:cubicBezTo>
                      <a:pt x="66" y="120"/>
                      <a:pt x="66" y="120"/>
                      <a:pt x="66" y="121"/>
                    </a:cubicBezTo>
                    <a:cubicBezTo>
                      <a:pt x="66" y="121"/>
                      <a:pt x="65" y="121"/>
                      <a:pt x="65" y="121"/>
                    </a:cubicBezTo>
                    <a:cubicBezTo>
                      <a:pt x="65" y="121"/>
                      <a:pt x="65" y="122"/>
                      <a:pt x="65" y="122"/>
                    </a:cubicBezTo>
                    <a:cubicBezTo>
                      <a:pt x="65" y="122"/>
                      <a:pt x="66" y="122"/>
                      <a:pt x="66" y="123"/>
                    </a:cubicBezTo>
                    <a:cubicBezTo>
                      <a:pt x="66" y="123"/>
                      <a:pt x="66" y="123"/>
                      <a:pt x="66" y="124"/>
                    </a:cubicBezTo>
                    <a:close/>
                    <a:moveTo>
                      <a:pt x="78" y="118"/>
                    </a:moveTo>
                    <a:cubicBezTo>
                      <a:pt x="78" y="117"/>
                      <a:pt x="77" y="116"/>
                      <a:pt x="78" y="116"/>
                    </a:cubicBezTo>
                    <a:cubicBezTo>
                      <a:pt x="79" y="117"/>
                      <a:pt x="79" y="116"/>
                      <a:pt x="79" y="116"/>
                    </a:cubicBezTo>
                    <a:cubicBezTo>
                      <a:pt x="79" y="115"/>
                      <a:pt x="78" y="115"/>
                      <a:pt x="78" y="114"/>
                    </a:cubicBezTo>
                    <a:cubicBezTo>
                      <a:pt x="78" y="114"/>
                      <a:pt x="78" y="113"/>
                      <a:pt x="78" y="113"/>
                    </a:cubicBezTo>
                    <a:cubicBezTo>
                      <a:pt x="78" y="112"/>
                      <a:pt x="77" y="112"/>
                      <a:pt x="77" y="112"/>
                    </a:cubicBezTo>
                    <a:cubicBezTo>
                      <a:pt x="76" y="111"/>
                      <a:pt x="76" y="111"/>
                      <a:pt x="76" y="110"/>
                    </a:cubicBezTo>
                    <a:cubicBezTo>
                      <a:pt x="76" y="109"/>
                      <a:pt x="76" y="109"/>
                      <a:pt x="76" y="108"/>
                    </a:cubicBezTo>
                    <a:cubicBezTo>
                      <a:pt x="76" y="107"/>
                      <a:pt x="76" y="107"/>
                      <a:pt x="76" y="107"/>
                    </a:cubicBezTo>
                    <a:cubicBezTo>
                      <a:pt x="76" y="106"/>
                      <a:pt x="76" y="106"/>
                      <a:pt x="76" y="106"/>
                    </a:cubicBezTo>
                    <a:cubicBezTo>
                      <a:pt x="76" y="106"/>
                      <a:pt x="75" y="105"/>
                      <a:pt x="75" y="105"/>
                    </a:cubicBezTo>
                    <a:cubicBezTo>
                      <a:pt x="75" y="105"/>
                      <a:pt x="75" y="104"/>
                      <a:pt x="75" y="104"/>
                    </a:cubicBezTo>
                    <a:cubicBezTo>
                      <a:pt x="75" y="104"/>
                      <a:pt x="74" y="103"/>
                      <a:pt x="74" y="104"/>
                    </a:cubicBezTo>
                    <a:cubicBezTo>
                      <a:pt x="73" y="104"/>
                      <a:pt x="73" y="104"/>
                      <a:pt x="73" y="105"/>
                    </a:cubicBezTo>
                    <a:cubicBezTo>
                      <a:pt x="72" y="105"/>
                      <a:pt x="71" y="105"/>
                      <a:pt x="71" y="104"/>
                    </a:cubicBezTo>
                    <a:cubicBezTo>
                      <a:pt x="71" y="104"/>
                      <a:pt x="71" y="103"/>
                      <a:pt x="70" y="103"/>
                    </a:cubicBezTo>
                    <a:cubicBezTo>
                      <a:pt x="70" y="103"/>
                      <a:pt x="70" y="104"/>
                      <a:pt x="70" y="104"/>
                    </a:cubicBezTo>
                    <a:cubicBezTo>
                      <a:pt x="70" y="104"/>
                      <a:pt x="69" y="102"/>
                      <a:pt x="68" y="102"/>
                    </a:cubicBezTo>
                    <a:cubicBezTo>
                      <a:pt x="68" y="103"/>
                      <a:pt x="68" y="103"/>
                      <a:pt x="69" y="104"/>
                    </a:cubicBezTo>
                    <a:cubicBezTo>
                      <a:pt x="69" y="104"/>
                      <a:pt x="69" y="104"/>
                      <a:pt x="69" y="104"/>
                    </a:cubicBezTo>
                    <a:cubicBezTo>
                      <a:pt x="69" y="105"/>
                      <a:pt x="69" y="105"/>
                      <a:pt x="69" y="105"/>
                    </a:cubicBezTo>
                    <a:cubicBezTo>
                      <a:pt x="70" y="106"/>
                      <a:pt x="70" y="106"/>
                      <a:pt x="70" y="107"/>
                    </a:cubicBezTo>
                    <a:cubicBezTo>
                      <a:pt x="70" y="107"/>
                      <a:pt x="70" y="107"/>
                      <a:pt x="70" y="108"/>
                    </a:cubicBezTo>
                    <a:cubicBezTo>
                      <a:pt x="70" y="108"/>
                      <a:pt x="70" y="108"/>
                      <a:pt x="70" y="108"/>
                    </a:cubicBezTo>
                    <a:cubicBezTo>
                      <a:pt x="70" y="109"/>
                      <a:pt x="70" y="109"/>
                      <a:pt x="70" y="109"/>
                    </a:cubicBezTo>
                    <a:cubicBezTo>
                      <a:pt x="70" y="110"/>
                      <a:pt x="70" y="109"/>
                      <a:pt x="70" y="109"/>
                    </a:cubicBezTo>
                    <a:cubicBezTo>
                      <a:pt x="71" y="109"/>
                      <a:pt x="71" y="110"/>
                      <a:pt x="71" y="110"/>
                    </a:cubicBezTo>
                    <a:cubicBezTo>
                      <a:pt x="72" y="110"/>
                      <a:pt x="71" y="109"/>
                      <a:pt x="71" y="109"/>
                    </a:cubicBezTo>
                    <a:cubicBezTo>
                      <a:pt x="71" y="108"/>
                      <a:pt x="72" y="109"/>
                      <a:pt x="72" y="109"/>
                    </a:cubicBezTo>
                    <a:cubicBezTo>
                      <a:pt x="73" y="109"/>
                      <a:pt x="73" y="110"/>
                      <a:pt x="73" y="110"/>
                    </a:cubicBezTo>
                    <a:cubicBezTo>
                      <a:pt x="74" y="112"/>
                      <a:pt x="74" y="113"/>
                      <a:pt x="74" y="114"/>
                    </a:cubicBezTo>
                    <a:cubicBezTo>
                      <a:pt x="74" y="115"/>
                      <a:pt x="74" y="115"/>
                      <a:pt x="74" y="116"/>
                    </a:cubicBezTo>
                    <a:cubicBezTo>
                      <a:pt x="74" y="116"/>
                      <a:pt x="74" y="117"/>
                      <a:pt x="74" y="117"/>
                    </a:cubicBezTo>
                    <a:cubicBezTo>
                      <a:pt x="74" y="118"/>
                      <a:pt x="75" y="118"/>
                      <a:pt x="75" y="118"/>
                    </a:cubicBezTo>
                    <a:cubicBezTo>
                      <a:pt x="76" y="118"/>
                      <a:pt x="76" y="118"/>
                      <a:pt x="76" y="119"/>
                    </a:cubicBezTo>
                    <a:cubicBezTo>
                      <a:pt x="77" y="120"/>
                      <a:pt x="77" y="118"/>
                      <a:pt x="77" y="117"/>
                    </a:cubicBezTo>
                    <a:cubicBezTo>
                      <a:pt x="76" y="117"/>
                      <a:pt x="76" y="116"/>
                      <a:pt x="76" y="115"/>
                    </a:cubicBezTo>
                    <a:cubicBezTo>
                      <a:pt x="76" y="115"/>
                      <a:pt x="78" y="117"/>
                      <a:pt x="78" y="118"/>
                    </a:cubicBezTo>
                    <a:close/>
                    <a:moveTo>
                      <a:pt x="74" y="128"/>
                    </a:moveTo>
                    <a:cubicBezTo>
                      <a:pt x="73" y="128"/>
                      <a:pt x="75" y="129"/>
                      <a:pt x="75" y="130"/>
                    </a:cubicBezTo>
                    <a:cubicBezTo>
                      <a:pt x="76" y="129"/>
                      <a:pt x="75" y="127"/>
                      <a:pt x="74" y="128"/>
                    </a:cubicBezTo>
                    <a:close/>
                    <a:moveTo>
                      <a:pt x="52" y="123"/>
                    </a:moveTo>
                    <a:cubicBezTo>
                      <a:pt x="53" y="123"/>
                      <a:pt x="53" y="124"/>
                      <a:pt x="53" y="124"/>
                    </a:cubicBezTo>
                    <a:cubicBezTo>
                      <a:pt x="53" y="125"/>
                      <a:pt x="54" y="125"/>
                      <a:pt x="54" y="126"/>
                    </a:cubicBezTo>
                    <a:cubicBezTo>
                      <a:pt x="55" y="126"/>
                      <a:pt x="55" y="126"/>
                      <a:pt x="56" y="126"/>
                    </a:cubicBezTo>
                    <a:cubicBezTo>
                      <a:pt x="57" y="127"/>
                      <a:pt x="57" y="127"/>
                      <a:pt x="57" y="128"/>
                    </a:cubicBezTo>
                    <a:cubicBezTo>
                      <a:pt x="57" y="128"/>
                      <a:pt x="57" y="129"/>
                      <a:pt x="58" y="129"/>
                    </a:cubicBezTo>
                    <a:cubicBezTo>
                      <a:pt x="58" y="130"/>
                      <a:pt x="58" y="130"/>
                      <a:pt x="59" y="130"/>
                    </a:cubicBezTo>
                    <a:cubicBezTo>
                      <a:pt x="61" y="130"/>
                      <a:pt x="61" y="128"/>
                      <a:pt x="61" y="127"/>
                    </a:cubicBezTo>
                    <a:cubicBezTo>
                      <a:pt x="60" y="126"/>
                      <a:pt x="60" y="126"/>
                      <a:pt x="60" y="125"/>
                    </a:cubicBezTo>
                    <a:cubicBezTo>
                      <a:pt x="59" y="125"/>
                      <a:pt x="59" y="125"/>
                      <a:pt x="59" y="124"/>
                    </a:cubicBezTo>
                    <a:cubicBezTo>
                      <a:pt x="59" y="124"/>
                      <a:pt x="59" y="124"/>
                      <a:pt x="59" y="124"/>
                    </a:cubicBezTo>
                    <a:cubicBezTo>
                      <a:pt x="59" y="124"/>
                      <a:pt x="59" y="124"/>
                      <a:pt x="59" y="124"/>
                    </a:cubicBezTo>
                    <a:cubicBezTo>
                      <a:pt x="59" y="123"/>
                      <a:pt x="59" y="123"/>
                      <a:pt x="59" y="123"/>
                    </a:cubicBezTo>
                    <a:cubicBezTo>
                      <a:pt x="59" y="122"/>
                      <a:pt x="59" y="121"/>
                      <a:pt x="59" y="120"/>
                    </a:cubicBezTo>
                    <a:cubicBezTo>
                      <a:pt x="60" y="119"/>
                      <a:pt x="60" y="118"/>
                      <a:pt x="60" y="117"/>
                    </a:cubicBezTo>
                    <a:cubicBezTo>
                      <a:pt x="60" y="116"/>
                      <a:pt x="60" y="116"/>
                      <a:pt x="60" y="116"/>
                    </a:cubicBezTo>
                    <a:cubicBezTo>
                      <a:pt x="60" y="115"/>
                      <a:pt x="60" y="115"/>
                      <a:pt x="61" y="114"/>
                    </a:cubicBezTo>
                    <a:cubicBezTo>
                      <a:pt x="61" y="114"/>
                      <a:pt x="61" y="113"/>
                      <a:pt x="62" y="113"/>
                    </a:cubicBezTo>
                    <a:cubicBezTo>
                      <a:pt x="62" y="113"/>
                      <a:pt x="62" y="112"/>
                      <a:pt x="62" y="111"/>
                    </a:cubicBezTo>
                    <a:cubicBezTo>
                      <a:pt x="62" y="111"/>
                      <a:pt x="62" y="111"/>
                      <a:pt x="62" y="110"/>
                    </a:cubicBezTo>
                    <a:cubicBezTo>
                      <a:pt x="62" y="110"/>
                      <a:pt x="61" y="110"/>
                      <a:pt x="61" y="109"/>
                    </a:cubicBezTo>
                    <a:cubicBezTo>
                      <a:pt x="61" y="109"/>
                      <a:pt x="61" y="109"/>
                      <a:pt x="61" y="109"/>
                    </a:cubicBezTo>
                    <a:cubicBezTo>
                      <a:pt x="61" y="109"/>
                      <a:pt x="60" y="109"/>
                      <a:pt x="60" y="109"/>
                    </a:cubicBezTo>
                    <a:cubicBezTo>
                      <a:pt x="60" y="109"/>
                      <a:pt x="60" y="109"/>
                      <a:pt x="60" y="109"/>
                    </a:cubicBezTo>
                    <a:cubicBezTo>
                      <a:pt x="60" y="109"/>
                      <a:pt x="59" y="109"/>
                      <a:pt x="59" y="109"/>
                    </a:cubicBezTo>
                    <a:cubicBezTo>
                      <a:pt x="58" y="108"/>
                      <a:pt x="58" y="109"/>
                      <a:pt x="57" y="109"/>
                    </a:cubicBezTo>
                    <a:cubicBezTo>
                      <a:pt x="56" y="109"/>
                      <a:pt x="56" y="110"/>
                      <a:pt x="56" y="111"/>
                    </a:cubicBezTo>
                    <a:cubicBezTo>
                      <a:pt x="56" y="112"/>
                      <a:pt x="56" y="112"/>
                      <a:pt x="56" y="113"/>
                    </a:cubicBezTo>
                    <a:cubicBezTo>
                      <a:pt x="56" y="113"/>
                      <a:pt x="55" y="113"/>
                      <a:pt x="55" y="113"/>
                    </a:cubicBezTo>
                    <a:cubicBezTo>
                      <a:pt x="55" y="114"/>
                      <a:pt x="56" y="115"/>
                      <a:pt x="56" y="116"/>
                    </a:cubicBezTo>
                    <a:cubicBezTo>
                      <a:pt x="56" y="116"/>
                      <a:pt x="56" y="119"/>
                      <a:pt x="55" y="119"/>
                    </a:cubicBezTo>
                    <a:cubicBezTo>
                      <a:pt x="55" y="119"/>
                      <a:pt x="55" y="119"/>
                      <a:pt x="55" y="119"/>
                    </a:cubicBezTo>
                    <a:cubicBezTo>
                      <a:pt x="54" y="120"/>
                      <a:pt x="53" y="120"/>
                      <a:pt x="53" y="120"/>
                    </a:cubicBezTo>
                    <a:cubicBezTo>
                      <a:pt x="52" y="120"/>
                      <a:pt x="52" y="121"/>
                      <a:pt x="52" y="121"/>
                    </a:cubicBezTo>
                    <a:cubicBezTo>
                      <a:pt x="52" y="122"/>
                      <a:pt x="52" y="123"/>
                      <a:pt x="52" y="123"/>
                    </a:cubicBezTo>
                    <a:close/>
                    <a:moveTo>
                      <a:pt x="50" y="92"/>
                    </a:moveTo>
                    <a:cubicBezTo>
                      <a:pt x="49" y="92"/>
                      <a:pt x="49" y="93"/>
                      <a:pt x="50" y="93"/>
                    </a:cubicBezTo>
                    <a:cubicBezTo>
                      <a:pt x="51" y="94"/>
                      <a:pt x="51" y="94"/>
                      <a:pt x="52" y="94"/>
                    </a:cubicBezTo>
                    <a:cubicBezTo>
                      <a:pt x="52" y="93"/>
                      <a:pt x="52" y="93"/>
                      <a:pt x="52" y="92"/>
                    </a:cubicBezTo>
                    <a:cubicBezTo>
                      <a:pt x="51" y="92"/>
                      <a:pt x="50" y="92"/>
                      <a:pt x="50" y="92"/>
                    </a:cubicBezTo>
                    <a:close/>
                    <a:moveTo>
                      <a:pt x="40" y="93"/>
                    </a:moveTo>
                    <a:cubicBezTo>
                      <a:pt x="39" y="93"/>
                      <a:pt x="40" y="92"/>
                      <a:pt x="40" y="92"/>
                    </a:cubicBezTo>
                    <a:cubicBezTo>
                      <a:pt x="41" y="90"/>
                      <a:pt x="40" y="90"/>
                      <a:pt x="40" y="89"/>
                    </a:cubicBezTo>
                    <a:cubicBezTo>
                      <a:pt x="40" y="89"/>
                      <a:pt x="40" y="88"/>
                      <a:pt x="40" y="88"/>
                    </a:cubicBezTo>
                    <a:cubicBezTo>
                      <a:pt x="40" y="87"/>
                      <a:pt x="40" y="87"/>
                      <a:pt x="40" y="86"/>
                    </a:cubicBezTo>
                    <a:cubicBezTo>
                      <a:pt x="40" y="86"/>
                      <a:pt x="41" y="85"/>
                      <a:pt x="40" y="85"/>
                    </a:cubicBezTo>
                    <a:cubicBezTo>
                      <a:pt x="39" y="85"/>
                      <a:pt x="39" y="84"/>
                      <a:pt x="38" y="84"/>
                    </a:cubicBezTo>
                    <a:cubicBezTo>
                      <a:pt x="38" y="83"/>
                      <a:pt x="38" y="83"/>
                      <a:pt x="37" y="82"/>
                    </a:cubicBezTo>
                    <a:cubicBezTo>
                      <a:pt x="36" y="82"/>
                      <a:pt x="36" y="82"/>
                      <a:pt x="35" y="82"/>
                    </a:cubicBezTo>
                    <a:cubicBezTo>
                      <a:pt x="35" y="82"/>
                      <a:pt x="34" y="81"/>
                      <a:pt x="34" y="81"/>
                    </a:cubicBezTo>
                    <a:cubicBezTo>
                      <a:pt x="33" y="81"/>
                      <a:pt x="32" y="81"/>
                      <a:pt x="31" y="81"/>
                    </a:cubicBezTo>
                    <a:cubicBezTo>
                      <a:pt x="30" y="81"/>
                      <a:pt x="27" y="80"/>
                      <a:pt x="28" y="82"/>
                    </a:cubicBezTo>
                    <a:cubicBezTo>
                      <a:pt x="28" y="83"/>
                      <a:pt x="29" y="81"/>
                      <a:pt x="29" y="82"/>
                    </a:cubicBezTo>
                    <a:cubicBezTo>
                      <a:pt x="30" y="82"/>
                      <a:pt x="30" y="84"/>
                      <a:pt x="30" y="84"/>
                    </a:cubicBezTo>
                    <a:cubicBezTo>
                      <a:pt x="31" y="84"/>
                      <a:pt x="31" y="84"/>
                      <a:pt x="31" y="84"/>
                    </a:cubicBezTo>
                    <a:cubicBezTo>
                      <a:pt x="32" y="85"/>
                      <a:pt x="32" y="86"/>
                      <a:pt x="33" y="86"/>
                    </a:cubicBezTo>
                    <a:cubicBezTo>
                      <a:pt x="33" y="87"/>
                      <a:pt x="32" y="89"/>
                      <a:pt x="34" y="89"/>
                    </a:cubicBezTo>
                    <a:cubicBezTo>
                      <a:pt x="35" y="89"/>
                      <a:pt x="35" y="91"/>
                      <a:pt x="35" y="92"/>
                    </a:cubicBezTo>
                    <a:cubicBezTo>
                      <a:pt x="35" y="92"/>
                      <a:pt x="35" y="92"/>
                      <a:pt x="35" y="92"/>
                    </a:cubicBezTo>
                    <a:cubicBezTo>
                      <a:pt x="35" y="92"/>
                      <a:pt x="37" y="94"/>
                      <a:pt x="37" y="94"/>
                    </a:cubicBezTo>
                    <a:cubicBezTo>
                      <a:pt x="37" y="94"/>
                      <a:pt x="37" y="94"/>
                      <a:pt x="37" y="94"/>
                    </a:cubicBezTo>
                    <a:cubicBezTo>
                      <a:pt x="37" y="94"/>
                      <a:pt x="37" y="95"/>
                      <a:pt x="37" y="95"/>
                    </a:cubicBezTo>
                    <a:cubicBezTo>
                      <a:pt x="38" y="95"/>
                      <a:pt x="38" y="95"/>
                      <a:pt x="38" y="95"/>
                    </a:cubicBezTo>
                    <a:cubicBezTo>
                      <a:pt x="38" y="95"/>
                      <a:pt x="39" y="94"/>
                      <a:pt x="39" y="94"/>
                    </a:cubicBezTo>
                    <a:cubicBezTo>
                      <a:pt x="39" y="94"/>
                      <a:pt x="39" y="94"/>
                      <a:pt x="39" y="94"/>
                    </a:cubicBezTo>
                    <a:cubicBezTo>
                      <a:pt x="40" y="94"/>
                      <a:pt x="39" y="93"/>
                      <a:pt x="40" y="93"/>
                    </a:cubicBezTo>
                    <a:close/>
                    <a:moveTo>
                      <a:pt x="33" y="5"/>
                    </a:moveTo>
                    <a:cubicBezTo>
                      <a:pt x="33" y="5"/>
                      <a:pt x="33" y="4"/>
                      <a:pt x="33" y="4"/>
                    </a:cubicBezTo>
                    <a:cubicBezTo>
                      <a:pt x="32" y="4"/>
                      <a:pt x="32" y="6"/>
                      <a:pt x="32" y="6"/>
                    </a:cubicBezTo>
                    <a:cubicBezTo>
                      <a:pt x="33" y="5"/>
                      <a:pt x="32" y="5"/>
                      <a:pt x="33" y="5"/>
                    </a:cubicBezTo>
                    <a:close/>
                    <a:moveTo>
                      <a:pt x="50" y="112"/>
                    </a:moveTo>
                    <a:cubicBezTo>
                      <a:pt x="51" y="112"/>
                      <a:pt x="51" y="112"/>
                      <a:pt x="52" y="112"/>
                    </a:cubicBezTo>
                    <a:cubicBezTo>
                      <a:pt x="53" y="112"/>
                      <a:pt x="53" y="111"/>
                      <a:pt x="53" y="111"/>
                    </a:cubicBezTo>
                    <a:cubicBezTo>
                      <a:pt x="53" y="110"/>
                      <a:pt x="54" y="111"/>
                      <a:pt x="54" y="110"/>
                    </a:cubicBezTo>
                    <a:cubicBezTo>
                      <a:pt x="55" y="110"/>
                      <a:pt x="54" y="109"/>
                      <a:pt x="54" y="109"/>
                    </a:cubicBezTo>
                    <a:cubicBezTo>
                      <a:pt x="53" y="109"/>
                      <a:pt x="55" y="108"/>
                      <a:pt x="55" y="108"/>
                    </a:cubicBezTo>
                    <a:cubicBezTo>
                      <a:pt x="55" y="108"/>
                      <a:pt x="56" y="108"/>
                      <a:pt x="56" y="108"/>
                    </a:cubicBezTo>
                    <a:cubicBezTo>
                      <a:pt x="56" y="108"/>
                      <a:pt x="56" y="108"/>
                      <a:pt x="56" y="108"/>
                    </a:cubicBezTo>
                    <a:cubicBezTo>
                      <a:pt x="56" y="108"/>
                      <a:pt x="56" y="107"/>
                      <a:pt x="57" y="106"/>
                    </a:cubicBezTo>
                    <a:cubicBezTo>
                      <a:pt x="57" y="106"/>
                      <a:pt x="58" y="107"/>
                      <a:pt x="57" y="106"/>
                    </a:cubicBezTo>
                    <a:cubicBezTo>
                      <a:pt x="57" y="105"/>
                      <a:pt x="57" y="105"/>
                      <a:pt x="57" y="104"/>
                    </a:cubicBezTo>
                    <a:cubicBezTo>
                      <a:pt x="57" y="104"/>
                      <a:pt x="58" y="103"/>
                      <a:pt x="57" y="103"/>
                    </a:cubicBezTo>
                    <a:cubicBezTo>
                      <a:pt x="57" y="103"/>
                      <a:pt x="57" y="103"/>
                      <a:pt x="57" y="103"/>
                    </a:cubicBezTo>
                    <a:cubicBezTo>
                      <a:pt x="57" y="103"/>
                      <a:pt x="57" y="103"/>
                      <a:pt x="57" y="103"/>
                    </a:cubicBezTo>
                    <a:cubicBezTo>
                      <a:pt x="57" y="103"/>
                      <a:pt x="57" y="102"/>
                      <a:pt x="57" y="102"/>
                    </a:cubicBezTo>
                    <a:cubicBezTo>
                      <a:pt x="57" y="102"/>
                      <a:pt x="56" y="103"/>
                      <a:pt x="55" y="103"/>
                    </a:cubicBezTo>
                    <a:cubicBezTo>
                      <a:pt x="55" y="103"/>
                      <a:pt x="55" y="104"/>
                      <a:pt x="55" y="104"/>
                    </a:cubicBezTo>
                    <a:cubicBezTo>
                      <a:pt x="55" y="103"/>
                      <a:pt x="55" y="103"/>
                      <a:pt x="55" y="103"/>
                    </a:cubicBezTo>
                    <a:cubicBezTo>
                      <a:pt x="55" y="103"/>
                      <a:pt x="55" y="103"/>
                      <a:pt x="55" y="103"/>
                    </a:cubicBezTo>
                    <a:cubicBezTo>
                      <a:pt x="55" y="102"/>
                      <a:pt x="55" y="103"/>
                      <a:pt x="55" y="102"/>
                    </a:cubicBezTo>
                    <a:cubicBezTo>
                      <a:pt x="54" y="102"/>
                      <a:pt x="54" y="102"/>
                      <a:pt x="53" y="102"/>
                    </a:cubicBezTo>
                    <a:cubicBezTo>
                      <a:pt x="53" y="102"/>
                      <a:pt x="53" y="102"/>
                      <a:pt x="53" y="102"/>
                    </a:cubicBezTo>
                    <a:cubicBezTo>
                      <a:pt x="53" y="102"/>
                      <a:pt x="53" y="102"/>
                      <a:pt x="52" y="102"/>
                    </a:cubicBezTo>
                    <a:cubicBezTo>
                      <a:pt x="52" y="103"/>
                      <a:pt x="52" y="103"/>
                      <a:pt x="52" y="102"/>
                    </a:cubicBezTo>
                    <a:cubicBezTo>
                      <a:pt x="51" y="101"/>
                      <a:pt x="51" y="103"/>
                      <a:pt x="51" y="102"/>
                    </a:cubicBezTo>
                    <a:cubicBezTo>
                      <a:pt x="51" y="102"/>
                      <a:pt x="51" y="102"/>
                      <a:pt x="51" y="102"/>
                    </a:cubicBezTo>
                    <a:cubicBezTo>
                      <a:pt x="51" y="102"/>
                      <a:pt x="51" y="102"/>
                      <a:pt x="50" y="102"/>
                    </a:cubicBezTo>
                    <a:cubicBezTo>
                      <a:pt x="51" y="102"/>
                      <a:pt x="51" y="102"/>
                      <a:pt x="51" y="102"/>
                    </a:cubicBezTo>
                    <a:cubicBezTo>
                      <a:pt x="50" y="100"/>
                      <a:pt x="48" y="100"/>
                      <a:pt x="47" y="99"/>
                    </a:cubicBezTo>
                    <a:cubicBezTo>
                      <a:pt x="46" y="99"/>
                      <a:pt x="46" y="98"/>
                      <a:pt x="45" y="98"/>
                    </a:cubicBezTo>
                    <a:cubicBezTo>
                      <a:pt x="45" y="99"/>
                      <a:pt x="45" y="99"/>
                      <a:pt x="45" y="100"/>
                    </a:cubicBezTo>
                    <a:cubicBezTo>
                      <a:pt x="45" y="100"/>
                      <a:pt x="47" y="100"/>
                      <a:pt x="47" y="101"/>
                    </a:cubicBezTo>
                    <a:cubicBezTo>
                      <a:pt x="47" y="103"/>
                      <a:pt x="47" y="104"/>
                      <a:pt x="47" y="106"/>
                    </a:cubicBezTo>
                    <a:cubicBezTo>
                      <a:pt x="47" y="107"/>
                      <a:pt x="47" y="108"/>
                      <a:pt x="47" y="109"/>
                    </a:cubicBezTo>
                    <a:cubicBezTo>
                      <a:pt x="47" y="109"/>
                      <a:pt x="46" y="111"/>
                      <a:pt x="46" y="111"/>
                    </a:cubicBezTo>
                    <a:cubicBezTo>
                      <a:pt x="47" y="112"/>
                      <a:pt x="47" y="112"/>
                      <a:pt x="47" y="113"/>
                    </a:cubicBezTo>
                    <a:cubicBezTo>
                      <a:pt x="47" y="113"/>
                      <a:pt x="46" y="114"/>
                      <a:pt x="47" y="115"/>
                    </a:cubicBezTo>
                    <a:cubicBezTo>
                      <a:pt x="47" y="115"/>
                      <a:pt x="48" y="114"/>
                      <a:pt x="48" y="114"/>
                    </a:cubicBezTo>
                    <a:cubicBezTo>
                      <a:pt x="48" y="113"/>
                      <a:pt x="49" y="112"/>
                      <a:pt x="50" y="112"/>
                    </a:cubicBezTo>
                    <a:close/>
                    <a:moveTo>
                      <a:pt x="42" y="69"/>
                    </a:moveTo>
                    <a:cubicBezTo>
                      <a:pt x="43" y="68"/>
                      <a:pt x="43" y="67"/>
                      <a:pt x="42" y="66"/>
                    </a:cubicBezTo>
                    <a:cubicBezTo>
                      <a:pt x="42" y="66"/>
                      <a:pt x="41" y="66"/>
                      <a:pt x="42" y="65"/>
                    </a:cubicBezTo>
                    <a:cubicBezTo>
                      <a:pt x="42" y="65"/>
                      <a:pt x="42" y="65"/>
                      <a:pt x="42" y="65"/>
                    </a:cubicBezTo>
                    <a:cubicBezTo>
                      <a:pt x="42" y="65"/>
                      <a:pt x="42" y="65"/>
                      <a:pt x="42" y="65"/>
                    </a:cubicBezTo>
                    <a:cubicBezTo>
                      <a:pt x="42" y="64"/>
                      <a:pt x="42" y="65"/>
                      <a:pt x="42" y="65"/>
                    </a:cubicBezTo>
                    <a:cubicBezTo>
                      <a:pt x="42" y="64"/>
                      <a:pt x="42" y="64"/>
                      <a:pt x="42" y="64"/>
                    </a:cubicBezTo>
                    <a:cubicBezTo>
                      <a:pt x="41" y="64"/>
                      <a:pt x="41" y="64"/>
                      <a:pt x="40" y="64"/>
                    </a:cubicBezTo>
                    <a:cubicBezTo>
                      <a:pt x="40" y="64"/>
                      <a:pt x="40" y="65"/>
                      <a:pt x="40" y="65"/>
                    </a:cubicBezTo>
                    <a:cubicBezTo>
                      <a:pt x="41" y="65"/>
                      <a:pt x="41" y="66"/>
                      <a:pt x="41" y="67"/>
                    </a:cubicBezTo>
                    <a:cubicBezTo>
                      <a:pt x="41" y="67"/>
                      <a:pt x="42" y="68"/>
                      <a:pt x="41" y="67"/>
                    </a:cubicBezTo>
                    <a:cubicBezTo>
                      <a:pt x="41" y="68"/>
                      <a:pt x="41" y="68"/>
                      <a:pt x="42" y="69"/>
                    </a:cubicBezTo>
                    <a:close/>
                    <a:moveTo>
                      <a:pt x="80" y="120"/>
                    </a:moveTo>
                    <a:cubicBezTo>
                      <a:pt x="80" y="119"/>
                      <a:pt x="79" y="118"/>
                      <a:pt x="78" y="118"/>
                    </a:cubicBezTo>
                    <a:cubicBezTo>
                      <a:pt x="77" y="118"/>
                      <a:pt x="78" y="119"/>
                      <a:pt x="79" y="119"/>
                    </a:cubicBezTo>
                    <a:cubicBezTo>
                      <a:pt x="79" y="119"/>
                      <a:pt x="80" y="121"/>
                      <a:pt x="80" y="120"/>
                    </a:cubicBezTo>
                    <a:close/>
                    <a:moveTo>
                      <a:pt x="27" y="175"/>
                    </a:moveTo>
                    <a:cubicBezTo>
                      <a:pt x="26" y="176"/>
                      <a:pt x="27" y="177"/>
                      <a:pt x="27" y="177"/>
                    </a:cubicBezTo>
                    <a:cubicBezTo>
                      <a:pt x="27" y="177"/>
                      <a:pt x="27" y="178"/>
                      <a:pt x="27" y="178"/>
                    </a:cubicBezTo>
                    <a:cubicBezTo>
                      <a:pt x="27" y="178"/>
                      <a:pt x="27" y="177"/>
                      <a:pt x="27" y="176"/>
                    </a:cubicBezTo>
                    <a:cubicBezTo>
                      <a:pt x="27" y="176"/>
                      <a:pt x="27" y="175"/>
                      <a:pt x="27" y="175"/>
                    </a:cubicBezTo>
                    <a:close/>
                    <a:moveTo>
                      <a:pt x="53" y="115"/>
                    </a:moveTo>
                    <a:cubicBezTo>
                      <a:pt x="53" y="115"/>
                      <a:pt x="53" y="114"/>
                      <a:pt x="53" y="114"/>
                    </a:cubicBezTo>
                    <a:cubicBezTo>
                      <a:pt x="53" y="114"/>
                      <a:pt x="54" y="114"/>
                      <a:pt x="54" y="114"/>
                    </a:cubicBezTo>
                    <a:cubicBezTo>
                      <a:pt x="54" y="113"/>
                      <a:pt x="54" y="112"/>
                      <a:pt x="54" y="112"/>
                    </a:cubicBezTo>
                    <a:cubicBezTo>
                      <a:pt x="54" y="110"/>
                      <a:pt x="52" y="113"/>
                      <a:pt x="52" y="113"/>
                    </a:cubicBezTo>
                    <a:cubicBezTo>
                      <a:pt x="52" y="114"/>
                      <a:pt x="52" y="115"/>
                      <a:pt x="53" y="115"/>
                    </a:cubicBezTo>
                    <a:close/>
                    <a:moveTo>
                      <a:pt x="1" y="141"/>
                    </a:moveTo>
                    <a:cubicBezTo>
                      <a:pt x="1" y="141"/>
                      <a:pt x="1" y="141"/>
                      <a:pt x="1" y="141"/>
                    </a:cubicBezTo>
                    <a:cubicBezTo>
                      <a:pt x="0" y="141"/>
                      <a:pt x="0" y="142"/>
                      <a:pt x="1" y="142"/>
                    </a:cubicBezTo>
                    <a:cubicBezTo>
                      <a:pt x="1" y="143"/>
                      <a:pt x="1" y="143"/>
                      <a:pt x="1" y="143"/>
                    </a:cubicBezTo>
                    <a:cubicBezTo>
                      <a:pt x="2" y="143"/>
                      <a:pt x="2" y="143"/>
                      <a:pt x="2" y="142"/>
                    </a:cubicBezTo>
                    <a:cubicBezTo>
                      <a:pt x="2" y="142"/>
                      <a:pt x="1" y="141"/>
                      <a:pt x="2" y="141"/>
                    </a:cubicBezTo>
                    <a:cubicBezTo>
                      <a:pt x="2" y="140"/>
                      <a:pt x="1" y="141"/>
                      <a:pt x="1" y="141"/>
                    </a:cubicBezTo>
                    <a:close/>
                    <a:moveTo>
                      <a:pt x="87" y="122"/>
                    </a:moveTo>
                    <a:cubicBezTo>
                      <a:pt x="87" y="122"/>
                      <a:pt x="87" y="122"/>
                      <a:pt x="87" y="122"/>
                    </a:cubicBezTo>
                    <a:cubicBezTo>
                      <a:pt x="87" y="122"/>
                      <a:pt x="88" y="122"/>
                      <a:pt x="88" y="122"/>
                    </a:cubicBezTo>
                    <a:cubicBezTo>
                      <a:pt x="89" y="121"/>
                      <a:pt x="88" y="121"/>
                      <a:pt x="87" y="121"/>
                    </a:cubicBezTo>
                    <a:cubicBezTo>
                      <a:pt x="88" y="121"/>
                      <a:pt x="87" y="119"/>
                      <a:pt x="87" y="119"/>
                    </a:cubicBezTo>
                    <a:cubicBezTo>
                      <a:pt x="87" y="119"/>
                      <a:pt x="86" y="121"/>
                      <a:pt x="86" y="121"/>
                    </a:cubicBezTo>
                    <a:cubicBezTo>
                      <a:pt x="86" y="121"/>
                      <a:pt x="87" y="122"/>
                      <a:pt x="87" y="122"/>
                    </a:cubicBezTo>
                    <a:close/>
                    <a:moveTo>
                      <a:pt x="61" y="92"/>
                    </a:moveTo>
                    <a:cubicBezTo>
                      <a:pt x="62" y="92"/>
                      <a:pt x="62" y="93"/>
                      <a:pt x="63" y="94"/>
                    </a:cubicBezTo>
                    <a:cubicBezTo>
                      <a:pt x="63" y="93"/>
                      <a:pt x="62" y="91"/>
                      <a:pt x="62" y="91"/>
                    </a:cubicBezTo>
                    <a:cubicBezTo>
                      <a:pt x="61" y="91"/>
                      <a:pt x="60" y="89"/>
                      <a:pt x="61" y="90"/>
                    </a:cubicBezTo>
                    <a:cubicBezTo>
                      <a:pt x="60" y="90"/>
                      <a:pt x="60" y="90"/>
                      <a:pt x="60" y="90"/>
                    </a:cubicBezTo>
                    <a:cubicBezTo>
                      <a:pt x="60" y="91"/>
                      <a:pt x="61" y="91"/>
                      <a:pt x="61" y="92"/>
                    </a:cubicBezTo>
                    <a:close/>
                    <a:moveTo>
                      <a:pt x="87" y="151"/>
                    </a:moveTo>
                    <a:cubicBezTo>
                      <a:pt x="87" y="151"/>
                      <a:pt x="86" y="150"/>
                      <a:pt x="86" y="150"/>
                    </a:cubicBezTo>
                    <a:cubicBezTo>
                      <a:pt x="86" y="151"/>
                      <a:pt x="86" y="151"/>
                      <a:pt x="86" y="152"/>
                    </a:cubicBezTo>
                    <a:cubicBezTo>
                      <a:pt x="86" y="152"/>
                      <a:pt x="86" y="153"/>
                      <a:pt x="87" y="154"/>
                    </a:cubicBezTo>
                    <a:cubicBezTo>
                      <a:pt x="87" y="153"/>
                      <a:pt x="87" y="152"/>
                      <a:pt x="87" y="151"/>
                    </a:cubicBezTo>
                    <a:close/>
                    <a:moveTo>
                      <a:pt x="64" y="127"/>
                    </a:moveTo>
                    <a:cubicBezTo>
                      <a:pt x="64" y="127"/>
                      <a:pt x="64" y="128"/>
                      <a:pt x="63" y="128"/>
                    </a:cubicBezTo>
                    <a:cubicBezTo>
                      <a:pt x="63" y="128"/>
                      <a:pt x="62" y="128"/>
                      <a:pt x="63" y="128"/>
                    </a:cubicBezTo>
                    <a:cubicBezTo>
                      <a:pt x="63" y="129"/>
                      <a:pt x="63" y="129"/>
                      <a:pt x="64" y="129"/>
                    </a:cubicBezTo>
                    <a:cubicBezTo>
                      <a:pt x="64" y="129"/>
                      <a:pt x="65" y="129"/>
                      <a:pt x="65" y="129"/>
                    </a:cubicBezTo>
                    <a:cubicBezTo>
                      <a:pt x="64" y="128"/>
                      <a:pt x="65" y="128"/>
                      <a:pt x="64" y="127"/>
                    </a:cubicBezTo>
                    <a:close/>
                    <a:moveTo>
                      <a:pt x="34" y="22"/>
                    </a:moveTo>
                    <a:cubicBezTo>
                      <a:pt x="35" y="22"/>
                      <a:pt x="36" y="21"/>
                      <a:pt x="35" y="20"/>
                    </a:cubicBezTo>
                    <a:cubicBezTo>
                      <a:pt x="34" y="20"/>
                      <a:pt x="34" y="21"/>
                      <a:pt x="34" y="21"/>
                    </a:cubicBezTo>
                    <a:cubicBezTo>
                      <a:pt x="34" y="22"/>
                      <a:pt x="34" y="22"/>
                      <a:pt x="34" y="22"/>
                    </a:cubicBezTo>
                    <a:close/>
                    <a:moveTo>
                      <a:pt x="52" y="156"/>
                    </a:moveTo>
                    <a:cubicBezTo>
                      <a:pt x="51" y="156"/>
                      <a:pt x="51" y="155"/>
                      <a:pt x="51" y="155"/>
                    </a:cubicBezTo>
                    <a:cubicBezTo>
                      <a:pt x="50" y="155"/>
                      <a:pt x="50" y="156"/>
                      <a:pt x="50" y="156"/>
                    </a:cubicBezTo>
                    <a:cubicBezTo>
                      <a:pt x="49" y="156"/>
                      <a:pt x="48" y="156"/>
                      <a:pt x="48" y="156"/>
                    </a:cubicBezTo>
                    <a:cubicBezTo>
                      <a:pt x="48" y="157"/>
                      <a:pt x="49" y="157"/>
                      <a:pt x="49" y="158"/>
                    </a:cubicBezTo>
                    <a:cubicBezTo>
                      <a:pt x="49" y="158"/>
                      <a:pt x="50" y="159"/>
                      <a:pt x="50" y="159"/>
                    </a:cubicBezTo>
                    <a:cubicBezTo>
                      <a:pt x="51" y="159"/>
                      <a:pt x="51" y="159"/>
                      <a:pt x="52" y="158"/>
                    </a:cubicBezTo>
                    <a:cubicBezTo>
                      <a:pt x="52" y="158"/>
                      <a:pt x="52" y="158"/>
                      <a:pt x="52" y="158"/>
                    </a:cubicBezTo>
                    <a:cubicBezTo>
                      <a:pt x="52" y="157"/>
                      <a:pt x="53" y="157"/>
                      <a:pt x="53" y="157"/>
                    </a:cubicBezTo>
                    <a:cubicBezTo>
                      <a:pt x="54" y="156"/>
                      <a:pt x="52" y="156"/>
                      <a:pt x="52" y="156"/>
                    </a:cubicBezTo>
                    <a:close/>
                    <a:moveTo>
                      <a:pt x="31" y="0"/>
                    </a:moveTo>
                    <a:cubicBezTo>
                      <a:pt x="30" y="0"/>
                      <a:pt x="30" y="2"/>
                      <a:pt x="30" y="2"/>
                    </a:cubicBezTo>
                    <a:cubicBezTo>
                      <a:pt x="31" y="2"/>
                      <a:pt x="31" y="0"/>
                      <a:pt x="31" y="0"/>
                    </a:cubicBezTo>
                    <a:close/>
                    <a:moveTo>
                      <a:pt x="34" y="171"/>
                    </a:moveTo>
                    <a:cubicBezTo>
                      <a:pt x="34" y="171"/>
                      <a:pt x="34" y="170"/>
                      <a:pt x="33" y="171"/>
                    </a:cubicBezTo>
                    <a:cubicBezTo>
                      <a:pt x="33" y="171"/>
                      <a:pt x="32" y="172"/>
                      <a:pt x="32" y="172"/>
                    </a:cubicBezTo>
                    <a:cubicBezTo>
                      <a:pt x="31" y="172"/>
                      <a:pt x="29" y="173"/>
                      <a:pt x="30" y="174"/>
                    </a:cubicBezTo>
                    <a:cubicBezTo>
                      <a:pt x="30" y="173"/>
                      <a:pt x="31" y="173"/>
                      <a:pt x="32" y="173"/>
                    </a:cubicBezTo>
                    <a:cubicBezTo>
                      <a:pt x="32" y="173"/>
                      <a:pt x="32" y="172"/>
                      <a:pt x="32" y="173"/>
                    </a:cubicBezTo>
                    <a:cubicBezTo>
                      <a:pt x="33" y="173"/>
                      <a:pt x="33" y="172"/>
                      <a:pt x="33" y="172"/>
                    </a:cubicBezTo>
                    <a:cubicBezTo>
                      <a:pt x="33" y="172"/>
                      <a:pt x="33" y="172"/>
                      <a:pt x="33" y="172"/>
                    </a:cubicBezTo>
                    <a:cubicBezTo>
                      <a:pt x="33" y="173"/>
                      <a:pt x="34" y="173"/>
                      <a:pt x="34" y="173"/>
                    </a:cubicBezTo>
                    <a:cubicBezTo>
                      <a:pt x="34" y="173"/>
                      <a:pt x="34" y="171"/>
                      <a:pt x="34" y="171"/>
                    </a:cubicBezTo>
                    <a:close/>
                    <a:moveTo>
                      <a:pt x="57" y="87"/>
                    </a:moveTo>
                    <a:cubicBezTo>
                      <a:pt x="56" y="87"/>
                      <a:pt x="55" y="86"/>
                      <a:pt x="55" y="86"/>
                    </a:cubicBezTo>
                    <a:cubicBezTo>
                      <a:pt x="55" y="86"/>
                      <a:pt x="55" y="85"/>
                      <a:pt x="54" y="85"/>
                    </a:cubicBezTo>
                    <a:cubicBezTo>
                      <a:pt x="54" y="85"/>
                      <a:pt x="54" y="85"/>
                      <a:pt x="54" y="85"/>
                    </a:cubicBezTo>
                    <a:cubicBezTo>
                      <a:pt x="54" y="85"/>
                      <a:pt x="53" y="85"/>
                      <a:pt x="53" y="85"/>
                    </a:cubicBezTo>
                    <a:cubicBezTo>
                      <a:pt x="53" y="85"/>
                      <a:pt x="54" y="86"/>
                      <a:pt x="54" y="86"/>
                    </a:cubicBezTo>
                    <a:cubicBezTo>
                      <a:pt x="54" y="86"/>
                      <a:pt x="54" y="86"/>
                      <a:pt x="54" y="86"/>
                    </a:cubicBezTo>
                    <a:cubicBezTo>
                      <a:pt x="54" y="86"/>
                      <a:pt x="54" y="86"/>
                      <a:pt x="55" y="86"/>
                    </a:cubicBezTo>
                    <a:cubicBezTo>
                      <a:pt x="55" y="87"/>
                      <a:pt x="55" y="87"/>
                      <a:pt x="55" y="87"/>
                    </a:cubicBezTo>
                    <a:cubicBezTo>
                      <a:pt x="56" y="88"/>
                      <a:pt x="56" y="88"/>
                      <a:pt x="57" y="88"/>
                    </a:cubicBezTo>
                    <a:cubicBezTo>
                      <a:pt x="58" y="89"/>
                      <a:pt x="58" y="89"/>
                      <a:pt x="58" y="90"/>
                    </a:cubicBezTo>
                    <a:cubicBezTo>
                      <a:pt x="58" y="90"/>
                      <a:pt x="57" y="88"/>
                      <a:pt x="57" y="87"/>
                    </a:cubicBezTo>
                    <a:close/>
                    <a:moveTo>
                      <a:pt x="30" y="18"/>
                    </a:moveTo>
                    <a:cubicBezTo>
                      <a:pt x="30" y="17"/>
                      <a:pt x="30" y="17"/>
                      <a:pt x="30" y="16"/>
                    </a:cubicBezTo>
                    <a:cubicBezTo>
                      <a:pt x="30" y="16"/>
                      <a:pt x="29" y="16"/>
                      <a:pt x="29" y="16"/>
                    </a:cubicBezTo>
                    <a:cubicBezTo>
                      <a:pt x="29" y="16"/>
                      <a:pt x="28" y="16"/>
                      <a:pt x="29" y="17"/>
                    </a:cubicBezTo>
                    <a:cubicBezTo>
                      <a:pt x="29" y="17"/>
                      <a:pt x="30" y="17"/>
                      <a:pt x="30" y="18"/>
                    </a:cubicBezTo>
                    <a:close/>
                    <a:moveTo>
                      <a:pt x="42" y="164"/>
                    </a:moveTo>
                    <a:cubicBezTo>
                      <a:pt x="42" y="164"/>
                      <a:pt x="42" y="165"/>
                      <a:pt x="42" y="164"/>
                    </a:cubicBezTo>
                    <a:cubicBezTo>
                      <a:pt x="42" y="164"/>
                      <a:pt x="42" y="164"/>
                      <a:pt x="42" y="164"/>
                    </a:cubicBezTo>
                    <a:close/>
                    <a:moveTo>
                      <a:pt x="44" y="163"/>
                    </a:moveTo>
                    <a:cubicBezTo>
                      <a:pt x="44" y="163"/>
                      <a:pt x="43" y="163"/>
                      <a:pt x="43" y="163"/>
                    </a:cubicBezTo>
                    <a:cubicBezTo>
                      <a:pt x="43" y="163"/>
                      <a:pt x="42" y="162"/>
                      <a:pt x="42" y="162"/>
                    </a:cubicBezTo>
                    <a:cubicBezTo>
                      <a:pt x="41" y="162"/>
                      <a:pt x="41" y="163"/>
                      <a:pt x="41" y="163"/>
                    </a:cubicBezTo>
                    <a:cubicBezTo>
                      <a:pt x="40" y="163"/>
                      <a:pt x="40" y="163"/>
                      <a:pt x="40" y="164"/>
                    </a:cubicBezTo>
                    <a:cubicBezTo>
                      <a:pt x="40" y="165"/>
                      <a:pt x="41" y="164"/>
                      <a:pt x="41" y="164"/>
                    </a:cubicBezTo>
                    <a:cubicBezTo>
                      <a:pt x="41" y="164"/>
                      <a:pt x="42" y="165"/>
                      <a:pt x="42" y="164"/>
                    </a:cubicBezTo>
                    <a:cubicBezTo>
                      <a:pt x="42" y="164"/>
                      <a:pt x="42" y="164"/>
                      <a:pt x="42" y="164"/>
                    </a:cubicBezTo>
                    <a:cubicBezTo>
                      <a:pt x="42" y="164"/>
                      <a:pt x="42" y="164"/>
                      <a:pt x="43" y="164"/>
                    </a:cubicBezTo>
                    <a:cubicBezTo>
                      <a:pt x="43" y="164"/>
                      <a:pt x="44" y="165"/>
                      <a:pt x="44" y="165"/>
                    </a:cubicBezTo>
                    <a:cubicBezTo>
                      <a:pt x="44" y="164"/>
                      <a:pt x="45" y="164"/>
                      <a:pt x="45" y="164"/>
                    </a:cubicBezTo>
                    <a:cubicBezTo>
                      <a:pt x="45" y="163"/>
                      <a:pt x="45" y="163"/>
                      <a:pt x="44" y="163"/>
                    </a:cubicBezTo>
                    <a:close/>
                    <a:moveTo>
                      <a:pt x="70" y="103"/>
                    </a:moveTo>
                    <a:cubicBezTo>
                      <a:pt x="71" y="103"/>
                      <a:pt x="72" y="103"/>
                      <a:pt x="71" y="102"/>
                    </a:cubicBezTo>
                    <a:cubicBezTo>
                      <a:pt x="71" y="101"/>
                      <a:pt x="70" y="100"/>
                      <a:pt x="69" y="101"/>
                    </a:cubicBezTo>
                    <a:cubicBezTo>
                      <a:pt x="68" y="101"/>
                      <a:pt x="69" y="101"/>
                      <a:pt x="69" y="102"/>
                    </a:cubicBezTo>
                    <a:cubicBezTo>
                      <a:pt x="70" y="102"/>
                      <a:pt x="70" y="103"/>
                      <a:pt x="70" y="103"/>
                    </a:cubicBezTo>
                    <a:close/>
                    <a:moveTo>
                      <a:pt x="43" y="83"/>
                    </a:moveTo>
                    <a:cubicBezTo>
                      <a:pt x="43" y="83"/>
                      <a:pt x="44" y="84"/>
                      <a:pt x="45" y="84"/>
                    </a:cubicBezTo>
                    <a:cubicBezTo>
                      <a:pt x="45" y="84"/>
                      <a:pt x="45" y="83"/>
                      <a:pt x="45" y="83"/>
                    </a:cubicBezTo>
                    <a:cubicBezTo>
                      <a:pt x="46" y="82"/>
                      <a:pt x="45" y="82"/>
                      <a:pt x="45" y="82"/>
                    </a:cubicBezTo>
                    <a:cubicBezTo>
                      <a:pt x="45" y="82"/>
                      <a:pt x="45" y="81"/>
                      <a:pt x="44" y="81"/>
                    </a:cubicBezTo>
                    <a:cubicBezTo>
                      <a:pt x="45" y="80"/>
                      <a:pt x="44" y="81"/>
                      <a:pt x="43" y="81"/>
                    </a:cubicBezTo>
                    <a:cubicBezTo>
                      <a:pt x="43" y="81"/>
                      <a:pt x="42" y="80"/>
                      <a:pt x="43" y="80"/>
                    </a:cubicBezTo>
                    <a:cubicBezTo>
                      <a:pt x="42" y="81"/>
                      <a:pt x="42" y="82"/>
                      <a:pt x="43" y="83"/>
                    </a:cubicBezTo>
                    <a:close/>
                    <a:moveTo>
                      <a:pt x="46" y="90"/>
                    </a:moveTo>
                    <a:cubicBezTo>
                      <a:pt x="46" y="90"/>
                      <a:pt x="45" y="90"/>
                      <a:pt x="45" y="91"/>
                    </a:cubicBezTo>
                    <a:cubicBezTo>
                      <a:pt x="45" y="91"/>
                      <a:pt x="45" y="92"/>
                      <a:pt x="45" y="93"/>
                    </a:cubicBezTo>
                    <a:cubicBezTo>
                      <a:pt x="45" y="93"/>
                      <a:pt x="44" y="93"/>
                      <a:pt x="45" y="94"/>
                    </a:cubicBezTo>
                    <a:cubicBezTo>
                      <a:pt x="45" y="95"/>
                      <a:pt x="46" y="95"/>
                      <a:pt x="45" y="95"/>
                    </a:cubicBezTo>
                    <a:cubicBezTo>
                      <a:pt x="45" y="95"/>
                      <a:pt x="45" y="95"/>
                      <a:pt x="45" y="95"/>
                    </a:cubicBezTo>
                    <a:cubicBezTo>
                      <a:pt x="45" y="95"/>
                      <a:pt x="45" y="96"/>
                      <a:pt x="46" y="96"/>
                    </a:cubicBezTo>
                    <a:cubicBezTo>
                      <a:pt x="46" y="95"/>
                      <a:pt x="46" y="94"/>
                      <a:pt x="46" y="92"/>
                    </a:cubicBezTo>
                    <a:cubicBezTo>
                      <a:pt x="46" y="92"/>
                      <a:pt x="46" y="91"/>
                      <a:pt x="46" y="90"/>
                    </a:cubicBezTo>
                    <a:cubicBezTo>
                      <a:pt x="46" y="90"/>
                      <a:pt x="47" y="90"/>
                      <a:pt x="46" y="9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2" name="Peru">
                <a:extLst>
                  <a:ext uri="{FF2B5EF4-FFF2-40B4-BE49-F238E27FC236}">
                    <a16:creationId xmlns:a16="http://schemas.microsoft.com/office/drawing/2014/main" id="{023F1754-A3F8-7438-4862-3A2B0838F707}"/>
                  </a:ext>
                </a:extLst>
              </p:cNvPr>
              <p:cNvSpPr>
                <a:spLocks/>
              </p:cNvSpPr>
              <p:nvPr/>
            </p:nvSpPr>
            <p:spPr bwMode="auto">
              <a:xfrm>
                <a:off x="2903215" y="4044351"/>
                <a:ext cx="453816" cy="715519"/>
              </a:xfrm>
              <a:custGeom>
                <a:avLst/>
                <a:gdLst/>
                <a:ahLst/>
                <a:cxnLst>
                  <a:cxn ang="0">
                    <a:pos x="123" y="178"/>
                  </a:cxn>
                  <a:cxn ang="0">
                    <a:pos x="119" y="175"/>
                  </a:cxn>
                  <a:cxn ang="0">
                    <a:pos x="118" y="170"/>
                  </a:cxn>
                  <a:cxn ang="0">
                    <a:pos x="122" y="170"/>
                  </a:cxn>
                  <a:cxn ang="0">
                    <a:pos x="123" y="164"/>
                  </a:cxn>
                  <a:cxn ang="0">
                    <a:pos x="127" y="156"/>
                  </a:cxn>
                  <a:cxn ang="0">
                    <a:pos x="125" y="146"/>
                  </a:cxn>
                  <a:cxn ang="0">
                    <a:pos x="122" y="128"/>
                  </a:cxn>
                  <a:cxn ang="0">
                    <a:pos x="108" y="120"/>
                  </a:cxn>
                  <a:cxn ang="0">
                    <a:pos x="106" y="105"/>
                  </a:cxn>
                  <a:cxn ang="0">
                    <a:pos x="91" y="110"/>
                  </a:cxn>
                  <a:cxn ang="0">
                    <a:pos x="81" y="104"/>
                  </a:cxn>
                  <a:cxn ang="0">
                    <a:pos x="80" y="96"/>
                  </a:cxn>
                  <a:cxn ang="0">
                    <a:pos x="75" y="85"/>
                  </a:cxn>
                  <a:cxn ang="0">
                    <a:pos x="74" y="79"/>
                  </a:cxn>
                  <a:cxn ang="0">
                    <a:pos x="79" y="67"/>
                  </a:cxn>
                  <a:cxn ang="0">
                    <a:pos x="84" y="56"/>
                  </a:cxn>
                  <a:cxn ang="0">
                    <a:pos x="91" y="50"/>
                  </a:cxn>
                  <a:cxn ang="0">
                    <a:pos x="101" y="47"/>
                  </a:cxn>
                  <a:cxn ang="0">
                    <a:pos x="107" y="47"/>
                  </a:cxn>
                  <a:cxn ang="0">
                    <a:pos x="105" y="38"/>
                  </a:cxn>
                  <a:cxn ang="0">
                    <a:pos x="106" y="28"/>
                  </a:cxn>
                  <a:cxn ang="0">
                    <a:pos x="100" y="25"/>
                  </a:cxn>
                  <a:cxn ang="0">
                    <a:pos x="95" y="26"/>
                  </a:cxn>
                  <a:cxn ang="0">
                    <a:pos x="89" y="27"/>
                  </a:cxn>
                  <a:cxn ang="0">
                    <a:pos x="82" y="27"/>
                  </a:cxn>
                  <a:cxn ang="0">
                    <a:pos x="79" y="22"/>
                  </a:cxn>
                  <a:cxn ang="0">
                    <a:pos x="74" y="16"/>
                  </a:cxn>
                  <a:cxn ang="0">
                    <a:pos x="68" y="11"/>
                  </a:cxn>
                  <a:cxn ang="0">
                    <a:pos x="63" y="3"/>
                  </a:cxn>
                  <a:cxn ang="0">
                    <a:pos x="56" y="4"/>
                  </a:cxn>
                  <a:cxn ang="0">
                    <a:pos x="55" y="17"/>
                  </a:cxn>
                  <a:cxn ang="0">
                    <a:pos x="30" y="38"/>
                  </a:cxn>
                  <a:cxn ang="0">
                    <a:pos x="28" y="42"/>
                  </a:cxn>
                  <a:cxn ang="0">
                    <a:pos x="25" y="51"/>
                  </a:cxn>
                  <a:cxn ang="0">
                    <a:pos x="18" y="50"/>
                  </a:cxn>
                  <a:cxn ang="0">
                    <a:pos x="8" y="46"/>
                  </a:cxn>
                  <a:cxn ang="0">
                    <a:pos x="9" y="37"/>
                  </a:cxn>
                  <a:cxn ang="0">
                    <a:pos x="0" y="52"/>
                  </a:cxn>
                  <a:cxn ang="0">
                    <a:pos x="5" y="64"/>
                  </a:cxn>
                  <a:cxn ang="0">
                    <a:pos x="15" y="77"/>
                  </a:cxn>
                  <a:cxn ang="0">
                    <a:pos x="25" y="93"/>
                  </a:cxn>
                  <a:cxn ang="0">
                    <a:pos x="29" y="102"/>
                  </a:cxn>
                  <a:cxn ang="0">
                    <a:pos x="33" y="111"/>
                  </a:cxn>
                  <a:cxn ang="0">
                    <a:pos x="42" y="126"/>
                  </a:cxn>
                  <a:cxn ang="0">
                    <a:pos x="49" y="138"/>
                  </a:cxn>
                  <a:cxn ang="0">
                    <a:pos x="54" y="153"/>
                  </a:cxn>
                  <a:cxn ang="0">
                    <a:pos x="58" y="159"/>
                  </a:cxn>
                  <a:cxn ang="0">
                    <a:pos x="67" y="169"/>
                  </a:cxn>
                  <a:cxn ang="0">
                    <a:pos x="78" y="175"/>
                  </a:cxn>
                  <a:cxn ang="0">
                    <a:pos x="91" y="182"/>
                  </a:cxn>
                  <a:cxn ang="0">
                    <a:pos x="101" y="189"/>
                  </a:cxn>
                  <a:cxn ang="0">
                    <a:pos x="117" y="202"/>
                  </a:cxn>
                  <a:cxn ang="0">
                    <a:pos x="123" y="190"/>
                  </a:cxn>
                  <a:cxn ang="0">
                    <a:pos x="127" y="182"/>
                  </a:cxn>
                </a:cxnLst>
                <a:rect l="0" t="0" r="r" b="b"/>
                <a:pathLst>
                  <a:path w="128" h="202">
                    <a:moveTo>
                      <a:pt x="127" y="181"/>
                    </a:moveTo>
                    <a:cubicBezTo>
                      <a:pt x="127" y="180"/>
                      <a:pt x="127" y="180"/>
                      <a:pt x="127" y="179"/>
                    </a:cubicBezTo>
                    <a:cubicBezTo>
                      <a:pt x="127" y="180"/>
                      <a:pt x="128" y="179"/>
                      <a:pt x="128" y="178"/>
                    </a:cubicBezTo>
                    <a:cubicBezTo>
                      <a:pt x="127" y="178"/>
                      <a:pt x="127" y="178"/>
                      <a:pt x="126" y="179"/>
                    </a:cubicBezTo>
                    <a:cubicBezTo>
                      <a:pt x="126" y="179"/>
                      <a:pt x="125" y="179"/>
                      <a:pt x="125" y="179"/>
                    </a:cubicBezTo>
                    <a:cubicBezTo>
                      <a:pt x="125" y="179"/>
                      <a:pt x="124" y="179"/>
                      <a:pt x="124" y="178"/>
                    </a:cubicBezTo>
                    <a:cubicBezTo>
                      <a:pt x="124" y="178"/>
                      <a:pt x="123" y="179"/>
                      <a:pt x="123" y="178"/>
                    </a:cubicBezTo>
                    <a:cubicBezTo>
                      <a:pt x="122" y="178"/>
                      <a:pt x="123" y="177"/>
                      <a:pt x="123" y="176"/>
                    </a:cubicBezTo>
                    <a:cubicBezTo>
                      <a:pt x="123" y="176"/>
                      <a:pt x="121" y="176"/>
                      <a:pt x="121" y="176"/>
                    </a:cubicBezTo>
                    <a:cubicBezTo>
                      <a:pt x="121" y="176"/>
                      <a:pt x="121" y="175"/>
                      <a:pt x="120" y="175"/>
                    </a:cubicBezTo>
                    <a:cubicBezTo>
                      <a:pt x="120" y="175"/>
                      <a:pt x="120" y="174"/>
                      <a:pt x="119" y="174"/>
                    </a:cubicBezTo>
                    <a:cubicBezTo>
                      <a:pt x="119" y="174"/>
                      <a:pt x="119" y="174"/>
                      <a:pt x="119" y="174"/>
                    </a:cubicBezTo>
                    <a:cubicBezTo>
                      <a:pt x="119" y="175"/>
                      <a:pt x="120" y="175"/>
                      <a:pt x="119" y="175"/>
                    </a:cubicBezTo>
                    <a:cubicBezTo>
                      <a:pt x="119" y="175"/>
                      <a:pt x="119" y="175"/>
                      <a:pt x="119" y="175"/>
                    </a:cubicBezTo>
                    <a:cubicBezTo>
                      <a:pt x="118" y="175"/>
                      <a:pt x="118" y="175"/>
                      <a:pt x="118" y="175"/>
                    </a:cubicBezTo>
                    <a:cubicBezTo>
                      <a:pt x="117" y="175"/>
                      <a:pt x="117" y="174"/>
                      <a:pt x="117" y="174"/>
                    </a:cubicBezTo>
                    <a:cubicBezTo>
                      <a:pt x="117" y="173"/>
                      <a:pt x="117" y="173"/>
                      <a:pt x="118" y="173"/>
                    </a:cubicBezTo>
                    <a:cubicBezTo>
                      <a:pt x="118" y="173"/>
                      <a:pt x="118" y="172"/>
                      <a:pt x="118" y="171"/>
                    </a:cubicBezTo>
                    <a:cubicBezTo>
                      <a:pt x="119" y="172"/>
                      <a:pt x="118" y="173"/>
                      <a:pt x="119" y="173"/>
                    </a:cubicBezTo>
                    <a:cubicBezTo>
                      <a:pt x="120" y="174"/>
                      <a:pt x="120" y="173"/>
                      <a:pt x="119" y="172"/>
                    </a:cubicBezTo>
                    <a:cubicBezTo>
                      <a:pt x="119" y="172"/>
                      <a:pt x="118" y="171"/>
                      <a:pt x="118" y="170"/>
                    </a:cubicBezTo>
                    <a:cubicBezTo>
                      <a:pt x="117" y="169"/>
                      <a:pt x="118" y="169"/>
                      <a:pt x="119" y="169"/>
                    </a:cubicBezTo>
                    <a:cubicBezTo>
                      <a:pt x="119" y="169"/>
                      <a:pt x="118" y="169"/>
                      <a:pt x="118" y="169"/>
                    </a:cubicBezTo>
                    <a:cubicBezTo>
                      <a:pt x="118" y="168"/>
                      <a:pt x="119" y="169"/>
                      <a:pt x="120" y="168"/>
                    </a:cubicBezTo>
                    <a:cubicBezTo>
                      <a:pt x="120" y="168"/>
                      <a:pt x="119" y="168"/>
                      <a:pt x="120" y="168"/>
                    </a:cubicBezTo>
                    <a:cubicBezTo>
                      <a:pt x="120" y="168"/>
                      <a:pt x="120" y="168"/>
                      <a:pt x="120" y="169"/>
                    </a:cubicBezTo>
                    <a:cubicBezTo>
                      <a:pt x="121" y="169"/>
                      <a:pt x="121" y="169"/>
                      <a:pt x="122" y="169"/>
                    </a:cubicBezTo>
                    <a:cubicBezTo>
                      <a:pt x="122" y="170"/>
                      <a:pt x="122" y="170"/>
                      <a:pt x="122" y="170"/>
                    </a:cubicBezTo>
                    <a:cubicBezTo>
                      <a:pt x="122" y="170"/>
                      <a:pt x="123" y="170"/>
                      <a:pt x="123" y="171"/>
                    </a:cubicBezTo>
                    <a:cubicBezTo>
                      <a:pt x="123" y="171"/>
                      <a:pt x="123" y="170"/>
                      <a:pt x="123" y="170"/>
                    </a:cubicBezTo>
                    <a:cubicBezTo>
                      <a:pt x="123" y="170"/>
                      <a:pt x="123" y="171"/>
                      <a:pt x="123" y="171"/>
                    </a:cubicBezTo>
                    <a:cubicBezTo>
                      <a:pt x="124" y="171"/>
                      <a:pt x="123" y="170"/>
                      <a:pt x="124" y="170"/>
                    </a:cubicBezTo>
                    <a:cubicBezTo>
                      <a:pt x="124" y="169"/>
                      <a:pt x="124" y="169"/>
                      <a:pt x="124" y="169"/>
                    </a:cubicBezTo>
                    <a:cubicBezTo>
                      <a:pt x="124" y="168"/>
                      <a:pt x="125" y="168"/>
                      <a:pt x="125" y="168"/>
                    </a:cubicBezTo>
                    <a:cubicBezTo>
                      <a:pt x="125" y="168"/>
                      <a:pt x="123" y="165"/>
                      <a:pt x="123" y="164"/>
                    </a:cubicBezTo>
                    <a:cubicBezTo>
                      <a:pt x="123" y="164"/>
                      <a:pt x="122" y="163"/>
                      <a:pt x="123" y="163"/>
                    </a:cubicBezTo>
                    <a:cubicBezTo>
                      <a:pt x="123" y="162"/>
                      <a:pt x="124" y="162"/>
                      <a:pt x="124" y="162"/>
                    </a:cubicBezTo>
                    <a:cubicBezTo>
                      <a:pt x="123" y="161"/>
                      <a:pt x="123" y="161"/>
                      <a:pt x="124" y="160"/>
                    </a:cubicBezTo>
                    <a:cubicBezTo>
                      <a:pt x="124" y="160"/>
                      <a:pt x="124" y="160"/>
                      <a:pt x="124" y="160"/>
                    </a:cubicBezTo>
                    <a:cubicBezTo>
                      <a:pt x="124" y="159"/>
                      <a:pt x="125" y="159"/>
                      <a:pt x="126" y="158"/>
                    </a:cubicBezTo>
                    <a:cubicBezTo>
                      <a:pt x="126" y="158"/>
                      <a:pt x="125" y="157"/>
                      <a:pt x="126" y="157"/>
                    </a:cubicBezTo>
                    <a:cubicBezTo>
                      <a:pt x="126" y="156"/>
                      <a:pt x="127" y="157"/>
                      <a:pt x="127" y="156"/>
                    </a:cubicBezTo>
                    <a:cubicBezTo>
                      <a:pt x="127" y="156"/>
                      <a:pt x="126" y="155"/>
                      <a:pt x="126" y="155"/>
                    </a:cubicBezTo>
                    <a:cubicBezTo>
                      <a:pt x="126" y="154"/>
                      <a:pt x="126" y="154"/>
                      <a:pt x="125" y="154"/>
                    </a:cubicBezTo>
                    <a:cubicBezTo>
                      <a:pt x="125" y="153"/>
                      <a:pt x="125" y="153"/>
                      <a:pt x="125" y="153"/>
                    </a:cubicBezTo>
                    <a:cubicBezTo>
                      <a:pt x="125" y="152"/>
                      <a:pt x="125" y="151"/>
                      <a:pt x="125" y="151"/>
                    </a:cubicBezTo>
                    <a:cubicBezTo>
                      <a:pt x="124" y="151"/>
                      <a:pt x="124" y="150"/>
                      <a:pt x="124" y="150"/>
                    </a:cubicBezTo>
                    <a:cubicBezTo>
                      <a:pt x="125" y="150"/>
                      <a:pt x="125" y="149"/>
                      <a:pt x="125" y="149"/>
                    </a:cubicBezTo>
                    <a:cubicBezTo>
                      <a:pt x="125" y="148"/>
                      <a:pt x="125" y="147"/>
                      <a:pt x="125" y="146"/>
                    </a:cubicBezTo>
                    <a:cubicBezTo>
                      <a:pt x="125" y="145"/>
                      <a:pt x="125" y="144"/>
                      <a:pt x="125" y="144"/>
                    </a:cubicBezTo>
                    <a:cubicBezTo>
                      <a:pt x="124" y="142"/>
                      <a:pt x="124" y="142"/>
                      <a:pt x="125" y="141"/>
                    </a:cubicBezTo>
                    <a:cubicBezTo>
                      <a:pt x="126" y="140"/>
                      <a:pt x="127" y="140"/>
                      <a:pt x="127" y="139"/>
                    </a:cubicBezTo>
                    <a:cubicBezTo>
                      <a:pt x="126" y="139"/>
                      <a:pt x="126" y="139"/>
                      <a:pt x="126" y="139"/>
                    </a:cubicBezTo>
                    <a:cubicBezTo>
                      <a:pt x="126" y="138"/>
                      <a:pt x="127" y="138"/>
                      <a:pt x="127" y="138"/>
                    </a:cubicBezTo>
                    <a:cubicBezTo>
                      <a:pt x="127" y="137"/>
                      <a:pt x="126" y="136"/>
                      <a:pt x="126" y="135"/>
                    </a:cubicBezTo>
                    <a:cubicBezTo>
                      <a:pt x="125" y="133"/>
                      <a:pt x="123" y="131"/>
                      <a:pt x="122" y="128"/>
                    </a:cubicBezTo>
                    <a:cubicBezTo>
                      <a:pt x="121" y="127"/>
                      <a:pt x="121" y="126"/>
                      <a:pt x="120" y="125"/>
                    </a:cubicBezTo>
                    <a:cubicBezTo>
                      <a:pt x="119" y="124"/>
                      <a:pt x="119" y="123"/>
                      <a:pt x="118" y="122"/>
                    </a:cubicBezTo>
                    <a:cubicBezTo>
                      <a:pt x="118" y="122"/>
                      <a:pt x="118" y="121"/>
                      <a:pt x="117" y="121"/>
                    </a:cubicBezTo>
                    <a:cubicBezTo>
                      <a:pt x="116" y="121"/>
                      <a:pt x="116" y="121"/>
                      <a:pt x="116" y="121"/>
                    </a:cubicBezTo>
                    <a:cubicBezTo>
                      <a:pt x="115" y="120"/>
                      <a:pt x="114" y="120"/>
                      <a:pt x="114" y="120"/>
                    </a:cubicBezTo>
                    <a:cubicBezTo>
                      <a:pt x="112" y="121"/>
                      <a:pt x="111" y="123"/>
                      <a:pt x="109" y="122"/>
                    </a:cubicBezTo>
                    <a:cubicBezTo>
                      <a:pt x="109" y="121"/>
                      <a:pt x="109" y="121"/>
                      <a:pt x="108" y="120"/>
                    </a:cubicBezTo>
                    <a:cubicBezTo>
                      <a:pt x="108" y="120"/>
                      <a:pt x="107" y="121"/>
                      <a:pt x="107" y="121"/>
                    </a:cubicBezTo>
                    <a:cubicBezTo>
                      <a:pt x="107" y="118"/>
                      <a:pt x="107" y="115"/>
                      <a:pt x="106" y="112"/>
                    </a:cubicBezTo>
                    <a:cubicBezTo>
                      <a:pt x="106" y="111"/>
                      <a:pt x="106" y="108"/>
                      <a:pt x="107" y="108"/>
                    </a:cubicBezTo>
                    <a:cubicBezTo>
                      <a:pt x="107" y="108"/>
                      <a:pt x="107" y="107"/>
                      <a:pt x="107" y="107"/>
                    </a:cubicBezTo>
                    <a:cubicBezTo>
                      <a:pt x="107" y="106"/>
                      <a:pt x="107" y="106"/>
                      <a:pt x="106" y="105"/>
                    </a:cubicBezTo>
                    <a:cubicBezTo>
                      <a:pt x="107" y="106"/>
                      <a:pt x="107" y="104"/>
                      <a:pt x="107" y="104"/>
                    </a:cubicBezTo>
                    <a:cubicBezTo>
                      <a:pt x="107" y="103"/>
                      <a:pt x="106" y="105"/>
                      <a:pt x="106" y="105"/>
                    </a:cubicBezTo>
                    <a:cubicBezTo>
                      <a:pt x="105" y="106"/>
                      <a:pt x="104" y="106"/>
                      <a:pt x="103" y="107"/>
                    </a:cubicBezTo>
                    <a:cubicBezTo>
                      <a:pt x="103" y="108"/>
                      <a:pt x="103" y="108"/>
                      <a:pt x="102" y="108"/>
                    </a:cubicBezTo>
                    <a:cubicBezTo>
                      <a:pt x="101" y="109"/>
                      <a:pt x="101" y="109"/>
                      <a:pt x="101" y="109"/>
                    </a:cubicBezTo>
                    <a:cubicBezTo>
                      <a:pt x="101" y="110"/>
                      <a:pt x="100" y="110"/>
                      <a:pt x="100" y="110"/>
                    </a:cubicBezTo>
                    <a:cubicBezTo>
                      <a:pt x="100" y="110"/>
                      <a:pt x="99" y="110"/>
                      <a:pt x="98" y="110"/>
                    </a:cubicBezTo>
                    <a:cubicBezTo>
                      <a:pt x="97" y="110"/>
                      <a:pt x="96" y="110"/>
                      <a:pt x="95" y="110"/>
                    </a:cubicBezTo>
                    <a:cubicBezTo>
                      <a:pt x="94" y="110"/>
                      <a:pt x="93" y="110"/>
                      <a:pt x="91" y="110"/>
                    </a:cubicBezTo>
                    <a:cubicBezTo>
                      <a:pt x="92" y="110"/>
                      <a:pt x="92" y="109"/>
                      <a:pt x="92" y="109"/>
                    </a:cubicBezTo>
                    <a:cubicBezTo>
                      <a:pt x="92" y="108"/>
                      <a:pt x="91" y="108"/>
                      <a:pt x="91" y="108"/>
                    </a:cubicBezTo>
                    <a:cubicBezTo>
                      <a:pt x="90" y="107"/>
                      <a:pt x="90" y="106"/>
                      <a:pt x="90" y="106"/>
                    </a:cubicBezTo>
                    <a:cubicBezTo>
                      <a:pt x="90" y="105"/>
                      <a:pt x="90" y="105"/>
                      <a:pt x="89" y="105"/>
                    </a:cubicBezTo>
                    <a:cubicBezTo>
                      <a:pt x="89" y="104"/>
                      <a:pt x="88" y="105"/>
                      <a:pt x="88" y="104"/>
                    </a:cubicBezTo>
                    <a:cubicBezTo>
                      <a:pt x="87" y="104"/>
                      <a:pt x="87" y="104"/>
                      <a:pt x="86" y="104"/>
                    </a:cubicBezTo>
                    <a:cubicBezTo>
                      <a:pt x="84" y="104"/>
                      <a:pt x="83" y="104"/>
                      <a:pt x="81" y="104"/>
                    </a:cubicBezTo>
                    <a:cubicBezTo>
                      <a:pt x="81" y="103"/>
                      <a:pt x="82" y="103"/>
                      <a:pt x="82" y="103"/>
                    </a:cubicBezTo>
                    <a:cubicBezTo>
                      <a:pt x="82" y="102"/>
                      <a:pt x="82" y="102"/>
                      <a:pt x="82" y="102"/>
                    </a:cubicBezTo>
                    <a:cubicBezTo>
                      <a:pt x="82" y="102"/>
                      <a:pt x="83" y="102"/>
                      <a:pt x="83" y="102"/>
                    </a:cubicBezTo>
                    <a:cubicBezTo>
                      <a:pt x="83" y="101"/>
                      <a:pt x="83" y="101"/>
                      <a:pt x="83" y="101"/>
                    </a:cubicBezTo>
                    <a:cubicBezTo>
                      <a:pt x="83" y="101"/>
                      <a:pt x="83" y="101"/>
                      <a:pt x="83" y="101"/>
                    </a:cubicBezTo>
                    <a:cubicBezTo>
                      <a:pt x="84" y="100"/>
                      <a:pt x="82" y="98"/>
                      <a:pt x="82" y="97"/>
                    </a:cubicBezTo>
                    <a:cubicBezTo>
                      <a:pt x="81" y="96"/>
                      <a:pt x="81" y="96"/>
                      <a:pt x="80" y="96"/>
                    </a:cubicBezTo>
                    <a:cubicBezTo>
                      <a:pt x="79" y="95"/>
                      <a:pt x="79" y="94"/>
                      <a:pt x="79" y="94"/>
                    </a:cubicBezTo>
                    <a:cubicBezTo>
                      <a:pt x="79" y="93"/>
                      <a:pt x="78" y="93"/>
                      <a:pt x="78" y="93"/>
                    </a:cubicBezTo>
                    <a:cubicBezTo>
                      <a:pt x="77" y="92"/>
                      <a:pt x="77" y="91"/>
                      <a:pt x="77" y="90"/>
                    </a:cubicBezTo>
                    <a:cubicBezTo>
                      <a:pt x="77" y="90"/>
                      <a:pt x="76" y="89"/>
                      <a:pt x="76" y="88"/>
                    </a:cubicBezTo>
                    <a:cubicBezTo>
                      <a:pt x="75" y="88"/>
                      <a:pt x="75" y="88"/>
                      <a:pt x="75" y="87"/>
                    </a:cubicBezTo>
                    <a:cubicBezTo>
                      <a:pt x="74" y="87"/>
                      <a:pt x="75" y="87"/>
                      <a:pt x="75" y="87"/>
                    </a:cubicBezTo>
                    <a:cubicBezTo>
                      <a:pt x="76" y="86"/>
                      <a:pt x="75" y="86"/>
                      <a:pt x="75" y="85"/>
                    </a:cubicBezTo>
                    <a:cubicBezTo>
                      <a:pt x="74" y="85"/>
                      <a:pt x="73" y="84"/>
                      <a:pt x="72" y="83"/>
                    </a:cubicBezTo>
                    <a:cubicBezTo>
                      <a:pt x="72" y="83"/>
                      <a:pt x="72" y="83"/>
                      <a:pt x="72" y="83"/>
                    </a:cubicBezTo>
                    <a:cubicBezTo>
                      <a:pt x="73" y="83"/>
                      <a:pt x="73" y="83"/>
                      <a:pt x="73" y="82"/>
                    </a:cubicBezTo>
                    <a:cubicBezTo>
                      <a:pt x="73" y="82"/>
                      <a:pt x="72" y="81"/>
                      <a:pt x="73" y="81"/>
                    </a:cubicBezTo>
                    <a:cubicBezTo>
                      <a:pt x="73" y="81"/>
                      <a:pt x="73" y="81"/>
                      <a:pt x="74" y="81"/>
                    </a:cubicBezTo>
                    <a:cubicBezTo>
                      <a:pt x="74" y="81"/>
                      <a:pt x="74" y="81"/>
                      <a:pt x="75" y="81"/>
                    </a:cubicBezTo>
                    <a:cubicBezTo>
                      <a:pt x="76" y="81"/>
                      <a:pt x="74" y="79"/>
                      <a:pt x="74" y="79"/>
                    </a:cubicBezTo>
                    <a:cubicBezTo>
                      <a:pt x="74" y="78"/>
                      <a:pt x="74" y="77"/>
                      <a:pt x="74" y="76"/>
                    </a:cubicBezTo>
                    <a:cubicBezTo>
                      <a:pt x="74" y="76"/>
                      <a:pt x="75" y="75"/>
                      <a:pt x="75" y="75"/>
                    </a:cubicBezTo>
                    <a:cubicBezTo>
                      <a:pt x="76" y="74"/>
                      <a:pt x="77" y="73"/>
                      <a:pt x="78" y="73"/>
                    </a:cubicBezTo>
                    <a:cubicBezTo>
                      <a:pt x="79" y="72"/>
                      <a:pt x="79" y="73"/>
                      <a:pt x="80" y="72"/>
                    </a:cubicBezTo>
                    <a:cubicBezTo>
                      <a:pt x="80" y="72"/>
                      <a:pt x="80" y="71"/>
                      <a:pt x="80" y="70"/>
                    </a:cubicBezTo>
                    <a:cubicBezTo>
                      <a:pt x="80" y="70"/>
                      <a:pt x="80" y="69"/>
                      <a:pt x="80" y="68"/>
                    </a:cubicBezTo>
                    <a:cubicBezTo>
                      <a:pt x="79" y="68"/>
                      <a:pt x="79" y="68"/>
                      <a:pt x="79" y="67"/>
                    </a:cubicBezTo>
                    <a:cubicBezTo>
                      <a:pt x="79" y="66"/>
                      <a:pt x="80" y="65"/>
                      <a:pt x="81" y="64"/>
                    </a:cubicBezTo>
                    <a:cubicBezTo>
                      <a:pt x="81" y="63"/>
                      <a:pt x="82" y="62"/>
                      <a:pt x="82" y="62"/>
                    </a:cubicBezTo>
                    <a:cubicBezTo>
                      <a:pt x="82" y="61"/>
                      <a:pt x="81" y="61"/>
                      <a:pt x="82" y="60"/>
                    </a:cubicBezTo>
                    <a:cubicBezTo>
                      <a:pt x="82" y="59"/>
                      <a:pt x="82" y="59"/>
                      <a:pt x="82" y="58"/>
                    </a:cubicBezTo>
                    <a:cubicBezTo>
                      <a:pt x="82" y="58"/>
                      <a:pt x="82" y="57"/>
                      <a:pt x="82" y="57"/>
                    </a:cubicBezTo>
                    <a:cubicBezTo>
                      <a:pt x="82" y="57"/>
                      <a:pt x="82" y="57"/>
                      <a:pt x="82" y="56"/>
                    </a:cubicBezTo>
                    <a:cubicBezTo>
                      <a:pt x="83" y="56"/>
                      <a:pt x="83" y="56"/>
                      <a:pt x="84" y="56"/>
                    </a:cubicBezTo>
                    <a:cubicBezTo>
                      <a:pt x="85" y="56"/>
                      <a:pt x="84" y="55"/>
                      <a:pt x="85" y="55"/>
                    </a:cubicBezTo>
                    <a:cubicBezTo>
                      <a:pt x="85" y="55"/>
                      <a:pt x="86" y="55"/>
                      <a:pt x="86" y="54"/>
                    </a:cubicBezTo>
                    <a:cubicBezTo>
                      <a:pt x="87" y="54"/>
                      <a:pt x="87" y="53"/>
                      <a:pt x="87" y="53"/>
                    </a:cubicBezTo>
                    <a:cubicBezTo>
                      <a:pt x="88" y="53"/>
                      <a:pt x="88" y="53"/>
                      <a:pt x="89" y="52"/>
                    </a:cubicBezTo>
                    <a:cubicBezTo>
                      <a:pt x="89" y="52"/>
                      <a:pt x="89" y="51"/>
                      <a:pt x="90" y="51"/>
                    </a:cubicBezTo>
                    <a:cubicBezTo>
                      <a:pt x="90" y="51"/>
                      <a:pt x="90" y="51"/>
                      <a:pt x="91" y="51"/>
                    </a:cubicBezTo>
                    <a:cubicBezTo>
                      <a:pt x="91" y="50"/>
                      <a:pt x="91" y="50"/>
                      <a:pt x="91" y="50"/>
                    </a:cubicBezTo>
                    <a:cubicBezTo>
                      <a:pt x="92" y="50"/>
                      <a:pt x="93" y="49"/>
                      <a:pt x="94" y="50"/>
                    </a:cubicBezTo>
                    <a:cubicBezTo>
                      <a:pt x="94" y="50"/>
                      <a:pt x="96" y="49"/>
                      <a:pt x="96" y="49"/>
                    </a:cubicBezTo>
                    <a:cubicBezTo>
                      <a:pt x="97" y="49"/>
                      <a:pt x="97" y="48"/>
                      <a:pt x="98" y="48"/>
                    </a:cubicBezTo>
                    <a:cubicBezTo>
                      <a:pt x="98" y="48"/>
                      <a:pt x="98" y="49"/>
                      <a:pt x="98" y="48"/>
                    </a:cubicBezTo>
                    <a:cubicBezTo>
                      <a:pt x="99" y="48"/>
                      <a:pt x="99" y="49"/>
                      <a:pt x="99" y="48"/>
                    </a:cubicBezTo>
                    <a:cubicBezTo>
                      <a:pt x="99" y="48"/>
                      <a:pt x="100" y="49"/>
                      <a:pt x="100" y="48"/>
                    </a:cubicBezTo>
                    <a:cubicBezTo>
                      <a:pt x="100" y="49"/>
                      <a:pt x="101" y="47"/>
                      <a:pt x="101" y="47"/>
                    </a:cubicBezTo>
                    <a:cubicBezTo>
                      <a:pt x="102" y="47"/>
                      <a:pt x="102" y="46"/>
                      <a:pt x="102" y="46"/>
                    </a:cubicBezTo>
                    <a:cubicBezTo>
                      <a:pt x="103" y="46"/>
                      <a:pt x="103" y="46"/>
                      <a:pt x="103" y="46"/>
                    </a:cubicBezTo>
                    <a:cubicBezTo>
                      <a:pt x="104" y="46"/>
                      <a:pt x="104" y="46"/>
                      <a:pt x="104" y="46"/>
                    </a:cubicBezTo>
                    <a:cubicBezTo>
                      <a:pt x="104" y="46"/>
                      <a:pt x="104" y="46"/>
                      <a:pt x="105" y="46"/>
                    </a:cubicBezTo>
                    <a:cubicBezTo>
                      <a:pt x="105" y="46"/>
                      <a:pt x="105" y="46"/>
                      <a:pt x="105" y="46"/>
                    </a:cubicBezTo>
                    <a:cubicBezTo>
                      <a:pt x="106" y="46"/>
                      <a:pt x="106" y="46"/>
                      <a:pt x="106" y="46"/>
                    </a:cubicBezTo>
                    <a:cubicBezTo>
                      <a:pt x="107" y="45"/>
                      <a:pt x="107" y="47"/>
                      <a:pt x="107" y="47"/>
                    </a:cubicBezTo>
                    <a:cubicBezTo>
                      <a:pt x="107" y="48"/>
                      <a:pt x="108" y="48"/>
                      <a:pt x="108" y="47"/>
                    </a:cubicBezTo>
                    <a:cubicBezTo>
                      <a:pt x="109" y="46"/>
                      <a:pt x="109" y="49"/>
                      <a:pt x="110" y="48"/>
                    </a:cubicBezTo>
                    <a:cubicBezTo>
                      <a:pt x="111" y="47"/>
                      <a:pt x="110" y="46"/>
                      <a:pt x="109" y="46"/>
                    </a:cubicBezTo>
                    <a:cubicBezTo>
                      <a:pt x="108" y="45"/>
                      <a:pt x="108" y="44"/>
                      <a:pt x="108" y="44"/>
                    </a:cubicBezTo>
                    <a:cubicBezTo>
                      <a:pt x="107" y="43"/>
                      <a:pt x="107" y="41"/>
                      <a:pt x="106" y="42"/>
                    </a:cubicBezTo>
                    <a:cubicBezTo>
                      <a:pt x="105" y="42"/>
                      <a:pt x="104" y="43"/>
                      <a:pt x="103" y="42"/>
                    </a:cubicBezTo>
                    <a:cubicBezTo>
                      <a:pt x="103" y="41"/>
                      <a:pt x="104" y="39"/>
                      <a:pt x="105" y="38"/>
                    </a:cubicBezTo>
                    <a:cubicBezTo>
                      <a:pt x="105" y="37"/>
                      <a:pt x="106" y="35"/>
                      <a:pt x="107" y="34"/>
                    </a:cubicBezTo>
                    <a:cubicBezTo>
                      <a:pt x="107" y="33"/>
                      <a:pt x="109" y="31"/>
                      <a:pt x="109" y="30"/>
                    </a:cubicBezTo>
                    <a:cubicBezTo>
                      <a:pt x="109" y="29"/>
                      <a:pt x="108" y="30"/>
                      <a:pt x="108" y="30"/>
                    </a:cubicBezTo>
                    <a:cubicBezTo>
                      <a:pt x="108" y="30"/>
                      <a:pt x="107" y="29"/>
                      <a:pt x="107" y="29"/>
                    </a:cubicBezTo>
                    <a:cubicBezTo>
                      <a:pt x="107" y="28"/>
                      <a:pt x="107" y="28"/>
                      <a:pt x="106" y="29"/>
                    </a:cubicBezTo>
                    <a:cubicBezTo>
                      <a:pt x="106" y="29"/>
                      <a:pt x="106" y="29"/>
                      <a:pt x="106" y="28"/>
                    </a:cubicBezTo>
                    <a:cubicBezTo>
                      <a:pt x="106" y="28"/>
                      <a:pt x="106" y="28"/>
                      <a:pt x="106" y="28"/>
                    </a:cubicBezTo>
                    <a:cubicBezTo>
                      <a:pt x="106" y="28"/>
                      <a:pt x="106" y="28"/>
                      <a:pt x="105" y="28"/>
                    </a:cubicBezTo>
                    <a:cubicBezTo>
                      <a:pt x="105" y="28"/>
                      <a:pt x="104" y="27"/>
                      <a:pt x="104" y="27"/>
                    </a:cubicBezTo>
                    <a:cubicBezTo>
                      <a:pt x="104" y="27"/>
                      <a:pt x="104" y="27"/>
                      <a:pt x="104" y="28"/>
                    </a:cubicBezTo>
                    <a:cubicBezTo>
                      <a:pt x="104" y="28"/>
                      <a:pt x="102" y="26"/>
                      <a:pt x="102" y="26"/>
                    </a:cubicBezTo>
                    <a:cubicBezTo>
                      <a:pt x="102" y="26"/>
                      <a:pt x="101" y="25"/>
                      <a:pt x="101" y="25"/>
                    </a:cubicBezTo>
                    <a:cubicBezTo>
                      <a:pt x="101" y="25"/>
                      <a:pt x="101" y="25"/>
                      <a:pt x="101" y="25"/>
                    </a:cubicBezTo>
                    <a:cubicBezTo>
                      <a:pt x="101" y="25"/>
                      <a:pt x="100" y="25"/>
                      <a:pt x="100" y="25"/>
                    </a:cubicBezTo>
                    <a:cubicBezTo>
                      <a:pt x="100" y="25"/>
                      <a:pt x="100" y="25"/>
                      <a:pt x="100" y="25"/>
                    </a:cubicBezTo>
                    <a:cubicBezTo>
                      <a:pt x="99" y="25"/>
                      <a:pt x="100" y="25"/>
                      <a:pt x="99" y="26"/>
                    </a:cubicBezTo>
                    <a:cubicBezTo>
                      <a:pt x="99" y="26"/>
                      <a:pt x="99" y="25"/>
                      <a:pt x="99" y="26"/>
                    </a:cubicBezTo>
                    <a:cubicBezTo>
                      <a:pt x="98" y="26"/>
                      <a:pt x="97" y="27"/>
                      <a:pt x="97" y="26"/>
                    </a:cubicBezTo>
                    <a:cubicBezTo>
                      <a:pt x="97" y="26"/>
                      <a:pt x="96" y="26"/>
                      <a:pt x="96" y="26"/>
                    </a:cubicBezTo>
                    <a:cubicBezTo>
                      <a:pt x="96" y="26"/>
                      <a:pt x="96" y="26"/>
                      <a:pt x="96" y="26"/>
                    </a:cubicBezTo>
                    <a:cubicBezTo>
                      <a:pt x="95" y="25"/>
                      <a:pt x="95" y="26"/>
                      <a:pt x="95" y="26"/>
                    </a:cubicBezTo>
                    <a:cubicBezTo>
                      <a:pt x="95" y="26"/>
                      <a:pt x="95" y="25"/>
                      <a:pt x="94" y="25"/>
                    </a:cubicBezTo>
                    <a:cubicBezTo>
                      <a:pt x="94" y="25"/>
                      <a:pt x="93" y="25"/>
                      <a:pt x="93" y="25"/>
                    </a:cubicBezTo>
                    <a:cubicBezTo>
                      <a:pt x="93" y="25"/>
                      <a:pt x="93" y="24"/>
                      <a:pt x="93" y="24"/>
                    </a:cubicBezTo>
                    <a:cubicBezTo>
                      <a:pt x="92" y="24"/>
                      <a:pt x="91" y="26"/>
                      <a:pt x="91" y="26"/>
                    </a:cubicBezTo>
                    <a:cubicBezTo>
                      <a:pt x="91" y="26"/>
                      <a:pt x="91" y="27"/>
                      <a:pt x="90" y="26"/>
                    </a:cubicBezTo>
                    <a:cubicBezTo>
                      <a:pt x="90" y="26"/>
                      <a:pt x="90" y="26"/>
                      <a:pt x="89" y="26"/>
                    </a:cubicBezTo>
                    <a:cubicBezTo>
                      <a:pt x="89" y="27"/>
                      <a:pt x="89" y="27"/>
                      <a:pt x="89" y="27"/>
                    </a:cubicBezTo>
                    <a:cubicBezTo>
                      <a:pt x="88" y="27"/>
                      <a:pt x="88" y="27"/>
                      <a:pt x="88" y="27"/>
                    </a:cubicBezTo>
                    <a:cubicBezTo>
                      <a:pt x="88" y="28"/>
                      <a:pt x="87" y="28"/>
                      <a:pt x="87" y="28"/>
                    </a:cubicBezTo>
                    <a:cubicBezTo>
                      <a:pt x="86" y="27"/>
                      <a:pt x="86" y="27"/>
                      <a:pt x="86" y="27"/>
                    </a:cubicBezTo>
                    <a:cubicBezTo>
                      <a:pt x="85" y="27"/>
                      <a:pt x="85" y="27"/>
                      <a:pt x="84" y="27"/>
                    </a:cubicBezTo>
                    <a:cubicBezTo>
                      <a:pt x="84" y="27"/>
                      <a:pt x="84" y="27"/>
                      <a:pt x="84" y="28"/>
                    </a:cubicBezTo>
                    <a:cubicBezTo>
                      <a:pt x="83" y="28"/>
                      <a:pt x="83" y="27"/>
                      <a:pt x="83" y="27"/>
                    </a:cubicBezTo>
                    <a:cubicBezTo>
                      <a:pt x="83" y="27"/>
                      <a:pt x="83" y="27"/>
                      <a:pt x="82" y="27"/>
                    </a:cubicBezTo>
                    <a:cubicBezTo>
                      <a:pt x="82" y="27"/>
                      <a:pt x="82" y="28"/>
                      <a:pt x="82" y="28"/>
                    </a:cubicBezTo>
                    <a:cubicBezTo>
                      <a:pt x="81" y="28"/>
                      <a:pt x="81" y="27"/>
                      <a:pt x="81" y="27"/>
                    </a:cubicBezTo>
                    <a:cubicBezTo>
                      <a:pt x="80" y="26"/>
                      <a:pt x="80" y="27"/>
                      <a:pt x="80" y="27"/>
                    </a:cubicBezTo>
                    <a:cubicBezTo>
                      <a:pt x="80" y="26"/>
                      <a:pt x="79" y="26"/>
                      <a:pt x="79" y="26"/>
                    </a:cubicBezTo>
                    <a:cubicBezTo>
                      <a:pt x="79" y="26"/>
                      <a:pt x="79" y="25"/>
                      <a:pt x="79" y="25"/>
                    </a:cubicBezTo>
                    <a:cubicBezTo>
                      <a:pt x="79" y="25"/>
                      <a:pt x="79" y="25"/>
                      <a:pt x="79" y="24"/>
                    </a:cubicBezTo>
                    <a:cubicBezTo>
                      <a:pt x="80" y="24"/>
                      <a:pt x="79" y="23"/>
                      <a:pt x="79" y="22"/>
                    </a:cubicBezTo>
                    <a:cubicBezTo>
                      <a:pt x="79" y="22"/>
                      <a:pt x="79" y="20"/>
                      <a:pt x="78" y="20"/>
                    </a:cubicBezTo>
                    <a:cubicBezTo>
                      <a:pt x="78" y="20"/>
                      <a:pt x="78" y="20"/>
                      <a:pt x="77" y="20"/>
                    </a:cubicBezTo>
                    <a:cubicBezTo>
                      <a:pt x="77" y="20"/>
                      <a:pt x="77" y="21"/>
                      <a:pt x="77" y="21"/>
                    </a:cubicBezTo>
                    <a:cubicBezTo>
                      <a:pt x="77" y="21"/>
                      <a:pt x="76" y="20"/>
                      <a:pt x="76" y="20"/>
                    </a:cubicBezTo>
                    <a:cubicBezTo>
                      <a:pt x="76" y="20"/>
                      <a:pt x="75" y="20"/>
                      <a:pt x="75" y="19"/>
                    </a:cubicBezTo>
                    <a:cubicBezTo>
                      <a:pt x="75" y="19"/>
                      <a:pt x="76" y="18"/>
                      <a:pt x="75" y="17"/>
                    </a:cubicBezTo>
                    <a:cubicBezTo>
                      <a:pt x="75" y="17"/>
                      <a:pt x="75" y="16"/>
                      <a:pt x="74" y="16"/>
                    </a:cubicBezTo>
                    <a:cubicBezTo>
                      <a:pt x="74" y="15"/>
                      <a:pt x="74" y="15"/>
                      <a:pt x="73" y="14"/>
                    </a:cubicBezTo>
                    <a:cubicBezTo>
                      <a:pt x="73" y="14"/>
                      <a:pt x="73" y="14"/>
                      <a:pt x="73" y="14"/>
                    </a:cubicBezTo>
                    <a:cubicBezTo>
                      <a:pt x="72" y="15"/>
                      <a:pt x="72" y="14"/>
                      <a:pt x="72" y="14"/>
                    </a:cubicBezTo>
                    <a:cubicBezTo>
                      <a:pt x="71" y="14"/>
                      <a:pt x="72" y="13"/>
                      <a:pt x="71" y="13"/>
                    </a:cubicBezTo>
                    <a:cubicBezTo>
                      <a:pt x="71" y="13"/>
                      <a:pt x="71" y="13"/>
                      <a:pt x="71" y="13"/>
                    </a:cubicBezTo>
                    <a:cubicBezTo>
                      <a:pt x="70" y="13"/>
                      <a:pt x="70" y="12"/>
                      <a:pt x="70" y="12"/>
                    </a:cubicBezTo>
                    <a:cubicBezTo>
                      <a:pt x="70" y="12"/>
                      <a:pt x="68" y="12"/>
                      <a:pt x="68" y="11"/>
                    </a:cubicBezTo>
                    <a:cubicBezTo>
                      <a:pt x="68" y="11"/>
                      <a:pt x="67" y="10"/>
                      <a:pt x="67" y="10"/>
                    </a:cubicBezTo>
                    <a:cubicBezTo>
                      <a:pt x="68" y="10"/>
                      <a:pt x="67" y="9"/>
                      <a:pt x="67" y="9"/>
                    </a:cubicBezTo>
                    <a:cubicBezTo>
                      <a:pt x="66" y="9"/>
                      <a:pt x="67" y="8"/>
                      <a:pt x="66" y="7"/>
                    </a:cubicBezTo>
                    <a:cubicBezTo>
                      <a:pt x="66" y="6"/>
                      <a:pt x="66" y="6"/>
                      <a:pt x="65" y="6"/>
                    </a:cubicBezTo>
                    <a:cubicBezTo>
                      <a:pt x="65" y="5"/>
                      <a:pt x="65" y="5"/>
                      <a:pt x="64" y="5"/>
                    </a:cubicBezTo>
                    <a:cubicBezTo>
                      <a:pt x="64" y="5"/>
                      <a:pt x="64" y="4"/>
                      <a:pt x="63" y="4"/>
                    </a:cubicBezTo>
                    <a:cubicBezTo>
                      <a:pt x="63" y="4"/>
                      <a:pt x="63" y="3"/>
                      <a:pt x="63" y="3"/>
                    </a:cubicBezTo>
                    <a:cubicBezTo>
                      <a:pt x="62" y="2"/>
                      <a:pt x="62" y="3"/>
                      <a:pt x="62" y="3"/>
                    </a:cubicBezTo>
                    <a:cubicBezTo>
                      <a:pt x="62" y="3"/>
                      <a:pt x="61" y="2"/>
                      <a:pt x="61" y="2"/>
                    </a:cubicBezTo>
                    <a:cubicBezTo>
                      <a:pt x="60" y="2"/>
                      <a:pt x="60" y="1"/>
                      <a:pt x="60" y="1"/>
                    </a:cubicBezTo>
                    <a:cubicBezTo>
                      <a:pt x="58" y="0"/>
                      <a:pt x="59" y="2"/>
                      <a:pt x="58" y="2"/>
                    </a:cubicBezTo>
                    <a:cubicBezTo>
                      <a:pt x="57" y="2"/>
                      <a:pt x="56" y="2"/>
                      <a:pt x="55" y="2"/>
                    </a:cubicBezTo>
                    <a:cubicBezTo>
                      <a:pt x="54" y="1"/>
                      <a:pt x="54" y="2"/>
                      <a:pt x="55" y="2"/>
                    </a:cubicBezTo>
                    <a:cubicBezTo>
                      <a:pt x="55" y="3"/>
                      <a:pt x="56" y="3"/>
                      <a:pt x="56" y="4"/>
                    </a:cubicBezTo>
                    <a:cubicBezTo>
                      <a:pt x="56" y="5"/>
                      <a:pt x="56" y="5"/>
                      <a:pt x="57" y="5"/>
                    </a:cubicBezTo>
                    <a:cubicBezTo>
                      <a:pt x="58" y="6"/>
                      <a:pt x="58" y="6"/>
                      <a:pt x="58" y="7"/>
                    </a:cubicBezTo>
                    <a:cubicBezTo>
                      <a:pt x="58" y="8"/>
                      <a:pt x="58" y="8"/>
                      <a:pt x="58" y="8"/>
                    </a:cubicBezTo>
                    <a:cubicBezTo>
                      <a:pt x="58" y="9"/>
                      <a:pt x="58" y="9"/>
                      <a:pt x="58" y="9"/>
                    </a:cubicBezTo>
                    <a:cubicBezTo>
                      <a:pt x="58" y="9"/>
                      <a:pt x="58" y="11"/>
                      <a:pt x="58" y="11"/>
                    </a:cubicBezTo>
                    <a:cubicBezTo>
                      <a:pt x="57" y="11"/>
                      <a:pt x="57" y="11"/>
                      <a:pt x="56" y="10"/>
                    </a:cubicBezTo>
                    <a:cubicBezTo>
                      <a:pt x="56" y="13"/>
                      <a:pt x="56" y="15"/>
                      <a:pt x="55" y="17"/>
                    </a:cubicBezTo>
                    <a:cubicBezTo>
                      <a:pt x="54" y="19"/>
                      <a:pt x="52" y="21"/>
                      <a:pt x="51" y="22"/>
                    </a:cubicBezTo>
                    <a:cubicBezTo>
                      <a:pt x="50" y="25"/>
                      <a:pt x="47" y="26"/>
                      <a:pt x="46" y="28"/>
                    </a:cubicBezTo>
                    <a:cubicBezTo>
                      <a:pt x="45" y="29"/>
                      <a:pt x="43" y="29"/>
                      <a:pt x="42" y="30"/>
                    </a:cubicBezTo>
                    <a:cubicBezTo>
                      <a:pt x="41" y="30"/>
                      <a:pt x="40" y="30"/>
                      <a:pt x="39" y="31"/>
                    </a:cubicBezTo>
                    <a:cubicBezTo>
                      <a:pt x="37" y="31"/>
                      <a:pt x="35" y="32"/>
                      <a:pt x="34" y="33"/>
                    </a:cubicBezTo>
                    <a:cubicBezTo>
                      <a:pt x="32" y="33"/>
                      <a:pt x="31" y="35"/>
                      <a:pt x="31" y="36"/>
                    </a:cubicBezTo>
                    <a:cubicBezTo>
                      <a:pt x="30" y="37"/>
                      <a:pt x="30" y="37"/>
                      <a:pt x="30" y="38"/>
                    </a:cubicBezTo>
                    <a:cubicBezTo>
                      <a:pt x="31" y="38"/>
                      <a:pt x="31" y="38"/>
                      <a:pt x="30" y="39"/>
                    </a:cubicBezTo>
                    <a:cubicBezTo>
                      <a:pt x="29" y="39"/>
                      <a:pt x="30" y="38"/>
                      <a:pt x="29" y="38"/>
                    </a:cubicBezTo>
                    <a:cubicBezTo>
                      <a:pt x="29" y="38"/>
                      <a:pt x="29" y="37"/>
                      <a:pt x="28" y="38"/>
                    </a:cubicBezTo>
                    <a:cubicBezTo>
                      <a:pt x="28" y="38"/>
                      <a:pt x="28" y="39"/>
                      <a:pt x="28" y="39"/>
                    </a:cubicBezTo>
                    <a:cubicBezTo>
                      <a:pt x="28" y="40"/>
                      <a:pt x="28" y="40"/>
                      <a:pt x="28" y="41"/>
                    </a:cubicBezTo>
                    <a:cubicBezTo>
                      <a:pt x="28" y="41"/>
                      <a:pt x="28" y="41"/>
                      <a:pt x="28" y="41"/>
                    </a:cubicBezTo>
                    <a:cubicBezTo>
                      <a:pt x="28" y="41"/>
                      <a:pt x="28" y="42"/>
                      <a:pt x="28" y="42"/>
                    </a:cubicBezTo>
                    <a:cubicBezTo>
                      <a:pt x="28" y="42"/>
                      <a:pt x="27" y="42"/>
                      <a:pt x="27" y="43"/>
                    </a:cubicBezTo>
                    <a:cubicBezTo>
                      <a:pt x="27" y="43"/>
                      <a:pt x="27" y="43"/>
                      <a:pt x="27" y="44"/>
                    </a:cubicBezTo>
                    <a:cubicBezTo>
                      <a:pt x="27" y="44"/>
                      <a:pt x="27" y="44"/>
                      <a:pt x="27" y="44"/>
                    </a:cubicBezTo>
                    <a:cubicBezTo>
                      <a:pt x="26" y="44"/>
                      <a:pt x="27" y="45"/>
                      <a:pt x="26" y="45"/>
                    </a:cubicBezTo>
                    <a:cubicBezTo>
                      <a:pt x="26" y="46"/>
                      <a:pt x="26" y="46"/>
                      <a:pt x="26" y="46"/>
                    </a:cubicBezTo>
                    <a:cubicBezTo>
                      <a:pt x="26" y="47"/>
                      <a:pt x="25" y="48"/>
                      <a:pt x="26" y="48"/>
                    </a:cubicBezTo>
                    <a:cubicBezTo>
                      <a:pt x="26" y="49"/>
                      <a:pt x="26" y="50"/>
                      <a:pt x="25" y="51"/>
                    </a:cubicBezTo>
                    <a:cubicBezTo>
                      <a:pt x="24" y="51"/>
                      <a:pt x="24" y="51"/>
                      <a:pt x="24" y="52"/>
                    </a:cubicBezTo>
                    <a:cubicBezTo>
                      <a:pt x="23" y="53"/>
                      <a:pt x="24" y="53"/>
                      <a:pt x="24" y="53"/>
                    </a:cubicBezTo>
                    <a:cubicBezTo>
                      <a:pt x="24" y="54"/>
                      <a:pt x="23" y="54"/>
                      <a:pt x="23" y="54"/>
                    </a:cubicBezTo>
                    <a:cubicBezTo>
                      <a:pt x="23" y="54"/>
                      <a:pt x="23" y="54"/>
                      <a:pt x="23" y="54"/>
                    </a:cubicBezTo>
                    <a:cubicBezTo>
                      <a:pt x="23" y="55"/>
                      <a:pt x="23" y="55"/>
                      <a:pt x="22" y="55"/>
                    </a:cubicBezTo>
                    <a:cubicBezTo>
                      <a:pt x="21" y="55"/>
                      <a:pt x="20" y="55"/>
                      <a:pt x="19" y="54"/>
                    </a:cubicBezTo>
                    <a:cubicBezTo>
                      <a:pt x="18" y="53"/>
                      <a:pt x="17" y="51"/>
                      <a:pt x="18" y="50"/>
                    </a:cubicBezTo>
                    <a:cubicBezTo>
                      <a:pt x="18" y="50"/>
                      <a:pt x="17" y="49"/>
                      <a:pt x="16" y="49"/>
                    </a:cubicBezTo>
                    <a:cubicBezTo>
                      <a:pt x="16" y="49"/>
                      <a:pt x="15" y="50"/>
                      <a:pt x="14" y="49"/>
                    </a:cubicBezTo>
                    <a:cubicBezTo>
                      <a:pt x="14" y="49"/>
                      <a:pt x="14" y="49"/>
                      <a:pt x="13" y="48"/>
                    </a:cubicBezTo>
                    <a:cubicBezTo>
                      <a:pt x="12" y="48"/>
                      <a:pt x="12" y="47"/>
                      <a:pt x="11" y="47"/>
                    </a:cubicBezTo>
                    <a:cubicBezTo>
                      <a:pt x="10" y="47"/>
                      <a:pt x="10" y="50"/>
                      <a:pt x="9" y="49"/>
                    </a:cubicBezTo>
                    <a:cubicBezTo>
                      <a:pt x="7" y="49"/>
                      <a:pt x="10" y="47"/>
                      <a:pt x="9" y="46"/>
                    </a:cubicBezTo>
                    <a:cubicBezTo>
                      <a:pt x="9" y="46"/>
                      <a:pt x="8" y="47"/>
                      <a:pt x="8" y="46"/>
                    </a:cubicBezTo>
                    <a:cubicBezTo>
                      <a:pt x="8" y="46"/>
                      <a:pt x="8" y="45"/>
                      <a:pt x="8" y="45"/>
                    </a:cubicBezTo>
                    <a:cubicBezTo>
                      <a:pt x="8" y="43"/>
                      <a:pt x="9" y="44"/>
                      <a:pt x="10" y="44"/>
                    </a:cubicBezTo>
                    <a:cubicBezTo>
                      <a:pt x="10" y="44"/>
                      <a:pt x="11" y="43"/>
                      <a:pt x="11" y="43"/>
                    </a:cubicBezTo>
                    <a:cubicBezTo>
                      <a:pt x="11" y="42"/>
                      <a:pt x="11" y="42"/>
                      <a:pt x="10" y="41"/>
                    </a:cubicBezTo>
                    <a:cubicBezTo>
                      <a:pt x="10" y="40"/>
                      <a:pt x="10" y="39"/>
                      <a:pt x="10" y="39"/>
                    </a:cubicBezTo>
                    <a:cubicBezTo>
                      <a:pt x="10" y="38"/>
                      <a:pt x="10" y="38"/>
                      <a:pt x="10" y="38"/>
                    </a:cubicBezTo>
                    <a:cubicBezTo>
                      <a:pt x="10" y="38"/>
                      <a:pt x="9" y="38"/>
                      <a:pt x="9" y="37"/>
                    </a:cubicBezTo>
                    <a:cubicBezTo>
                      <a:pt x="9" y="39"/>
                      <a:pt x="8" y="38"/>
                      <a:pt x="7" y="39"/>
                    </a:cubicBezTo>
                    <a:cubicBezTo>
                      <a:pt x="7" y="40"/>
                      <a:pt x="6" y="40"/>
                      <a:pt x="5" y="41"/>
                    </a:cubicBezTo>
                    <a:cubicBezTo>
                      <a:pt x="4" y="42"/>
                      <a:pt x="4" y="43"/>
                      <a:pt x="4" y="43"/>
                    </a:cubicBezTo>
                    <a:cubicBezTo>
                      <a:pt x="3" y="44"/>
                      <a:pt x="3" y="45"/>
                      <a:pt x="2" y="45"/>
                    </a:cubicBezTo>
                    <a:cubicBezTo>
                      <a:pt x="2" y="46"/>
                      <a:pt x="0" y="47"/>
                      <a:pt x="0" y="48"/>
                    </a:cubicBezTo>
                    <a:cubicBezTo>
                      <a:pt x="0" y="49"/>
                      <a:pt x="0" y="49"/>
                      <a:pt x="0" y="50"/>
                    </a:cubicBezTo>
                    <a:cubicBezTo>
                      <a:pt x="0" y="51"/>
                      <a:pt x="0" y="51"/>
                      <a:pt x="0" y="52"/>
                    </a:cubicBezTo>
                    <a:cubicBezTo>
                      <a:pt x="0" y="52"/>
                      <a:pt x="0" y="53"/>
                      <a:pt x="1" y="53"/>
                    </a:cubicBezTo>
                    <a:cubicBezTo>
                      <a:pt x="1" y="54"/>
                      <a:pt x="2" y="54"/>
                      <a:pt x="2" y="55"/>
                    </a:cubicBezTo>
                    <a:cubicBezTo>
                      <a:pt x="3" y="56"/>
                      <a:pt x="2" y="56"/>
                      <a:pt x="2" y="56"/>
                    </a:cubicBezTo>
                    <a:cubicBezTo>
                      <a:pt x="1" y="56"/>
                      <a:pt x="1" y="57"/>
                      <a:pt x="1" y="57"/>
                    </a:cubicBezTo>
                    <a:cubicBezTo>
                      <a:pt x="1" y="58"/>
                      <a:pt x="2" y="58"/>
                      <a:pt x="2" y="59"/>
                    </a:cubicBezTo>
                    <a:cubicBezTo>
                      <a:pt x="3" y="59"/>
                      <a:pt x="4" y="60"/>
                      <a:pt x="4" y="60"/>
                    </a:cubicBezTo>
                    <a:cubicBezTo>
                      <a:pt x="5" y="61"/>
                      <a:pt x="5" y="63"/>
                      <a:pt x="5" y="64"/>
                    </a:cubicBezTo>
                    <a:cubicBezTo>
                      <a:pt x="4" y="66"/>
                      <a:pt x="3" y="64"/>
                      <a:pt x="3" y="64"/>
                    </a:cubicBezTo>
                    <a:cubicBezTo>
                      <a:pt x="2" y="65"/>
                      <a:pt x="1" y="66"/>
                      <a:pt x="2" y="67"/>
                    </a:cubicBezTo>
                    <a:cubicBezTo>
                      <a:pt x="2" y="67"/>
                      <a:pt x="3" y="68"/>
                      <a:pt x="3" y="68"/>
                    </a:cubicBezTo>
                    <a:cubicBezTo>
                      <a:pt x="4" y="68"/>
                      <a:pt x="5" y="69"/>
                      <a:pt x="6" y="69"/>
                    </a:cubicBezTo>
                    <a:cubicBezTo>
                      <a:pt x="7" y="70"/>
                      <a:pt x="9" y="71"/>
                      <a:pt x="10" y="72"/>
                    </a:cubicBezTo>
                    <a:cubicBezTo>
                      <a:pt x="11" y="73"/>
                      <a:pt x="13" y="73"/>
                      <a:pt x="14" y="75"/>
                    </a:cubicBezTo>
                    <a:cubicBezTo>
                      <a:pt x="14" y="75"/>
                      <a:pt x="15" y="76"/>
                      <a:pt x="15" y="77"/>
                    </a:cubicBezTo>
                    <a:cubicBezTo>
                      <a:pt x="16" y="77"/>
                      <a:pt x="16" y="78"/>
                      <a:pt x="17" y="78"/>
                    </a:cubicBezTo>
                    <a:cubicBezTo>
                      <a:pt x="17" y="80"/>
                      <a:pt x="18" y="81"/>
                      <a:pt x="18" y="82"/>
                    </a:cubicBezTo>
                    <a:cubicBezTo>
                      <a:pt x="19" y="83"/>
                      <a:pt x="19" y="84"/>
                      <a:pt x="19" y="85"/>
                    </a:cubicBezTo>
                    <a:cubicBezTo>
                      <a:pt x="20" y="85"/>
                      <a:pt x="20" y="86"/>
                      <a:pt x="20" y="87"/>
                    </a:cubicBezTo>
                    <a:cubicBezTo>
                      <a:pt x="21" y="88"/>
                      <a:pt x="23" y="89"/>
                      <a:pt x="24" y="90"/>
                    </a:cubicBezTo>
                    <a:cubicBezTo>
                      <a:pt x="24" y="90"/>
                      <a:pt x="25" y="91"/>
                      <a:pt x="25" y="92"/>
                    </a:cubicBezTo>
                    <a:cubicBezTo>
                      <a:pt x="25" y="92"/>
                      <a:pt x="25" y="92"/>
                      <a:pt x="25" y="93"/>
                    </a:cubicBezTo>
                    <a:cubicBezTo>
                      <a:pt x="25" y="93"/>
                      <a:pt x="26" y="94"/>
                      <a:pt x="26" y="94"/>
                    </a:cubicBezTo>
                    <a:cubicBezTo>
                      <a:pt x="27" y="95"/>
                      <a:pt x="27" y="96"/>
                      <a:pt x="27" y="96"/>
                    </a:cubicBezTo>
                    <a:cubicBezTo>
                      <a:pt x="27" y="97"/>
                      <a:pt x="28" y="98"/>
                      <a:pt x="28" y="99"/>
                    </a:cubicBezTo>
                    <a:cubicBezTo>
                      <a:pt x="28" y="99"/>
                      <a:pt x="28" y="99"/>
                      <a:pt x="28" y="100"/>
                    </a:cubicBezTo>
                    <a:cubicBezTo>
                      <a:pt x="28" y="100"/>
                      <a:pt x="29" y="100"/>
                      <a:pt x="29" y="101"/>
                    </a:cubicBezTo>
                    <a:cubicBezTo>
                      <a:pt x="29" y="101"/>
                      <a:pt x="29" y="101"/>
                      <a:pt x="29" y="101"/>
                    </a:cubicBezTo>
                    <a:cubicBezTo>
                      <a:pt x="29" y="101"/>
                      <a:pt x="29" y="102"/>
                      <a:pt x="29" y="102"/>
                    </a:cubicBezTo>
                    <a:cubicBezTo>
                      <a:pt x="29" y="101"/>
                      <a:pt x="29" y="101"/>
                      <a:pt x="30" y="101"/>
                    </a:cubicBezTo>
                    <a:cubicBezTo>
                      <a:pt x="30" y="101"/>
                      <a:pt x="29" y="102"/>
                      <a:pt x="30" y="102"/>
                    </a:cubicBezTo>
                    <a:cubicBezTo>
                      <a:pt x="30" y="103"/>
                      <a:pt x="30" y="103"/>
                      <a:pt x="31" y="104"/>
                    </a:cubicBezTo>
                    <a:cubicBezTo>
                      <a:pt x="31" y="105"/>
                      <a:pt x="31" y="105"/>
                      <a:pt x="31" y="106"/>
                    </a:cubicBezTo>
                    <a:cubicBezTo>
                      <a:pt x="32" y="107"/>
                      <a:pt x="32" y="107"/>
                      <a:pt x="32" y="108"/>
                    </a:cubicBezTo>
                    <a:cubicBezTo>
                      <a:pt x="33" y="108"/>
                      <a:pt x="33" y="109"/>
                      <a:pt x="33" y="110"/>
                    </a:cubicBezTo>
                    <a:cubicBezTo>
                      <a:pt x="33" y="110"/>
                      <a:pt x="34" y="111"/>
                      <a:pt x="33" y="111"/>
                    </a:cubicBezTo>
                    <a:cubicBezTo>
                      <a:pt x="33" y="112"/>
                      <a:pt x="34" y="112"/>
                      <a:pt x="34" y="113"/>
                    </a:cubicBezTo>
                    <a:cubicBezTo>
                      <a:pt x="35" y="114"/>
                      <a:pt x="36" y="115"/>
                      <a:pt x="36" y="116"/>
                    </a:cubicBezTo>
                    <a:cubicBezTo>
                      <a:pt x="37" y="118"/>
                      <a:pt x="38" y="119"/>
                      <a:pt x="39" y="120"/>
                    </a:cubicBezTo>
                    <a:cubicBezTo>
                      <a:pt x="39" y="121"/>
                      <a:pt x="39" y="122"/>
                      <a:pt x="39" y="122"/>
                    </a:cubicBezTo>
                    <a:cubicBezTo>
                      <a:pt x="40" y="123"/>
                      <a:pt x="40" y="123"/>
                      <a:pt x="39" y="124"/>
                    </a:cubicBezTo>
                    <a:cubicBezTo>
                      <a:pt x="39" y="124"/>
                      <a:pt x="40" y="125"/>
                      <a:pt x="40" y="125"/>
                    </a:cubicBezTo>
                    <a:cubicBezTo>
                      <a:pt x="41" y="125"/>
                      <a:pt x="41" y="126"/>
                      <a:pt x="42" y="126"/>
                    </a:cubicBezTo>
                    <a:cubicBezTo>
                      <a:pt x="43" y="127"/>
                      <a:pt x="45" y="128"/>
                      <a:pt x="44" y="130"/>
                    </a:cubicBezTo>
                    <a:cubicBezTo>
                      <a:pt x="44" y="130"/>
                      <a:pt x="45" y="131"/>
                      <a:pt x="45" y="132"/>
                    </a:cubicBezTo>
                    <a:cubicBezTo>
                      <a:pt x="45" y="132"/>
                      <a:pt x="45" y="133"/>
                      <a:pt x="45" y="133"/>
                    </a:cubicBezTo>
                    <a:cubicBezTo>
                      <a:pt x="45" y="132"/>
                      <a:pt x="46" y="135"/>
                      <a:pt x="47" y="135"/>
                    </a:cubicBezTo>
                    <a:cubicBezTo>
                      <a:pt x="47" y="135"/>
                      <a:pt x="48" y="135"/>
                      <a:pt x="48" y="136"/>
                    </a:cubicBezTo>
                    <a:cubicBezTo>
                      <a:pt x="49" y="137"/>
                      <a:pt x="49" y="137"/>
                      <a:pt x="49" y="138"/>
                    </a:cubicBezTo>
                    <a:cubicBezTo>
                      <a:pt x="49" y="138"/>
                      <a:pt x="49" y="138"/>
                      <a:pt x="49" y="138"/>
                    </a:cubicBezTo>
                    <a:cubicBezTo>
                      <a:pt x="50" y="139"/>
                      <a:pt x="50" y="139"/>
                      <a:pt x="50" y="139"/>
                    </a:cubicBezTo>
                    <a:cubicBezTo>
                      <a:pt x="50" y="140"/>
                      <a:pt x="51" y="140"/>
                      <a:pt x="51" y="141"/>
                    </a:cubicBezTo>
                    <a:cubicBezTo>
                      <a:pt x="52" y="142"/>
                      <a:pt x="52" y="143"/>
                      <a:pt x="53" y="144"/>
                    </a:cubicBezTo>
                    <a:cubicBezTo>
                      <a:pt x="54" y="145"/>
                      <a:pt x="55" y="147"/>
                      <a:pt x="55" y="148"/>
                    </a:cubicBezTo>
                    <a:cubicBezTo>
                      <a:pt x="56" y="149"/>
                      <a:pt x="55" y="151"/>
                      <a:pt x="55" y="153"/>
                    </a:cubicBezTo>
                    <a:cubicBezTo>
                      <a:pt x="55" y="152"/>
                      <a:pt x="55" y="151"/>
                      <a:pt x="54" y="152"/>
                    </a:cubicBezTo>
                    <a:cubicBezTo>
                      <a:pt x="54" y="152"/>
                      <a:pt x="54" y="153"/>
                      <a:pt x="54" y="153"/>
                    </a:cubicBezTo>
                    <a:cubicBezTo>
                      <a:pt x="55" y="153"/>
                      <a:pt x="55" y="153"/>
                      <a:pt x="55" y="153"/>
                    </a:cubicBezTo>
                    <a:cubicBezTo>
                      <a:pt x="55" y="154"/>
                      <a:pt x="55" y="154"/>
                      <a:pt x="55" y="155"/>
                    </a:cubicBezTo>
                    <a:cubicBezTo>
                      <a:pt x="55" y="155"/>
                      <a:pt x="55" y="156"/>
                      <a:pt x="55" y="156"/>
                    </a:cubicBezTo>
                    <a:cubicBezTo>
                      <a:pt x="55" y="156"/>
                      <a:pt x="56" y="156"/>
                      <a:pt x="56" y="156"/>
                    </a:cubicBezTo>
                    <a:cubicBezTo>
                      <a:pt x="56" y="156"/>
                      <a:pt x="57" y="157"/>
                      <a:pt x="57" y="157"/>
                    </a:cubicBezTo>
                    <a:cubicBezTo>
                      <a:pt x="57" y="157"/>
                      <a:pt x="57" y="157"/>
                      <a:pt x="57" y="158"/>
                    </a:cubicBezTo>
                    <a:cubicBezTo>
                      <a:pt x="57" y="158"/>
                      <a:pt x="58" y="159"/>
                      <a:pt x="58" y="159"/>
                    </a:cubicBezTo>
                    <a:cubicBezTo>
                      <a:pt x="59" y="159"/>
                      <a:pt x="58" y="160"/>
                      <a:pt x="59" y="160"/>
                    </a:cubicBezTo>
                    <a:cubicBezTo>
                      <a:pt x="59" y="161"/>
                      <a:pt x="59" y="161"/>
                      <a:pt x="60" y="162"/>
                    </a:cubicBezTo>
                    <a:cubicBezTo>
                      <a:pt x="60" y="162"/>
                      <a:pt x="61" y="163"/>
                      <a:pt x="61" y="163"/>
                    </a:cubicBezTo>
                    <a:cubicBezTo>
                      <a:pt x="63" y="164"/>
                      <a:pt x="64" y="165"/>
                      <a:pt x="65" y="166"/>
                    </a:cubicBezTo>
                    <a:cubicBezTo>
                      <a:pt x="65" y="167"/>
                      <a:pt x="65" y="167"/>
                      <a:pt x="66" y="167"/>
                    </a:cubicBezTo>
                    <a:cubicBezTo>
                      <a:pt x="66" y="167"/>
                      <a:pt x="67" y="168"/>
                      <a:pt x="67" y="168"/>
                    </a:cubicBezTo>
                    <a:cubicBezTo>
                      <a:pt x="66" y="168"/>
                      <a:pt x="68" y="169"/>
                      <a:pt x="67" y="169"/>
                    </a:cubicBezTo>
                    <a:cubicBezTo>
                      <a:pt x="67" y="169"/>
                      <a:pt x="67" y="169"/>
                      <a:pt x="68" y="170"/>
                    </a:cubicBezTo>
                    <a:cubicBezTo>
                      <a:pt x="68" y="170"/>
                      <a:pt x="69" y="170"/>
                      <a:pt x="70" y="171"/>
                    </a:cubicBezTo>
                    <a:cubicBezTo>
                      <a:pt x="71" y="171"/>
                      <a:pt x="71" y="172"/>
                      <a:pt x="72" y="172"/>
                    </a:cubicBezTo>
                    <a:cubicBezTo>
                      <a:pt x="73" y="172"/>
                      <a:pt x="74" y="173"/>
                      <a:pt x="74" y="173"/>
                    </a:cubicBezTo>
                    <a:cubicBezTo>
                      <a:pt x="75" y="173"/>
                      <a:pt x="75" y="174"/>
                      <a:pt x="76" y="174"/>
                    </a:cubicBezTo>
                    <a:cubicBezTo>
                      <a:pt x="76" y="175"/>
                      <a:pt x="76" y="174"/>
                      <a:pt x="77" y="175"/>
                    </a:cubicBezTo>
                    <a:cubicBezTo>
                      <a:pt x="77" y="175"/>
                      <a:pt x="77" y="175"/>
                      <a:pt x="78" y="175"/>
                    </a:cubicBezTo>
                    <a:cubicBezTo>
                      <a:pt x="78" y="175"/>
                      <a:pt x="78" y="175"/>
                      <a:pt x="79" y="176"/>
                    </a:cubicBezTo>
                    <a:cubicBezTo>
                      <a:pt x="79" y="176"/>
                      <a:pt x="79" y="176"/>
                      <a:pt x="79" y="176"/>
                    </a:cubicBezTo>
                    <a:cubicBezTo>
                      <a:pt x="80" y="177"/>
                      <a:pt x="80" y="177"/>
                      <a:pt x="81" y="178"/>
                    </a:cubicBezTo>
                    <a:cubicBezTo>
                      <a:pt x="81" y="178"/>
                      <a:pt x="82" y="178"/>
                      <a:pt x="83" y="179"/>
                    </a:cubicBezTo>
                    <a:cubicBezTo>
                      <a:pt x="84" y="179"/>
                      <a:pt x="85" y="179"/>
                      <a:pt x="86" y="180"/>
                    </a:cubicBezTo>
                    <a:cubicBezTo>
                      <a:pt x="87" y="181"/>
                      <a:pt x="88" y="181"/>
                      <a:pt x="89" y="181"/>
                    </a:cubicBezTo>
                    <a:cubicBezTo>
                      <a:pt x="89" y="181"/>
                      <a:pt x="90" y="182"/>
                      <a:pt x="91" y="182"/>
                    </a:cubicBezTo>
                    <a:cubicBezTo>
                      <a:pt x="91" y="182"/>
                      <a:pt x="91" y="183"/>
                      <a:pt x="92" y="183"/>
                    </a:cubicBezTo>
                    <a:cubicBezTo>
                      <a:pt x="93" y="183"/>
                      <a:pt x="93" y="183"/>
                      <a:pt x="94" y="184"/>
                    </a:cubicBezTo>
                    <a:cubicBezTo>
                      <a:pt x="95" y="184"/>
                      <a:pt x="96" y="184"/>
                      <a:pt x="96" y="185"/>
                    </a:cubicBezTo>
                    <a:cubicBezTo>
                      <a:pt x="97" y="185"/>
                      <a:pt x="97" y="186"/>
                      <a:pt x="97" y="186"/>
                    </a:cubicBezTo>
                    <a:cubicBezTo>
                      <a:pt x="97" y="186"/>
                      <a:pt x="97" y="186"/>
                      <a:pt x="98" y="186"/>
                    </a:cubicBezTo>
                    <a:cubicBezTo>
                      <a:pt x="98" y="187"/>
                      <a:pt x="99" y="187"/>
                      <a:pt x="99" y="187"/>
                    </a:cubicBezTo>
                    <a:cubicBezTo>
                      <a:pt x="100" y="188"/>
                      <a:pt x="100" y="188"/>
                      <a:pt x="101" y="189"/>
                    </a:cubicBezTo>
                    <a:cubicBezTo>
                      <a:pt x="102" y="189"/>
                      <a:pt x="102" y="189"/>
                      <a:pt x="103" y="190"/>
                    </a:cubicBezTo>
                    <a:cubicBezTo>
                      <a:pt x="104" y="190"/>
                      <a:pt x="105" y="190"/>
                      <a:pt x="105" y="191"/>
                    </a:cubicBezTo>
                    <a:cubicBezTo>
                      <a:pt x="106" y="192"/>
                      <a:pt x="106" y="193"/>
                      <a:pt x="107" y="195"/>
                    </a:cubicBezTo>
                    <a:cubicBezTo>
                      <a:pt x="107" y="195"/>
                      <a:pt x="108" y="195"/>
                      <a:pt x="108" y="196"/>
                    </a:cubicBezTo>
                    <a:cubicBezTo>
                      <a:pt x="109" y="196"/>
                      <a:pt x="109" y="197"/>
                      <a:pt x="110" y="197"/>
                    </a:cubicBezTo>
                    <a:cubicBezTo>
                      <a:pt x="111" y="197"/>
                      <a:pt x="111" y="197"/>
                      <a:pt x="111" y="198"/>
                    </a:cubicBezTo>
                    <a:cubicBezTo>
                      <a:pt x="113" y="199"/>
                      <a:pt x="115" y="200"/>
                      <a:pt x="117" y="202"/>
                    </a:cubicBezTo>
                    <a:cubicBezTo>
                      <a:pt x="117" y="202"/>
                      <a:pt x="118" y="202"/>
                      <a:pt x="118" y="202"/>
                    </a:cubicBezTo>
                    <a:cubicBezTo>
                      <a:pt x="119" y="202"/>
                      <a:pt x="119" y="202"/>
                      <a:pt x="120" y="201"/>
                    </a:cubicBezTo>
                    <a:cubicBezTo>
                      <a:pt x="121" y="201"/>
                      <a:pt x="123" y="199"/>
                      <a:pt x="122" y="197"/>
                    </a:cubicBezTo>
                    <a:cubicBezTo>
                      <a:pt x="122" y="197"/>
                      <a:pt x="121" y="196"/>
                      <a:pt x="121" y="195"/>
                    </a:cubicBezTo>
                    <a:cubicBezTo>
                      <a:pt x="121" y="194"/>
                      <a:pt x="122" y="194"/>
                      <a:pt x="123" y="194"/>
                    </a:cubicBezTo>
                    <a:cubicBezTo>
                      <a:pt x="124" y="193"/>
                      <a:pt x="125" y="191"/>
                      <a:pt x="123" y="190"/>
                    </a:cubicBezTo>
                    <a:cubicBezTo>
                      <a:pt x="123" y="190"/>
                      <a:pt x="123" y="190"/>
                      <a:pt x="123" y="190"/>
                    </a:cubicBezTo>
                    <a:cubicBezTo>
                      <a:pt x="123" y="189"/>
                      <a:pt x="123" y="189"/>
                      <a:pt x="123" y="189"/>
                    </a:cubicBezTo>
                    <a:cubicBezTo>
                      <a:pt x="123" y="189"/>
                      <a:pt x="124" y="188"/>
                      <a:pt x="124" y="188"/>
                    </a:cubicBezTo>
                    <a:cubicBezTo>
                      <a:pt x="125" y="188"/>
                      <a:pt x="125" y="188"/>
                      <a:pt x="125" y="187"/>
                    </a:cubicBezTo>
                    <a:cubicBezTo>
                      <a:pt x="125" y="187"/>
                      <a:pt x="125" y="187"/>
                      <a:pt x="125" y="187"/>
                    </a:cubicBezTo>
                    <a:cubicBezTo>
                      <a:pt x="125" y="186"/>
                      <a:pt x="126" y="186"/>
                      <a:pt x="126" y="185"/>
                    </a:cubicBezTo>
                    <a:cubicBezTo>
                      <a:pt x="127" y="184"/>
                      <a:pt x="127" y="184"/>
                      <a:pt x="128" y="184"/>
                    </a:cubicBezTo>
                    <a:cubicBezTo>
                      <a:pt x="128" y="183"/>
                      <a:pt x="128" y="182"/>
                      <a:pt x="127" y="182"/>
                    </a:cubicBezTo>
                    <a:cubicBezTo>
                      <a:pt x="127" y="181"/>
                      <a:pt x="127" y="181"/>
                      <a:pt x="127" y="18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3" name="Paraguay">
                <a:extLst>
                  <a:ext uri="{FF2B5EF4-FFF2-40B4-BE49-F238E27FC236}">
                    <a16:creationId xmlns:a16="http://schemas.microsoft.com/office/drawing/2014/main" id="{DF7EF2D3-AFB9-461D-9F76-9605DC9CF196}"/>
                  </a:ext>
                </a:extLst>
              </p:cNvPr>
              <p:cNvSpPr>
                <a:spLocks/>
              </p:cNvSpPr>
              <p:nvPr/>
            </p:nvSpPr>
            <p:spPr bwMode="auto">
              <a:xfrm>
                <a:off x="3597170" y="4795154"/>
                <a:ext cx="291109" cy="326395"/>
              </a:xfrm>
              <a:custGeom>
                <a:avLst/>
                <a:gdLst/>
                <a:ahLst/>
                <a:cxnLst>
                  <a:cxn ang="0">
                    <a:pos x="81" y="53"/>
                  </a:cxn>
                  <a:cxn ang="0">
                    <a:pos x="78" y="50"/>
                  </a:cxn>
                  <a:cxn ang="0">
                    <a:pos x="73" y="52"/>
                  </a:cxn>
                  <a:cxn ang="0">
                    <a:pos x="69" y="48"/>
                  </a:cxn>
                  <a:cxn ang="0">
                    <a:pos x="68" y="43"/>
                  </a:cxn>
                  <a:cxn ang="0">
                    <a:pos x="67" y="41"/>
                  </a:cxn>
                  <a:cxn ang="0">
                    <a:pos x="66" y="36"/>
                  </a:cxn>
                  <a:cxn ang="0">
                    <a:pos x="60" y="33"/>
                  </a:cxn>
                  <a:cxn ang="0">
                    <a:pos x="56" y="33"/>
                  </a:cxn>
                  <a:cxn ang="0">
                    <a:pos x="54" y="33"/>
                  </a:cxn>
                  <a:cxn ang="0">
                    <a:pos x="49" y="32"/>
                  </a:cxn>
                  <a:cxn ang="0">
                    <a:pos x="46" y="31"/>
                  </a:cxn>
                  <a:cxn ang="0">
                    <a:pos x="44" y="29"/>
                  </a:cxn>
                  <a:cxn ang="0">
                    <a:pos x="44" y="27"/>
                  </a:cxn>
                  <a:cxn ang="0">
                    <a:pos x="43" y="24"/>
                  </a:cxn>
                  <a:cxn ang="0">
                    <a:pos x="44" y="21"/>
                  </a:cxn>
                  <a:cxn ang="0">
                    <a:pos x="43" y="17"/>
                  </a:cxn>
                  <a:cxn ang="0">
                    <a:pos x="42" y="16"/>
                  </a:cxn>
                  <a:cxn ang="0">
                    <a:pos x="40" y="11"/>
                  </a:cxn>
                  <a:cxn ang="0">
                    <a:pos x="40" y="9"/>
                  </a:cxn>
                  <a:cxn ang="0">
                    <a:pos x="30" y="0"/>
                  </a:cxn>
                  <a:cxn ang="0">
                    <a:pos x="15" y="2"/>
                  </a:cxn>
                  <a:cxn ang="0">
                    <a:pos x="5" y="4"/>
                  </a:cxn>
                  <a:cxn ang="0">
                    <a:pos x="2" y="21"/>
                  </a:cxn>
                  <a:cxn ang="0">
                    <a:pos x="1" y="34"/>
                  </a:cxn>
                  <a:cxn ang="0">
                    <a:pos x="4" y="37"/>
                  </a:cxn>
                  <a:cxn ang="0">
                    <a:pos x="8" y="42"/>
                  </a:cxn>
                  <a:cxn ang="0">
                    <a:pos x="12" y="46"/>
                  </a:cxn>
                  <a:cxn ang="0">
                    <a:pos x="16" y="49"/>
                  </a:cxn>
                  <a:cxn ang="0">
                    <a:pos x="20" y="51"/>
                  </a:cxn>
                  <a:cxn ang="0">
                    <a:pos x="24" y="52"/>
                  </a:cxn>
                  <a:cxn ang="0">
                    <a:pos x="29" y="54"/>
                  </a:cxn>
                  <a:cxn ang="0">
                    <a:pos x="38" y="60"/>
                  </a:cxn>
                  <a:cxn ang="0">
                    <a:pos x="42" y="61"/>
                  </a:cxn>
                  <a:cxn ang="0">
                    <a:pos x="46" y="63"/>
                  </a:cxn>
                  <a:cxn ang="0">
                    <a:pos x="51" y="66"/>
                  </a:cxn>
                  <a:cxn ang="0">
                    <a:pos x="51" y="70"/>
                  </a:cxn>
                  <a:cxn ang="0">
                    <a:pos x="50" y="72"/>
                  </a:cxn>
                  <a:cxn ang="0">
                    <a:pos x="50" y="73"/>
                  </a:cxn>
                  <a:cxn ang="0">
                    <a:pos x="48" y="76"/>
                  </a:cxn>
                  <a:cxn ang="0">
                    <a:pos x="47" y="79"/>
                  </a:cxn>
                  <a:cxn ang="0">
                    <a:pos x="48" y="81"/>
                  </a:cxn>
                  <a:cxn ang="0">
                    <a:pos x="47" y="83"/>
                  </a:cxn>
                  <a:cxn ang="0">
                    <a:pos x="44" y="87"/>
                  </a:cxn>
                  <a:cxn ang="0">
                    <a:pos x="49" y="88"/>
                  </a:cxn>
                  <a:cxn ang="0">
                    <a:pos x="56" y="90"/>
                  </a:cxn>
                  <a:cxn ang="0">
                    <a:pos x="63" y="90"/>
                  </a:cxn>
                  <a:cxn ang="0">
                    <a:pos x="68" y="89"/>
                  </a:cxn>
                  <a:cxn ang="0">
                    <a:pos x="72" y="90"/>
                  </a:cxn>
                  <a:cxn ang="0">
                    <a:pos x="75" y="85"/>
                  </a:cxn>
                  <a:cxn ang="0">
                    <a:pos x="78" y="83"/>
                  </a:cxn>
                  <a:cxn ang="0">
                    <a:pos x="80" y="79"/>
                  </a:cxn>
                  <a:cxn ang="0">
                    <a:pos x="80" y="76"/>
                  </a:cxn>
                  <a:cxn ang="0">
                    <a:pos x="80" y="73"/>
                  </a:cxn>
                  <a:cxn ang="0">
                    <a:pos x="80" y="70"/>
                  </a:cxn>
                  <a:cxn ang="0">
                    <a:pos x="81" y="65"/>
                  </a:cxn>
                  <a:cxn ang="0">
                    <a:pos x="81" y="63"/>
                  </a:cxn>
                  <a:cxn ang="0">
                    <a:pos x="82" y="56"/>
                  </a:cxn>
                </a:cxnLst>
                <a:rect l="0" t="0" r="r" b="b"/>
                <a:pathLst>
                  <a:path w="82" h="92">
                    <a:moveTo>
                      <a:pt x="82" y="56"/>
                    </a:moveTo>
                    <a:cubicBezTo>
                      <a:pt x="82" y="55"/>
                      <a:pt x="81" y="55"/>
                      <a:pt x="81" y="54"/>
                    </a:cubicBezTo>
                    <a:cubicBezTo>
                      <a:pt x="81" y="53"/>
                      <a:pt x="81" y="53"/>
                      <a:pt x="81" y="53"/>
                    </a:cubicBezTo>
                    <a:cubicBezTo>
                      <a:pt x="81" y="52"/>
                      <a:pt x="81" y="52"/>
                      <a:pt x="80" y="52"/>
                    </a:cubicBezTo>
                    <a:cubicBezTo>
                      <a:pt x="80" y="52"/>
                      <a:pt x="80" y="51"/>
                      <a:pt x="80" y="51"/>
                    </a:cubicBezTo>
                    <a:cubicBezTo>
                      <a:pt x="79" y="51"/>
                      <a:pt x="79" y="50"/>
                      <a:pt x="78" y="50"/>
                    </a:cubicBezTo>
                    <a:cubicBezTo>
                      <a:pt x="77" y="50"/>
                      <a:pt x="77" y="50"/>
                      <a:pt x="77" y="50"/>
                    </a:cubicBezTo>
                    <a:cubicBezTo>
                      <a:pt x="76" y="51"/>
                      <a:pt x="76" y="51"/>
                      <a:pt x="75" y="51"/>
                    </a:cubicBezTo>
                    <a:cubicBezTo>
                      <a:pt x="74" y="52"/>
                      <a:pt x="74" y="52"/>
                      <a:pt x="73" y="52"/>
                    </a:cubicBezTo>
                    <a:cubicBezTo>
                      <a:pt x="72" y="52"/>
                      <a:pt x="71" y="52"/>
                      <a:pt x="71" y="52"/>
                    </a:cubicBezTo>
                    <a:cubicBezTo>
                      <a:pt x="70" y="52"/>
                      <a:pt x="70" y="51"/>
                      <a:pt x="70" y="50"/>
                    </a:cubicBezTo>
                    <a:cubicBezTo>
                      <a:pt x="70" y="49"/>
                      <a:pt x="70" y="49"/>
                      <a:pt x="69" y="48"/>
                    </a:cubicBezTo>
                    <a:cubicBezTo>
                      <a:pt x="69" y="48"/>
                      <a:pt x="69" y="47"/>
                      <a:pt x="69" y="46"/>
                    </a:cubicBezTo>
                    <a:cubicBezTo>
                      <a:pt x="68" y="46"/>
                      <a:pt x="69" y="45"/>
                      <a:pt x="68" y="45"/>
                    </a:cubicBezTo>
                    <a:cubicBezTo>
                      <a:pt x="68" y="44"/>
                      <a:pt x="68" y="44"/>
                      <a:pt x="68" y="43"/>
                    </a:cubicBezTo>
                    <a:cubicBezTo>
                      <a:pt x="68" y="43"/>
                      <a:pt x="68" y="43"/>
                      <a:pt x="68" y="43"/>
                    </a:cubicBezTo>
                    <a:cubicBezTo>
                      <a:pt x="67" y="42"/>
                      <a:pt x="68" y="42"/>
                      <a:pt x="68" y="42"/>
                    </a:cubicBezTo>
                    <a:cubicBezTo>
                      <a:pt x="67" y="41"/>
                      <a:pt x="67" y="41"/>
                      <a:pt x="67" y="41"/>
                    </a:cubicBezTo>
                    <a:cubicBezTo>
                      <a:pt x="67" y="41"/>
                      <a:pt x="67" y="40"/>
                      <a:pt x="67" y="40"/>
                    </a:cubicBezTo>
                    <a:cubicBezTo>
                      <a:pt x="67" y="39"/>
                      <a:pt x="67" y="38"/>
                      <a:pt x="67" y="37"/>
                    </a:cubicBezTo>
                    <a:cubicBezTo>
                      <a:pt x="67" y="37"/>
                      <a:pt x="66" y="37"/>
                      <a:pt x="66" y="36"/>
                    </a:cubicBezTo>
                    <a:cubicBezTo>
                      <a:pt x="65" y="36"/>
                      <a:pt x="65" y="34"/>
                      <a:pt x="64" y="33"/>
                    </a:cubicBezTo>
                    <a:cubicBezTo>
                      <a:pt x="63" y="33"/>
                      <a:pt x="63" y="33"/>
                      <a:pt x="62" y="33"/>
                    </a:cubicBezTo>
                    <a:cubicBezTo>
                      <a:pt x="61" y="33"/>
                      <a:pt x="61" y="33"/>
                      <a:pt x="60" y="33"/>
                    </a:cubicBezTo>
                    <a:cubicBezTo>
                      <a:pt x="59" y="32"/>
                      <a:pt x="59" y="32"/>
                      <a:pt x="59" y="31"/>
                    </a:cubicBezTo>
                    <a:cubicBezTo>
                      <a:pt x="59" y="31"/>
                      <a:pt x="58" y="31"/>
                      <a:pt x="58" y="31"/>
                    </a:cubicBezTo>
                    <a:cubicBezTo>
                      <a:pt x="58" y="31"/>
                      <a:pt x="57" y="33"/>
                      <a:pt x="56" y="33"/>
                    </a:cubicBezTo>
                    <a:cubicBezTo>
                      <a:pt x="56" y="32"/>
                      <a:pt x="56" y="33"/>
                      <a:pt x="56" y="33"/>
                    </a:cubicBezTo>
                    <a:cubicBezTo>
                      <a:pt x="55" y="33"/>
                      <a:pt x="55" y="33"/>
                      <a:pt x="55" y="33"/>
                    </a:cubicBezTo>
                    <a:cubicBezTo>
                      <a:pt x="54" y="33"/>
                      <a:pt x="55" y="33"/>
                      <a:pt x="54" y="33"/>
                    </a:cubicBezTo>
                    <a:cubicBezTo>
                      <a:pt x="53" y="33"/>
                      <a:pt x="53" y="33"/>
                      <a:pt x="52" y="33"/>
                    </a:cubicBezTo>
                    <a:cubicBezTo>
                      <a:pt x="52" y="33"/>
                      <a:pt x="52" y="32"/>
                      <a:pt x="51" y="32"/>
                    </a:cubicBezTo>
                    <a:cubicBezTo>
                      <a:pt x="51" y="32"/>
                      <a:pt x="50" y="32"/>
                      <a:pt x="49" y="32"/>
                    </a:cubicBezTo>
                    <a:cubicBezTo>
                      <a:pt x="49" y="32"/>
                      <a:pt x="49" y="32"/>
                      <a:pt x="48" y="32"/>
                    </a:cubicBezTo>
                    <a:cubicBezTo>
                      <a:pt x="48" y="32"/>
                      <a:pt x="48" y="32"/>
                      <a:pt x="47" y="32"/>
                    </a:cubicBezTo>
                    <a:cubicBezTo>
                      <a:pt x="47" y="32"/>
                      <a:pt x="47" y="31"/>
                      <a:pt x="46" y="31"/>
                    </a:cubicBezTo>
                    <a:cubicBezTo>
                      <a:pt x="46" y="31"/>
                      <a:pt x="45" y="32"/>
                      <a:pt x="45" y="31"/>
                    </a:cubicBezTo>
                    <a:cubicBezTo>
                      <a:pt x="45" y="31"/>
                      <a:pt x="44" y="31"/>
                      <a:pt x="44" y="31"/>
                    </a:cubicBezTo>
                    <a:cubicBezTo>
                      <a:pt x="44" y="30"/>
                      <a:pt x="44" y="30"/>
                      <a:pt x="44" y="29"/>
                    </a:cubicBezTo>
                    <a:cubicBezTo>
                      <a:pt x="44" y="29"/>
                      <a:pt x="44" y="29"/>
                      <a:pt x="44" y="28"/>
                    </a:cubicBezTo>
                    <a:cubicBezTo>
                      <a:pt x="44" y="28"/>
                      <a:pt x="44" y="28"/>
                      <a:pt x="44" y="28"/>
                    </a:cubicBezTo>
                    <a:cubicBezTo>
                      <a:pt x="44" y="28"/>
                      <a:pt x="44" y="27"/>
                      <a:pt x="44" y="27"/>
                    </a:cubicBezTo>
                    <a:cubicBezTo>
                      <a:pt x="44" y="27"/>
                      <a:pt x="44" y="27"/>
                      <a:pt x="44" y="27"/>
                    </a:cubicBezTo>
                    <a:cubicBezTo>
                      <a:pt x="44" y="26"/>
                      <a:pt x="43" y="26"/>
                      <a:pt x="44" y="26"/>
                    </a:cubicBezTo>
                    <a:cubicBezTo>
                      <a:pt x="44" y="25"/>
                      <a:pt x="43" y="25"/>
                      <a:pt x="43" y="24"/>
                    </a:cubicBezTo>
                    <a:cubicBezTo>
                      <a:pt x="44" y="24"/>
                      <a:pt x="44" y="24"/>
                      <a:pt x="44" y="23"/>
                    </a:cubicBezTo>
                    <a:cubicBezTo>
                      <a:pt x="44" y="23"/>
                      <a:pt x="44" y="23"/>
                      <a:pt x="44" y="22"/>
                    </a:cubicBezTo>
                    <a:cubicBezTo>
                      <a:pt x="43" y="22"/>
                      <a:pt x="44" y="21"/>
                      <a:pt x="44" y="21"/>
                    </a:cubicBezTo>
                    <a:cubicBezTo>
                      <a:pt x="44" y="20"/>
                      <a:pt x="44" y="20"/>
                      <a:pt x="44" y="19"/>
                    </a:cubicBezTo>
                    <a:cubicBezTo>
                      <a:pt x="44" y="19"/>
                      <a:pt x="44" y="19"/>
                      <a:pt x="44" y="18"/>
                    </a:cubicBezTo>
                    <a:cubicBezTo>
                      <a:pt x="42" y="18"/>
                      <a:pt x="44" y="18"/>
                      <a:pt x="43" y="17"/>
                    </a:cubicBezTo>
                    <a:cubicBezTo>
                      <a:pt x="43" y="17"/>
                      <a:pt x="43" y="17"/>
                      <a:pt x="43" y="17"/>
                    </a:cubicBezTo>
                    <a:cubicBezTo>
                      <a:pt x="43" y="16"/>
                      <a:pt x="43" y="16"/>
                      <a:pt x="43" y="16"/>
                    </a:cubicBezTo>
                    <a:cubicBezTo>
                      <a:pt x="43" y="15"/>
                      <a:pt x="43" y="15"/>
                      <a:pt x="42" y="16"/>
                    </a:cubicBezTo>
                    <a:cubicBezTo>
                      <a:pt x="42" y="16"/>
                      <a:pt x="42" y="14"/>
                      <a:pt x="42" y="13"/>
                    </a:cubicBezTo>
                    <a:cubicBezTo>
                      <a:pt x="42" y="13"/>
                      <a:pt x="41" y="13"/>
                      <a:pt x="41" y="12"/>
                    </a:cubicBezTo>
                    <a:cubicBezTo>
                      <a:pt x="41" y="12"/>
                      <a:pt x="41" y="11"/>
                      <a:pt x="40" y="11"/>
                    </a:cubicBezTo>
                    <a:cubicBezTo>
                      <a:pt x="40" y="11"/>
                      <a:pt x="40" y="11"/>
                      <a:pt x="40" y="11"/>
                    </a:cubicBezTo>
                    <a:cubicBezTo>
                      <a:pt x="40" y="11"/>
                      <a:pt x="40" y="10"/>
                      <a:pt x="40" y="10"/>
                    </a:cubicBezTo>
                    <a:cubicBezTo>
                      <a:pt x="40" y="10"/>
                      <a:pt x="40" y="10"/>
                      <a:pt x="40" y="9"/>
                    </a:cubicBezTo>
                    <a:cubicBezTo>
                      <a:pt x="40" y="8"/>
                      <a:pt x="40" y="7"/>
                      <a:pt x="39" y="6"/>
                    </a:cubicBezTo>
                    <a:cubicBezTo>
                      <a:pt x="39" y="5"/>
                      <a:pt x="37" y="5"/>
                      <a:pt x="37" y="4"/>
                    </a:cubicBezTo>
                    <a:cubicBezTo>
                      <a:pt x="34" y="3"/>
                      <a:pt x="32" y="2"/>
                      <a:pt x="30" y="0"/>
                    </a:cubicBezTo>
                    <a:cubicBezTo>
                      <a:pt x="29" y="0"/>
                      <a:pt x="28" y="0"/>
                      <a:pt x="27" y="0"/>
                    </a:cubicBezTo>
                    <a:cubicBezTo>
                      <a:pt x="25" y="0"/>
                      <a:pt x="22" y="0"/>
                      <a:pt x="19" y="1"/>
                    </a:cubicBezTo>
                    <a:cubicBezTo>
                      <a:pt x="18" y="1"/>
                      <a:pt x="16" y="2"/>
                      <a:pt x="15" y="2"/>
                    </a:cubicBezTo>
                    <a:cubicBezTo>
                      <a:pt x="13" y="3"/>
                      <a:pt x="11" y="3"/>
                      <a:pt x="9" y="3"/>
                    </a:cubicBezTo>
                    <a:cubicBezTo>
                      <a:pt x="9" y="3"/>
                      <a:pt x="8" y="4"/>
                      <a:pt x="7" y="4"/>
                    </a:cubicBezTo>
                    <a:cubicBezTo>
                      <a:pt x="7" y="4"/>
                      <a:pt x="6" y="4"/>
                      <a:pt x="5" y="4"/>
                    </a:cubicBezTo>
                    <a:cubicBezTo>
                      <a:pt x="5" y="5"/>
                      <a:pt x="4" y="7"/>
                      <a:pt x="4" y="8"/>
                    </a:cubicBezTo>
                    <a:cubicBezTo>
                      <a:pt x="3" y="10"/>
                      <a:pt x="1" y="13"/>
                      <a:pt x="1" y="15"/>
                    </a:cubicBezTo>
                    <a:cubicBezTo>
                      <a:pt x="1" y="17"/>
                      <a:pt x="2" y="19"/>
                      <a:pt x="2" y="21"/>
                    </a:cubicBezTo>
                    <a:cubicBezTo>
                      <a:pt x="1" y="23"/>
                      <a:pt x="1" y="24"/>
                      <a:pt x="1" y="26"/>
                    </a:cubicBezTo>
                    <a:cubicBezTo>
                      <a:pt x="0" y="28"/>
                      <a:pt x="0" y="30"/>
                      <a:pt x="0" y="31"/>
                    </a:cubicBezTo>
                    <a:cubicBezTo>
                      <a:pt x="0" y="33"/>
                      <a:pt x="0" y="34"/>
                      <a:pt x="1" y="34"/>
                    </a:cubicBezTo>
                    <a:cubicBezTo>
                      <a:pt x="2" y="34"/>
                      <a:pt x="2" y="35"/>
                      <a:pt x="3" y="35"/>
                    </a:cubicBezTo>
                    <a:cubicBezTo>
                      <a:pt x="3" y="35"/>
                      <a:pt x="4" y="36"/>
                      <a:pt x="4" y="36"/>
                    </a:cubicBezTo>
                    <a:cubicBezTo>
                      <a:pt x="4" y="37"/>
                      <a:pt x="4" y="37"/>
                      <a:pt x="4" y="37"/>
                    </a:cubicBezTo>
                    <a:cubicBezTo>
                      <a:pt x="5" y="38"/>
                      <a:pt x="5" y="38"/>
                      <a:pt x="5" y="39"/>
                    </a:cubicBezTo>
                    <a:cubicBezTo>
                      <a:pt x="6" y="40"/>
                      <a:pt x="6" y="40"/>
                      <a:pt x="7" y="41"/>
                    </a:cubicBezTo>
                    <a:cubicBezTo>
                      <a:pt x="7" y="42"/>
                      <a:pt x="8" y="42"/>
                      <a:pt x="8" y="42"/>
                    </a:cubicBezTo>
                    <a:cubicBezTo>
                      <a:pt x="9" y="43"/>
                      <a:pt x="9" y="43"/>
                      <a:pt x="10" y="44"/>
                    </a:cubicBezTo>
                    <a:cubicBezTo>
                      <a:pt x="10" y="44"/>
                      <a:pt x="10" y="44"/>
                      <a:pt x="11" y="44"/>
                    </a:cubicBezTo>
                    <a:cubicBezTo>
                      <a:pt x="11" y="45"/>
                      <a:pt x="12" y="45"/>
                      <a:pt x="12" y="46"/>
                    </a:cubicBezTo>
                    <a:cubicBezTo>
                      <a:pt x="13" y="46"/>
                      <a:pt x="13" y="46"/>
                      <a:pt x="14" y="46"/>
                    </a:cubicBezTo>
                    <a:cubicBezTo>
                      <a:pt x="14" y="47"/>
                      <a:pt x="15" y="47"/>
                      <a:pt x="15" y="47"/>
                    </a:cubicBezTo>
                    <a:cubicBezTo>
                      <a:pt x="16" y="48"/>
                      <a:pt x="16" y="48"/>
                      <a:pt x="16" y="49"/>
                    </a:cubicBezTo>
                    <a:cubicBezTo>
                      <a:pt x="17" y="49"/>
                      <a:pt x="17" y="50"/>
                      <a:pt x="17" y="50"/>
                    </a:cubicBezTo>
                    <a:cubicBezTo>
                      <a:pt x="18" y="50"/>
                      <a:pt x="18" y="50"/>
                      <a:pt x="18" y="50"/>
                    </a:cubicBezTo>
                    <a:cubicBezTo>
                      <a:pt x="19" y="51"/>
                      <a:pt x="19" y="51"/>
                      <a:pt x="20" y="51"/>
                    </a:cubicBezTo>
                    <a:cubicBezTo>
                      <a:pt x="20" y="51"/>
                      <a:pt x="21" y="51"/>
                      <a:pt x="21" y="51"/>
                    </a:cubicBezTo>
                    <a:cubicBezTo>
                      <a:pt x="21" y="51"/>
                      <a:pt x="21" y="51"/>
                      <a:pt x="22" y="52"/>
                    </a:cubicBezTo>
                    <a:cubicBezTo>
                      <a:pt x="22" y="52"/>
                      <a:pt x="23" y="52"/>
                      <a:pt x="24" y="52"/>
                    </a:cubicBezTo>
                    <a:cubicBezTo>
                      <a:pt x="24" y="53"/>
                      <a:pt x="25" y="52"/>
                      <a:pt x="26" y="52"/>
                    </a:cubicBezTo>
                    <a:cubicBezTo>
                      <a:pt x="27" y="52"/>
                      <a:pt x="27" y="53"/>
                      <a:pt x="28" y="53"/>
                    </a:cubicBezTo>
                    <a:cubicBezTo>
                      <a:pt x="28" y="53"/>
                      <a:pt x="29" y="54"/>
                      <a:pt x="29" y="54"/>
                    </a:cubicBezTo>
                    <a:cubicBezTo>
                      <a:pt x="30" y="54"/>
                      <a:pt x="31" y="55"/>
                      <a:pt x="32" y="56"/>
                    </a:cubicBezTo>
                    <a:cubicBezTo>
                      <a:pt x="33" y="56"/>
                      <a:pt x="34" y="58"/>
                      <a:pt x="36" y="59"/>
                    </a:cubicBezTo>
                    <a:cubicBezTo>
                      <a:pt x="36" y="59"/>
                      <a:pt x="37" y="59"/>
                      <a:pt x="38" y="60"/>
                    </a:cubicBezTo>
                    <a:cubicBezTo>
                      <a:pt x="38" y="60"/>
                      <a:pt x="39" y="61"/>
                      <a:pt x="40" y="61"/>
                    </a:cubicBezTo>
                    <a:cubicBezTo>
                      <a:pt x="40" y="61"/>
                      <a:pt x="40" y="61"/>
                      <a:pt x="41" y="61"/>
                    </a:cubicBezTo>
                    <a:cubicBezTo>
                      <a:pt x="41" y="61"/>
                      <a:pt x="41" y="61"/>
                      <a:pt x="42" y="61"/>
                    </a:cubicBezTo>
                    <a:cubicBezTo>
                      <a:pt x="42" y="61"/>
                      <a:pt x="43" y="62"/>
                      <a:pt x="43" y="62"/>
                    </a:cubicBezTo>
                    <a:cubicBezTo>
                      <a:pt x="43" y="62"/>
                      <a:pt x="44" y="63"/>
                      <a:pt x="44" y="63"/>
                    </a:cubicBezTo>
                    <a:cubicBezTo>
                      <a:pt x="45" y="63"/>
                      <a:pt x="45" y="62"/>
                      <a:pt x="46" y="63"/>
                    </a:cubicBezTo>
                    <a:cubicBezTo>
                      <a:pt x="46" y="63"/>
                      <a:pt x="47" y="64"/>
                      <a:pt x="48" y="64"/>
                    </a:cubicBezTo>
                    <a:cubicBezTo>
                      <a:pt x="49" y="64"/>
                      <a:pt x="49" y="65"/>
                      <a:pt x="50" y="65"/>
                    </a:cubicBezTo>
                    <a:cubicBezTo>
                      <a:pt x="50" y="65"/>
                      <a:pt x="50" y="66"/>
                      <a:pt x="51" y="66"/>
                    </a:cubicBezTo>
                    <a:cubicBezTo>
                      <a:pt x="51" y="67"/>
                      <a:pt x="51" y="67"/>
                      <a:pt x="52" y="68"/>
                    </a:cubicBezTo>
                    <a:cubicBezTo>
                      <a:pt x="52" y="68"/>
                      <a:pt x="52" y="69"/>
                      <a:pt x="52" y="70"/>
                    </a:cubicBezTo>
                    <a:cubicBezTo>
                      <a:pt x="51" y="70"/>
                      <a:pt x="51" y="70"/>
                      <a:pt x="51" y="70"/>
                    </a:cubicBezTo>
                    <a:cubicBezTo>
                      <a:pt x="51" y="70"/>
                      <a:pt x="50" y="70"/>
                      <a:pt x="50" y="71"/>
                    </a:cubicBezTo>
                    <a:cubicBezTo>
                      <a:pt x="50" y="71"/>
                      <a:pt x="51" y="71"/>
                      <a:pt x="50" y="71"/>
                    </a:cubicBezTo>
                    <a:cubicBezTo>
                      <a:pt x="50" y="71"/>
                      <a:pt x="50" y="71"/>
                      <a:pt x="50" y="72"/>
                    </a:cubicBezTo>
                    <a:cubicBezTo>
                      <a:pt x="50" y="72"/>
                      <a:pt x="50" y="72"/>
                      <a:pt x="50" y="72"/>
                    </a:cubicBezTo>
                    <a:cubicBezTo>
                      <a:pt x="50" y="73"/>
                      <a:pt x="49" y="73"/>
                      <a:pt x="50" y="73"/>
                    </a:cubicBezTo>
                    <a:cubicBezTo>
                      <a:pt x="50" y="73"/>
                      <a:pt x="50" y="73"/>
                      <a:pt x="50" y="73"/>
                    </a:cubicBezTo>
                    <a:cubicBezTo>
                      <a:pt x="49" y="74"/>
                      <a:pt x="50" y="74"/>
                      <a:pt x="50" y="74"/>
                    </a:cubicBezTo>
                    <a:cubicBezTo>
                      <a:pt x="49" y="75"/>
                      <a:pt x="49" y="75"/>
                      <a:pt x="48" y="75"/>
                    </a:cubicBezTo>
                    <a:cubicBezTo>
                      <a:pt x="48" y="76"/>
                      <a:pt x="48" y="76"/>
                      <a:pt x="48" y="76"/>
                    </a:cubicBezTo>
                    <a:cubicBezTo>
                      <a:pt x="48" y="76"/>
                      <a:pt x="48" y="76"/>
                      <a:pt x="48" y="77"/>
                    </a:cubicBezTo>
                    <a:cubicBezTo>
                      <a:pt x="48" y="77"/>
                      <a:pt x="47" y="77"/>
                      <a:pt x="48" y="77"/>
                    </a:cubicBezTo>
                    <a:cubicBezTo>
                      <a:pt x="48" y="77"/>
                      <a:pt x="47" y="79"/>
                      <a:pt x="47" y="79"/>
                    </a:cubicBezTo>
                    <a:cubicBezTo>
                      <a:pt x="48" y="79"/>
                      <a:pt x="47" y="79"/>
                      <a:pt x="47" y="80"/>
                    </a:cubicBezTo>
                    <a:cubicBezTo>
                      <a:pt x="47" y="80"/>
                      <a:pt x="48" y="80"/>
                      <a:pt x="48" y="80"/>
                    </a:cubicBezTo>
                    <a:cubicBezTo>
                      <a:pt x="48" y="80"/>
                      <a:pt x="48" y="81"/>
                      <a:pt x="48" y="81"/>
                    </a:cubicBezTo>
                    <a:cubicBezTo>
                      <a:pt x="48" y="81"/>
                      <a:pt x="47" y="81"/>
                      <a:pt x="47" y="82"/>
                    </a:cubicBezTo>
                    <a:cubicBezTo>
                      <a:pt x="47" y="82"/>
                      <a:pt x="48" y="83"/>
                      <a:pt x="47" y="83"/>
                    </a:cubicBezTo>
                    <a:cubicBezTo>
                      <a:pt x="47" y="83"/>
                      <a:pt x="47" y="83"/>
                      <a:pt x="47" y="83"/>
                    </a:cubicBezTo>
                    <a:cubicBezTo>
                      <a:pt x="47" y="84"/>
                      <a:pt x="46" y="84"/>
                      <a:pt x="46" y="84"/>
                    </a:cubicBezTo>
                    <a:cubicBezTo>
                      <a:pt x="46" y="84"/>
                      <a:pt x="46" y="86"/>
                      <a:pt x="45" y="86"/>
                    </a:cubicBezTo>
                    <a:cubicBezTo>
                      <a:pt x="45" y="86"/>
                      <a:pt x="45" y="86"/>
                      <a:pt x="44" y="87"/>
                    </a:cubicBezTo>
                    <a:cubicBezTo>
                      <a:pt x="44" y="87"/>
                      <a:pt x="45" y="87"/>
                      <a:pt x="45" y="87"/>
                    </a:cubicBezTo>
                    <a:cubicBezTo>
                      <a:pt x="45" y="88"/>
                      <a:pt x="45" y="88"/>
                      <a:pt x="45" y="88"/>
                    </a:cubicBezTo>
                    <a:cubicBezTo>
                      <a:pt x="46" y="88"/>
                      <a:pt x="48" y="88"/>
                      <a:pt x="49" y="88"/>
                    </a:cubicBezTo>
                    <a:cubicBezTo>
                      <a:pt x="50" y="88"/>
                      <a:pt x="50" y="88"/>
                      <a:pt x="51" y="88"/>
                    </a:cubicBezTo>
                    <a:cubicBezTo>
                      <a:pt x="52" y="88"/>
                      <a:pt x="53" y="88"/>
                      <a:pt x="53" y="88"/>
                    </a:cubicBezTo>
                    <a:cubicBezTo>
                      <a:pt x="54" y="89"/>
                      <a:pt x="55" y="89"/>
                      <a:pt x="56" y="90"/>
                    </a:cubicBezTo>
                    <a:cubicBezTo>
                      <a:pt x="57" y="90"/>
                      <a:pt x="58" y="90"/>
                      <a:pt x="59" y="90"/>
                    </a:cubicBezTo>
                    <a:cubicBezTo>
                      <a:pt x="60" y="90"/>
                      <a:pt x="60" y="90"/>
                      <a:pt x="61" y="90"/>
                    </a:cubicBezTo>
                    <a:cubicBezTo>
                      <a:pt x="62" y="90"/>
                      <a:pt x="62" y="91"/>
                      <a:pt x="63" y="90"/>
                    </a:cubicBezTo>
                    <a:cubicBezTo>
                      <a:pt x="63" y="90"/>
                      <a:pt x="64" y="90"/>
                      <a:pt x="65" y="90"/>
                    </a:cubicBezTo>
                    <a:cubicBezTo>
                      <a:pt x="66" y="91"/>
                      <a:pt x="66" y="92"/>
                      <a:pt x="67" y="90"/>
                    </a:cubicBezTo>
                    <a:cubicBezTo>
                      <a:pt x="67" y="90"/>
                      <a:pt x="67" y="89"/>
                      <a:pt x="68" y="89"/>
                    </a:cubicBezTo>
                    <a:cubicBezTo>
                      <a:pt x="68" y="89"/>
                      <a:pt x="68" y="88"/>
                      <a:pt x="69" y="88"/>
                    </a:cubicBezTo>
                    <a:cubicBezTo>
                      <a:pt x="70" y="88"/>
                      <a:pt x="70" y="89"/>
                      <a:pt x="71" y="89"/>
                    </a:cubicBezTo>
                    <a:cubicBezTo>
                      <a:pt x="71" y="90"/>
                      <a:pt x="72" y="90"/>
                      <a:pt x="72" y="90"/>
                    </a:cubicBezTo>
                    <a:cubicBezTo>
                      <a:pt x="73" y="89"/>
                      <a:pt x="74" y="88"/>
                      <a:pt x="73" y="87"/>
                    </a:cubicBezTo>
                    <a:cubicBezTo>
                      <a:pt x="73" y="86"/>
                      <a:pt x="74" y="86"/>
                      <a:pt x="74" y="86"/>
                    </a:cubicBezTo>
                    <a:cubicBezTo>
                      <a:pt x="74" y="85"/>
                      <a:pt x="74" y="85"/>
                      <a:pt x="75" y="85"/>
                    </a:cubicBezTo>
                    <a:cubicBezTo>
                      <a:pt x="75" y="84"/>
                      <a:pt x="76" y="84"/>
                      <a:pt x="76" y="84"/>
                    </a:cubicBezTo>
                    <a:cubicBezTo>
                      <a:pt x="77" y="85"/>
                      <a:pt x="77" y="84"/>
                      <a:pt x="77" y="83"/>
                    </a:cubicBezTo>
                    <a:cubicBezTo>
                      <a:pt x="77" y="83"/>
                      <a:pt x="78" y="83"/>
                      <a:pt x="78" y="83"/>
                    </a:cubicBezTo>
                    <a:cubicBezTo>
                      <a:pt x="79" y="82"/>
                      <a:pt x="78" y="82"/>
                      <a:pt x="79" y="81"/>
                    </a:cubicBezTo>
                    <a:cubicBezTo>
                      <a:pt x="79" y="81"/>
                      <a:pt x="80" y="82"/>
                      <a:pt x="80" y="81"/>
                    </a:cubicBezTo>
                    <a:cubicBezTo>
                      <a:pt x="80" y="80"/>
                      <a:pt x="80" y="80"/>
                      <a:pt x="80" y="79"/>
                    </a:cubicBezTo>
                    <a:cubicBezTo>
                      <a:pt x="80" y="79"/>
                      <a:pt x="80" y="79"/>
                      <a:pt x="80" y="79"/>
                    </a:cubicBezTo>
                    <a:cubicBezTo>
                      <a:pt x="81" y="78"/>
                      <a:pt x="81" y="78"/>
                      <a:pt x="81" y="77"/>
                    </a:cubicBezTo>
                    <a:cubicBezTo>
                      <a:pt x="80" y="77"/>
                      <a:pt x="81" y="76"/>
                      <a:pt x="80" y="76"/>
                    </a:cubicBezTo>
                    <a:cubicBezTo>
                      <a:pt x="80" y="75"/>
                      <a:pt x="80" y="74"/>
                      <a:pt x="80" y="74"/>
                    </a:cubicBezTo>
                    <a:cubicBezTo>
                      <a:pt x="80" y="74"/>
                      <a:pt x="80" y="74"/>
                      <a:pt x="81" y="73"/>
                    </a:cubicBezTo>
                    <a:cubicBezTo>
                      <a:pt x="81" y="73"/>
                      <a:pt x="80" y="73"/>
                      <a:pt x="80" y="73"/>
                    </a:cubicBezTo>
                    <a:cubicBezTo>
                      <a:pt x="80" y="72"/>
                      <a:pt x="81" y="72"/>
                      <a:pt x="80" y="72"/>
                    </a:cubicBezTo>
                    <a:cubicBezTo>
                      <a:pt x="80" y="71"/>
                      <a:pt x="80" y="71"/>
                      <a:pt x="80" y="71"/>
                    </a:cubicBezTo>
                    <a:cubicBezTo>
                      <a:pt x="80" y="70"/>
                      <a:pt x="80" y="70"/>
                      <a:pt x="80" y="70"/>
                    </a:cubicBezTo>
                    <a:cubicBezTo>
                      <a:pt x="80" y="70"/>
                      <a:pt x="80" y="69"/>
                      <a:pt x="80" y="68"/>
                    </a:cubicBezTo>
                    <a:cubicBezTo>
                      <a:pt x="80" y="67"/>
                      <a:pt x="80" y="67"/>
                      <a:pt x="81" y="66"/>
                    </a:cubicBezTo>
                    <a:cubicBezTo>
                      <a:pt x="81" y="66"/>
                      <a:pt x="81" y="65"/>
                      <a:pt x="81" y="65"/>
                    </a:cubicBezTo>
                    <a:cubicBezTo>
                      <a:pt x="81" y="65"/>
                      <a:pt x="81" y="65"/>
                      <a:pt x="81" y="65"/>
                    </a:cubicBezTo>
                    <a:cubicBezTo>
                      <a:pt x="81" y="64"/>
                      <a:pt x="81" y="64"/>
                      <a:pt x="81" y="64"/>
                    </a:cubicBezTo>
                    <a:cubicBezTo>
                      <a:pt x="81" y="64"/>
                      <a:pt x="81" y="63"/>
                      <a:pt x="81" y="63"/>
                    </a:cubicBezTo>
                    <a:cubicBezTo>
                      <a:pt x="81" y="62"/>
                      <a:pt x="81" y="61"/>
                      <a:pt x="81" y="60"/>
                    </a:cubicBezTo>
                    <a:cubicBezTo>
                      <a:pt x="81" y="59"/>
                      <a:pt x="81" y="59"/>
                      <a:pt x="81" y="58"/>
                    </a:cubicBezTo>
                    <a:cubicBezTo>
                      <a:pt x="81" y="57"/>
                      <a:pt x="82" y="56"/>
                      <a:pt x="82" y="5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4" name="Papua New Guinea">
                <a:extLst>
                  <a:ext uri="{FF2B5EF4-FFF2-40B4-BE49-F238E27FC236}">
                    <a16:creationId xmlns:a16="http://schemas.microsoft.com/office/drawing/2014/main" id="{C2B1E3E3-BDB5-7237-EAA6-3E7FFEC50981}"/>
                  </a:ext>
                </a:extLst>
              </p:cNvPr>
              <p:cNvSpPr>
                <a:spLocks noEditPoints="1"/>
              </p:cNvSpPr>
              <p:nvPr/>
            </p:nvSpPr>
            <p:spPr bwMode="auto">
              <a:xfrm>
                <a:off x="10523010" y="4086497"/>
                <a:ext cx="520467" cy="411669"/>
              </a:xfrm>
              <a:custGeom>
                <a:avLst/>
                <a:gdLst/>
                <a:ahLst/>
                <a:cxnLst>
                  <a:cxn ang="0">
                    <a:pos x="99" y="83"/>
                  </a:cxn>
                  <a:cxn ang="0">
                    <a:pos x="26" y="80"/>
                  </a:cxn>
                  <a:cxn ang="0">
                    <a:pos x="62" y="12"/>
                  </a:cxn>
                  <a:cxn ang="0">
                    <a:pos x="61" y="10"/>
                  </a:cxn>
                  <a:cxn ang="0">
                    <a:pos x="88" y="92"/>
                  </a:cxn>
                  <a:cxn ang="0">
                    <a:pos x="94" y="92"/>
                  </a:cxn>
                  <a:cxn ang="0">
                    <a:pos x="135" y="46"/>
                  </a:cxn>
                  <a:cxn ang="0">
                    <a:pos x="126" y="113"/>
                  </a:cxn>
                  <a:cxn ang="0">
                    <a:pos x="116" y="30"/>
                  </a:cxn>
                  <a:cxn ang="0">
                    <a:pos x="100" y="16"/>
                  </a:cxn>
                  <a:cxn ang="0">
                    <a:pos x="114" y="28"/>
                  </a:cxn>
                  <a:cxn ang="0">
                    <a:pos x="121" y="36"/>
                  </a:cxn>
                  <a:cxn ang="0">
                    <a:pos x="119" y="116"/>
                  </a:cxn>
                  <a:cxn ang="0">
                    <a:pos x="23" y="7"/>
                  </a:cxn>
                  <a:cxn ang="0">
                    <a:pos x="113" y="36"/>
                  </a:cxn>
                  <a:cxn ang="0">
                    <a:pos x="106" y="35"/>
                  </a:cxn>
                  <a:cxn ang="0">
                    <a:pos x="94" y="49"/>
                  </a:cxn>
                  <a:cxn ang="0">
                    <a:pos x="88" y="49"/>
                  </a:cxn>
                  <a:cxn ang="0">
                    <a:pos x="79" y="49"/>
                  </a:cxn>
                  <a:cxn ang="0">
                    <a:pos x="81" y="55"/>
                  </a:cxn>
                  <a:cxn ang="0">
                    <a:pos x="92" y="57"/>
                  </a:cxn>
                  <a:cxn ang="0">
                    <a:pos x="101" y="54"/>
                  </a:cxn>
                  <a:cxn ang="0">
                    <a:pos x="111" y="48"/>
                  </a:cxn>
                  <a:cxn ang="0">
                    <a:pos x="64" y="47"/>
                  </a:cxn>
                  <a:cxn ang="0">
                    <a:pos x="84" y="94"/>
                  </a:cxn>
                  <a:cxn ang="0">
                    <a:pos x="76" y="88"/>
                  </a:cxn>
                  <a:cxn ang="0">
                    <a:pos x="66" y="74"/>
                  </a:cxn>
                  <a:cxn ang="0">
                    <a:pos x="61" y="67"/>
                  </a:cxn>
                  <a:cxn ang="0">
                    <a:pos x="66" y="55"/>
                  </a:cxn>
                  <a:cxn ang="0">
                    <a:pos x="50" y="49"/>
                  </a:cxn>
                  <a:cxn ang="0">
                    <a:pos x="41" y="33"/>
                  </a:cxn>
                  <a:cxn ang="0">
                    <a:pos x="30" y="27"/>
                  </a:cxn>
                  <a:cxn ang="0">
                    <a:pos x="5" y="17"/>
                  </a:cxn>
                  <a:cxn ang="0">
                    <a:pos x="2" y="64"/>
                  </a:cxn>
                  <a:cxn ang="0">
                    <a:pos x="16" y="91"/>
                  </a:cxn>
                  <a:cxn ang="0">
                    <a:pos x="14" y="78"/>
                  </a:cxn>
                  <a:cxn ang="0">
                    <a:pos x="25" y="76"/>
                  </a:cxn>
                  <a:cxn ang="0">
                    <a:pos x="28" y="71"/>
                  </a:cxn>
                  <a:cxn ang="0">
                    <a:pos x="35" y="74"/>
                  </a:cxn>
                  <a:cxn ang="0">
                    <a:pos x="39" y="72"/>
                  </a:cxn>
                  <a:cxn ang="0">
                    <a:pos x="48" y="75"/>
                  </a:cxn>
                  <a:cxn ang="0">
                    <a:pos x="57" y="88"/>
                  </a:cxn>
                  <a:cxn ang="0">
                    <a:pos x="61" y="94"/>
                  </a:cxn>
                  <a:cxn ang="0">
                    <a:pos x="69" y="100"/>
                  </a:cxn>
                  <a:cxn ang="0">
                    <a:pos x="81" y="102"/>
                  </a:cxn>
                  <a:cxn ang="0">
                    <a:pos x="86" y="105"/>
                  </a:cxn>
                  <a:cxn ang="0">
                    <a:pos x="92" y="101"/>
                  </a:cxn>
                  <a:cxn ang="0">
                    <a:pos x="147" y="61"/>
                  </a:cxn>
                  <a:cxn ang="0">
                    <a:pos x="140" y="52"/>
                  </a:cxn>
                  <a:cxn ang="0">
                    <a:pos x="136" y="50"/>
                  </a:cxn>
                  <a:cxn ang="0">
                    <a:pos x="146" y="63"/>
                  </a:cxn>
                  <a:cxn ang="0">
                    <a:pos x="95" y="98"/>
                  </a:cxn>
                  <a:cxn ang="0">
                    <a:pos x="100" y="20"/>
                  </a:cxn>
                  <a:cxn ang="0">
                    <a:pos x="88" y="5"/>
                  </a:cxn>
                  <a:cxn ang="0">
                    <a:pos x="70" y="52"/>
                  </a:cxn>
                  <a:cxn ang="0">
                    <a:pos x="94" y="106"/>
                  </a:cxn>
                  <a:cxn ang="0">
                    <a:pos x="114" y="89"/>
                  </a:cxn>
                  <a:cxn ang="0">
                    <a:pos x="93" y="17"/>
                  </a:cxn>
                  <a:cxn ang="0">
                    <a:pos x="137" y="25"/>
                  </a:cxn>
                </a:cxnLst>
                <a:rect l="0" t="0" r="r" b="b"/>
                <a:pathLst>
                  <a:path w="147" h="116">
                    <a:moveTo>
                      <a:pt x="26" y="84"/>
                    </a:moveTo>
                    <a:cubicBezTo>
                      <a:pt x="26" y="84"/>
                      <a:pt x="26" y="84"/>
                      <a:pt x="25" y="83"/>
                    </a:cubicBezTo>
                    <a:cubicBezTo>
                      <a:pt x="25" y="83"/>
                      <a:pt x="25" y="83"/>
                      <a:pt x="24" y="83"/>
                    </a:cubicBezTo>
                    <a:cubicBezTo>
                      <a:pt x="24" y="83"/>
                      <a:pt x="22" y="81"/>
                      <a:pt x="22" y="81"/>
                    </a:cubicBezTo>
                    <a:cubicBezTo>
                      <a:pt x="22" y="81"/>
                      <a:pt x="23" y="81"/>
                      <a:pt x="23" y="81"/>
                    </a:cubicBezTo>
                    <a:cubicBezTo>
                      <a:pt x="24" y="82"/>
                      <a:pt x="24" y="82"/>
                      <a:pt x="25" y="82"/>
                    </a:cubicBezTo>
                    <a:cubicBezTo>
                      <a:pt x="25" y="83"/>
                      <a:pt x="27" y="84"/>
                      <a:pt x="26" y="84"/>
                    </a:cubicBezTo>
                    <a:close/>
                    <a:moveTo>
                      <a:pt x="99" y="81"/>
                    </a:moveTo>
                    <a:cubicBezTo>
                      <a:pt x="98" y="81"/>
                      <a:pt x="98" y="81"/>
                      <a:pt x="98" y="82"/>
                    </a:cubicBezTo>
                    <a:cubicBezTo>
                      <a:pt x="98" y="82"/>
                      <a:pt x="98" y="82"/>
                      <a:pt x="99" y="83"/>
                    </a:cubicBezTo>
                    <a:cubicBezTo>
                      <a:pt x="99" y="83"/>
                      <a:pt x="98" y="84"/>
                      <a:pt x="98" y="84"/>
                    </a:cubicBezTo>
                    <a:cubicBezTo>
                      <a:pt x="98" y="85"/>
                      <a:pt x="98" y="85"/>
                      <a:pt x="99" y="85"/>
                    </a:cubicBezTo>
                    <a:cubicBezTo>
                      <a:pt x="99" y="85"/>
                      <a:pt x="98" y="85"/>
                      <a:pt x="98" y="84"/>
                    </a:cubicBezTo>
                    <a:cubicBezTo>
                      <a:pt x="98" y="84"/>
                      <a:pt x="99" y="83"/>
                      <a:pt x="99" y="83"/>
                    </a:cubicBezTo>
                    <a:cubicBezTo>
                      <a:pt x="99" y="82"/>
                      <a:pt x="99" y="82"/>
                      <a:pt x="99" y="81"/>
                    </a:cubicBezTo>
                    <a:close/>
                    <a:moveTo>
                      <a:pt x="26" y="80"/>
                    </a:moveTo>
                    <a:cubicBezTo>
                      <a:pt x="26" y="80"/>
                      <a:pt x="24" y="80"/>
                      <a:pt x="24" y="80"/>
                    </a:cubicBezTo>
                    <a:cubicBezTo>
                      <a:pt x="24" y="80"/>
                      <a:pt x="23" y="80"/>
                      <a:pt x="24" y="81"/>
                    </a:cubicBezTo>
                    <a:cubicBezTo>
                      <a:pt x="24" y="81"/>
                      <a:pt x="25" y="81"/>
                      <a:pt x="26" y="82"/>
                    </a:cubicBezTo>
                    <a:cubicBezTo>
                      <a:pt x="26" y="81"/>
                      <a:pt x="26" y="81"/>
                      <a:pt x="26" y="80"/>
                    </a:cubicBezTo>
                    <a:close/>
                    <a:moveTo>
                      <a:pt x="131" y="37"/>
                    </a:moveTo>
                    <a:cubicBezTo>
                      <a:pt x="131" y="36"/>
                      <a:pt x="131" y="36"/>
                      <a:pt x="131" y="37"/>
                    </a:cubicBezTo>
                    <a:close/>
                    <a:moveTo>
                      <a:pt x="123" y="26"/>
                    </a:moveTo>
                    <a:cubicBezTo>
                      <a:pt x="122" y="26"/>
                      <a:pt x="123" y="27"/>
                      <a:pt x="123" y="27"/>
                    </a:cubicBezTo>
                    <a:cubicBezTo>
                      <a:pt x="123" y="27"/>
                      <a:pt x="123" y="26"/>
                      <a:pt x="123" y="26"/>
                    </a:cubicBezTo>
                    <a:close/>
                    <a:moveTo>
                      <a:pt x="60" y="12"/>
                    </a:moveTo>
                    <a:cubicBezTo>
                      <a:pt x="60" y="12"/>
                      <a:pt x="60" y="12"/>
                      <a:pt x="60" y="12"/>
                    </a:cubicBezTo>
                    <a:cubicBezTo>
                      <a:pt x="60" y="12"/>
                      <a:pt x="60" y="11"/>
                      <a:pt x="60" y="12"/>
                    </a:cubicBezTo>
                    <a:cubicBezTo>
                      <a:pt x="61" y="12"/>
                      <a:pt x="61" y="12"/>
                      <a:pt x="61" y="12"/>
                    </a:cubicBezTo>
                    <a:cubicBezTo>
                      <a:pt x="61" y="12"/>
                      <a:pt x="62" y="12"/>
                      <a:pt x="62" y="12"/>
                    </a:cubicBezTo>
                    <a:cubicBezTo>
                      <a:pt x="63" y="12"/>
                      <a:pt x="63" y="12"/>
                      <a:pt x="64" y="12"/>
                    </a:cubicBezTo>
                    <a:cubicBezTo>
                      <a:pt x="64" y="12"/>
                      <a:pt x="65" y="12"/>
                      <a:pt x="65" y="12"/>
                    </a:cubicBezTo>
                    <a:cubicBezTo>
                      <a:pt x="66" y="12"/>
                      <a:pt x="66" y="11"/>
                      <a:pt x="66" y="11"/>
                    </a:cubicBezTo>
                    <a:cubicBezTo>
                      <a:pt x="66" y="11"/>
                      <a:pt x="67" y="11"/>
                      <a:pt x="67" y="11"/>
                    </a:cubicBezTo>
                    <a:cubicBezTo>
                      <a:pt x="68" y="11"/>
                      <a:pt x="67" y="10"/>
                      <a:pt x="67" y="10"/>
                    </a:cubicBezTo>
                    <a:cubicBezTo>
                      <a:pt x="67" y="10"/>
                      <a:pt x="67" y="11"/>
                      <a:pt x="67" y="11"/>
                    </a:cubicBezTo>
                    <a:cubicBezTo>
                      <a:pt x="67" y="11"/>
                      <a:pt x="65" y="10"/>
                      <a:pt x="65" y="10"/>
                    </a:cubicBezTo>
                    <a:cubicBezTo>
                      <a:pt x="64" y="10"/>
                      <a:pt x="64" y="10"/>
                      <a:pt x="64" y="10"/>
                    </a:cubicBezTo>
                    <a:cubicBezTo>
                      <a:pt x="64" y="10"/>
                      <a:pt x="63" y="10"/>
                      <a:pt x="63" y="10"/>
                    </a:cubicBezTo>
                    <a:cubicBezTo>
                      <a:pt x="62" y="10"/>
                      <a:pt x="62" y="10"/>
                      <a:pt x="61" y="10"/>
                    </a:cubicBezTo>
                    <a:cubicBezTo>
                      <a:pt x="61" y="10"/>
                      <a:pt x="60" y="10"/>
                      <a:pt x="60" y="10"/>
                    </a:cubicBezTo>
                    <a:cubicBezTo>
                      <a:pt x="60" y="10"/>
                      <a:pt x="59" y="11"/>
                      <a:pt x="59" y="10"/>
                    </a:cubicBezTo>
                    <a:cubicBezTo>
                      <a:pt x="59" y="11"/>
                      <a:pt x="60" y="11"/>
                      <a:pt x="59" y="12"/>
                    </a:cubicBezTo>
                    <a:cubicBezTo>
                      <a:pt x="58" y="12"/>
                      <a:pt x="58" y="12"/>
                      <a:pt x="59" y="13"/>
                    </a:cubicBezTo>
                    <a:cubicBezTo>
                      <a:pt x="59" y="13"/>
                      <a:pt x="59" y="12"/>
                      <a:pt x="60" y="12"/>
                    </a:cubicBezTo>
                    <a:close/>
                    <a:moveTo>
                      <a:pt x="90" y="93"/>
                    </a:moveTo>
                    <a:cubicBezTo>
                      <a:pt x="90" y="93"/>
                      <a:pt x="90" y="92"/>
                      <a:pt x="90" y="92"/>
                    </a:cubicBezTo>
                    <a:cubicBezTo>
                      <a:pt x="91" y="92"/>
                      <a:pt x="90" y="91"/>
                      <a:pt x="90" y="91"/>
                    </a:cubicBezTo>
                    <a:cubicBezTo>
                      <a:pt x="90" y="90"/>
                      <a:pt x="90" y="89"/>
                      <a:pt x="89" y="90"/>
                    </a:cubicBezTo>
                    <a:cubicBezTo>
                      <a:pt x="88" y="90"/>
                      <a:pt x="88" y="91"/>
                      <a:pt x="88" y="92"/>
                    </a:cubicBezTo>
                    <a:cubicBezTo>
                      <a:pt x="89" y="92"/>
                      <a:pt x="90" y="93"/>
                      <a:pt x="90" y="93"/>
                    </a:cubicBezTo>
                    <a:close/>
                    <a:moveTo>
                      <a:pt x="91" y="94"/>
                    </a:moveTo>
                    <a:cubicBezTo>
                      <a:pt x="91" y="94"/>
                      <a:pt x="92" y="94"/>
                      <a:pt x="92" y="94"/>
                    </a:cubicBezTo>
                    <a:cubicBezTo>
                      <a:pt x="93" y="94"/>
                      <a:pt x="93" y="94"/>
                      <a:pt x="94" y="95"/>
                    </a:cubicBezTo>
                    <a:cubicBezTo>
                      <a:pt x="94" y="95"/>
                      <a:pt x="94" y="95"/>
                      <a:pt x="95" y="94"/>
                    </a:cubicBezTo>
                    <a:cubicBezTo>
                      <a:pt x="95" y="94"/>
                      <a:pt x="95" y="95"/>
                      <a:pt x="95" y="95"/>
                    </a:cubicBezTo>
                    <a:cubicBezTo>
                      <a:pt x="95" y="95"/>
                      <a:pt x="96" y="94"/>
                      <a:pt x="95" y="94"/>
                    </a:cubicBezTo>
                    <a:cubicBezTo>
                      <a:pt x="95" y="94"/>
                      <a:pt x="95" y="93"/>
                      <a:pt x="95" y="93"/>
                    </a:cubicBezTo>
                    <a:cubicBezTo>
                      <a:pt x="96" y="93"/>
                      <a:pt x="95" y="93"/>
                      <a:pt x="95" y="93"/>
                    </a:cubicBezTo>
                    <a:cubicBezTo>
                      <a:pt x="95" y="92"/>
                      <a:pt x="95" y="92"/>
                      <a:pt x="94" y="92"/>
                    </a:cubicBezTo>
                    <a:cubicBezTo>
                      <a:pt x="94" y="92"/>
                      <a:pt x="93" y="92"/>
                      <a:pt x="93" y="92"/>
                    </a:cubicBezTo>
                    <a:cubicBezTo>
                      <a:pt x="92" y="91"/>
                      <a:pt x="92" y="91"/>
                      <a:pt x="91" y="91"/>
                    </a:cubicBezTo>
                    <a:cubicBezTo>
                      <a:pt x="91" y="91"/>
                      <a:pt x="91" y="92"/>
                      <a:pt x="91" y="92"/>
                    </a:cubicBezTo>
                    <a:cubicBezTo>
                      <a:pt x="91" y="93"/>
                      <a:pt x="92" y="93"/>
                      <a:pt x="92" y="93"/>
                    </a:cubicBezTo>
                    <a:cubicBezTo>
                      <a:pt x="92" y="94"/>
                      <a:pt x="91" y="94"/>
                      <a:pt x="91" y="94"/>
                    </a:cubicBezTo>
                    <a:close/>
                    <a:moveTo>
                      <a:pt x="136" y="46"/>
                    </a:moveTo>
                    <a:cubicBezTo>
                      <a:pt x="136" y="45"/>
                      <a:pt x="136" y="45"/>
                      <a:pt x="136" y="45"/>
                    </a:cubicBezTo>
                    <a:cubicBezTo>
                      <a:pt x="136" y="44"/>
                      <a:pt x="136" y="44"/>
                      <a:pt x="136" y="43"/>
                    </a:cubicBezTo>
                    <a:cubicBezTo>
                      <a:pt x="135" y="43"/>
                      <a:pt x="135" y="44"/>
                      <a:pt x="135" y="45"/>
                    </a:cubicBezTo>
                    <a:cubicBezTo>
                      <a:pt x="135" y="44"/>
                      <a:pt x="135" y="45"/>
                      <a:pt x="135" y="46"/>
                    </a:cubicBezTo>
                    <a:cubicBezTo>
                      <a:pt x="135" y="46"/>
                      <a:pt x="135" y="48"/>
                      <a:pt x="135" y="48"/>
                    </a:cubicBezTo>
                    <a:cubicBezTo>
                      <a:pt x="135" y="48"/>
                      <a:pt x="135" y="48"/>
                      <a:pt x="136" y="48"/>
                    </a:cubicBezTo>
                    <a:cubicBezTo>
                      <a:pt x="136" y="48"/>
                      <a:pt x="136" y="47"/>
                      <a:pt x="136" y="47"/>
                    </a:cubicBezTo>
                    <a:cubicBezTo>
                      <a:pt x="136" y="46"/>
                      <a:pt x="136" y="46"/>
                      <a:pt x="136" y="46"/>
                    </a:cubicBezTo>
                    <a:close/>
                    <a:moveTo>
                      <a:pt x="124" y="113"/>
                    </a:moveTo>
                    <a:cubicBezTo>
                      <a:pt x="124" y="113"/>
                      <a:pt x="125" y="113"/>
                      <a:pt x="124" y="113"/>
                    </a:cubicBezTo>
                    <a:cubicBezTo>
                      <a:pt x="124" y="113"/>
                      <a:pt x="124" y="113"/>
                      <a:pt x="124" y="113"/>
                    </a:cubicBezTo>
                    <a:cubicBezTo>
                      <a:pt x="123" y="114"/>
                      <a:pt x="124" y="114"/>
                      <a:pt x="124" y="114"/>
                    </a:cubicBezTo>
                    <a:cubicBezTo>
                      <a:pt x="124" y="114"/>
                      <a:pt x="124" y="114"/>
                      <a:pt x="125" y="114"/>
                    </a:cubicBezTo>
                    <a:cubicBezTo>
                      <a:pt x="125" y="114"/>
                      <a:pt x="126" y="114"/>
                      <a:pt x="126" y="113"/>
                    </a:cubicBezTo>
                    <a:cubicBezTo>
                      <a:pt x="126" y="112"/>
                      <a:pt x="125" y="113"/>
                      <a:pt x="124" y="113"/>
                    </a:cubicBezTo>
                    <a:close/>
                    <a:moveTo>
                      <a:pt x="111" y="105"/>
                    </a:moveTo>
                    <a:cubicBezTo>
                      <a:pt x="109" y="105"/>
                      <a:pt x="111" y="106"/>
                      <a:pt x="112" y="106"/>
                    </a:cubicBezTo>
                    <a:cubicBezTo>
                      <a:pt x="112" y="106"/>
                      <a:pt x="114" y="106"/>
                      <a:pt x="113" y="105"/>
                    </a:cubicBezTo>
                    <a:cubicBezTo>
                      <a:pt x="113" y="105"/>
                      <a:pt x="112" y="105"/>
                      <a:pt x="111" y="105"/>
                    </a:cubicBezTo>
                    <a:close/>
                    <a:moveTo>
                      <a:pt x="119" y="32"/>
                    </a:moveTo>
                    <a:cubicBezTo>
                      <a:pt x="119" y="32"/>
                      <a:pt x="119" y="31"/>
                      <a:pt x="119" y="31"/>
                    </a:cubicBezTo>
                    <a:cubicBezTo>
                      <a:pt x="119" y="31"/>
                      <a:pt x="118" y="31"/>
                      <a:pt x="118" y="31"/>
                    </a:cubicBezTo>
                    <a:cubicBezTo>
                      <a:pt x="118" y="31"/>
                      <a:pt x="117" y="31"/>
                      <a:pt x="117" y="30"/>
                    </a:cubicBezTo>
                    <a:cubicBezTo>
                      <a:pt x="117" y="30"/>
                      <a:pt x="117" y="30"/>
                      <a:pt x="116" y="30"/>
                    </a:cubicBezTo>
                    <a:cubicBezTo>
                      <a:pt x="116" y="30"/>
                      <a:pt x="116" y="28"/>
                      <a:pt x="115" y="28"/>
                    </a:cubicBezTo>
                    <a:cubicBezTo>
                      <a:pt x="115" y="29"/>
                      <a:pt x="114" y="27"/>
                      <a:pt x="114" y="27"/>
                    </a:cubicBezTo>
                    <a:cubicBezTo>
                      <a:pt x="113" y="26"/>
                      <a:pt x="113" y="26"/>
                      <a:pt x="112" y="25"/>
                    </a:cubicBezTo>
                    <a:cubicBezTo>
                      <a:pt x="111" y="24"/>
                      <a:pt x="111" y="24"/>
                      <a:pt x="110" y="23"/>
                    </a:cubicBezTo>
                    <a:cubicBezTo>
                      <a:pt x="109" y="23"/>
                      <a:pt x="108" y="22"/>
                      <a:pt x="108" y="22"/>
                    </a:cubicBezTo>
                    <a:cubicBezTo>
                      <a:pt x="107" y="21"/>
                      <a:pt x="106" y="20"/>
                      <a:pt x="105" y="20"/>
                    </a:cubicBezTo>
                    <a:cubicBezTo>
                      <a:pt x="105" y="20"/>
                      <a:pt x="105" y="20"/>
                      <a:pt x="104" y="20"/>
                    </a:cubicBezTo>
                    <a:cubicBezTo>
                      <a:pt x="104" y="20"/>
                      <a:pt x="104" y="20"/>
                      <a:pt x="103" y="19"/>
                    </a:cubicBezTo>
                    <a:cubicBezTo>
                      <a:pt x="103" y="19"/>
                      <a:pt x="102" y="18"/>
                      <a:pt x="102" y="18"/>
                    </a:cubicBezTo>
                    <a:cubicBezTo>
                      <a:pt x="101" y="18"/>
                      <a:pt x="100" y="16"/>
                      <a:pt x="100" y="16"/>
                    </a:cubicBezTo>
                    <a:cubicBezTo>
                      <a:pt x="100" y="17"/>
                      <a:pt x="100" y="17"/>
                      <a:pt x="100" y="18"/>
                    </a:cubicBezTo>
                    <a:cubicBezTo>
                      <a:pt x="101" y="18"/>
                      <a:pt x="100" y="18"/>
                      <a:pt x="100" y="18"/>
                    </a:cubicBezTo>
                    <a:cubicBezTo>
                      <a:pt x="99" y="18"/>
                      <a:pt x="99" y="18"/>
                      <a:pt x="99" y="18"/>
                    </a:cubicBezTo>
                    <a:cubicBezTo>
                      <a:pt x="99" y="18"/>
                      <a:pt x="99" y="19"/>
                      <a:pt x="99" y="19"/>
                    </a:cubicBezTo>
                    <a:cubicBezTo>
                      <a:pt x="100" y="19"/>
                      <a:pt x="101" y="19"/>
                      <a:pt x="101" y="19"/>
                    </a:cubicBezTo>
                    <a:cubicBezTo>
                      <a:pt x="102" y="19"/>
                      <a:pt x="103" y="20"/>
                      <a:pt x="103" y="20"/>
                    </a:cubicBezTo>
                    <a:cubicBezTo>
                      <a:pt x="104" y="21"/>
                      <a:pt x="105" y="21"/>
                      <a:pt x="106" y="22"/>
                    </a:cubicBezTo>
                    <a:cubicBezTo>
                      <a:pt x="106" y="23"/>
                      <a:pt x="107" y="23"/>
                      <a:pt x="108" y="23"/>
                    </a:cubicBezTo>
                    <a:cubicBezTo>
                      <a:pt x="108" y="24"/>
                      <a:pt x="108" y="25"/>
                      <a:pt x="109" y="25"/>
                    </a:cubicBezTo>
                    <a:cubicBezTo>
                      <a:pt x="111" y="26"/>
                      <a:pt x="112" y="26"/>
                      <a:pt x="114" y="28"/>
                    </a:cubicBezTo>
                    <a:cubicBezTo>
                      <a:pt x="114" y="28"/>
                      <a:pt x="114" y="29"/>
                      <a:pt x="115" y="30"/>
                    </a:cubicBezTo>
                    <a:cubicBezTo>
                      <a:pt x="115" y="30"/>
                      <a:pt x="116" y="31"/>
                      <a:pt x="116" y="32"/>
                    </a:cubicBezTo>
                    <a:cubicBezTo>
                      <a:pt x="117" y="33"/>
                      <a:pt x="117" y="34"/>
                      <a:pt x="117" y="35"/>
                    </a:cubicBezTo>
                    <a:cubicBezTo>
                      <a:pt x="117" y="35"/>
                      <a:pt x="117" y="36"/>
                      <a:pt x="117" y="37"/>
                    </a:cubicBezTo>
                    <a:cubicBezTo>
                      <a:pt x="117" y="37"/>
                      <a:pt x="117" y="37"/>
                      <a:pt x="117" y="38"/>
                    </a:cubicBezTo>
                    <a:cubicBezTo>
                      <a:pt x="117" y="38"/>
                      <a:pt x="117" y="39"/>
                      <a:pt x="118" y="40"/>
                    </a:cubicBezTo>
                    <a:cubicBezTo>
                      <a:pt x="118" y="40"/>
                      <a:pt x="119" y="41"/>
                      <a:pt x="119" y="42"/>
                    </a:cubicBezTo>
                    <a:cubicBezTo>
                      <a:pt x="119" y="41"/>
                      <a:pt x="120" y="40"/>
                      <a:pt x="121" y="39"/>
                    </a:cubicBezTo>
                    <a:cubicBezTo>
                      <a:pt x="121" y="38"/>
                      <a:pt x="120" y="38"/>
                      <a:pt x="121" y="37"/>
                    </a:cubicBezTo>
                    <a:cubicBezTo>
                      <a:pt x="121" y="37"/>
                      <a:pt x="121" y="36"/>
                      <a:pt x="121" y="36"/>
                    </a:cubicBezTo>
                    <a:cubicBezTo>
                      <a:pt x="122" y="35"/>
                      <a:pt x="120" y="34"/>
                      <a:pt x="120" y="33"/>
                    </a:cubicBezTo>
                    <a:cubicBezTo>
                      <a:pt x="120" y="32"/>
                      <a:pt x="119" y="32"/>
                      <a:pt x="119" y="32"/>
                    </a:cubicBezTo>
                    <a:close/>
                    <a:moveTo>
                      <a:pt x="118" y="114"/>
                    </a:moveTo>
                    <a:cubicBezTo>
                      <a:pt x="117" y="114"/>
                      <a:pt x="117" y="113"/>
                      <a:pt x="116" y="113"/>
                    </a:cubicBezTo>
                    <a:cubicBezTo>
                      <a:pt x="115" y="113"/>
                      <a:pt x="115" y="113"/>
                      <a:pt x="116" y="114"/>
                    </a:cubicBezTo>
                    <a:cubicBezTo>
                      <a:pt x="116" y="114"/>
                      <a:pt x="117" y="114"/>
                      <a:pt x="117" y="114"/>
                    </a:cubicBezTo>
                    <a:cubicBezTo>
                      <a:pt x="117" y="114"/>
                      <a:pt x="116" y="115"/>
                      <a:pt x="116" y="115"/>
                    </a:cubicBezTo>
                    <a:cubicBezTo>
                      <a:pt x="116" y="115"/>
                      <a:pt x="117" y="114"/>
                      <a:pt x="117" y="115"/>
                    </a:cubicBezTo>
                    <a:cubicBezTo>
                      <a:pt x="117" y="115"/>
                      <a:pt x="117" y="115"/>
                      <a:pt x="117" y="115"/>
                    </a:cubicBezTo>
                    <a:cubicBezTo>
                      <a:pt x="118" y="115"/>
                      <a:pt x="118" y="116"/>
                      <a:pt x="119" y="116"/>
                    </a:cubicBezTo>
                    <a:cubicBezTo>
                      <a:pt x="119" y="116"/>
                      <a:pt x="121" y="116"/>
                      <a:pt x="121" y="116"/>
                    </a:cubicBezTo>
                    <a:cubicBezTo>
                      <a:pt x="121" y="115"/>
                      <a:pt x="119" y="114"/>
                      <a:pt x="118" y="114"/>
                    </a:cubicBezTo>
                    <a:close/>
                    <a:moveTo>
                      <a:pt x="43" y="34"/>
                    </a:moveTo>
                    <a:cubicBezTo>
                      <a:pt x="44" y="34"/>
                      <a:pt x="44" y="33"/>
                      <a:pt x="43" y="33"/>
                    </a:cubicBezTo>
                    <a:cubicBezTo>
                      <a:pt x="43" y="33"/>
                      <a:pt x="43" y="34"/>
                      <a:pt x="43" y="34"/>
                    </a:cubicBezTo>
                    <a:close/>
                    <a:moveTo>
                      <a:pt x="39" y="4"/>
                    </a:moveTo>
                    <a:cubicBezTo>
                      <a:pt x="39" y="4"/>
                      <a:pt x="39" y="4"/>
                      <a:pt x="39" y="4"/>
                    </a:cubicBezTo>
                    <a:cubicBezTo>
                      <a:pt x="39" y="4"/>
                      <a:pt x="39" y="4"/>
                      <a:pt x="39" y="4"/>
                    </a:cubicBezTo>
                    <a:close/>
                    <a:moveTo>
                      <a:pt x="23" y="7"/>
                    </a:moveTo>
                    <a:cubicBezTo>
                      <a:pt x="23" y="7"/>
                      <a:pt x="23" y="7"/>
                      <a:pt x="23" y="7"/>
                    </a:cubicBezTo>
                    <a:cubicBezTo>
                      <a:pt x="23" y="7"/>
                      <a:pt x="23" y="7"/>
                      <a:pt x="23" y="7"/>
                    </a:cubicBezTo>
                    <a:close/>
                    <a:moveTo>
                      <a:pt x="111" y="46"/>
                    </a:moveTo>
                    <a:cubicBezTo>
                      <a:pt x="110" y="46"/>
                      <a:pt x="110" y="45"/>
                      <a:pt x="110" y="44"/>
                    </a:cubicBezTo>
                    <a:cubicBezTo>
                      <a:pt x="110" y="44"/>
                      <a:pt x="110" y="43"/>
                      <a:pt x="110" y="43"/>
                    </a:cubicBezTo>
                    <a:cubicBezTo>
                      <a:pt x="111" y="43"/>
                      <a:pt x="111" y="43"/>
                      <a:pt x="112" y="43"/>
                    </a:cubicBezTo>
                    <a:cubicBezTo>
                      <a:pt x="112" y="43"/>
                      <a:pt x="113" y="43"/>
                      <a:pt x="113" y="42"/>
                    </a:cubicBezTo>
                    <a:cubicBezTo>
                      <a:pt x="114" y="41"/>
                      <a:pt x="114" y="40"/>
                      <a:pt x="114" y="39"/>
                    </a:cubicBezTo>
                    <a:cubicBezTo>
                      <a:pt x="114" y="38"/>
                      <a:pt x="114" y="37"/>
                      <a:pt x="114" y="36"/>
                    </a:cubicBezTo>
                    <a:cubicBezTo>
                      <a:pt x="115" y="36"/>
                      <a:pt x="114" y="36"/>
                      <a:pt x="113" y="36"/>
                    </a:cubicBezTo>
                    <a:cubicBezTo>
                      <a:pt x="113" y="36"/>
                      <a:pt x="113" y="36"/>
                      <a:pt x="113" y="36"/>
                    </a:cubicBezTo>
                    <a:cubicBezTo>
                      <a:pt x="113" y="35"/>
                      <a:pt x="112" y="36"/>
                      <a:pt x="112" y="36"/>
                    </a:cubicBezTo>
                    <a:cubicBezTo>
                      <a:pt x="112" y="35"/>
                      <a:pt x="112" y="35"/>
                      <a:pt x="112" y="35"/>
                    </a:cubicBezTo>
                    <a:cubicBezTo>
                      <a:pt x="112" y="35"/>
                      <a:pt x="113" y="35"/>
                      <a:pt x="113" y="35"/>
                    </a:cubicBezTo>
                    <a:cubicBezTo>
                      <a:pt x="113" y="35"/>
                      <a:pt x="113" y="34"/>
                      <a:pt x="113" y="34"/>
                    </a:cubicBezTo>
                    <a:cubicBezTo>
                      <a:pt x="112" y="34"/>
                      <a:pt x="112" y="34"/>
                      <a:pt x="112" y="34"/>
                    </a:cubicBezTo>
                    <a:cubicBezTo>
                      <a:pt x="112" y="34"/>
                      <a:pt x="111" y="34"/>
                      <a:pt x="111" y="34"/>
                    </a:cubicBezTo>
                    <a:cubicBezTo>
                      <a:pt x="110" y="35"/>
                      <a:pt x="111" y="35"/>
                      <a:pt x="111" y="36"/>
                    </a:cubicBezTo>
                    <a:cubicBezTo>
                      <a:pt x="110" y="36"/>
                      <a:pt x="109" y="35"/>
                      <a:pt x="109" y="35"/>
                    </a:cubicBezTo>
                    <a:cubicBezTo>
                      <a:pt x="109" y="34"/>
                      <a:pt x="108" y="34"/>
                      <a:pt x="108" y="35"/>
                    </a:cubicBezTo>
                    <a:cubicBezTo>
                      <a:pt x="108" y="34"/>
                      <a:pt x="106" y="34"/>
                      <a:pt x="106" y="35"/>
                    </a:cubicBezTo>
                    <a:cubicBezTo>
                      <a:pt x="105" y="36"/>
                      <a:pt x="107" y="37"/>
                      <a:pt x="107" y="38"/>
                    </a:cubicBezTo>
                    <a:cubicBezTo>
                      <a:pt x="107" y="40"/>
                      <a:pt x="107" y="41"/>
                      <a:pt x="107" y="43"/>
                    </a:cubicBezTo>
                    <a:cubicBezTo>
                      <a:pt x="106" y="43"/>
                      <a:pt x="106" y="42"/>
                      <a:pt x="106" y="42"/>
                    </a:cubicBezTo>
                    <a:cubicBezTo>
                      <a:pt x="105" y="42"/>
                      <a:pt x="105" y="43"/>
                      <a:pt x="105" y="42"/>
                    </a:cubicBezTo>
                    <a:cubicBezTo>
                      <a:pt x="104" y="42"/>
                      <a:pt x="104" y="43"/>
                      <a:pt x="103" y="43"/>
                    </a:cubicBezTo>
                    <a:cubicBezTo>
                      <a:pt x="102" y="44"/>
                      <a:pt x="101" y="44"/>
                      <a:pt x="101" y="46"/>
                    </a:cubicBezTo>
                    <a:cubicBezTo>
                      <a:pt x="100" y="47"/>
                      <a:pt x="100" y="48"/>
                      <a:pt x="99" y="48"/>
                    </a:cubicBezTo>
                    <a:cubicBezTo>
                      <a:pt x="99" y="49"/>
                      <a:pt x="98" y="48"/>
                      <a:pt x="98" y="49"/>
                    </a:cubicBezTo>
                    <a:cubicBezTo>
                      <a:pt x="97" y="49"/>
                      <a:pt x="96" y="50"/>
                      <a:pt x="96" y="49"/>
                    </a:cubicBezTo>
                    <a:cubicBezTo>
                      <a:pt x="96" y="48"/>
                      <a:pt x="94" y="48"/>
                      <a:pt x="94" y="49"/>
                    </a:cubicBezTo>
                    <a:cubicBezTo>
                      <a:pt x="93" y="49"/>
                      <a:pt x="92" y="50"/>
                      <a:pt x="92" y="49"/>
                    </a:cubicBezTo>
                    <a:cubicBezTo>
                      <a:pt x="91" y="49"/>
                      <a:pt x="91" y="48"/>
                      <a:pt x="91" y="47"/>
                    </a:cubicBezTo>
                    <a:cubicBezTo>
                      <a:pt x="91" y="46"/>
                      <a:pt x="91" y="46"/>
                      <a:pt x="91" y="46"/>
                    </a:cubicBezTo>
                    <a:cubicBezTo>
                      <a:pt x="91" y="46"/>
                      <a:pt x="91" y="45"/>
                      <a:pt x="91" y="45"/>
                    </a:cubicBezTo>
                    <a:cubicBezTo>
                      <a:pt x="91" y="44"/>
                      <a:pt x="93" y="44"/>
                      <a:pt x="93" y="44"/>
                    </a:cubicBezTo>
                    <a:cubicBezTo>
                      <a:pt x="92" y="43"/>
                      <a:pt x="91" y="43"/>
                      <a:pt x="91" y="44"/>
                    </a:cubicBezTo>
                    <a:cubicBezTo>
                      <a:pt x="91" y="45"/>
                      <a:pt x="91" y="45"/>
                      <a:pt x="91" y="46"/>
                    </a:cubicBezTo>
                    <a:cubicBezTo>
                      <a:pt x="91" y="46"/>
                      <a:pt x="90" y="46"/>
                      <a:pt x="90" y="47"/>
                    </a:cubicBezTo>
                    <a:cubicBezTo>
                      <a:pt x="89" y="47"/>
                      <a:pt x="91" y="48"/>
                      <a:pt x="90" y="48"/>
                    </a:cubicBezTo>
                    <a:cubicBezTo>
                      <a:pt x="89" y="49"/>
                      <a:pt x="89" y="49"/>
                      <a:pt x="88" y="49"/>
                    </a:cubicBezTo>
                    <a:cubicBezTo>
                      <a:pt x="87" y="50"/>
                      <a:pt x="87" y="49"/>
                      <a:pt x="87" y="49"/>
                    </a:cubicBezTo>
                    <a:cubicBezTo>
                      <a:pt x="87" y="49"/>
                      <a:pt x="86" y="49"/>
                      <a:pt x="86" y="49"/>
                    </a:cubicBezTo>
                    <a:cubicBezTo>
                      <a:pt x="86" y="49"/>
                      <a:pt x="86" y="49"/>
                      <a:pt x="85" y="50"/>
                    </a:cubicBezTo>
                    <a:cubicBezTo>
                      <a:pt x="85" y="50"/>
                      <a:pt x="85" y="49"/>
                      <a:pt x="85" y="50"/>
                    </a:cubicBezTo>
                    <a:cubicBezTo>
                      <a:pt x="85" y="50"/>
                      <a:pt x="84" y="50"/>
                      <a:pt x="84" y="50"/>
                    </a:cubicBezTo>
                    <a:cubicBezTo>
                      <a:pt x="84" y="50"/>
                      <a:pt x="83" y="50"/>
                      <a:pt x="83" y="50"/>
                    </a:cubicBezTo>
                    <a:cubicBezTo>
                      <a:pt x="83" y="50"/>
                      <a:pt x="82" y="49"/>
                      <a:pt x="82" y="49"/>
                    </a:cubicBezTo>
                    <a:cubicBezTo>
                      <a:pt x="82" y="49"/>
                      <a:pt x="82" y="49"/>
                      <a:pt x="81" y="49"/>
                    </a:cubicBezTo>
                    <a:cubicBezTo>
                      <a:pt x="81" y="48"/>
                      <a:pt x="80" y="48"/>
                      <a:pt x="80" y="49"/>
                    </a:cubicBezTo>
                    <a:cubicBezTo>
                      <a:pt x="79" y="49"/>
                      <a:pt x="79" y="49"/>
                      <a:pt x="79" y="49"/>
                    </a:cubicBezTo>
                    <a:cubicBezTo>
                      <a:pt x="78" y="49"/>
                      <a:pt x="78" y="48"/>
                      <a:pt x="77" y="49"/>
                    </a:cubicBezTo>
                    <a:cubicBezTo>
                      <a:pt x="77" y="49"/>
                      <a:pt x="76" y="50"/>
                      <a:pt x="76" y="49"/>
                    </a:cubicBezTo>
                    <a:cubicBezTo>
                      <a:pt x="76" y="49"/>
                      <a:pt x="76" y="48"/>
                      <a:pt x="75" y="48"/>
                    </a:cubicBezTo>
                    <a:cubicBezTo>
                      <a:pt x="74" y="48"/>
                      <a:pt x="74" y="50"/>
                      <a:pt x="74" y="51"/>
                    </a:cubicBezTo>
                    <a:cubicBezTo>
                      <a:pt x="74" y="51"/>
                      <a:pt x="75" y="53"/>
                      <a:pt x="76" y="52"/>
                    </a:cubicBezTo>
                    <a:cubicBezTo>
                      <a:pt x="77" y="52"/>
                      <a:pt x="78" y="53"/>
                      <a:pt x="78" y="53"/>
                    </a:cubicBezTo>
                    <a:cubicBezTo>
                      <a:pt x="78" y="53"/>
                      <a:pt x="79" y="53"/>
                      <a:pt x="79" y="54"/>
                    </a:cubicBezTo>
                    <a:cubicBezTo>
                      <a:pt x="79" y="54"/>
                      <a:pt x="79" y="54"/>
                      <a:pt x="79" y="54"/>
                    </a:cubicBezTo>
                    <a:cubicBezTo>
                      <a:pt x="80" y="54"/>
                      <a:pt x="81" y="55"/>
                      <a:pt x="81" y="54"/>
                    </a:cubicBezTo>
                    <a:cubicBezTo>
                      <a:pt x="81" y="55"/>
                      <a:pt x="81" y="55"/>
                      <a:pt x="81" y="55"/>
                    </a:cubicBezTo>
                    <a:cubicBezTo>
                      <a:pt x="81" y="55"/>
                      <a:pt x="81" y="55"/>
                      <a:pt x="81" y="55"/>
                    </a:cubicBezTo>
                    <a:cubicBezTo>
                      <a:pt x="81" y="56"/>
                      <a:pt x="81" y="56"/>
                      <a:pt x="81" y="56"/>
                    </a:cubicBezTo>
                    <a:cubicBezTo>
                      <a:pt x="81" y="56"/>
                      <a:pt x="82" y="56"/>
                      <a:pt x="82" y="55"/>
                    </a:cubicBezTo>
                    <a:cubicBezTo>
                      <a:pt x="82" y="56"/>
                      <a:pt x="83" y="55"/>
                      <a:pt x="84" y="55"/>
                    </a:cubicBezTo>
                    <a:cubicBezTo>
                      <a:pt x="85" y="56"/>
                      <a:pt x="85" y="56"/>
                      <a:pt x="86" y="57"/>
                    </a:cubicBezTo>
                    <a:cubicBezTo>
                      <a:pt x="86" y="58"/>
                      <a:pt x="87" y="57"/>
                      <a:pt x="88" y="57"/>
                    </a:cubicBezTo>
                    <a:cubicBezTo>
                      <a:pt x="88" y="57"/>
                      <a:pt x="90" y="57"/>
                      <a:pt x="90" y="58"/>
                    </a:cubicBezTo>
                    <a:cubicBezTo>
                      <a:pt x="90" y="58"/>
                      <a:pt x="90" y="57"/>
                      <a:pt x="90" y="57"/>
                    </a:cubicBezTo>
                    <a:cubicBezTo>
                      <a:pt x="91" y="57"/>
                      <a:pt x="90" y="58"/>
                      <a:pt x="91" y="58"/>
                    </a:cubicBezTo>
                    <a:cubicBezTo>
                      <a:pt x="91" y="58"/>
                      <a:pt x="91" y="57"/>
                      <a:pt x="92" y="57"/>
                    </a:cubicBezTo>
                    <a:cubicBezTo>
                      <a:pt x="92" y="57"/>
                      <a:pt x="92" y="57"/>
                      <a:pt x="92" y="57"/>
                    </a:cubicBezTo>
                    <a:cubicBezTo>
                      <a:pt x="93" y="57"/>
                      <a:pt x="94" y="57"/>
                      <a:pt x="94" y="57"/>
                    </a:cubicBezTo>
                    <a:cubicBezTo>
                      <a:pt x="95" y="57"/>
                      <a:pt x="95" y="57"/>
                      <a:pt x="95" y="56"/>
                    </a:cubicBezTo>
                    <a:cubicBezTo>
                      <a:pt x="96" y="56"/>
                      <a:pt x="96" y="56"/>
                      <a:pt x="96" y="56"/>
                    </a:cubicBezTo>
                    <a:cubicBezTo>
                      <a:pt x="97" y="56"/>
                      <a:pt x="97" y="56"/>
                      <a:pt x="97" y="56"/>
                    </a:cubicBezTo>
                    <a:cubicBezTo>
                      <a:pt x="97" y="55"/>
                      <a:pt x="98" y="55"/>
                      <a:pt x="98" y="55"/>
                    </a:cubicBezTo>
                    <a:cubicBezTo>
                      <a:pt x="98" y="54"/>
                      <a:pt x="98" y="55"/>
                      <a:pt x="99" y="55"/>
                    </a:cubicBezTo>
                    <a:cubicBezTo>
                      <a:pt x="99" y="55"/>
                      <a:pt x="99" y="54"/>
                      <a:pt x="99" y="54"/>
                    </a:cubicBezTo>
                    <a:cubicBezTo>
                      <a:pt x="100" y="54"/>
                      <a:pt x="100" y="55"/>
                      <a:pt x="100" y="55"/>
                    </a:cubicBezTo>
                    <a:cubicBezTo>
                      <a:pt x="101" y="54"/>
                      <a:pt x="101" y="54"/>
                      <a:pt x="101" y="54"/>
                    </a:cubicBezTo>
                    <a:cubicBezTo>
                      <a:pt x="102" y="54"/>
                      <a:pt x="102" y="54"/>
                      <a:pt x="102" y="54"/>
                    </a:cubicBezTo>
                    <a:cubicBezTo>
                      <a:pt x="102" y="53"/>
                      <a:pt x="103" y="53"/>
                      <a:pt x="104" y="52"/>
                    </a:cubicBezTo>
                    <a:cubicBezTo>
                      <a:pt x="104" y="51"/>
                      <a:pt x="104" y="51"/>
                      <a:pt x="105" y="51"/>
                    </a:cubicBezTo>
                    <a:cubicBezTo>
                      <a:pt x="106" y="50"/>
                      <a:pt x="103" y="50"/>
                      <a:pt x="105" y="49"/>
                    </a:cubicBezTo>
                    <a:cubicBezTo>
                      <a:pt x="105" y="49"/>
                      <a:pt x="105" y="49"/>
                      <a:pt x="106" y="49"/>
                    </a:cubicBezTo>
                    <a:cubicBezTo>
                      <a:pt x="106" y="49"/>
                      <a:pt x="106" y="50"/>
                      <a:pt x="106" y="49"/>
                    </a:cubicBezTo>
                    <a:cubicBezTo>
                      <a:pt x="106" y="49"/>
                      <a:pt x="106" y="49"/>
                      <a:pt x="107" y="49"/>
                    </a:cubicBezTo>
                    <a:cubicBezTo>
                      <a:pt x="107" y="49"/>
                      <a:pt x="107" y="49"/>
                      <a:pt x="108" y="50"/>
                    </a:cubicBezTo>
                    <a:cubicBezTo>
                      <a:pt x="108" y="50"/>
                      <a:pt x="109" y="49"/>
                      <a:pt x="109" y="49"/>
                    </a:cubicBezTo>
                    <a:cubicBezTo>
                      <a:pt x="110" y="49"/>
                      <a:pt x="110" y="48"/>
                      <a:pt x="111" y="48"/>
                    </a:cubicBezTo>
                    <a:cubicBezTo>
                      <a:pt x="111" y="47"/>
                      <a:pt x="111" y="47"/>
                      <a:pt x="111" y="46"/>
                    </a:cubicBezTo>
                    <a:close/>
                    <a:moveTo>
                      <a:pt x="111" y="20"/>
                    </a:moveTo>
                    <a:cubicBezTo>
                      <a:pt x="112" y="19"/>
                      <a:pt x="111" y="18"/>
                      <a:pt x="111" y="18"/>
                    </a:cubicBezTo>
                    <a:cubicBezTo>
                      <a:pt x="111" y="18"/>
                      <a:pt x="110" y="19"/>
                      <a:pt x="111" y="20"/>
                    </a:cubicBezTo>
                    <a:close/>
                    <a:moveTo>
                      <a:pt x="111" y="17"/>
                    </a:moveTo>
                    <a:cubicBezTo>
                      <a:pt x="111" y="17"/>
                      <a:pt x="111" y="18"/>
                      <a:pt x="111" y="18"/>
                    </a:cubicBezTo>
                    <a:cubicBezTo>
                      <a:pt x="112" y="17"/>
                      <a:pt x="112" y="16"/>
                      <a:pt x="111" y="17"/>
                    </a:cubicBezTo>
                    <a:close/>
                    <a:moveTo>
                      <a:pt x="61" y="46"/>
                    </a:moveTo>
                    <a:cubicBezTo>
                      <a:pt x="61" y="47"/>
                      <a:pt x="62" y="48"/>
                      <a:pt x="63" y="48"/>
                    </a:cubicBezTo>
                    <a:cubicBezTo>
                      <a:pt x="63" y="48"/>
                      <a:pt x="63" y="48"/>
                      <a:pt x="64" y="47"/>
                    </a:cubicBezTo>
                    <a:cubicBezTo>
                      <a:pt x="64" y="46"/>
                      <a:pt x="63" y="46"/>
                      <a:pt x="63" y="45"/>
                    </a:cubicBezTo>
                    <a:cubicBezTo>
                      <a:pt x="62" y="45"/>
                      <a:pt x="61" y="46"/>
                      <a:pt x="61" y="46"/>
                    </a:cubicBezTo>
                    <a:close/>
                    <a:moveTo>
                      <a:pt x="92" y="101"/>
                    </a:moveTo>
                    <a:cubicBezTo>
                      <a:pt x="92" y="100"/>
                      <a:pt x="90" y="100"/>
                      <a:pt x="90" y="100"/>
                    </a:cubicBezTo>
                    <a:cubicBezTo>
                      <a:pt x="89" y="100"/>
                      <a:pt x="89" y="99"/>
                      <a:pt x="88" y="99"/>
                    </a:cubicBezTo>
                    <a:cubicBezTo>
                      <a:pt x="87" y="99"/>
                      <a:pt x="86" y="99"/>
                      <a:pt x="86" y="99"/>
                    </a:cubicBezTo>
                    <a:cubicBezTo>
                      <a:pt x="85" y="98"/>
                      <a:pt x="85" y="98"/>
                      <a:pt x="85" y="97"/>
                    </a:cubicBezTo>
                    <a:cubicBezTo>
                      <a:pt x="83" y="96"/>
                      <a:pt x="85" y="96"/>
                      <a:pt x="86" y="96"/>
                    </a:cubicBezTo>
                    <a:cubicBezTo>
                      <a:pt x="87" y="95"/>
                      <a:pt x="88" y="94"/>
                      <a:pt x="86" y="94"/>
                    </a:cubicBezTo>
                    <a:cubicBezTo>
                      <a:pt x="85" y="94"/>
                      <a:pt x="85" y="94"/>
                      <a:pt x="84" y="94"/>
                    </a:cubicBezTo>
                    <a:cubicBezTo>
                      <a:pt x="84" y="94"/>
                      <a:pt x="83" y="94"/>
                      <a:pt x="83" y="94"/>
                    </a:cubicBezTo>
                    <a:cubicBezTo>
                      <a:pt x="83" y="94"/>
                      <a:pt x="82" y="94"/>
                      <a:pt x="82" y="94"/>
                    </a:cubicBezTo>
                    <a:cubicBezTo>
                      <a:pt x="81" y="94"/>
                      <a:pt x="81" y="93"/>
                      <a:pt x="80" y="93"/>
                    </a:cubicBezTo>
                    <a:cubicBezTo>
                      <a:pt x="79" y="93"/>
                      <a:pt x="79" y="92"/>
                      <a:pt x="79" y="91"/>
                    </a:cubicBezTo>
                    <a:cubicBezTo>
                      <a:pt x="79" y="91"/>
                      <a:pt x="80" y="90"/>
                      <a:pt x="80" y="89"/>
                    </a:cubicBezTo>
                    <a:cubicBezTo>
                      <a:pt x="80" y="89"/>
                      <a:pt x="81" y="88"/>
                      <a:pt x="80" y="88"/>
                    </a:cubicBezTo>
                    <a:cubicBezTo>
                      <a:pt x="81" y="88"/>
                      <a:pt x="81" y="87"/>
                      <a:pt x="80" y="87"/>
                    </a:cubicBezTo>
                    <a:cubicBezTo>
                      <a:pt x="80" y="87"/>
                      <a:pt x="79" y="87"/>
                      <a:pt x="79" y="87"/>
                    </a:cubicBezTo>
                    <a:cubicBezTo>
                      <a:pt x="79" y="87"/>
                      <a:pt x="78" y="88"/>
                      <a:pt x="77" y="88"/>
                    </a:cubicBezTo>
                    <a:cubicBezTo>
                      <a:pt x="77" y="88"/>
                      <a:pt x="77" y="88"/>
                      <a:pt x="76" y="88"/>
                    </a:cubicBezTo>
                    <a:cubicBezTo>
                      <a:pt x="75" y="89"/>
                      <a:pt x="74" y="88"/>
                      <a:pt x="73" y="87"/>
                    </a:cubicBezTo>
                    <a:cubicBezTo>
                      <a:pt x="73" y="87"/>
                      <a:pt x="73" y="86"/>
                      <a:pt x="73" y="85"/>
                    </a:cubicBezTo>
                    <a:cubicBezTo>
                      <a:pt x="73" y="85"/>
                      <a:pt x="73" y="84"/>
                      <a:pt x="73" y="84"/>
                    </a:cubicBezTo>
                    <a:cubicBezTo>
                      <a:pt x="72" y="83"/>
                      <a:pt x="70" y="83"/>
                      <a:pt x="71" y="82"/>
                    </a:cubicBezTo>
                    <a:cubicBezTo>
                      <a:pt x="71" y="81"/>
                      <a:pt x="71" y="79"/>
                      <a:pt x="70" y="78"/>
                    </a:cubicBezTo>
                    <a:cubicBezTo>
                      <a:pt x="70" y="77"/>
                      <a:pt x="71" y="77"/>
                      <a:pt x="70" y="77"/>
                    </a:cubicBezTo>
                    <a:cubicBezTo>
                      <a:pt x="69" y="77"/>
                      <a:pt x="69" y="77"/>
                      <a:pt x="69" y="76"/>
                    </a:cubicBezTo>
                    <a:cubicBezTo>
                      <a:pt x="69" y="76"/>
                      <a:pt x="68" y="76"/>
                      <a:pt x="68" y="75"/>
                    </a:cubicBezTo>
                    <a:cubicBezTo>
                      <a:pt x="67" y="75"/>
                      <a:pt x="66" y="76"/>
                      <a:pt x="66" y="75"/>
                    </a:cubicBezTo>
                    <a:cubicBezTo>
                      <a:pt x="66" y="74"/>
                      <a:pt x="66" y="74"/>
                      <a:pt x="66" y="74"/>
                    </a:cubicBezTo>
                    <a:cubicBezTo>
                      <a:pt x="66" y="74"/>
                      <a:pt x="66" y="74"/>
                      <a:pt x="65" y="74"/>
                    </a:cubicBezTo>
                    <a:cubicBezTo>
                      <a:pt x="65" y="73"/>
                      <a:pt x="65" y="73"/>
                      <a:pt x="65" y="73"/>
                    </a:cubicBezTo>
                    <a:cubicBezTo>
                      <a:pt x="64" y="73"/>
                      <a:pt x="64" y="72"/>
                      <a:pt x="64" y="72"/>
                    </a:cubicBezTo>
                    <a:cubicBezTo>
                      <a:pt x="64" y="72"/>
                      <a:pt x="64" y="72"/>
                      <a:pt x="64" y="72"/>
                    </a:cubicBezTo>
                    <a:cubicBezTo>
                      <a:pt x="63" y="71"/>
                      <a:pt x="63" y="71"/>
                      <a:pt x="63" y="71"/>
                    </a:cubicBezTo>
                    <a:cubicBezTo>
                      <a:pt x="62" y="71"/>
                      <a:pt x="62" y="70"/>
                      <a:pt x="62" y="70"/>
                    </a:cubicBezTo>
                    <a:cubicBezTo>
                      <a:pt x="62" y="70"/>
                      <a:pt x="62" y="71"/>
                      <a:pt x="62" y="71"/>
                    </a:cubicBezTo>
                    <a:cubicBezTo>
                      <a:pt x="61" y="70"/>
                      <a:pt x="61" y="69"/>
                      <a:pt x="61" y="69"/>
                    </a:cubicBezTo>
                    <a:cubicBezTo>
                      <a:pt x="61" y="68"/>
                      <a:pt x="61" y="68"/>
                      <a:pt x="61" y="68"/>
                    </a:cubicBezTo>
                    <a:cubicBezTo>
                      <a:pt x="61" y="67"/>
                      <a:pt x="61" y="67"/>
                      <a:pt x="61" y="67"/>
                    </a:cubicBezTo>
                    <a:cubicBezTo>
                      <a:pt x="61" y="66"/>
                      <a:pt x="61" y="66"/>
                      <a:pt x="61" y="65"/>
                    </a:cubicBezTo>
                    <a:cubicBezTo>
                      <a:pt x="61" y="66"/>
                      <a:pt x="60" y="65"/>
                      <a:pt x="60" y="65"/>
                    </a:cubicBezTo>
                    <a:cubicBezTo>
                      <a:pt x="60" y="65"/>
                      <a:pt x="60" y="65"/>
                      <a:pt x="60" y="64"/>
                    </a:cubicBezTo>
                    <a:cubicBezTo>
                      <a:pt x="60" y="63"/>
                      <a:pt x="60" y="63"/>
                      <a:pt x="60" y="62"/>
                    </a:cubicBezTo>
                    <a:cubicBezTo>
                      <a:pt x="62" y="62"/>
                      <a:pt x="64" y="63"/>
                      <a:pt x="66" y="62"/>
                    </a:cubicBezTo>
                    <a:cubicBezTo>
                      <a:pt x="67" y="62"/>
                      <a:pt x="68" y="62"/>
                      <a:pt x="69" y="62"/>
                    </a:cubicBezTo>
                    <a:cubicBezTo>
                      <a:pt x="69" y="61"/>
                      <a:pt x="69" y="61"/>
                      <a:pt x="69" y="60"/>
                    </a:cubicBezTo>
                    <a:cubicBezTo>
                      <a:pt x="69" y="60"/>
                      <a:pt x="69" y="60"/>
                      <a:pt x="69" y="59"/>
                    </a:cubicBezTo>
                    <a:cubicBezTo>
                      <a:pt x="69" y="58"/>
                      <a:pt x="68" y="58"/>
                      <a:pt x="68" y="57"/>
                    </a:cubicBezTo>
                    <a:cubicBezTo>
                      <a:pt x="67" y="56"/>
                      <a:pt x="67" y="56"/>
                      <a:pt x="66" y="55"/>
                    </a:cubicBezTo>
                    <a:cubicBezTo>
                      <a:pt x="66" y="54"/>
                      <a:pt x="65" y="54"/>
                      <a:pt x="64" y="54"/>
                    </a:cubicBezTo>
                    <a:cubicBezTo>
                      <a:pt x="63" y="54"/>
                      <a:pt x="62" y="54"/>
                      <a:pt x="62" y="54"/>
                    </a:cubicBezTo>
                    <a:cubicBezTo>
                      <a:pt x="62" y="53"/>
                      <a:pt x="62" y="54"/>
                      <a:pt x="61" y="53"/>
                    </a:cubicBezTo>
                    <a:cubicBezTo>
                      <a:pt x="61" y="53"/>
                      <a:pt x="61" y="53"/>
                      <a:pt x="60" y="53"/>
                    </a:cubicBezTo>
                    <a:cubicBezTo>
                      <a:pt x="60" y="52"/>
                      <a:pt x="59" y="53"/>
                      <a:pt x="59" y="52"/>
                    </a:cubicBezTo>
                    <a:cubicBezTo>
                      <a:pt x="58" y="51"/>
                      <a:pt x="57" y="51"/>
                      <a:pt x="57" y="51"/>
                    </a:cubicBezTo>
                    <a:cubicBezTo>
                      <a:pt x="57" y="50"/>
                      <a:pt x="56" y="50"/>
                      <a:pt x="56" y="50"/>
                    </a:cubicBezTo>
                    <a:cubicBezTo>
                      <a:pt x="56" y="50"/>
                      <a:pt x="55" y="50"/>
                      <a:pt x="55" y="50"/>
                    </a:cubicBezTo>
                    <a:cubicBezTo>
                      <a:pt x="54" y="49"/>
                      <a:pt x="53" y="49"/>
                      <a:pt x="52" y="49"/>
                    </a:cubicBezTo>
                    <a:cubicBezTo>
                      <a:pt x="52" y="49"/>
                      <a:pt x="51" y="48"/>
                      <a:pt x="50" y="49"/>
                    </a:cubicBezTo>
                    <a:cubicBezTo>
                      <a:pt x="50" y="48"/>
                      <a:pt x="50" y="48"/>
                      <a:pt x="49" y="48"/>
                    </a:cubicBezTo>
                    <a:cubicBezTo>
                      <a:pt x="49" y="48"/>
                      <a:pt x="49" y="47"/>
                      <a:pt x="49" y="47"/>
                    </a:cubicBezTo>
                    <a:cubicBezTo>
                      <a:pt x="50" y="46"/>
                      <a:pt x="50" y="46"/>
                      <a:pt x="50" y="44"/>
                    </a:cubicBezTo>
                    <a:cubicBezTo>
                      <a:pt x="50" y="43"/>
                      <a:pt x="50" y="43"/>
                      <a:pt x="50" y="42"/>
                    </a:cubicBezTo>
                    <a:cubicBezTo>
                      <a:pt x="50" y="41"/>
                      <a:pt x="49" y="41"/>
                      <a:pt x="49" y="40"/>
                    </a:cubicBezTo>
                    <a:cubicBezTo>
                      <a:pt x="48" y="40"/>
                      <a:pt x="48" y="39"/>
                      <a:pt x="47" y="38"/>
                    </a:cubicBezTo>
                    <a:cubicBezTo>
                      <a:pt x="47" y="37"/>
                      <a:pt x="46" y="36"/>
                      <a:pt x="45" y="36"/>
                    </a:cubicBezTo>
                    <a:cubicBezTo>
                      <a:pt x="44" y="36"/>
                      <a:pt x="44" y="37"/>
                      <a:pt x="43" y="36"/>
                    </a:cubicBezTo>
                    <a:cubicBezTo>
                      <a:pt x="43" y="36"/>
                      <a:pt x="43" y="34"/>
                      <a:pt x="42" y="34"/>
                    </a:cubicBezTo>
                    <a:cubicBezTo>
                      <a:pt x="41" y="34"/>
                      <a:pt x="42" y="34"/>
                      <a:pt x="41" y="33"/>
                    </a:cubicBezTo>
                    <a:cubicBezTo>
                      <a:pt x="41" y="33"/>
                      <a:pt x="40" y="33"/>
                      <a:pt x="39" y="32"/>
                    </a:cubicBezTo>
                    <a:cubicBezTo>
                      <a:pt x="38" y="32"/>
                      <a:pt x="39" y="32"/>
                      <a:pt x="38" y="31"/>
                    </a:cubicBezTo>
                    <a:cubicBezTo>
                      <a:pt x="38" y="30"/>
                      <a:pt x="36" y="30"/>
                      <a:pt x="36" y="30"/>
                    </a:cubicBezTo>
                    <a:cubicBezTo>
                      <a:pt x="35" y="31"/>
                      <a:pt x="35" y="31"/>
                      <a:pt x="35" y="30"/>
                    </a:cubicBezTo>
                    <a:cubicBezTo>
                      <a:pt x="35" y="30"/>
                      <a:pt x="34" y="30"/>
                      <a:pt x="35" y="30"/>
                    </a:cubicBezTo>
                    <a:cubicBezTo>
                      <a:pt x="34" y="30"/>
                      <a:pt x="33" y="30"/>
                      <a:pt x="33" y="30"/>
                    </a:cubicBezTo>
                    <a:cubicBezTo>
                      <a:pt x="33" y="29"/>
                      <a:pt x="32" y="29"/>
                      <a:pt x="32" y="29"/>
                    </a:cubicBezTo>
                    <a:cubicBezTo>
                      <a:pt x="32" y="29"/>
                      <a:pt x="32" y="29"/>
                      <a:pt x="32" y="28"/>
                    </a:cubicBezTo>
                    <a:cubicBezTo>
                      <a:pt x="31" y="28"/>
                      <a:pt x="31" y="28"/>
                      <a:pt x="31" y="28"/>
                    </a:cubicBezTo>
                    <a:cubicBezTo>
                      <a:pt x="31" y="28"/>
                      <a:pt x="31" y="27"/>
                      <a:pt x="30" y="27"/>
                    </a:cubicBezTo>
                    <a:cubicBezTo>
                      <a:pt x="30" y="27"/>
                      <a:pt x="30" y="27"/>
                      <a:pt x="30" y="27"/>
                    </a:cubicBezTo>
                    <a:cubicBezTo>
                      <a:pt x="29" y="27"/>
                      <a:pt x="29" y="27"/>
                      <a:pt x="29" y="27"/>
                    </a:cubicBezTo>
                    <a:cubicBezTo>
                      <a:pt x="29" y="26"/>
                      <a:pt x="28" y="26"/>
                      <a:pt x="27" y="26"/>
                    </a:cubicBezTo>
                    <a:cubicBezTo>
                      <a:pt x="27" y="26"/>
                      <a:pt x="26" y="25"/>
                      <a:pt x="25" y="25"/>
                    </a:cubicBezTo>
                    <a:cubicBezTo>
                      <a:pt x="23" y="25"/>
                      <a:pt x="21" y="24"/>
                      <a:pt x="19" y="24"/>
                    </a:cubicBezTo>
                    <a:cubicBezTo>
                      <a:pt x="19" y="23"/>
                      <a:pt x="15" y="22"/>
                      <a:pt x="15" y="22"/>
                    </a:cubicBezTo>
                    <a:cubicBezTo>
                      <a:pt x="15" y="20"/>
                      <a:pt x="14" y="21"/>
                      <a:pt x="13" y="21"/>
                    </a:cubicBezTo>
                    <a:cubicBezTo>
                      <a:pt x="12" y="20"/>
                      <a:pt x="11" y="19"/>
                      <a:pt x="10" y="19"/>
                    </a:cubicBezTo>
                    <a:cubicBezTo>
                      <a:pt x="9" y="19"/>
                      <a:pt x="9" y="18"/>
                      <a:pt x="8" y="18"/>
                    </a:cubicBezTo>
                    <a:cubicBezTo>
                      <a:pt x="7" y="17"/>
                      <a:pt x="6" y="16"/>
                      <a:pt x="5" y="17"/>
                    </a:cubicBezTo>
                    <a:cubicBezTo>
                      <a:pt x="4" y="24"/>
                      <a:pt x="4" y="32"/>
                      <a:pt x="4" y="40"/>
                    </a:cubicBezTo>
                    <a:cubicBezTo>
                      <a:pt x="3" y="43"/>
                      <a:pt x="3" y="47"/>
                      <a:pt x="3" y="51"/>
                    </a:cubicBezTo>
                    <a:cubicBezTo>
                      <a:pt x="3" y="53"/>
                      <a:pt x="3" y="55"/>
                      <a:pt x="3" y="57"/>
                    </a:cubicBezTo>
                    <a:cubicBezTo>
                      <a:pt x="3" y="57"/>
                      <a:pt x="3" y="58"/>
                      <a:pt x="2" y="58"/>
                    </a:cubicBezTo>
                    <a:cubicBezTo>
                      <a:pt x="2" y="58"/>
                      <a:pt x="2" y="59"/>
                      <a:pt x="2" y="59"/>
                    </a:cubicBezTo>
                    <a:cubicBezTo>
                      <a:pt x="2" y="59"/>
                      <a:pt x="2" y="59"/>
                      <a:pt x="2" y="59"/>
                    </a:cubicBezTo>
                    <a:cubicBezTo>
                      <a:pt x="2" y="59"/>
                      <a:pt x="2" y="59"/>
                      <a:pt x="2" y="60"/>
                    </a:cubicBezTo>
                    <a:cubicBezTo>
                      <a:pt x="2" y="60"/>
                      <a:pt x="2" y="60"/>
                      <a:pt x="2" y="60"/>
                    </a:cubicBezTo>
                    <a:cubicBezTo>
                      <a:pt x="1" y="61"/>
                      <a:pt x="1" y="61"/>
                      <a:pt x="1" y="62"/>
                    </a:cubicBezTo>
                    <a:cubicBezTo>
                      <a:pt x="1" y="62"/>
                      <a:pt x="1" y="65"/>
                      <a:pt x="2" y="64"/>
                    </a:cubicBezTo>
                    <a:cubicBezTo>
                      <a:pt x="1" y="72"/>
                      <a:pt x="1" y="79"/>
                      <a:pt x="0" y="87"/>
                    </a:cubicBezTo>
                    <a:cubicBezTo>
                      <a:pt x="0" y="88"/>
                      <a:pt x="0" y="89"/>
                      <a:pt x="1" y="89"/>
                    </a:cubicBezTo>
                    <a:cubicBezTo>
                      <a:pt x="1" y="89"/>
                      <a:pt x="1" y="90"/>
                      <a:pt x="2" y="90"/>
                    </a:cubicBezTo>
                    <a:cubicBezTo>
                      <a:pt x="2" y="90"/>
                      <a:pt x="3" y="89"/>
                      <a:pt x="3" y="89"/>
                    </a:cubicBezTo>
                    <a:cubicBezTo>
                      <a:pt x="4" y="89"/>
                      <a:pt x="5" y="89"/>
                      <a:pt x="5" y="89"/>
                    </a:cubicBezTo>
                    <a:cubicBezTo>
                      <a:pt x="6" y="90"/>
                      <a:pt x="7" y="90"/>
                      <a:pt x="7" y="89"/>
                    </a:cubicBezTo>
                    <a:cubicBezTo>
                      <a:pt x="8" y="89"/>
                      <a:pt x="9" y="90"/>
                      <a:pt x="10" y="89"/>
                    </a:cubicBezTo>
                    <a:cubicBezTo>
                      <a:pt x="10" y="89"/>
                      <a:pt x="11" y="89"/>
                      <a:pt x="11" y="89"/>
                    </a:cubicBezTo>
                    <a:cubicBezTo>
                      <a:pt x="12" y="89"/>
                      <a:pt x="12" y="89"/>
                      <a:pt x="13" y="89"/>
                    </a:cubicBezTo>
                    <a:cubicBezTo>
                      <a:pt x="14" y="90"/>
                      <a:pt x="16" y="91"/>
                      <a:pt x="16" y="91"/>
                    </a:cubicBezTo>
                    <a:cubicBezTo>
                      <a:pt x="17" y="90"/>
                      <a:pt x="18" y="90"/>
                      <a:pt x="18" y="89"/>
                    </a:cubicBezTo>
                    <a:cubicBezTo>
                      <a:pt x="19" y="89"/>
                      <a:pt x="20" y="88"/>
                      <a:pt x="20" y="88"/>
                    </a:cubicBezTo>
                    <a:cubicBezTo>
                      <a:pt x="21" y="88"/>
                      <a:pt x="22" y="88"/>
                      <a:pt x="23" y="87"/>
                    </a:cubicBezTo>
                    <a:cubicBezTo>
                      <a:pt x="23" y="87"/>
                      <a:pt x="24" y="87"/>
                      <a:pt x="24" y="86"/>
                    </a:cubicBezTo>
                    <a:cubicBezTo>
                      <a:pt x="24" y="85"/>
                      <a:pt x="24" y="84"/>
                      <a:pt x="23" y="83"/>
                    </a:cubicBezTo>
                    <a:cubicBezTo>
                      <a:pt x="23" y="83"/>
                      <a:pt x="22" y="82"/>
                      <a:pt x="21" y="82"/>
                    </a:cubicBezTo>
                    <a:cubicBezTo>
                      <a:pt x="21" y="81"/>
                      <a:pt x="20" y="81"/>
                      <a:pt x="19" y="81"/>
                    </a:cubicBezTo>
                    <a:cubicBezTo>
                      <a:pt x="18" y="80"/>
                      <a:pt x="18" y="80"/>
                      <a:pt x="17" y="80"/>
                    </a:cubicBezTo>
                    <a:cubicBezTo>
                      <a:pt x="16" y="80"/>
                      <a:pt x="16" y="80"/>
                      <a:pt x="15" y="80"/>
                    </a:cubicBezTo>
                    <a:cubicBezTo>
                      <a:pt x="14" y="80"/>
                      <a:pt x="15" y="78"/>
                      <a:pt x="14" y="78"/>
                    </a:cubicBezTo>
                    <a:cubicBezTo>
                      <a:pt x="14" y="78"/>
                      <a:pt x="12" y="79"/>
                      <a:pt x="12" y="79"/>
                    </a:cubicBezTo>
                    <a:cubicBezTo>
                      <a:pt x="12" y="78"/>
                      <a:pt x="13" y="78"/>
                      <a:pt x="14" y="78"/>
                    </a:cubicBezTo>
                    <a:cubicBezTo>
                      <a:pt x="15" y="78"/>
                      <a:pt x="14" y="79"/>
                      <a:pt x="15" y="79"/>
                    </a:cubicBezTo>
                    <a:cubicBezTo>
                      <a:pt x="15" y="80"/>
                      <a:pt x="17" y="79"/>
                      <a:pt x="18" y="79"/>
                    </a:cubicBezTo>
                    <a:cubicBezTo>
                      <a:pt x="19" y="79"/>
                      <a:pt x="20" y="80"/>
                      <a:pt x="21" y="80"/>
                    </a:cubicBezTo>
                    <a:cubicBezTo>
                      <a:pt x="22" y="79"/>
                      <a:pt x="23" y="79"/>
                      <a:pt x="24" y="79"/>
                    </a:cubicBezTo>
                    <a:cubicBezTo>
                      <a:pt x="25" y="79"/>
                      <a:pt x="26" y="79"/>
                      <a:pt x="26" y="79"/>
                    </a:cubicBezTo>
                    <a:cubicBezTo>
                      <a:pt x="27" y="78"/>
                      <a:pt x="26" y="77"/>
                      <a:pt x="26" y="76"/>
                    </a:cubicBezTo>
                    <a:cubicBezTo>
                      <a:pt x="25" y="76"/>
                      <a:pt x="25" y="76"/>
                      <a:pt x="25" y="76"/>
                    </a:cubicBezTo>
                    <a:cubicBezTo>
                      <a:pt x="25" y="76"/>
                      <a:pt x="25" y="76"/>
                      <a:pt x="25" y="76"/>
                    </a:cubicBezTo>
                    <a:cubicBezTo>
                      <a:pt x="25" y="75"/>
                      <a:pt x="24" y="75"/>
                      <a:pt x="24" y="75"/>
                    </a:cubicBezTo>
                    <a:cubicBezTo>
                      <a:pt x="24" y="75"/>
                      <a:pt x="25" y="75"/>
                      <a:pt x="25" y="75"/>
                    </a:cubicBezTo>
                    <a:cubicBezTo>
                      <a:pt x="25" y="75"/>
                      <a:pt x="25" y="76"/>
                      <a:pt x="25" y="76"/>
                    </a:cubicBezTo>
                    <a:cubicBezTo>
                      <a:pt x="26" y="77"/>
                      <a:pt x="27" y="76"/>
                      <a:pt x="27" y="76"/>
                    </a:cubicBezTo>
                    <a:cubicBezTo>
                      <a:pt x="28" y="77"/>
                      <a:pt x="29" y="77"/>
                      <a:pt x="29" y="76"/>
                    </a:cubicBezTo>
                    <a:cubicBezTo>
                      <a:pt x="30" y="76"/>
                      <a:pt x="29" y="76"/>
                      <a:pt x="28" y="75"/>
                    </a:cubicBezTo>
                    <a:cubicBezTo>
                      <a:pt x="29" y="76"/>
                      <a:pt x="30" y="76"/>
                      <a:pt x="30" y="76"/>
                    </a:cubicBezTo>
                    <a:cubicBezTo>
                      <a:pt x="30" y="75"/>
                      <a:pt x="29" y="75"/>
                      <a:pt x="29" y="74"/>
                    </a:cubicBezTo>
                    <a:cubicBezTo>
                      <a:pt x="29" y="73"/>
                      <a:pt x="28" y="72"/>
                      <a:pt x="28" y="71"/>
                    </a:cubicBezTo>
                    <a:cubicBezTo>
                      <a:pt x="28" y="71"/>
                      <a:pt x="28" y="71"/>
                      <a:pt x="28" y="71"/>
                    </a:cubicBezTo>
                    <a:cubicBezTo>
                      <a:pt x="28" y="71"/>
                      <a:pt x="27" y="70"/>
                      <a:pt x="27" y="70"/>
                    </a:cubicBezTo>
                    <a:cubicBezTo>
                      <a:pt x="28" y="70"/>
                      <a:pt x="28" y="70"/>
                      <a:pt x="28" y="71"/>
                    </a:cubicBezTo>
                    <a:cubicBezTo>
                      <a:pt x="29" y="71"/>
                      <a:pt x="29" y="71"/>
                      <a:pt x="29" y="72"/>
                    </a:cubicBezTo>
                    <a:cubicBezTo>
                      <a:pt x="29" y="73"/>
                      <a:pt x="30" y="73"/>
                      <a:pt x="30" y="73"/>
                    </a:cubicBezTo>
                    <a:cubicBezTo>
                      <a:pt x="31" y="73"/>
                      <a:pt x="32" y="74"/>
                      <a:pt x="33" y="74"/>
                    </a:cubicBezTo>
                    <a:cubicBezTo>
                      <a:pt x="33" y="74"/>
                      <a:pt x="33" y="73"/>
                      <a:pt x="33" y="72"/>
                    </a:cubicBezTo>
                    <a:cubicBezTo>
                      <a:pt x="33" y="72"/>
                      <a:pt x="33" y="73"/>
                      <a:pt x="33" y="73"/>
                    </a:cubicBezTo>
                    <a:cubicBezTo>
                      <a:pt x="34" y="73"/>
                      <a:pt x="34" y="72"/>
                      <a:pt x="34" y="72"/>
                    </a:cubicBezTo>
                    <a:cubicBezTo>
                      <a:pt x="34" y="72"/>
                      <a:pt x="34" y="74"/>
                      <a:pt x="34" y="73"/>
                    </a:cubicBezTo>
                    <a:cubicBezTo>
                      <a:pt x="35" y="73"/>
                      <a:pt x="35" y="74"/>
                      <a:pt x="35" y="74"/>
                    </a:cubicBezTo>
                    <a:cubicBezTo>
                      <a:pt x="35" y="74"/>
                      <a:pt x="35" y="73"/>
                      <a:pt x="35" y="73"/>
                    </a:cubicBezTo>
                    <a:cubicBezTo>
                      <a:pt x="35" y="72"/>
                      <a:pt x="35" y="71"/>
                      <a:pt x="35" y="71"/>
                    </a:cubicBezTo>
                    <a:cubicBezTo>
                      <a:pt x="35" y="71"/>
                      <a:pt x="35" y="72"/>
                      <a:pt x="35" y="72"/>
                    </a:cubicBezTo>
                    <a:cubicBezTo>
                      <a:pt x="35" y="72"/>
                      <a:pt x="36" y="73"/>
                      <a:pt x="36" y="72"/>
                    </a:cubicBezTo>
                    <a:cubicBezTo>
                      <a:pt x="36" y="72"/>
                      <a:pt x="36" y="71"/>
                      <a:pt x="36" y="71"/>
                    </a:cubicBezTo>
                    <a:cubicBezTo>
                      <a:pt x="36" y="71"/>
                      <a:pt x="36" y="72"/>
                      <a:pt x="36" y="72"/>
                    </a:cubicBezTo>
                    <a:cubicBezTo>
                      <a:pt x="36" y="73"/>
                      <a:pt x="37" y="72"/>
                      <a:pt x="37" y="72"/>
                    </a:cubicBezTo>
                    <a:cubicBezTo>
                      <a:pt x="37" y="72"/>
                      <a:pt x="37" y="72"/>
                      <a:pt x="37" y="72"/>
                    </a:cubicBezTo>
                    <a:cubicBezTo>
                      <a:pt x="37" y="71"/>
                      <a:pt x="38" y="73"/>
                      <a:pt x="38" y="73"/>
                    </a:cubicBezTo>
                    <a:cubicBezTo>
                      <a:pt x="39" y="73"/>
                      <a:pt x="39" y="72"/>
                      <a:pt x="39" y="72"/>
                    </a:cubicBezTo>
                    <a:cubicBezTo>
                      <a:pt x="39" y="72"/>
                      <a:pt x="38" y="74"/>
                      <a:pt x="39" y="74"/>
                    </a:cubicBezTo>
                    <a:cubicBezTo>
                      <a:pt x="40" y="74"/>
                      <a:pt x="40" y="74"/>
                      <a:pt x="41" y="74"/>
                    </a:cubicBezTo>
                    <a:cubicBezTo>
                      <a:pt x="41" y="74"/>
                      <a:pt x="41" y="74"/>
                      <a:pt x="41" y="74"/>
                    </a:cubicBezTo>
                    <a:cubicBezTo>
                      <a:pt x="41" y="74"/>
                      <a:pt x="41" y="75"/>
                      <a:pt x="42" y="74"/>
                    </a:cubicBezTo>
                    <a:cubicBezTo>
                      <a:pt x="42" y="74"/>
                      <a:pt x="42" y="74"/>
                      <a:pt x="42" y="75"/>
                    </a:cubicBezTo>
                    <a:cubicBezTo>
                      <a:pt x="42" y="75"/>
                      <a:pt x="43" y="75"/>
                      <a:pt x="43" y="75"/>
                    </a:cubicBezTo>
                    <a:cubicBezTo>
                      <a:pt x="43" y="75"/>
                      <a:pt x="44" y="75"/>
                      <a:pt x="44" y="75"/>
                    </a:cubicBezTo>
                    <a:cubicBezTo>
                      <a:pt x="45" y="76"/>
                      <a:pt x="46" y="75"/>
                      <a:pt x="46" y="76"/>
                    </a:cubicBezTo>
                    <a:cubicBezTo>
                      <a:pt x="46" y="76"/>
                      <a:pt x="47" y="76"/>
                      <a:pt x="47" y="76"/>
                    </a:cubicBezTo>
                    <a:cubicBezTo>
                      <a:pt x="47" y="75"/>
                      <a:pt x="47" y="75"/>
                      <a:pt x="48" y="75"/>
                    </a:cubicBezTo>
                    <a:cubicBezTo>
                      <a:pt x="48" y="76"/>
                      <a:pt x="48" y="77"/>
                      <a:pt x="49" y="77"/>
                    </a:cubicBezTo>
                    <a:cubicBezTo>
                      <a:pt x="49" y="77"/>
                      <a:pt x="51" y="77"/>
                      <a:pt x="51" y="77"/>
                    </a:cubicBezTo>
                    <a:cubicBezTo>
                      <a:pt x="50" y="78"/>
                      <a:pt x="51" y="79"/>
                      <a:pt x="51" y="79"/>
                    </a:cubicBezTo>
                    <a:cubicBezTo>
                      <a:pt x="52" y="79"/>
                      <a:pt x="52" y="81"/>
                      <a:pt x="52" y="82"/>
                    </a:cubicBezTo>
                    <a:cubicBezTo>
                      <a:pt x="53" y="83"/>
                      <a:pt x="54" y="83"/>
                      <a:pt x="54" y="84"/>
                    </a:cubicBezTo>
                    <a:cubicBezTo>
                      <a:pt x="54" y="85"/>
                      <a:pt x="54" y="85"/>
                      <a:pt x="55" y="85"/>
                    </a:cubicBezTo>
                    <a:cubicBezTo>
                      <a:pt x="55" y="86"/>
                      <a:pt x="54" y="85"/>
                      <a:pt x="54" y="86"/>
                    </a:cubicBezTo>
                    <a:cubicBezTo>
                      <a:pt x="54" y="86"/>
                      <a:pt x="54" y="86"/>
                      <a:pt x="54" y="87"/>
                    </a:cubicBezTo>
                    <a:cubicBezTo>
                      <a:pt x="54" y="87"/>
                      <a:pt x="55" y="88"/>
                      <a:pt x="56" y="88"/>
                    </a:cubicBezTo>
                    <a:cubicBezTo>
                      <a:pt x="56" y="88"/>
                      <a:pt x="57" y="88"/>
                      <a:pt x="57" y="88"/>
                    </a:cubicBezTo>
                    <a:cubicBezTo>
                      <a:pt x="57" y="88"/>
                      <a:pt x="58" y="87"/>
                      <a:pt x="58" y="87"/>
                    </a:cubicBezTo>
                    <a:cubicBezTo>
                      <a:pt x="59" y="88"/>
                      <a:pt x="58" y="88"/>
                      <a:pt x="57" y="88"/>
                    </a:cubicBezTo>
                    <a:cubicBezTo>
                      <a:pt x="57" y="89"/>
                      <a:pt x="57" y="89"/>
                      <a:pt x="57" y="90"/>
                    </a:cubicBezTo>
                    <a:cubicBezTo>
                      <a:pt x="57" y="90"/>
                      <a:pt x="57" y="90"/>
                      <a:pt x="57" y="90"/>
                    </a:cubicBezTo>
                    <a:cubicBezTo>
                      <a:pt x="58" y="90"/>
                      <a:pt x="58" y="91"/>
                      <a:pt x="58" y="91"/>
                    </a:cubicBezTo>
                    <a:cubicBezTo>
                      <a:pt x="58" y="92"/>
                      <a:pt x="59" y="93"/>
                      <a:pt x="59" y="92"/>
                    </a:cubicBezTo>
                    <a:cubicBezTo>
                      <a:pt x="59" y="92"/>
                      <a:pt x="59" y="92"/>
                      <a:pt x="59" y="92"/>
                    </a:cubicBezTo>
                    <a:cubicBezTo>
                      <a:pt x="59" y="93"/>
                      <a:pt x="60" y="93"/>
                      <a:pt x="60" y="93"/>
                    </a:cubicBezTo>
                    <a:cubicBezTo>
                      <a:pt x="60" y="93"/>
                      <a:pt x="60" y="93"/>
                      <a:pt x="61" y="93"/>
                    </a:cubicBezTo>
                    <a:cubicBezTo>
                      <a:pt x="61" y="93"/>
                      <a:pt x="61" y="94"/>
                      <a:pt x="61" y="94"/>
                    </a:cubicBezTo>
                    <a:cubicBezTo>
                      <a:pt x="62" y="95"/>
                      <a:pt x="62" y="95"/>
                      <a:pt x="62" y="96"/>
                    </a:cubicBezTo>
                    <a:cubicBezTo>
                      <a:pt x="62" y="96"/>
                      <a:pt x="62" y="97"/>
                      <a:pt x="63" y="97"/>
                    </a:cubicBezTo>
                    <a:cubicBezTo>
                      <a:pt x="63" y="98"/>
                      <a:pt x="64" y="98"/>
                      <a:pt x="64" y="99"/>
                    </a:cubicBezTo>
                    <a:cubicBezTo>
                      <a:pt x="64" y="99"/>
                      <a:pt x="64" y="99"/>
                      <a:pt x="64" y="99"/>
                    </a:cubicBezTo>
                    <a:cubicBezTo>
                      <a:pt x="64" y="99"/>
                      <a:pt x="65" y="99"/>
                      <a:pt x="65" y="99"/>
                    </a:cubicBezTo>
                    <a:cubicBezTo>
                      <a:pt x="66" y="99"/>
                      <a:pt x="65" y="99"/>
                      <a:pt x="66" y="99"/>
                    </a:cubicBezTo>
                    <a:cubicBezTo>
                      <a:pt x="66" y="99"/>
                      <a:pt x="66" y="99"/>
                      <a:pt x="65" y="99"/>
                    </a:cubicBezTo>
                    <a:cubicBezTo>
                      <a:pt x="66" y="99"/>
                      <a:pt x="66" y="100"/>
                      <a:pt x="67" y="100"/>
                    </a:cubicBezTo>
                    <a:cubicBezTo>
                      <a:pt x="67" y="99"/>
                      <a:pt x="68" y="100"/>
                      <a:pt x="68" y="99"/>
                    </a:cubicBezTo>
                    <a:cubicBezTo>
                      <a:pt x="68" y="99"/>
                      <a:pt x="69" y="100"/>
                      <a:pt x="69" y="100"/>
                    </a:cubicBezTo>
                    <a:cubicBezTo>
                      <a:pt x="70" y="100"/>
                      <a:pt x="70" y="100"/>
                      <a:pt x="71" y="100"/>
                    </a:cubicBezTo>
                    <a:cubicBezTo>
                      <a:pt x="71" y="100"/>
                      <a:pt x="73" y="100"/>
                      <a:pt x="74" y="99"/>
                    </a:cubicBezTo>
                    <a:cubicBezTo>
                      <a:pt x="74" y="100"/>
                      <a:pt x="74" y="100"/>
                      <a:pt x="74" y="100"/>
                    </a:cubicBezTo>
                    <a:cubicBezTo>
                      <a:pt x="74" y="100"/>
                      <a:pt x="74" y="100"/>
                      <a:pt x="74" y="100"/>
                    </a:cubicBezTo>
                    <a:cubicBezTo>
                      <a:pt x="74" y="101"/>
                      <a:pt x="74" y="101"/>
                      <a:pt x="74" y="101"/>
                    </a:cubicBezTo>
                    <a:cubicBezTo>
                      <a:pt x="75" y="101"/>
                      <a:pt x="75" y="101"/>
                      <a:pt x="76" y="101"/>
                    </a:cubicBezTo>
                    <a:cubicBezTo>
                      <a:pt x="76" y="101"/>
                      <a:pt x="77" y="101"/>
                      <a:pt x="77" y="101"/>
                    </a:cubicBezTo>
                    <a:cubicBezTo>
                      <a:pt x="78" y="101"/>
                      <a:pt x="79" y="102"/>
                      <a:pt x="79" y="102"/>
                    </a:cubicBezTo>
                    <a:cubicBezTo>
                      <a:pt x="80" y="102"/>
                      <a:pt x="80" y="101"/>
                      <a:pt x="80" y="101"/>
                    </a:cubicBezTo>
                    <a:cubicBezTo>
                      <a:pt x="80" y="102"/>
                      <a:pt x="80" y="102"/>
                      <a:pt x="81" y="102"/>
                    </a:cubicBezTo>
                    <a:cubicBezTo>
                      <a:pt x="81" y="102"/>
                      <a:pt x="81" y="102"/>
                      <a:pt x="81" y="102"/>
                    </a:cubicBezTo>
                    <a:cubicBezTo>
                      <a:pt x="82" y="102"/>
                      <a:pt x="84" y="102"/>
                      <a:pt x="84" y="102"/>
                    </a:cubicBezTo>
                    <a:cubicBezTo>
                      <a:pt x="85" y="103"/>
                      <a:pt x="85" y="103"/>
                      <a:pt x="85" y="103"/>
                    </a:cubicBezTo>
                    <a:cubicBezTo>
                      <a:pt x="85" y="103"/>
                      <a:pt x="85" y="103"/>
                      <a:pt x="85" y="103"/>
                    </a:cubicBezTo>
                    <a:cubicBezTo>
                      <a:pt x="86" y="103"/>
                      <a:pt x="86" y="103"/>
                      <a:pt x="86" y="103"/>
                    </a:cubicBezTo>
                    <a:cubicBezTo>
                      <a:pt x="86" y="104"/>
                      <a:pt x="86" y="104"/>
                      <a:pt x="85" y="104"/>
                    </a:cubicBezTo>
                    <a:cubicBezTo>
                      <a:pt x="85" y="104"/>
                      <a:pt x="85" y="104"/>
                      <a:pt x="85" y="104"/>
                    </a:cubicBezTo>
                    <a:cubicBezTo>
                      <a:pt x="85" y="104"/>
                      <a:pt x="85" y="104"/>
                      <a:pt x="85" y="104"/>
                    </a:cubicBezTo>
                    <a:cubicBezTo>
                      <a:pt x="84" y="104"/>
                      <a:pt x="84" y="104"/>
                      <a:pt x="85" y="104"/>
                    </a:cubicBezTo>
                    <a:cubicBezTo>
                      <a:pt x="85" y="104"/>
                      <a:pt x="85" y="105"/>
                      <a:pt x="86" y="105"/>
                    </a:cubicBezTo>
                    <a:cubicBezTo>
                      <a:pt x="86" y="104"/>
                      <a:pt x="86" y="106"/>
                      <a:pt x="87" y="105"/>
                    </a:cubicBezTo>
                    <a:cubicBezTo>
                      <a:pt x="87" y="105"/>
                      <a:pt x="88" y="106"/>
                      <a:pt x="88" y="106"/>
                    </a:cubicBezTo>
                    <a:cubicBezTo>
                      <a:pt x="88" y="106"/>
                      <a:pt x="89" y="105"/>
                      <a:pt x="89" y="105"/>
                    </a:cubicBezTo>
                    <a:cubicBezTo>
                      <a:pt x="90" y="106"/>
                      <a:pt x="90" y="105"/>
                      <a:pt x="91" y="105"/>
                    </a:cubicBezTo>
                    <a:cubicBezTo>
                      <a:pt x="91" y="105"/>
                      <a:pt x="93" y="105"/>
                      <a:pt x="92" y="104"/>
                    </a:cubicBezTo>
                    <a:cubicBezTo>
                      <a:pt x="92" y="103"/>
                      <a:pt x="90" y="103"/>
                      <a:pt x="90" y="102"/>
                    </a:cubicBezTo>
                    <a:cubicBezTo>
                      <a:pt x="89" y="102"/>
                      <a:pt x="90" y="101"/>
                      <a:pt x="90" y="102"/>
                    </a:cubicBezTo>
                    <a:cubicBezTo>
                      <a:pt x="91" y="102"/>
                      <a:pt x="91" y="102"/>
                      <a:pt x="92" y="102"/>
                    </a:cubicBezTo>
                    <a:cubicBezTo>
                      <a:pt x="92" y="102"/>
                      <a:pt x="95" y="101"/>
                      <a:pt x="94" y="101"/>
                    </a:cubicBezTo>
                    <a:cubicBezTo>
                      <a:pt x="94" y="101"/>
                      <a:pt x="92" y="102"/>
                      <a:pt x="92" y="101"/>
                    </a:cubicBezTo>
                    <a:close/>
                    <a:moveTo>
                      <a:pt x="93" y="104"/>
                    </a:moveTo>
                    <a:cubicBezTo>
                      <a:pt x="93" y="104"/>
                      <a:pt x="94" y="105"/>
                      <a:pt x="94" y="105"/>
                    </a:cubicBezTo>
                    <a:cubicBezTo>
                      <a:pt x="94" y="105"/>
                      <a:pt x="93" y="105"/>
                      <a:pt x="93" y="105"/>
                    </a:cubicBezTo>
                    <a:cubicBezTo>
                      <a:pt x="93" y="105"/>
                      <a:pt x="94" y="105"/>
                      <a:pt x="94" y="105"/>
                    </a:cubicBezTo>
                    <a:cubicBezTo>
                      <a:pt x="94" y="105"/>
                      <a:pt x="94" y="104"/>
                      <a:pt x="94" y="104"/>
                    </a:cubicBezTo>
                    <a:cubicBezTo>
                      <a:pt x="94" y="104"/>
                      <a:pt x="93" y="104"/>
                      <a:pt x="93" y="104"/>
                    </a:cubicBezTo>
                    <a:close/>
                    <a:moveTo>
                      <a:pt x="39" y="0"/>
                    </a:moveTo>
                    <a:cubicBezTo>
                      <a:pt x="39" y="0"/>
                      <a:pt x="39" y="0"/>
                      <a:pt x="39" y="1"/>
                    </a:cubicBezTo>
                    <a:cubicBezTo>
                      <a:pt x="39" y="1"/>
                      <a:pt x="39" y="0"/>
                      <a:pt x="39" y="0"/>
                    </a:cubicBezTo>
                    <a:close/>
                    <a:moveTo>
                      <a:pt x="147" y="61"/>
                    </a:moveTo>
                    <a:cubicBezTo>
                      <a:pt x="147" y="61"/>
                      <a:pt x="147" y="60"/>
                      <a:pt x="147" y="60"/>
                    </a:cubicBezTo>
                    <a:cubicBezTo>
                      <a:pt x="147" y="59"/>
                      <a:pt x="146" y="60"/>
                      <a:pt x="146" y="59"/>
                    </a:cubicBezTo>
                    <a:cubicBezTo>
                      <a:pt x="146" y="58"/>
                      <a:pt x="146" y="58"/>
                      <a:pt x="145" y="57"/>
                    </a:cubicBezTo>
                    <a:cubicBezTo>
                      <a:pt x="145" y="57"/>
                      <a:pt x="144" y="56"/>
                      <a:pt x="144" y="56"/>
                    </a:cubicBezTo>
                    <a:cubicBezTo>
                      <a:pt x="144" y="56"/>
                      <a:pt x="144" y="57"/>
                      <a:pt x="144" y="57"/>
                    </a:cubicBezTo>
                    <a:cubicBezTo>
                      <a:pt x="143" y="56"/>
                      <a:pt x="144" y="56"/>
                      <a:pt x="143" y="56"/>
                    </a:cubicBezTo>
                    <a:cubicBezTo>
                      <a:pt x="143" y="56"/>
                      <a:pt x="143" y="56"/>
                      <a:pt x="143" y="55"/>
                    </a:cubicBezTo>
                    <a:cubicBezTo>
                      <a:pt x="142" y="55"/>
                      <a:pt x="142" y="55"/>
                      <a:pt x="142" y="55"/>
                    </a:cubicBezTo>
                    <a:cubicBezTo>
                      <a:pt x="142" y="54"/>
                      <a:pt x="142" y="54"/>
                      <a:pt x="141" y="53"/>
                    </a:cubicBezTo>
                    <a:cubicBezTo>
                      <a:pt x="141" y="53"/>
                      <a:pt x="140" y="53"/>
                      <a:pt x="140" y="52"/>
                    </a:cubicBezTo>
                    <a:cubicBezTo>
                      <a:pt x="140" y="52"/>
                      <a:pt x="140" y="51"/>
                      <a:pt x="140" y="51"/>
                    </a:cubicBezTo>
                    <a:cubicBezTo>
                      <a:pt x="140" y="51"/>
                      <a:pt x="139" y="49"/>
                      <a:pt x="139" y="49"/>
                    </a:cubicBezTo>
                    <a:cubicBezTo>
                      <a:pt x="140" y="49"/>
                      <a:pt x="139" y="49"/>
                      <a:pt x="139" y="49"/>
                    </a:cubicBezTo>
                    <a:cubicBezTo>
                      <a:pt x="139" y="49"/>
                      <a:pt x="138" y="49"/>
                      <a:pt x="138" y="49"/>
                    </a:cubicBezTo>
                    <a:cubicBezTo>
                      <a:pt x="138" y="49"/>
                      <a:pt x="137" y="49"/>
                      <a:pt x="137" y="49"/>
                    </a:cubicBezTo>
                    <a:cubicBezTo>
                      <a:pt x="137" y="49"/>
                      <a:pt x="137" y="49"/>
                      <a:pt x="137" y="49"/>
                    </a:cubicBezTo>
                    <a:cubicBezTo>
                      <a:pt x="137" y="49"/>
                      <a:pt x="137" y="48"/>
                      <a:pt x="136" y="48"/>
                    </a:cubicBezTo>
                    <a:cubicBezTo>
                      <a:pt x="136" y="48"/>
                      <a:pt x="136" y="48"/>
                      <a:pt x="136" y="48"/>
                    </a:cubicBezTo>
                    <a:cubicBezTo>
                      <a:pt x="136" y="48"/>
                      <a:pt x="136" y="48"/>
                      <a:pt x="136" y="48"/>
                    </a:cubicBezTo>
                    <a:cubicBezTo>
                      <a:pt x="136" y="49"/>
                      <a:pt x="137" y="49"/>
                      <a:pt x="136" y="50"/>
                    </a:cubicBezTo>
                    <a:cubicBezTo>
                      <a:pt x="136" y="49"/>
                      <a:pt x="136" y="50"/>
                      <a:pt x="136" y="50"/>
                    </a:cubicBezTo>
                    <a:cubicBezTo>
                      <a:pt x="135" y="51"/>
                      <a:pt x="136" y="52"/>
                      <a:pt x="136" y="52"/>
                    </a:cubicBezTo>
                    <a:cubicBezTo>
                      <a:pt x="136" y="53"/>
                      <a:pt x="136" y="54"/>
                      <a:pt x="137" y="54"/>
                    </a:cubicBezTo>
                    <a:cubicBezTo>
                      <a:pt x="137" y="55"/>
                      <a:pt x="138" y="55"/>
                      <a:pt x="138" y="56"/>
                    </a:cubicBezTo>
                    <a:cubicBezTo>
                      <a:pt x="138" y="58"/>
                      <a:pt x="140" y="57"/>
                      <a:pt x="140" y="58"/>
                    </a:cubicBezTo>
                    <a:cubicBezTo>
                      <a:pt x="140" y="59"/>
                      <a:pt x="140" y="59"/>
                      <a:pt x="140" y="60"/>
                    </a:cubicBezTo>
                    <a:cubicBezTo>
                      <a:pt x="140" y="60"/>
                      <a:pt x="139" y="60"/>
                      <a:pt x="139" y="60"/>
                    </a:cubicBezTo>
                    <a:cubicBezTo>
                      <a:pt x="139" y="60"/>
                      <a:pt x="141" y="62"/>
                      <a:pt x="142" y="62"/>
                    </a:cubicBezTo>
                    <a:cubicBezTo>
                      <a:pt x="142" y="63"/>
                      <a:pt x="144" y="63"/>
                      <a:pt x="145" y="64"/>
                    </a:cubicBezTo>
                    <a:cubicBezTo>
                      <a:pt x="145" y="64"/>
                      <a:pt x="146" y="62"/>
                      <a:pt x="146" y="63"/>
                    </a:cubicBezTo>
                    <a:cubicBezTo>
                      <a:pt x="146" y="63"/>
                      <a:pt x="147" y="62"/>
                      <a:pt x="147" y="62"/>
                    </a:cubicBezTo>
                    <a:cubicBezTo>
                      <a:pt x="147" y="62"/>
                      <a:pt x="146" y="63"/>
                      <a:pt x="147" y="63"/>
                    </a:cubicBezTo>
                    <a:cubicBezTo>
                      <a:pt x="147" y="63"/>
                      <a:pt x="147" y="61"/>
                      <a:pt x="147" y="61"/>
                    </a:cubicBezTo>
                    <a:close/>
                    <a:moveTo>
                      <a:pt x="97" y="99"/>
                    </a:moveTo>
                    <a:cubicBezTo>
                      <a:pt x="97" y="99"/>
                      <a:pt x="96" y="98"/>
                      <a:pt x="97" y="98"/>
                    </a:cubicBezTo>
                    <a:cubicBezTo>
                      <a:pt x="96" y="97"/>
                      <a:pt x="96" y="97"/>
                      <a:pt x="96" y="97"/>
                    </a:cubicBezTo>
                    <a:cubicBezTo>
                      <a:pt x="95" y="96"/>
                      <a:pt x="95" y="96"/>
                      <a:pt x="95" y="96"/>
                    </a:cubicBezTo>
                    <a:cubicBezTo>
                      <a:pt x="95" y="96"/>
                      <a:pt x="94" y="94"/>
                      <a:pt x="94" y="95"/>
                    </a:cubicBezTo>
                    <a:cubicBezTo>
                      <a:pt x="94" y="96"/>
                      <a:pt x="95" y="96"/>
                      <a:pt x="95" y="97"/>
                    </a:cubicBezTo>
                    <a:cubicBezTo>
                      <a:pt x="95" y="97"/>
                      <a:pt x="95" y="98"/>
                      <a:pt x="95" y="98"/>
                    </a:cubicBezTo>
                    <a:cubicBezTo>
                      <a:pt x="95" y="98"/>
                      <a:pt x="95" y="98"/>
                      <a:pt x="96" y="98"/>
                    </a:cubicBezTo>
                    <a:cubicBezTo>
                      <a:pt x="96" y="98"/>
                      <a:pt x="95" y="99"/>
                      <a:pt x="96" y="99"/>
                    </a:cubicBezTo>
                    <a:cubicBezTo>
                      <a:pt x="96" y="100"/>
                      <a:pt x="97" y="100"/>
                      <a:pt x="98" y="100"/>
                    </a:cubicBezTo>
                    <a:cubicBezTo>
                      <a:pt x="98" y="100"/>
                      <a:pt x="99" y="98"/>
                      <a:pt x="99" y="97"/>
                    </a:cubicBezTo>
                    <a:cubicBezTo>
                      <a:pt x="98" y="97"/>
                      <a:pt x="98" y="99"/>
                      <a:pt x="97" y="99"/>
                    </a:cubicBezTo>
                    <a:close/>
                    <a:moveTo>
                      <a:pt x="71" y="13"/>
                    </a:moveTo>
                    <a:cubicBezTo>
                      <a:pt x="71" y="13"/>
                      <a:pt x="70" y="14"/>
                      <a:pt x="70" y="14"/>
                    </a:cubicBezTo>
                    <a:cubicBezTo>
                      <a:pt x="71" y="14"/>
                      <a:pt x="72" y="14"/>
                      <a:pt x="71" y="13"/>
                    </a:cubicBezTo>
                    <a:close/>
                    <a:moveTo>
                      <a:pt x="102" y="21"/>
                    </a:moveTo>
                    <a:cubicBezTo>
                      <a:pt x="102" y="21"/>
                      <a:pt x="101" y="20"/>
                      <a:pt x="100" y="20"/>
                    </a:cubicBezTo>
                    <a:cubicBezTo>
                      <a:pt x="100" y="20"/>
                      <a:pt x="99" y="21"/>
                      <a:pt x="99" y="21"/>
                    </a:cubicBezTo>
                    <a:cubicBezTo>
                      <a:pt x="100" y="21"/>
                      <a:pt x="101" y="21"/>
                      <a:pt x="102" y="21"/>
                    </a:cubicBezTo>
                    <a:close/>
                    <a:moveTo>
                      <a:pt x="117" y="22"/>
                    </a:moveTo>
                    <a:cubicBezTo>
                      <a:pt x="117" y="22"/>
                      <a:pt x="116" y="22"/>
                      <a:pt x="116" y="23"/>
                    </a:cubicBezTo>
                    <a:cubicBezTo>
                      <a:pt x="117" y="23"/>
                      <a:pt x="117" y="23"/>
                      <a:pt x="117" y="24"/>
                    </a:cubicBezTo>
                    <a:cubicBezTo>
                      <a:pt x="118" y="23"/>
                      <a:pt x="118" y="22"/>
                      <a:pt x="117" y="22"/>
                    </a:cubicBezTo>
                    <a:close/>
                    <a:moveTo>
                      <a:pt x="126" y="33"/>
                    </a:moveTo>
                    <a:cubicBezTo>
                      <a:pt x="126" y="33"/>
                      <a:pt x="126" y="34"/>
                      <a:pt x="126" y="34"/>
                    </a:cubicBezTo>
                    <a:cubicBezTo>
                      <a:pt x="127" y="34"/>
                      <a:pt x="127" y="32"/>
                      <a:pt x="126" y="33"/>
                    </a:cubicBezTo>
                    <a:close/>
                    <a:moveTo>
                      <a:pt x="88" y="5"/>
                    </a:moveTo>
                    <a:cubicBezTo>
                      <a:pt x="89" y="6"/>
                      <a:pt x="89" y="5"/>
                      <a:pt x="90" y="6"/>
                    </a:cubicBezTo>
                    <a:cubicBezTo>
                      <a:pt x="91" y="5"/>
                      <a:pt x="89" y="2"/>
                      <a:pt x="88" y="3"/>
                    </a:cubicBezTo>
                    <a:cubicBezTo>
                      <a:pt x="88" y="4"/>
                      <a:pt x="88" y="4"/>
                      <a:pt x="88" y="5"/>
                    </a:cubicBezTo>
                    <a:cubicBezTo>
                      <a:pt x="88" y="5"/>
                      <a:pt x="88" y="5"/>
                      <a:pt x="88" y="5"/>
                    </a:cubicBezTo>
                    <a:close/>
                    <a:moveTo>
                      <a:pt x="52" y="41"/>
                    </a:moveTo>
                    <a:cubicBezTo>
                      <a:pt x="52" y="40"/>
                      <a:pt x="53" y="40"/>
                      <a:pt x="53" y="39"/>
                    </a:cubicBezTo>
                    <a:cubicBezTo>
                      <a:pt x="53" y="38"/>
                      <a:pt x="52" y="38"/>
                      <a:pt x="52" y="38"/>
                    </a:cubicBezTo>
                    <a:cubicBezTo>
                      <a:pt x="51" y="39"/>
                      <a:pt x="50" y="40"/>
                      <a:pt x="52" y="41"/>
                    </a:cubicBezTo>
                    <a:close/>
                    <a:moveTo>
                      <a:pt x="69" y="51"/>
                    </a:moveTo>
                    <a:cubicBezTo>
                      <a:pt x="69" y="51"/>
                      <a:pt x="69" y="52"/>
                      <a:pt x="70" y="52"/>
                    </a:cubicBezTo>
                    <a:cubicBezTo>
                      <a:pt x="70" y="52"/>
                      <a:pt x="70" y="52"/>
                      <a:pt x="70" y="52"/>
                    </a:cubicBezTo>
                    <a:cubicBezTo>
                      <a:pt x="70" y="52"/>
                      <a:pt x="70" y="52"/>
                      <a:pt x="71" y="53"/>
                    </a:cubicBezTo>
                    <a:cubicBezTo>
                      <a:pt x="71" y="52"/>
                      <a:pt x="72" y="51"/>
                      <a:pt x="71" y="50"/>
                    </a:cubicBezTo>
                    <a:cubicBezTo>
                      <a:pt x="71" y="49"/>
                      <a:pt x="70" y="49"/>
                      <a:pt x="69" y="49"/>
                    </a:cubicBezTo>
                    <a:cubicBezTo>
                      <a:pt x="69" y="48"/>
                      <a:pt x="69" y="49"/>
                      <a:pt x="69" y="50"/>
                    </a:cubicBezTo>
                    <a:cubicBezTo>
                      <a:pt x="69" y="50"/>
                      <a:pt x="69" y="50"/>
                      <a:pt x="69" y="51"/>
                    </a:cubicBezTo>
                    <a:close/>
                    <a:moveTo>
                      <a:pt x="94" y="106"/>
                    </a:moveTo>
                    <a:cubicBezTo>
                      <a:pt x="94" y="105"/>
                      <a:pt x="95" y="105"/>
                      <a:pt x="95" y="106"/>
                    </a:cubicBezTo>
                    <a:cubicBezTo>
                      <a:pt x="96" y="106"/>
                      <a:pt x="96" y="105"/>
                      <a:pt x="96" y="105"/>
                    </a:cubicBezTo>
                    <a:cubicBezTo>
                      <a:pt x="96" y="105"/>
                      <a:pt x="94" y="104"/>
                      <a:pt x="94" y="106"/>
                    </a:cubicBezTo>
                    <a:close/>
                    <a:moveTo>
                      <a:pt x="82" y="42"/>
                    </a:moveTo>
                    <a:cubicBezTo>
                      <a:pt x="84" y="42"/>
                      <a:pt x="81" y="42"/>
                      <a:pt x="82" y="42"/>
                    </a:cubicBezTo>
                    <a:close/>
                    <a:moveTo>
                      <a:pt x="116" y="90"/>
                    </a:moveTo>
                    <a:cubicBezTo>
                      <a:pt x="116" y="89"/>
                      <a:pt x="116" y="89"/>
                      <a:pt x="115" y="89"/>
                    </a:cubicBezTo>
                    <a:cubicBezTo>
                      <a:pt x="116" y="89"/>
                      <a:pt x="117" y="89"/>
                      <a:pt x="116" y="88"/>
                    </a:cubicBezTo>
                    <a:cubicBezTo>
                      <a:pt x="116" y="88"/>
                      <a:pt x="116" y="88"/>
                      <a:pt x="116" y="88"/>
                    </a:cubicBezTo>
                    <a:cubicBezTo>
                      <a:pt x="115" y="87"/>
                      <a:pt x="115" y="87"/>
                      <a:pt x="114" y="87"/>
                    </a:cubicBezTo>
                    <a:cubicBezTo>
                      <a:pt x="113" y="87"/>
                      <a:pt x="112" y="87"/>
                      <a:pt x="112" y="87"/>
                    </a:cubicBezTo>
                    <a:cubicBezTo>
                      <a:pt x="112" y="87"/>
                      <a:pt x="113" y="88"/>
                      <a:pt x="113" y="88"/>
                    </a:cubicBezTo>
                    <a:cubicBezTo>
                      <a:pt x="113" y="88"/>
                      <a:pt x="113" y="90"/>
                      <a:pt x="114" y="89"/>
                    </a:cubicBezTo>
                    <a:cubicBezTo>
                      <a:pt x="114" y="89"/>
                      <a:pt x="114" y="89"/>
                      <a:pt x="114" y="89"/>
                    </a:cubicBezTo>
                    <a:cubicBezTo>
                      <a:pt x="114" y="89"/>
                      <a:pt x="114" y="89"/>
                      <a:pt x="115" y="90"/>
                    </a:cubicBezTo>
                    <a:cubicBezTo>
                      <a:pt x="115" y="90"/>
                      <a:pt x="116" y="89"/>
                      <a:pt x="116" y="90"/>
                    </a:cubicBezTo>
                    <a:close/>
                    <a:moveTo>
                      <a:pt x="86" y="40"/>
                    </a:moveTo>
                    <a:cubicBezTo>
                      <a:pt x="86" y="40"/>
                      <a:pt x="86" y="40"/>
                      <a:pt x="86" y="40"/>
                    </a:cubicBezTo>
                    <a:cubicBezTo>
                      <a:pt x="87" y="40"/>
                      <a:pt x="86" y="39"/>
                      <a:pt x="86" y="39"/>
                    </a:cubicBezTo>
                    <a:cubicBezTo>
                      <a:pt x="85" y="40"/>
                      <a:pt x="86" y="40"/>
                      <a:pt x="86" y="40"/>
                    </a:cubicBezTo>
                    <a:cubicBezTo>
                      <a:pt x="86" y="40"/>
                      <a:pt x="86" y="39"/>
                      <a:pt x="86" y="40"/>
                    </a:cubicBezTo>
                    <a:close/>
                    <a:moveTo>
                      <a:pt x="93" y="16"/>
                    </a:moveTo>
                    <a:cubicBezTo>
                      <a:pt x="93" y="16"/>
                      <a:pt x="93" y="16"/>
                      <a:pt x="93" y="17"/>
                    </a:cubicBezTo>
                    <a:cubicBezTo>
                      <a:pt x="93" y="17"/>
                      <a:pt x="93" y="17"/>
                      <a:pt x="94" y="18"/>
                    </a:cubicBezTo>
                    <a:cubicBezTo>
                      <a:pt x="94" y="18"/>
                      <a:pt x="95" y="17"/>
                      <a:pt x="96" y="18"/>
                    </a:cubicBezTo>
                    <a:cubicBezTo>
                      <a:pt x="96" y="17"/>
                      <a:pt x="96" y="17"/>
                      <a:pt x="96" y="16"/>
                    </a:cubicBezTo>
                    <a:cubicBezTo>
                      <a:pt x="97" y="16"/>
                      <a:pt x="96" y="15"/>
                      <a:pt x="95" y="15"/>
                    </a:cubicBezTo>
                    <a:cubicBezTo>
                      <a:pt x="94" y="15"/>
                      <a:pt x="94" y="14"/>
                      <a:pt x="93" y="15"/>
                    </a:cubicBezTo>
                    <a:cubicBezTo>
                      <a:pt x="93" y="15"/>
                      <a:pt x="92" y="15"/>
                      <a:pt x="92" y="15"/>
                    </a:cubicBezTo>
                    <a:cubicBezTo>
                      <a:pt x="91" y="16"/>
                      <a:pt x="93" y="16"/>
                      <a:pt x="93" y="16"/>
                    </a:cubicBezTo>
                    <a:close/>
                    <a:moveTo>
                      <a:pt x="137" y="25"/>
                    </a:moveTo>
                    <a:cubicBezTo>
                      <a:pt x="137" y="26"/>
                      <a:pt x="138" y="26"/>
                      <a:pt x="138" y="27"/>
                    </a:cubicBezTo>
                    <a:cubicBezTo>
                      <a:pt x="138" y="26"/>
                      <a:pt x="138" y="26"/>
                      <a:pt x="137" y="2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5" name="Panama">
                <a:extLst>
                  <a:ext uri="{FF2B5EF4-FFF2-40B4-BE49-F238E27FC236}">
                    <a16:creationId xmlns:a16="http://schemas.microsoft.com/office/drawing/2014/main" id="{9FD325AF-BA08-47F5-E5BD-79B2B4134708}"/>
                  </a:ext>
                </a:extLst>
              </p:cNvPr>
              <p:cNvSpPr>
                <a:spLocks noEditPoints="1"/>
              </p:cNvSpPr>
              <p:nvPr/>
            </p:nvSpPr>
            <p:spPr bwMode="auto">
              <a:xfrm>
                <a:off x="2850287" y="3667966"/>
                <a:ext cx="201915" cy="99976"/>
              </a:xfrm>
              <a:custGeom>
                <a:avLst/>
                <a:gdLst/>
                <a:ahLst/>
                <a:cxnLst>
                  <a:cxn ang="0">
                    <a:pos x="7" y="16"/>
                  </a:cxn>
                  <a:cxn ang="0">
                    <a:pos x="7" y="17"/>
                  </a:cxn>
                  <a:cxn ang="0">
                    <a:pos x="11" y="24"/>
                  </a:cxn>
                  <a:cxn ang="0">
                    <a:pos x="13" y="24"/>
                  </a:cxn>
                  <a:cxn ang="0">
                    <a:pos x="8" y="3"/>
                  </a:cxn>
                  <a:cxn ang="0">
                    <a:pos x="53" y="24"/>
                  </a:cxn>
                  <a:cxn ang="0">
                    <a:pos x="50" y="24"/>
                  </a:cxn>
                  <a:cxn ang="0">
                    <a:pos x="48" y="24"/>
                  </a:cxn>
                  <a:cxn ang="0">
                    <a:pos x="46" y="22"/>
                  </a:cxn>
                  <a:cxn ang="0">
                    <a:pos x="45" y="18"/>
                  </a:cxn>
                  <a:cxn ang="0">
                    <a:pos x="47" y="15"/>
                  </a:cxn>
                  <a:cxn ang="0">
                    <a:pos x="49" y="16"/>
                  </a:cxn>
                  <a:cxn ang="0">
                    <a:pos x="51" y="17"/>
                  </a:cxn>
                  <a:cxn ang="0">
                    <a:pos x="48" y="13"/>
                  </a:cxn>
                  <a:cxn ang="0">
                    <a:pos x="47" y="14"/>
                  </a:cxn>
                  <a:cxn ang="0">
                    <a:pos x="46" y="13"/>
                  </a:cxn>
                  <a:cxn ang="0">
                    <a:pos x="45" y="13"/>
                  </a:cxn>
                  <a:cxn ang="0">
                    <a:pos x="43" y="10"/>
                  </a:cxn>
                  <a:cxn ang="0">
                    <a:pos x="41" y="9"/>
                  </a:cxn>
                  <a:cxn ang="0">
                    <a:pos x="39" y="7"/>
                  </a:cxn>
                  <a:cxn ang="0">
                    <a:pos x="34" y="9"/>
                  </a:cxn>
                  <a:cxn ang="0">
                    <a:pos x="33" y="11"/>
                  </a:cxn>
                  <a:cxn ang="0">
                    <a:pos x="25" y="18"/>
                  </a:cxn>
                  <a:cxn ang="0">
                    <a:pos x="29" y="24"/>
                  </a:cxn>
                  <a:cxn ang="0">
                    <a:pos x="26" y="26"/>
                  </a:cxn>
                  <a:cxn ang="0">
                    <a:pos x="20" y="26"/>
                  </a:cxn>
                  <a:cxn ang="0">
                    <a:pos x="20" y="22"/>
                  </a:cxn>
                  <a:cxn ang="0">
                    <a:pos x="19" y="20"/>
                  </a:cxn>
                  <a:cxn ang="0">
                    <a:pos x="18" y="21"/>
                  </a:cxn>
                  <a:cxn ang="0">
                    <a:pos x="17" y="22"/>
                  </a:cxn>
                  <a:cxn ang="0">
                    <a:pos x="14" y="21"/>
                  </a:cxn>
                  <a:cxn ang="0">
                    <a:pos x="13" y="18"/>
                  </a:cxn>
                  <a:cxn ang="0">
                    <a:pos x="12" y="17"/>
                  </a:cxn>
                  <a:cxn ang="0">
                    <a:pos x="8" y="16"/>
                  </a:cxn>
                  <a:cxn ang="0">
                    <a:pos x="6" y="14"/>
                  </a:cxn>
                  <a:cxn ang="0">
                    <a:pos x="4" y="15"/>
                  </a:cxn>
                  <a:cxn ang="0">
                    <a:pos x="2" y="17"/>
                  </a:cxn>
                  <a:cxn ang="0">
                    <a:pos x="2" y="10"/>
                  </a:cxn>
                  <a:cxn ang="0">
                    <a:pos x="2" y="2"/>
                  </a:cxn>
                  <a:cxn ang="0">
                    <a:pos x="5" y="2"/>
                  </a:cxn>
                  <a:cxn ang="0">
                    <a:pos x="7" y="4"/>
                  </a:cxn>
                  <a:cxn ang="0">
                    <a:pos x="9" y="5"/>
                  </a:cxn>
                  <a:cxn ang="0">
                    <a:pos x="9" y="7"/>
                  </a:cxn>
                  <a:cxn ang="0">
                    <a:pos x="12" y="8"/>
                  </a:cxn>
                  <a:cxn ang="0">
                    <a:pos x="12" y="6"/>
                  </a:cxn>
                  <a:cxn ang="0">
                    <a:pos x="15" y="10"/>
                  </a:cxn>
                  <a:cxn ang="0">
                    <a:pos x="26" y="6"/>
                  </a:cxn>
                  <a:cxn ang="0">
                    <a:pos x="32" y="4"/>
                  </a:cxn>
                  <a:cxn ang="0">
                    <a:pos x="35" y="1"/>
                  </a:cxn>
                  <a:cxn ang="0">
                    <a:pos x="39" y="2"/>
                  </a:cxn>
                  <a:cxn ang="0">
                    <a:pos x="44" y="3"/>
                  </a:cxn>
                  <a:cxn ang="0">
                    <a:pos x="51" y="6"/>
                  </a:cxn>
                  <a:cxn ang="0">
                    <a:pos x="54" y="10"/>
                  </a:cxn>
                  <a:cxn ang="0">
                    <a:pos x="54" y="13"/>
                  </a:cxn>
                  <a:cxn ang="0">
                    <a:pos x="57" y="19"/>
                  </a:cxn>
                  <a:cxn ang="0">
                    <a:pos x="39" y="6"/>
                  </a:cxn>
                  <a:cxn ang="0">
                    <a:pos x="40" y="6"/>
                  </a:cxn>
                  <a:cxn ang="0">
                    <a:pos x="38" y="15"/>
                  </a:cxn>
                  <a:cxn ang="0">
                    <a:pos x="19" y="23"/>
                  </a:cxn>
                  <a:cxn ang="0">
                    <a:pos x="40" y="15"/>
                  </a:cxn>
                  <a:cxn ang="0">
                    <a:pos x="41" y="13"/>
                  </a:cxn>
                  <a:cxn ang="0">
                    <a:pos x="10" y="4"/>
                  </a:cxn>
                </a:cxnLst>
                <a:rect l="0" t="0" r="r" b="b"/>
                <a:pathLst>
                  <a:path w="57" h="28">
                    <a:moveTo>
                      <a:pt x="8" y="16"/>
                    </a:moveTo>
                    <a:cubicBezTo>
                      <a:pt x="8" y="16"/>
                      <a:pt x="8" y="16"/>
                      <a:pt x="8" y="16"/>
                    </a:cubicBezTo>
                    <a:cubicBezTo>
                      <a:pt x="8" y="16"/>
                      <a:pt x="8" y="16"/>
                      <a:pt x="8" y="16"/>
                    </a:cubicBezTo>
                    <a:cubicBezTo>
                      <a:pt x="8" y="16"/>
                      <a:pt x="7" y="16"/>
                      <a:pt x="7" y="16"/>
                    </a:cubicBezTo>
                    <a:cubicBezTo>
                      <a:pt x="7" y="16"/>
                      <a:pt x="7" y="16"/>
                      <a:pt x="8" y="16"/>
                    </a:cubicBezTo>
                    <a:close/>
                    <a:moveTo>
                      <a:pt x="7" y="17"/>
                    </a:moveTo>
                    <a:cubicBezTo>
                      <a:pt x="7" y="17"/>
                      <a:pt x="7" y="17"/>
                      <a:pt x="7" y="17"/>
                    </a:cubicBezTo>
                    <a:cubicBezTo>
                      <a:pt x="7" y="17"/>
                      <a:pt x="7" y="17"/>
                      <a:pt x="7" y="17"/>
                    </a:cubicBezTo>
                    <a:close/>
                    <a:moveTo>
                      <a:pt x="13" y="24"/>
                    </a:moveTo>
                    <a:cubicBezTo>
                      <a:pt x="13" y="24"/>
                      <a:pt x="13" y="24"/>
                      <a:pt x="13" y="23"/>
                    </a:cubicBezTo>
                    <a:cubicBezTo>
                      <a:pt x="13" y="23"/>
                      <a:pt x="13" y="23"/>
                      <a:pt x="12" y="22"/>
                    </a:cubicBezTo>
                    <a:cubicBezTo>
                      <a:pt x="12" y="22"/>
                      <a:pt x="11" y="24"/>
                      <a:pt x="11" y="24"/>
                    </a:cubicBezTo>
                    <a:cubicBezTo>
                      <a:pt x="11" y="24"/>
                      <a:pt x="11" y="25"/>
                      <a:pt x="12" y="25"/>
                    </a:cubicBezTo>
                    <a:cubicBezTo>
                      <a:pt x="12" y="25"/>
                      <a:pt x="12" y="26"/>
                      <a:pt x="13" y="26"/>
                    </a:cubicBezTo>
                    <a:cubicBezTo>
                      <a:pt x="13" y="26"/>
                      <a:pt x="14" y="26"/>
                      <a:pt x="13" y="25"/>
                    </a:cubicBezTo>
                    <a:cubicBezTo>
                      <a:pt x="13" y="25"/>
                      <a:pt x="12" y="25"/>
                      <a:pt x="13" y="24"/>
                    </a:cubicBezTo>
                    <a:close/>
                    <a:moveTo>
                      <a:pt x="12" y="27"/>
                    </a:moveTo>
                    <a:cubicBezTo>
                      <a:pt x="12" y="27"/>
                      <a:pt x="12" y="26"/>
                      <a:pt x="12" y="26"/>
                    </a:cubicBezTo>
                    <a:cubicBezTo>
                      <a:pt x="11" y="26"/>
                      <a:pt x="11" y="27"/>
                      <a:pt x="12" y="27"/>
                    </a:cubicBezTo>
                    <a:close/>
                    <a:moveTo>
                      <a:pt x="8" y="3"/>
                    </a:moveTo>
                    <a:cubicBezTo>
                      <a:pt x="7" y="2"/>
                      <a:pt x="10" y="5"/>
                      <a:pt x="8" y="3"/>
                    </a:cubicBezTo>
                    <a:close/>
                    <a:moveTo>
                      <a:pt x="55" y="20"/>
                    </a:moveTo>
                    <a:cubicBezTo>
                      <a:pt x="55" y="20"/>
                      <a:pt x="55" y="21"/>
                      <a:pt x="55" y="21"/>
                    </a:cubicBezTo>
                    <a:cubicBezTo>
                      <a:pt x="55" y="22"/>
                      <a:pt x="53" y="24"/>
                      <a:pt x="53" y="24"/>
                    </a:cubicBezTo>
                    <a:cubicBezTo>
                      <a:pt x="52" y="23"/>
                      <a:pt x="52" y="22"/>
                      <a:pt x="51" y="21"/>
                    </a:cubicBezTo>
                    <a:cubicBezTo>
                      <a:pt x="51" y="21"/>
                      <a:pt x="51" y="23"/>
                      <a:pt x="51" y="23"/>
                    </a:cubicBezTo>
                    <a:cubicBezTo>
                      <a:pt x="51" y="23"/>
                      <a:pt x="51" y="23"/>
                      <a:pt x="51" y="24"/>
                    </a:cubicBezTo>
                    <a:cubicBezTo>
                      <a:pt x="51" y="24"/>
                      <a:pt x="51" y="24"/>
                      <a:pt x="50" y="24"/>
                    </a:cubicBezTo>
                    <a:cubicBezTo>
                      <a:pt x="50" y="24"/>
                      <a:pt x="50" y="25"/>
                      <a:pt x="50" y="26"/>
                    </a:cubicBezTo>
                    <a:cubicBezTo>
                      <a:pt x="50" y="26"/>
                      <a:pt x="50" y="26"/>
                      <a:pt x="49" y="27"/>
                    </a:cubicBezTo>
                    <a:cubicBezTo>
                      <a:pt x="49" y="27"/>
                      <a:pt x="49" y="26"/>
                      <a:pt x="48" y="25"/>
                    </a:cubicBezTo>
                    <a:cubicBezTo>
                      <a:pt x="48" y="25"/>
                      <a:pt x="48" y="25"/>
                      <a:pt x="48" y="24"/>
                    </a:cubicBezTo>
                    <a:cubicBezTo>
                      <a:pt x="47" y="24"/>
                      <a:pt x="47" y="23"/>
                      <a:pt x="47" y="24"/>
                    </a:cubicBezTo>
                    <a:cubicBezTo>
                      <a:pt x="47" y="24"/>
                      <a:pt x="47" y="23"/>
                      <a:pt x="47" y="23"/>
                    </a:cubicBezTo>
                    <a:cubicBezTo>
                      <a:pt x="47" y="23"/>
                      <a:pt x="47" y="23"/>
                      <a:pt x="47" y="23"/>
                    </a:cubicBezTo>
                    <a:cubicBezTo>
                      <a:pt x="47" y="23"/>
                      <a:pt x="46" y="22"/>
                      <a:pt x="46" y="22"/>
                    </a:cubicBezTo>
                    <a:cubicBezTo>
                      <a:pt x="46" y="21"/>
                      <a:pt x="46" y="21"/>
                      <a:pt x="46" y="21"/>
                    </a:cubicBezTo>
                    <a:cubicBezTo>
                      <a:pt x="45" y="20"/>
                      <a:pt x="45" y="19"/>
                      <a:pt x="45" y="18"/>
                    </a:cubicBezTo>
                    <a:cubicBezTo>
                      <a:pt x="45" y="18"/>
                      <a:pt x="45" y="18"/>
                      <a:pt x="45" y="17"/>
                    </a:cubicBezTo>
                    <a:cubicBezTo>
                      <a:pt x="45" y="17"/>
                      <a:pt x="45" y="18"/>
                      <a:pt x="45" y="18"/>
                    </a:cubicBezTo>
                    <a:cubicBezTo>
                      <a:pt x="46" y="18"/>
                      <a:pt x="46" y="17"/>
                      <a:pt x="47" y="17"/>
                    </a:cubicBezTo>
                    <a:cubicBezTo>
                      <a:pt x="47" y="16"/>
                      <a:pt x="46" y="16"/>
                      <a:pt x="46" y="16"/>
                    </a:cubicBezTo>
                    <a:cubicBezTo>
                      <a:pt x="46" y="16"/>
                      <a:pt x="46" y="16"/>
                      <a:pt x="46" y="15"/>
                    </a:cubicBezTo>
                    <a:cubicBezTo>
                      <a:pt x="46" y="15"/>
                      <a:pt x="47" y="15"/>
                      <a:pt x="47" y="15"/>
                    </a:cubicBezTo>
                    <a:cubicBezTo>
                      <a:pt x="47" y="15"/>
                      <a:pt x="47" y="14"/>
                      <a:pt x="48" y="14"/>
                    </a:cubicBezTo>
                    <a:cubicBezTo>
                      <a:pt x="48" y="14"/>
                      <a:pt x="48" y="14"/>
                      <a:pt x="48" y="14"/>
                    </a:cubicBezTo>
                    <a:cubicBezTo>
                      <a:pt x="48" y="15"/>
                      <a:pt x="48" y="15"/>
                      <a:pt x="49" y="15"/>
                    </a:cubicBezTo>
                    <a:cubicBezTo>
                      <a:pt x="49" y="15"/>
                      <a:pt x="49" y="16"/>
                      <a:pt x="49" y="16"/>
                    </a:cubicBezTo>
                    <a:cubicBezTo>
                      <a:pt x="49" y="16"/>
                      <a:pt x="50" y="16"/>
                      <a:pt x="50" y="16"/>
                    </a:cubicBezTo>
                    <a:cubicBezTo>
                      <a:pt x="50" y="16"/>
                      <a:pt x="50" y="16"/>
                      <a:pt x="49" y="16"/>
                    </a:cubicBezTo>
                    <a:cubicBezTo>
                      <a:pt x="49" y="15"/>
                      <a:pt x="50" y="16"/>
                      <a:pt x="51" y="16"/>
                    </a:cubicBezTo>
                    <a:cubicBezTo>
                      <a:pt x="51" y="16"/>
                      <a:pt x="51" y="17"/>
                      <a:pt x="51" y="17"/>
                    </a:cubicBezTo>
                    <a:cubicBezTo>
                      <a:pt x="51" y="17"/>
                      <a:pt x="51" y="16"/>
                      <a:pt x="50" y="16"/>
                    </a:cubicBezTo>
                    <a:cubicBezTo>
                      <a:pt x="50" y="15"/>
                      <a:pt x="49" y="16"/>
                      <a:pt x="49" y="15"/>
                    </a:cubicBezTo>
                    <a:cubicBezTo>
                      <a:pt x="49" y="15"/>
                      <a:pt x="48" y="12"/>
                      <a:pt x="48" y="12"/>
                    </a:cubicBezTo>
                    <a:cubicBezTo>
                      <a:pt x="48" y="13"/>
                      <a:pt x="48" y="13"/>
                      <a:pt x="48" y="13"/>
                    </a:cubicBezTo>
                    <a:cubicBezTo>
                      <a:pt x="48" y="13"/>
                      <a:pt x="48" y="14"/>
                      <a:pt x="48" y="14"/>
                    </a:cubicBezTo>
                    <a:cubicBezTo>
                      <a:pt x="48" y="14"/>
                      <a:pt x="48" y="13"/>
                      <a:pt x="48" y="13"/>
                    </a:cubicBezTo>
                    <a:cubicBezTo>
                      <a:pt x="47" y="13"/>
                      <a:pt x="47" y="14"/>
                      <a:pt x="47" y="14"/>
                    </a:cubicBezTo>
                    <a:cubicBezTo>
                      <a:pt x="46" y="14"/>
                      <a:pt x="47" y="14"/>
                      <a:pt x="47" y="14"/>
                    </a:cubicBezTo>
                    <a:cubicBezTo>
                      <a:pt x="47" y="13"/>
                      <a:pt x="47" y="13"/>
                      <a:pt x="47" y="12"/>
                    </a:cubicBezTo>
                    <a:cubicBezTo>
                      <a:pt x="47" y="13"/>
                      <a:pt x="47" y="13"/>
                      <a:pt x="47" y="13"/>
                    </a:cubicBezTo>
                    <a:cubicBezTo>
                      <a:pt x="47" y="14"/>
                      <a:pt x="47" y="13"/>
                      <a:pt x="47" y="13"/>
                    </a:cubicBezTo>
                    <a:cubicBezTo>
                      <a:pt x="47" y="13"/>
                      <a:pt x="46" y="14"/>
                      <a:pt x="46" y="13"/>
                    </a:cubicBezTo>
                    <a:cubicBezTo>
                      <a:pt x="46" y="14"/>
                      <a:pt x="45" y="14"/>
                      <a:pt x="45" y="13"/>
                    </a:cubicBezTo>
                    <a:cubicBezTo>
                      <a:pt x="45" y="13"/>
                      <a:pt x="45" y="13"/>
                      <a:pt x="45" y="12"/>
                    </a:cubicBezTo>
                    <a:cubicBezTo>
                      <a:pt x="45" y="13"/>
                      <a:pt x="46" y="14"/>
                      <a:pt x="45" y="14"/>
                    </a:cubicBezTo>
                    <a:cubicBezTo>
                      <a:pt x="45" y="15"/>
                      <a:pt x="45" y="14"/>
                      <a:pt x="45" y="13"/>
                    </a:cubicBezTo>
                    <a:cubicBezTo>
                      <a:pt x="45" y="14"/>
                      <a:pt x="44" y="12"/>
                      <a:pt x="44" y="12"/>
                    </a:cubicBezTo>
                    <a:cubicBezTo>
                      <a:pt x="44" y="12"/>
                      <a:pt x="45" y="12"/>
                      <a:pt x="44" y="11"/>
                    </a:cubicBezTo>
                    <a:cubicBezTo>
                      <a:pt x="44" y="11"/>
                      <a:pt x="44" y="11"/>
                      <a:pt x="43" y="11"/>
                    </a:cubicBezTo>
                    <a:cubicBezTo>
                      <a:pt x="43" y="11"/>
                      <a:pt x="44" y="10"/>
                      <a:pt x="43" y="10"/>
                    </a:cubicBezTo>
                    <a:cubicBezTo>
                      <a:pt x="43" y="10"/>
                      <a:pt x="43" y="11"/>
                      <a:pt x="43" y="11"/>
                    </a:cubicBezTo>
                    <a:cubicBezTo>
                      <a:pt x="43" y="11"/>
                      <a:pt x="43" y="10"/>
                      <a:pt x="43" y="10"/>
                    </a:cubicBezTo>
                    <a:cubicBezTo>
                      <a:pt x="42" y="10"/>
                      <a:pt x="42" y="9"/>
                      <a:pt x="42" y="9"/>
                    </a:cubicBezTo>
                    <a:cubicBezTo>
                      <a:pt x="42" y="9"/>
                      <a:pt x="41" y="10"/>
                      <a:pt x="41" y="9"/>
                    </a:cubicBezTo>
                    <a:cubicBezTo>
                      <a:pt x="41" y="9"/>
                      <a:pt x="41" y="8"/>
                      <a:pt x="40" y="8"/>
                    </a:cubicBezTo>
                    <a:cubicBezTo>
                      <a:pt x="40" y="8"/>
                      <a:pt x="39" y="8"/>
                      <a:pt x="39" y="8"/>
                    </a:cubicBezTo>
                    <a:cubicBezTo>
                      <a:pt x="39" y="7"/>
                      <a:pt x="39" y="7"/>
                      <a:pt x="39" y="7"/>
                    </a:cubicBezTo>
                    <a:cubicBezTo>
                      <a:pt x="39" y="7"/>
                      <a:pt x="39" y="7"/>
                      <a:pt x="39" y="7"/>
                    </a:cubicBezTo>
                    <a:cubicBezTo>
                      <a:pt x="39" y="7"/>
                      <a:pt x="38" y="8"/>
                      <a:pt x="38" y="7"/>
                    </a:cubicBezTo>
                    <a:cubicBezTo>
                      <a:pt x="38" y="7"/>
                      <a:pt x="34" y="7"/>
                      <a:pt x="35" y="8"/>
                    </a:cubicBezTo>
                    <a:cubicBezTo>
                      <a:pt x="35" y="8"/>
                      <a:pt x="34" y="8"/>
                      <a:pt x="34" y="8"/>
                    </a:cubicBezTo>
                    <a:cubicBezTo>
                      <a:pt x="34" y="8"/>
                      <a:pt x="35" y="9"/>
                      <a:pt x="34" y="9"/>
                    </a:cubicBezTo>
                    <a:cubicBezTo>
                      <a:pt x="34" y="9"/>
                      <a:pt x="33" y="9"/>
                      <a:pt x="33" y="9"/>
                    </a:cubicBezTo>
                    <a:cubicBezTo>
                      <a:pt x="33" y="9"/>
                      <a:pt x="32" y="10"/>
                      <a:pt x="32" y="10"/>
                    </a:cubicBezTo>
                    <a:cubicBezTo>
                      <a:pt x="33" y="11"/>
                      <a:pt x="32" y="11"/>
                      <a:pt x="32" y="11"/>
                    </a:cubicBezTo>
                    <a:cubicBezTo>
                      <a:pt x="32" y="12"/>
                      <a:pt x="32" y="12"/>
                      <a:pt x="33" y="11"/>
                    </a:cubicBezTo>
                    <a:cubicBezTo>
                      <a:pt x="32" y="12"/>
                      <a:pt x="31" y="12"/>
                      <a:pt x="30" y="13"/>
                    </a:cubicBezTo>
                    <a:cubicBezTo>
                      <a:pt x="30" y="14"/>
                      <a:pt x="30" y="14"/>
                      <a:pt x="29" y="14"/>
                    </a:cubicBezTo>
                    <a:cubicBezTo>
                      <a:pt x="29" y="14"/>
                      <a:pt x="26" y="16"/>
                      <a:pt x="26" y="15"/>
                    </a:cubicBezTo>
                    <a:cubicBezTo>
                      <a:pt x="26" y="16"/>
                      <a:pt x="24" y="17"/>
                      <a:pt x="25" y="18"/>
                    </a:cubicBezTo>
                    <a:cubicBezTo>
                      <a:pt x="26" y="19"/>
                      <a:pt x="26" y="18"/>
                      <a:pt x="26" y="19"/>
                    </a:cubicBezTo>
                    <a:cubicBezTo>
                      <a:pt x="26" y="20"/>
                      <a:pt x="27" y="20"/>
                      <a:pt x="28" y="21"/>
                    </a:cubicBezTo>
                    <a:cubicBezTo>
                      <a:pt x="28" y="21"/>
                      <a:pt x="28" y="21"/>
                      <a:pt x="29" y="22"/>
                    </a:cubicBezTo>
                    <a:cubicBezTo>
                      <a:pt x="29" y="22"/>
                      <a:pt x="29" y="23"/>
                      <a:pt x="29" y="24"/>
                    </a:cubicBezTo>
                    <a:cubicBezTo>
                      <a:pt x="29" y="25"/>
                      <a:pt x="27" y="24"/>
                      <a:pt x="26" y="25"/>
                    </a:cubicBezTo>
                    <a:cubicBezTo>
                      <a:pt x="26" y="25"/>
                      <a:pt x="26" y="25"/>
                      <a:pt x="27" y="25"/>
                    </a:cubicBezTo>
                    <a:cubicBezTo>
                      <a:pt x="26" y="25"/>
                      <a:pt x="26" y="25"/>
                      <a:pt x="26" y="25"/>
                    </a:cubicBezTo>
                    <a:cubicBezTo>
                      <a:pt x="25" y="25"/>
                      <a:pt x="26" y="26"/>
                      <a:pt x="26" y="26"/>
                    </a:cubicBezTo>
                    <a:cubicBezTo>
                      <a:pt x="25" y="26"/>
                      <a:pt x="25" y="27"/>
                      <a:pt x="24" y="27"/>
                    </a:cubicBezTo>
                    <a:cubicBezTo>
                      <a:pt x="23" y="27"/>
                      <a:pt x="21" y="28"/>
                      <a:pt x="20" y="27"/>
                    </a:cubicBezTo>
                    <a:cubicBezTo>
                      <a:pt x="20" y="26"/>
                      <a:pt x="20" y="26"/>
                      <a:pt x="20" y="26"/>
                    </a:cubicBezTo>
                    <a:cubicBezTo>
                      <a:pt x="20" y="26"/>
                      <a:pt x="20" y="26"/>
                      <a:pt x="20" y="26"/>
                    </a:cubicBezTo>
                    <a:cubicBezTo>
                      <a:pt x="21" y="25"/>
                      <a:pt x="20" y="25"/>
                      <a:pt x="20" y="25"/>
                    </a:cubicBezTo>
                    <a:cubicBezTo>
                      <a:pt x="20" y="24"/>
                      <a:pt x="20" y="24"/>
                      <a:pt x="20" y="24"/>
                    </a:cubicBezTo>
                    <a:cubicBezTo>
                      <a:pt x="20" y="24"/>
                      <a:pt x="20" y="23"/>
                      <a:pt x="20" y="23"/>
                    </a:cubicBezTo>
                    <a:cubicBezTo>
                      <a:pt x="20" y="23"/>
                      <a:pt x="19" y="22"/>
                      <a:pt x="20" y="22"/>
                    </a:cubicBezTo>
                    <a:cubicBezTo>
                      <a:pt x="20" y="22"/>
                      <a:pt x="19" y="21"/>
                      <a:pt x="19" y="21"/>
                    </a:cubicBezTo>
                    <a:cubicBezTo>
                      <a:pt x="18" y="21"/>
                      <a:pt x="19" y="20"/>
                      <a:pt x="20" y="20"/>
                    </a:cubicBezTo>
                    <a:cubicBezTo>
                      <a:pt x="19" y="20"/>
                      <a:pt x="19" y="20"/>
                      <a:pt x="19" y="19"/>
                    </a:cubicBezTo>
                    <a:cubicBezTo>
                      <a:pt x="19" y="20"/>
                      <a:pt x="19" y="20"/>
                      <a:pt x="19" y="20"/>
                    </a:cubicBezTo>
                    <a:cubicBezTo>
                      <a:pt x="19" y="20"/>
                      <a:pt x="19" y="20"/>
                      <a:pt x="19" y="20"/>
                    </a:cubicBezTo>
                    <a:cubicBezTo>
                      <a:pt x="18" y="20"/>
                      <a:pt x="18" y="20"/>
                      <a:pt x="18" y="19"/>
                    </a:cubicBezTo>
                    <a:cubicBezTo>
                      <a:pt x="18" y="20"/>
                      <a:pt x="18" y="20"/>
                      <a:pt x="18" y="21"/>
                    </a:cubicBezTo>
                    <a:cubicBezTo>
                      <a:pt x="18" y="21"/>
                      <a:pt x="18" y="21"/>
                      <a:pt x="18" y="21"/>
                    </a:cubicBezTo>
                    <a:cubicBezTo>
                      <a:pt x="18" y="21"/>
                      <a:pt x="17" y="21"/>
                      <a:pt x="17" y="21"/>
                    </a:cubicBezTo>
                    <a:cubicBezTo>
                      <a:pt x="17" y="21"/>
                      <a:pt x="18" y="21"/>
                      <a:pt x="17" y="21"/>
                    </a:cubicBezTo>
                    <a:cubicBezTo>
                      <a:pt x="18" y="22"/>
                      <a:pt x="18" y="22"/>
                      <a:pt x="18" y="22"/>
                    </a:cubicBezTo>
                    <a:cubicBezTo>
                      <a:pt x="17" y="23"/>
                      <a:pt x="17" y="22"/>
                      <a:pt x="17" y="22"/>
                    </a:cubicBezTo>
                    <a:cubicBezTo>
                      <a:pt x="17" y="22"/>
                      <a:pt x="16" y="22"/>
                      <a:pt x="15" y="22"/>
                    </a:cubicBezTo>
                    <a:cubicBezTo>
                      <a:pt x="15" y="22"/>
                      <a:pt x="15" y="21"/>
                      <a:pt x="15" y="21"/>
                    </a:cubicBezTo>
                    <a:cubicBezTo>
                      <a:pt x="15" y="21"/>
                      <a:pt x="15" y="21"/>
                      <a:pt x="15" y="21"/>
                    </a:cubicBezTo>
                    <a:cubicBezTo>
                      <a:pt x="14" y="21"/>
                      <a:pt x="14" y="21"/>
                      <a:pt x="14" y="21"/>
                    </a:cubicBezTo>
                    <a:cubicBezTo>
                      <a:pt x="14" y="20"/>
                      <a:pt x="14" y="20"/>
                      <a:pt x="14" y="20"/>
                    </a:cubicBezTo>
                    <a:cubicBezTo>
                      <a:pt x="14" y="19"/>
                      <a:pt x="14" y="19"/>
                      <a:pt x="14" y="19"/>
                    </a:cubicBezTo>
                    <a:cubicBezTo>
                      <a:pt x="14" y="19"/>
                      <a:pt x="14" y="19"/>
                      <a:pt x="14" y="19"/>
                    </a:cubicBezTo>
                    <a:cubicBezTo>
                      <a:pt x="13" y="19"/>
                      <a:pt x="13" y="18"/>
                      <a:pt x="13" y="18"/>
                    </a:cubicBezTo>
                    <a:cubicBezTo>
                      <a:pt x="13" y="18"/>
                      <a:pt x="13" y="18"/>
                      <a:pt x="13" y="18"/>
                    </a:cubicBezTo>
                    <a:cubicBezTo>
                      <a:pt x="13" y="18"/>
                      <a:pt x="13" y="18"/>
                      <a:pt x="13" y="18"/>
                    </a:cubicBezTo>
                    <a:cubicBezTo>
                      <a:pt x="13" y="17"/>
                      <a:pt x="13" y="17"/>
                      <a:pt x="13" y="16"/>
                    </a:cubicBezTo>
                    <a:cubicBezTo>
                      <a:pt x="12" y="17"/>
                      <a:pt x="13" y="17"/>
                      <a:pt x="12" y="17"/>
                    </a:cubicBezTo>
                    <a:cubicBezTo>
                      <a:pt x="11" y="17"/>
                      <a:pt x="10" y="16"/>
                      <a:pt x="11" y="16"/>
                    </a:cubicBezTo>
                    <a:cubicBezTo>
                      <a:pt x="10" y="16"/>
                      <a:pt x="10" y="16"/>
                      <a:pt x="9" y="16"/>
                    </a:cubicBezTo>
                    <a:cubicBezTo>
                      <a:pt x="9" y="16"/>
                      <a:pt x="9" y="17"/>
                      <a:pt x="9" y="17"/>
                    </a:cubicBezTo>
                    <a:cubicBezTo>
                      <a:pt x="9" y="16"/>
                      <a:pt x="9" y="16"/>
                      <a:pt x="8" y="16"/>
                    </a:cubicBezTo>
                    <a:cubicBezTo>
                      <a:pt x="8" y="16"/>
                      <a:pt x="8" y="15"/>
                      <a:pt x="9" y="15"/>
                    </a:cubicBezTo>
                    <a:cubicBezTo>
                      <a:pt x="8" y="15"/>
                      <a:pt x="7" y="15"/>
                      <a:pt x="8" y="15"/>
                    </a:cubicBezTo>
                    <a:cubicBezTo>
                      <a:pt x="7" y="15"/>
                      <a:pt x="7" y="15"/>
                      <a:pt x="6" y="15"/>
                    </a:cubicBezTo>
                    <a:cubicBezTo>
                      <a:pt x="6" y="15"/>
                      <a:pt x="6" y="15"/>
                      <a:pt x="6" y="14"/>
                    </a:cubicBezTo>
                    <a:cubicBezTo>
                      <a:pt x="6" y="15"/>
                      <a:pt x="6" y="15"/>
                      <a:pt x="6" y="15"/>
                    </a:cubicBezTo>
                    <a:cubicBezTo>
                      <a:pt x="6" y="15"/>
                      <a:pt x="6" y="15"/>
                      <a:pt x="6" y="15"/>
                    </a:cubicBezTo>
                    <a:cubicBezTo>
                      <a:pt x="6" y="15"/>
                      <a:pt x="5" y="15"/>
                      <a:pt x="5" y="15"/>
                    </a:cubicBezTo>
                    <a:cubicBezTo>
                      <a:pt x="5" y="15"/>
                      <a:pt x="4" y="15"/>
                      <a:pt x="4" y="15"/>
                    </a:cubicBezTo>
                    <a:cubicBezTo>
                      <a:pt x="3" y="15"/>
                      <a:pt x="3" y="15"/>
                      <a:pt x="2" y="15"/>
                    </a:cubicBezTo>
                    <a:cubicBezTo>
                      <a:pt x="2" y="16"/>
                      <a:pt x="2" y="17"/>
                      <a:pt x="2" y="18"/>
                    </a:cubicBezTo>
                    <a:cubicBezTo>
                      <a:pt x="2" y="18"/>
                      <a:pt x="2" y="18"/>
                      <a:pt x="2" y="18"/>
                    </a:cubicBezTo>
                    <a:cubicBezTo>
                      <a:pt x="1" y="18"/>
                      <a:pt x="2" y="17"/>
                      <a:pt x="2" y="17"/>
                    </a:cubicBezTo>
                    <a:cubicBezTo>
                      <a:pt x="1" y="16"/>
                      <a:pt x="1" y="16"/>
                      <a:pt x="0" y="15"/>
                    </a:cubicBezTo>
                    <a:cubicBezTo>
                      <a:pt x="0" y="15"/>
                      <a:pt x="1" y="14"/>
                      <a:pt x="2" y="14"/>
                    </a:cubicBezTo>
                    <a:cubicBezTo>
                      <a:pt x="2" y="13"/>
                      <a:pt x="3" y="12"/>
                      <a:pt x="2" y="11"/>
                    </a:cubicBezTo>
                    <a:cubicBezTo>
                      <a:pt x="2" y="11"/>
                      <a:pt x="2" y="11"/>
                      <a:pt x="2" y="10"/>
                    </a:cubicBezTo>
                    <a:cubicBezTo>
                      <a:pt x="2" y="10"/>
                      <a:pt x="2" y="10"/>
                      <a:pt x="2" y="9"/>
                    </a:cubicBezTo>
                    <a:cubicBezTo>
                      <a:pt x="2" y="9"/>
                      <a:pt x="4" y="8"/>
                      <a:pt x="4" y="8"/>
                    </a:cubicBezTo>
                    <a:cubicBezTo>
                      <a:pt x="4" y="8"/>
                      <a:pt x="2" y="6"/>
                      <a:pt x="2" y="7"/>
                    </a:cubicBezTo>
                    <a:cubicBezTo>
                      <a:pt x="2" y="5"/>
                      <a:pt x="2" y="4"/>
                      <a:pt x="2" y="2"/>
                    </a:cubicBezTo>
                    <a:cubicBezTo>
                      <a:pt x="2" y="2"/>
                      <a:pt x="2" y="2"/>
                      <a:pt x="3" y="2"/>
                    </a:cubicBezTo>
                    <a:cubicBezTo>
                      <a:pt x="3" y="2"/>
                      <a:pt x="3" y="1"/>
                      <a:pt x="3" y="1"/>
                    </a:cubicBezTo>
                    <a:cubicBezTo>
                      <a:pt x="3" y="0"/>
                      <a:pt x="4" y="2"/>
                      <a:pt x="5" y="2"/>
                    </a:cubicBezTo>
                    <a:cubicBezTo>
                      <a:pt x="5" y="2"/>
                      <a:pt x="5" y="2"/>
                      <a:pt x="5" y="2"/>
                    </a:cubicBezTo>
                    <a:cubicBezTo>
                      <a:pt x="5" y="1"/>
                      <a:pt x="6" y="2"/>
                      <a:pt x="6" y="1"/>
                    </a:cubicBezTo>
                    <a:cubicBezTo>
                      <a:pt x="6" y="1"/>
                      <a:pt x="7" y="3"/>
                      <a:pt x="8" y="3"/>
                    </a:cubicBezTo>
                    <a:cubicBezTo>
                      <a:pt x="8" y="3"/>
                      <a:pt x="7" y="3"/>
                      <a:pt x="8" y="4"/>
                    </a:cubicBezTo>
                    <a:cubicBezTo>
                      <a:pt x="8" y="4"/>
                      <a:pt x="7" y="4"/>
                      <a:pt x="7" y="4"/>
                    </a:cubicBezTo>
                    <a:cubicBezTo>
                      <a:pt x="7" y="5"/>
                      <a:pt x="8" y="6"/>
                      <a:pt x="8" y="5"/>
                    </a:cubicBezTo>
                    <a:cubicBezTo>
                      <a:pt x="8" y="5"/>
                      <a:pt x="9" y="6"/>
                      <a:pt x="9" y="5"/>
                    </a:cubicBezTo>
                    <a:cubicBezTo>
                      <a:pt x="9" y="5"/>
                      <a:pt x="10" y="5"/>
                      <a:pt x="9" y="6"/>
                    </a:cubicBezTo>
                    <a:cubicBezTo>
                      <a:pt x="9" y="6"/>
                      <a:pt x="9" y="5"/>
                      <a:pt x="9" y="5"/>
                    </a:cubicBezTo>
                    <a:cubicBezTo>
                      <a:pt x="8" y="6"/>
                      <a:pt x="8" y="6"/>
                      <a:pt x="8" y="6"/>
                    </a:cubicBezTo>
                    <a:cubicBezTo>
                      <a:pt x="8" y="6"/>
                      <a:pt x="8" y="7"/>
                      <a:pt x="8" y="7"/>
                    </a:cubicBezTo>
                    <a:cubicBezTo>
                      <a:pt x="8" y="7"/>
                      <a:pt x="8" y="7"/>
                      <a:pt x="8" y="7"/>
                    </a:cubicBezTo>
                    <a:cubicBezTo>
                      <a:pt x="9" y="7"/>
                      <a:pt x="9" y="7"/>
                      <a:pt x="9" y="7"/>
                    </a:cubicBezTo>
                    <a:cubicBezTo>
                      <a:pt x="10" y="8"/>
                      <a:pt x="10" y="8"/>
                      <a:pt x="10" y="8"/>
                    </a:cubicBezTo>
                    <a:cubicBezTo>
                      <a:pt x="10" y="8"/>
                      <a:pt x="11" y="8"/>
                      <a:pt x="11" y="8"/>
                    </a:cubicBezTo>
                    <a:cubicBezTo>
                      <a:pt x="11" y="8"/>
                      <a:pt x="11" y="8"/>
                      <a:pt x="11" y="8"/>
                    </a:cubicBezTo>
                    <a:cubicBezTo>
                      <a:pt x="11" y="8"/>
                      <a:pt x="11" y="8"/>
                      <a:pt x="12" y="8"/>
                    </a:cubicBezTo>
                    <a:cubicBezTo>
                      <a:pt x="12" y="8"/>
                      <a:pt x="13" y="8"/>
                      <a:pt x="13" y="8"/>
                    </a:cubicBezTo>
                    <a:cubicBezTo>
                      <a:pt x="13" y="8"/>
                      <a:pt x="12" y="6"/>
                      <a:pt x="11" y="6"/>
                    </a:cubicBezTo>
                    <a:cubicBezTo>
                      <a:pt x="12" y="6"/>
                      <a:pt x="12" y="6"/>
                      <a:pt x="12" y="6"/>
                    </a:cubicBezTo>
                    <a:cubicBezTo>
                      <a:pt x="12" y="6"/>
                      <a:pt x="12" y="6"/>
                      <a:pt x="12" y="6"/>
                    </a:cubicBezTo>
                    <a:cubicBezTo>
                      <a:pt x="12" y="5"/>
                      <a:pt x="13" y="6"/>
                      <a:pt x="12" y="6"/>
                    </a:cubicBezTo>
                    <a:cubicBezTo>
                      <a:pt x="13" y="6"/>
                      <a:pt x="12" y="7"/>
                      <a:pt x="13" y="7"/>
                    </a:cubicBezTo>
                    <a:cubicBezTo>
                      <a:pt x="13" y="7"/>
                      <a:pt x="13" y="7"/>
                      <a:pt x="14" y="7"/>
                    </a:cubicBezTo>
                    <a:cubicBezTo>
                      <a:pt x="14" y="8"/>
                      <a:pt x="15" y="9"/>
                      <a:pt x="15" y="10"/>
                    </a:cubicBezTo>
                    <a:cubicBezTo>
                      <a:pt x="16" y="10"/>
                      <a:pt x="17" y="10"/>
                      <a:pt x="18" y="10"/>
                    </a:cubicBezTo>
                    <a:cubicBezTo>
                      <a:pt x="19" y="10"/>
                      <a:pt x="20" y="9"/>
                      <a:pt x="21" y="9"/>
                    </a:cubicBezTo>
                    <a:cubicBezTo>
                      <a:pt x="22" y="9"/>
                      <a:pt x="22" y="8"/>
                      <a:pt x="23" y="8"/>
                    </a:cubicBezTo>
                    <a:cubicBezTo>
                      <a:pt x="24" y="7"/>
                      <a:pt x="25" y="6"/>
                      <a:pt x="26" y="6"/>
                    </a:cubicBezTo>
                    <a:cubicBezTo>
                      <a:pt x="27" y="6"/>
                      <a:pt x="28" y="6"/>
                      <a:pt x="29" y="5"/>
                    </a:cubicBezTo>
                    <a:cubicBezTo>
                      <a:pt x="30" y="5"/>
                      <a:pt x="31" y="3"/>
                      <a:pt x="31" y="3"/>
                    </a:cubicBezTo>
                    <a:cubicBezTo>
                      <a:pt x="31" y="3"/>
                      <a:pt x="31" y="4"/>
                      <a:pt x="31" y="4"/>
                    </a:cubicBezTo>
                    <a:cubicBezTo>
                      <a:pt x="31" y="4"/>
                      <a:pt x="31" y="3"/>
                      <a:pt x="32" y="4"/>
                    </a:cubicBezTo>
                    <a:cubicBezTo>
                      <a:pt x="31" y="3"/>
                      <a:pt x="32" y="3"/>
                      <a:pt x="32" y="3"/>
                    </a:cubicBezTo>
                    <a:cubicBezTo>
                      <a:pt x="32" y="3"/>
                      <a:pt x="32" y="3"/>
                      <a:pt x="32" y="3"/>
                    </a:cubicBezTo>
                    <a:cubicBezTo>
                      <a:pt x="33" y="2"/>
                      <a:pt x="33" y="2"/>
                      <a:pt x="34" y="1"/>
                    </a:cubicBezTo>
                    <a:cubicBezTo>
                      <a:pt x="33" y="1"/>
                      <a:pt x="35" y="1"/>
                      <a:pt x="35" y="1"/>
                    </a:cubicBezTo>
                    <a:cubicBezTo>
                      <a:pt x="35" y="0"/>
                      <a:pt x="35" y="1"/>
                      <a:pt x="36" y="1"/>
                    </a:cubicBezTo>
                    <a:cubicBezTo>
                      <a:pt x="36" y="1"/>
                      <a:pt x="37" y="1"/>
                      <a:pt x="38" y="1"/>
                    </a:cubicBezTo>
                    <a:cubicBezTo>
                      <a:pt x="39" y="2"/>
                      <a:pt x="40" y="1"/>
                      <a:pt x="40" y="1"/>
                    </a:cubicBezTo>
                    <a:cubicBezTo>
                      <a:pt x="40" y="2"/>
                      <a:pt x="39" y="2"/>
                      <a:pt x="39" y="2"/>
                    </a:cubicBezTo>
                    <a:cubicBezTo>
                      <a:pt x="39" y="3"/>
                      <a:pt x="40" y="3"/>
                      <a:pt x="40" y="2"/>
                    </a:cubicBezTo>
                    <a:cubicBezTo>
                      <a:pt x="41" y="2"/>
                      <a:pt x="41" y="3"/>
                      <a:pt x="42" y="3"/>
                    </a:cubicBezTo>
                    <a:cubicBezTo>
                      <a:pt x="42" y="3"/>
                      <a:pt x="42" y="3"/>
                      <a:pt x="43" y="3"/>
                    </a:cubicBezTo>
                    <a:cubicBezTo>
                      <a:pt x="43" y="3"/>
                      <a:pt x="43" y="3"/>
                      <a:pt x="44" y="3"/>
                    </a:cubicBezTo>
                    <a:cubicBezTo>
                      <a:pt x="47" y="2"/>
                      <a:pt x="46" y="4"/>
                      <a:pt x="48" y="4"/>
                    </a:cubicBezTo>
                    <a:cubicBezTo>
                      <a:pt x="49" y="4"/>
                      <a:pt x="49" y="5"/>
                      <a:pt x="49" y="5"/>
                    </a:cubicBezTo>
                    <a:cubicBezTo>
                      <a:pt x="50" y="6"/>
                      <a:pt x="50" y="6"/>
                      <a:pt x="51" y="7"/>
                    </a:cubicBezTo>
                    <a:cubicBezTo>
                      <a:pt x="51" y="7"/>
                      <a:pt x="51" y="6"/>
                      <a:pt x="51" y="6"/>
                    </a:cubicBezTo>
                    <a:cubicBezTo>
                      <a:pt x="51" y="7"/>
                      <a:pt x="52" y="7"/>
                      <a:pt x="52" y="8"/>
                    </a:cubicBezTo>
                    <a:cubicBezTo>
                      <a:pt x="52" y="9"/>
                      <a:pt x="52" y="9"/>
                      <a:pt x="53" y="9"/>
                    </a:cubicBezTo>
                    <a:cubicBezTo>
                      <a:pt x="53" y="9"/>
                      <a:pt x="53" y="9"/>
                      <a:pt x="53" y="9"/>
                    </a:cubicBezTo>
                    <a:cubicBezTo>
                      <a:pt x="53" y="9"/>
                      <a:pt x="54" y="10"/>
                      <a:pt x="54" y="10"/>
                    </a:cubicBezTo>
                    <a:cubicBezTo>
                      <a:pt x="53" y="11"/>
                      <a:pt x="55" y="11"/>
                      <a:pt x="55" y="11"/>
                    </a:cubicBezTo>
                    <a:cubicBezTo>
                      <a:pt x="55" y="11"/>
                      <a:pt x="55" y="11"/>
                      <a:pt x="55" y="11"/>
                    </a:cubicBezTo>
                    <a:cubicBezTo>
                      <a:pt x="55" y="12"/>
                      <a:pt x="55" y="12"/>
                      <a:pt x="54" y="12"/>
                    </a:cubicBezTo>
                    <a:cubicBezTo>
                      <a:pt x="54" y="13"/>
                      <a:pt x="54" y="13"/>
                      <a:pt x="54" y="13"/>
                    </a:cubicBezTo>
                    <a:cubicBezTo>
                      <a:pt x="55" y="13"/>
                      <a:pt x="55" y="14"/>
                      <a:pt x="55" y="14"/>
                    </a:cubicBezTo>
                    <a:cubicBezTo>
                      <a:pt x="55" y="14"/>
                      <a:pt x="55" y="15"/>
                      <a:pt x="55" y="15"/>
                    </a:cubicBezTo>
                    <a:cubicBezTo>
                      <a:pt x="56" y="15"/>
                      <a:pt x="56" y="16"/>
                      <a:pt x="56" y="16"/>
                    </a:cubicBezTo>
                    <a:cubicBezTo>
                      <a:pt x="56" y="17"/>
                      <a:pt x="57" y="19"/>
                      <a:pt x="57" y="19"/>
                    </a:cubicBezTo>
                    <a:cubicBezTo>
                      <a:pt x="56" y="19"/>
                      <a:pt x="56" y="19"/>
                      <a:pt x="55" y="20"/>
                    </a:cubicBezTo>
                    <a:close/>
                    <a:moveTo>
                      <a:pt x="39" y="6"/>
                    </a:moveTo>
                    <a:cubicBezTo>
                      <a:pt x="39" y="6"/>
                      <a:pt x="39" y="6"/>
                      <a:pt x="39" y="6"/>
                    </a:cubicBezTo>
                    <a:cubicBezTo>
                      <a:pt x="39" y="6"/>
                      <a:pt x="39" y="6"/>
                      <a:pt x="39" y="6"/>
                    </a:cubicBezTo>
                    <a:cubicBezTo>
                      <a:pt x="39" y="6"/>
                      <a:pt x="39" y="6"/>
                      <a:pt x="39" y="6"/>
                    </a:cubicBezTo>
                    <a:close/>
                    <a:moveTo>
                      <a:pt x="40" y="6"/>
                    </a:moveTo>
                    <a:cubicBezTo>
                      <a:pt x="40" y="6"/>
                      <a:pt x="40" y="6"/>
                      <a:pt x="40" y="6"/>
                    </a:cubicBezTo>
                    <a:cubicBezTo>
                      <a:pt x="40" y="6"/>
                      <a:pt x="40" y="6"/>
                      <a:pt x="40" y="6"/>
                    </a:cubicBezTo>
                    <a:close/>
                    <a:moveTo>
                      <a:pt x="38" y="15"/>
                    </a:moveTo>
                    <a:cubicBezTo>
                      <a:pt x="38" y="15"/>
                      <a:pt x="38" y="16"/>
                      <a:pt x="38" y="16"/>
                    </a:cubicBezTo>
                    <a:cubicBezTo>
                      <a:pt x="38" y="16"/>
                      <a:pt x="38" y="16"/>
                      <a:pt x="39" y="16"/>
                    </a:cubicBezTo>
                    <a:cubicBezTo>
                      <a:pt x="39" y="15"/>
                      <a:pt x="38" y="15"/>
                      <a:pt x="38" y="15"/>
                    </a:cubicBezTo>
                    <a:close/>
                    <a:moveTo>
                      <a:pt x="17" y="24"/>
                    </a:moveTo>
                    <a:cubicBezTo>
                      <a:pt x="17" y="24"/>
                      <a:pt x="18" y="24"/>
                      <a:pt x="18" y="24"/>
                    </a:cubicBezTo>
                    <a:cubicBezTo>
                      <a:pt x="18" y="24"/>
                      <a:pt x="18" y="23"/>
                      <a:pt x="18" y="23"/>
                    </a:cubicBezTo>
                    <a:cubicBezTo>
                      <a:pt x="18" y="23"/>
                      <a:pt x="20" y="24"/>
                      <a:pt x="19" y="23"/>
                    </a:cubicBezTo>
                    <a:cubicBezTo>
                      <a:pt x="19" y="23"/>
                      <a:pt x="17" y="24"/>
                      <a:pt x="17" y="24"/>
                    </a:cubicBezTo>
                    <a:close/>
                    <a:moveTo>
                      <a:pt x="41" y="13"/>
                    </a:moveTo>
                    <a:cubicBezTo>
                      <a:pt x="39" y="13"/>
                      <a:pt x="40" y="14"/>
                      <a:pt x="40" y="15"/>
                    </a:cubicBezTo>
                    <a:cubicBezTo>
                      <a:pt x="40" y="15"/>
                      <a:pt x="40" y="15"/>
                      <a:pt x="40" y="15"/>
                    </a:cubicBezTo>
                    <a:cubicBezTo>
                      <a:pt x="40" y="15"/>
                      <a:pt x="40" y="16"/>
                      <a:pt x="40" y="16"/>
                    </a:cubicBezTo>
                    <a:cubicBezTo>
                      <a:pt x="40" y="16"/>
                      <a:pt x="40" y="15"/>
                      <a:pt x="40" y="15"/>
                    </a:cubicBezTo>
                    <a:cubicBezTo>
                      <a:pt x="41" y="15"/>
                      <a:pt x="41" y="14"/>
                      <a:pt x="41" y="14"/>
                    </a:cubicBezTo>
                    <a:cubicBezTo>
                      <a:pt x="41" y="14"/>
                      <a:pt x="41" y="13"/>
                      <a:pt x="41" y="13"/>
                    </a:cubicBezTo>
                    <a:close/>
                    <a:moveTo>
                      <a:pt x="38" y="14"/>
                    </a:moveTo>
                    <a:cubicBezTo>
                      <a:pt x="38" y="14"/>
                      <a:pt x="38" y="14"/>
                      <a:pt x="39" y="14"/>
                    </a:cubicBezTo>
                    <a:cubicBezTo>
                      <a:pt x="39" y="14"/>
                      <a:pt x="39" y="14"/>
                      <a:pt x="38" y="14"/>
                    </a:cubicBezTo>
                    <a:close/>
                    <a:moveTo>
                      <a:pt x="10" y="4"/>
                    </a:moveTo>
                    <a:cubicBezTo>
                      <a:pt x="10" y="4"/>
                      <a:pt x="9" y="3"/>
                      <a:pt x="9" y="3"/>
                    </a:cubicBezTo>
                    <a:cubicBezTo>
                      <a:pt x="9" y="4"/>
                      <a:pt x="9" y="4"/>
                      <a:pt x="9" y="4"/>
                    </a:cubicBezTo>
                    <a:cubicBezTo>
                      <a:pt x="9" y="5"/>
                      <a:pt x="10" y="4"/>
                      <a:pt x="10" y="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6" name="Palestinian Authority">
                <a:extLst>
                  <a:ext uri="{FF2B5EF4-FFF2-40B4-BE49-F238E27FC236}">
                    <a16:creationId xmlns:a16="http://schemas.microsoft.com/office/drawing/2014/main" id="{A52190FA-ADA4-0C38-E3C4-E89AEB16F636}"/>
                  </a:ext>
                </a:extLst>
              </p:cNvPr>
              <p:cNvSpPr>
                <a:spLocks noEditPoints="1"/>
              </p:cNvSpPr>
              <p:nvPr/>
            </p:nvSpPr>
            <p:spPr bwMode="auto">
              <a:xfrm>
                <a:off x="6833674" y="2757394"/>
                <a:ext cx="46068" cy="70572"/>
              </a:xfrm>
              <a:custGeom>
                <a:avLst/>
                <a:gdLst/>
                <a:ahLst/>
                <a:cxnLst>
                  <a:cxn ang="0">
                    <a:pos x="12" y="13"/>
                  </a:cxn>
                  <a:cxn ang="0">
                    <a:pos x="12" y="11"/>
                  </a:cxn>
                  <a:cxn ang="0">
                    <a:pos x="12" y="9"/>
                  </a:cxn>
                  <a:cxn ang="0">
                    <a:pos x="12" y="8"/>
                  </a:cxn>
                  <a:cxn ang="0">
                    <a:pos x="12" y="8"/>
                  </a:cxn>
                  <a:cxn ang="0">
                    <a:pos x="11" y="7"/>
                  </a:cxn>
                  <a:cxn ang="0">
                    <a:pos x="10" y="6"/>
                  </a:cxn>
                  <a:cxn ang="0">
                    <a:pos x="10" y="6"/>
                  </a:cxn>
                  <a:cxn ang="0">
                    <a:pos x="9" y="6"/>
                  </a:cxn>
                  <a:cxn ang="0">
                    <a:pos x="8" y="6"/>
                  </a:cxn>
                  <a:cxn ang="0">
                    <a:pos x="7" y="7"/>
                  </a:cxn>
                  <a:cxn ang="0">
                    <a:pos x="7" y="8"/>
                  </a:cxn>
                  <a:cxn ang="0">
                    <a:pos x="6" y="9"/>
                  </a:cxn>
                  <a:cxn ang="0">
                    <a:pos x="7" y="11"/>
                  </a:cxn>
                  <a:cxn ang="0">
                    <a:pos x="7" y="12"/>
                  </a:cxn>
                  <a:cxn ang="0">
                    <a:pos x="7" y="13"/>
                  </a:cxn>
                  <a:cxn ang="0">
                    <a:pos x="7" y="13"/>
                  </a:cxn>
                  <a:cxn ang="0">
                    <a:pos x="7" y="14"/>
                  </a:cxn>
                  <a:cxn ang="0">
                    <a:pos x="8" y="13"/>
                  </a:cxn>
                  <a:cxn ang="0">
                    <a:pos x="7" y="13"/>
                  </a:cxn>
                  <a:cxn ang="0">
                    <a:pos x="8" y="13"/>
                  </a:cxn>
                  <a:cxn ang="0">
                    <a:pos x="9" y="14"/>
                  </a:cxn>
                  <a:cxn ang="0">
                    <a:pos x="9" y="14"/>
                  </a:cxn>
                  <a:cxn ang="0">
                    <a:pos x="7" y="15"/>
                  </a:cxn>
                  <a:cxn ang="0">
                    <a:pos x="7" y="17"/>
                  </a:cxn>
                  <a:cxn ang="0">
                    <a:pos x="7" y="19"/>
                  </a:cxn>
                  <a:cxn ang="0">
                    <a:pos x="8" y="19"/>
                  </a:cxn>
                  <a:cxn ang="0">
                    <a:pos x="9" y="18"/>
                  </a:cxn>
                  <a:cxn ang="0">
                    <a:pos x="12" y="17"/>
                  </a:cxn>
                  <a:cxn ang="0">
                    <a:pos x="12" y="13"/>
                  </a:cxn>
                  <a:cxn ang="0">
                    <a:pos x="9" y="14"/>
                  </a:cxn>
                  <a:cxn ang="0">
                    <a:pos x="9" y="14"/>
                  </a:cxn>
                  <a:cxn ang="0">
                    <a:pos x="9" y="14"/>
                  </a:cxn>
                  <a:cxn ang="0">
                    <a:pos x="12" y="2"/>
                  </a:cxn>
                  <a:cxn ang="0">
                    <a:pos x="12" y="1"/>
                  </a:cxn>
                  <a:cxn ang="0">
                    <a:pos x="12" y="0"/>
                  </a:cxn>
                  <a:cxn ang="0">
                    <a:pos x="12" y="0"/>
                  </a:cxn>
                  <a:cxn ang="0">
                    <a:pos x="12" y="2"/>
                  </a:cxn>
                  <a:cxn ang="0">
                    <a:pos x="13" y="4"/>
                  </a:cxn>
                  <a:cxn ang="0">
                    <a:pos x="12" y="3"/>
                  </a:cxn>
                  <a:cxn ang="0">
                    <a:pos x="13" y="4"/>
                  </a:cxn>
                  <a:cxn ang="0">
                    <a:pos x="12" y="3"/>
                  </a:cxn>
                  <a:cxn ang="0">
                    <a:pos x="12" y="3"/>
                  </a:cxn>
                  <a:cxn ang="0">
                    <a:pos x="12" y="3"/>
                  </a:cxn>
                  <a:cxn ang="0">
                    <a:pos x="3" y="17"/>
                  </a:cxn>
                  <a:cxn ang="0">
                    <a:pos x="2" y="18"/>
                  </a:cxn>
                  <a:cxn ang="0">
                    <a:pos x="2" y="18"/>
                  </a:cxn>
                  <a:cxn ang="0">
                    <a:pos x="1" y="19"/>
                  </a:cxn>
                  <a:cxn ang="0">
                    <a:pos x="1" y="20"/>
                  </a:cxn>
                  <a:cxn ang="0">
                    <a:pos x="0" y="19"/>
                  </a:cxn>
                  <a:cxn ang="0">
                    <a:pos x="0" y="19"/>
                  </a:cxn>
                  <a:cxn ang="0">
                    <a:pos x="1" y="18"/>
                  </a:cxn>
                  <a:cxn ang="0">
                    <a:pos x="1" y="18"/>
                  </a:cxn>
                  <a:cxn ang="0">
                    <a:pos x="2" y="16"/>
                  </a:cxn>
                  <a:cxn ang="0">
                    <a:pos x="3" y="17"/>
                  </a:cxn>
                </a:cxnLst>
                <a:rect l="0" t="0" r="r" b="b"/>
                <a:pathLst>
                  <a:path w="13" h="20">
                    <a:moveTo>
                      <a:pt x="12" y="13"/>
                    </a:moveTo>
                    <a:cubicBezTo>
                      <a:pt x="12" y="12"/>
                      <a:pt x="12" y="12"/>
                      <a:pt x="12" y="11"/>
                    </a:cubicBezTo>
                    <a:cubicBezTo>
                      <a:pt x="12" y="11"/>
                      <a:pt x="12" y="10"/>
                      <a:pt x="12" y="9"/>
                    </a:cubicBezTo>
                    <a:cubicBezTo>
                      <a:pt x="12" y="9"/>
                      <a:pt x="12" y="8"/>
                      <a:pt x="12" y="8"/>
                    </a:cubicBezTo>
                    <a:cubicBezTo>
                      <a:pt x="12" y="8"/>
                      <a:pt x="12" y="8"/>
                      <a:pt x="12" y="8"/>
                    </a:cubicBezTo>
                    <a:cubicBezTo>
                      <a:pt x="12" y="7"/>
                      <a:pt x="11" y="7"/>
                      <a:pt x="11" y="7"/>
                    </a:cubicBezTo>
                    <a:cubicBezTo>
                      <a:pt x="10" y="7"/>
                      <a:pt x="10" y="7"/>
                      <a:pt x="10" y="6"/>
                    </a:cubicBezTo>
                    <a:cubicBezTo>
                      <a:pt x="10" y="6"/>
                      <a:pt x="10" y="6"/>
                      <a:pt x="10" y="6"/>
                    </a:cubicBezTo>
                    <a:cubicBezTo>
                      <a:pt x="10" y="6"/>
                      <a:pt x="10" y="6"/>
                      <a:pt x="9" y="6"/>
                    </a:cubicBezTo>
                    <a:cubicBezTo>
                      <a:pt x="8" y="6"/>
                      <a:pt x="9" y="6"/>
                      <a:pt x="8" y="6"/>
                    </a:cubicBezTo>
                    <a:cubicBezTo>
                      <a:pt x="8" y="6"/>
                      <a:pt x="7" y="6"/>
                      <a:pt x="7" y="7"/>
                    </a:cubicBezTo>
                    <a:cubicBezTo>
                      <a:pt x="7" y="7"/>
                      <a:pt x="7" y="8"/>
                      <a:pt x="7" y="8"/>
                    </a:cubicBezTo>
                    <a:cubicBezTo>
                      <a:pt x="7" y="9"/>
                      <a:pt x="7" y="9"/>
                      <a:pt x="6" y="9"/>
                    </a:cubicBezTo>
                    <a:cubicBezTo>
                      <a:pt x="6" y="10"/>
                      <a:pt x="7" y="10"/>
                      <a:pt x="7" y="11"/>
                    </a:cubicBezTo>
                    <a:cubicBezTo>
                      <a:pt x="7" y="11"/>
                      <a:pt x="7" y="11"/>
                      <a:pt x="7" y="12"/>
                    </a:cubicBezTo>
                    <a:cubicBezTo>
                      <a:pt x="7" y="12"/>
                      <a:pt x="7" y="13"/>
                      <a:pt x="7" y="13"/>
                    </a:cubicBezTo>
                    <a:cubicBezTo>
                      <a:pt x="7" y="13"/>
                      <a:pt x="7" y="13"/>
                      <a:pt x="7" y="13"/>
                    </a:cubicBezTo>
                    <a:cubicBezTo>
                      <a:pt x="7" y="13"/>
                      <a:pt x="7" y="14"/>
                      <a:pt x="7" y="14"/>
                    </a:cubicBezTo>
                    <a:cubicBezTo>
                      <a:pt x="8" y="14"/>
                      <a:pt x="8" y="13"/>
                      <a:pt x="8" y="13"/>
                    </a:cubicBezTo>
                    <a:cubicBezTo>
                      <a:pt x="8" y="13"/>
                      <a:pt x="8" y="13"/>
                      <a:pt x="7" y="13"/>
                    </a:cubicBezTo>
                    <a:cubicBezTo>
                      <a:pt x="7" y="13"/>
                      <a:pt x="7" y="13"/>
                      <a:pt x="8" y="13"/>
                    </a:cubicBezTo>
                    <a:cubicBezTo>
                      <a:pt x="8" y="13"/>
                      <a:pt x="8" y="14"/>
                      <a:pt x="9" y="14"/>
                    </a:cubicBezTo>
                    <a:cubicBezTo>
                      <a:pt x="9" y="14"/>
                      <a:pt x="9" y="14"/>
                      <a:pt x="9" y="14"/>
                    </a:cubicBezTo>
                    <a:cubicBezTo>
                      <a:pt x="9" y="14"/>
                      <a:pt x="8" y="15"/>
                      <a:pt x="7" y="15"/>
                    </a:cubicBezTo>
                    <a:cubicBezTo>
                      <a:pt x="7" y="16"/>
                      <a:pt x="7" y="16"/>
                      <a:pt x="7" y="17"/>
                    </a:cubicBezTo>
                    <a:cubicBezTo>
                      <a:pt x="6" y="18"/>
                      <a:pt x="6" y="18"/>
                      <a:pt x="7" y="19"/>
                    </a:cubicBezTo>
                    <a:cubicBezTo>
                      <a:pt x="7" y="19"/>
                      <a:pt x="8" y="19"/>
                      <a:pt x="8" y="19"/>
                    </a:cubicBezTo>
                    <a:cubicBezTo>
                      <a:pt x="8" y="19"/>
                      <a:pt x="9" y="19"/>
                      <a:pt x="9" y="18"/>
                    </a:cubicBezTo>
                    <a:cubicBezTo>
                      <a:pt x="10" y="18"/>
                      <a:pt x="11" y="17"/>
                      <a:pt x="12" y="17"/>
                    </a:cubicBezTo>
                    <a:cubicBezTo>
                      <a:pt x="12" y="16"/>
                      <a:pt x="12" y="14"/>
                      <a:pt x="12" y="13"/>
                    </a:cubicBezTo>
                    <a:close/>
                    <a:moveTo>
                      <a:pt x="9" y="14"/>
                    </a:moveTo>
                    <a:cubicBezTo>
                      <a:pt x="9" y="14"/>
                      <a:pt x="10" y="14"/>
                      <a:pt x="9" y="14"/>
                    </a:cubicBezTo>
                    <a:cubicBezTo>
                      <a:pt x="9" y="14"/>
                      <a:pt x="9" y="14"/>
                      <a:pt x="9" y="14"/>
                    </a:cubicBezTo>
                    <a:close/>
                    <a:moveTo>
                      <a:pt x="12" y="2"/>
                    </a:moveTo>
                    <a:cubicBezTo>
                      <a:pt x="12" y="1"/>
                      <a:pt x="12" y="1"/>
                      <a:pt x="12" y="1"/>
                    </a:cubicBezTo>
                    <a:cubicBezTo>
                      <a:pt x="12" y="1"/>
                      <a:pt x="12" y="0"/>
                      <a:pt x="12" y="0"/>
                    </a:cubicBezTo>
                    <a:cubicBezTo>
                      <a:pt x="12" y="0"/>
                      <a:pt x="12" y="0"/>
                      <a:pt x="12" y="0"/>
                    </a:cubicBezTo>
                    <a:cubicBezTo>
                      <a:pt x="12" y="0"/>
                      <a:pt x="12" y="1"/>
                      <a:pt x="12" y="2"/>
                    </a:cubicBezTo>
                    <a:close/>
                    <a:moveTo>
                      <a:pt x="13" y="4"/>
                    </a:moveTo>
                    <a:cubicBezTo>
                      <a:pt x="12" y="4"/>
                      <a:pt x="11" y="3"/>
                      <a:pt x="12" y="3"/>
                    </a:cubicBezTo>
                    <a:cubicBezTo>
                      <a:pt x="12" y="4"/>
                      <a:pt x="12" y="4"/>
                      <a:pt x="13" y="4"/>
                    </a:cubicBezTo>
                    <a:close/>
                    <a:moveTo>
                      <a:pt x="12" y="3"/>
                    </a:moveTo>
                    <a:cubicBezTo>
                      <a:pt x="12" y="3"/>
                      <a:pt x="12" y="3"/>
                      <a:pt x="12" y="3"/>
                    </a:cubicBezTo>
                    <a:cubicBezTo>
                      <a:pt x="12" y="3"/>
                      <a:pt x="13" y="3"/>
                      <a:pt x="12" y="3"/>
                    </a:cubicBezTo>
                    <a:close/>
                    <a:moveTo>
                      <a:pt x="3" y="17"/>
                    </a:moveTo>
                    <a:cubicBezTo>
                      <a:pt x="3" y="17"/>
                      <a:pt x="2" y="17"/>
                      <a:pt x="2" y="18"/>
                    </a:cubicBezTo>
                    <a:cubicBezTo>
                      <a:pt x="2" y="18"/>
                      <a:pt x="2" y="18"/>
                      <a:pt x="2" y="18"/>
                    </a:cubicBezTo>
                    <a:cubicBezTo>
                      <a:pt x="2" y="19"/>
                      <a:pt x="2" y="19"/>
                      <a:pt x="1" y="19"/>
                    </a:cubicBezTo>
                    <a:cubicBezTo>
                      <a:pt x="1" y="20"/>
                      <a:pt x="1" y="20"/>
                      <a:pt x="1" y="20"/>
                    </a:cubicBezTo>
                    <a:cubicBezTo>
                      <a:pt x="1" y="20"/>
                      <a:pt x="0" y="20"/>
                      <a:pt x="0" y="19"/>
                    </a:cubicBezTo>
                    <a:cubicBezTo>
                      <a:pt x="0" y="19"/>
                      <a:pt x="0" y="19"/>
                      <a:pt x="0" y="19"/>
                    </a:cubicBezTo>
                    <a:cubicBezTo>
                      <a:pt x="0" y="19"/>
                      <a:pt x="1" y="19"/>
                      <a:pt x="1" y="18"/>
                    </a:cubicBezTo>
                    <a:cubicBezTo>
                      <a:pt x="1" y="18"/>
                      <a:pt x="1" y="18"/>
                      <a:pt x="1" y="18"/>
                    </a:cubicBezTo>
                    <a:cubicBezTo>
                      <a:pt x="2" y="17"/>
                      <a:pt x="2" y="17"/>
                      <a:pt x="2" y="16"/>
                    </a:cubicBezTo>
                    <a:cubicBezTo>
                      <a:pt x="3" y="16"/>
                      <a:pt x="3" y="16"/>
                      <a:pt x="3" y="1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7" name="Palau">
                <a:extLst>
                  <a:ext uri="{FF2B5EF4-FFF2-40B4-BE49-F238E27FC236}">
                    <a16:creationId xmlns:a16="http://schemas.microsoft.com/office/drawing/2014/main" id="{B45BD511-ED34-3642-796B-BADBA4EB87BF}"/>
                  </a:ext>
                </a:extLst>
              </p:cNvPr>
              <p:cNvSpPr>
                <a:spLocks noEditPoints="1"/>
              </p:cNvSpPr>
              <p:nvPr/>
            </p:nvSpPr>
            <p:spPr bwMode="auto">
              <a:xfrm>
                <a:off x="10232884" y="3742459"/>
                <a:ext cx="78414" cy="96056"/>
              </a:xfrm>
              <a:custGeom>
                <a:avLst/>
                <a:gdLst/>
                <a:ahLst/>
                <a:cxnLst>
                  <a:cxn ang="0">
                    <a:pos x="22" y="2"/>
                  </a:cxn>
                  <a:cxn ang="0">
                    <a:pos x="22" y="4"/>
                  </a:cxn>
                  <a:cxn ang="0">
                    <a:pos x="22" y="4"/>
                  </a:cxn>
                  <a:cxn ang="0">
                    <a:pos x="21" y="4"/>
                  </a:cxn>
                  <a:cxn ang="0">
                    <a:pos x="21" y="3"/>
                  </a:cxn>
                  <a:cxn ang="0">
                    <a:pos x="21" y="3"/>
                  </a:cxn>
                  <a:cxn ang="0">
                    <a:pos x="21" y="2"/>
                  </a:cxn>
                  <a:cxn ang="0">
                    <a:pos x="22" y="0"/>
                  </a:cxn>
                  <a:cxn ang="0">
                    <a:pos x="22" y="2"/>
                  </a:cxn>
                  <a:cxn ang="0">
                    <a:pos x="19" y="9"/>
                  </a:cxn>
                  <a:cxn ang="0">
                    <a:pos x="19" y="8"/>
                  </a:cxn>
                  <a:cxn ang="0">
                    <a:pos x="19" y="9"/>
                  </a:cxn>
                  <a:cxn ang="0">
                    <a:pos x="18" y="10"/>
                  </a:cxn>
                  <a:cxn ang="0">
                    <a:pos x="18" y="10"/>
                  </a:cxn>
                  <a:cxn ang="0">
                    <a:pos x="0" y="27"/>
                  </a:cxn>
                  <a:cxn ang="0">
                    <a:pos x="0" y="27"/>
                  </a:cxn>
                  <a:cxn ang="0">
                    <a:pos x="0" y="27"/>
                  </a:cxn>
                  <a:cxn ang="0">
                    <a:pos x="20" y="6"/>
                  </a:cxn>
                  <a:cxn ang="0">
                    <a:pos x="19" y="5"/>
                  </a:cxn>
                  <a:cxn ang="0">
                    <a:pos x="20" y="6"/>
                  </a:cxn>
                  <a:cxn ang="0">
                    <a:pos x="20" y="5"/>
                  </a:cxn>
                  <a:cxn ang="0">
                    <a:pos x="20" y="6"/>
                  </a:cxn>
                </a:cxnLst>
                <a:rect l="0" t="0" r="r" b="b"/>
                <a:pathLst>
                  <a:path w="22" h="27">
                    <a:moveTo>
                      <a:pt x="22" y="2"/>
                    </a:moveTo>
                    <a:cubicBezTo>
                      <a:pt x="22" y="3"/>
                      <a:pt x="22" y="3"/>
                      <a:pt x="22" y="4"/>
                    </a:cubicBezTo>
                    <a:cubicBezTo>
                      <a:pt x="22" y="4"/>
                      <a:pt x="22" y="4"/>
                      <a:pt x="22" y="4"/>
                    </a:cubicBezTo>
                    <a:cubicBezTo>
                      <a:pt x="21" y="4"/>
                      <a:pt x="21" y="4"/>
                      <a:pt x="21" y="4"/>
                    </a:cubicBezTo>
                    <a:cubicBezTo>
                      <a:pt x="21" y="4"/>
                      <a:pt x="21" y="4"/>
                      <a:pt x="21" y="3"/>
                    </a:cubicBezTo>
                    <a:cubicBezTo>
                      <a:pt x="21" y="3"/>
                      <a:pt x="21" y="3"/>
                      <a:pt x="21" y="3"/>
                    </a:cubicBezTo>
                    <a:cubicBezTo>
                      <a:pt x="21" y="3"/>
                      <a:pt x="21" y="2"/>
                      <a:pt x="21" y="2"/>
                    </a:cubicBezTo>
                    <a:cubicBezTo>
                      <a:pt x="22" y="1"/>
                      <a:pt x="21" y="1"/>
                      <a:pt x="22" y="0"/>
                    </a:cubicBezTo>
                    <a:cubicBezTo>
                      <a:pt x="22" y="0"/>
                      <a:pt x="22" y="2"/>
                      <a:pt x="22" y="2"/>
                    </a:cubicBezTo>
                    <a:close/>
                    <a:moveTo>
                      <a:pt x="19" y="9"/>
                    </a:moveTo>
                    <a:cubicBezTo>
                      <a:pt x="19" y="8"/>
                      <a:pt x="19" y="8"/>
                      <a:pt x="19" y="8"/>
                    </a:cubicBezTo>
                    <a:cubicBezTo>
                      <a:pt x="19" y="8"/>
                      <a:pt x="19" y="8"/>
                      <a:pt x="19" y="9"/>
                    </a:cubicBezTo>
                    <a:close/>
                    <a:moveTo>
                      <a:pt x="18" y="10"/>
                    </a:moveTo>
                    <a:cubicBezTo>
                      <a:pt x="19" y="9"/>
                      <a:pt x="17" y="9"/>
                      <a:pt x="18" y="10"/>
                    </a:cubicBezTo>
                    <a:close/>
                    <a:moveTo>
                      <a:pt x="0" y="27"/>
                    </a:moveTo>
                    <a:cubicBezTo>
                      <a:pt x="0" y="27"/>
                      <a:pt x="0" y="27"/>
                      <a:pt x="0" y="27"/>
                    </a:cubicBezTo>
                    <a:cubicBezTo>
                      <a:pt x="0" y="27"/>
                      <a:pt x="0" y="27"/>
                      <a:pt x="0" y="27"/>
                    </a:cubicBezTo>
                    <a:close/>
                    <a:moveTo>
                      <a:pt x="20" y="6"/>
                    </a:moveTo>
                    <a:cubicBezTo>
                      <a:pt x="20" y="6"/>
                      <a:pt x="19" y="5"/>
                      <a:pt x="19" y="5"/>
                    </a:cubicBezTo>
                    <a:cubicBezTo>
                      <a:pt x="19" y="6"/>
                      <a:pt x="20" y="6"/>
                      <a:pt x="20" y="6"/>
                    </a:cubicBezTo>
                    <a:cubicBezTo>
                      <a:pt x="20" y="6"/>
                      <a:pt x="21" y="5"/>
                      <a:pt x="20" y="5"/>
                    </a:cubicBezTo>
                    <a:cubicBezTo>
                      <a:pt x="20" y="5"/>
                      <a:pt x="20" y="6"/>
                      <a:pt x="20" y="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8" name="Pakistan">
                <a:extLst>
                  <a:ext uri="{FF2B5EF4-FFF2-40B4-BE49-F238E27FC236}">
                    <a16:creationId xmlns:a16="http://schemas.microsoft.com/office/drawing/2014/main" id="{D2DA05AA-29BC-E78A-1E2B-34D227D155A9}"/>
                  </a:ext>
                </a:extLst>
              </p:cNvPr>
              <p:cNvSpPr>
                <a:spLocks noEditPoints="1"/>
              </p:cNvSpPr>
              <p:nvPr/>
            </p:nvSpPr>
            <p:spPr bwMode="auto">
              <a:xfrm>
                <a:off x="7718762" y="2601546"/>
                <a:ext cx="513607" cy="520467"/>
              </a:xfrm>
              <a:custGeom>
                <a:avLst/>
                <a:gdLst/>
                <a:ahLst/>
                <a:cxnLst>
                  <a:cxn ang="0">
                    <a:pos x="131" y="26"/>
                  </a:cxn>
                  <a:cxn ang="0">
                    <a:pos x="115" y="25"/>
                  </a:cxn>
                  <a:cxn ang="0">
                    <a:pos x="113" y="31"/>
                  </a:cxn>
                  <a:cxn ang="0">
                    <a:pos x="117" y="44"/>
                  </a:cxn>
                  <a:cxn ang="0">
                    <a:pos x="123" y="50"/>
                  </a:cxn>
                  <a:cxn ang="0">
                    <a:pos x="128" y="55"/>
                  </a:cxn>
                  <a:cxn ang="0">
                    <a:pos x="126" y="65"/>
                  </a:cxn>
                  <a:cxn ang="0">
                    <a:pos x="121" y="71"/>
                  </a:cxn>
                  <a:cxn ang="0">
                    <a:pos x="116" y="81"/>
                  </a:cxn>
                  <a:cxn ang="0">
                    <a:pos x="106" y="98"/>
                  </a:cxn>
                  <a:cxn ang="0">
                    <a:pos x="86" y="107"/>
                  </a:cxn>
                  <a:cxn ang="0">
                    <a:pos x="92" y="121"/>
                  </a:cxn>
                  <a:cxn ang="0">
                    <a:pos x="101" y="133"/>
                  </a:cxn>
                  <a:cxn ang="0">
                    <a:pos x="99" y="139"/>
                  </a:cxn>
                  <a:cxn ang="0">
                    <a:pos x="85" y="140"/>
                  </a:cxn>
                  <a:cxn ang="0">
                    <a:pos x="78" y="144"/>
                  </a:cxn>
                  <a:cxn ang="0">
                    <a:pos x="75" y="146"/>
                  </a:cxn>
                  <a:cxn ang="0">
                    <a:pos x="74" y="145"/>
                  </a:cxn>
                  <a:cxn ang="0">
                    <a:pos x="68" y="142"/>
                  </a:cxn>
                  <a:cxn ang="0">
                    <a:pos x="66" y="136"/>
                  </a:cxn>
                  <a:cxn ang="0">
                    <a:pos x="61" y="134"/>
                  </a:cxn>
                  <a:cxn ang="0">
                    <a:pos x="55" y="127"/>
                  </a:cxn>
                  <a:cxn ang="0">
                    <a:pos x="55" y="128"/>
                  </a:cxn>
                  <a:cxn ang="0">
                    <a:pos x="42" y="130"/>
                  </a:cxn>
                  <a:cxn ang="0">
                    <a:pos x="36" y="128"/>
                  </a:cxn>
                  <a:cxn ang="0">
                    <a:pos x="31" y="130"/>
                  </a:cxn>
                  <a:cxn ang="0">
                    <a:pos x="20" y="131"/>
                  </a:cxn>
                  <a:cxn ang="0">
                    <a:pos x="14" y="131"/>
                  </a:cxn>
                  <a:cxn ang="0">
                    <a:pos x="14" y="121"/>
                  </a:cxn>
                  <a:cxn ang="0">
                    <a:pos x="22" y="114"/>
                  </a:cxn>
                  <a:cxn ang="0">
                    <a:pos x="24" y="108"/>
                  </a:cxn>
                  <a:cxn ang="0">
                    <a:pos x="19" y="97"/>
                  </a:cxn>
                  <a:cxn ang="0">
                    <a:pos x="6" y="87"/>
                  </a:cxn>
                  <a:cxn ang="0">
                    <a:pos x="28" y="83"/>
                  </a:cxn>
                  <a:cxn ang="0">
                    <a:pos x="50" y="77"/>
                  </a:cxn>
                  <a:cxn ang="0">
                    <a:pos x="53" y="63"/>
                  </a:cxn>
                  <a:cxn ang="0">
                    <a:pos x="61" y="62"/>
                  </a:cxn>
                  <a:cxn ang="0">
                    <a:pos x="68" y="58"/>
                  </a:cxn>
                  <a:cxn ang="0">
                    <a:pos x="73" y="58"/>
                  </a:cxn>
                  <a:cxn ang="0">
                    <a:pos x="74" y="46"/>
                  </a:cxn>
                  <a:cxn ang="0">
                    <a:pos x="81" y="41"/>
                  </a:cxn>
                  <a:cxn ang="0">
                    <a:pos x="81" y="34"/>
                  </a:cxn>
                  <a:cxn ang="0">
                    <a:pos x="87" y="30"/>
                  </a:cxn>
                  <a:cxn ang="0">
                    <a:pos x="89" y="20"/>
                  </a:cxn>
                  <a:cxn ang="0">
                    <a:pos x="84" y="12"/>
                  </a:cxn>
                  <a:cxn ang="0">
                    <a:pos x="88" y="6"/>
                  </a:cxn>
                  <a:cxn ang="0">
                    <a:pos x="94" y="3"/>
                  </a:cxn>
                  <a:cxn ang="0">
                    <a:pos x="108" y="2"/>
                  </a:cxn>
                  <a:cxn ang="0">
                    <a:pos x="121" y="4"/>
                  </a:cxn>
                  <a:cxn ang="0">
                    <a:pos x="126" y="10"/>
                  </a:cxn>
                  <a:cxn ang="0">
                    <a:pos x="137" y="16"/>
                  </a:cxn>
                  <a:cxn ang="0">
                    <a:pos x="139" y="22"/>
                  </a:cxn>
                  <a:cxn ang="0">
                    <a:pos x="72" y="146"/>
                  </a:cxn>
                  <a:cxn ang="0">
                    <a:pos x="69" y="143"/>
                  </a:cxn>
                  <a:cxn ang="0">
                    <a:pos x="70" y="145"/>
                  </a:cxn>
                </a:cxnLst>
                <a:rect l="0" t="0" r="r" b="b"/>
                <a:pathLst>
                  <a:path w="145" h="147">
                    <a:moveTo>
                      <a:pt x="139" y="22"/>
                    </a:moveTo>
                    <a:cubicBezTo>
                      <a:pt x="139" y="23"/>
                      <a:pt x="139" y="23"/>
                      <a:pt x="138" y="23"/>
                    </a:cubicBezTo>
                    <a:cubicBezTo>
                      <a:pt x="138" y="24"/>
                      <a:pt x="137" y="23"/>
                      <a:pt x="137" y="24"/>
                    </a:cubicBezTo>
                    <a:cubicBezTo>
                      <a:pt x="137" y="24"/>
                      <a:pt x="137" y="24"/>
                      <a:pt x="137" y="25"/>
                    </a:cubicBezTo>
                    <a:cubicBezTo>
                      <a:pt x="136" y="26"/>
                      <a:pt x="135" y="26"/>
                      <a:pt x="135" y="25"/>
                    </a:cubicBezTo>
                    <a:cubicBezTo>
                      <a:pt x="134" y="25"/>
                      <a:pt x="134" y="26"/>
                      <a:pt x="133" y="26"/>
                    </a:cubicBezTo>
                    <a:cubicBezTo>
                      <a:pt x="133" y="26"/>
                      <a:pt x="132" y="26"/>
                      <a:pt x="131" y="26"/>
                    </a:cubicBezTo>
                    <a:cubicBezTo>
                      <a:pt x="131" y="26"/>
                      <a:pt x="130" y="27"/>
                      <a:pt x="130" y="27"/>
                    </a:cubicBezTo>
                    <a:cubicBezTo>
                      <a:pt x="129" y="27"/>
                      <a:pt x="129" y="28"/>
                      <a:pt x="129" y="28"/>
                    </a:cubicBezTo>
                    <a:cubicBezTo>
                      <a:pt x="128" y="28"/>
                      <a:pt x="127" y="28"/>
                      <a:pt x="126" y="28"/>
                    </a:cubicBezTo>
                    <a:cubicBezTo>
                      <a:pt x="126" y="28"/>
                      <a:pt x="125" y="28"/>
                      <a:pt x="124" y="27"/>
                    </a:cubicBezTo>
                    <a:cubicBezTo>
                      <a:pt x="124" y="27"/>
                      <a:pt x="123" y="26"/>
                      <a:pt x="123" y="27"/>
                    </a:cubicBezTo>
                    <a:cubicBezTo>
                      <a:pt x="121" y="27"/>
                      <a:pt x="119" y="26"/>
                      <a:pt x="117" y="26"/>
                    </a:cubicBezTo>
                    <a:cubicBezTo>
                      <a:pt x="117" y="25"/>
                      <a:pt x="116" y="25"/>
                      <a:pt x="115" y="25"/>
                    </a:cubicBezTo>
                    <a:cubicBezTo>
                      <a:pt x="114" y="25"/>
                      <a:pt x="114" y="25"/>
                      <a:pt x="113" y="26"/>
                    </a:cubicBezTo>
                    <a:cubicBezTo>
                      <a:pt x="113" y="26"/>
                      <a:pt x="112" y="26"/>
                      <a:pt x="112" y="26"/>
                    </a:cubicBezTo>
                    <a:cubicBezTo>
                      <a:pt x="111" y="26"/>
                      <a:pt x="111" y="27"/>
                      <a:pt x="112" y="27"/>
                    </a:cubicBezTo>
                    <a:cubicBezTo>
                      <a:pt x="112" y="27"/>
                      <a:pt x="112" y="28"/>
                      <a:pt x="111" y="28"/>
                    </a:cubicBezTo>
                    <a:cubicBezTo>
                      <a:pt x="111" y="28"/>
                      <a:pt x="111" y="29"/>
                      <a:pt x="111" y="29"/>
                    </a:cubicBezTo>
                    <a:cubicBezTo>
                      <a:pt x="111" y="30"/>
                      <a:pt x="112" y="30"/>
                      <a:pt x="112" y="30"/>
                    </a:cubicBezTo>
                    <a:cubicBezTo>
                      <a:pt x="113" y="30"/>
                      <a:pt x="113" y="31"/>
                      <a:pt x="113" y="31"/>
                    </a:cubicBezTo>
                    <a:cubicBezTo>
                      <a:pt x="113" y="32"/>
                      <a:pt x="112" y="32"/>
                      <a:pt x="112" y="33"/>
                    </a:cubicBezTo>
                    <a:cubicBezTo>
                      <a:pt x="113" y="33"/>
                      <a:pt x="113" y="34"/>
                      <a:pt x="114" y="33"/>
                    </a:cubicBezTo>
                    <a:cubicBezTo>
                      <a:pt x="114" y="33"/>
                      <a:pt x="116" y="33"/>
                      <a:pt x="116" y="34"/>
                    </a:cubicBezTo>
                    <a:cubicBezTo>
                      <a:pt x="117" y="35"/>
                      <a:pt x="114" y="35"/>
                      <a:pt x="114" y="36"/>
                    </a:cubicBezTo>
                    <a:cubicBezTo>
                      <a:pt x="114" y="37"/>
                      <a:pt x="115" y="38"/>
                      <a:pt x="115" y="38"/>
                    </a:cubicBezTo>
                    <a:cubicBezTo>
                      <a:pt x="116" y="39"/>
                      <a:pt x="117" y="40"/>
                      <a:pt x="116" y="41"/>
                    </a:cubicBezTo>
                    <a:cubicBezTo>
                      <a:pt x="115" y="42"/>
                      <a:pt x="117" y="43"/>
                      <a:pt x="117" y="44"/>
                    </a:cubicBezTo>
                    <a:cubicBezTo>
                      <a:pt x="117" y="44"/>
                      <a:pt x="118" y="44"/>
                      <a:pt x="118" y="44"/>
                    </a:cubicBezTo>
                    <a:cubicBezTo>
                      <a:pt x="119" y="45"/>
                      <a:pt x="119" y="45"/>
                      <a:pt x="119" y="46"/>
                    </a:cubicBezTo>
                    <a:cubicBezTo>
                      <a:pt x="119" y="47"/>
                      <a:pt x="119" y="47"/>
                      <a:pt x="120" y="47"/>
                    </a:cubicBezTo>
                    <a:cubicBezTo>
                      <a:pt x="121" y="47"/>
                      <a:pt x="121" y="47"/>
                      <a:pt x="122" y="47"/>
                    </a:cubicBezTo>
                    <a:cubicBezTo>
                      <a:pt x="122" y="47"/>
                      <a:pt x="122" y="46"/>
                      <a:pt x="123" y="46"/>
                    </a:cubicBezTo>
                    <a:cubicBezTo>
                      <a:pt x="123" y="47"/>
                      <a:pt x="123" y="48"/>
                      <a:pt x="123" y="48"/>
                    </a:cubicBezTo>
                    <a:cubicBezTo>
                      <a:pt x="123" y="49"/>
                      <a:pt x="123" y="49"/>
                      <a:pt x="123" y="50"/>
                    </a:cubicBezTo>
                    <a:cubicBezTo>
                      <a:pt x="124" y="51"/>
                      <a:pt x="124" y="50"/>
                      <a:pt x="125" y="50"/>
                    </a:cubicBezTo>
                    <a:cubicBezTo>
                      <a:pt x="126" y="51"/>
                      <a:pt x="126" y="50"/>
                      <a:pt x="127" y="50"/>
                    </a:cubicBezTo>
                    <a:cubicBezTo>
                      <a:pt x="127" y="51"/>
                      <a:pt x="128" y="51"/>
                      <a:pt x="129" y="51"/>
                    </a:cubicBezTo>
                    <a:cubicBezTo>
                      <a:pt x="129" y="52"/>
                      <a:pt x="131" y="53"/>
                      <a:pt x="130" y="54"/>
                    </a:cubicBezTo>
                    <a:cubicBezTo>
                      <a:pt x="130" y="54"/>
                      <a:pt x="129" y="54"/>
                      <a:pt x="129" y="54"/>
                    </a:cubicBezTo>
                    <a:cubicBezTo>
                      <a:pt x="129" y="54"/>
                      <a:pt x="129" y="55"/>
                      <a:pt x="128" y="55"/>
                    </a:cubicBezTo>
                    <a:cubicBezTo>
                      <a:pt x="128" y="55"/>
                      <a:pt x="128" y="55"/>
                      <a:pt x="128" y="55"/>
                    </a:cubicBezTo>
                    <a:cubicBezTo>
                      <a:pt x="127" y="54"/>
                      <a:pt x="127" y="55"/>
                      <a:pt x="127" y="55"/>
                    </a:cubicBezTo>
                    <a:cubicBezTo>
                      <a:pt x="127" y="55"/>
                      <a:pt x="126" y="55"/>
                      <a:pt x="126" y="55"/>
                    </a:cubicBezTo>
                    <a:cubicBezTo>
                      <a:pt x="125" y="55"/>
                      <a:pt x="126" y="56"/>
                      <a:pt x="125" y="56"/>
                    </a:cubicBezTo>
                    <a:cubicBezTo>
                      <a:pt x="125" y="56"/>
                      <a:pt x="124" y="56"/>
                      <a:pt x="124" y="57"/>
                    </a:cubicBezTo>
                    <a:cubicBezTo>
                      <a:pt x="124" y="57"/>
                      <a:pt x="123" y="57"/>
                      <a:pt x="123" y="59"/>
                    </a:cubicBezTo>
                    <a:cubicBezTo>
                      <a:pt x="124" y="60"/>
                      <a:pt x="125" y="61"/>
                      <a:pt x="125" y="62"/>
                    </a:cubicBezTo>
                    <a:cubicBezTo>
                      <a:pt x="124" y="63"/>
                      <a:pt x="124" y="65"/>
                      <a:pt x="126" y="65"/>
                    </a:cubicBezTo>
                    <a:cubicBezTo>
                      <a:pt x="126" y="65"/>
                      <a:pt x="126" y="66"/>
                      <a:pt x="126" y="66"/>
                    </a:cubicBezTo>
                    <a:cubicBezTo>
                      <a:pt x="125" y="66"/>
                      <a:pt x="125" y="66"/>
                      <a:pt x="125" y="66"/>
                    </a:cubicBezTo>
                    <a:cubicBezTo>
                      <a:pt x="125" y="67"/>
                      <a:pt x="124" y="67"/>
                      <a:pt x="124" y="67"/>
                    </a:cubicBezTo>
                    <a:cubicBezTo>
                      <a:pt x="124" y="67"/>
                      <a:pt x="124" y="68"/>
                      <a:pt x="124" y="68"/>
                    </a:cubicBezTo>
                    <a:cubicBezTo>
                      <a:pt x="124" y="68"/>
                      <a:pt x="124" y="68"/>
                      <a:pt x="123" y="68"/>
                    </a:cubicBezTo>
                    <a:cubicBezTo>
                      <a:pt x="123" y="68"/>
                      <a:pt x="123" y="69"/>
                      <a:pt x="123" y="69"/>
                    </a:cubicBezTo>
                    <a:cubicBezTo>
                      <a:pt x="122" y="70"/>
                      <a:pt x="122" y="70"/>
                      <a:pt x="121" y="71"/>
                    </a:cubicBezTo>
                    <a:cubicBezTo>
                      <a:pt x="121" y="71"/>
                      <a:pt x="121" y="71"/>
                      <a:pt x="121" y="72"/>
                    </a:cubicBezTo>
                    <a:cubicBezTo>
                      <a:pt x="121" y="72"/>
                      <a:pt x="121" y="72"/>
                      <a:pt x="121" y="72"/>
                    </a:cubicBezTo>
                    <a:cubicBezTo>
                      <a:pt x="121" y="72"/>
                      <a:pt x="121" y="72"/>
                      <a:pt x="121" y="73"/>
                    </a:cubicBezTo>
                    <a:cubicBezTo>
                      <a:pt x="121" y="73"/>
                      <a:pt x="120" y="73"/>
                      <a:pt x="120" y="73"/>
                    </a:cubicBezTo>
                    <a:cubicBezTo>
                      <a:pt x="120" y="74"/>
                      <a:pt x="122" y="75"/>
                      <a:pt x="121" y="76"/>
                    </a:cubicBezTo>
                    <a:cubicBezTo>
                      <a:pt x="121" y="77"/>
                      <a:pt x="119" y="77"/>
                      <a:pt x="118" y="77"/>
                    </a:cubicBezTo>
                    <a:cubicBezTo>
                      <a:pt x="116" y="78"/>
                      <a:pt x="116" y="79"/>
                      <a:pt x="116" y="81"/>
                    </a:cubicBezTo>
                    <a:cubicBezTo>
                      <a:pt x="116" y="83"/>
                      <a:pt x="115" y="85"/>
                      <a:pt x="114" y="87"/>
                    </a:cubicBezTo>
                    <a:cubicBezTo>
                      <a:pt x="114" y="87"/>
                      <a:pt x="114" y="88"/>
                      <a:pt x="114" y="88"/>
                    </a:cubicBezTo>
                    <a:cubicBezTo>
                      <a:pt x="113" y="89"/>
                      <a:pt x="112" y="89"/>
                      <a:pt x="112" y="89"/>
                    </a:cubicBezTo>
                    <a:cubicBezTo>
                      <a:pt x="111" y="89"/>
                      <a:pt x="111" y="90"/>
                      <a:pt x="110" y="90"/>
                    </a:cubicBezTo>
                    <a:cubicBezTo>
                      <a:pt x="109" y="91"/>
                      <a:pt x="109" y="91"/>
                      <a:pt x="108" y="92"/>
                    </a:cubicBezTo>
                    <a:cubicBezTo>
                      <a:pt x="108" y="94"/>
                      <a:pt x="108" y="95"/>
                      <a:pt x="107" y="96"/>
                    </a:cubicBezTo>
                    <a:cubicBezTo>
                      <a:pt x="107" y="97"/>
                      <a:pt x="106" y="97"/>
                      <a:pt x="106" y="98"/>
                    </a:cubicBezTo>
                    <a:cubicBezTo>
                      <a:pt x="106" y="99"/>
                      <a:pt x="106" y="100"/>
                      <a:pt x="105" y="100"/>
                    </a:cubicBezTo>
                    <a:cubicBezTo>
                      <a:pt x="104" y="101"/>
                      <a:pt x="102" y="101"/>
                      <a:pt x="101" y="101"/>
                    </a:cubicBezTo>
                    <a:cubicBezTo>
                      <a:pt x="99" y="101"/>
                      <a:pt x="98" y="102"/>
                      <a:pt x="97" y="103"/>
                    </a:cubicBezTo>
                    <a:cubicBezTo>
                      <a:pt x="95" y="103"/>
                      <a:pt x="95" y="102"/>
                      <a:pt x="94" y="100"/>
                    </a:cubicBezTo>
                    <a:cubicBezTo>
                      <a:pt x="94" y="99"/>
                      <a:pt x="92" y="99"/>
                      <a:pt x="91" y="100"/>
                    </a:cubicBezTo>
                    <a:cubicBezTo>
                      <a:pt x="90" y="101"/>
                      <a:pt x="89" y="102"/>
                      <a:pt x="89" y="103"/>
                    </a:cubicBezTo>
                    <a:cubicBezTo>
                      <a:pt x="89" y="105"/>
                      <a:pt x="87" y="106"/>
                      <a:pt x="86" y="107"/>
                    </a:cubicBezTo>
                    <a:cubicBezTo>
                      <a:pt x="85" y="108"/>
                      <a:pt x="85" y="110"/>
                      <a:pt x="85" y="111"/>
                    </a:cubicBezTo>
                    <a:cubicBezTo>
                      <a:pt x="85" y="112"/>
                      <a:pt x="85" y="113"/>
                      <a:pt x="87" y="114"/>
                    </a:cubicBezTo>
                    <a:cubicBezTo>
                      <a:pt x="87" y="114"/>
                      <a:pt x="88" y="114"/>
                      <a:pt x="88" y="115"/>
                    </a:cubicBezTo>
                    <a:cubicBezTo>
                      <a:pt x="89" y="115"/>
                      <a:pt x="89" y="115"/>
                      <a:pt x="90" y="115"/>
                    </a:cubicBezTo>
                    <a:cubicBezTo>
                      <a:pt x="92" y="115"/>
                      <a:pt x="92" y="116"/>
                      <a:pt x="92" y="117"/>
                    </a:cubicBezTo>
                    <a:cubicBezTo>
                      <a:pt x="92" y="118"/>
                      <a:pt x="92" y="119"/>
                      <a:pt x="92" y="119"/>
                    </a:cubicBezTo>
                    <a:cubicBezTo>
                      <a:pt x="92" y="120"/>
                      <a:pt x="92" y="121"/>
                      <a:pt x="92" y="121"/>
                    </a:cubicBezTo>
                    <a:cubicBezTo>
                      <a:pt x="92" y="123"/>
                      <a:pt x="94" y="125"/>
                      <a:pt x="95" y="125"/>
                    </a:cubicBezTo>
                    <a:cubicBezTo>
                      <a:pt x="95" y="125"/>
                      <a:pt x="96" y="125"/>
                      <a:pt x="97" y="125"/>
                    </a:cubicBezTo>
                    <a:cubicBezTo>
                      <a:pt x="97" y="124"/>
                      <a:pt x="98" y="125"/>
                      <a:pt x="98" y="126"/>
                    </a:cubicBezTo>
                    <a:cubicBezTo>
                      <a:pt x="98" y="126"/>
                      <a:pt x="98" y="127"/>
                      <a:pt x="98" y="127"/>
                    </a:cubicBezTo>
                    <a:cubicBezTo>
                      <a:pt x="98" y="128"/>
                      <a:pt x="99" y="129"/>
                      <a:pt x="99" y="129"/>
                    </a:cubicBezTo>
                    <a:cubicBezTo>
                      <a:pt x="99" y="130"/>
                      <a:pt x="100" y="130"/>
                      <a:pt x="100" y="131"/>
                    </a:cubicBezTo>
                    <a:cubicBezTo>
                      <a:pt x="101" y="131"/>
                      <a:pt x="101" y="132"/>
                      <a:pt x="101" y="133"/>
                    </a:cubicBezTo>
                    <a:cubicBezTo>
                      <a:pt x="101" y="133"/>
                      <a:pt x="103" y="136"/>
                      <a:pt x="103" y="136"/>
                    </a:cubicBezTo>
                    <a:cubicBezTo>
                      <a:pt x="102" y="136"/>
                      <a:pt x="102" y="137"/>
                      <a:pt x="102" y="137"/>
                    </a:cubicBezTo>
                    <a:cubicBezTo>
                      <a:pt x="103" y="138"/>
                      <a:pt x="102" y="138"/>
                      <a:pt x="103" y="139"/>
                    </a:cubicBezTo>
                    <a:cubicBezTo>
                      <a:pt x="104" y="139"/>
                      <a:pt x="103" y="139"/>
                      <a:pt x="103" y="139"/>
                    </a:cubicBezTo>
                    <a:cubicBezTo>
                      <a:pt x="103" y="140"/>
                      <a:pt x="101" y="139"/>
                      <a:pt x="101" y="140"/>
                    </a:cubicBezTo>
                    <a:cubicBezTo>
                      <a:pt x="102" y="141"/>
                      <a:pt x="99" y="141"/>
                      <a:pt x="99" y="140"/>
                    </a:cubicBezTo>
                    <a:cubicBezTo>
                      <a:pt x="98" y="140"/>
                      <a:pt x="99" y="139"/>
                      <a:pt x="99" y="139"/>
                    </a:cubicBezTo>
                    <a:cubicBezTo>
                      <a:pt x="98" y="138"/>
                      <a:pt x="97" y="139"/>
                      <a:pt x="97" y="139"/>
                    </a:cubicBezTo>
                    <a:cubicBezTo>
                      <a:pt x="96" y="139"/>
                      <a:pt x="96" y="140"/>
                      <a:pt x="95" y="140"/>
                    </a:cubicBezTo>
                    <a:cubicBezTo>
                      <a:pt x="94" y="140"/>
                      <a:pt x="94" y="141"/>
                      <a:pt x="94" y="141"/>
                    </a:cubicBezTo>
                    <a:cubicBezTo>
                      <a:pt x="93" y="142"/>
                      <a:pt x="92" y="142"/>
                      <a:pt x="92" y="142"/>
                    </a:cubicBezTo>
                    <a:cubicBezTo>
                      <a:pt x="91" y="142"/>
                      <a:pt x="90" y="141"/>
                      <a:pt x="89" y="141"/>
                    </a:cubicBezTo>
                    <a:cubicBezTo>
                      <a:pt x="89" y="140"/>
                      <a:pt x="88" y="140"/>
                      <a:pt x="87" y="140"/>
                    </a:cubicBezTo>
                    <a:cubicBezTo>
                      <a:pt x="86" y="140"/>
                      <a:pt x="86" y="141"/>
                      <a:pt x="85" y="140"/>
                    </a:cubicBezTo>
                    <a:cubicBezTo>
                      <a:pt x="84" y="140"/>
                      <a:pt x="84" y="141"/>
                      <a:pt x="83" y="140"/>
                    </a:cubicBezTo>
                    <a:cubicBezTo>
                      <a:pt x="83" y="139"/>
                      <a:pt x="83" y="141"/>
                      <a:pt x="82" y="141"/>
                    </a:cubicBezTo>
                    <a:cubicBezTo>
                      <a:pt x="82" y="141"/>
                      <a:pt x="82" y="139"/>
                      <a:pt x="81" y="140"/>
                    </a:cubicBezTo>
                    <a:cubicBezTo>
                      <a:pt x="81" y="140"/>
                      <a:pt x="81" y="142"/>
                      <a:pt x="82" y="143"/>
                    </a:cubicBezTo>
                    <a:cubicBezTo>
                      <a:pt x="82" y="144"/>
                      <a:pt x="82" y="144"/>
                      <a:pt x="81" y="144"/>
                    </a:cubicBezTo>
                    <a:cubicBezTo>
                      <a:pt x="80" y="144"/>
                      <a:pt x="78" y="144"/>
                      <a:pt x="78" y="144"/>
                    </a:cubicBezTo>
                    <a:cubicBezTo>
                      <a:pt x="78" y="144"/>
                      <a:pt x="78" y="144"/>
                      <a:pt x="78" y="144"/>
                    </a:cubicBezTo>
                    <a:cubicBezTo>
                      <a:pt x="78" y="144"/>
                      <a:pt x="78" y="144"/>
                      <a:pt x="77" y="144"/>
                    </a:cubicBezTo>
                    <a:cubicBezTo>
                      <a:pt x="77" y="144"/>
                      <a:pt x="77" y="145"/>
                      <a:pt x="77" y="145"/>
                    </a:cubicBezTo>
                    <a:cubicBezTo>
                      <a:pt x="76" y="145"/>
                      <a:pt x="77" y="146"/>
                      <a:pt x="76" y="146"/>
                    </a:cubicBezTo>
                    <a:cubicBezTo>
                      <a:pt x="76" y="146"/>
                      <a:pt x="76" y="145"/>
                      <a:pt x="76" y="145"/>
                    </a:cubicBezTo>
                    <a:cubicBezTo>
                      <a:pt x="76" y="145"/>
                      <a:pt x="76" y="147"/>
                      <a:pt x="76" y="147"/>
                    </a:cubicBezTo>
                    <a:cubicBezTo>
                      <a:pt x="76" y="147"/>
                      <a:pt x="76" y="147"/>
                      <a:pt x="76" y="146"/>
                    </a:cubicBezTo>
                    <a:cubicBezTo>
                      <a:pt x="76" y="147"/>
                      <a:pt x="75" y="147"/>
                      <a:pt x="75" y="146"/>
                    </a:cubicBezTo>
                    <a:cubicBezTo>
                      <a:pt x="75" y="146"/>
                      <a:pt x="75" y="146"/>
                      <a:pt x="75" y="146"/>
                    </a:cubicBezTo>
                    <a:cubicBezTo>
                      <a:pt x="76" y="145"/>
                      <a:pt x="75" y="144"/>
                      <a:pt x="75" y="144"/>
                    </a:cubicBezTo>
                    <a:cubicBezTo>
                      <a:pt x="75" y="144"/>
                      <a:pt x="75" y="144"/>
                      <a:pt x="75" y="144"/>
                    </a:cubicBezTo>
                    <a:cubicBezTo>
                      <a:pt x="75" y="144"/>
                      <a:pt x="75" y="144"/>
                      <a:pt x="75" y="144"/>
                    </a:cubicBezTo>
                    <a:cubicBezTo>
                      <a:pt x="75" y="145"/>
                      <a:pt x="75" y="145"/>
                      <a:pt x="75" y="146"/>
                    </a:cubicBezTo>
                    <a:cubicBezTo>
                      <a:pt x="75" y="146"/>
                      <a:pt x="75" y="146"/>
                      <a:pt x="74" y="145"/>
                    </a:cubicBezTo>
                    <a:cubicBezTo>
                      <a:pt x="74" y="145"/>
                      <a:pt x="74" y="145"/>
                      <a:pt x="74" y="145"/>
                    </a:cubicBezTo>
                    <a:cubicBezTo>
                      <a:pt x="73" y="145"/>
                      <a:pt x="73" y="145"/>
                      <a:pt x="73" y="144"/>
                    </a:cubicBezTo>
                    <a:cubicBezTo>
                      <a:pt x="73" y="144"/>
                      <a:pt x="74" y="144"/>
                      <a:pt x="74" y="144"/>
                    </a:cubicBezTo>
                    <a:cubicBezTo>
                      <a:pt x="74" y="144"/>
                      <a:pt x="74" y="143"/>
                      <a:pt x="74" y="143"/>
                    </a:cubicBezTo>
                    <a:cubicBezTo>
                      <a:pt x="74" y="143"/>
                      <a:pt x="74" y="143"/>
                      <a:pt x="73" y="143"/>
                    </a:cubicBezTo>
                    <a:cubicBezTo>
                      <a:pt x="73" y="142"/>
                      <a:pt x="72" y="143"/>
                      <a:pt x="72" y="143"/>
                    </a:cubicBezTo>
                    <a:cubicBezTo>
                      <a:pt x="72" y="143"/>
                      <a:pt x="72" y="142"/>
                      <a:pt x="71" y="142"/>
                    </a:cubicBezTo>
                    <a:cubicBezTo>
                      <a:pt x="70" y="143"/>
                      <a:pt x="69" y="144"/>
                      <a:pt x="68" y="142"/>
                    </a:cubicBezTo>
                    <a:cubicBezTo>
                      <a:pt x="68" y="142"/>
                      <a:pt x="67" y="139"/>
                      <a:pt x="68" y="140"/>
                    </a:cubicBezTo>
                    <a:cubicBezTo>
                      <a:pt x="68" y="139"/>
                      <a:pt x="67" y="140"/>
                      <a:pt x="67" y="139"/>
                    </a:cubicBezTo>
                    <a:cubicBezTo>
                      <a:pt x="67" y="139"/>
                      <a:pt x="67" y="138"/>
                      <a:pt x="67" y="138"/>
                    </a:cubicBezTo>
                    <a:cubicBezTo>
                      <a:pt x="66" y="138"/>
                      <a:pt x="67" y="138"/>
                      <a:pt x="67" y="138"/>
                    </a:cubicBezTo>
                    <a:cubicBezTo>
                      <a:pt x="66" y="138"/>
                      <a:pt x="66" y="137"/>
                      <a:pt x="66" y="137"/>
                    </a:cubicBezTo>
                    <a:cubicBezTo>
                      <a:pt x="66" y="137"/>
                      <a:pt x="66" y="137"/>
                      <a:pt x="67" y="137"/>
                    </a:cubicBezTo>
                    <a:cubicBezTo>
                      <a:pt x="66" y="137"/>
                      <a:pt x="66" y="137"/>
                      <a:pt x="66" y="136"/>
                    </a:cubicBezTo>
                    <a:cubicBezTo>
                      <a:pt x="66" y="136"/>
                      <a:pt x="67" y="136"/>
                      <a:pt x="67" y="135"/>
                    </a:cubicBezTo>
                    <a:cubicBezTo>
                      <a:pt x="67" y="135"/>
                      <a:pt x="65" y="134"/>
                      <a:pt x="65" y="135"/>
                    </a:cubicBezTo>
                    <a:cubicBezTo>
                      <a:pt x="64" y="135"/>
                      <a:pt x="64" y="135"/>
                      <a:pt x="64" y="134"/>
                    </a:cubicBezTo>
                    <a:cubicBezTo>
                      <a:pt x="64" y="134"/>
                      <a:pt x="64" y="135"/>
                      <a:pt x="64" y="135"/>
                    </a:cubicBezTo>
                    <a:cubicBezTo>
                      <a:pt x="63" y="134"/>
                      <a:pt x="63" y="134"/>
                      <a:pt x="62" y="134"/>
                    </a:cubicBezTo>
                    <a:cubicBezTo>
                      <a:pt x="62" y="134"/>
                      <a:pt x="61" y="134"/>
                      <a:pt x="61" y="134"/>
                    </a:cubicBezTo>
                    <a:cubicBezTo>
                      <a:pt x="60" y="134"/>
                      <a:pt x="61" y="134"/>
                      <a:pt x="61" y="134"/>
                    </a:cubicBezTo>
                    <a:cubicBezTo>
                      <a:pt x="61" y="134"/>
                      <a:pt x="61" y="132"/>
                      <a:pt x="61" y="131"/>
                    </a:cubicBezTo>
                    <a:cubicBezTo>
                      <a:pt x="61" y="130"/>
                      <a:pt x="61" y="130"/>
                      <a:pt x="60" y="130"/>
                    </a:cubicBezTo>
                    <a:cubicBezTo>
                      <a:pt x="60" y="129"/>
                      <a:pt x="59" y="128"/>
                      <a:pt x="59" y="128"/>
                    </a:cubicBezTo>
                    <a:cubicBezTo>
                      <a:pt x="60" y="128"/>
                      <a:pt x="59" y="127"/>
                      <a:pt x="59" y="127"/>
                    </a:cubicBezTo>
                    <a:cubicBezTo>
                      <a:pt x="58" y="127"/>
                      <a:pt x="58" y="126"/>
                      <a:pt x="57" y="126"/>
                    </a:cubicBezTo>
                    <a:cubicBezTo>
                      <a:pt x="57" y="126"/>
                      <a:pt x="56" y="126"/>
                      <a:pt x="56" y="126"/>
                    </a:cubicBezTo>
                    <a:cubicBezTo>
                      <a:pt x="55" y="126"/>
                      <a:pt x="55" y="127"/>
                      <a:pt x="55" y="127"/>
                    </a:cubicBezTo>
                    <a:cubicBezTo>
                      <a:pt x="55" y="128"/>
                      <a:pt x="56" y="127"/>
                      <a:pt x="56" y="127"/>
                    </a:cubicBezTo>
                    <a:cubicBezTo>
                      <a:pt x="57" y="126"/>
                      <a:pt x="57" y="127"/>
                      <a:pt x="58" y="127"/>
                    </a:cubicBezTo>
                    <a:cubicBezTo>
                      <a:pt x="58" y="127"/>
                      <a:pt x="58" y="127"/>
                      <a:pt x="58" y="127"/>
                    </a:cubicBezTo>
                    <a:cubicBezTo>
                      <a:pt x="58" y="128"/>
                      <a:pt x="58" y="128"/>
                      <a:pt x="59" y="128"/>
                    </a:cubicBezTo>
                    <a:cubicBezTo>
                      <a:pt x="59" y="128"/>
                      <a:pt x="59" y="128"/>
                      <a:pt x="58" y="128"/>
                    </a:cubicBezTo>
                    <a:cubicBezTo>
                      <a:pt x="58" y="128"/>
                      <a:pt x="58" y="128"/>
                      <a:pt x="57" y="128"/>
                    </a:cubicBezTo>
                    <a:cubicBezTo>
                      <a:pt x="56" y="127"/>
                      <a:pt x="55" y="127"/>
                      <a:pt x="55" y="128"/>
                    </a:cubicBezTo>
                    <a:cubicBezTo>
                      <a:pt x="54" y="128"/>
                      <a:pt x="53" y="128"/>
                      <a:pt x="52" y="128"/>
                    </a:cubicBezTo>
                    <a:cubicBezTo>
                      <a:pt x="51" y="129"/>
                      <a:pt x="50" y="128"/>
                      <a:pt x="49" y="128"/>
                    </a:cubicBezTo>
                    <a:cubicBezTo>
                      <a:pt x="48" y="128"/>
                      <a:pt x="48" y="129"/>
                      <a:pt x="48" y="128"/>
                    </a:cubicBezTo>
                    <a:cubicBezTo>
                      <a:pt x="48" y="128"/>
                      <a:pt x="47" y="129"/>
                      <a:pt x="47" y="128"/>
                    </a:cubicBezTo>
                    <a:cubicBezTo>
                      <a:pt x="46" y="128"/>
                      <a:pt x="46" y="129"/>
                      <a:pt x="46" y="129"/>
                    </a:cubicBezTo>
                    <a:cubicBezTo>
                      <a:pt x="45" y="129"/>
                      <a:pt x="44" y="129"/>
                      <a:pt x="43" y="129"/>
                    </a:cubicBezTo>
                    <a:cubicBezTo>
                      <a:pt x="42" y="129"/>
                      <a:pt x="41" y="130"/>
                      <a:pt x="42" y="130"/>
                    </a:cubicBezTo>
                    <a:cubicBezTo>
                      <a:pt x="42" y="131"/>
                      <a:pt x="41" y="131"/>
                      <a:pt x="41" y="130"/>
                    </a:cubicBezTo>
                    <a:cubicBezTo>
                      <a:pt x="41" y="130"/>
                      <a:pt x="40" y="130"/>
                      <a:pt x="40" y="130"/>
                    </a:cubicBezTo>
                    <a:cubicBezTo>
                      <a:pt x="40" y="130"/>
                      <a:pt x="39" y="130"/>
                      <a:pt x="39" y="130"/>
                    </a:cubicBezTo>
                    <a:cubicBezTo>
                      <a:pt x="39" y="129"/>
                      <a:pt x="38" y="129"/>
                      <a:pt x="38" y="129"/>
                    </a:cubicBezTo>
                    <a:cubicBezTo>
                      <a:pt x="37" y="129"/>
                      <a:pt x="36" y="129"/>
                      <a:pt x="36" y="128"/>
                    </a:cubicBezTo>
                    <a:cubicBezTo>
                      <a:pt x="36" y="128"/>
                      <a:pt x="36" y="128"/>
                      <a:pt x="36" y="128"/>
                    </a:cubicBezTo>
                    <a:cubicBezTo>
                      <a:pt x="36" y="128"/>
                      <a:pt x="36" y="128"/>
                      <a:pt x="36" y="128"/>
                    </a:cubicBezTo>
                    <a:cubicBezTo>
                      <a:pt x="36" y="127"/>
                      <a:pt x="35" y="128"/>
                      <a:pt x="35" y="128"/>
                    </a:cubicBezTo>
                    <a:cubicBezTo>
                      <a:pt x="35" y="128"/>
                      <a:pt x="35" y="128"/>
                      <a:pt x="36" y="128"/>
                    </a:cubicBezTo>
                    <a:cubicBezTo>
                      <a:pt x="36" y="128"/>
                      <a:pt x="36" y="129"/>
                      <a:pt x="35" y="129"/>
                    </a:cubicBezTo>
                    <a:cubicBezTo>
                      <a:pt x="35" y="129"/>
                      <a:pt x="34" y="129"/>
                      <a:pt x="33" y="128"/>
                    </a:cubicBezTo>
                    <a:cubicBezTo>
                      <a:pt x="32" y="128"/>
                      <a:pt x="31" y="128"/>
                      <a:pt x="31" y="129"/>
                    </a:cubicBezTo>
                    <a:cubicBezTo>
                      <a:pt x="30" y="129"/>
                      <a:pt x="30" y="130"/>
                      <a:pt x="30" y="130"/>
                    </a:cubicBezTo>
                    <a:cubicBezTo>
                      <a:pt x="30" y="130"/>
                      <a:pt x="31" y="130"/>
                      <a:pt x="31" y="130"/>
                    </a:cubicBezTo>
                    <a:cubicBezTo>
                      <a:pt x="31" y="131"/>
                      <a:pt x="29" y="130"/>
                      <a:pt x="29" y="130"/>
                    </a:cubicBezTo>
                    <a:cubicBezTo>
                      <a:pt x="28" y="130"/>
                      <a:pt x="28" y="130"/>
                      <a:pt x="27" y="130"/>
                    </a:cubicBezTo>
                    <a:cubicBezTo>
                      <a:pt x="27" y="130"/>
                      <a:pt x="26" y="130"/>
                      <a:pt x="26" y="130"/>
                    </a:cubicBezTo>
                    <a:cubicBezTo>
                      <a:pt x="25" y="130"/>
                      <a:pt x="23" y="130"/>
                      <a:pt x="22" y="130"/>
                    </a:cubicBezTo>
                    <a:cubicBezTo>
                      <a:pt x="22" y="130"/>
                      <a:pt x="20" y="130"/>
                      <a:pt x="21" y="130"/>
                    </a:cubicBezTo>
                    <a:cubicBezTo>
                      <a:pt x="21" y="130"/>
                      <a:pt x="19" y="130"/>
                      <a:pt x="20" y="131"/>
                    </a:cubicBezTo>
                    <a:cubicBezTo>
                      <a:pt x="20" y="131"/>
                      <a:pt x="20" y="131"/>
                      <a:pt x="20" y="131"/>
                    </a:cubicBezTo>
                    <a:cubicBezTo>
                      <a:pt x="20" y="132"/>
                      <a:pt x="19" y="131"/>
                      <a:pt x="19" y="131"/>
                    </a:cubicBezTo>
                    <a:cubicBezTo>
                      <a:pt x="20" y="131"/>
                      <a:pt x="19" y="130"/>
                      <a:pt x="19" y="130"/>
                    </a:cubicBezTo>
                    <a:cubicBezTo>
                      <a:pt x="18" y="130"/>
                      <a:pt x="17" y="130"/>
                      <a:pt x="18" y="131"/>
                    </a:cubicBezTo>
                    <a:cubicBezTo>
                      <a:pt x="17" y="131"/>
                      <a:pt x="16" y="131"/>
                      <a:pt x="15" y="131"/>
                    </a:cubicBezTo>
                    <a:cubicBezTo>
                      <a:pt x="15" y="132"/>
                      <a:pt x="15" y="132"/>
                      <a:pt x="15" y="132"/>
                    </a:cubicBezTo>
                    <a:cubicBezTo>
                      <a:pt x="15" y="132"/>
                      <a:pt x="15" y="132"/>
                      <a:pt x="14" y="132"/>
                    </a:cubicBezTo>
                    <a:cubicBezTo>
                      <a:pt x="14" y="132"/>
                      <a:pt x="14" y="131"/>
                      <a:pt x="14" y="131"/>
                    </a:cubicBezTo>
                    <a:cubicBezTo>
                      <a:pt x="15" y="130"/>
                      <a:pt x="13" y="130"/>
                      <a:pt x="13" y="130"/>
                    </a:cubicBezTo>
                    <a:cubicBezTo>
                      <a:pt x="13" y="129"/>
                      <a:pt x="13" y="128"/>
                      <a:pt x="13" y="127"/>
                    </a:cubicBezTo>
                    <a:cubicBezTo>
                      <a:pt x="13" y="127"/>
                      <a:pt x="13" y="126"/>
                      <a:pt x="13" y="126"/>
                    </a:cubicBezTo>
                    <a:cubicBezTo>
                      <a:pt x="13" y="126"/>
                      <a:pt x="13" y="125"/>
                      <a:pt x="13" y="125"/>
                    </a:cubicBezTo>
                    <a:cubicBezTo>
                      <a:pt x="13" y="125"/>
                      <a:pt x="13" y="124"/>
                      <a:pt x="13" y="124"/>
                    </a:cubicBezTo>
                    <a:cubicBezTo>
                      <a:pt x="13" y="124"/>
                      <a:pt x="13" y="124"/>
                      <a:pt x="14" y="124"/>
                    </a:cubicBezTo>
                    <a:cubicBezTo>
                      <a:pt x="14" y="123"/>
                      <a:pt x="14" y="121"/>
                      <a:pt x="14" y="121"/>
                    </a:cubicBezTo>
                    <a:cubicBezTo>
                      <a:pt x="14" y="120"/>
                      <a:pt x="14" y="119"/>
                      <a:pt x="14" y="119"/>
                    </a:cubicBezTo>
                    <a:cubicBezTo>
                      <a:pt x="15" y="119"/>
                      <a:pt x="16" y="118"/>
                      <a:pt x="16" y="118"/>
                    </a:cubicBezTo>
                    <a:cubicBezTo>
                      <a:pt x="16" y="117"/>
                      <a:pt x="17" y="118"/>
                      <a:pt x="17" y="118"/>
                    </a:cubicBezTo>
                    <a:cubicBezTo>
                      <a:pt x="18" y="118"/>
                      <a:pt x="18" y="117"/>
                      <a:pt x="18" y="117"/>
                    </a:cubicBezTo>
                    <a:cubicBezTo>
                      <a:pt x="18" y="117"/>
                      <a:pt x="18" y="117"/>
                      <a:pt x="18" y="116"/>
                    </a:cubicBezTo>
                    <a:cubicBezTo>
                      <a:pt x="18" y="115"/>
                      <a:pt x="19" y="115"/>
                      <a:pt x="20" y="115"/>
                    </a:cubicBezTo>
                    <a:cubicBezTo>
                      <a:pt x="21" y="115"/>
                      <a:pt x="22" y="115"/>
                      <a:pt x="22" y="114"/>
                    </a:cubicBezTo>
                    <a:cubicBezTo>
                      <a:pt x="23" y="114"/>
                      <a:pt x="24" y="115"/>
                      <a:pt x="25" y="115"/>
                    </a:cubicBezTo>
                    <a:cubicBezTo>
                      <a:pt x="26" y="115"/>
                      <a:pt x="26" y="115"/>
                      <a:pt x="26" y="114"/>
                    </a:cubicBezTo>
                    <a:cubicBezTo>
                      <a:pt x="26" y="113"/>
                      <a:pt x="26" y="112"/>
                      <a:pt x="26" y="112"/>
                    </a:cubicBezTo>
                    <a:cubicBezTo>
                      <a:pt x="27" y="112"/>
                      <a:pt x="26" y="111"/>
                      <a:pt x="26" y="110"/>
                    </a:cubicBezTo>
                    <a:cubicBezTo>
                      <a:pt x="26" y="110"/>
                      <a:pt x="26" y="109"/>
                      <a:pt x="27" y="109"/>
                    </a:cubicBezTo>
                    <a:cubicBezTo>
                      <a:pt x="26" y="109"/>
                      <a:pt x="26" y="108"/>
                      <a:pt x="26" y="108"/>
                    </a:cubicBezTo>
                    <a:cubicBezTo>
                      <a:pt x="25" y="107"/>
                      <a:pt x="25" y="108"/>
                      <a:pt x="24" y="108"/>
                    </a:cubicBezTo>
                    <a:cubicBezTo>
                      <a:pt x="23" y="108"/>
                      <a:pt x="22" y="108"/>
                      <a:pt x="21" y="108"/>
                    </a:cubicBezTo>
                    <a:cubicBezTo>
                      <a:pt x="22" y="107"/>
                      <a:pt x="21" y="107"/>
                      <a:pt x="21" y="106"/>
                    </a:cubicBezTo>
                    <a:cubicBezTo>
                      <a:pt x="21" y="106"/>
                      <a:pt x="22" y="106"/>
                      <a:pt x="22" y="105"/>
                    </a:cubicBezTo>
                    <a:cubicBezTo>
                      <a:pt x="22" y="105"/>
                      <a:pt x="21" y="104"/>
                      <a:pt x="21" y="104"/>
                    </a:cubicBezTo>
                    <a:cubicBezTo>
                      <a:pt x="21" y="103"/>
                      <a:pt x="21" y="102"/>
                      <a:pt x="20" y="101"/>
                    </a:cubicBezTo>
                    <a:cubicBezTo>
                      <a:pt x="20" y="100"/>
                      <a:pt x="20" y="99"/>
                      <a:pt x="20" y="98"/>
                    </a:cubicBezTo>
                    <a:cubicBezTo>
                      <a:pt x="20" y="97"/>
                      <a:pt x="20" y="97"/>
                      <a:pt x="19" y="97"/>
                    </a:cubicBezTo>
                    <a:cubicBezTo>
                      <a:pt x="18" y="97"/>
                      <a:pt x="18" y="97"/>
                      <a:pt x="17" y="96"/>
                    </a:cubicBezTo>
                    <a:cubicBezTo>
                      <a:pt x="16" y="95"/>
                      <a:pt x="14" y="94"/>
                      <a:pt x="12" y="94"/>
                    </a:cubicBezTo>
                    <a:cubicBezTo>
                      <a:pt x="11" y="93"/>
                      <a:pt x="11" y="93"/>
                      <a:pt x="10" y="92"/>
                    </a:cubicBezTo>
                    <a:cubicBezTo>
                      <a:pt x="9" y="92"/>
                      <a:pt x="9" y="91"/>
                      <a:pt x="8" y="90"/>
                    </a:cubicBezTo>
                    <a:cubicBezTo>
                      <a:pt x="8" y="89"/>
                      <a:pt x="7" y="89"/>
                      <a:pt x="7" y="88"/>
                    </a:cubicBezTo>
                    <a:cubicBezTo>
                      <a:pt x="7" y="88"/>
                      <a:pt x="7" y="88"/>
                      <a:pt x="7" y="87"/>
                    </a:cubicBezTo>
                    <a:cubicBezTo>
                      <a:pt x="7" y="87"/>
                      <a:pt x="6" y="87"/>
                      <a:pt x="6" y="87"/>
                    </a:cubicBezTo>
                    <a:cubicBezTo>
                      <a:pt x="6" y="87"/>
                      <a:pt x="5" y="86"/>
                      <a:pt x="5" y="85"/>
                    </a:cubicBezTo>
                    <a:cubicBezTo>
                      <a:pt x="5" y="84"/>
                      <a:pt x="5" y="84"/>
                      <a:pt x="4" y="84"/>
                    </a:cubicBezTo>
                    <a:cubicBezTo>
                      <a:pt x="3" y="82"/>
                      <a:pt x="1" y="81"/>
                      <a:pt x="0" y="79"/>
                    </a:cubicBezTo>
                    <a:cubicBezTo>
                      <a:pt x="4" y="80"/>
                      <a:pt x="8" y="82"/>
                      <a:pt x="11" y="83"/>
                    </a:cubicBezTo>
                    <a:cubicBezTo>
                      <a:pt x="13" y="83"/>
                      <a:pt x="15" y="84"/>
                      <a:pt x="16" y="84"/>
                    </a:cubicBezTo>
                    <a:cubicBezTo>
                      <a:pt x="18" y="84"/>
                      <a:pt x="20" y="84"/>
                      <a:pt x="22" y="83"/>
                    </a:cubicBezTo>
                    <a:cubicBezTo>
                      <a:pt x="24" y="83"/>
                      <a:pt x="26" y="83"/>
                      <a:pt x="28" y="83"/>
                    </a:cubicBezTo>
                    <a:cubicBezTo>
                      <a:pt x="28" y="84"/>
                      <a:pt x="29" y="84"/>
                      <a:pt x="30" y="84"/>
                    </a:cubicBezTo>
                    <a:cubicBezTo>
                      <a:pt x="31" y="84"/>
                      <a:pt x="31" y="84"/>
                      <a:pt x="31" y="83"/>
                    </a:cubicBezTo>
                    <a:cubicBezTo>
                      <a:pt x="32" y="82"/>
                      <a:pt x="35" y="82"/>
                      <a:pt x="36" y="82"/>
                    </a:cubicBezTo>
                    <a:cubicBezTo>
                      <a:pt x="37" y="82"/>
                      <a:pt x="38" y="83"/>
                      <a:pt x="39" y="83"/>
                    </a:cubicBezTo>
                    <a:cubicBezTo>
                      <a:pt x="40" y="82"/>
                      <a:pt x="41" y="82"/>
                      <a:pt x="42" y="82"/>
                    </a:cubicBezTo>
                    <a:cubicBezTo>
                      <a:pt x="44" y="81"/>
                      <a:pt x="46" y="80"/>
                      <a:pt x="48" y="80"/>
                    </a:cubicBezTo>
                    <a:cubicBezTo>
                      <a:pt x="49" y="79"/>
                      <a:pt x="52" y="79"/>
                      <a:pt x="50" y="77"/>
                    </a:cubicBezTo>
                    <a:cubicBezTo>
                      <a:pt x="49" y="76"/>
                      <a:pt x="50" y="75"/>
                      <a:pt x="50" y="74"/>
                    </a:cubicBezTo>
                    <a:cubicBezTo>
                      <a:pt x="50" y="73"/>
                      <a:pt x="50" y="72"/>
                      <a:pt x="49" y="72"/>
                    </a:cubicBezTo>
                    <a:cubicBezTo>
                      <a:pt x="49" y="71"/>
                      <a:pt x="49" y="70"/>
                      <a:pt x="49" y="69"/>
                    </a:cubicBezTo>
                    <a:cubicBezTo>
                      <a:pt x="49" y="69"/>
                      <a:pt x="49" y="68"/>
                      <a:pt x="50" y="67"/>
                    </a:cubicBezTo>
                    <a:cubicBezTo>
                      <a:pt x="50" y="67"/>
                      <a:pt x="51" y="67"/>
                      <a:pt x="51" y="67"/>
                    </a:cubicBezTo>
                    <a:cubicBezTo>
                      <a:pt x="52" y="66"/>
                      <a:pt x="52" y="65"/>
                      <a:pt x="52" y="65"/>
                    </a:cubicBezTo>
                    <a:cubicBezTo>
                      <a:pt x="52" y="64"/>
                      <a:pt x="53" y="64"/>
                      <a:pt x="53" y="63"/>
                    </a:cubicBezTo>
                    <a:cubicBezTo>
                      <a:pt x="54" y="63"/>
                      <a:pt x="54" y="63"/>
                      <a:pt x="55" y="63"/>
                    </a:cubicBezTo>
                    <a:cubicBezTo>
                      <a:pt x="55" y="64"/>
                      <a:pt x="55" y="64"/>
                      <a:pt x="55" y="64"/>
                    </a:cubicBezTo>
                    <a:cubicBezTo>
                      <a:pt x="55" y="64"/>
                      <a:pt x="56" y="64"/>
                      <a:pt x="56" y="64"/>
                    </a:cubicBezTo>
                    <a:cubicBezTo>
                      <a:pt x="57" y="64"/>
                      <a:pt x="57" y="64"/>
                      <a:pt x="58" y="64"/>
                    </a:cubicBezTo>
                    <a:cubicBezTo>
                      <a:pt x="59" y="64"/>
                      <a:pt x="60" y="64"/>
                      <a:pt x="61" y="63"/>
                    </a:cubicBezTo>
                    <a:cubicBezTo>
                      <a:pt x="61" y="63"/>
                      <a:pt x="61" y="63"/>
                      <a:pt x="62" y="63"/>
                    </a:cubicBezTo>
                    <a:cubicBezTo>
                      <a:pt x="62" y="63"/>
                      <a:pt x="61" y="62"/>
                      <a:pt x="61" y="62"/>
                    </a:cubicBezTo>
                    <a:cubicBezTo>
                      <a:pt x="61" y="62"/>
                      <a:pt x="60" y="62"/>
                      <a:pt x="60" y="62"/>
                    </a:cubicBezTo>
                    <a:cubicBezTo>
                      <a:pt x="60" y="62"/>
                      <a:pt x="60" y="61"/>
                      <a:pt x="59" y="61"/>
                    </a:cubicBezTo>
                    <a:cubicBezTo>
                      <a:pt x="60" y="61"/>
                      <a:pt x="61" y="61"/>
                      <a:pt x="61" y="60"/>
                    </a:cubicBezTo>
                    <a:cubicBezTo>
                      <a:pt x="62" y="60"/>
                      <a:pt x="62" y="60"/>
                      <a:pt x="63" y="60"/>
                    </a:cubicBezTo>
                    <a:cubicBezTo>
                      <a:pt x="64" y="60"/>
                      <a:pt x="64" y="57"/>
                      <a:pt x="65" y="58"/>
                    </a:cubicBezTo>
                    <a:cubicBezTo>
                      <a:pt x="65" y="58"/>
                      <a:pt x="66" y="58"/>
                      <a:pt x="66" y="58"/>
                    </a:cubicBezTo>
                    <a:cubicBezTo>
                      <a:pt x="67" y="58"/>
                      <a:pt x="67" y="59"/>
                      <a:pt x="68" y="58"/>
                    </a:cubicBezTo>
                    <a:cubicBezTo>
                      <a:pt x="68" y="58"/>
                      <a:pt x="68" y="58"/>
                      <a:pt x="68" y="58"/>
                    </a:cubicBezTo>
                    <a:cubicBezTo>
                      <a:pt x="67" y="58"/>
                      <a:pt x="66" y="58"/>
                      <a:pt x="67" y="58"/>
                    </a:cubicBezTo>
                    <a:cubicBezTo>
                      <a:pt x="68" y="57"/>
                      <a:pt x="68" y="58"/>
                      <a:pt x="69" y="58"/>
                    </a:cubicBezTo>
                    <a:cubicBezTo>
                      <a:pt x="69" y="58"/>
                      <a:pt x="69" y="58"/>
                      <a:pt x="70" y="58"/>
                    </a:cubicBezTo>
                    <a:cubicBezTo>
                      <a:pt x="70" y="59"/>
                      <a:pt x="70" y="59"/>
                      <a:pt x="70" y="59"/>
                    </a:cubicBezTo>
                    <a:cubicBezTo>
                      <a:pt x="70" y="59"/>
                      <a:pt x="71" y="60"/>
                      <a:pt x="71" y="60"/>
                    </a:cubicBezTo>
                    <a:cubicBezTo>
                      <a:pt x="72" y="59"/>
                      <a:pt x="73" y="59"/>
                      <a:pt x="73" y="58"/>
                    </a:cubicBezTo>
                    <a:cubicBezTo>
                      <a:pt x="74" y="58"/>
                      <a:pt x="74" y="57"/>
                      <a:pt x="74" y="56"/>
                    </a:cubicBezTo>
                    <a:cubicBezTo>
                      <a:pt x="75" y="56"/>
                      <a:pt x="74" y="55"/>
                      <a:pt x="74" y="55"/>
                    </a:cubicBezTo>
                    <a:cubicBezTo>
                      <a:pt x="74" y="54"/>
                      <a:pt x="74" y="53"/>
                      <a:pt x="74" y="52"/>
                    </a:cubicBezTo>
                    <a:cubicBezTo>
                      <a:pt x="74" y="52"/>
                      <a:pt x="73" y="51"/>
                      <a:pt x="73" y="50"/>
                    </a:cubicBezTo>
                    <a:cubicBezTo>
                      <a:pt x="73" y="49"/>
                      <a:pt x="74" y="49"/>
                      <a:pt x="74" y="49"/>
                    </a:cubicBezTo>
                    <a:cubicBezTo>
                      <a:pt x="75" y="48"/>
                      <a:pt x="74" y="48"/>
                      <a:pt x="74" y="47"/>
                    </a:cubicBezTo>
                    <a:cubicBezTo>
                      <a:pt x="74" y="47"/>
                      <a:pt x="74" y="47"/>
                      <a:pt x="74" y="46"/>
                    </a:cubicBezTo>
                    <a:cubicBezTo>
                      <a:pt x="75" y="46"/>
                      <a:pt x="74" y="45"/>
                      <a:pt x="74" y="44"/>
                    </a:cubicBezTo>
                    <a:cubicBezTo>
                      <a:pt x="74" y="44"/>
                      <a:pt x="75" y="44"/>
                      <a:pt x="76" y="44"/>
                    </a:cubicBezTo>
                    <a:cubicBezTo>
                      <a:pt x="76" y="44"/>
                      <a:pt x="77" y="43"/>
                      <a:pt x="77" y="43"/>
                    </a:cubicBezTo>
                    <a:cubicBezTo>
                      <a:pt x="78" y="44"/>
                      <a:pt x="78" y="43"/>
                      <a:pt x="79" y="43"/>
                    </a:cubicBezTo>
                    <a:cubicBezTo>
                      <a:pt x="79" y="43"/>
                      <a:pt x="79" y="43"/>
                      <a:pt x="79" y="43"/>
                    </a:cubicBezTo>
                    <a:cubicBezTo>
                      <a:pt x="79" y="42"/>
                      <a:pt x="79" y="42"/>
                      <a:pt x="80" y="42"/>
                    </a:cubicBezTo>
                    <a:cubicBezTo>
                      <a:pt x="80" y="42"/>
                      <a:pt x="81" y="42"/>
                      <a:pt x="81" y="41"/>
                    </a:cubicBezTo>
                    <a:cubicBezTo>
                      <a:pt x="81" y="41"/>
                      <a:pt x="81" y="40"/>
                      <a:pt x="80" y="40"/>
                    </a:cubicBezTo>
                    <a:cubicBezTo>
                      <a:pt x="80" y="39"/>
                      <a:pt x="79" y="39"/>
                      <a:pt x="79" y="38"/>
                    </a:cubicBezTo>
                    <a:cubicBezTo>
                      <a:pt x="80" y="38"/>
                      <a:pt x="79" y="37"/>
                      <a:pt x="78" y="37"/>
                    </a:cubicBezTo>
                    <a:cubicBezTo>
                      <a:pt x="78" y="36"/>
                      <a:pt x="77" y="37"/>
                      <a:pt x="77" y="36"/>
                    </a:cubicBezTo>
                    <a:cubicBezTo>
                      <a:pt x="77" y="36"/>
                      <a:pt x="76" y="35"/>
                      <a:pt x="76" y="35"/>
                    </a:cubicBezTo>
                    <a:cubicBezTo>
                      <a:pt x="75" y="34"/>
                      <a:pt x="76" y="33"/>
                      <a:pt x="77" y="33"/>
                    </a:cubicBezTo>
                    <a:cubicBezTo>
                      <a:pt x="78" y="33"/>
                      <a:pt x="79" y="34"/>
                      <a:pt x="81" y="34"/>
                    </a:cubicBezTo>
                    <a:cubicBezTo>
                      <a:pt x="81" y="34"/>
                      <a:pt x="82" y="34"/>
                      <a:pt x="83" y="34"/>
                    </a:cubicBezTo>
                    <a:cubicBezTo>
                      <a:pt x="83" y="34"/>
                      <a:pt x="84" y="34"/>
                      <a:pt x="85" y="34"/>
                    </a:cubicBezTo>
                    <a:cubicBezTo>
                      <a:pt x="85" y="34"/>
                      <a:pt x="85" y="33"/>
                      <a:pt x="85" y="33"/>
                    </a:cubicBezTo>
                    <a:cubicBezTo>
                      <a:pt x="86" y="33"/>
                      <a:pt x="86" y="33"/>
                      <a:pt x="87" y="33"/>
                    </a:cubicBezTo>
                    <a:cubicBezTo>
                      <a:pt x="87" y="33"/>
                      <a:pt x="86" y="32"/>
                      <a:pt x="86" y="32"/>
                    </a:cubicBezTo>
                    <a:cubicBezTo>
                      <a:pt x="86" y="32"/>
                      <a:pt x="87" y="32"/>
                      <a:pt x="87" y="32"/>
                    </a:cubicBezTo>
                    <a:cubicBezTo>
                      <a:pt x="87" y="31"/>
                      <a:pt x="87" y="31"/>
                      <a:pt x="87" y="30"/>
                    </a:cubicBezTo>
                    <a:cubicBezTo>
                      <a:pt x="87" y="29"/>
                      <a:pt x="85" y="29"/>
                      <a:pt x="85" y="28"/>
                    </a:cubicBezTo>
                    <a:cubicBezTo>
                      <a:pt x="84" y="27"/>
                      <a:pt x="86" y="28"/>
                      <a:pt x="86" y="27"/>
                    </a:cubicBezTo>
                    <a:cubicBezTo>
                      <a:pt x="85" y="26"/>
                      <a:pt x="85" y="26"/>
                      <a:pt x="86" y="26"/>
                    </a:cubicBezTo>
                    <a:cubicBezTo>
                      <a:pt x="86" y="25"/>
                      <a:pt x="87" y="25"/>
                      <a:pt x="87" y="24"/>
                    </a:cubicBezTo>
                    <a:cubicBezTo>
                      <a:pt x="87" y="24"/>
                      <a:pt x="87" y="24"/>
                      <a:pt x="88" y="23"/>
                    </a:cubicBezTo>
                    <a:cubicBezTo>
                      <a:pt x="88" y="23"/>
                      <a:pt x="88" y="23"/>
                      <a:pt x="88" y="22"/>
                    </a:cubicBezTo>
                    <a:cubicBezTo>
                      <a:pt x="88" y="21"/>
                      <a:pt x="90" y="21"/>
                      <a:pt x="89" y="20"/>
                    </a:cubicBezTo>
                    <a:cubicBezTo>
                      <a:pt x="89" y="20"/>
                      <a:pt x="88" y="20"/>
                      <a:pt x="88" y="19"/>
                    </a:cubicBezTo>
                    <a:cubicBezTo>
                      <a:pt x="88" y="19"/>
                      <a:pt x="89" y="18"/>
                      <a:pt x="89" y="18"/>
                    </a:cubicBezTo>
                    <a:cubicBezTo>
                      <a:pt x="89" y="17"/>
                      <a:pt x="88" y="17"/>
                      <a:pt x="88" y="17"/>
                    </a:cubicBezTo>
                    <a:cubicBezTo>
                      <a:pt x="88" y="16"/>
                      <a:pt x="87" y="16"/>
                      <a:pt x="87" y="16"/>
                    </a:cubicBezTo>
                    <a:cubicBezTo>
                      <a:pt x="87" y="15"/>
                      <a:pt x="87" y="15"/>
                      <a:pt x="87" y="14"/>
                    </a:cubicBezTo>
                    <a:cubicBezTo>
                      <a:pt x="86" y="14"/>
                      <a:pt x="85" y="13"/>
                      <a:pt x="85" y="13"/>
                    </a:cubicBezTo>
                    <a:cubicBezTo>
                      <a:pt x="85" y="12"/>
                      <a:pt x="85" y="12"/>
                      <a:pt x="84" y="12"/>
                    </a:cubicBezTo>
                    <a:cubicBezTo>
                      <a:pt x="84" y="12"/>
                      <a:pt x="83" y="11"/>
                      <a:pt x="83" y="11"/>
                    </a:cubicBezTo>
                    <a:cubicBezTo>
                      <a:pt x="83" y="10"/>
                      <a:pt x="83" y="10"/>
                      <a:pt x="84" y="10"/>
                    </a:cubicBezTo>
                    <a:cubicBezTo>
                      <a:pt x="84" y="10"/>
                      <a:pt x="85" y="9"/>
                      <a:pt x="85" y="9"/>
                    </a:cubicBezTo>
                    <a:cubicBezTo>
                      <a:pt x="85" y="8"/>
                      <a:pt x="86" y="8"/>
                      <a:pt x="86" y="7"/>
                    </a:cubicBezTo>
                    <a:cubicBezTo>
                      <a:pt x="86" y="7"/>
                      <a:pt x="86" y="6"/>
                      <a:pt x="86" y="7"/>
                    </a:cubicBezTo>
                    <a:cubicBezTo>
                      <a:pt x="87" y="7"/>
                      <a:pt x="88" y="7"/>
                      <a:pt x="88" y="7"/>
                    </a:cubicBezTo>
                    <a:cubicBezTo>
                      <a:pt x="88" y="7"/>
                      <a:pt x="87" y="7"/>
                      <a:pt x="88" y="6"/>
                    </a:cubicBezTo>
                    <a:cubicBezTo>
                      <a:pt x="88" y="6"/>
                      <a:pt x="89" y="6"/>
                      <a:pt x="89" y="6"/>
                    </a:cubicBezTo>
                    <a:cubicBezTo>
                      <a:pt x="89" y="5"/>
                      <a:pt x="90" y="5"/>
                      <a:pt x="90" y="5"/>
                    </a:cubicBezTo>
                    <a:cubicBezTo>
                      <a:pt x="90" y="5"/>
                      <a:pt x="90" y="5"/>
                      <a:pt x="90" y="5"/>
                    </a:cubicBezTo>
                    <a:cubicBezTo>
                      <a:pt x="90" y="4"/>
                      <a:pt x="91" y="5"/>
                      <a:pt x="91" y="4"/>
                    </a:cubicBezTo>
                    <a:cubicBezTo>
                      <a:pt x="91" y="4"/>
                      <a:pt x="90" y="4"/>
                      <a:pt x="91" y="4"/>
                    </a:cubicBezTo>
                    <a:cubicBezTo>
                      <a:pt x="91" y="3"/>
                      <a:pt x="92" y="3"/>
                      <a:pt x="92" y="3"/>
                    </a:cubicBezTo>
                    <a:cubicBezTo>
                      <a:pt x="93" y="3"/>
                      <a:pt x="93" y="3"/>
                      <a:pt x="94" y="3"/>
                    </a:cubicBezTo>
                    <a:cubicBezTo>
                      <a:pt x="94" y="2"/>
                      <a:pt x="95" y="2"/>
                      <a:pt x="96" y="2"/>
                    </a:cubicBezTo>
                    <a:cubicBezTo>
                      <a:pt x="97" y="2"/>
                      <a:pt x="98" y="2"/>
                      <a:pt x="99" y="2"/>
                    </a:cubicBezTo>
                    <a:cubicBezTo>
                      <a:pt x="99" y="2"/>
                      <a:pt x="100" y="2"/>
                      <a:pt x="101" y="2"/>
                    </a:cubicBezTo>
                    <a:cubicBezTo>
                      <a:pt x="102" y="2"/>
                      <a:pt x="103" y="2"/>
                      <a:pt x="103" y="2"/>
                    </a:cubicBezTo>
                    <a:cubicBezTo>
                      <a:pt x="104" y="2"/>
                      <a:pt x="105" y="2"/>
                      <a:pt x="106" y="2"/>
                    </a:cubicBezTo>
                    <a:cubicBezTo>
                      <a:pt x="106" y="2"/>
                      <a:pt x="107" y="3"/>
                      <a:pt x="107" y="3"/>
                    </a:cubicBezTo>
                    <a:cubicBezTo>
                      <a:pt x="108" y="2"/>
                      <a:pt x="107" y="2"/>
                      <a:pt x="108" y="2"/>
                    </a:cubicBezTo>
                    <a:cubicBezTo>
                      <a:pt x="109" y="2"/>
                      <a:pt x="109" y="2"/>
                      <a:pt x="110" y="1"/>
                    </a:cubicBezTo>
                    <a:cubicBezTo>
                      <a:pt x="110" y="1"/>
                      <a:pt x="110" y="0"/>
                      <a:pt x="111" y="1"/>
                    </a:cubicBezTo>
                    <a:cubicBezTo>
                      <a:pt x="111" y="1"/>
                      <a:pt x="112" y="1"/>
                      <a:pt x="111" y="0"/>
                    </a:cubicBezTo>
                    <a:cubicBezTo>
                      <a:pt x="112" y="0"/>
                      <a:pt x="112" y="0"/>
                      <a:pt x="113" y="0"/>
                    </a:cubicBezTo>
                    <a:cubicBezTo>
                      <a:pt x="113" y="0"/>
                      <a:pt x="115" y="1"/>
                      <a:pt x="115" y="1"/>
                    </a:cubicBezTo>
                    <a:cubicBezTo>
                      <a:pt x="115" y="0"/>
                      <a:pt x="118" y="1"/>
                      <a:pt x="119" y="2"/>
                    </a:cubicBezTo>
                    <a:cubicBezTo>
                      <a:pt x="120" y="2"/>
                      <a:pt x="120" y="4"/>
                      <a:pt x="121" y="4"/>
                    </a:cubicBezTo>
                    <a:cubicBezTo>
                      <a:pt x="121" y="3"/>
                      <a:pt x="122" y="3"/>
                      <a:pt x="123" y="4"/>
                    </a:cubicBezTo>
                    <a:cubicBezTo>
                      <a:pt x="124" y="4"/>
                      <a:pt x="124" y="5"/>
                      <a:pt x="125" y="6"/>
                    </a:cubicBezTo>
                    <a:cubicBezTo>
                      <a:pt x="125" y="6"/>
                      <a:pt x="126" y="6"/>
                      <a:pt x="126" y="7"/>
                    </a:cubicBezTo>
                    <a:cubicBezTo>
                      <a:pt x="126" y="7"/>
                      <a:pt x="126" y="8"/>
                      <a:pt x="126" y="8"/>
                    </a:cubicBezTo>
                    <a:cubicBezTo>
                      <a:pt x="126" y="9"/>
                      <a:pt x="127" y="9"/>
                      <a:pt x="127" y="9"/>
                    </a:cubicBezTo>
                    <a:cubicBezTo>
                      <a:pt x="126" y="9"/>
                      <a:pt x="127" y="9"/>
                      <a:pt x="127" y="10"/>
                    </a:cubicBezTo>
                    <a:cubicBezTo>
                      <a:pt x="126" y="10"/>
                      <a:pt x="126" y="10"/>
                      <a:pt x="126" y="10"/>
                    </a:cubicBezTo>
                    <a:cubicBezTo>
                      <a:pt x="126" y="11"/>
                      <a:pt x="126" y="11"/>
                      <a:pt x="127" y="11"/>
                    </a:cubicBezTo>
                    <a:cubicBezTo>
                      <a:pt x="128" y="12"/>
                      <a:pt x="128" y="12"/>
                      <a:pt x="129" y="13"/>
                    </a:cubicBezTo>
                    <a:cubicBezTo>
                      <a:pt x="129" y="14"/>
                      <a:pt x="129" y="14"/>
                      <a:pt x="130" y="14"/>
                    </a:cubicBezTo>
                    <a:cubicBezTo>
                      <a:pt x="131" y="13"/>
                      <a:pt x="132" y="12"/>
                      <a:pt x="133" y="13"/>
                    </a:cubicBezTo>
                    <a:cubicBezTo>
                      <a:pt x="133" y="13"/>
                      <a:pt x="133" y="14"/>
                      <a:pt x="133" y="14"/>
                    </a:cubicBezTo>
                    <a:cubicBezTo>
                      <a:pt x="133" y="14"/>
                      <a:pt x="134" y="15"/>
                      <a:pt x="134" y="15"/>
                    </a:cubicBezTo>
                    <a:cubicBezTo>
                      <a:pt x="135" y="15"/>
                      <a:pt x="136" y="16"/>
                      <a:pt x="137" y="16"/>
                    </a:cubicBezTo>
                    <a:cubicBezTo>
                      <a:pt x="137" y="16"/>
                      <a:pt x="137" y="16"/>
                      <a:pt x="138" y="16"/>
                    </a:cubicBezTo>
                    <a:cubicBezTo>
                      <a:pt x="138" y="16"/>
                      <a:pt x="139" y="17"/>
                      <a:pt x="139" y="17"/>
                    </a:cubicBezTo>
                    <a:cubicBezTo>
                      <a:pt x="140" y="17"/>
                      <a:pt x="141" y="17"/>
                      <a:pt x="142" y="17"/>
                    </a:cubicBezTo>
                    <a:cubicBezTo>
                      <a:pt x="143" y="17"/>
                      <a:pt x="143" y="18"/>
                      <a:pt x="144" y="18"/>
                    </a:cubicBezTo>
                    <a:cubicBezTo>
                      <a:pt x="144" y="17"/>
                      <a:pt x="144" y="17"/>
                      <a:pt x="145" y="17"/>
                    </a:cubicBezTo>
                    <a:cubicBezTo>
                      <a:pt x="143" y="18"/>
                      <a:pt x="142" y="19"/>
                      <a:pt x="140" y="21"/>
                    </a:cubicBezTo>
                    <a:cubicBezTo>
                      <a:pt x="140" y="21"/>
                      <a:pt x="139" y="21"/>
                      <a:pt x="139" y="22"/>
                    </a:cubicBezTo>
                    <a:close/>
                    <a:moveTo>
                      <a:pt x="73" y="144"/>
                    </a:moveTo>
                    <a:cubicBezTo>
                      <a:pt x="73" y="144"/>
                      <a:pt x="74" y="144"/>
                      <a:pt x="74" y="144"/>
                    </a:cubicBezTo>
                    <a:cubicBezTo>
                      <a:pt x="74" y="144"/>
                      <a:pt x="73" y="143"/>
                      <a:pt x="72" y="143"/>
                    </a:cubicBezTo>
                    <a:cubicBezTo>
                      <a:pt x="72" y="143"/>
                      <a:pt x="72" y="143"/>
                      <a:pt x="72" y="143"/>
                    </a:cubicBezTo>
                    <a:cubicBezTo>
                      <a:pt x="72" y="144"/>
                      <a:pt x="72" y="143"/>
                      <a:pt x="72" y="143"/>
                    </a:cubicBezTo>
                    <a:cubicBezTo>
                      <a:pt x="72" y="144"/>
                      <a:pt x="72" y="144"/>
                      <a:pt x="71" y="145"/>
                    </a:cubicBezTo>
                    <a:cubicBezTo>
                      <a:pt x="71" y="145"/>
                      <a:pt x="71" y="146"/>
                      <a:pt x="72" y="146"/>
                    </a:cubicBezTo>
                    <a:cubicBezTo>
                      <a:pt x="72" y="146"/>
                      <a:pt x="72" y="145"/>
                      <a:pt x="72" y="145"/>
                    </a:cubicBezTo>
                    <a:cubicBezTo>
                      <a:pt x="72" y="145"/>
                      <a:pt x="73" y="146"/>
                      <a:pt x="73" y="145"/>
                    </a:cubicBezTo>
                    <a:cubicBezTo>
                      <a:pt x="73" y="145"/>
                      <a:pt x="73" y="145"/>
                      <a:pt x="73" y="144"/>
                    </a:cubicBezTo>
                    <a:cubicBezTo>
                      <a:pt x="74" y="144"/>
                      <a:pt x="73" y="144"/>
                      <a:pt x="73" y="144"/>
                    </a:cubicBezTo>
                    <a:close/>
                    <a:moveTo>
                      <a:pt x="69" y="143"/>
                    </a:moveTo>
                    <a:cubicBezTo>
                      <a:pt x="69" y="143"/>
                      <a:pt x="69" y="143"/>
                      <a:pt x="69" y="143"/>
                    </a:cubicBezTo>
                    <a:cubicBezTo>
                      <a:pt x="69" y="143"/>
                      <a:pt x="69" y="143"/>
                      <a:pt x="69" y="143"/>
                    </a:cubicBezTo>
                    <a:cubicBezTo>
                      <a:pt x="69" y="143"/>
                      <a:pt x="69" y="143"/>
                      <a:pt x="69" y="143"/>
                    </a:cubicBezTo>
                    <a:close/>
                    <a:moveTo>
                      <a:pt x="72" y="143"/>
                    </a:moveTo>
                    <a:cubicBezTo>
                      <a:pt x="71" y="142"/>
                      <a:pt x="71" y="143"/>
                      <a:pt x="70" y="143"/>
                    </a:cubicBezTo>
                    <a:cubicBezTo>
                      <a:pt x="70" y="143"/>
                      <a:pt x="69" y="144"/>
                      <a:pt x="70" y="144"/>
                    </a:cubicBezTo>
                    <a:cubicBezTo>
                      <a:pt x="70" y="144"/>
                      <a:pt x="70" y="145"/>
                      <a:pt x="70" y="144"/>
                    </a:cubicBezTo>
                    <a:cubicBezTo>
                      <a:pt x="70" y="144"/>
                      <a:pt x="70" y="145"/>
                      <a:pt x="70" y="145"/>
                    </a:cubicBezTo>
                    <a:cubicBezTo>
                      <a:pt x="70" y="145"/>
                      <a:pt x="70" y="145"/>
                      <a:pt x="70" y="145"/>
                    </a:cubicBezTo>
                    <a:cubicBezTo>
                      <a:pt x="70" y="144"/>
                      <a:pt x="71" y="145"/>
                      <a:pt x="71" y="145"/>
                    </a:cubicBezTo>
                    <a:cubicBezTo>
                      <a:pt x="71" y="145"/>
                      <a:pt x="71" y="144"/>
                      <a:pt x="71" y="144"/>
                    </a:cubicBezTo>
                    <a:cubicBezTo>
                      <a:pt x="72" y="144"/>
                      <a:pt x="72" y="143"/>
                      <a:pt x="72" y="14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39" name="Oman">
                <a:extLst>
                  <a:ext uri="{FF2B5EF4-FFF2-40B4-BE49-F238E27FC236}">
                    <a16:creationId xmlns:a16="http://schemas.microsoft.com/office/drawing/2014/main" id="{23D64C6A-F290-95A4-5949-73F17C117E78}"/>
                  </a:ext>
                </a:extLst>
              </p:cNvPr>
              <p:cNvSpPr>
                <a:spLocks noEditPoints="1"/>
              </p:cNvSpPr>
              <p:nvPr/>
            </p:nvSpPr>
            <p:spPr bwMode="auto">
              <a:xfrm>
                <a:off x="7460979" y="3016157"/>
                <a:ext cx="254844" cy="379323"/>
              </a:xfrm>
              <a:custGeom>
                <a:avLst/>
                <a:gdLst/>
                <a:ahLst/>
                <a:cxnLst>
                  <a:cxn ang="0">
                    <a:pos x="39" y="97"/>
                  </a:cxn>
                  <a:cxn ang="0">
                    <a:pos x="63" y="65"/>
                  </a:cxn>
                  <a:cxn ang="0">
                    <a:pos x="62" y="69"/>
                  </a:cxn>
                  <a:cxn ang="0">
                    <a:pos x="65" y="64"/>
                  </a:cxn>
                  <a:cxn ang="0">
                    <a:pos x="71" y="43"/>
                  </a:cxn>
                  <a:cxn ang="0">
                    <a:pos x="68" y="42"/>
                  </a:cxn>
                  <a:cxn ang="0">
                    <a:pos x="66" y="38"/>
                  </a:cxn>
                  <a:cxn ang="0">
                    <a:pos x="61" y="32"/>
                  </a:cxn>
                  <a:cxn ang="0">
                    <a:pos x="57" y="31"/>
                  </a:cxn>
                  <a:cxn ang="0">
                    <a:pos x="52" y="30"/>
                  </a:cxn>
                  <a:cxn ang="0">
                    <a:pos x="44" y="26"/>
                  </a:cxn>
                  <a:cxn ang="0">
                    <a:pos x="37" y="16"/>
                  </a:cxn>
                  <a:cxn ang="0">
                    <a:pos x="34" y="18"/>
                  </a:cxn>
                  <a:cxn ang="0">
                    <a:pos x="32" y="16"/>
                  </a:cxn>
                  <a:cxn ang="0">
                    <a:pos x="32" y="22"/>
                  </a:cxn>
                  <a:cxn ang="0">
                    <a:pos x="34" y="25"/>
                  </a:cxn>
                  <a:cxn ang="0">
                    <a:pos x="29" y="27"/>
                  </a:cxn>
                  <a:cxn ang="0">
                    <a:pos x="29" y="33"/>
                  </a:cxn>
                  <a:cxn ang="0">
                    <a:pos x="27" y="40"/>
                  </a:cxn>
                  <a:cxn ang="0">
                    <a:pos x="32" y="49"/>
                  </a:cxn>
                  <a:cxn ang="0">
                    <a:pos x="28" y="70"/>
                  </a:cxn>
                  <a:cxn ang="0">
                    <a:pos x="0" y="81"/>
                  </a:cxn>
                  <a:cxn ang="0">
                    <a:pos x="12" y="107"/>
                  </a:cxn>
                  <a:cxn ang="0">
                    <a:pos x="20" y="104"/>
                  </a:cxn>
                  <a:cxn ang="0">
                    <a:pos x="25" y="103"/>
                  </a:cxn>
                  <a:cxn ang="0">
                    <a:pos x="30" y="103"/>
                  </a:cxn>
                  <a:cxn ang="0">
                    <a:pos x="32" y="100"/>
                  </a:cxn>
                  <a:cxn ang="0">
                    <a:pos x="32" y="96"/>
                  </a:cxn>
                  <a:cxn ang="0">
                    <a:pos x="38" y="93"/>
                  </a:cxn>
                  <a:cxn ang="0">
                    <a:pos x="43" y="92"/>
                  </a:cxn>
                  <a:cxn ang="0">
                    <a:pos x="45" y="86"/>
                  </a:cxn>
                  <a:cxn ang="0">
                    <a:pos x="55" y="81"/>
                  </a:cxn>
                  <a:cxn ang="0">
                    <a:pos x="54" y="76"/>
                  </a:cxn>
                  <a:cxn ang="0">
                    <a:pos x="54" y="70"/>
                  </a:cxn>
                  <a:cxn ang="0">
                    <a:pos x="56" y="65"/>
                  </a:cxn>
                  <a:cxn ang="0">
                    <a:pos x="58" y="65"/>
                  </a:cxn>
                  <a:cxn ang="0">
                    <a:pos x="60" y="66"/>
                  </a:cxn>
                  <a:cxn ang="0">
                    <a:pos x="62" y="63"/>
                  </a:cxn>
                  <a:cxn ang="0">
                    <a:pos x="62" y="62"/>
                  </a:cxn>
                  <a:cxn ang="0">
                    <a:pos x="66" y="55"/>
                  </a:cxn>
                  <a:cxn ang="0">
                    <a:pos x="71" y="47"/>
                  </a:cxn>
                  <a:cxn ang="0">
                    <a:pos x="34" y="6"/>
                  </a:cxn>
                  <a:cxn ang="0">
                    <a:pos x="35" y="8"/>
                  </a:cxn>
                  <a:cxn ang="0">
                    <a:pos x="36" y="5"/>
                  </a:cxn>
                  <a:cxn ang="0">
                    <a:pos x="36" y="4"/>
                  </a:cxn>
                  <a:cxn ang="0">
                    <a:pos x="35" y="2"/>
                  </a:cxn>
                  <a:cxn ang="0">
                    <a:pos x="36" y="2"/>
                  </a:cxn>
                  <a:cxn ang="0">
                    <a:pos x="37" y="1"/>
                  </a:cxn>
                  <a:cxn ang="0">
                    <a:pos x="35" y="2"/>
                  </a:cxn>
                  <a:cxn ang="0">
                    <a:pos x="35" y="2"/>
                  </a:cxn>
                  <a:cxn ang="0">
                    <a:pos x="33" y="4"/>
                  </a:cxn>
                </a:cxnLst>
                <a:rect l="0" t="0" r="r" b="b"/>
                <a:pathLst>
                  <a:path w="72" h="107">
                    <a:moveTo>
                      <a:pt x="39" y="97"/>
                    </a:moveTo>
                    <a:cubicBezTo>
                      <a:pt x="40" y="97"/>
                      <a:pt x="40" y="98"/>
                      <a:pt x="39" y="98"/>
                    </a:cubicBezTo>
                    <a:cubicBezTo>
                      <a:pt x="39" y="98"/>
                      <a:pt x="38" y="98"/>
                      <a:pt x="39" y="97"/>
                    </a:cubicBezTo>
                    <a:cubicBezTo>
                      <a:pt x="39" y="97"/>
                      <a:pt x="39" y="97"/>
                      <a:pt x="39" y="97"/>
                    </a:cubicBezTo>
                    <a:close/>
                    <a:moveTo>
                      <a:pt x="64" y="63"/>
                    </a:moveTo>
                    <a:cubicBezTo>
                      <a:pt x="64" y="63"/>
                      <a:pt x="63" y="65"/>
                      <a:pt x="63" y="65"/>
                    </a:cubicBezTo>
                    <a:cubicBezTo>
                      <a:pt x="63" y="66"/>
                      <a:pt x="63" y="65"/>
                      <a:pt x="62" y="66"/>
                    </a:cubicBezTo>
                    <a:cubicBezTo>
                      <a:pt x="62" y="66"/>
                      <a:pt x="62" y="67"/>
                      <a:pt x="62" y="68"/>
                    </a:cubicBezTo>
                    <a:cubicBezTo>
                      <a:pt x="62" y="68"/>
                      <a:pt x="62" y="68"/>
                      <a:pt x="62" y="69"/>
                    </a:cubicBezTo>
                    <a:cubicBezTo>
                      <a:pt x="63" y="68"/>
                      <a:pt x="63" y="68"/>
                      <a:pt x="63" y="67"/>
                    </a:cubicBezTo>
                    <a:cubicBezTo>
                      <a:pt x="64" y="66"/>
                      <a:pt x="64" y="66"/>
                      <a:pt x="64" y="65"/>
                    </a:cubicBezTo>
                    <a:cubicBezTo>
                      <a:pt x="65" y="65"/>
                      <a:pt x="65" y="65"/>
                      <a:pt x="65" y="64"/>
                    </a:cubicBezTo>
                    <a:cubicBezTo>
                      <a:pt x="64" y="64"/>
                      <a:pt x="64" y="63"/>
                      <a:pt x="64" y="63"/>
                    </a:cubicBezTo>
                    <a:close/>
                    <a:moveTo>
                      <a:pt x="72" y="44"/>
                    </a:moveTo>
                    <a:cubicBezTo>
                      <a:pt x="72" y="43"/>
                      <a:pt x="71" y="43"/>
                      <a:pt x="71" y="43"/>
                    </a:cubicBezTo>
                    <a:cubicBezTo>
                      <a:pt x="71" y="43"/>
                      <a:pt x="71" y="43"/>
                      <a:pt x="71" y="43"/>
                    </a:cubicBezTo>
                    <a:cubicBezTo>
                      <a:pt x="70" y="43"/>
                      <a:pt x="70" y="42"/>
                      <a:pt x="70" y="42"/>
                    </a:cubicBezTo>
                    <a:cubicBezTo>
                      <a:pt x="69" y="42"/>
                      <a:pt x="69" y="42"/>
                      <a:pt x="68" y="42"/>
                    </a:cubicBezTo>
                    <a:cubicBezTo>
                      <a:pt x="69" y="42"/>
                      <a:pt x="67" y="41"/>
                      <a:pt x="67" y="41"/>
                    </a:cubicBezTo>
                    <a:cubicBezTo>
                      <a:pt x="67" y="40"/>
                      <a:pt x="66" y="40"/>
                      <a:pt x="66" y="40"/>
                    </a:cubicBezTo>
                    <a:cubicBezTo>
                      <a:pt x="66" y="39"/>
                      <a:pt x="66" y="39"/>
                      <a:pt x="66" y="38"/>
                    </a:cubicBezTo>
                    <a:cubicBezTo>
                      <a:pt x="65" y="38"/>
                      <a:pt x="64" y="37"/>
                      <a:pt x="64" y="36"/>
                    </a:cubicBezTo>
                    <a:cubicBezTo>
                      <a:pt x="63" y="36"/>
                      <a:pt x="63" y="35"/>
                      <a:pt x="62" y="34"/>
                    </a:cubicBezTo>
                    <a:cubicBezTo>
                      <a:pt x="62" y="33"/>
                      <a:pt x="61" y="33"/>
                      <a:pt x="61" y="32"/>
                    </a:cubicBezTo>
                    <a:cubicBezTo>
                      <a:pt x="61" y="32"/>
                      <a:pt x="60" y="32"/>
                      <a:pt x="60" y="31"/>
                    </a:cubicBezTo>
                    <a:cubicBezTo>
                      <a:pt x="59" y="31"/>
                      <a:pt x="59" y="31"/>
                      <a:pt x="59" y="31"/>
                    </a:cubicBezTo>
                    <a:cubicBezTo>
                      <a:pt x="58" y="30"/>
                      <a:pt x="58" y="31"/>
                      <a:pt x="57" y="31"/>
                    </a:cubicBezTo>
                    <a:cubicBezTo>
                      <a:pt x="56" y="31"/>
                      <a:pt x="56" y="30"/>
                      <a:pt x="55" y="30"/>
                    </a:cubicBezTo>
                    <a:cubicBezTo>
                      <a:pt x="55" y="30"/>
                      <a:pt x="54" y="30"/>
                      <a:pt x="54" y="30"/>
                    </a:cubicBezTo>
                    <a:cubicBezTo>
                      <a:pt x="53" y="29"/>
                      <a:pt x="53" y="30"/>
                      <a:pt x="52" y="30"/>
                    </a:cubicBezTo>
                    <a:cubicBezTo>
                      <a:pt x="52" y="29"/>
                      <a:pt x="51" y="29"/>
                      <a:pt x="51" y="29"/>
                    </a:cubicBezTo>
                    <a:cubicBezTo>
                      <a:pt x="50" y="29"/>
                      <a:pt x="50" y="29"/>
                      <a:pt x="49" y="29"/>
                    </a:cubicBezTo>
                    <a:cubicBezTo>
                      <a:pt x="47" y="28"/>
                      <a:pt x="45" y="27"/>
                      <a:pt x="44" y="26"/>
                    </a:cubicBezTo>
                    <a:cubicBezTo>
                      <a:pt x="42" y="25"/>
                      <a:pt x="41" y="23"/>
                      <a:pt x="39" y="21"/>
                    </a:cubicBezTo>
                    <a:cubicBezTo>
                      <a:pt x="39" y="20"/>
                      <a:pt x="38" y="19"/>
                      <a:pt x="38" y="18"/>
                    </a:cubicBezTo>
                    <a:cubicBezTo>
                      <a:pt x="37" y="17"/>
                      <a:pt x="37" y="17"/>
                      <a:pt x="37" y="16"/>
                    </a:cubicBezTo>
                    <a:cubicBezTo>
                      <a:pt x="36" y="16"/>
                      <a:pt x="36" y="16"/>
                      <a:pt x="36" y="16"/>
                    </a:cubicBezTo>
                    <a:cubicBezTo>
                      <a:pt x="36" y="17"/>
                      <a:pt x="36" y="17"/>
                      <a:pt x="36" y="17"/>
                    </a:cubicBezTo>
                    <a:cubicBezTo>
                      <a:pt x="35" y="17"/>
                      <a:pt x="35" y="18"/>
                      <a:pt x="34" y="18"/>
                    </a:cubicBezTo>
                    <a:cubicBezTo>
                      <a:pt x="33" y="19"/>
                      <a:pt x="34" y="17"/>
                      <a:pt x="33" y="17"/>
                    </a:cubicBezTo>
                    <a:cubicBezTo>
                      <a:pt x="33" y="17"/>
                      <a:pt x="33" y="17"/>
                      <a:pt x="34" y="17"/>
                    </a:cubicBezTo>
                    <a:cubicBezTo>
                      <a:pt x="33" y="16"/>
                      <a:pt x="33" y="15"/>
                      <a:pt x="32" y="16"/>
                    </a:cubicBezTo>
                    <a:cubicBezTo>
                      <a:pt x="31" y="17"/>
                      <a:pt x="31" y="18"/>
                      <a:pt x="32" y="19"/>
                    </a:cubicBezTo>
                    <a:cubicBezTo>
                      <a:pt x="32" y="19"/>
                      <a:pt x="31" y="20"/>
                      <a:pt x="31" y="20"/>
                    </a:cubicBezTo>
                    <a:cubicBezTo>
                      <a:pt x="31" y="21"/>
                      <a:pt x="32" y="22"/>
                      <a:pt x="32" y="22"/>
                    </a:cubicBezTo>
                    <a:cubicBezTo>
                      <a:pt x="32" y="23"/>
                      <a:pt x="32" y="23"/>
                      <a:pt x="32" y="24"/>
                    </a:cubicBezTo>
                    <a:cubicBezTo>
                      <a:pt x="32" y="24"/>
                      <a:pt x="32" y="24"/>
                      <a:pt x="33" y="24"/>
                    </a:cubicBezTo>
                    <a:cubicBezTo>
                      <a:pt x="33" y="24"/>
                      <a:pt x="33" y="24"/>
                      <a:pt x="34" y="25"/>
                    </a:cubicBezTo>
                    <a:cubicBezTo>
                      <a:pt x="34" y="25"/>
                      <a:pt x="34" y="26"/>
                      <a:pt x="34" y="26"/>
                    </a:cubicBezTo>
                    <a:cubicBezTo>
                      <a:pt x="32" y="26"/>
                      <a:pt x="32" y="26"/>
                      <a:pt x="30" y="26"/>
                    </a:cubicBezTo>
                    <a:cubicBezTo>
                      <a:pt x="30" y="26"/>
                      <a:pt x="28" y="27"/>
                      <a:pt x="29" y="27"/>
                    </a:cubicBezTo>
                    <a:cubicBezTo>
                      <a:pt x="30" y="28"/>
                      <a:pt x="30" y="28"/>
                      <a:pt x="30" y="29"/>
                    </a:cubicBezTo>
                    <a:cubicBezTo>
                      <a:pt x="30" y="30"/>
                      <a:pt x="29" y="30"/>
                      <a:pt x="29" y="31"/>
                    </a:cubicBezTo>
                    <a:cubicBezTo>
                      <a:pt x="29" y="32"/>
                      <a:pt x="29" y="32"/>
                      <a:pt x="29" y="33"/>
                    </a:cubicBezTo>
                    <a:cubicBezTo>
                      <a:pt x="28" y="34"/>
                      <a:pt x="28" y="34"/>
                      <a:pt x="28" y="35"/>
                    </a:cubicBezTo>
                    <a:cubicBezTo>
                      <a:pt x="28" y="36"/>
                      <a:pt x="27" y="37"/>
                      <a:pt x="27" y="38"/>
                    </a:cubicBezTo>
                    <a:cubicBezTo>
                      <a:pt x="27" y="38"/>
                      <a:pt x="28" y="39"/>
                      <a:pt x="27" y="40"/>
                    </a:cubicBezTo>
                    <a:cubicBezTo>
                      <a:pt x="27" y="41"/>
                      <a:pt x="28" y="42"/>
                      <a:pt x="28" y="42"/>
                    </a:cubicBezTo>
                    <a:cubicBezTo>
                      <a:pt x="29" y="44"/>
                      <a:pt x="30" y="46"/>
                      <a:pt x="31" y="48"/>
                    </a:cubicBezTo>
                    <a:cubicBezTo>
                      <a:pt x="31" y="48"/>
                      <a:pt x="32" y="49"/>
                      <a:pt x="32" y="49"/>
                    </a:cubicBezTo>
                    <a:cubicBezTo>
                      <a:pt x="32" y="50"/>
                      <a:pt x="31" y="52"/>
                      <a:pt x="31" y="53"/>
                    </a:cubicBezTo>
                    <a:cubicBezTo>
                      <a:pt x="31" y="57"/>
                      <a:pt x="30" y="61"/>
                      <a:pt x="29" y="65"/>
                    </a:cubicBezTo>
                    <a:cubicBezTo>
                      <a:pt x="28" y="67"/>
                      <a:pt x="28" y="68"/>
                      <a:pt x="28" y="70"/>
                    </a:cubicBezTo>
                    <a:cubicBezTo>
                      <a:pt x="28" y="71"/>
                      <a:pt x="26" y="71"/>
                      <a:pt x="26" y="71"/>
                    </a:cubicBezTo>
                    <a:cubicBezTo>
                      <a:pt x="25" y="72"/>
                      <a:pt x="24" y="72"/>
                      <a:pt x="23" y="72"/>
                    </a:cubicBezTo>
                    <a:cubicBezTo>
                      <a:pt x="15" y="75"/>
                      <a:pt x="7" y="78"/>
                      <a:pt x="0" y="81"/>
                    </a:cubicBezTo>
                    <a:cubicBezTo>
                      <a:pt x="2" y="86"/>
                      <a:pt x="4" y="90"/>
                      <a:pt x="6" y="95"/>
                    </a:cubicBezTo>
                    <a:cubicBezTo>
                      <a:pt x="7" y="97"/>
                      <a:pt x="7" y="99"/>
                      <a:pt x="8" y="101"/>
                    </a:cubicBezTo>
                    <a:cubicBezTo>
                      <a:pt x="9" y="103"/>
                      <a:pt x="11" y="105"/>
                      <a:pt x="12" y="107"/>
                    </a:cubicBezTo>
                    <a:cubicBezTo>
                      <a:pt x="12" y="106"/>
                      <a:pt x="15" y="106"/>
                      <a:pt x="16" y="106"/>
                    </a:cubicBezTo>
                    <a:cubicBezTo>
                      <a:pt x="17" y="106"/>
                      <a:pt x="18" y="105"/>
                      <a:pt x="19" y="105"/>
                    </a:cubicBezTo>
                    <a:cubicBezTo>
                      <a:pt x="19" y="104"/>
                      <a:pt x="20" y="105"/>
                      <a:pt x="20" y="104"/>
                    </a:cubicBezTo>
                    <a:cubicBezTo>
                      <a:pt x="20" y="104"/>
                      <a:pt x="20" y="104"/>
                      <a:pt x="20" y="104"/>
                    </a:cubicBezTo>
                    <a:cubicBezTo>
                      <a:pt x="21" y="103"/>
                      <a:pt x="22" y="103"/>
                      <a:pt x="23" y="103"/>
                    </a:cubicBezTo>
                    <a:cubicBezTo>
                      <a:pt x="23" y="103"/>
                      <a:pt x="24" y="103"/>
                      <a:pt x="25" y="103"/>
                    </a:cubicBezTo>
                    <a:cubicBezTo>
                      <a:pt x="26" y="103"/>
                      <a:pt x="26" y="103"/>
                      <a:pt x="26" y="103"/>
                    </a:cubicBezTo>
                    <a:cubicBezTo>
                      <a:pt x="27" y="103"/>
                      <a:pt x="26" y="103"/>
                      <a:pt x="27" y="104"/>
                    </a:cubicBezTo>
                    <a:cubicBezTo>
                      <a:pt x="28" y="104"/>
                      <a:pt x="29" y="104"/>
                      <a:pt x="30" y="103"/>
                    </a:cubicBezTo>
                    <a:cubicBezTo>
                      <a:pt x="30" y="103"/>
                      <a:pt x="31" y="103"/>
                      <a:pt x="31" y="102"/>
                    </a:cubicBezTo>
                    <a:cubicBezTo>
                      <a:pt x="31" y="102"/>
                      <a:pt x="31" y="101"/>
                      <a:pt x="32" y="101"/>
                    </a:cubicBezTo>
                    <a:cubicBezTo>
                      <a:pt x="32" y="101"/>
                      <a:pt x="32" y="101"/>
                      <a:pt x="32" y="100"/>
                    </a:cubicBezTo>
                    <a:cubicBezTo>
                      <a:pt x="32" y="100"/>
                      <a:pt x="32" y="100"/>
                      <a:pt x="32" y="100"/>
                    </a:cubicBezTo>
                    <a:cubicBezTo>
                      <a:pt x="33" y="99"/>
                      <a:pt x="32" y="99"/>
                      <a:pt x="32" y="98"/>
                    </a:cubicBezTo>
                    <a:cubicBezTo>
                      <a:pt x="31" y="97"/>
                      <a:pt x="32" y="97"/>
                      <a:pt x="32" y="96"/>
                    </a:cubicBezTo>
                    <a:cubicBezTo>
                      <a:pt x="33" y="96"/>
                      <a:pt x="33" y="95"/>
                      <a:pt x="33" y="95"/>
                    </a:cubicBezTo>
                    <a:cubicBezTo>
                      <a:pt x="34" y="94"/>
                      <a:pt x="34" y="94"/>
                      <a:pt x="35" y="94"/>
                    </a:cubicBezTo>
                    <a:cubicBezTo>
                      <a:pt x="36" y="93"/>
                      <a:pt x="37" y="94"/>
                      <a:pt x="38" y="93"/>
                    </a:cubicBezTo>
                    <a:cubicBezTo>
                      <a:pt x="38" y="93"/>
                      <a:pt x="39" y="93"/>
                      <a:pt x="40" y="93"/>
                    </a:cubicBezTo>
                    <a:cubicBezTo>
                      <a:pt x="40" y="93"/>
                      <a:pt x="41" y="93"/>
                      <a:pt x="42" y="93"/>
                    </a:cubicBezTo>
                    <a:cubicBezTo>
                      <a:pt x="42" y="93"/>
                      <a:pt x="42" y="92"/>
                      <a:pt x="43" y="92"/>
                    </a:cubicBezTo>
                    <a:cubicBezTo>
                      <a:pt x="43" y="91"/>
                      <a:pt x="44" y="91"/>
                      <a:pt x="44" y="91"/>
                    </a:cubicBezTo>
                    <a:cubicBezTo>
                      <a:pt x="44" y="90"/>
                      <a:pt x="44" y="89"/>
                      <a:pt x="44" y="88"/>
                    </a:cubicBezTo>
                    <a:cubicBezTo>
                      <a:pt x="44" y="87"/>
                      <a:pt x="44" y="86"/>
                      <a:pt x="45" y="86"/>
                    </a:cubicBezTo>
                    <a:cubicBezTo>
                      <a:pt x="45" y="85"/>
                      <a:pt x="46" y="84"/>
                      <a:pt x="46" y="84"/>
                    </a:cubicBezTo>
                    <a:cubicBezTo>
                      <a:pt x="48" y="83"/>
                      <a:pt x="49" y="82"/>
                      <a:pt x="51" y="82"/>
                    </a:cubicBezTo>
                    <a:cubicBezTo>
                      <a:pt x="52" y="82"/>
                      <a:pt x="55" y="83"/>
                      <a:pt x="55" y="81"/>
                    </a:cubicBezTo>
                    <a:cubicBezTo>
                      <a:pt x="55" y="81"/>
                      <a:pt x="55" y="80"/>
                      <a:pt x="55" y="80"/>
                    </a:cubicBezTo>
                    <a:cubicBezTo>
                      <a:pt x="55" y="79"/>
                      <a:pt x="54" y="79"/>
                      <a:pt x="54" y="78"/>
                    </a:cubicBezTo>
                    <a:cubicBezTo>
                      <a:pt x="55" y="77"/>
                      <a:pt x="54" y="76"/>
                      <a:pt x="54" y="76"/>
                    </a:cubicBezTo>
                    <a:cubicBezTo>
                      <a:pt x="54" y="75"/>
                      <a:pt x="54" y="75"/>
                      <a:pt x="54" y="74"/>
                    </a:cubicBezTo>
                    <a:cubicBezTo>
                      <a:pt x="53" y="73"/>
                      <a:pt x="54" y="73"/>
                      <a:pt x="54" y="72"/>
                    </a:cubicBezTo>
                    <a:cubicBezTo>
                      <a:pt x="54" y="71"/>
                      <a:pt x="54" y="71"/>
                      <a:pt x="54" y="70"/>
                    </a:cubicBezTo>
                    <a:cubicBezTo>
                      <a:pt x="54" y="69"/>
                      <a:pt x="54" y="68"/>
                      <a:pt x="55" y="68"/>
                    </a:cubicBezTo>
                    <a:cubicBezTo>
                      <a:pt x="55" y="67"/>
                      <a:pt x="56" y="67"/>
                      <a:pt x="56" y="67"/>
                    </a:cubicBezTo>
                    <a:cubicBezTo>
                      <a:pt x="55" y="66"/>
                      <a:pt x="56" y="66"/>
                      <a:pt x="56" y="65"/>
                    </a:cubicBezTo>
                    <a:cubicBezTo>
                      <a:pt x="57" y="65"/>
                      <a:pt x="56" y="64"/>
                      <a:pt x="57" y="64"/>
                    </a:cubicBezTo>
                    <a:cubicBezTo>
                      <a:pt x="58" y="63"/>
                      <a:pt x="58" y="65"/>
                      <a:pt x="58" y="66"/>
                    </a:cubicBezTo>
                    <a:cubicBezTo>
                      <a:pt x="58" y="66"/>
                      <a:pt x="58" y="66"/>
                      <a:pt x="58" y="65"/>
                    </a:cubicBezTo>
                    <a:cubicBezTo>
                      <a:pt x="58" y="66"/>
                      <a:pt x="58" y="66"/>
                      <a:pt x="58" y="66"/>
                    </a:cubicBezTo>
                    <a:cubicBezTo>
                      <a:pt x="58" y="66"/>
                      <a:pt x="59" y="66"/>
                      <a:pt x="58" y="66"/>
                    </a:cubicBezTo>
                    <a:cubicBezTo>
                      <a:pt x="59" y="66"/>
                      <a:pt x="59" y="66"/>
                      <a:pt x="60" y="66"/>
                    </a:cubicBezTo>
                    <a:cubicBezTo>
                      <a:pt x="60" y="67"/>
                      <a:pt x="60" y="67"/>
                      <a:pt x="60" y="66"/>
                    </a:cubicBezTo>
                    <a:cubicBezTo>
                      <a:pt x="61" y="66"/>
                      <a:pt x="61" y="65"/>
                      <a:pt x="61" y="65"/>
                    </a:cubicBezTo>
                    <a:cubicBezTo>
                      <a:pt x="61" y="64"/>
                      <a:pt x="61" y="63"/>
                      <a:pt x="62" y="63"/>
                    </a:cubicBezTo>
                    <a:cubicBezTo>
                      <a:pt x="62" y="63"/>
                      <a:pt x="62" y="62"/>
                      <a:pt x="62" y="62"/>
                    </a:cubicBezTo>
                    <a:cubicBezTo>
                      <a:pt x="62" y="62"/>
                      <a:pt x="63" y="62"/>
                      <a:pt x="62" y="62"/>
                    </a:cubicBezTo>
                    <a:cubicBezTo>
                      <a:pt x="63" y="62"/>
                      <a:pt x="62" y="62"/>
                      <a:pt x="62" y="62"/>
                    </a:cubicBezTo>
                    <a:cubicBezTo>
                      <a:pt x="62" y="61"/>
                      <a:pt x="62" y="61"/>
                      <a:pt x="62" y="61"/>
                    </a:cubicBezTo>
                    <a:cubicBezTo>
                      <a:pt x="63" y="60"/>
                      <a:pt x="63" y="59"/>
                      <a:pt x="64" y="58"/>
                    </a:cubicBezTo>
                    <a:cubicBezTo>
                      <a:pt x="64" y="57"/>
                      <a:pt x="65" y="56"/>
                      <a:pt x="66" y="55"/>
                    </a:cubicBezTo>
                    <a:cubicBezTo>
                      <a:pt x="67" y="55"/>
                      <a:pt x="68" y="55"/>
                      <a:pt x="68" y="53"/>
                    </a:cubicBezTo>
                    <a:cubicBezTo>
                      <a:pt x="69" y="52"/>
                      <a:pt x="69" y="52"/>
                      <a:pt x="70" y="50"/>
                    </a:cubicBezTo>
                    <a:cubicBezTo>
                      <a:pt x="70" y="49"/>
                      <a:pt x="70" y="48"/>
                      <a:pt x="71" y="47"/>
                    </a:cubicBezTo>
                    <a:cubicBezTo>
                      <a:pt x="72" y="46"/>
                      <a:pt x="72" y="45"/>
                      <a:pt x="72" y="44"/>
                    </a:cubicBezTo>
                    <a:close/>
                    <a:moveTo>
                      <a:pt x="34" y="4"/>
                    </a:moveTo>
                    <a:cubicBezTo>
                      <a:pt x="34" y="5"/>
                      <a:pt x="34" y="5"/>
                      <a:pt x="34" y="6"/>
                    </a:cubicBezTo>
                    <a:cubicBezTo>
                      <a:pt x="34" y="6"/>
                      <a:pt x="34" y="7"/>
                      <a:pt x="34" y="7"/>
                    </a:cubicBezTo>
                    <a:cubicBezTo>
                      <a:pt x="33" y="8"/>
                      <a:pt x="34" y="8"/>
                      <a:pt x="34" y="8"/>
                    </a:cubicBezTo>
                    <a:cubicBezTo>
                      <a:pt x="34" y="8"/>
                      <a:pt x="35" y="9"/>
                      <a:pt x="35" y="8"/>
                    </a:cubicBezTo>
                    <a:cubicBezTo>
                      <a:pt x="35" y="8"/>
                      <a:pt x="35" y="7"/>
                      <a:pt x="35" y="7"/>
                    </a:cubicBezTo>
                    <a:cubicBezTo>
                      <a:pt x="35" y="7"/>
                      <a:pt x="35" y="6"/>
                      <a:pt x="36" y="6"/>
                    </a:cubicBezTo>
                    <a:cubicBezTo>
                      <a:pt x="36" y="6"/>
                      <a:pt x="36" y="5"/>
                      <a:pt x="36" y="5"/>
                    </a:cubicBezTo>
                    <a:cubicBezTo>
                      <a:pt x="36" y="5"/>
                      <a:pt x="36" y="5"/>
                      <a:pt x="36" y="5"/>
                    </a:cubicBezTo>
                    <a:cubicBezTo>
                      <a:pt x="36" y="5"/>
                      <a:pt x="36" y="4"/>
                      <a:pt x="36" y="4"/>
                    </a:cubicBezTo>
                    <a:cubicBezTo>
                      <a:pt x="35" y="4"/>
                      <a:pt x="36" y="4"/>
                      <a:pt x="36" y="4"/>
                    </a:cubicBezTo>
                    <a:cubicBezTo>
                      <a:pt x="36" y="3"/>
                      <a:pt x="36" y="3"/>
                      <a:pt x="35" y="3"/>
                    </a:cubicBezTo>
                    <a:cubicBezTo>
                      <a:pt x="35" y="3"/>
                      <a:pt x="35" y="3"/>
                      <a:pt x="35" y="3"/>
                    </a:cubicBezTo>
                    <a:cubicBezTo>
                      <a:pt x="35" y="3"/>
                      <a:pt x="35" y="2"/>
                      <a:pt x="35" y="2"/>
                    </a:cubicBezTo>
                    <a:cubicBezTo>
                      <a:pt x="35" y="2"/>
                      <a:pt x="35" y="3"/>
                      <a:pt x="36" y="2"/>
                    </a:cubicBezTo>
                    <a:cubicBezTo>
                      <a:pt x="36" y="3"/>
                      <a:pt x="36" y="3"/>
                      <a:pt x="36" y="3"/>
                    </a:cubicBezTo>
                    <a:cubicBezTo>
                      <a:pt x="36" y="3"/>
                      <a:pt x="36" y="2"/>
                      <a:pt x="36" y="2"/>
                    </a:cubicBezTo>
                    <a:cubicBezTo>
                      <a:pt x="36" y="2"/>
                      <a:pt x="36" y="2"/>
                      <a:pt x="36" y="2"/>
                    </a:cubicBezTo>
                    <a:cubicBezTo>
                      <a:pt x="37" y="2"/>
                      <a:pt x="35" y="2"/>
                      <a:pt x="36" y="1"/>
                    </a:cubicBezTo>
                    <a:cubicBezTo>
                      <a:pt x="36" y="1"/>
                      <a:pt x="36" y="1"/>
                      <a:pt x="37" y="1"/>
                    </a:cubicBezTo>
                    <a:cubicBezTo>
                      <a:pt x="37" y="1"/>
                      <a:pt x="36" y="1"/>
                      <a:pt x="36" y="1"/>
                    </a:cubicBezTo>
                    <a:cubicBezTo>
                      <a:pt x="36" y="1"/>
                      <a:pt x="35" y="1"/>
                      <a:pt x="35" y="0"/>
                    </a:cubicBezTo>
                    <a:cubicBezTo>
                      <a:pt x="35" y="0"/>
                      <a:pt x="35" y="2"/>
                      <a:pt x="35" y="2"/>
                    </a:cubicBezTo>
                    <a:cubicBezTo>
                      <a:pt x="35" y="2"/>
                      <a:pt x="35" y="2"/>
                      <a:pt x="35" y="1"/>
                    </a:cubicBezTo>
                    <a:cubicBezTo>
                      <a:pt x="35" y="2"/>
                      <a:pt x="35" y="2"/>
                      <a:pt x="35" y="2"/>
                    </a:cubicBezTo>
                    <a:cubicBezTo>
                      <a:pt x="35" y="2"/>
                      <a:pt x="36" y="2"/>
                      <a:pt x="35" y="2"/>
                    </a:cubicBezTo>
                    <a:cubicBezTo>
                      <a:pt x="35" y="3"/>
                      <a:pt x="34" y="2"/>
                      <a:pt x="34" y="2"/>
                    </a:cubicBezTo>
                    <a:cubicBezTo>
                      <a:pt x="34" y="1"/>
                      <a:pt x="33" y="2"/>
                      <a:pt x="33" y="2"/>
                    </a:cubicBezTo>
                    <a:cubicBezTo>
                      <a:pt x="33" y="3"/>
                      <a:pt x="33" y="3"/>
                      <a:pt x="33" y="4"/>
                    </a:cubicBezTo>
                    <a:cubicBezTo>
                      <a:pt x="33" y="4"/>
                      <a:pt x="33" y="4"/>
                      <a:pt x="34" y="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0" name="Norway">
                <a:extLst>
                  <a:ext uri="{FF2B5EF4-FFF2-40B4-BE49-F238E27FC236}">
                    <a16:creationId xmlns:a16="http://schemas.microsoft.com/office/drawing/2014/main" id="{F98B72F5-5D77-6913-3706-89F54D728F03}"/>
                  </a:ext>
                </a:extLst>
              </p:cNvPr>
              <p:cNvSpPr>
                <a:spLocks noEditPoints="1"/>
              </p:cNvSpPr>
              <p:nvPr/>
            </p:nvSpPr>
            <p:spPr bwMode="auto">
              <a:xfrm>
                <a:off x="5573182" y="1080333"/>
                <a:ext cx="988006" cy="730223"/>
              </a:xfrm>
              <a:custGeom>
                <a:avLst/>
                <a:gdLst/>
                <a:ahLst/>
                <a:cxnLst>
                  <a:cxn ang="0">
                    <a:pos x="137" y="8"/>
                  </a:cxn>
                  <a:cxn ang="0">
                    <a:pos x="156" y="17"/>
                  </a:cxn>
                  <a:cxn ang="0">
                    <a:pos x="158" y="19"/>
                  </a:cxn>
                  <a:cxn ang="0">
                    <a:pos x="157" y="25"/>
                  </a:cxn>
                  <a:cxn ang="0">
                    <a:pos x="185" y="19"/>
                  </a:cxn>
                  <a:cxn ang="0">
                    <a:pos x="179" y="6"/>
                  </a:cxn>
                  <a:cxn ang="0">
                    <a:pos x="150" y="7"/>
                  </a:cxn>
                  <a:cxn ang="0">
                    <a:pos x="206" y="15"/>
                  </a:cxn>
                  <a:cxn ang="0">
                    <a:pos x="199" y="6"/>
                  </a:cxn>
                  <a:cxn ang="0">
                    <a:pos x="223" y="2"/>
                  </a:cxn>
                  <a:cxn ang="0">
                    <a:pos x="206" y="3"/>
                  </a:cxn>
                  <a:cxn ang="0">
                    <a:pos x="181" y="3"/>
                  </a:cxn>
                  <a:cxn ang="0">
                    <a:pos x="100" y="163"/>
                  </a:cxn>
                  <a:cxn ang="0">
                    <a:pos x="222" y="83"/>
                  </a:cxn>
                  <a:cxn ang="0">
                    <a:pos x="217" y="84"/>
                  </a:cxn>
                  <a:cxn ang="0">
                    <a:pos x="189" y="93"/>
                  </a:cxn>
                  <a:cxn ang="0">
                    <a:pos x="180" y="96"/>
                  </a:cxn>
                  <a:cxn ang="0">
                    <a:pos x="168" y="98"/>
                  </a:cxn>
                  <a:cxn ang="0">
                    <a:pos x="174" y="95"/>
                  </a:cxn>
                  <a:cxn ang="0">
                    <a:pos x="170" y="100"/>
                  </a:cxn>
                  <a:cxn ang="0">
                    <a:pos x="142" y="141"/>
                  </a:cxn>
                  <a:cxn ang="0">
                    <a:pos x="214" y="96"/>
                  </a:cxn>
                  <a:cxn ang="0">
                    <a:pos x="162" y="143"/>
                  </a:cxn>
                  <a:cxn ang="0">
                    <a:pos x="143" y="195"/>
                  </a:cxn>
                  <a:cxn ang="0">
                    <a:pos x="134" y="195"/>
                  </a:cxn>
                  <a:cxn ang="0">
                    <a:pos x="117" y="204"/>
                  </a:cxn>
                  <a:cxn ang="0">
                    <a:pos x="98" y="196"/>
                  </a:cxn>
                  <a:cxn ang="0">
                    <a:pos x="98" y="191"/>
                  </a:cxn>
                  <a:cxn ang="0">
                    <a:pos x="100" y="187"/>
                  </a:cxn>
                  <a:cxn ang="0">
                    <a:pos x="98" y="181"/>
                  </a:cxn>
                  <a:cxn ang="0">
                    <a:pos x="94" y="176"/>
                  </a:cxn>
                  <a:cxn ang="0">
                    <a:pos x="108" y="174"/>
                  </a:cxn>
                  <a:cxn ang="0">
                    <a:pos x="97" y="170"/>
                  </a:cxn>
                  <a:cxn ang="0">
                    <a:pos x="96" y="163"/>
                  </a:cxn>
                  <a:cxn ang="0">
                    <a:pos x="104" y="161"/>
                  </a:cxn>
                  <a:cxn ang="0">
                    <a:pos x="113" y="156"/>
                  </a:cxn>
                  <a:cxn ang="0">
                    <a:pos x="122" y="152"/>
                  </a:cxn>
                  <a:cxn ang="0">
                    <a:pos x="142" y="147"/>
                  </a:cxn>
                  <a:cxn ang="0">
                    <a:pos x="132" y="145"/>
                  </a:cxn>
                  <a:cxn ang="0">
                    <a:pos x="143" y="138"/>
                  </a:cxn>
                  <a:cxn ang="0">
                    <a:pos x="150" y="134"/>
                  </a:cxn>
                  <a:cxn ang="0">
                    <a:pos x="151" y="128"/>
                  </a:cxn>
                  <a:cxn ang="0">
                    <a:pos x="156" y="122"/>
                  </a:cxn>
                  <a:cxn ang="0">
                    <a:pos x="168" y="114"/>
                  </a:cxn>
                  <a:cxn ang="0">
                    <a:pos x="173" y="113"/>
                  </a:cxn>
                  <a:cxn ang="0">
                    <a:pos x="169" y="109"/>
                  </a:cxn>
                  <a:cxn ang="0">
                    <a:pos x="179" y="106"/>
                  </a:cxn>
                  <a:cxn ang="0">
                    <a:pos x="179" y="103"/>
                  </a:cxn>
                  <a:cxn ang="0">
                    <a:pos x="195" y="95"/>
                  </a:cxn>
                  <a:cxn ang="0">
                    <a:pos x="207" y="93"/>
                  </a:cxn>
                  <a:cxn ang="0">
                    <a:pos x="212" y="87"/>
                  </a:cxn>
                  <a:cxn ang="0">
                    <a:pos x="224" y="86"/>
                  </a:cxn>
                  <a:cxn ang="0">
                    <a:pos x="241" y="81"/>
                  </a:cxn>
                  <a:cxn ang="0">
                    <a:pos x="248" y="84"/>
                  </a:cxn>
                  <a:cxn ang="0">
                    <a:pos x="254" y="81"/>
                  </a:cxn>
                  <a:cxn ang="0">
                    <a:pos x="273" y="84"/>
                  </a:cxn>
                  <a:cxn ang="0">
                    <a:pos x="274" y="92"/>
                  </a:cxn>
                  <a:cxn ang="0">
                    <a:pos x="146" y="135"/>
                  </a:cxn>
                  <a:cxn ang="0">
                    <a:pos x="201" y="87"/>
                  </a:cxn>
                  <a:cxn ang="0">
                    <a:pos x="117" y="151"/>
                  </a:cxn>
                  <a:cxn ang="0">
                    <a:pos x="98" y="184"/>
                  </a:cxn>
                  <a:cxn ang="0">
                    <a:pos x="164" y="104"/>
                  </a:cxn>
                </a:cxnLst>
                <a:rect l="0" t="0" r="r" b="b"/>
                <a:pathLst>
                  <a:path w="279" h="206">
                    <a:moveTo>
                      <a:pt x="210" y="24"/>
                    </a:moveTo>
                    <a:cubicBezTo>
                      <a:pt x="209" y="24"/>
                      <a:pt x="210" y="24"/>
                      <a:pt x="210" y="24"/>
                    </a:cubicBezTo>
                    <a:cubicBezTo>
                      <a:pt x="211" y="24"/>
                      <a:pt x="211" y="23"/>
                      <a:pt x="212" y="23"/>
                    </a:cubicBezTo>
                    <a:cubicBezTo>
                      <a:pt x="211" y="23"/>
                      <a:pt x="211" y="23"/>
                      <a:pt x="210" y="23"/>
                    </a:cubicBezTo>
                    <a:cubicBezTo>
                      <a:pt x="210" y="23"/>
                      <a:pt x="210" y="23"/>
                      <a:pt x="211" y="23"/>
                    </a:cubicBezTo>
                    <a:cubicBezTo>
                      <a:pt x="210" y="23"/>
                      <a:pt x="209" y="23"/>
                      <a:pt x="208" y="23"/>
                    </a:cubicBezTo>
                    <a:cubicBezTo>
                      <a:pt x="208" y="24"/>
                      <a:pt x="206" y="23"/>
                      <a:pt x="205" y="23"/>
                    </a:cubicBezTo>
                    <a:cubicBezTo>
                      <a:pt x="204" y="23"/>
                      <a:pt x="203" y="24"/>
                      <a:pt x="202" y="24"/>
                    </a:cubicBezTo>
                    <a:cubicBezTo>
                      <a:pt x="202" y="24"/>
                      <a:pt x="201" y="24"/>
                      <a:pt x="200" y="24"/>
                    </a:cubicBezTo>
                    <a:cubicBezTo>
                      <a:pt x="200" y="24"/>
                      <a:pt x="199" y="24"/>
                      <a:pt x="200" y="23"/>
                    </a:cubicBezTo>
                    <a:cubicBezTo>
                      <a:pt x="200" y="23"/>
                      <a:pt x="200" y="23"/>
                      <a:pt x="199" y="23"/>
                    </a:cubicBezTo>
                    <a:cubicBezTo>
                      <a:pt x="200" y="23"/>
                      <a:pt x="201" y="23"/>
                      <a:pt x="201" y="23"/>
                    </a:cubicBezTo>
                    <a:cubicBezTo>
                      <a:pt x="202" y="23"/>
                      <a:pt x="202" y="22"/>
                      <a:pt x="202" y="22"/>
                    </a:cubicBezTo>
                    <a:cubicBezTo>
                      <a:pt x="202" y="21"/>
                      <a:pt x="203" y="21"/>
                      <a:pt x="203" y="20"/>
                    </a:cubicBezTo>
                    <a:cubicBezTo>
                      <a:pt x="204" y="20"/>
                      <a:pt x="203" y="20"/>
                      <a:pt x="204" y="20"/>
                    </a:cubicBezTo>
                    <a:cubicBezTo>
                      <a:pt x="203" y="19"/>
                      <a:pt x="202" y="19"/>
                      <a:pt x="201" y="19"/>
                    </a:cubicBezTo>
                    <a:cubicBezTo>
                      <a:pt x="200" y="19"/>
                      <a:pt x="198" y="19"/>
                      <a:pt x="200" y="18"/>
                    </a:cubicBezTo>
                    <a:cubicBezTo>
                      <a:pt x="201" y="18"/>
                      <a:pt x="202" y="18"/>
                      <a:pt x="203" y="18"/>
                    </a:cubicBezTo>
                    <a:cubicBezTo>
                      <a:pt x="205" y="17"/>
                      <a:pt x="207" y="18"/>
                      <a:pt x="209" y="17"/>
                    </a:cubicBezTo>
                    <a:cubicBezTo>
                      <a:pt x="211" y="17"/>
                      <a:pt x="213" y="17"/>
                      <a:pt x="215" y="18"/>
                    </a:cubicBezTo>
                    <a:cubicBezTo>
                      <a:pt x="215" y="18"/>
                      <a:pt x="214" y="18"/>
                      <a:pt x="213" y="19"/>
                    </a:cubicBezTo>
                    <a:cubicBezTo>
                      <a:pt x="213" y="19"/>
                      <a:pt x="213" y="19"/>
                      <a:pt x="213" y="19"/>
                    </a:cubicBezTo>
                    <a:cubicBezTo>
                      <a:pt x="214" y="20"/>
                      <a:pt x="214" y="20"/>
                      <a:pt x="215" y="20"/>
                    </a:cubicBezTo>
                    <a:cubicBezTo>
                      <a:pt x="215" y="20"/>
                      <a:pt x="216" y="20"/>
                      <a:pt x="217" y="20"/>
                    </a:cubicBezTo>
                    <a:cubicBezTo>
                      <a:pt x="218" y="21"/>
                      <a:pt x="220" y="20"/>
                      <a:pt x="221" y="20"/>
                    </a:cubicBezTo>
                    <a:cubicBezTo>
                      <a:pt x="222" y="20"/>
                      <a:pt x="224" y="21"/>
                      <a:pt x="225" y="21"/>
                    </a:cubicBezTo>
                    <a:cubicBezTo>
                      <a:pt x="224" y="22"/>
                      <a:pt x="223" y="22"/>
                      <a:pt x="222" y="22"/>
                    </a:cubicBezTo>
                    <a:cubicBezTo>
                      <a:pt x="220" y="22"/>
                      <a:pt x="220" y="22"/>
                      <a:pt x="219" y="23"/>
                    </a:cubicBezTo>
                    <a:cubicBezTo>
                      <a:pt x="218" y="24"/>
                      <a:pt x="217" y="24"/>
                      <a:pt x="216" y="24"/>
                    </a:cubicBezTo>
                    <a:cubicBezTo>
                      <a:pt x="215" y="24"/>
                      <a:pt x="214" y="24"/>
                      <a:pt x="213" y="25"/>
                    </a:cubicBezTo>
                    <a:cubicBezTo>
                      <a:pt x="213" y="25"/>
                      <a:pt x="213" y="25"/>
                      <a:pt x="212" y="25"/>
                    </a:cubicBezTo>
                    <a:cubicBezTo>
                      <a:pt x="212" y="25"/>
                      <a:pt x="212" y="25"/>
                      <a:pt x="211" y="25"/>
                    </a:cubicBezTo>
                    <a:cubicBezTo>
                      <a:pt x="211" y="25"/>
                      <a:pt x="209" y="25"/>
                      <a:pt x="210" y="25"/>
                    </a:cubicBezTo>
                    <a:cubicBezTo>
                      <a:pt x="210" y="25"/>
                      <a:pt x="211" y="24"/>
                      <a:pt x="210" y="24"/>
                    </a:cubicBezTo>
                    <a:close/>
                    <a:moveTo>
                      <a:pt x="137" y="8"/>
                    </a:moveTo>
                    <a:cubicBezTo>
                      <a:pt x="137" y="8"/>
                      <a:pt x="137" y="8"/>
                      <a:pt x="137" y="9"/>
                    </a:cubicBezTo>
                    <a:cubicBezTo>
                      <a:pt x="137" y="9"/>
                      <a:pt x="138" y="9"/>
                      <a:pt x="139" y="10"/>
                    </a:cubicBezTo>
                    <a:cubicBezTo>
                      <a:pt x="139" y="10"/>
                      <a:pt x="139" y="11"/>
                      <a:pt x="139" y="11"/>
                    </a:cubicBezTo>
                    <a:cubicBezTo>
                      <a:pt x="140" y="11"/>
                      <a:pt x="141" y="10"/>
                      <a:pt x="142" y="10"/>
                    </a:cubicBezTo>
                    <a:cubicBezTo>
                      <a:pt x="142" y="10"/>
                      <a:pt x="141" y="9"/>
                      <a:pt x="141" y="9"/>
                    </a:cubicBezTo>
                    <a:cubicBezTo>
                      <a:pt x="142" y="9"/>
                      <a:pt x="142" y="9"/>
                      <a:pt x="142" y="9"/>
                    </a:cubicBezTo>
                    <a:cubicBezTo>
                      <a:pt x="143" y="10"/>
                      <a:pt x="143" y="10"/>
                      <a:pt x="143" y="9"/>
                    </a:cubicBezTo>
                    <a:cubicBezTo>
                      <a:pt x="143" y="9"/>
                      <a:pt x="145" y="9"/>
                      <a:pt x="144" y="10"/>
                    </a:cubicBezTo>
                    <a:cubicBezTo>
                      <a:pt x="144" y="10"/>
                      <a:pt x="144" y="10"/>
                      <a:pt x="144" y="10"/>
                    </a:cubicBezTo>
                    <a:cubicBezTo>
                      <a:pt x="144" y="10"/>
                      <a:pt x="143" y="10"/>
                      <a:pt x="143" y="10"/>
                    </a:cubicBezTo>
                    <a:cubicBezTo>
                      <a:pt x="143" y="10"/>
                      <a:pt x="142" y="11"/>
                      <a:pt x="142" y="11"/>
                    </a:cubicBezTo>
                    <a:cubicBezTo>
                      <a:pt x="142" y="11"/>
                      <a:pt x="144" y="11"/>
                      <a:pt x="143" y="11"/>
                    </a:cubicBezTo>
                    <a:cubicBezTo>
                      <a:pt x="144" y="12"/>
                      <a:pt x="145" y="11"/>
                      <a:pt x="146" y="11"/>
                    </a:cubicBezTo>
                    <a:cubicBezTo>
                      <a:pt x="146" y="12"/>
                      <a:pt x="146" y="12"/>
                      <a:pt x="146" y="12"/>
                    </a:cubicBezTo>
                    <a:cubicBezTo>
                      <a:pt x="145" y="12"/>
                      <a:pt x="145" y="12"/>
                      <a:pt x="144" y="12"/>
                    </a:cubicBezTo>
                    <a:cubicBezTo>
                      <a:pt x="143" y="12"/>
                      <a:pt x="140" y="11"/>
                      <a:pt x="138" y="11"/>
                    </a:cubicBezTo>
                    <a:cubicBezTo>
                      <a:pt x="139" y="12"/>
                      <a:pt x="140" y="12"/>
                      <a:pt x="140" y="12"/>
                    </a:cubicBezTo>
                    <a:cubicBezTo>
                      <a:pt x="141" y="12"/>
                      <a:pt x="141" y="12"/>
                      <a:pt x="142" y="13"/>
                    </a:cubicBezTo>
                    <a:cubicBezTo>
                      <a:pt x="141" y="13"/>
                      <a:pt x="140" y="12"/>
                      <a:pt x="140" y="13"/>
                    </a:cubicBezTo>
                    <a:cubicBezTo>
                      <a:pt x="140" y="13"/>
                      <a:pt x="141" y="13"/>
                      <a:pt x="141" y="13"/>
                    </a:cubicBezTo>
                    <a:cubicBezTo>
                      <a:pt x="141" y="14"/>
                      <a:pt x="142" y="14"/>
                      <a:pt x="142" y="14"/>
                    </a:cubicBezTo>
                    <a:cubicBezTo>
                      <a:pt x="142" y="14"/>
                      <a:pt x="143" y="15"/>
                      <a:pt x="143" y="15"/>
                    </a:cubicBezTo>
                    <a:cubicBezTo>
                      <a:pt x="145" y="15"/>
                      <a:pt x="146" y="15"/>
                      <a:pt x="147" y="15"/>
                    </a:cubicBezTo>
                    <a:cubicBezTo>
                      <a:pt x="148" y="15"/>
                      <a:pt x="149" y="15"/>
                      <a:pt x="150" y="15"/>
                    </a:cubicBezTo>
                    <a:cubicBezTo>
                      <a:pt x="148" y="16"/>
                      <a:pt x="146" y="15"/>
                      <a:pt x="145" y="15"/>
                    </a:cubicBezTo>
                    <a:cubicBezTo>
                      <a:pt x="145" y="16"/>
                      <a:pt x="146" y="16"/>
                      <a:pt x="147" y="16"/>
                    </a:cubicBezTo>
                    <a:cubicBezTo>
                      <a:pt x="148" y="16"/>
                      <a:pt x="148" y="17"/>
                      <a:pt x="148" y="17"/>
                    </a:cubicBezTo>
                    <a:cubicBezTo>
                      <a:pt x="148" y="17"/>
                      <a:pt x="148" y="17"/>
                      <a:pt x="148" y="18"/>
                    </a:cubicBezTo>
                    <a:cubicBezTo>
                      <a:pt x="149" y="18"/>
                      <a:pt x="150" y="18"/>
                      <a:pt x="150" y="18"/>
                    </a:cubicBezTo>
                    <a:cubicBezTo>
                      <a:pt x="151" y="18"/>
                      <a:pt x="151" y="18"/>
                      <a:pt x="151" y="18"/>
                    </a:cubicBezTo>
                    <a:cubicBezTo>
                      <a:pt x="152" y="18"/>
                      <a:pt x="153" y="18"/>
                      <a:pt x="154" y="18"/>
                    </a:cubicBezTo>
                    <a:cubicBezTo>
                      <a:pt x="154" y="17"/>
                      <a:pt x="154" y="17"/>
                      <a:pt x="154" y="17"/>
                    </a:cubicBezTo>
                    <a:cubicBezTo>
                      <a:pt x="154" y="17"/>
                      <a:pt x="155" y="18"/>
                      <a:pt x="155" y="17"/>
                    </a:cubicBezTo>
                    <a:cubicBezTo>
                      <a:pt x="155" y="17"/>
                      <a:pt x="155" y="17"/>
                      <a:pt x="156" y="17"/>
                    </a:cubicBezTo>
                    <a:cubicBezTo>
                      <a:pt x="156" y="17"/>
                      <a:pt x="156" y="17"/>
                      <a:pt x="156" y="17"/>
                    </a:cubicBezTo>
                    <a:cubicBezTo>
                      <a:pt x="156" y="17"/>
                      <a:pt x="156" y="17"/>
                      <a:pt x="157" y="17"/>
                    </a:cubicBezTo>
                    <a:cubicBezTo>
                      <a:pt x="157" y="17"/>
                      <a:pt x="157" y="17"/>
                      <a:pt x="157" y="17"/>
                    </a:cubicBezTo>
                    <a:cubicBezTo>
                      <a:pt x="157" y="16"/>
                      <a:pt x="157" y="16"/>
                      <a:pt x="157" y="16"/>
                    </a:cubicBezTo>
                    <a:cubicBezTo>
                      <a:pt x="157" y="16"/>
                      <a:pt x="158" y="16"/>
                      <a:pt x="158" y="16"/>
                    </a:cubicBezTo>
                    <a:cubicBezTo>
                      <a:pt x="158" y="16"/>
                      <a:pt x="159" y="16"/>
                      <a:pt x="159" y="16"/>
                    </a:cubicBezTo>
                    <a:cubicBezTo>
                      <a:pt x="161" y="16"/>
                      <a:pt x="159" y="16"/>
                      <a:pt x="158" y="16"/>
                    </a:cubicBezTo>
                    <a:cubicBezTo>
                      <a:pt x="157" y="15"/>
                      <a:pt x="159" y="15"/>
                      <a:pt x="159" y="15"/>
                    </a:cubicBezTo>
                    <a:cubicBezTo>
                      <a:pt x="158" y="15"/>
                      <a:pt x="159" y="14"/>
                      <a:pt x="158" y="14"/>
                    </a:cubicBezTo>
                    <a:cubicBezTo>
                      <a:pt x="159" y="14"/>
                      <a:pt x="160" y="13"/>
                      <a:pt x="160" y="14"/>
                    </a:cubicBezTo>
                    <a:cubicBezTo>
                      <a:pt x="160" y="14"/>
                      <a:pt x="160" y="14"/>
                      <a:pt x="160" y="14"/>
                    </a:cubicBezTo>
                    <a:cubicBezTo>
                      <a:pt x="161" y="14"/>
                      <a:pt x="161" y="15"/>
                      <a:pt x="162" y="14"/>
                    </a:cubicBezTo>
                    <a:cubicBezTo>
                      <a:pt x="162" y="14"/>
                      <a:pt x="163" y="14"/>
                      <a:pt x="163" y="14"/>
                    </a:cubicBezTo>
                    <a:cubicBezTo>
                      <a:pt x="163" y="14"/>
                      <a:pt x="163" y="13"/>
                      <a:pt x="164" y="13"/>
                    </a:cubicBezTo>
                    <a:cubicBezTo>
                      <a:pt x="164" y="13"/>
                      <a:pt x="165" y="13"/>
                      <a:pt x="164" y="13"/>
                    </a:cubicBezTo>
                    <a:cubicBezTo>
                      <a:pt x="165" y="13"/>
                      <a:pt x="165" y="14"/>
                      <a:pt x="164" y="14"/>
                    </a:cubicBezTo>
                    <a:cubicBezTo>
                      <a:pt x="164" y="15"/>
                      <a:pt x="163" y="14"/>
                      <a:pt x="163" y="15"/>
                    </a:cubicBezTo>
                    <a:cubicBezTo>
                      <a:pt x="163" y="15"/>
                      <a:pt x="163" y="15"/>
                      <a:pt x="163" y="15"/>
                    </a:cubicBezTo>
                    <a:cubicBezTo>
                      <a:pt x="164" y="15"/>
                      <a:pt x="164" y="16"/>
                      <a:pt x="164" y="16"/>
                    </a:cubicBezTo>
                    <a:cubicBezTo>
                      <a:pt x="165" y="16"/>
                      <a:pt x="166" y="16"/>
                      <a:pt x="167" y="16"/>
                    </a:cubicBezTo>
                    <a:cubicBezTo>
                      <a:pt x="168" y="16"/>
                      <a:pt x="168" y="15"/>
                      <a:pt x="169" y="15"/>
                    </a:cubicBezTo>
                    <a:cubicBezTo>
                      <a:pt x="170" y="15"/>
                      <a:pt x="170" y="15"/>
                      <a:pt x="170" y="14"/>
                    </a:cubicBezTo>
                    <a:cubicBezTo>
                      <a:pt x="171" y="14"/>
                      <a:pt x="171" y="13"/>
                      <a:pt x="172" y="14"/>
                    </a:cubicBezTo>
                    <a:cubicBezTo>
                      <a:pt x="172" y="14"/>
                      <a:pt x="173" y="14"/>
                      <a:pt x="173" y="14"/>
                    </a:cubicBezTo>
                    <a:cubicBezTo>
                      <a:pt x="172" y="15"/>
                      <a:pt x="172" y="15"/>
                      <a:pt x="171" y="15"/>
                    </a:cubicBezTo>
                    <a:cubicBezTo>
                      <a:pt x="171" y="15"/>
                      <a:pt x="170" y="16"/>
                      <a:pt x="170" y="16"/>
                    </a:cubicBezTo>
                    <a:cubicBezTo>
                      <a:pt x="171" y="16"/>
                      <a:pt x="171" y="16"/>
                      <a:pt x="172" y="16"/>
                    </a:cubicBezTo>
                    <a:cubicBezTo>
                      <a:pt x="172" y="16"/>
                      <a:pt x="173" y="16"/>
                      <a:pt x="174" y="16"/>
                    </a:cubicBezTo>
                    <a:cubicBezTo>
                      <a:pt x="174" y="16"/>
                      <a:pt x="175" y="16"/>
                      <a:pt x="176" y="16"/>
                    </a:cubicBezTo>
                    <a:cubicBezTo>
                      <a:pt x="175" y="17"/>
                      <a:pt x="172" y="17"/>
                      <a:pt x="171" y="17"/>
                    </a:cubicBezTo>
                    <a:cubicBezTo>
                      <a:pt x="169" y="16"/>
                      <a:pt x="167" y="16"/>
                      <a:pt x="166" y="17"/>
                    </a:cubicBezTo>
                    <a:cubicBezTo>
                      <a:pt x="166" y="17"/>
                      <a:pt x="166" y="17"/>
                      <a:pt x="166" y="17"/>
                    </a:cubicBezTo>
                    <a:cubicBezTo>
                      <a:pt x="166" y="18"/>
                      <a:pt x="164" y="17"/>
                      <a:pt x="164" y="18"/>
                    </a:cubicBezTo>
                    <a:cubicBezTo>
                      <a:pt x="163" y="18"/>
                      <a:pt x="162" y="18"/>
                      <a:pt x="162" y="18"/>
                    </a:cubicBezTo>
                    <a:cubicBezTo>
                      <a:pt x="161" y="19"/>
                      <a:pt x="161" y="18"/>
                      <a:pt x="160" y="18"/>
                    </a:cubicBezTo>
                    <a:cubicBezTo>
                      <a:pt x="159" y="18"/>
                      <a:pt x="159" y="19"/>
                      <a:pt x="158" y="19"/>
                    </a:cubicBezTo>
                    <a:cubicBezTo>
                      <a:pt x="158" y="19"/>
                      <a:pt x="156" y="19"/>
                      <a:pt x="157" y="19"/>
                    </a:cubicBezTo>
                    <a:cubicBezTo>
                      <a:pt x="157" y="19"/>
                      <a:pt x="158" y="20"/>
                      <a:pt x="157" y="20"/>
                    </a:cubicBezTo>
                    <a:cubicBezTo>
                      <a:pt x="157" y="20"/>
                      <a:pt x="157" y="19"/>
                      <a:pt x="156" y="19"/>
                    </a:cubicBezTo>
                    <a:cubicBezTo>
                      <a:pt x="155" y="18"/>
                      <a:pt x="154" y="19"/>
                      <a:pt x="153" y="19"/>
                    </a:cubicBezTo>
                    <a:cubicBezTo>
                      <a:pt x="153" y="19"/>
                      <a:pt x="153" y="20"/>
                      <a:pt x="153" y="20"/>
                    </a:cubicBezTo>
                    <a:cubicBezTo>
                      <a:pt x="153" y="21"/>
                      <a:pt x="154" y="21"/>
                      <a:pt x="154" y="21"/>
                    </a:cubicBezTo>
                    <a:cubicBezTo>
                      <a:pt x="153" y="22"/>
                      <a:pt x="155" y="22"/>
                      <a:pt x="156" y="21"/>
                    </a:cubicBezTo>
                    <a:cubicBezTo>
                      <a:pt x="157" y="21"/>
                      <a:pt x="158" y="21"/>
                      <a:pt x="159" y="21"/>
                    </a:cubicBezTo>
                    <a:cubicBezTo>
                      <a:pt x="159" y="21"/>
                      <a:pt x="159" y="21"/>
                      <a:pt x="159" y="21"/>
                    </a:cubicBezTo>
                    <a:cubicBezTo>
                      <a:pt x="159" y="21"/>
                      <a:pt x="160" y="21"/>
                      <a:pt x="161" y="21"/>
                    </a:cubicBezTo>
                    <a:cubicBezTo>
                      <a:pt x="161" y="21"/>
                      <a:pt x="162" y="21"/>
                      <a:pt x="163" y="21"/>
                    </a:cubicBezTo>
                    <a:cubicBezTo>
                      <a:pt x="164" y="21"/>
                      <a:pt x="165" y="20"/>
                      <a:pt x="167" y="21"/>
                    </a:cubicBezTo>
                    <a:cubicBezTo>
                      <a:pt x="168" y="21"/>
                      <a:pt x="170" y="21"/>
                      <a:pt x="171" y="20"/>
                    </a:cubicBezTo>
                    <a:cubicBezTo>
                      <a:pt x="172" y="20"/>
                      <a:pt x="174" y="20"/>
                      <a:pt x="175" y="20"/>
                    </a:cubicBezTo>
                    <a:cubicBezTo>
                      <a:pt x="175" y="20"/>
                      <a:pt x="175" y="20"/>
                      <a:pt x="175" y="20"/>
                    </a:cubicBezTo>
                    <a:cubicBezTo>
                      <a:pt x="175" y="20"/>
                      <a:pt x="175" y="20"/>
                      <a:pt x="175" y="20"/>
                    </a:cubicBezTo>
                    <a:cubicBezTo>
                      <a:pt x="174" y="20"/>
                      <a:pt x="173" y="20"/>
                      <a:pt x="173" y="20"/>
                    </a:cubicBezTo>
                    <a:cubicBezTo>
                      <a:pt x="173" y="21"/>
                      <a:pt x="175" y="21"/>
                      <a:pt x="176" y="21"/>
                    </a:cubicBezTo>
                    <a:cubicBezTo>
                      <a:pt x="174" y="21"/>
                      <a:pt x="173" y="21"/>
                      <a:pt x="172" y="21"/>
                    </a:cubicBezTo>
                    <a:cubicBezTo>
                      <a:pt x="170" y="21"/>
                      <a:pt x="169" y="21"/>
                      <a:pt x="168" y="21"/>
                    </a:cubicBezTo>
                    <a:cubicBezTo>
                      <a:pt x="166" y="21"/>
                      <a:pt x="165" y="21"/>
                      <a:pt x="164" y="22"/>
                    </a:cubicBezTo>
                    <a:cubicBezTo>
                      <a:pt x="163" y="22"/>
                      <a:pt x="161" y="22"/>
                      <a:pt x="160" y="22"/>
                    </a:cubicBezTo>
                    <a:cubicBezTo>
                      <a:pt x="162" y="23"/>
                      <a:pt x="164" y="23"/>
                      <a:pt x="166" y="23"/>
                    </a:cubicBezTo>
                    <a:cubicBezTo>
                      <a:pt x="167" y="23"/>
                      <a:pt x="169" y="23"/>
                      <a:pt x="170" y="24"/>
                    </a:cubicBezTo>
                    <a:cubicBezTo>
                      <a:pt x="170" y="24"/>
                      <a:pt x="170" y="24"/>
                      <a:pt x="169" y="24"/>
                    </a:cubicBezTo>
                    <a:cubicBezTo>
                      <a:pt x="169" y="24"/>
                      <a:pt x="168" y="23"/>
                      <a:pt x="168" y="23"/>
                    </a:cubicBezTo>
                    <a:cubicBezTo>
                      <a:pt x="167" y="23"/>
                      <a:pt x="165" y="23"/>
                      <a:pt x="164" y="23"/>
                    </a:cubicBezTo>
                    <a:cubicBezTo>
                      <a:pt x="163" y="23"/>
                      <a:pt x="161" y="23"/>
                      <a:pt x="161" y="23"/>
                    </a:cubicBezTo>
                    <a:cubicBezTo>
                      <a:pt x="160" y="23"/>
                      <a:pt x="160" y="24"/>
                      <a:pt x="159" y="23"/>
                    </a:cubicBezTo>
                    <a:cubicBezTo>
                      <a:pt x="160" y="23"/>
                      <a:pt x="159" y="23"/>
                      <a:pt x="159" y="23"/>
                    </a:cubicBezTo>
                    <a:cubicBezTo>
                      <a:pt x="158" y="23"/>
                      <a:pt x="157" y="23"/>
                      <a:pt x="156" y="23"/>
                    </a:cubicBezTo>
                    <a:cubicBezTo>
                      <a:pt x="156" y="23"/>
                      <a:pt x="155" y="23"/>
                      <a:pt x="155" y="23"/>
                    </a:cubicBezTo>
                    <a:cubicBezTo>
                      <a:pt x="155" y="24"/>
                      <a:pt x="156" y="24"/>
                      <a:pt x="156" y="24"/>
                    </a:cubicBezTo>
                    <a:cubicBezTo>
                      <a:pt x="155" y="24"/>
                      <a:pt x="155" y="24"/>
                      <a:pt x="156" y="24"/>
                    </a:cubicBezTo>
                    <a:cubicBezTo>
                      <a:pt x="156" y="24"/>
                      <a:pt x="156" y="24"/>
                      <a:pt x="157" y="25"/>
                    </a:cubicBezTo>
                    <a:cubicBezTo>
                      <a:pt x="157" y="25"/>
                      <a:pt x="157" y="25"/>
                      <a:pt x="157" y="25"/>
                    </a:cubicBezTo>
                    <a:cubicBezTo>
                      <a:pt x="158" y="25"/>
                      <a:pt x="158" y="25"/>
                      <a:pt x="158" y="26"/>
                    </a:cubicBezTo>
                    <a:cubicBezTo>
                      <a:pt x="158" y="26"/>
                      <a:pt x="159" y="26"/>
                      <a:pt x="160" y="26"/>
                    </a:cubicBezTo>
                    <a:cubicBezTo>
                      <a:pt x="160" y="26"/>
                      <a:pt x="161" y="26"/>
                      <a:pt x="162" y="26"/>
                    </a:cubicBezTo>
                    <a:cubicBezTo>
                      <a:pt x="163" y="26"/>
                      <a:pt x="163" y="27"/>
                      <a:pt x="164" y="27"/>
                    </a:cubicBezTo>
                    <a:cubicBezTo>
                      <a:pt x="165" y="28"/>
                      <a:pt x="167" y="28"/>
                      <a:pt x="168" y="27"/>
                    </a:cubicBezTo>
                    <a:cubicBezTo>
                      <a:pt x="168" y="27"/>
                      <a:pt x="168" y="27"/>
                      <a:pt x="168" y="27"/>
                    </a:cubicBezTo>
                    <a:cubicBezTo>
                      <a:pt x="168" y="26"/>
                      <a:pt x="169" y="27"/>
                      <a:pt x="170" y="27"/>
                    </a:cubicBezTo>
                    <a:cubicBezTo>
                      <a:pt x="171" y="28"/>
                      <a:pt x="171" y="27"/>
                      <a:pt x="172" y="27"/>
                    </a:cubicBezTo>
                    <a:cubicBezTo>
                      <a:pt x="172" y="28"/>
                      <a:pt x="171" y="28"/>
                      <a:pt x="171" y="28"/>
                    </a:cubicBezTo>
                    <a:cubicBezTo>
                      <a:pt x="171" y="28"/>
                      <a:pt x="171" y="28"/>
                      <a:pt x="171" y="28"/>
                    </a:cubicBezTo>
                    <a:cubicBezTo>
                      <a:pt x="170" y="28"/>
                      <a:pt x="170" y="28"/>
                      <a:pt x="169" y="28"/>
                    </a:cubicBezTo>
                    <a:cubicBezTo>
                      <a:pt x="169" y="28"/>
                      <a:pt x="166" y="28"/>
                      <a:pt x="166" y="28"/>
                    </a:cubicBezTo>
                    <a:cubicBezTo>
                      <a:pt x="166" y="28"/>
                      <a:pt x="168" y="29"/>
                      <a:pt x="168" y="29"/>
                    </a:cubicBezTo>
                    <a:cubicBezTo>
                      <a:pt x="169" y="30"/>
                      <a:pt x="170" y="29"/>
                      <a:pt x="171" y="30"/>
                    </a:cubicBezTo>
                    <a:cubicBezTo>
                      <a:pt x="171" y="30"/>
                      <a:pt x="171" y="31"/>
                      <a:pt x="171" y="31"/>
                    </a:cubicBezTo>
                    <a:cubicBezTo>
                      <a:pt x="171" y="31"/>
                      <a:pt x="172" y="31"/>
                      <a:pt x="172" y="31"/>
                    </a:cubicBezTo>
                    <a:cubicBezTo>
                      <a:pt x="172" y="31"/>
                      <a:pt x="173" y="31"/>
                      <a:pt x="173" y="31"/>
                    </a:cubicBezTo>
                    <a:cubicBezTo>
                      <a:pt x="174" y="31"/>
                      <a:pt x="174" y="31"/>
                      <a:pt x="175" y="31"/>
                    </a:cubicBezTo>
                    <a:cubicBezTo>
                      <a:pt x="176" y="31"/>
                      <a:pt x="176" y="31"/>
                      <a:pt x="176" y="31"/>
                    </a:cubicBezTo>
                    <a:cubicBezTo>
                      <a:pt x="176" y="30"/>
                      <a:pt x="176" y="30"/>
                      <a:pt x="176" y="30"/>
                    </a:cubicBezTo>
                    <a:cubicBezTo>
                      <a:pt x="178" y="30"/>
                      <a:pt x="175" y="29"/>
                      <a:pt x="175" y="29"/>
                    </a:cubicBezTo>
                    <a:cubicBezTo>
                      <a:pt x="175" y="29"/>
                      <a:pt x="176" y="28"/>
                      <a:pt x="177" y="28"/>
                    </a:cubicBezTo>
                    <a:cubicBezTo>
                      <a:pt x="178" y="28"/>
                      <a:pt x="177" y="28"/>
                      <a:pt x="176" y="27"/>
                    </a:cubicBezTo>
                    <a:cubicBezTo>
                      <a:pt x="177" y="27"/>
                      <a:pt x="177" y="27"/>
                      <a:pt x="178" y="27"/>
                    </a:cubicBezTo>
                    <a:cubicBezTo>
                      <a:pt x="178" y="26"/>
                      <a:pt x="178" y="26"/>
                      <a:pt x="178" y="26"/>
                    </a:cubicBezTo>
                    <a:cubicBezTo>
                      <a:pt x="178" y="25"/>
                      <a:pt x="178" y="26"/>
                      <a:pt x="178" y="25"/>
                    </a:cubicBezTo>
                    <a:cubicBezTo>
                      <a:pt x="178" y="25"/>
                      <a:pt x="179" y="25"/>
                      <a:pt x="179" y="24"/>
                    </a:cubicBezTo>
                    <a:cubicBezTo>
                      <a:pt x="179" y="23"/>
                      <a:pt x="180" y="23"/>
                      <a:pt x="181" y="23"/>
                    </a:cubicBezTo>
                    <a:cubicBezTo>
                      <a:pt x="182" y="23"/>
                      <a:pt x="182" y="24"/>
                      <a:pt x="183" y="23"/>
                    </a:cubicBezTo>
                    <a:cubicBezTo>
                      <a:pt x="184" y="23"/>
                      <a:pt x="183" y="23"/>
                      <a:pt x="183" y="23"/>
                    </a:cubicBezTo>
                    <a:cubicBezTo>
                      <a:pt x="183" y="22"/>
                      <a:pt x="184" y="21"/>
                      <a:pt x="184" y="21"/>
                    </a:cubicBezTo>
                    <a:cubicBezTo>
                      <a:pt x="184" y="21"/>
                      <a:pt x="184" y="21"/>
                      <a:pt x="183" y="20"/>
                    </a:cubicBezTo>
                    <a:cubicBezTo>
                      <a:pt x="183" y="20"/>
                      <a:pt x="184" y="20"/>
                      <a:pt x="184" y="19"/>
                    </a:cubicBezTo>
                    <a:cubicBezTo>
                      <a:pt x="183" y="19"/>
                      <a:pt x="184" y="19"/>
                      <a:pt x="185" y="19"/>
                    </a:cubicBezTo>
                    <a:cubicBezTo>
                      <a:pt x="185" y="19"/>
                      <a:pt x="186" y="19"/>
                      <a:pt x="187" y="19"/>
                    </a:cubicBezTo>
                    <a:cubicBezTo>
                      <a:pt x="189" y="18"/>
                      <a:pt x="186" y="18"/>
                      <a:pt x="187" y="18"/>
                    </a:cubicBezTo>
                    <a:cubicBezTo>
                      <a:pt x="187" y="18"/>
                      <a:pt x="187" y="18"/>
                      <a:pt x="188" y="18"/>
                    </a:cubicBezTo>
                    <a:cubicBezTo>
                      <a:pt x="188" y="17"/>
                      <a:pt x="187" y="17"/>
                      <a:pt x="187" y="17"/>
                    </a:cubicBezTo>
                    <a:cubicBezTo>
                      <a:pt x="187" y="17"/>
                      <a:pt x="187" y="17"/>
                      <a:pt x="187" y="17"/>
                    </a:cubicBezTo>
                    <a:cubicBezTo>
                      <a:pt x="188" y="16"/>
                      <a:pt x="187" y="16"/>
                      <a:pt x="187" y="16"/>
                    </a:cubicBezTo>
                    <a:cubicBezTo>
                      <a:pt x="188" y="15"/>
                      <a:pt x="190" y="16"/>
                      <a:pt x="191" y="15"/>
                    </a:cubicBezTo>
                    <a:cubicBezTo>
                      <a:pt x="191" y="15"/>
                      <a:pt x="190" y="14"/>
                      <a:pt x="191" y="14"/>
                    </a:cubicBezTo>
                    <a:cubicBezTo>
                      <a:pt x="192" y="14"/>
                      <a:pt x="193" y="15"/>
                      <a:pt x="193" y="14"/>
                    </a:cubicBezTo>
                    <a:cubicBezTo>
                      <a:pt x="194" y="14"/>
                      <a:pt x="195" y="14"/>
                      <a:pt x="197" y="14"/>
                    </a:cubicBezTo>
                    <a:cubicBezTo>
                      <a:pt x="197" y="14"/>
                      <a:pt x="197" y="14"/>
                      <a:pt x="198" y="14"/>
                    </a:cubicBezTo>
                    <a:cubicBezTo>
                      <a:pt x="199" y="14"/>
                      <a:pt x="200" y="14"/>
                      <a:pt x="201" y="14"/>
                    </a:cubicBezTo>
                    <a:cubicBezTo>
                      <a:pt x="201" y="14"/>
                      <a:pt x="202" y="14"/>
                      <a:pt x="201" y="14"/>
                    </a:cubicBezTo>
                    <a:cubicBezTo>
                      <a:pt x="202" y="13"/>
                      <a:pt x="202" y="13"/>
                      <a:pt x="202" y="13"/>
                    </a:cubicBezTo>
                    <a:cubicBezTo>
                      <a:pt x="202" y="12"/>
                      <a:pt x="200" y="12"/>
                      <a:pt x="199" y="12"/>
                    </a:cubicBezTo>
                    <a:cubicBezTo>
                      <a:pt x="198" y="12"/>
                      <a:pt x="197" y="12"/>
                      <a:pt x="195" y="12"/>
                    </a:cubicBezTo>
                    <a:cubicBezTo>
                      <a:pt x="194" y="11"/>
                      <a:pt x="193" y="12"/>
                      <a:pt x="192" y="11"/>
                    </a:cubicBezTo>
                    <a:cubicBezTo>
                      <a:pt x="192" y="11"/>
                      <a:pt x="192" y="11"/>
                      <a:pt x="192" y="11"/>
                    </a:cubicBezTo>
                    <a:cubicBezTo>
                      <a:pt x="192" y="11"/>
                      <a:pt x="191" y="10"/>
                      <a:pt x="191" y="10"/>
                    </a:cubicBezTo>
                    <a:cubicBezTo>
                      <a:pt x="191" y="10"/>
                      <a:pt x="190" y="10"/>
                      <a:pt x="189" y="10"/>
                    </a:cubicBezTo>
                    <a:cubicBezTo>
                      <a:pt x="188" y="10"/>
                      <a:pt x="187" y="10"/>
                      <a:pt x="187" y="10"/>
                    </a:cubicBezTo>
                    <a:cubicBezTo>
                      <a:pt x="187" y="10"/>
                      <a:pt x="186" y="10"/>
                      <a:pt x="186" y="10"/>
                    </a:cubicBezTo>
                    <a:cubicBezTo>
                      <a:pt x="186" y="10"/>
                      <a:pt x="186" y="10"/>
                      <a:pt x="186" y="10"/>
                    </a:cubicBezTo>
                    <a:cubicBezTo>
                      <a:pt x="185" y="9"/>
                      <a:pt x="184" y="10"/>
                      <a:pt x="184" y="9"/>
                    </a:cubicBezTo>
                    <a:cubicBezTo>
                      <a:pt x="184" y="9"/>
                      <a:pt x="185" y="9"/>
                      <a:pt x="185" y="9"/>
                    </a:cubicBezTo>
                    <a:cubicBezTo>
                      <a:pt x="185" y="9"/>
                      <a:pt x="185" y="8"/>
                      <a:pt x="185" y="8"/>
                    </a:cubicBezTo>
                    <a:cubicBezTo>
                      <a:pt x="185" y="8"/>
                      <a:pt x="185" y="8"/>
                      <a:pt x="185" y="8"/>
                    </a:cubicBezTo>
                    <a:cubicBezTo>
                      <a:pt x="184" y="8"/>
                      <a:pt x="184" y="7"/>
                      <a:pt x="184" y="7"/>
                    </a:cubicBezTo>
                    <a:cubicBezTo>
                      <a:pt x="183" y="7"/>
                      <a:pt x="182" y="6"/>
                      <a:pt x="181" y="7"/>
                    </a:cubicBezTo>
                    <a:cubicBezTo>
                      <a:pt x="180" y="7"/>
                      <a:pt x="180" y="8"/>
                      <a:pt x="179" y="8"/>
                    </a:cubicBezTo>
                    <a:cubicBezTo>
                      <a:pt x="179" y="8"/>
                      <a:pt x="178" y="9"/>
                      <a:pt x="178" y="8"/>
                    </a:cubicBezTo>
                    <a:cubicBezTo>
                      <a:pt x="178" y="8"/>
                      <a:pt x="179" y="8"/>
                      <a:pt x="178" y="7"/>
                    </a:cubicBezTo>
                    <a:cubicBezTo>
                      <a:pt x="178" y="7"/>
                      <a:pt x="178" y="7"/>
                      <a:pt x="177" y="7"/>
                    </a:cubicBezTo>
                    <a:cubicBezTo>
                      <a:pt x="178" y="7"/>
                      <a:pt x="178" y="7"/>
                      <a:pt x="179" y="7"/>
                    </a:cubicBezTo>
                    <a:cubicBezTo>
                      <a:pt x="179" y="6"/>
                      <a:pt x="179" y="6"/>
                      <a:pt x="179" y="6"/>
                    </a:cubicBezTo>
                    <a:cubicBezTo>
                      <a:pt x="180" y="6"/>
                      <a:pt x="180" y="6"/>
                      <a:pt x="180" y="5"/>
                    </a:cubicBezTo>
                    <a:cubicBezTo>
                      <a:pt x="178" y="5"/>
                      <a:pt x="177" y="4"/>
                      <a:pt x="175" y="4"/>
                    </a:cubicBezTo>
                    <a:cubicBezTo>
                      <a:pt x="175" y="4"/>
                      <a:pt x="173" y="4"/>
                      <a:pt x="172" y="4"/>
                    </a:cubicBezTo>
                    <a:cubicBezTo>
                      <a:pt x="172" y="4"/>
                      <a:pt x="173" y="4"/>
                      <a:pt x="173" y="5"/>
                    </a:cubicBezTo>
                    <a:cubicBezTo>
                      <a:pt x="172" y="5"/>
                      <a:pt x="172" y="5"/>
                      <a:pt x="172" y="4"/>
                    </a:cubicBezTo>
                    <a:cubicBezTo>
                      <a:pt x="171" y="3"/>
                      <a:pt x="169" y="3"/>
                      <a:pt x="167" y="4"/>
                    </a:cubicBezTo>
                    <a:cubicBezTo>
                      <a:pt x="168" y="4"/>
                      <a:pt x="168" y="4"/>
                      <a:pt x="169" y="4"/>
                    </a:cubicBezTo>
                    <a:cubicBezTo>
                      <a:pt x="168" y="4"/>
                      <a:pt x="169" y="4"/>
                      <a:pt x="170" y="5"/>
                    </a:cubicBezTo>
                    <a:cubicBezTo>
                      <a:pt x="169" y="5"/>
                      <a:pt x="167" y="4"/>
                      <a:pt x="167" y="5"/>
                    </a:cubicBezTo>
                    <a:cubicBezTo>
                      <a:pt x="166" y="5"/>
                      <a:pt x="168" y="7"/>
                      <a:pt x="168" y="7"/>
                    </a:cubicBezTo>
                    <a:cubicBezTo>
                      <a:pt x="168" y="7"/>
                      <a:pt x="169" y="9"/>
                      <a:pt x="170" y="9"/>
                    </a:cubicBezTo>
                    <a:cubicBezTo>
                      <a:pt x="170" y="9"/>
                      <a:pt x="170" y="10"/>
                      <a:pt x="171" y="10"/>
                    </a:cubicBezTo>
                    <a:cubicBezTo>
                      <a:pt x="171" y="11"/>
                      <a:pt x="171" y="11"/>
                      <a:pt x="172" y="12"/>
                    </a:cubicBezTo>
                    <a:cubicBezTo>
                      <a:pt x="172" y="12"/>
                      <a:pt x="173" y="12"/>
                      <a:pt x="172" y="12"/>
                    </a:cubicBezTo>
                    <a:cubicBezTo>
                      <a:pt x="171" y="12"/>
                      <a:pt x="171" y="12"/>
                      <a:pt x="171" y="12"/>
                    </a:cubicBezTo>
                    <a:cubicBezTo>
                      <a:pt x="170" y="11"/>
                      <a:pt x="169" y="10"/>
                      <a:pt x="168" y="10"/>
                    </a:cubicBezTo>
                    <a:cubicBezTo>
                      <a:pt x="168" y="10"/>
                      <a:pt x="167" y="11"/>
                      <a:pt x="167" y="10"/>
                    </a:cubicBezTo>
                    <a:cubicBezTo>
                      <a:pt x="167" y="10"/>
                      <a:pt x="168" y="10"/>
                      <a:pt x="168" y="10"/>
                    </a:cubicBezTo>
                    <a:cubicBezTo>
                      <a:pt x="168" y="9"/>
                      <a:pt x="166" y="9"/>
                      <a:pt x="166" y="9"/>
                    </a:cubicBezTo>
                    <a:cubicBezTo>
                      <a:pt x="165" y="9"/>
                      <a:pt x="165" y="8"/>
                      <a:pt x="165" y="7"/>
                    </a:cubicBezTo>
                    <a:cubicBezTo>
                      <a:pt x="164" y="6"/>
                      <a:pt x="162" y="6"/>
                      <a:pt x="161" y="5"/>
                    </a:cubicBezTo>
                    <a:cubicBezTo>
                      <a:pt x="161" y="5"/>
                      <a:pt x="160" y="5"/>
                      <a:pt x="159" y="5"/>
                    </a:cubicBezTo>
                    <a:cubicBezTo>
                      <a:pt x="159" y="6"/>
                      <a:pt x="158" y="6"/>
                      <a:pt x="158" y="6"/>
                    </a:cubicBezTo>
                    <a:cubicBezTo>
                      <a:pt x="158" y="6"/>
                      <a:pt x="158" y="6"/>
                      <a:pt x="157" y="6"/>
                    </a:cubicBezTo>
                    <a:cubicBezTo>
                      <a:pt x="158" y="7"/>
                      <a:pt x="158" y="7"/>
                      <a:pt x="158" y="7"/>
                    </a:cubicBezTo>
                    <a:cubicBezTo>
                      <a:pt x="157" y="7"/>
                      <a:pt x="157" y="7"/>
                      <a:pt x="156" y="7"/>
                    </a:cubicBezTo>
                    <a:cubicBezTo>
                      <a:pt x="155" y="7"/>
                      <a:pt x="156" y="8"/>
                      <a:pt x="156" y="8"/>
                    </a:cubicBezTo>
                    <a:cubicBezTo>
                      <a:pt x="157" y="8"/>
                      <a:pt x="157" y="8"/>
                      <a:pt x="157" y="8"/>
                    </a:cubicBezTo>
                    <a:cubicBezTo>
                      <a:pt x="157" y="8"/>
                      <a:pt x="158" y="9"/>
                      <a:pt x="157" y="9"/>
                    </a:cubicBezTo>
                    <a:cubicBezTo>
                      <a:pt x="156" y="10"/>
                      <a:pt x="156" y="9"/>
                      <a:pt x="155" y="8"/>
                    </a:cubicBezTo>
                    <a:cubicBezTo>
                      <a:pt x="155" y="8"/>
                      <a:pt x="154" y="7"/>
                      <a:pt x="153" y="8"/>
                    </a:cubicBezTo>
                    <a:cubicBezTo>
                      <a:pt x="153" y="8"/>
                      <a:pt x="153" y="8"/>
                      <a:pt x="153" y="8"/>
                    </a:cubicBezTo>
                    <a:cubicBezTo>
                      <a:pt x="153" y="8"/>
                      <a:pt x="152" y="8"/>
                      <a:pt x="152" y="7"/>
                    </a:cubicBezTo>
                    <a:cubicBezTo>
                      <a:pt x="152" y="7"/>
                      <a:pt x="153" y="7"/>
                      <a:pt x="153" y="7"/>
                    </a:cubicBezTo>
                    <a:cubicBezTo>
                      <a:pt x="153" y="7"/>
                      <a:pt x="150" y="7"/>
                      <a:pt x="150" y="7"/>
                    </a:cubicBezTo>
                    <a:cubicBezTo>
                      <a:pt x="149" y="7"/>
                      <a:pt x="147" y="7"/>
                      <a:pt x="147" y="7"/>
                    </a:cubicBezTo>
                    <a:cubicBezTo>
                      <a:pt x="147" y="7"/>
                      <a:pt x="151" y="6"/>
                      <a:pt x="151" y="6"/>
                    </a:cubicBezTo>
                    <a:cubicBezTo>
                      <a:pt x="152" y="6"/>
                      <a:pt x="155" y="6"/>
                      <a:pt x="156" y="6"/>
                    </a:cubicBezTo>
                    <a:cubicBezTo>
                      <a:pt x="157" y="5"/>
                      <a:pt x="155" y="5"/>
                      <a:pt x="155" y="5"/>
                    </a:cubicBezTo>
                    <a:cubicBezTo>
                      <a:pt x="154" y="5"/>
                      <a:pt x="153" y="5"/>
                      <a:pt x="152" y="5"/>
                    </a:cubicBezTo>
                    <a:cubicBezTo>
                      <a:pt x="150" y="5"/>
                      <a:pt x="149" y="6"/>
                      <a:pt x="147" y="6"/>
                    </a:cubicBezTo>
                    <a:cubicBezTo>
                      <a:pt x="148" y="5"/>
                      <a:pt x="144" y="5"/>
                      <a:pt x="145" y="5"/>
                    </a:cubicBezTo>
                    <a:cubicBezTo>
                      <a:pt x="145" y="6"/>
                      <a:pt x="146" y="6"/>
                      <a:pt x="146" y="6"/>
                    </a:cubicBezTo>
                    <a:cubicBezTo>
                      <a:pt x="146" y="7"/>
                      <a:pt x="145" y="6"/>
                      <a:pt x="144" y="6"/>
                    </a:cubicBezTo>
                    <a:cubicBezTo>
                      <a:pt x="144" y="6"/>
                      <a:pt x="143" y="5"/>
                      <a:pt x="143" y="5"/>
                    </a:cubicBezTo>
                    <a:cubicBezTo>
                      <a:pt x="143" y="5"/>
                      <a:pt x="141" y="5"/>
                      <a:pt x="141" y="5"/>
                    </a:cubicBezTo>
                    <a:cubicBezTo>
                      <a:pt x="141" y="6"/>
                      <a:pt x="139" y="5"/>
                      <a:pt x="139" y="6"/>
                    </a:cubicBezTo>
                    <a:cubicBezTo>
                      <a:pt x="139" y="6"/>
                      <a:pt x="140" y="6"/>
                      <a:pt x="140" y="6"/>
                    </a:cubicBezTo>
                    <a:cubicBezTo>
                      <a:pt x="140" y="7"/>
                      <a:pt x="139" y="6"/>
                      <a:pt x="139" y="6"/>
                    </a:cubicBezTo>
                    <a:cubicBezTo>
                      <a:pt x="138" y="6"/>
                      <a:pt x="137" y="6"/>
                      <a:pt x="137" y="7"/>
                    </a:cubicBezTo>
                    <a:cubicBezTo>
                      <a:pt x="137" y="7"/>
                      <a:pt x="138" y="7"/>
                      <a:pt x="139" y="7"/>
                    </a:cubicBezTo>
                    <a:cubicBezTo>
                      <a:pt x="138" y="7"/>
                      <a:pt x="137" y="7"/>
                      <a:pt x="136" y="7"/>
                    </a:cubicBezTo>
                    <a:cubicBezTo>
                      <a:pt x="135" y="7"/>
                      <a:pt x="137" y="8"/>
                      <a:pt x="137" y="8"/>
                    </a:cubicBezTo>
                    <a:cubicBezTo>
                      <a:pt x="137" y="8"/>
                      <a:pt x="137" y="8"/>
                      <a:pt x="137" y="8"/>
                    </a:cubicBezTo>
                    <a:close/>
                    <a:moveTo>
                      <a:pt x="233" y="13"/>
                    </a:moveTo>
                    <a:cubicBezTo>
                      <a:pt x="232" y="13"/>
                      <a:pt x="234" y="14"/>
                      <a:pt x="234" y="14"/>
                    </a:cubicBezTo>
                    <a:cubicBezTo>
                      <a:pt x="235" y="15"/>
                      <a:pt x="236" y="14"/>
                      <a:pt x="236" y="14"/>
                    </a:cubicBezTo>
                    <a:cubicBezTo>
                      <a:pt x="236" y="14"/>
                      <a:pt x="235" y="14"/>
                      <a:pt x="234" y="13"/>
                    </a:cubicBezTo>
                    <a:cubicBezTo>
                      <a:pt x="234" y="13"/>
                      <a:pt x="233" y="13"/>
                      <a:pt x="233" y="13"/>
                    </a:cubicBezTo>
                    <a:close/>
                    <a:moveTo>
                      <a:pt x="192" y="49"/>
                    </a:moveTo>
                    <a:cubicBezTo>
                      <a:pt x="192" y="48"/>
                      <a:pt x="191" y="48"/>
                      <a:pt x="190" y="48"/>
                    </a:cubicBezTo>
                    <a:cubicBezTo>
                      <a:pt x="188" y="49"/>
                      <a:pt x="190" y="49"/>
                      <a:pt x="191" y="50"/>
                    </a:cubicBezTo>
                    <a:cubicBezTo>
                      <a:pt x="191" y="50"/>
                      <a:pt x="193" y="50"/>
                      <a:pt x="192" y="49"/>
                    </a:cubicBezTo>
                    <a:close/>
                    <a:moveTo>
                      <a:pt x="198" y="17"/>
                    </a:moveTo>
                    <a:cubicBezTo>
                      <a:pt x="199" y="17"/>
                      <a:pt x="199" y="18"/>
                      <a:pt x="200" y="18"/>
                    </a:cubicBezTo>
                    <a:cubicBezTo>
                      <a:pt x="201" y="18"/>
                      <a:pt x="202" y="17"/>
                      <a:pt x="203" y="17"/>
                    </a:cubicBezTo>
                    <a:cubicBezTo>
                      <a:pt x="204" y="17"/>
                      <a:pt x="204" y="17"/>
                      <a:pt x="205" y="17"/>
                    </a:cubicBezTo>
                    <a:cubicBezTo>
                      <a:pt x="206" y="17"/>
                      <a:pt x="207" y="17"/>
                      <a:pt x="207" y="17"/>
                    </a:cubicBezTo>
                    <a:cubicBezTo>
                      <a:pt x="207" y="17"/>
                      <a:pt x="207" y="16"/>
                      <a:pt x="207" y="15"/>
                    </a:cubicBezTo>
                    <a:cubicBezTo>
                      <a:pt x="207" y="15"/>
                      <a:pt x="207" y="15"/>
                      <a:pt x="206" y="15"/>
                    </a:cubicBezTo>
                    <a:cubicBezTo>
                      <a:pt x="206" y="15"/>
                      <a:pt x="206" y="15"/>
                      <a:pt x="206" y="15"/>
                    </a:cubicBezTo>
                    <a:cubicBezTo>
                      <a:pt x="206" y="14"/>
                      <a:pt x="205" y="15"/>
                      <a:pt x="205" y="15"/>
                    </a:cubicBezTo>
                    <a:cubicBezTo>
                      <a:pt x="205" y="15"/>
                      <a:pt x="204" y="15"/>
                      <a:pt x="204" y="15"/>
                    </a:cubicBezTo>
                    <a:cubicBezTo>
                      <a:pt x="203" y="14"/>
                      <a:pt x="203" y="15"/>
                      <a:pt x="202" y="15"/>
                    </a:cubicBezTo>
                    <a:cubicBezTo>
                      <a:pt x="202" y="14"/>
                      <a:pt x="201" y="14"/>
                      <a:pt x="200" y="14"/>
                    </a:cubicBezTo>
                    <a:cubicBezTo>
                      <a:pt x="200" y="15"/>
                      <a:pt x="200" y="15"/>
                      <a:pt x="199" y="15"/>
                    </a:cubicBezTo>
                    <a:cubicBezTo>
                      <a:pt x="197" y="15"/>
                      <a:pt x="196" y="15"/>
                      <a:pt x="194" y="15"/>
                    </a:cubicBezTo>
                    <a:cubicBezTo>
                      <a:pt x="194" y="15"/>
                      <a:pt x="194" y="15"/>
                      <a:pt x="194" y="16"/>
                    </a:cubicBezTo>
                    <a:cubicBezTo>
                      <a:pt x="195" y="16"/>
                      <a:pt x="196" y="15"/>
                      <a:pt x="197" y="16"/>
                    </a:cubicBezTo>
                    <a:cubicBezTo>
                      <a:pt x="198" y="17"/>
                      <a:pt x="197" y="16"/>
                      <a:pt x="196" y="17"/>
                    </a:cubicBezTo>
                    <a:cubicBezTo>
                      <a:pt x="197" y="17"/>
                      <a:pt x="198" y="17"/>
                      <a:pt x="198" y="17"/>
                    </a:cubicBezTo>
                    <a:cubicBezTo>
                      <a:pt x="198" y="17"/>
                      <a:pt x="198" y="18"/>
                      <a:pt x="197" y="18"/>
                    </a:cubicBezTo>
                    <a:cubicBezTo>
                      <a:pt x="198" y="18"/>
                      <a:pt x="198" y="18"/>
                      <a:pt x="198" y="17"/>
                    </a:cubicBezTo>
                    <a:close/>
                    <a:moveTo>
                      <a:pt x="180" y="3"/>
                    </a:moveTo>
                    <a:cubicBezTo>
                      <a:pt x="181" y="4"/>
                      <a:pt x="182" y="3"/>
                      <a:pt x="182" y="3"/>
                    </a:cubicBezTo>
                    <a:cubicBezTo>
                      <a:pt x="183" y="3"/>
                      <a:pt x="184" y="4"/>
                      <a:pt x="185" y="3"/>
                    </a:cubicBezTo>
                    <a:cubicBezTo>
                      <a:pt x="185" y="4"/>
                      <a:pt x="185" y="3"/>
                      <a:pt x="184" y="4"/>
                    </a:cubicBezTo>
                    <a:cubicBezTo>
                      <a:pt x="184" y="4"/>
                      <a:pt x="185" y="4"/>
                      <a:pt x="184" y="4"/>
                    </a:cubicBezTo>
                    <a:cubicBezTo>
                      <a:pt x="184" y="4"/>
                      <a:pt x="184" y="4"/>
                      <a:pt x="183" y="4"/>
                    </a:cubicBezTo>
                    <a:cubicBezTo>
                      <a:pt x="183" y="4"/>
                      <a:pt x="183" y="4"/>
                      <a:pt x="183" y="4"/>
                    </a:cubicBezTo>
                    <a:cubicBezTo>
                      <a:pt x="183" y="4"/>
                      <a:pt x="183" y="4"/>
                      <a:pt x="183" y="4"/>
                    </a:cubicBezTo>
                    <a:cubicBezTo>
                      <a:pt x="183" y="4"/>
                      <a:pt x="181" y="4"/>
                      <a:pt x="180" y="4"/>
                    </a:cubicBezTo>
                    <a:cubicBezTo>
                      <a:pt x="181" y="4"/>
                      <a:pt x="182" y="5"/>
                      <a:pt x="182" y="5"/>
                    </a:cubicBezTo>
                    <a:cubicBezTo>
                      <a:pt x="183" y="5"/>
                      <a:pt x="183" y="5"/>
                      <a:pt x="184" y="5"/>
                    </a:cubicBezTo>
                    <a:cubicBezTo>
                      <a:pt x="184" y="6"/>
                      <a:pt x="184" y="6"/>
                      <a:pt x="184" y="6"/>
                    </a:cubicBezTo>
                    <a:cubicBezTo>
                      <a:pt x="185" y="6"/>
                      <a:pt x="186" y="6"/>
                      <a:pt x="187" y="6"/>
                    </a:cubicBezTo>
                    <a:cubicBezTo>
                      <a:pt x="188" y="6"/>
                      <a:pt x="189" y="6"/>
                      <a:pt x="190" y="6"/>
                    </a:cubicBezTo>
                    <a:cubicBezTo>
                      <a:pt x="191" y="5"/>
                      <a:pt x="192" y="5"/>
                      <a:pt x="193" y="5"/>
                    </a:cubicBezTo>
                    <a:cubicBezTo>
                      <a:pt x="194" y="5"/>
                      <a:pt x="196" y="5"/>
                      <a:pt x="197" y="5"/>
                    </a:cubicBezTo>
                    <a:cubicBezTo>
                      <a:pt x="199" y="5"/>
                      <a:pt x="201" y="5"/>
                      <a:pt x="203" y="5"/>
                    </a:cubicBezTo>
                    <a:cubicBezTo>
                      <a:pt x="203" y="5"/>
                      <a:pt x="203" y="5"/>
                      <a:pt x="202" y="5"/>
                    </a:cubicBezTo>
                    <a:cubicBezTo>
                      <a:pt x="203" y="5"/>
                      <a:pt x="204" y="5"/>
                      <a:pt x="204" y="5"/>
                    </a:cubicBezTo>
                    <a:cubicBezTo>
                      <a:pt x="205" y="5"/>
                      <a:pt x="206" y="5"/>
                      <a:pt x="206" y="5"/>
                    </a:cubicBezTo>
                    <a:cubicBezTo>
                      <a:pt x="206" y="5"/>
                      <a:pt x="203" y="5"/>
                      <a:pt x="203" y="6"/>
                    </a:cubicBezTo>
                    <a:cubicBezTo>
                      <a:pt x="202" y="6"/>
                      <a:pt x="200" y="6"/>
                      <a:pt x="199" y="6"/>
                    </a:cubicBezTo>
                    <a:cubicBezTo>
                      <a:pt x="198" y="6"/>
                      <a:pt x="196" y="6"/>
                      <a:pt x="195" y="6"/>
                    </a:cubicBezTo>
                    <a:cubicBezTo>
                      <a:pt x="196" y="7"/>
                      <a:pt x="198" y="6"/>
                      <a:pt x="199" y="7"/>
                    </a:cubicBezTo>
                    <a:cubicBezTo>
                      <a:pt x="198" y="7"/>
                      <a:pt x="198" y="7"/>
                      <a:pt x="197" y="7"/>
                    </a:cubicBezTo>
                    <a:cubicBezTo>
                      <a:pt x="196" y="7"/>
                      <a:pt x="195" y="7"/>
                      <a:pt x="194" y="7"/>
                    </a:cubicBezTo>
                    <a:cubicBezTo>
                      <a:pt x="193" y="6"/>
                      <a:pt x="191" y="6"/>
                      <a:pt x="190" y="7"/>
                    </a:cubicBezTo>
                    <a:cubicBezTo>
                      <a:pt x="189" y="7"/>
                      <a:pt x="191" y="7"/>
                      <a:pt x="191" y="7"/>
                    </a:cubicBezTo>
                    <a:cubicBezTo>
                      <a:pt x="192" y="7"/>
                      <a:pt x="193" y="8"/>
                      <a:pt x="194" y="8"/>
                    </a:cubicBezTo>
                    <a:cubicBezTo>
                      <a:pt x="195" y="8"/>
                      <a:pt x="195" y="8"/>
                      <a:pt x="196" y="8"/>
                    </a:cubicBezTo>
                    <a:cubicBezTo>
                      <a:pt x="197" y="8"/>
                      <a:pt x="198" y="8"/>
                      <a:pt x="197" y="8"/>
                    </a:cubicBezTo>
                    <a:cubicBezTo>
                      <a:pt x="198" y="9"/>
                      <a:pt x="199" y="8"/>
                      <a:pt x="200" y="8"/>
                    </a:cubicBezTo>
                    <a:cubicBezTo>
                      <a:pt x="201" y="8"/>
                      <a:pt x="202" y="9"/>
                      <a:pt x="203" y="8"/>
                    </a:cubicBezTo>
                    <a:cubicBezTo>
                      <a:pt x="205" y="8"/>
                      <a:pt x="208" y="9"/>
                      <a:pt x="210" y="8"/>
                    </a:cubicBezTo>
                    <a:cubicBezTo>
                      <a:pt x="210" y="8"/>
                      <a:pt x="208" y="9"/>
                      <a:pt x="208" y="9"/>
                    </a:cubicBezTo>
                    <a:cubicBezTo>
                      <a:pt x="209" y="10"/>
                      <a:pt x="212" y="10"/>
                      <a:pt x="212" y="10"/>
                    </a:cubicBezTo>
                    <a:cubicBezTo>
                      <a:pt x="213" y="10"/>
                      <a:pt x="214" y="10"/>
                      <a:pt x="214" y="10"/>
                    </a:cubicBezTo>
                    <a:cubicBezTo>
                      <a:pt x="215" y="10"/>
                      <a:pt x="216" y="10"/>
                      <a:pt x="217" y="10"/>
                    </a:cubicBezTo>
                    <a:cubicBezTo>
                      <a:pt x="217" y="10"/>
                      <a:pt x="218" y="10"/>
                      <a:pt x="218" y="10"/>
                    </a:cubicBezTo>
                    <a:cubicBezTo>
                      <a:pt x="219" y="9"/>
                      <a:pt x="218" y="9"/>
                      <a:pt x="219" y="9"/>
                    </a:cubicBezTo>
                    <a:cubicBezTo>
                      <a:pt x="219" y="9"/>
                      <a:pt x="220" y="9"/>
                      <a:pt x="220" y="9"/>
                    </a:cubicBezTo>
                    <a:cubicBezTo>
                      <a:pt x="221" y="9"/>
                      <a:pt x="222" y="8"/>
                      <a:pt x="222" y="9"/>
                    </a:cubicBezTo>
                    <a:cubicBezTo>
                      <a:pt x="224" y="9"/>
                      <a:pt x="224" y="9"/>
                      <a:pt x="226" y="8"/>
                    </a:cubicBezTo>
                    <a:cubicBezTo>
                      <a:pt x="226" y="8"/>
                      <a:pt x="227" y="8"/>
                      <a:pt x="227" y="8"/>
                    </a:cubicBezTo>
                    <a:cubicBezTo>
                      <a:pt x="228" y="8"/>
                      <a:pt x="228" y="8"/>
                      <a:pt x="228" y="8"/>
                    </a:cubicBezTo>
                    <a:cubicBezTo>
                      <a:pt x="229" y="7"/>
                      <a:pt x="228" y="7"/>
                      <a:pt x="227" y="7"/>
                    </a:cubicBezTo>
                    <a:cubicBezTo>
                      <a:pt x="229" y="6"/>
                      <a:pt x="230" y="6"/>
                      <a:pt x="231" y="6"/>
                    </a:cubicBezTo>
                    <a:cubicBezTo>
                      <a:pt x="232" y="5"/>
                      <a:pt x="233" y="5"/>
                      <a:pt x="235" y="5"/>
                    </a:cubicBezTo>
                    <a:cubicBezTo>
                      <a:pt x="235" y="5"/>
                      <a:pt x="236" y="4"/>
                      <a:pt x="235" y="4"/>
                    </a:cubicBezTo>
                    <a:cubicBezTo>
                      <a:pt x="235" y="4"/>
                      <a:pt x="235" y="3"/>
                      <a:pt x="235" y="3"/>
                    </a:cubicBezTo>
                    <a:cubicBezTo>
                      <a:pt x="234" y="3"/>
                      <a:pt x="232" y="2"/>
                      <a:pt x="231" y="2"/>
                    </a:cubicBezTo>
                    <a:cubicBezTo>
                      <a:pt x="230" y="2"/>
                      <a:pt x="229" y="2"/>
                      <a:pt x="228" y="2"/>
                    </a:cubicBezTo>
                    <a:cubicBezTo>
                      <a:pt x="228" y="2"/>
                      <a:pt x="227" y="2"/>
                      <a:pt x="226" y="2"/>
                    </a:cubicBezTo>
                    <a:cubicBezTo>
                      <a:pt x="226" y="2"/>
                      <a:pt x="226" y="2"/>
                      <a:pt x="226" y="2"/>
                    </a:cubicBezTo>
                    <a:cubicBezTo>
                      <a:pt x="226" y="2"/>
                      <a:pt x="226" y="2"/>
                      <a:pt x="225" y="2"/>
                    </a:cubicBezTo>
                    <a:cubicBezTo>
                      <a:pt x="225" y="2"/>
                      <a:pt x="225" y="2"/>
                      <a:pt x="224" y="2"/>
                    </a:cubicBezTo>
                    <a:cubicBezTo>
                      <a:pt x="224" y="2"/>
                      <a:pt x="223" y="2"/>
                      <a:pt x="223" y="2"/>
                    </a:cubicBezTo>
                    <a:cubicBezTo>
                      <a:pt x="223" y="2"/>
                      <a:pt x="223" y="2"/>
                      <a:pt x="224" y="2"/>
                    </a:cubicBezTo>
                    <a:cubicBezTo>
                      <a:pt x="222" y="1"/>
                      <a:pt x="221" y="2"/>
                      <a:pt x="220" y="2"/>
                    </a:cubicBezTo>
                    <a:cubicBezTo>
                      <a:pt x="221" y="1"/>
                      <a:pt x="220" y="1"/>
                      <a:pt x="220" y="1"/>
                    </a:cubicBezTo>
                    <a:cubicBezTo>
                      <a:pt x="220" y="2"/>
                      <a:pt x="218" y="2"/>
                      <a:pt x="218" y="2"/>
                    </a:cubicBezTo>
                    <a:cubicBezTo>
                      <a:pt x="218" y="1"/>
                      <a:pt x="219" y="1"/>
                      <a:pt x="219" y="1"/>
                    </a:cubicBezTo>
                    <a:cubicBezTo>
                      <a:pt x="218" y="1"/>
                      <a:pt x="217" y="1"/>
                      <a:pt x="216" y="1"/>
                    </a:cubicBezTo>
                    <a:cubicBezTo>
                      <a:pt x="217" y="1"/>
                      <a:pt x="217" y="1"/>
                      <a:pt x="218" y="1"/>
                    </a:cubicBezTo>
                    <a:cubicBezTo>
                      <a:pt x="217" y="1"/>
                      <a:pt x="217" y="1"/>
                      <a:pt x="218" y="1"/>
                    </a:cubicBezTo>
                    <a:cubicBezTo>
                      <a:pt x="217" y="2"/>
                      <a:pt x="216" y="1"/>
                      <a:pt x="215" y="1"/>
                    </a:cubicBezTo>
                    <a:cubicBezTo>
                      <a:pt x="215" y="1"/>
                      <a:pt x="215" y="2"/>
                      <a:pt x="216" y="2"/>
                    </a:cubicBezTo>
                    <a:cubicBezTo>
                      <a:pt x="215" y="2"/>
                      <a:pt x="214" y="1"/>
                      <a:pt x="214" y="1"/>
                    </a:cubicBezTo>
                    <a:cubicBezTo>
                      <a:pt x="214" y="2"/>
                      <a:pt x="214" y="2"/>
                      <a:pt x="214" y="2"/>
                    </a:cubicBezTo>
                    <a:cubicBezTo>
                      <a:pt x="214" y="2"/>
                      <a:pt x="214" y="2"/>
                      <a:pt x="215" y="2"/>
                    </a:cubicBezTo>
                    <a:cubicBezTo>
                      <a:pt x="214" y="3"/>
                      <a:pt x="213" y="3"/>
                      <a:pt x="212" y="2"/>
                    </a:cubicBezTo>
                    <a:cubicBezTo>
                      <a:pt x="213" y="2"/>
                      <a:pt x="212" y="2"/>
                      <a:pt x="212" y="2"/>
                    </a:cubicBezTo>
                    <a:cubicBezTo>
                      <a:pt x="212" y="2"/>
                      <a:pt x="212" y="3"/>
                      <a:pt x="212" y="2"/>
                    </a:cubicBezTo>
                    <a:cubicBezTo>
                      <a:pt x="211" y="2"/>
                      <a:pt x="211" y="2"/>
                      <a:pt x="210" y="2"/>
                    </a:cubicBezTo>
                    <a:cubicBezTo>
                      <a:pt x="210" y="3"/>
                      <a:pt x="211" y="3"/>
                      <a:pt x="211" y="3"/>
                    </a:cubicBezTo>
                    <a:cubicBezTo>
                      <a:pt x="210" y="3"/>
                      <a:pt x="209" y="2"/>
                      <a:pt x="210" y="2"/>
                    </a:cubicBezTo>
                    <a:cubicBezTo>
                      <a:pt x="210" y="2"/>
                      <a:pt x="211" y="2"/>
                      <a:pt x="211" y="1"/>
                    </a:cubicBezTo>
                    <a:cubicBezTo>
                      <a:pt x="211" y="1"/>
                      <a:pt x="210" y="1"/>
                      <a:pt x="210" y="1"/>
                    </a:cubicBezTo>
                    <a:cubicBezTo>
                      <a:pt x="210" y="1"/>
                      <a:pt x="211" y="1"/>
                      <a:pt x="211" y="0"/>
                    </a:cubicBezTo>
                    <a:cubicBezTo>
                      <a:pt x="211" y="0"/>
                      <a:pt x="210" y="0"/>
                      <a:pt x="209" y="0"/>
                    </a:cubicBezTo>
                    <a:cubicBezTo>
                      <a:pt x="209" y="0"/>
                      <a:pt x="208" y="0"/>
                      <a:pt x="208" y="0"/>
                    </a:cubicBezTo>
                    <a:cubicBezTo>
                      <a:pt x="208" y="0"/>
                      <a:pt x="208" y="0"/>
                      <a:pt x="208" y="1"/>
                    </a:cubicBezTo>
                    <a:cubicBezTo>
                      <a:pt x="208" y="1"/>
                      <a:pt x="207" y="1"/>
                      <a:pt x="208" y="1"/>
                    </a:cubicBezTo>
                    <a:cubicBezTo>
                      <a:pt x="207" y="1"/>
                      <a:pt x="207" y="1"/>
                      <a:pt x="207" y="1"/>
                    </a:cubicBezTo>
                    <a:cubicBezTo>
                      <a:pt x="207" y="0"/>
                      <a:pt x="207" y="0"/>
                      <a:pt x="207" y="0"/>
                    </a:cubicBezTo>
                    <a:cubicBezTo>
                      <a:pt x="206" y="0"/>
                      <a:pt x="205" y="1"/>
                      <a:pt x="205" y="1"/>
                    </a:cubicBezTo>
                    <a:cubicBezTo>
                      <a:pt x="206" y="1"/>
                      <a:pt x="207" y="1"/>
                      <a:pt x="207" y="1"/>
                    </a:cubicBezTo>
                    <a:cubicBezTo>
                      <a:pt x="207" y="2"/>
                      <a:pt x="206" y="2"/>
                      <a:pt x="206" y="2"/>
                    </a:cubicBezTo>
                    <a:cubicBezTo>
                      <a:pt x="206" y="2"/>
                      <a:pt x="206" y="2"/>
                      <a:pt x="206" y="2"/>
                    </a:cubicBezTo>
                    <a:cubicBezTo>
                      <a:pt x="206" y="2"/>
                      <a:pt x="206" y="2"/>
                      <a:pt x="206" y="2"/>
                    </a:cubicBezTo>
                    <a:cubicBezTo>
                      <a:pt x="206" y="3"/>
                      <a:pt x="206" y="3"/>
                      <a:pt x="206" y="3"/>
                    </a:cubicBezTo>
                    <a:cubicBezTo>
                      <a:pt x="206" y="3"/>
                      <a:pt x="206" y="3"/>
                      <a:pt x="206" y="3"/>
                    </a:cubicBezTo>
                    <a:cubicBezTo>
                      <a:pt x="206" y="3"/>
                      <a:pt x="206" y="3"/>
                      <a:pt x="207" y="4"/>
                    </a:cubicBezTo>
                    <a:cubicBezTo>
                      <a:pt x="206" y="4"/>
                      <a:pt x="206" y="3"/>
                      <a:pt x="206" y="3"/>
                    </a:cubicBezTo>
                    <a:cubicBezTo>
                      <a:pt x="206" y="3"/>
                      <a:pt x="206" y="4"/>
                      <a:pt x="206" y="4"/>
                    </a:cubicBezTo>
                    <a:cubicBezTo>
                      <a:pt x="205" y="4"/>
                      <a:pt x="205" y="3"/>
                      <a:pt x="204" y="3"/>
                    </a:cubicBezTo>
                    <a:cubicBezTo>
                      <a:pt x="204" y="3"/>
                      <a:pt x="203" y="3"/>
                      <a:pt x="203" y="3"/>
                    </a:cubicBezTo>
                    <a:cubicBezTo>
                      <a:pt x="202" y="3"/>
                      <a:pt x="202" y="3"/>
                      <a:pt x="201" y="3"/>
                    </a:cubicBezTo>
                    <a:cubicBezTo>
                      <a:pt x="201" y="3"/>
                      <a:pt x="203" y="2"/>
                      <a:pt x="203" y="2"/>
                    </a:cubicBezTo>
                    <a:cubicBezTo>
                      <a:pt x="202" y="2"/>
                      <a:pt x="201" y="2"/>
                      <a:pt x="202" y="2"/>
                    </a:cubicBezTo>
                    <a:cubicBezTo>
                      <a:pt x="201" y="2"/>
                      <a:pt x="200" y="2"/>
                      <a:pt x="200" y="2"/>
                    </a:cubicBezTo>
                    <a:cubicBezTo>
                      <a:pt x="199" y="2"/>
                      <a:pt x="199" y="2"/>
                      <a:pt x="199" y="2"/>
                    </a:cubicBezTo>
                    <a:cubicBezTo>
                      <a:pt x="198" y="2"/>
                      <a:pt x="197" y="2"/>
                      <a:pt x="196" y="2"/>
                    </a:cubicBezTo>
                    <a:cubicBezTo>
                      <a:pt x="196" y="2"/>
                      <a:pt x="196" y="2"/>
                      <a:pt x="196" y="1"/>
                    </a:cubicBezTo>
                    <a:cubicBezTo>
                      <a:pt x="196" y="1"/>
                      <a:pt x="195" y="2"/>
                      <a:pt x="195" y="1"/>
                    </a:cubicBezTo>
                    <a:cubicBezTo>
                      <a:pt x="195" y="1"/>
                      <a:pt x="195" y="1"/>
                      <a:pt x="194" y="1"/>
                    </a:cubicBezTo>
                    <a:cubicBezTo>
                      <a:pt x="194" y="1"/>
                      <a:pt x="193" y="0"/>
                      <a:pt x="192" y="1"/>
                    </a:cubicBezTo>
                    <a:cubicBezTo>
                      <a:pt x="192" y="1"/>
                      <a:pt x="192" y="0"/>
                      <a:pt x="191" y="0"/>
                    </a:cubicBezTo>
                    <a:cubicBezTo>
                      <a:pt x="191" y="0"/>
                      <a:pt x="189" y="0"/>
                      <a:pt x="189" y="0"/>
                    </a:cubicBezTo>
                    <a:cubicBezTo>
                      <a:pt x="189" y="0"/>
                      <a:pt x="189" y="0"/>
                      <a:pt x="189" y="0"/>
                    </a:cubicBezTo>
                    <a:cubicBezTo>
                      <a:pt x="189" y="0"/>
                      <a:pt x="188" y="0"/>
                      <a:pt x="188" y="0"/>
                    </a:cubicBezTo>
                    <a:cubicBezTo>
                      <a:pt x="188" y="1"/>
                      <a:pt x="188" y="1"/>
                      <a:pt x="188" y="1"/>
                    </a:cubicBezTo>
                    <a:cubicBezTo>
                      <a:pt x="189" y="1"/>
                      <a:pt x="190" y="1"/>
                      <a:pt x="191" y="1"/>
                    </a:cubicBezTo>
                    <a:cubicBezTo>
                      <a:pt x="190" y="1"/>
                      <a:pt x="189" y="1"/>
                      <a:pt x="190" y="1"/>
                    </a:cubicBezTo>
                    <a:cubicBezTo>
                      <a:pt x="189" y="1"/>
                      <a:pt x="191" y="1"/>
                      <a:pt x="190" y="2"/>
                    </a:cubicBezTo>
                    <a:cubicBezTo>
                      <a:pt x="190" y="2"/>
                      <a:pt x="190" y="2"/>
                      <a:pt x="190" y="2"/>
                    </a:cubicBezTo>
                    <a:cubicBezTo>
                      <a:pt x="190" y="2"/>
                      <a:pt x="190" y="2"/>
                      <a:pt x="190" y="2"/>
                    </a:cubicBezTo>
                    <a:cubicBezTo>
                      <a:pt x="188" y="3"/>
                      <a:pt x="187" y="0"/>
                      <a:pt x="185" y="1"/>
                    </a:cubicBezTo>
                    <a:cubicBezTo>
                      <a:pt x="186" y="1"/>
                      <a:pt x="186" y="2"/>
                      <a:pt x="187" y="2"/>
                    </a:cubicBezTo>
                    <a:cubicBezTo>
                      <a:pt x="188" y="2"/>
                      <a:pt x="188" y="2"/>
                      <a:pt x="189" y="3"/>
                    </a:cubicBezTo>
                    <a:cubicBezTo>
                      <a:pt x="188" y="3"/>
                      <a:pt x="188" y="2"/>
                      <a:pt x="188" y="3"/>
                    </a:cubicBezTo>
                    <a:cubicBezTo>
                      <a:pt x="187" y="3"/>
                      <a:pt x="187" y="3"/>
                      <a:pt x="187" y="3"/>
                    </a:cubicBezTo>
                    <a:cubicBezTo>
                      <a:pt x="186" y="2"/>
                      <a:pt x="185" y="2"/>
                      <a:pt x="184" y="2"/>
                    </a:cubicBezTo>
                    <a:cubicBezTo>
                      <a:pt x="184" y="3"/>
                      <a:pt x="183" y="2"/>
                      <a:pt x="183" y="2"/>
                    </a:cubicBezTo>
                    <a:cubicBezTo>
                      <a:pt x="182" y="2"/>
                      <a:pt x="182" y="2"/>
                      <a:pt x="181" y="2"/>
                    </a:cubicBezTo>
                    <a:cubicBezTo>
                      <a:pt x="180" y="2"/>
                      <a:pt x="179" y="2"/>
                      <a:pt x="178" y="3"/>
                    </a:cubicBezTo>
                    <a:cubicBezTo>
                      <a:pt x="179" y="3"/>
                      <a:pt x="180" y="3"/>
                      <a:pt x="181" y="3"/>
                    </a:cubicBezTo>
                    <a:cubicBezTo>
                      <a:pt x="181" y="3"/>
                      <a:pt x="181" y="3"/>
                      <a:pt x="180" y="3"/>
                    </a:cubicBezTo>
                    <a:close/>
                    <a:moveTo>
                      <a:pt x="268" y="3"/>
                    </a:moveTo>
                    <a:cubicBezTo>
                      <a:pt x="269" y="3"/>
                      <a:pt x="270" y="2"/>
                      <a:pt x="271" y="2"/>
                    </a:cubicBezTo>
                    <a:cubicBezTo>
                      <a:pt x="272" y="2"/>
                      <a:pt x="273" y="2"/>
                      <a:pt x="273" y="2"/>
                    </a:cubicBezTo>
                    <a:cubicBezTo>
                      <a:pt x="272" y="2"/>
                      <a:pt x="271" y="2"/>
                      <a:pt x="270" y="2"/>
                    </a:cubicBezTo>
                    <a:cubicBezTo>
                      <a:pt x="269" y="2"/>
                      <a:pt x="268" y="2"/>
                      <a:pt x="266" y="2"/>
                    </a:cubicBezTo>
                    <a:cubicBezTo>
                      <a:pt x="265" y="3"/>
                      <a:pt x="264" y="3"/>
                      <a:pt x="263" y="3"/>
                    </a:cubicBezTo>
                    <a:cubicBezTo>
                      <a:pt x="262" y="3"/>
                      <a:pt x="261" y="3"/>
                      <a:pt x="261" y="3"/>
                    </a:cubicBezTo>
                    <a:cubicBezTo>
                      <a:pt x="261" y="3"/>
                      <a:pt x="261" y="3"/>
                      <a:pt x="261" y="3"/>
                    </a:cubicBezTo>
                    <a:cubicBezTo>
                      <a:pt x="264" y="3"/>
                      <a:pt x="266" y="3"/>
                      <a:pt x="268" y="3"/>
                    </a:cubicBezTo>
                    <a:close/>
                    <a:moveTo>
                      <a:pt x="245" y="12"/>
                    </a:moveTo>
                    <a:cubicBezTo>
                      <a:pt x="246" y="12"/>
                      <a:pt x="247" y="12"/>
                      <a:pt x="248" y="12"/>
                    </a:cubicBezTo>
                    <a:cubicBezTo>
                      <a:pt x="249" y="12"/>
                      <a:pt x="251" y="13"/>
                      <a:pt x="253" y="12"/>
                    </a:cubicBezTo>
                    <a:cubicBezTo>
                      <a:pt x="252" y="12"/>
                      <a:pt x="251" y="12"/>
                      <a:pt x="250" y="12"/>
                    </a:cubicBezTo>
                    <a:cubicBezTo>
                      <a:pt x="249" y="12"/>
                      <a:pt x="248" y="12"/>
                      <a:pt x="247" y="12"/>
                    </a:cubicBezTo>
                    <a:cubicBezTo>
                      <a:pt x="246" y="12"/>
                      <a:pt x="246" y="12"/>
                      <a:pt x="245" y="12"/>
                    </a:cubicBezTo>
                    <a:cubicBezTo>
                      <a:pt x="244" y="12"/>
                      <a:pt x="245" y="12"/>
                      <a:pt x="244" y="12"/>
                    </a:cubicBezTo>
                    <a:cubicBezTo>
                      <a:pt x="244" y="12"/>
                      <a:pt x="243" y="12"/>
                      <a:pt x="242" y="12"/>
                    </a:cubicBezTo>
                    <a:cubicBezTo>
                      <a:pt x="242" y="12"/>
                      <a:pt x="242" y="12"/>
                      <a:pt x="241" y="13"/>
                    </a:cubicBezTo>
                    <a:cubicBezTo>
                      <a:pt x="242" y="13"/>
                      <a:pt x="244" y="12"/>
                      <a:pt x="245" y="12"/>
                    </a:cubicBezTo>
                    <a:close/>
                    <a:moveTo>
                      <a:pt x="231" y="30"/>
                    </a:moveTo>
                    <a:cubicBezTo>
                      <a:pt x="231" y="30"/>
                      <a:pt x="229" y="30"/>
                      <a:pt x="229" y="30"/>
                    </a:cubicBezTo>
                    <a:cubicBezTo>
                      <a:pt x="229" y="31"/>
                      <a:pt x="228" y="31"/>
                      <a:pt x="227" y="32"/>
                    </a:cubicBezTo>
                    <a:cubicBezTo>
                      <a:pt x="227" y="32"/>
                      <a:pt x="227" y="32"/>
                      <a:pt x="228" y="32"/>
                    </a:cubicBezTo>
                    <a:cubicBezTo>
                      <a:pt x="228" y="32"/>
                      <a:pt x="228" y="31"/>
                      <a:pt x="228" y="31"/>
                    </a:cubicBezTo>
                    <a:cubicBezTo>
                      <a:pt x="229" y="31"/>
                      <a:pt x="230" y="31"/>
                      <a:pt x="231" y="30"/>
                    </a:cubicBezTo>
                    <a:close/>
                    <a:moveTo>
                      <a:pt x="117" y="154"/>
                    </a:moveTo>
                    <a:cubicBezTo>
                      <a:pt x="119" y="154"/>
                      <a:pt x="118" y="153"/>
                      <a:pt x="117" y="153"/>
                    </a:cubicBezTo>
                    <a:cubicBezTo>
                      <a:pt x="116" y="153"/>
                      <a:pt x="116" y="154"/>
                      <a:pt x="117" y="154"/>
                    </a:cubicBezTo>
                    <a:close/>
                    <a:moveTo>
                      <a:pt x="100" y="163"/>
                    </a:moveTo>
                    <a:cubicBezTo>
                      <a:pt x="100" y="163"/>
                      <a:pt x="100" y="162"/>
                      <a:pt x="100" y="162"/>
                    </a:cubicBezTo>
                    <a:cubicBezTo>
                      <a:pt x="99" y="162"/>
                      <a:pt x="99" y="162"/>
                      <a:pt x="98" y="162"/>
                    </a:cubicBezTo>
                    <a:cubicBezTo>
                      <a:pt x="98" y="162"/>
                      <a:pt x="98" y="163"/>
                      <a:pt x="98" y="163"/>
                    </a:cubicBezTo>
                    <a:cubicBezTo>
                      <a:pt x="98" y="163"/>
                      <a:pt x="98" y="163"/>
                      <a:pt x="98" y="163"/>
                    </a:cubicBezTo>
                    <a:cubicBezTo>
                      <a:pt x="98" y="163"/>
                      <a:pt x="99" y="163"/>
                      <a:pt x="100" y="163"/>
                    </a:cubicBezTo>
                    <a:close/>
                    <a:moveTo>
                      <a:pt x="226" y="84"/>
                    </a:moveTo>
                    <a:cubicBezTo>
                      <a:pt x="226" y="84"/>
                      <a:pt x="226" y="83"/>
                      <a:pt x="226" y="83"/>
                    </a:cubicBezTo>
                    <a:cubicBezTo>
                      <a:pt x="225" y="83"/>
                      <a:pt x="224" y="83"/>
                      <a:pt x="224" y="83"/>
                    </a:cubicBezTo>
                    <a:cubicBezTo>
                      <a:pt x="224" y="83"/>
                      <a:pt x="225" y="83"/>
                      <a:pt x="225" y="83"/>
                    </a:cubicBezTo>
                    <a:cubicBezTo>
                      <a:pt x="225" y="83"/>
                      <a:pt x="225" y="84"/>
                      <a:pt x="225" y="84"/>
                    </a:cubicBezTo>
                    <a:cubicBezTo>
                      <a:pt x="225" y="84"/>
                      <a:pt x="225" y="83"/>
                      <a:pt x="225" y="84"/>
                    </a:cubicBezTo>
                    <a:cubicBezTo>
                      <a:pt x="224" y="84"/>
                      <a:pt x="224" y="84"/>
                      <a:pt x="224" y="84"/>
                    </a:cubicBezTo>
                    <a:cubicBezTo>
                      <a:pt x="224" y="84"/>
                      <a:pt x="224" y="84"/>
                      <a:pt x="224" y="84"/>
                    </a:cubicBezTo>
                    <a:cubicBezTo>
                      <a:pt x="224" y="85"/>
                      <a:pt x="223" y="83"/>
                      <a:pt x="223" y="84"/>
                    </a:cubicBezTo>
                    <a:cubicBezTo>
                      <a:pt x="223" y="84"/>
                      <a:pt x="223" y="84"/>
                      <a:pt x="223" y="84"/>
                    </a:cubicBezTo>
                    <a:cubicBezTo>
                      <a:pt x="223" y="84"/>
                      <a:pt x="223" y="84"/>
                      <a:pt x="222" y="84"/>
                    </a:cubicBezTo>
                    <a:cubicBezTo>
                      <a:pt x="222" y="84"/>
                      <a:pt x="221" y="84"/>
                      <a:pt x="221" y="85"/>
                    </a:cubicBezTo>
                    <a:cubicBezTo>
                      <a:pt x="221" y="85"/>
                      <a:pt x="221" y="85"/>
                      <a:pt x="222" y="85"/>
                    </a:cubicBezTo>
                    <a:cubicBezTo>
                      <a:pt x="221" y="85"/>
                      <a:pt x="221" y="85"/>
                      <a:pt x="221" y="85"/>
                    </a:cubicBezTo>
                    <a:cubicBezTo>
                      <a:pt x="222" y="85"/>
                      <a:pt x="222" y="86"/>
                      <a:pt x="223" y="85"/>
                    </a:cubicBezTo>
                    <a:cubicBezTo>
                      <a:pt x="223" y="85"/>
                      <a:pt x="222" y="86"/>
                      <a:pt x="223" y="86"/>
                    </a:cubicBezTo>
                    <a:cubicBezTo>
                      <a:pt x="223" y="86"/>
                      <a:pt x="225" y="86"/>
                      <a:pt x="224" y="86"/>
                    </a:cubicBezTo>
                    <a:cubicBezTo>
                      <a:pt x="224" y="86"/>
                      <a:pt x="224" y="86"/>
                      <a:pt x="224" y="86"/>
                    </a:cubicBezTo>
                    <a:cubicBezTo>
                      <a:pt x="224" y="85"/>
                      <a:pt x="226" y="85"/>
                      <a:pt x="225" y="85"/>
                    </a:cubicBezTo>
                    <a:cubicBezTo>
                      <a:pt x="225" y="85"/>
                      <a:pt x="226" y="85"/>
                      <a:pt x="226" y="85"/>
                    </a:cubicBezTo>
                    <a:cubicBezTo>
                      <a:pt x="227" y="84"/>
                      <a:pt x="226" y="84"/>
                      <a:pt x="226" y="84"/>
                    </a:cubicBezTo>
                    <a:close/>
                    <a:moveTo>
                      <a:pt x="204" y="87"/>
                    </a:moveTo>
                    <a:cubicBezTo>
                      <a:pt x="204" y="88"/>
                      <a:pt x="204" y="88"/>
                      <a:pt x="205" y="88"/>
                    </a:cubicBezTo>
                    <a:cubicBezTo>
                      <a:pt x="205" y="88"/>
                      <a:pt x="205" y="88"/>
                      <a:pt x="205" y="88"/>
                    </a:cubicBezTo>
                    <a:cubicBezTo>
                      <a:pt x="205" y="88"/>
                      <a:pt x="205" y="88"/>
                      <a:pt x="205" y="88"/>
                    </a:cubicBezTo>
                    <a:cubicBezTo>
                      <a:pt x="205" y="88"/>
                      <a:pt x="206" y="88"/>
                      <a:pt x="206" y="88"/>
                    </a:cubicBezTo>
                    <a:cubicBezTo>
                      <a:pt x="207" y="89"/>
                      <a:pt x="207" y="88"/>
                      <a:pt x="207" y="87"/>
                    </a:cubicBezTo>
                    <a:cubicBezTo>
                      <a:pt x="207" y="86"/>
                      <a:pt x="204" y="86"/>
                      <a:pt x="204" y="87"/>
                    </a:cubicBezTo>
                    <a:close/>
                    <a:moveTo>
                      <a:pt x="218" y="84"/>
                    </a:moveTo>
                    <a:cubicBezTo>
                      <a:pt x="218" y="84"/>
                      <a:pt x="218" y="84"/>
                      <a:pt x="218" y="84"/>
                    </a:cubicBezTo>
                    <a:cubicBezTo>
                      <a:pt x="219" y="84"/>
                      <a:pt x="219" y="84"/>
                      <a:pt x="219" y="84"/>
                    </a:cubicBezTo>
                    <a:cubicBezTo>
                      <a:pt x="219" y="84"/>
                      <a:pt x="219" y="84"/>
                      <a:pt x="220" y="84"/>
                    </a:cubicBezTo>
                    <a:cubicBezTo>
                      <a:pt x="219" y="84"/>
                      <a:pt x="220" y="84"/>
                      <a:pt x="220" y="84"/>
                    </a:cubicBezTo>
                    <a:cubicBezTo>
                      <a:pt x="220" y="84"/>
                      <a:pt x="222" y="84"/>
                      <a:pt x="221" y="83"/>
                    </a:cubicBezTo>
                    <a:cubicBezTo>
                      <a:pt x="221" y="83"/>
                      <a:pt x="222" y="84"/>
                      <a:pt x="222" y="83"/>
                    </a:cubicBezTo>
                    <a:cubicBezTo>
                      <a:pt x="222" y="83"/>
                      <a:pt x="223" y="83"/>
                      <a:pt x="222" y="83"/>
                    </a:cubicBezTo>
                    <a:cubicBezTo>
                      <a:pt x="223" y="83"/>
                      <a:pt x="223" y="83"/>
                      <a:pt x="223" y="82"/>
                    </a:cubicBezTo>
                    <a:cubicBezTo>
                      <a:pt x="223" y="82"/>
                      <a:pt x="223" y="82"/>
                      <a:pt x="224" y="82"/>
                    </a:cubicBezTo>
                    <a:cubicBezTo>
                      <a:pt x="223" y="82"/>
                      <a:pt x="224" y="82"/>
                      <a:pt x="224" y="82"/>
                    </a:cubicBezTo>
                    <a:cubicBezTo>
                      <a:pt x="224" y="82"/>
                      <a:pt x="224" y="82"/>
                      <a:pt x="225" y="82"/>
                    </a:cubicBezTo>
                    <a:cubicBezTo>
                      <a:pt x="225" y="82"/>
                      <a:pt x="224" y="82"/>
                      <a:pt x="224" y="82"/>
                    </a:cubicBezTo>
                    <a:cubicBezTo>
                      <a:pt x="224" y="81"/>
                      <a:pt x="225" y="82"/>
                      <a:pt x="225" y="81"/>
                    </a:cubicBezTo>
                    <a:cubicBezTo>
                      <a:pt x="225" y="81"/>
                      <a:pt x="224" y="81"/>
                      <a:pt x="224" y="81"/>
                    </a:cubicBezTo>
                    <a:cubicBezTo>
                      <a:pt x="224" y="81"/>
                      <a:pt x="223" y="81"/>
                      <a:pt x="224" y="81"/>
                    </a:cubicBezTo>
                    <a:cubicBezTo>
                      <a:pt x="224" y="82"/>
                      <a:pt x="223" y="81"/>
                      <a:pt x="223" y="81"/>
                    </a:cubicBezTo>
                    <a:cubicBezTo>
                      <a:pt x="223" y="81"/>
                      <a:pt x="223" y="81"/>
                      <a:pt x="223" y="81"/>
                    </a:cubicBezTo>
                    <a:cubicBezTo>
                      <a:pt x="223" y="81"/>
                      <a:pt x="222" y="81"/>
                      <a:pt x="222" y="81"/>
                    </a:cubicBezTo>
                    <a:cubicBezTo>
                      <a:pt x="222" y="82"/>
                      <a:pt x="222" y="81"/>
                      <a:pt x="222" y="81"/>
                    </a:cubicBezTo>
                    <a:cubicBezTo>
                      <a:pt x="222" y="82"/>
                      <a:pt x="222" y="82"/>
                      <a:pt x="223" y="82"/>
                    </a:cubicBezTo>
                    <a:cubicBezTo>
                      <a:pt x="223" y="82"/>
                      <a:pt x="222" y="82"/>
                      <a:pt x="222" y="82"/>
                    </a:cubicBezTo>
                    <a:cubicBezTo>
                      <a:pt x="222" y="82"/>
                      <a:pt x="222" y="82"/>
                      <a:pt x="222" y="82"/>
                    </a:cubicBezTo>
                    <a:cubicBezTo>
                      <a:pt x="222" y="83"/>
                      <a:pt x="221" y="82"/>
                      <a:pt x="221" y="82"/>
                    </a:cubicBezTo>
                    <a:cubicBezTo>
                      <a:pt x="221" y="82"/>
                      <a:pt x="220" y="82"/>
                      <a:pt x="219" y="82"/>
                    </a:cubicBezTo>
                    <a:cubicBezTo>
                      <a:pt x="219" y="82"/>
                      <a:pt x="220" y="83"/>
                      <a:pt x="220" y="83"/>
                    </a:cubicBezTo>
                    <a:cubicBezTo>
                      <a:pt x="220" y="83"/>
                      <a:pt x="220" y="83"/>
                      <a:pt x="220" y="83"/>
                    </a:cubicBezTo>
                    <a:cubicBezTo>
                      <a:pt x="219" y="83"/>
                      <a:pt x="219" y="83"/>
                      <a:pt x="219" y="83"/>
                    </a:cubicBezTo>
                    <a:cubicBezTo>
                      <a:pt x="219" y="83"/>
                      <a:pt x="219" y="83"/>
                      <a:pt x="219" y="83"/>
                    </a:cubicBezTo>
                    <a:cubicBezTo>
                      <a:pt x="219" y="83"/>
                      <a:pt x="219" y="82"/>
                      <a:pt x="219" y="82"/>
                    </a:cubicBezTo>
                    <a:cubicBezTo>
                      <a:pt x="219" y="82"/>
                      <a:pt x="218" y="82"/>
                      <a:pt x="218" y="82"/>
                    </a:cubicBezTo>
                    <a:cubicBezTo>
                      <a:pt x="218" y="82"/>
                      <a:pt x="218" y="82"/>
                      <a:pt x="218" y="82"/>
                    </a:cubicBezTo>
                    <a:cubicBezTo>
                      <a:pt x="218" y="82"/>
                      <a:pt x="217" y="82"/>
                      <a:pt x="217" y="82"/>
                    </a:cubicBezTo>
                    <a:cubicBezTo>
                      <a:pt x="217" y="82"/>
                      <a:pt x="218" y="83"/>
                      <a:pt x="217" y="83"/>
                    </a:cubicBezTo>
                    <a:cubicBezTo>
                      <a:pt x="217" y="83"/>
                      <a:pt x="216" y="82"/>
                      <a:pt x="216" y="82"/>
                    </a:cubicBezTo>
                    <a:cubicBezTo>
                      <a:pt x="217" y="83"/>
                      <a:pt x="214" y="82"/>
                      <a:pt x="214" y="83"/>
                    </a:cubicBezTo>
                    <a:cubicBezTo>
                      <a:pt x="214" y="83"/>
                      <a:pt x="215" y="83"/>
                      <a:pt x="215" y="83"/>
                    </a:cubicBezTo>
                    <a:cubicBezTo>
                      <a:pt x="215" y="83"/>
                      <a:pt x="215" y="83"/>
                      <a:pt x="215" y="83"/>
                    </a:cubicBezTo>
                    <a:cubicBezTo>
                      <a:pt x="216" y="83"/>
                      <a:pt x="216" y="83"/>
                      <a:pt x="217" y="83"/>
                    </a:cubicBezTo>
                    <a:cubicBezTo>
                      <a:pt x="216" y="83"/>
                      <a:pt x="216" y="84"/>
                      <a:pt x="215" y="84"/>
                    </a:cubicBezTo>
                    <a:cubicBezTo>
                      <a:pt x="216" y="84"/>
                      <a:pt x="216" y="84"/>
                      <a:pt x="217" y="84"/>
                    </a:cubicBezTo>
                    <a:cubicBezTo>
                      <a:pt x="217" y="83"/>
                      <a:pt x="217" y="84"/>
                      <a:pt x="217" y="84"/>
                    </a:cubicBezTo>
                    <a:cubicBezTo>
                      <a:pt x="217" y="84"/>
                      <a:pt x="217" y="84"/>
                      <a:pt x="218" y="84"/>
                    </a:cubicBezTo>
                    <a:close/>
                    <a:moveTo>
                      <a:pt x="198" y="90"/>
                    </a:moveTo>
                    <a:cubicBezTo>
                      <a:pt x="198" y="89"/>
                      <a:pt x="198" y="89"/>
                      <a:pt x="198" y="89"/>
                    </a:cubicBezTo>
                    <a:cubicBezTo>
                      <a:pt x="199" y="89"/>
                      <a:pt x="200" y="89"/>
                      <a:pt x="199" y="88"/>
                    </a:cubicBezTo>
                    <a:cubicBezTo>
                      <a:pt x="199" y="88"/>
                      <a:pt x="199" y="89"/>
                      <a:pt x="198" y="89"/>
                    </a:cubicBezTo>
                    <a:cubicBezTo>
                      <a:pt x="198" y="89"/>
                      <a:pt x="198" y="88"/>
                      <a:pt x="198" y="88"/>
                    </a:cubicBezTo>
                    <a:cubicBezTo>
                      <a:pt x="198" y="88"/>
                      <a:pt x="198" y="88"/>
                      <a:pt x="197" y="88"/>
                    </a:cubicBezTo>
                    <a:cubicBezTo>
                      <a:pt x="197" y="88"/>
                      <a:pt x="197" y="89"/>
                      <a:pt x="197" y="88"/>
                    </a:cubicBezTo>
                    <a:cubicBezTo>
                      <a:pt x="196" y="88"/>
                      <a:pt x="197" y="88"/>
                      <a:pt x="196" y="88"/>
                    </a:cubicBezTo>
                    <a:cubicBezTo>
                      <a:pt x="196" y="88"/>
                      <a:pt x="196" y="88"/>
                      <a:pt x="196" y="88"/>
                    </a:cubicBezTo>
                    <a:cubicBezTo>
                      <a:pt x="195" y="88"/>
                      <a:pt x="195" y="88"/>
                      <a:pt x="195" y="88"/>
                    </a:cubicBezTo>
                    <a:cubicBezTo>
                      <a:pt x="196" y="89"/>
                      <a:pt x="193" y="88"/>
                      <a:pt x="193" y="89"/>
                    </a:cubicBezTo>
                    <a:cubicBezTo>
                      <a:pt x="193" y="89"/>
                      <a:pt x="194" y="89"/>
                      <a:pt x="194" y="89"/>
                    </a:cubicBezTo>
                    <a:cubicBezTo>
                      <a:pt x="194" y="89"/>
                      <a:pt x="193" y="89"/>
                      <a:pt x="193" y="89"/>
                    </a:cubicBezTo>
                    <a:cubicBezTo>
                      <a:pt x="193" y="89"/>
                      <a:pt x="194" y="90"/>
                      <a:pt x="194" y="90"/>
                    </a:cubicBezTo>
                    <a:cubicBezTo>
                      <a:pt x="195" y="90"/>
                      <a:pt x="195" y="91"/>
                      <a:pt x="196" y="90"/>
                    </a:cubicBezTo>
                    <a:cubicBezTo>
                      <a:pt x="197" y="90"/>
                      <a:pt x="197" y="90"/>
                      <a:pt x="198" y="90"/>
                    </a:cubicBezTo>
                    <a:close/>
                    <a:moveTo>
                      <a:pt x="193" y="92"/>
                    </a:moveTo>
                    <a:cubicBezTo>
                      <a:pt x="194" y="92"/>
                      <a:pt x="195" y="91"/>
                      <a:pt x="195" y="91"/>
                    </a:cubicBezTo>
                    <a:cubicBezTo>
                      <a:pt x="195" y="90"/>
                      <a:pt x="194" y="90"/>
                      <a:pt x="193" y="90"/>
                    </a:cubicBezTo>
                    <a:cubicBezTo>
                      <a:pt x="193" y="90"/>
                      <a:pt x="192" y="90"/>
                      <a:pt x="192" y="90"/>
                    </a:cubicBezTo>
                    <a:cubicBezTo>
                      <a:pt x="193" y="90"/>
                      <a:pt x="193" y="90"/>
                      <a:pt x="193" y="90"/>
                    </a:cubicBezTo>
                    <a:cubicBezTo>
                      <a:pt x="193" y="91"/>
                      <a:pt x="192" y="91"/>
                      <a:pt x="193" y="92"/>
                    </a:cubicBezTo>
                    <a:cubicBezTo>
                      <a:pt x="192" y="92"/>
                      <a:pt x="193" y="90"/>
                      <a:pt x="192" y="90"/>
                    </a:cubicBezTo>
                    <a:cubicBezTo>
                      <a:pt x="191" y="90"/>
                      <a:pt x="192" y="91"/>
                      <a:pt x="191" y="91"/>
                    </a:cubicBezTo>
                    <a:cubicBezTo>
                      <a:pt x="191" y="91"/>
                      <a:pt x="191" y="91"/>
                      <a:pt x="191" y="91"/>
                    </a:cubicBezTo>
                    <a:cubicBezTo>
                      <a:pt x="190" y="91"/>
                      <a:pt x="190" y="90"/>
                      <a:pt x="190" y="91"/>
                    </a:cubicBezTo>
                    <a:cubicBezTo>
                      <a:pt x="190" y="91"/>
                      <a:pt x="190" y="91"/>
                      <a:pt x="190" y="91"/>
                    </a:cubicBezTo>
                    <a:cubicBezTo>
                      <a:pt x="191" y="91"/>
                      <a:pt x="191" y="91"/>
                      <a:pt x="192" y="91"/>
                    </a:cubicBezTo>
                    <a:cubicBezTo>
                      <a:pt x="191" y="91"/>
                      <a:pt x="190" y="91"/>
                      <a:pt x="189" y="91"/>
                    </a:cubicBezTo>
                    <a:cubicBezTo>
                      <a:pt x="189" y="92"/>
                      <a:pt x="190" y="92"/>
                      <a:pt x="190" y="92"/>
                    </a:cubicBezTo>
                    <a:cubicBezTo>
                      <a:pt x="190" y="92"/>
                      <a:pt x="190" y="92"/>
                      <a:pt x="190" y="92"/>
                    </a:cubicBezTo>
                    <a:cubicBezTo>
                      <a:pt x="190" y="92"/>
                      <a:pt x="190" y="92"/>
                      <a:pt x="190" y="92"/>
                    </a:cubicBezTo>
                    <a:cubicBezTo>
                      <a:pt x="189" y="92"/>
                      <a:pt x="189" y="92"/>
                      <a:pt x="188" y="92"/>
                    </a:cubicBezTo>
                    <a:cubicBezTo>
                      <a:pt x="187" y="93"/>
                      <a:pt x="189" y="93"/>
                      <a:pt x="189" y="93"/>
                    </a:cubicBezTo>
                    <a:cubicBezTo>
                      <a:pt x="190" y="93"/>
                      <a:pt x="191" y="93"/>
                      <a:pt x="191" y="93"/>
                    </a:cubicBezTo>
                    <a:cubicBezTo>
                      <a:pt x="192" y="93"/>
                      <a:pt x="193" y="93"/>
                      <a:pt x="193" y="93"/>
                    </a:cubicBezTo>
                    <a:cubicBezTo>
                      <a:pt x="194" y="92"/>
                      <a:pt x="193" y="92"/>
                      <a:pt x="193" y="92"/>
                    </a:cubicBezTo>
                    <a:cubicBezTo>
                      <a:pt x="193" y="92"/>
                      <a:pt x="193" y="92"/>
                      <a:pt x="193" y="92"/>
                    </a:cubicBezTo>
                    <a:close/>
                    <a:moveTo>
                      <a:pt x="188" y="94"/>
                    </a:moveTo>
                    <a:cubicBezTo>
                      <a:pt x="188" y="94"/>
                      <a:pt x="188" y="94"/>
                      <a:pt x="188" y="94"/>
                    </a:cubicBezTo>
                    <a:cubicBezTo>
                      <a:pt x="188" y="94"/>
                      <a:pt x="187" y="94"/>
                      <a:pt x="187" y="94"/>
                    </a:cubicBezTo>
                    <a:cubicBezTo>
                      <a:pt x="188" y="94"/>
                      <a:pt x="189" y="93"/>
                      <a:pt x="188" y="93"/>
                    </a:cubicBezTo>
                    <a:cubicBezTo>
                      <a:pt x="187" y="93"/>
                      <a:pt x="187" y="94"/>
                      <a:pt x="187" y="94"/>
                    </a:cubicBezTo>
                    <a:cubicBezTo>
                      <a:pt x="187" y="93"/>
                      <a:pt x="188" y="93"/>
                      <a:pt x="187" y="93"/>
                    </a:cubicBezTo>
                    <a:cubicBezTo>
                      <a:pt x="187" y="92"/>
                      <a:pt x="186" y="93"/>
                      <a:pt x="186" y="93"/>
                    </a:cubicBezTo>
                    <a:cubicBezTo>
                      <a:pt x="186" y="93"/>
                      <a:pt x="186" y="92"/>
                      <a:pt x="185" y="92"/>
                    </a:cubicBezTo>
                    <a:cubicBezTo>
                      <a:pt x="185" y="93"/>
                      <a:pt x="186" y="93"/>
                      <a:pt x="186" y="93"/>
                    </a:cubicBezTo>
                    <a:cubicBezTo>
                      <a:pt x="185" y="93"/>
                      <a:pt x="185" y="92"/>
                      <a:pt x="184" y="92"/>
                    </a:cubicBezTo>
                    <a:cubicBezTo>
                      <a:pt x="184" y="92"/>
                      <a:pt x="184" y="93"/>
                      <a:pt x="184" y="93"/>
                    </a:cubicBezTo>
                    <a:cubicBezTo>
                      <a:pt x="185" y="93"/>
                      <a:pt x="185" y="93"/>
                      <a:pt x="185" y="94"/>
                    </a:cubicBezTo>
                    <a:cubicBezTo>
                      <a:pt x="185" y="94"/>
                      <a:pt x="184" y="93"/>
                      <a:pt x="183" y="93"/>
                    </a:cubicBezTo>
                    <a:cubicBezTo>
                      <a:pt x="183" y="93"/>
                      <a:pt x="183" y="93"/>
                      <a:pt x="184" y="93"/>
                    </a:cubicBezTo>
                    <a:cubicBezTo>
                      <a:pt x="183" y="93"/>
                      <a:pt x="183" y="94"/>
                      <a:pt x="183" y="94"/>
                    </a:cubicBezTo>
                    <a:cubicBezTo>
                      <a:pt x="183" y="93"/>
                      <a:pt x="183" y="93"/>
                      <a:pt x="182" y="93"/>
                    </a:cubicBezTo>
                    <a:cubicBezTo>
                      <a:pt x="182" y="93"/>
                      <a:pt x="182" y="94"/>
                      <a:pt x="182" y="94"/>
                    </a:cubicBezTo>
                    <a:cubicBezTo>
                      <a:pt x="183" y="94"/>
                      <a:pt x="184" y="94"/>
                      <a:pt x="184" y="94"/>
                    </a:cubicBezTo>
                    <a:cubicBezTo>
                      <a:pt x="184" y="94"/>
                      <a:pt x="183" y="94"/>
                      <a:pt x="183" y="94"/>
                    </a:cubicBezTo>
                    <a:cubicBezTo>
                      <a:pt x="183" y="94"/>
                      <a:pt x="184" y="94"/>
                      <a:pt x="184" y="94"/>
                    </a:cubicBezTo>
                    <a:cubicBezTo>
                      <a:pt x="183" y="94"/>
                      <a:pt x="182" y="94"/>
                      <a:pt x="182" y="94"/>
                    </a:cubicBezTo>
                    <a:cubicBezTo>
                      <a:pt x="181" y="95"/>
                      <a:pt x="181" y="94"/>
                      <a:pt x="180" y="94"/>
                    </a:cubicBezTo>
                    <a:cubicBezTo>
                      <a:pt x="181" y="95"/>
                      <a:pt x="181" y="94"/>
                      <a:pt x="182" y="95"/>
                    </a:cubicBezTo>
                    <a:cubicBezTo>
                      <a:pt x="182" y="95"/>
                      <a:pt x="181" y="95"/>
                      <a:pt x="181" y="95"/>
                    </a:cubicBezTo>
                    <a:cubicBezTo>
                      <a:pt x="181" y="95"/>
                      <a:pt x="182" y="95"/>
                      <a:pt x="182" y="95"/>
                    </a:cubicBezTo>
                    <a:cubicBezTo>
                      <a:pt x="181" y="95"/>
                      <a:pt x="181" y="95"/>
                      <a:pt x="180" y="95"/>
                    </a:cubicBezTo>
                    <a:cubicBezTo>
                      <a:pt x="180" y="95"/>
                      <a:pt x="181" y="95"/>
                      <a:pt x="181" y="95"/>
                    </a:cubicBezTo>
                    <a:cubicBezTo>
                      <a:pt x="180" y="95"/>
                      <a:pt x="181" y="95"/>
                      <a:pt x="181" y="95"/>
                    </a:cubicBezTo>
                    <a:cubicBezTo>
                      <a:pt x="181" y="96"/>
                      <a:pt x="182" y="95"/>
                      <a:pt x="182" y="95"/>
                    </a:cubicBezTo>
                    <a:cubicBezTo>
                      <a:pt x="182" y="95"/>
                      <a:pt x="182" y="96"/>
                      <a:pt x="182" y="96"/>
                    </a:cubicBezTo>
                    <a:cubicBezTo>
                      <a:pt x="181" y="96"/>
                      <a:pt x="181" y="95"/>
                      <a:pt x="180" y="96"/>
                    </a:cubicBezTo>
                    <a:cubicBezTo>
                      <a:pt x="180" y="96"/>
                      <a:pt x="180" y="96"/>
                      <a:pt x="180" y="96"/>
                    </a:cubicBezTo>
                    <a:cubicBezTo>
                      <a:pt x="181" y="96"/>
                      <a:pt x="182" y="96"/>
                      <a:pt x="182" y="96"/>
                    </a:cubicBezTo>
                    <a:cubicBezTo>
                      <a:pt x="182" y="96"/>
                      <a:pt x="181" y="97"/>
                      <a:pt x="181" y="97"/>
                    </a:cubicBezTo>
                    <a:cubicBezTo>
                      <a:pt x="181" y="97"/>
                      <a:pt x="180" y="97"/>
                      <a:pt x="180" y="97"/>
                    </a:cubicBezTo>
                    <a:cubicBezTo>
                      <a:pt x="179" y="98"/>
                      <a:pt x="182" y="97"/>
                      <a:pt x="182" y="97"/>
                    </a:cubicBezTo>
                    <a:cubicBezTo>
                      <a:pt x="182" y="97"/>
                      <a:pt x="182" y="97"/>
                      <a:pt x="181" y="97"/>
                    </a:cubicBezTo>
                    <a:cubicBezTo>
                      <a:pt x="181" y="98"/>
                      <a:pt x="181" y="98"/>
                      <a:pt x="182" y="98"/>
                    </a:cubicBezTo>
                    <a:cubicBezTo>
                      <a:pt x="182" y="98"/>
                      <a:pt x="182" y="98"/>
                      <a:pt x="183" y="97"/>
                    </a:cubicBezTo>
                    <a:cubicBezTo>
                      <a:pt x="183" y="98"/>
                      <a:pt x="182" y="97"/>
                      <a:pt x="183" y="97"/>
                    </a:cubicBezTo>
                    <a:cubicBezTo>
                      <a:pt x="183" y="97"/>
                      <a:pt x="183" y="97"/>
                      <a:pt x="183" y="97"/>
                    </a:cubicBezTo>
                    <a:cubicBezTo>
                      <a:pt x="184" y="97"/>
                      <a:pt x="184" y="96"/>
                      <a:pt x="185" y="96"/>
                    </a:cubicBezTo>
                    <a:cubicBezTo>
                      <a:pt x="185" y="96"/>
                      <a:pt x="184" y="96"/>
                      <a:pt x="184" y="96"/>
                    </a:cubicBezTo>
                    <a:cubicBezTo>
                      <a:pt x="185" y="97"/>
                      <a:pt x="187" y="97"/>
                      <a:pt x="188" y="96"/>
                    </a:cubicBezTo>
                    <a:cubicBezTo>
                      <a:pt x="188" y="96"/>
                      <a:pt x="187" y="96"/>
                      <a:pt x="187" y="96"/>
                    </a:cubicBezTo>
                    <a:cubicBezTo>
                      <a:pt x="188" y="96"/>
                      <a:pt x="187" y="95"/>
                      <a:pt x="187" y="95"/>
                    </a:cubicBezTo>
                    <a:cubicBezTo>
                      <a:pt x="188" y="95"/>
                      <a:pt x="189" y="95"/>
                      <a:pt x="188" y="94"/>
                    </a:cubicBezTo>
                    <a:close/>
                    <a:moveTo>
                      <a:pt x="163" y="101"/>
                    </a:moveTo>
                    <a:cubicBezTo>
                      <a:pt x="163" y="101"/>
                      <a:pt x="163" y="101"/>
                      <a:pt x="163" y="101"/>
                    </a:cubicBezTo>
                    <a:cubicBezTo>
                      <a:pt x="163" y="101"/>
                      <a:pt x="165" y="102"/>
                      <a:pt x="165" y="101"/>
                    </a:cubicBezTo>
                    <a:cubicBezTo>
                      <a:pt x="165" y="101"/>
                      <a:pt x="166" y="101"/>
                      <a:pt x="166" y="101"/>
                    </a:cubicBezTo>
                    <a:cubicBezTo>
                      <a:pt x="166" y="101"/>
                      <a:pt x="166" y="100"/>
                      <a:pt x="167" y="100"/>
                    </a:cubicBezTo>
                    <a:cubicBezTo>
                      <a:pt x="167" y="100"/>
                      <a:pt x="168" y="100"/>
                      <a:pt x="167" y="100"/>
                    </a:cubicBezTo>
                    <a:cubicBezTo>
                      <a:pt x="168" y="100"/>
                      <a:pt x="168" y="100"/>
                      <a:pt x="168" y="101"/>
                    </a:cubicBezTo>
                    <a:cubicBezTo>
                      <a:pt x="168" y="100"/>
                      <a:pt x="168" y="101"/>
                      <a:pt x="167" y="101"/>
                    </a:cubicBezTo>
                    <a:cubicBezTo>
                      <a:pt x="167" y="101"/>
                      <a:pt x="166" y="101"/>
                      <a:pt x="166" y="101"/>
                    </a:cubicBezTo>
                    <a:cubicBezTo>
                      <a:pt x="166" y="101"/>
                      <a:pt x="166" y="101"/>
                      <a:pt x="166" y="101"/>
                    </a:cubicBezTo>
                    <a:cubicBezTo>
                      <a:pt x="166" y="102"/>
                      <a:pt x="168" y="102"/>
                      <a:pt x="168" y="102"/>
                    </a:cubicBezTo>
                    <a:cubicBezTo>
                      <a:pt x="168" y="101"/>
                      <a:pt x="169" y="101"/>
                      <a:pt x="169" y="101"/>
                    </a:cubicBezTo>
                    <a:cubicBezTo>
                      <a:pt x="169" y="101"/>
                      <a:pt x="170" y="101"/>
                      <a:pt x="170" y="101"/>
                    </a:cubicBezTo>
                    <a:cubicBezTo>
                      <a:pt x="170" y="100"/>
                      <a:pt x="169" y="100"/>
                      <a:pt x="169" y="100"/>
                    </a:cubicBezTo>
                    <a:cubicBezTo>
                      <a:pt x="169" y="100"/>
                      <a:pt x="170" y="100"/>
                      <a:pt x="170" y="99"/>
                    </a:cubicBezTo>
                    <a:cubicBezTo>
                      <a:pt x="169" y="99"/>
                      <a:pt x="169" y="99"/>
                      <a:pt x="169" y="99"/>
                    </a:cubicBezTo>
                    <a:cubicBezTo>
                      <a:pt x="169" y="99"/>
                      <a:pt x="169" y="99"/>
                      <a:pt x="169" y="99"/>
                    </a:cubicBezTo>
                    <a:cubicBezTo>
                      <a:pt x="169" y="98"/>
                      <a:pt x="168" y="99"/>
                      <a:pt x="168" y="98"/>
                    </a:cubicBezTo>
                    <a:cubicBezTo>
                      <a:pt x="169" y="98"/>
                      <a:pt x="168" y="98"/>
                      <a:pt x="168" y="98"/>
                    </a:cubicBezTo>
                    <a:cubicBezTo>
                      <a:pt x="169" y="98"/>
                      <a:pt x="167" y="97"/>
                      <a:pt x="167" y="98"/>
                    </a:cubicBezTo>
                    <a:cubicBezTo>
                      <a:pt x="167" y="99"/>
                      <a:pt x="168" y="99"/>
                      <a:pt x="168" y="100"/>
                    </a:cubicBezTo>
                    <a:cubicBezTo>
                      <a:pt x="168" y="99"/>
                      <a:pt x="167" y="99"/>
                      <a:pt x="167" y="100"/>
                    </a:cubicBezTo>
                    <a:cubicBezTo>
                      <a:pt x="167" y="99"/>
                      <a:pt x="167" y="99"/>
                      <a:pt x="166" y="99"/>
                    </a:cubicBezTo>
                    <a:cubicBezTo>
                      <a:pt x="167" y="99"/>
                      <a:pt x="166" y="101"/>
                      <a:pt x="166" y="100"/>
                    </a:cubicBezTo>
                    <a:cubicBezTo>
                      <a:pt x="166" y="100"/>
                      <a:pt x="166" y="100"/>
                      <a:pt x="165" y="100"/>
                    </a:cubicBezTo>
                    <a:cubicBezTo>
                      <a:pt x="165" y="100"/>
                      <a:pt x="165" y="100"/>
                      <a:pt x="165" y="100"/>
                    </a:cubicBezTo>
                    <a:cubicBezTo>
                      <a:pt x="165" y="99"/>
                      <a:pt x="164" y="100"/>
                      <a:pt x="164" y="100"/>
                    </a:cubicBezTo>
                    <a:cubicBezTo>
                      <a:pt x="164" y="100"/>
                      <a:pt x="164" y="99"/>
                      <a:pt x="163" y="100"/>
                    </a:cubicBezTo>
                    <a:cubicBezTo>
                      <a:pt x="163" y="100"/>
                      <a:pt x="164" y="100"/>
                      <a:pt x="164" y="100"/>
                    </a:cubicBezTo>
                    <a:cubicBezTo>
                      <a:pt x="164" y="100"/>
                      <a:pt x="163" y="100"/>
                      <a:pt x="163" y="101"/>
                    </a:cubicBezTo>
                    <a:cubicBezTo>
                      <a:pt x="163" y="101"/>
                      <a:pt x="163" y="101"/>
                      <a:pt x="163" y="101"/>
                    </a:cubicBezTo>
                    <a:close/>
                    <a:moveTo>
                      <a:pt x="95" y="188"/>
                    </a:moveTo>
                    <a:cubicBezTo>
                      <a:pt x="94" y="188"/>
                      <a:pt x="94" y="190"/>
                      <a:pt x="94" y="189"/>
                    </a:cubicBezTo>
                    <a:cubicBezTo>
                      <a:pt x="95" y="189"/>
                      <a:pt x="95" y="189"/>
                      <a:pt x="95" y="188"/>
                    </a:cubicBezTo>
                    <a:cubicBezTo>
                      <a:pt x="95" y="188"/>
                      <a:pt x="94" y="189"/>
                      <a:pt x="94" y="188"/>
                    </a:cubicBezTo>
                    <a:cubicBezTo>
                      <a:pt x="95" y="188"/>
                      <a:pt x="95" y="188"/>
                      <a:pt x="95" y="188"/>
                    </a:cubicBezTo>
                    <a:cubicBezTo>
                      <a:pt x="95" y="188"/>
                      <a:pt x="96" y="188"/>
                      <a:pt x="95" y="188"/>
                    </a:cubicBezTo>
                    <a:cubicBezTo>
                      <a:pt x="96" y="188"/>
                      <a:pt x="95" y="187"/>
                      <a:pt x="95" y="187"/>
                    </a:cubicBezTo>
                    <a:cubicBezTo>
                      <a:pt x="95" y="187"/>
                      <a:pt x="94" y="187"/>
                      <a:pt x="94" y="187"/>
                    </a:cubicBezTo>
                    <a:cubicBezTo>
                      <a:pt x="94" y="187"/>
                      <a:pt x="94" y="187"/>
                      <a:pt x="94" y="187"/>
                    </a:cubicBezTo>
                    <a:cubicBezTo>
                      <a:pt x="94" y="187"/>
                      <a:pt x="94" y="187"/>
                      <a:pt x="94" y="188"/>
                    </a:cubicBezTo>
                    <a:cubicBezTo>
                      <a:pt x="94" y="188"/>
                      <a:pt x="94" y="188"/>
                      <a:pt x="94" y="187"/>
                    </a:cubicBezTo>
                    <a:cubicBezTo>
                      <a:pt x="94" y="188"/>
                      <a:pt x="94" y="188"/>
                      <a:pt x="95" y="188"/>
                    </a:cubicBezTo>
                    <a:close/>
                    <a:moveTo>
                      <a:pt x="94" y="191"/>
                    </a:moveTo>
                    <a:cubicBezTo>
                      <a:pt x="94" y="191"/>
                      <a:pt x="94" y="191"/>
                      <a:pt x="94" y="192"/>
                    </a:cubicBezTo>
                    <a:cubicBezTo>
                      <a:pt x="94" y="192"/>
                      <a:pt x="94" y="192"/>
                      <a:pt x="94" y="192"/>
                    </a:cubicBezTo>
                    <a:cubicBezTo>
                      <a:pt x="94" y="192"/>
                      <a:pt x="94" y="192"/>
                      <a:pt x="95" y="192"/>
                    </a:cubicBezTo>
                    <a:cubicBezTo>
                      <a:pt x="94" y="192"/>
                      <a:pt x="94" y="194"/>
                      <a:pt x="95" y="194"/>
                    </a:cubicBezTo>
                    <a:cubicBezTo>
                      <a:pt x="95" y="194"/>
                      <a:pt x="95" y="193"/>
                      <a:pt x="95" y="192"/>
                    </a:cubicBezTo>
                    <a:cubicBezTo>
                      <a:pt x="95" y="192"/>
                      <a:pt x="95" y="191"/>
                      <a:pt x="94" y="191"/>
                    </a:cubicBezTo>
                    <a:close/>
                    <a:moveTo>
                      <a:pt x="173" y="97"/>
                    </a:moveTo>
                    <a:cubicBezTo>
                      <a:pt x="174" y="97"/>
                      <a:pt x="174" y="97"/>
                      <a:pt x="174" y="97"/>
                    </a:cubicBezTo>
                    <a:cubicBezTo>
                      <a:pt x="175" y="96"/>
                      <a:pt x="175" y="96"/>
                      <a:pt x="175" y="95"/>
                    </a:cubicBezTo>
                    <a:cubicBezTo>
                      <a:pt x="175" y="95"/>
                      <a:pt x="174" y="95"/>
                      <a:pt x="174" y="95"/>
                    </a:cubicBezTo>
                    <a:cubicBezTo>
                      <a:pt x="174" y="95"/>
                      <a:pt x="174" y="95"/>
                      <a:pt x="173" y="96"/>
                    </a:cubicBezTo>
                    <a:cubicBezTo>
                      <a:pt x="173" y="96"/>
                      <a:pt x="173" y="96"/>
                      <a:pt x="172" y="97"/>
                    </a:cubicBezTo>
                    <a:cubicBezTo>
                      <a:pt x="172" y="97"/>
                      <a:pt x="171" y="97"/>
                      <a:pt x="171" y="97"/>
                    </a:cubicBezTo>
                    <a:cubicBezTo>
                      <a:pt x="171" y="97"/>
                      <a:pt x="170" y="98"/>
                      <a:pt x="170" y="98"/>
                    </a:cubicBezTo>
                    <a:cubicBezTo>
                      <a:pt x="170" y="99"/>
                      <a:pt x="170" y="99"/>
                      <a:pt x="171" y="99"/>
                    </a:cubicBezTo>
                    <a:cubicBezTo>
                      <a:pt x="171" y="99"/>
                      <a:pt x="172" y="98"/>
                      <a:pt x="171" y="98"/>
                    </a:cubicBezTo>
                    <a:cubicBezTo>
                      <a:pt x="171" y="98"/>
                      <a:pt x="172" y="98"/>
                      <a:pt x="172" y="98"/>
                    </a:cubicBezTo>
                    <a:cubicBezTo>
                      <a:pt x="173" y="98"/>
                      <a:pt x="173" y="98"/>
                      <a:pt x="173" y="97"/>
                    </a:cubicBezTo>
                    <a:close/>
                    <a:moveTo>
                      <a:pt x="176" y="102"/>
                    </a:moveTo>
                    <a:cubicBezTo>
                      <a:pt x="177" y="102"/>
                      <a:pt x="177" y="102"/>
                      <a:pt x="177" y="102"/>
                    </a:cubicBezTo>
                    <a:cubicBezTo>
                      <a:pt x="178" y="102"/>
                      <a:pt x="178" y="101"/>
                      <a:pt x="179" y="101"/>
                    </a:cubicBezTo>
                    <a:cubicBezTo>
                      <a:pt x="179" y="101"/>
                      <a:pt x="178" y="101"/>
                      <a:pt x="178" y="101"/>
                    </a:cubicBezTo>
                    <a:cubicBezTo>
                      <a:pt x="178" y="101"/>
                      <a:pt x="178" y="101"/>
                      <a:pt x="178" y="100"/>
                    </a:cubicBezTo>
                    <a:cubicBezTo>
                      <a:pt x="178" y="100"/>
                      <a:pt x="178" y="100"/>
                      <a:pt x="178" y="100"/>
                    </a:cubicBezTo>
                    <a:cubicBezTo>
                      <a:pt x="178" y="100"/>
                      <a:pt x="178" y="100"/>
                      <a:pt x="178" y="100"/>
                    </a:cubicBezTo>
                    <a:cubicBezTo>
                      <a:pt x="178" y="100"/>
                      <a:pt x="178" y="100"/>
                      <a:pt x="178" y="100"/>
                    </a:cubicBezTo>
                    <a:cubicBezTo>
                      <a:pt x="178" y="100"/>
                      <a:pt x="178" y="99"/>
                      <a:pt x="178" y="99"/>
                    </a:cubicBezTo>
                    <a:cubicBezTo>
                      <a:pt x="178" y="99"/>
                      <a:pt x="178" y="100"/>
                      <a:pt x="178" y="99"/>
                    </a:cubicBezTo>
                    <a:cubicBezTo>
                      <a:pt x="177" y="99"/>
                      <a:pt x="178" y="99"/>
                      <a:pt x="177" y="99"/>
                    </a:cubicBezTo>
                    <a:cubicBezTo>
                      <a:pt x="177" y="99"/>
                      <a:pt x="176" y="99"/>
                      <a:pt x="176" y="99"/>
                    </a:cubicBezTo>
                    <a:cubicBezTo>
                      <a:pt x="176" y="99"/>
                      <a:pt x="176" y="99"/>
                      <a:pt x="177" y="99"/>
                    </a:cubicBezTo>
                    <a:cubicBezTo>
                      <a:pt x="176" y="99"/>
                      <a:pt x="175" y="99"/>
                      <a:pt x="175" y="100"/>
                    </a:cubicBezTo>
                    <a:cubicBezTo>
                      <a:pt x="175" y="100"/>
                      <a:pt x="176" y="100"/>
                      <a:pt x="176" y="100"/>
                    </a:cubicBezTo>
                    <a:cubicBezTo>
                      <a:pt x="175" y="100"/>
                      <a:pt x="175" y="100"/>
                      <a:pt x="175" y="100"/>
                    </a:cubicBezTo>
                    <a:cubicBezTo>
                      <a:pt x="174" y="101"/>
                      <a:pt x="175" y="101"/>
                      <a:pt x="175" y="101"/>
                    </a:cubicBezTo>
                    <a:cubicBezTo>
                      <a:pt x="175" y="101"/>
                      <a:pt x="173" y="101"/>
                      <a:pt x="173" y="101"/>
                    </a:cubicBezTo>
                    <a:cubicBezTo>
                      <a:pt x="173" y="102"/>
                      <a:pt x="173" y="102"/>
                      <a:pt x="172" y="102"/>
                    </a:cubicBezTo>
                    <a:cubicBezTo>
                      <a:pt x="173" y="102"/>
                      <a:pt x="172" y="101"/>
                      <a:pt x="173" y="101"/>
                    </a:cubicBezTo>
                    <a:cubicBezTo>
                      <a:pt x="173" y="101"/>
                      <a:pt x="174" y="101"/>
                      <a:pt x="174" y="100"/>
                    </a:cubicBezTo>
                    <a:cubicBezTo>
                      <a:pt x="175" y="99"/>
                      <a:pt x="173" y="100"/>
                      <a:pt x="173" y="100"/>
                    </a:cubicBezTo>
                    <a:cubicBezTo>
                      <a:pt x="173" y="100"/>
                      <a:pt x="174" y="98"/>
                      <a:pt x="173" y="98"/>
                    </a:cubicBezTo>
                    <a:cubicBezTo>
                      <a:pt x="173" y="98"/>
                      <a:pt x="171" y="98"/>
                      <a:pt x="172" y="99"/>
                    </a:cubicBezTo>
                    <a:cubicBezTo>
                      <a:pt x="171" y="99"/>
                      <a:pt x="171" y="99"/>
                      <a:pt x="171" y="99"/>
                    </a:cubicBezTo>
                    <a:cubicBezTo>
                      <a:pt x="171" y="99"/>
                      <a:pt x="172" y="99"/>
                      <a:pt x="172" y="100"/>
                    </a:cubicBezTo>
                    <a:cubicBezTo>
                      <a:pt x="172" y="100"/>
                      <a:pt x="170" y="99"/>
                      <a:pt x="170" y="100"/>
                    </a:cubicBezTo>
                    <a:cubicBezTo>
                      <a:pt x="170" y="100"/>
                      <a:pt x="171" y="100"/>
                      <a:pt x="171" y="100"/>
                    </a:cubicBezTo>
                    <a:cubicBezTo>
                      <a:pt x="172" y="100"/>
                      <a:pt x="172" y="100"/>
                      <a:pt x="172" y="101"/>
                    </a:cubicBezTo>
                    <a:cubicBezTo>
                      <a:pt x="172" y="101"/>
                      <a:pt x="171" y="100"/>
                      <a:pt x="170" y="100"/>
                    </a:cubicBezTo>
                    <a:cubicBezTo>
                      <a:pt x="170" y="101"/>
                      <a:pt x="171" y="101"/>
                      <a:pt x="171" y="101"/>
                    </a:cubicBezTo>
                    <a:cubicBezTo>
                      <a:pt x="171" y="101"/>
                      <a:pt x="170" y="101"/>
                      <a:pt x="170" y="101"/>
                    </a:cubicBezTo>
                    <a:cubicBezTo>
                      <a:pt x="170" y="101"/>
                      <a:pt x="169" y="101"/>
                      <a:pt x="170" y="102"/>
                    </a:cubicBezTo>
                    <a:cubicBezTo>
                      <a:pt x="169" y="102"/>
                      <a:pt x="168" y="102"/>
                      <a:pt x="169" y="102"/>
                    </a:cubicBezTo>
                    <a:cubicBezTo>
                      <a:pt x="169" y="102"/>
                      <a:pt x="170" y="102"/>
                      <a:pt x="170" y="102"/>
                    </a:cubicBezTo>
                    <a:cubicBezTo>
                      <a:pt x="170" y="103"/>
                      <a:pt x="169" y="102"/>
                      <a:pt x="169" y="103"/>
                    </a:cubicBezTo>
                    <a:cubicBezTo>
                      <a:pt x="169" y="103"/>
                      <a:pt x="170" y="103"/>
                      <a:pt x="170" y="103"/>
                    </a:cubicBezTo>
                    <a:cubicBezTo>
                      <a:pt x="169" y="103"/>
                      <a:pt x="168" y="103"/>
                      <a:pt x="168" y="104"/>
                    </a:cubicBezTo>
                    <a:cubicBezTo>
                      <a:pt x="168" y="104"/>
                      <a:pt x="167" y="105"/>
                      <a:pt x="167" y="105"/>
                    </a:cubicBezTo>
                    <a:cubicBezTo>
                      <a:pt x="168" y="105"/>
                      <a:pt x="170" y="104"/>
                      <a:pt x="169" y="104"/>
                    </a:cubicBezTo>
                    <a:cubicBezTo>
                      <a:pt x="169" y="104"/>
                      <a:pt x="171" y="103"/>
                      <a:pt x="171" y="102"/>
                    </a:cubicBezTo>
                    <a:cubicBezTo>
                      <a:pt x="172" y="103"/>
                      <a:pt x="170" y="104"/>
                      <a:pt x="170" y="104"/>
                    </a:cubicBezTo>
                    <a:cubicBezTo>
                      <a:pt x="170" y="104"/>
                      <a:pt x="171" y="104"/>
                      <a:pt x="171" y="104"/>
                    </a:cubicBezTo>
                    <a:cubicBezTo>
                      <a:pt x="172" y="104"/>
                      <a:pt x="172" y="104"/>
                      <a:pt x="173" y="104"/>
                    </a:cubicBezTo>
                    <a:cubicBezTo>
                      <a:pt x="172" y="104"/>
                      <a:pt x="173" y="103"/>
                      <a:pt x="173" y="103"/>
                    </a:cubicBezTo>
                    <a:cubicBezTo>
                      <a:pt x="174" y="103"/>
                      <a:pt x="173" y="103"/>
                      <a:pt x="173" y="103"/>
                    </a:cubicBezTo>
                    <a:cubicBezTo>
                      <a:pt x="174" y="103"/>
                      <a:pt x="173" y="103"/>
                      <a:pt x="173" y="104"/>
                    </a:cubicBezTo>
                    <a:cubicBezTo>
                      <a:pt x="174" y="104"/>
                      <a:pt x="176" y="103"/>
                      <a:pt x="175" y="102"/>
                    </a:cubicBezTo>
                    <a:cubicBezTo>
                      <a:pt x="175" y="102"/>
                      <a:pt x="176" y="102"/>
                      <a:pt x="176" y="102"/>
                    </a:cubicBezTo>
                    <a:close/>
                    <a:moveTo>
                      <a:pt x="121" y="149"/>
                    </a:moveTo>
                    <a:cubicBezTo>
                      <a:pt x="121" y="149"/>
                      <a:pt x="121" y="149"/>
                      <a:pt x="122" y="149"/>
                    </a:cubicBezTo>
                    <a:cubicBezTo>
                      <a:pt x="122" y="149"/>
                      <a:pt x="123" y="149"/>
                      <a:pt x="123" y="148"/>
                    </a:cubicBezTo>
                    <a:cubicBezTo>
                      <a:pt x="123" y="147"/>
                      <a:pt x="122" y="147"/>
                      <a:pt x="122" y="148"/>
                    </a:cubicBezTo>
                    <a:cubicBezTo>
                      <a:pt x="122" y="148"/>
                      <a:pt x="122" y="148"/>
                      <a:pt x="123" y="148"/>
                    </a:cubicBezTo>
                    <a:cubicBezTo>
                      <a:pt x="122" y="148"/>
                      <a:pt x="122" y="148"/>
                      <a:pt x="121" y="148"/>
                    </a:cubicBezTo>
                    <a:cubicBezTo>
                      <a:pt x="121" y="148"/>
                      <a:pt x="121" y="148"/>
                      <a:pt x="121" y="148"/>
                    </a:cubicBezTo>
                    <a:cubicBezTo>
                      <a:pt x="120" y="148"/>
                      <a:pt x="119" y="148"/>
                      <a:pt x="119" y="149"/>
                    </a:cubicBezTo>
                    <a:cubicBezTo>
                      <a:pt x="119" y="149"/>
                      <a:pt x="120" y="149"/>
                      <a:pt x="121" y="149"/>
                    </a:cubicBezTo>
                    <a:close/>
                    <a:moveTo>
                      <a:pt x="142" y="141"/>
                    </a:moveTo>
                    <a:cubicBezTo>
                      <a:pt x="142" y="141"/>
                      <a:pt x="141" y="141"/>
                      <a:pt x="141" y="141"/>
                    </a:cubicBezTo>
                    <a:cubicBezTo>
                      <a:pt x="141" y="141"/>
                      <a:pt x="142" y="141"/>
                      <a:pt x="141" y="141"/>
                    </a:cubicBezTo>
                    <a:cubicBezTo>
                      <a:pt x="141" y="141"/>
                      <a:pt x="141" y="141"/>
                      <a:pt x="142" y="141"/>
                    </a:cubicBezTo>
                    <a:close/>
                    <a:moveTo>
                      <a:pt x="278" y="93"/>
                    </a:moveTo>
                    <a:cubicBezTo>
                      <a:pt x="277" y="93"/>
                      <a:pt x="276" y="93"/>
                      <a:pt x="275" y="93"/>
                    </a:cubicBezTo>
                    <a:cubicBezTo>
                      <a:pt x="274" y="93"/>
                      <a:pt x="274" y="92"/>
                      <a:pt x="273" y="92"/>
                    </a:cubicBezTo>
                    <a:cubicBezTo>
                      <a:pt x="273" y="92"/>
                      <a:pt x="274" y="92"/>
                      <a:pt x="273" y="93"/>
                    </a:cubicBezTo>
                    <a:cubicBezTo>
                      <a:pt x="273" y="94"/>
                      <a:pt x="273" y="94"/>
                      <a:pt x="272" y="94"/>
                    </a:cubicBezTo>
                    <a:cubicBezTo>
                      <a:pt x="271" y="95"/>
                      <a:pt x="268" y="95"/>
                      <a:pt x="268" y="95"/>
                    </a:cubicBezTo>
                    <a:cubicBezTo>
                      <a:pt x="268" y="97"/>
                      <a:pt x="266" y="98"/>
                      <a:pt x="266" y="98"/>
                    </a:cubicBezTo>
                    <a:cubicBezTo>
                      <a:pt x="264" y="97"/>
                      <a:pt x="264" y="96"/>
                      <a:pt x="266" y="95"/>
                    </a:cubicBezTo>
                    <a:cubicBezTo>
                      <a:pt x="267" y="94"/>
                      <a:pt x="268" y="94"/>
                      <a:pt x="266" y="93"/>
                    </a:cubicBezTo>
                    <a:cubicBezTo>
                      <a:pt x="265" y="91"/>
                      <a:pt x="264" y="91"/>
                      <a:pt x="262" y="91"/>
                    </a:cubicBezTo>
                    <a:cubicBezTo>
                      <a:pt x="262" y="91"/>
                      <a:pt x="262" y="91"/>
                      <a:pt x="261" y="91"/>
                    </a:cubicBezTo>
                    <a:cubicBezTo>
                      <a:pt x="261" y="90"/>
                      <a:pt x="260" y="91"/>
                      <a:pt x="260" y="90"/>
                    </a:cubicBezTo>
                    <a:cubicBezTo>
                      <a:pt x="259" y="89"/>
                      <a:pt x="258" y="89"/>
                      <a:pt x="258" y="89"/>
                    </a:cubicBezTo>
                    <a:cubicBezTo>
                      <a:pt x="257" y="88"/>
                      <a:pt x="256" y="88"/>
                      <a:pt x="255" y="88"/>
                    </a:cubicBezTo>
                    <a:cubicBezTo>
                      <a:pt x="254" y="88"/>
                      <a:pt x="253" y="89"/>
                      <a:pt x="253" y="89"/>
                    </a:cubicBezTo>
                    <a:cubicBezTo>
                      <a:pt x="253" y="89"/>
                      <a:pt x="250" y="89"/>
                      <a:pt x="250" y="89"/>
                    </a:cubicBezTo>
                    <a:cubicBezTo>
                      <a:pt x="249" y="89"/>
                      <a:pt x="247" y="89"/>
                      <a:pt x="246" y="90"/>
                    </a:cubicBezTo>
                    <a:cubicBezTo>
                      <a:pt x="246" y="90"/>
                      <a:pt x="245" y="91"/>
                      <a:pt x="245" y="91"/>
                    </a:cubicBezTo>
                    <a:cubicBezTo>
                      <a:pt x="245" y="91"/>
                      <a:pt x="243" y="91"/>
                      <a:pt x="243" y="92"/>
                    </a:cubicBezTo>
                    <a:cubicBezTo>
                      <a:pt x="244" y="92"/>
                      <a:pt x="244" y="93"/>
                      <a:pt x="243" y="93"/>
                    </a:cubicBezTo>
                    <a:cubicBezTo>
                      <a:pt x="243" y="93"/>
                      <a:pt x="243" y="94"/>
                      <a:pt x="243" y="95"/>
                    </a:cubicBezTo>
                    <a:cubicBezTo>
                      <a:pt x="242" y="95"/>
                      <a:pt x="243" y="96"/>
                      <a:pt x="243" y="97"/>
                    </a:cubicBezTo>
                    <a:cubicBezTo>
                      <a:pt x="243" y="97"/>
                      <a:pt x="243" y="98"/>
                      <a:pt x="243" y="98"/>
                    </a:cubicBezTo>
                    <a:cubicBezTo>
                      <a:pt x="243" y="98"/>
                      <a:pt x="242" y="99"/>
                      <a:pt x="242" y="99"/>
                    </a:cubicBezTo>
                    <a:cubicBezTo>
                      <a:pt x="241" y="99"/>
                      <a:pt x="240" y="99"/>
                      <a:pt x="240" y="99"/>
                    </a:cubicBezTo>
                    <a:cubicBezTo>
                      <a:pt x="238" y="100"/>
                      <a:pt x="239" y="101"/>
                      <a:pt x="238" y="101"/>
                    </a:cubicBezTo>
                    <a:cubicBezTo>
                      <a:pt x="237" y="102"/>
                      <a:pt x="237" y="102"/>
                      <a:pt x="237" y="102"/>
                    </a:cubicBezTo>
                    <a:cubicBezTo>
                      <a:pt x="236" y="101"/>
                      <a:pt x="235" y="101"/>
                      <a:pt x="234" y="101"/>
                    </a:cubicBezTo>
                    <a:cubicBezTo>
                      <a:pt x="233" y="100"/>
                      <a:pt x="231" y="100"/>
                      <a:pt x="230" y="99"/>
                    </a:cubicBezTo>
                    <a:cubicBezTo>
                      <a:pt x="229" y="99"/>
                      <a:pt x="229" y="100"/>
                      <a:pt x="229" y="100"/>
                    </a:cubicBezTo>
                    <a:cubicBezTo>
                      <a:pt x="228" y="101"/>
                      <a:pt x="227" y="101"/>
                      <a:pt x="226" y="101"/>
                    </a:cubicBezTo>
                    <a:cubicBezTo>
                      <a:pt x="224" y="101"/>
                      <a:pt x="222" y="101"/>
                      <a:pt x="221" y="100"/>
                    </a:cubicBezTo>
                    <a:cubicBezTo>
                      <a:pt x="220" y="100"/>
                      <a:pt x="220" y="100"/>
                      <a:pt x="219" y="100"/>
                    </a:cubicBezTo>
                    <a:cubicBezTo>
                      <a:pt x="218" y="99"/>
                      <a:pt x="218" y="99"/>
                      <a:pt x="217" y="98"/>
                    </a:cubicBezTo>
                    <a:cubicBezTo>
                      <a:pt x="217" y="98"/>
                      <a:pt x="215" y="97"/>
                      <a:pt x="214" y="96"/>
                    </a:cubicBezTo>
                    <a:cubicBezTo>
                      <a:pt x="212" y="95"/>
                      <a:pt x="211" y="95"/>
                      <a:pt x="210" y="95"/>
                    </a:cubicBezTo>
                    <a:cubicBezTo>
                      <a:pt x="209" y="96"/>
                      <a:pt x="211" y="97"/>
                      <a:pt x="209" y="97"/>
                    </a:cubicBezTo>
                    <a:cubicBezTo>
                      <a:pt x="208" y="97"/>
                      <a:pt x="208" y="97"/>
                      <a:pt x="207" y="97"/>
                    </a:cubicBezTo>
                    <a:cubicBezTo>
                      <a:pt x="207" y="97"/>
                      <a:pt x="207" y="97"/>
                      <a:pt x="207" y="97"/>
                    </a:cubicBezTo>
                    <a:cubicBezTo>
                      <a:pt x="206" y="98"/>
                      <a:pt x="206" y="97"/>
                      <a:pt x="205" y="97"/>
                    </a:cubicBezTo>
                    <a:cubicBezTo>
                      <a:pt x="205" y="97"/>
                      <a:pt x="204" y="97"/>
                      <a:pt x="203" y="98"/>
                    </a:cubicBezTo>
                    <a:cubicBezTo>
                      <a:pt x="204" y="98"/>
                      <a:pt x="205" y="99"/>
                      <a:pt x="205" y="100"/>
                    </a:cubicBezTo>
                    <a:cubicBezTo>
                      <a:pt x="204" y="101"/>
                      <a:pt x="203" y="102"/>
                      <a:pt x="202" y="102"/>
                    </a:cubicBezTo>
                    <a:cubicBezTo>
                      <a:pt x="203" y="102"/>
                      <a:pt x="203" y="102"/>
                      <a:pt x="204" y="103"/>
                    </a:cubicBezTo>
                    <a:cubicBezTo>
                      <a:pt x="204" y="103"/>
                      <a:pt x="203" y="103"/>
                      <a:pt x="203" y="104"/>
                    </a:cubicBezTo>
                    <a:cubicBezTo>
                      <a:pt x="201" y="104"/>
                      <a:pt x="199" y="103"/>
                      <a:pt x="198" y="103"/>
                    </a:cubicBezTo>
                    <a:cubicBezTo>
                      <a:pt x="197" y="103"/>
                      <a:pt x="196" y="103"/>
                      <a:pt x="195" y="102"/>
                    </a:cubicBezTo>
                    <a:cubicBezTo>
                      <a:pt x="194" y="102"/>
                      <a:pt x="193" y="102"/>
                      <a:pt x="192" y="102"/>
                    </a:cubicBezTo>
                    <a:cubicBezTo>
                      <a:pt x="191" y="102"/>
                      <a:pt x="190" y="102"/>
                      <a:pt x="190" y="102"/>
                    </a:cubicBezTo>
                    <a:cubicBezTo>
                      <a:pt x="189" y="103"/>
                      <a:pt x="189" y="104"/>
                      <a:pt x="189" y="105"/>
                    </a:cubicBezTo>
                    <a:cubicBezTo>
                      <a:pt x="190" y="106"/>
                      <a:pt x="189" y="108"/>
                      <a:pt x="187" y="107"/>
                    </a:cubicBezTo>
                    <a:cubicBezTo>
                      <a:pt x="186" y="107"/>
                      <a:pt x="186" y="107"/>
                      <a:pt x="185" y="106"/>
                    </a:cubicBezTo>
                    <a:cubicBezTo>
                      <a:pt x="184" y="106"/>
                      <a:pt x="184" y="106"/>
                      <a:pt x="183" y="107"/>
                    </a:cubicBezTo>
                    <a:cubicBezTo>
                      <a:pt x="182" y="107"/>
                      <a:pt x="180" y="108"/>
                      <a:pt x="180" y="109"/>
                    </a:cubicBezTo>
                    <a:cubicBezTo>
                      <a:pt x="179" y="110"/>
                      <a:pt x="179" y="112"/>
                      <a:pt x="177" y="112"/>
                    </a:cubicBezTo>
                    <a:cubicBezTo>
                      <a:pt x="175" y="112"/>
                      <a:pt x="177" y="114"/>
                      <a:pt x="177" y="114"/>
                    </a:cubicBezTo>
                    <a:cubicBezTo>
                      <a:pt x="178" y="115"/>
                      <a:pt x="178" y="115"/>
                      <a:pt x="178" y="116"/>
                    </a:cubicBezTo>
                    <a:cubicBezTo>
                      <a:pt x="178" y="116"/>
                      <a:pt x="177" y="117"/>
                      <a:pt x="176" y="117"/>
                    </a:cubicBezTo>
                    <a:cubicBezTo>
                      <a:pt x="175" y="118"/>
                      <a:pt x="174" y="119"/>
                      <a:pt x="173" y="120"/>
                    </a:cubicBezTo>
                    <a:cubicBezTo>
                      <a:pt x="172" y="121"/>
                      <a:pt x="172" y="121"/>
                      <a:pt x="171" y="121"/>
                    </a:cubicBezTo>
                    <a:cubicBezTo>
                      <a:pt x="171" y="122"/>
                      <a:pt x="171" y="122"/>
                      <a:pt x="171" y="123"/>
                    </a:cubicBezTo>
                    <a:cubicBezTo>
                      <a:pt x="172" y="124"/>
                      <a:pt x="169" y="124"/>
                      <a:pt x="168" y="125"/>
                    </a:cubicBezTo>
                    <a:cubicBezTo>
                      <a:pt x="167" y="125"/>
                      <a:pt x="166" y="125"/>
                      <a:pt x="165" y="125"/>
                    </a:cubicBezTo>
                    <a:cubicBezTo>
                      <a:pt x="164" y="125"/>
                      <a:pt x="165" y="126"/>
                      <a:pt x="165" y="126"/>
                    </a:cubicBezTo>
                    <a:cubicBezTo>
                      <a:pt x="166" y="128"/>
                      <a:pt x="165" y="129"/>
                      <a:pt x="165" y="131"/>
                    </a:cubicBezTo>
                    <a:cubicBezTo>
                      <a:pt x="165" y="132"/>
                      <a:pt x="165" y="133"/>
                      <a:pt x="164" y="134"/>
                    </a:cubicBezTo>
                    <a:cubicBezTo>
                      <a:pt x="164" y="134"/>
                      <a:pt x="163" y="135"/>
                      <a:pt x="163" y="136"/>
                    </a:cubicBezTo>
                    <a:cubicBezTo>
                      <a:pt x="162" y="137"/>
                      <a:pt x="160" y="137"/>
                      <a:pt x="160" y="139"/>
                    </a:cubicBezTo>
                    <a:cubicBezTo>
                      <a:pt x="159" y="140"/>
                      <a:pt x="160" y="140"/>
                      <a:pt x="161" y="141"/>
                    </a:cubicBezTo>
                    <a:cubicBezTo>
                      <a:pt x="162" y="141"/>
                      <a:pt x="163" y="142"/>
                      <a:pt x="162" y="143"/>
                    </a:cubicBezTo>
                    <a:cubicBezTo>
                      <a:pt x="162" y="145"/>
                      <a:pt x="160" y="145"/>
                      <a:pt x="159" y="145"/>
                    </a:cubicBezTo>
                    <a:cubicBezTo>
                      <a:pt x="157" y="145"/>
                      <a:pt x="156" y="145"/>
                      <a:pt x="154" y="145"/>
                    </a:cubicBezTo>
                    <a:cubicBezTo>
                      <a:pt x="153" y="145"/>
                      <a:pt x="152" y="145"/>
                      <a:pt x="152" y="146"/>
                    </a:cubicBezTo>
                    <a:cubicBezTo>
                      <a:pt x="151" y="146"/>
                      <a:pt x="150" y="147"/>
                      <a:pt x="150" y="148"/>
                    </a:cubicBezTo>
                    <a:cubicBezTo>
                      <a:pt x="149" y="148"/>
                      <a:pt x="149" y="149"/>
                      <a:pt x="148" y="149"/>
                    </a:cubicBezTo>
                    <a:cubicBezTo>
                      <a:pt x="148" y="150"/>
                      <a:pt x="148" y="150"/>
                      <a:pt x="148" y="151"/>
                    </a:cubicBezTo>
                    <a:cubicBezTo>
                      <a:pt x="148" y="151"/>
                      <a:pt x="147" y="152"/>
                      <a:pt x="147" y="152"/>
                    </a:cubicBezTo>
                    <a:cubicBezTo>
                      <a:pt x="147" y="153"/>
                      <a:pt x="147" y="153"/>
                      <a:pt x="147" y="154"/>
                    </a:cubicBezTo>
                    <a:cubicBezTo>
                      <a:pt x="148" y="154"/>
                      <a:pt x="148" y="155"/>
                      <a:pt x="148" y="155"/>
                    </a:cubicBezTo>
                    <a:cubicBezTo>
                      <a:pt x="148" y="156"/>
                      <a:pt x="148" y="156"/>
                      <a:pt x="148" y="157"/>
                    </a:cubicBezTo>
                    <a:cubicBezTo>
                      <a:pt x="148" y="158"/>
                      <a:pt x="148" y="159"/>
                      <a:pt x="148" y="159"/>
                    </a:cubicBezTo>
                    <a:cubicBezTo>
                      <a:pt x="148" y="160"/>
                      <a:pt x="148" y="161"/>
                      <a:pt x="149" y="161"/>
                    </a:cubicBezTo>
                    <a:cubicBezTo>
                      <a:pt x="149" y="162"/>
                      <a:pt x="149" y="162"/>
                      <a:pt x="149" y="163"/>
                    </a:cubicBezTo>
                    <a:cubicBezTo>
                      <a:pt x="149" y="164"/>
                      <a:pt x="149" y="165"/>
                      <a:pt x="149" y="166"/>
                    </a:cubicBezTo>
                    <a:cubicBezTo>
                      <a:pt x="148" y="167"/>
                      <a:pt x="149" y="169"/>
                      <a:pt x="150" y="169"/>
                    </a:cubicBezTo>
                    <a:cubicBezTo>
                      <a:pt x="151" y="170"/>
                      <a:pt x="151" y="170"/>
                      <a:pt x="152" y="170"/>
                    </a:cubicBezTo>
                    <a:cubicBezTo>
                      <a:pt x="153" y="171"/>
                      <a:pt x="153" y="171"/>
                      <a:pt x="153" y="172"/>
                    </a:cubicBezTo>
                    <a:cubicBezTo>
                      <a:pt x="153" y="173"/>
                      <a:pt x="153" y="173"/>
                      <a:pt x="153" y="174"/>
                    </a:cubicBezTo>
                    <a:cubicBezTo>
                      <a:pt x="152" y="175"/>
                      <a:pt x="152" y="175"/>
                      <a:pt x="151" y="175"/>
                    </a:cubicBezTo>
                    <a:cubicBezTo>
                      <a:pt x="151" y="175"/>
                      <a:pt x="149" y="174"/>
                      <a:pt x="149" y="176"/>
                    </a:cubicBezTo>
                    <a:cubicBezTo>
                      <a:pt x="150" y="177"/>
                      <a:pt x="150" y="178"/>
                      <a:pt x="151" y="179"/>
                    </a:cubicBezTo>
                    <a:cubicBezTo>
                      <a:pt x="152" y="180"/>
                      <a:pt x="152" y="181"/>
                      <a:pt x="151" y="182"/>
                    </a:cubicBezTo>
                    <a:cubicBezTo>
                      <a:pt x="151" y="182"/>
                      <a:pt x="151" y="183"/>
                      <a:pt x="151" y="184"/>
                    </a:cubicBezTo>
                    <a:cubicBezTo>
                      <a:pt x="151" y="184"/>
                      <a:pt x="150" y="185"/>
                      <a:pt x="150" y="185"/>
                    </a:cubicBezTo>
                    <a:cubicBezTo>
                      <a:pt x="149" y="186"/>
                      <a:pt x="149" y="186"/>
                      <a:pt x="148" y="186"/>
                    </a:cubicBezTo>
                    <a:cubicBezTo>
                      <a:pt x="147" y="186"/>
                      <a:pt x="147" y="186"/>
                      <a:pt x="146" y="186"/>
                    </a:cubicBezTo>
                    <a:cubicBezTo>
                      <a:pt x="146" y="186"/>
                      <a:pt x="146" y="187"/>
                      <a:pt x="146" y="187"/>
                    </a:cubicBezTo>
                    <a:cubicBezTo>
                      <a:pt x="147" y="187"/>
                      <a:pt x="146" y="188"/>
                      <a:pt x="146" y="188"/>
                    </a:cubicBezTo>
                    <a:cubicBezTo>
                      <a:pt x="146" y="189"/>
                      <a:pt x="145" y="189"/>
                      <a:pt x="145" y="189"/>
                    </a:cubicBezTo>
                    <a:cubicBezTo>
                      <a:pt x="144" y="190"/>
                      <a:pt x="145" y="190"/>
                      <a:pt x="145" y="191"/>
                    </a:cubicBezTo>
                    <a:cubicBezTo>
                      <a:pt x="145" y="191"/>
                      <a:pt x="146" y="192"/>
                      <a:pt x="146" y="192"/>
                    </a:cubicBezTo>
                    <a:cubicBezTo>
                      <a:pt x="146" y="193"/>
                      <a:pt x="145" y="193"/>
                      <a:pt x="145" y="194"/>
                    </a:cubicBezTo>
                    <a:cubicBezTo>
                      <a:pt x="145" y="195"/>
                      <a:pt x="145" y="196"/>
                      <a:pt x="145" y="196"/>
                    </a:cubicBezTo>
                    <a:cubicBezTo>
                      <a:pt x="144" y="196"/>
                      <a:pt x="144" y="197"/>
                      <a:pt x="143" y="196"/>
                    </a:cubicBezTo>
                    <a:cubicBezTo>
                      <a:pt x="143" y="196"/>
                      <a:pt x="143" y="195"/>
                      <a:pt x="143" y="195"/>
                    </a:cubicBezTo>
                    <a:cubicBezTo>
                      <a:pt x="142" y="194"/>
                      <a:pt x="142" y="194"/>
                      <a:pt x="141" y="194"/>
                    </a:cubicBezTo>
                    <a:cubicBezTo>
                      <a:pt x="142" y="194"/>
                      <a:pt x="141" y="194"/>
                      <a:pt x="141" y="194"/>
                    </a:cubicBezTo>
                    <a:cubicBezTo>
                      <a:pt x="141" y="194"/>
                      <a:pt x="141" y="194"/>
                      <a:pt x="141" y="194"/>
                    </a:cubicBezTo>
                    <a:cubicBezTo>
                      <a:pt x="141" y="194"/>
                      <a:pt x="141" y="193"/>
                      <a:pt x="141" y="193"/>
                    </a:cubicBezTo>
                    <a:cubicBezTo>
                      <a:pt x="141" y="193"/>
                      <a:pt x="141" y="193"/>
                      <a:pt x="141" y="193"/>
                    </a:cubicBezTo>
                    <a:cubicBezTo>
                      <a:pt x="141" y="194"/>
                      <a:pt x="140" y="194"/>
                      <a:pt x="140" y="193"/>
                    </a:cubicBezTo>
                    <a:cubicBezTo>
                      <a:pt x="141" y="194"/>
                      <a:pt x="140" y="194"/>
                      <a:pt x="140" y="194"/>
                    </a:cubicBezTo>
                    <a:cubicBezTo>
                      <a:pt x="140" y="193"/>
                      <a:pt x="139" y="193"/>
                      <a:pt x="139" y="193"/>
                    </a:cubicBezTo>
                    <a:cubicBezTo>
                      <a:pt x="139" y="193"/>
                      <a:pt x="139" y="194"/>
                      <a:pt x="139" y="194"/>
                    </a:cubicBezTo>
                    <a:cubicBezTo>
                      <a:pt x="139" y="194"/>
                      <a:pt x="139" y="193"/>
                      <a:pt x="139" y="193"/>
                    </a:cubicBezTo>
                    <a:cubicBezTo>
                      <a:pt x="139" y="193"/>
                      <a:pt x="139" y="193"/>
                      <a:pt x="138" y="193"/>
                    </a:cubicBezTo>
                    <a:cubicBezTo>
                      <a:pt x="138" y="194"/>
                      <a:pt x="138" y="193"/>
                      <a:pt x="138" y="193"/>
                    </a:cubicBezTo>
                    <a:cubicBezTo>
                      <a:pt x="137" y="193"/>
                      <a:pt x="137" y="192"/>
                      <a:pt x="138" y="192"/>
                    </a:cubicBezTo>
                    <a:cubicBezTo>
                      <a:pt x="137" y="192"/>
                      <a:pt x="137" y="192"/>
                      <a:pt x="137" y="191"/>
                    </a:cubicBezTo>
                    <a:cubicBezTo>
                      <a:pt x="137" y="191"/>
                      <a:pt x="137" y="191"/>
                      <a:pt x="137" y="191"/>
                    </a:cubicBezTo>
                    <a:cubicBezTo>
                      <a:pt x="137" y="190"/>
                      <a:pt x="137" y="190"/>
                      <a:pt x="137" y="190"/>
                    </a:cubicBezTo>
                    <a:cubicBezTo>
                      <a:pt x="137" y="189"/>
                      <a:pt x="136" y="188"/>
                      <a:pt x="136" y="187"/>
                    </a:cubicBezTo>
                    <a:cubicBezTo>
                      <a:pt x="137" y="186"/>
                      <a:pt x="137" y="187"/>
                      <a:pt x="137" y="188"/>
                    </a:cubicBezTo>
                    <a:cubicBezTo>
                      <a:pt x="137" y="187"/>
                      <a:pt x="138" y="186"/>
                      <a:pt x="137" y="186"/>
                    </a:cubicBezTo>
                    <a:cubicBezTo>
                      <a:pt x="136" y="186"/>
                      <a:pt x="135" y="186"/>
                      <a:pt x="136" y="187"/>
                    </a:cubicBezTo>
                    <a:cubicBezTo>
                      <a:pt x="136" y="188"/>
                      <a:pt x="137" y="189"/>
                      <a:pt x="136" y="190"/>
                    </a:cubicBezTo>
                    <a:cubicBezTo>
                      <a:pt x="136" y="190"/>
                      <a:pt x="135" y="190"/>
                      <a:pt x="135" y="190"/>
                    </a:cubicBezTo>
                    <a:cubicBezTo>
                      <a:pt x="135" y="190"/>
                      <a:pt x="135" y="189"/>
                      <a:pt x="135" y="189"/>
                    </a:cubicBezTo>
                    <a:cubicBezTo>
                      <a:pt x="135" y="190"/>
                      <a:pt x="134" y="190"/>
                      <a:pt x="134" y="190"/>
                    </a:cubicBezTo>
                    <a:cubicBezTo>
                      <a:pt x="134" y="190"/>
                      <a:pt x="135" y="190"/>
                      <a:pt x="135" y="191"/>
                    </a:cubicBezTo>
                    <a:cubicBezTo>
                      <a:pt x="135" y="191"/>
                      <a:pt x="136" y="192"/>
                      <a:pt x="136" y="192"/>
                    </a:cubicBezTo>
                    <a:cubicBezTo>
                      <a:pt x="136" y="192"/>
                      <a:pt x="136" y="192"/>
                      <a:pt x="136" y="192"/>
                    </a:cubicBezTo>
                    <a:cubicBezTo>
                      <a:pt x="135" y="193"/>
                      <a:pt x="135" y="192"/>
                      <a:pt x="135" y="193"/>
                    </a:cubicBezTo>
                    <a:cubicBezTo>
                      <a:pt x="135" y="193"/>
                      <a:pt x="136" y="194"/>
                      <a:pt x="135" y="194"/>
                    </a:cubicBezTo>
                    <a:cubicBezTo>
                      <a:pt x="134" y="194"/>
                      <a:pt x="135" y="193"/>
                      <a:pt x="135" y="192"/>
                    </a:cubicBezTo>
                    <a:cubicBezTo>
                      <a:pt x="135" y="193"/>
                      <a:pt x="134" y="193"/>
                      <a:pt x="134" y="194"/>
                    </a:cubicBezTo>
                    <a:cubicBezTo>
                      <a:pt x="134" y="194"/>
                      <a:pt x="134" y="194"/>
                      <a:pt x="134" y="194"/>
                    </a:cubicBezTo>
                    <a:cubicBezTo>
                      <a:pt x="134" y="194"/>
                      <a:pt x="134" y="194"/>
                      <a:pt x="134" y="195"/>
                    </a:cubicBezTo>
                    <a:cubicBezTo>
                      <a:pt x="134" y="194"/>
                      <a:pt x="134" y="194"/>
                      <a:pt x="134" y="194"/>
                    </a:cubicBezTo>
                    <a:cubicBezTo>
                      <a:pt x="134" y="194"/>
                      <a:pt x="134" y="195"/>
                      <a:pt x="134" y="195"/>
                    </a:cubicBezTo>
                    <a:cubicBezTo>
                      <a:pt x="134" y="195"/>
                      <a:pt x="134" y="194"/>
                      <a:pt x="133" y="194"/>
                    </a:cubicBezTo>
                    <a:cubicBezTo>
                      <a:pt x="133" y="194"/>
                      <a:pt x="134" y="195"/>
                      <a:pt x="133" y="195"/>
                    </a:cubicBezTo>
                    <a:cubicBezTo>
                      <a:pt x="133" y="195"/>
                      <a:pt x="133" y="195"/>
                      <a:pt x="133" y="195"/>
                    </a:cubicBezTo>
                    <a:cubicBezTo>
                      <a:pt x="133" y="195"/>
                      <a:pt x="132" y="195"/>
                      <a:pt x="132" y="195"/>
                    </a:cubicBezTo>
                    <a:cubicBezTo>
                      <a:pt x="132" y="195"/>
                      <a:pt x="132" y="195"/>
                      <a:pt x="132" y="195"/>
                    </a:cubicBezTo>
                    <a:cubicBezTo>
                      <a:pt x="132" y="196"/>
                      <a:pt x="131" y="196"/>
                      <a:pt x="130" y="196"/>
                    </a:cubicBezTo>
                    <a:cubicBezTo>
                      <a:pt x="131" y="195"/>
                      <a:pt x="129" y="195"/>
                      <a:pt x="129" y="194"/>
                    </a:cubicBezTo>
                    <a:cubicBezTo>
                      <a:pt x="129" y="195"/>
                      <a:pt x="129" y="194"/>
                      <a:pt x="128" y="194"/>
                    </a:cubicBezTo>
                    <a:cubicBezTo>
                      <a:pt x="128" y="194"/>
                      <a:pt x="130" y="195"/>
                      <a:pt x="129" y="195"/>
                    </a:cubicBezTo>
                    <a:cubicBezTo>
                      <a:pt x="130" y="196"/>
                      <a:pt x="129" y="196"/>
                      <a:pt x="129" y="196"/>
                    </a:cubicBezTo>
                    <a:cubicBezTo>
                      <a:pt x="129" y="196"/>
                      <a:pt x="128" y="196"/>
                      <a:pt x="128" y="196"/>
                    </a:cubicBezTo>
                    <a:cubicBezTo>
                      <a:pt x="128" y="196"/>
                      <a:pt x="127" y="196"/>
                      <a:pt x="127" y="196"/>
                    </a:cubicBezTo>
                    <a:cubicBezTo>
                      <a:pt x="127" y="196"/>
                      <a:pt x="127" y="196"/>
                      <a:pt x="127" y="196"/>
                    </a:cubicBezTo>
                    <a:cubicBezTo>
                      <a:pt x="127" y="197"/>
                      <a:pt x="126" y="196"/>
                      <a:pt x="126" y="197"/>
                    </a:cubicBezTo>
                    <a:cubicBezTo>
                      <a:pt x="126" y="197"/>
                      <a:pt x="127" y="197"/>
                      <a:pt x="127" y="197"/>
                    </a:cubicBezTo>
                    <a:cubicBezTo>
                      <a:pt x="127" y="197"/>
                      <a:pt x="127" y="197"/>
                      <a:pt x="127" y="197"/>
                    </a:cubicBezTo>
                    <a:cubicBezTo>
                      <a:pt x="128" y="197"/>
                      <a:pt x="127" y="197"/>
                      <a:pt x="127" y="198"/>
                    </a:cubicBezTo>
                    <a:cubicBezTo>
                      <a:pt x="127" y="198"/>
                      <a:pt x="126" y="198"/>
                      <a:pt x="126" y="198"/>
                    </a:cubicBezTo>
                    <a:cubicBezTo>
                      <a:pt x="126" y="198"/>
                      <a:pt x="125" y="198"/>
                      <a:pt x="124" y="198"/>
                    </a:cubicBezTo>
                    <a:cubicBezTo>
                      <a:pt x="125" y="198"/>
                      <a:pt x="125" y="198"/>
                      <a:pt x="126" y="198"/>
                    </a:cubicBezTo>
                    <a:cubicBezTo>
                      <a:pt x="125" y="198"/>
                      <a:pt x="125" y="198"/>
                      <a:pt x="125" y="198"/>
                    </a:cubicBezTo>
                    <a:cubicBezTo>
                      <a:pt x="125" y="198"/>
                      <a:pt x="126" y="198"/>
                      <a:pt x="126" y="198"/>
                    </a:cubicBezTo>
                    <a:cubicBezTo>
                      <a:pt x="126" y="199"/>
                      <a:pt x="124" y="199"/>
                      <a:pt x="123" y="199"/>
                    </a:cubicBezTo>
                    <a:cubicBezTo>
                      <a:pt x="124" y="200"/>
                      <a:pt x="123" y="200"/>
                      <a:pt x="123" y="200"/>
                    </a:cubicBezTo>
                    <a:cubicBezTo>
                      <a:pt x="123" y="200"/>
                      <a:pt x="123" y="200"/>
                      <a:pt x="122" y="201"/>
                    </a:cubicBezTo>
                    <a:cubicBezTo>
                      <a:pt x="122" y="201"/>
                      <a:pt x="122" y="201"/>
                      <a:pt x="122" y="201"/>
                    </a:cubicBezTo>
                    <a:cubicBezTo>
                      <a:pt x="122" y="201"/>
                      <a:pt x="122" y="201"/>
                      <a:pt x="122" y="201"/>
                    </a:cubicBezTo>
                    <a:cubicBezTo>
                      <a:pt x="121" y="201"/>
                      <a:pt x="122" y="202"/>
                      <a:pt x="121" y="202"/>
                    </a:cubicBezTo>
                    <a:cubicBezTo>
                      <a:pt x="121" y="202"/>
                      <a:pt x="121" y="202"/>
                      <a:pt x="120" y="202"/>
                    </a:cubicBezTo>
                    <a:cubicBezTo>
                      <a:pt x="120" y="202"/>
                      <a:pt x="120" y="203"/>
                      <a:pt x="120" y="203"/>
                    </a:cubicBezTo>
                    <a:cubicBezTo>
                      <a:pt x="120" y="203"/>
                      <a:pt x="119" y="203"/>
                      <a:pt x="120" y="203"/>
                    </a:cubicBezTo>
                    <a:cubicBezTo>
                      <a:pt x="119" y="203"/>
                      <a:pt x="119" y="203"/>
                      <a:pt x="118" y="203"/>
                    </a:cubicBezTo>
                    <a:cubicBezTo>
                      <a:pt x="119" y="203"/>
                      <a:pt x="118" y="204"/>
                      <a:pt x="118" y="204"/>
                    </a:cubicBezTo>
                    <a:cubicBezTo>
                      <a:pt x="118" y="203"/>
                      <a:pt x="118" y="204"/>
                      <a:pt x="118" y="204"/>
                    </a:cubicBezTo>
                    <a:cubicBezTo>
                      <a:pt x="118" y="204"/>
                      <a:pt x="117" y="204"/>
                      <a:pt x="117" y="204"/>
                    </a:cubicBezTo>
                    <a:cubicBezTo>
                      <a:pt x="117" y="204"/>
                      <a:pt x="117" y="204"/>
                      <a:pt x="117" y="204"/>
                    </a:cubicBezTo>
                    <a:cubicBezTo>
                      <a:pt x="116" y="204"/>
                      <a:pt x="117" y="203"/>
                      <a:pt x="116" y="203"/>
                    </a:cubicBezTo>
                    <a:cubicBezTo>
                      <a:pt x="116" y="203"/>
                      <a:pt x="116" y="204"/>
                      <a:pt x="116" y="204"/>
                    </a:cubicBezTo>
                    <a:cubicBezTo>
                      <a:pt x="116" y="204"/>
                      <a:pt x="116" y="204"/>
                      <a:pt x="116" y="204"/>
                    </a:cubicBezTo>
                    <a:cubicBezTo>
                      <a:pt x="116" y="204"/>
                      <a:pt x="116" y="204"/>
                      <a:pt x="116" y="204"/>
                    </a:cubicBezTo>
                    <a:cubicBezTo>
                      <a:pt x="115" y="205"/>
                      <a:pt x="114" y="204"/>
                      <a:pt x="114" y="205"/>
                    </a:cubicBezTo>
                    <a:cubicBezTo>
                      <a:pt x="114" y="205"/>
                      <a:pt x="114" y="205"/>
                      <a:pt x="113" y="204"/>
                    </a:cubicBezTo>
                    <a:cubicBezTo>
                      <a:pt x="114" y="205"/>
                      <a:pt x="113" y="205"/>
                      <a:pt x="113" y="205"/>
                    </a:cubicBezTo>
                    <a:cubicBezTo>
                      <a:pt x="113" y="206"/>
                      <a:pt x="111" y="205"/>
                      <a:pt x="111" y="205"/>
                    </a:cubicBezTo>
                    <a:cubicBezTo>
                      <a:pt x="110" y="205"/>
                      <a:pt x="109" y="205"/>
                      <a:pt x="109" y="205"/>
                    </a:cubicBezTo>
                    <a:cubicBezTo>
                      <a:pt x="108" y="206"/>
                      <a:pt x="108" y="205"/>
                      <a:pt x="109" y="205"/>
                    </a:cubicBezTo>
                    <a:cubicBezTo>
                      <a:pt x="109" y="205"/>
                      <a:pt x="110" y="205"/>
                      <a:pt x="109" y="204"/>
                    </a:cubicBezTo>
                    <a:cubicBezTo>
                      <a:pt x="109" y="204"/>
                      <a:pt x="109" y="204"/>
                      <a:pt x="109" y="205"/>
                    </a:cubicBezTo>
                    <a:cubicBezTo>
                      <a:pt x="109" y="205"/>
                      <a:pt x="108" y="205"/>
                      <a:pt x="108" y="205"/>
                    </a:cubicBezTo>
                    <a:cubicBezTo>
                      <a:pt x="108" y="205"/>
                      <a:pt x="108" y="205"/>
                      <a:pt x="108" y="204"/>
                    </a:cubicBezTo>
                    <a:cubicBezTo>
                      <a:pt x="108" y="204"/>
                      <a:pt x="108" y="205"/>
                      <a:pt x="108" y="205"/>
                    </a:cubicBezTo>
                    <a:cubicBezTo>
                      <a:pt x="108" y="205"/>
                      <a:pt x="108" y="205"/>
                      <a:pt x="108" y="204"/>
                    </a:cubicBezTo>
                    <a:cubicBezTo>
                      <a:pt x="107" y="205"/>
                      <a:pt x="107" y="204"/>
                      <a:pt x="106" y="205"/>
                    </a:cubicBezTo>
                    <a:cubicBezTo>
                      <a:pt x="107" y="205"/>
                      <a:pt x="106" y="205"/>
                      <a:pt x="106" y="205"/>
                    </a:cubicBezTo>
                    <a:cubicBezTo>
                      <a:pt x="105" y="205"/>
                      <a:pt x="105" y="205"/>
                      <a:pt x="105" y="204"/>
                    </a:cubicBezTo>
                    <a:cubicBezTo>
                      <a:pt x="104" y="204"/>
                      <a:pt x="107" y="203"/>
                      <a:pt x="107" y="203"/>
                    </a:cubicBezTo>
                    <a:cubicBezTo>
                      <a:pt x="107" y="203"/>
                      <a:pt x="105" y="203"/>
                      <a:pt x="106" y="203"/>
                    </a:cubicBezTo>
                    <a:cubicBezTo>
                      <a:pt x="105" y="203"/>
                      <a:pt x="105" y="203"/>
                      <a:pt x="105" y="203"/>
                    </a:cubicBezTo>
                    <a:cubicBezTo>
                      <a:pt x="104" y="203"/>
                      <a:pt x="103" y="202"/>
                      <a:pt x="101" y="202"/>
                    </a:cubicBezTo>
                    <a:cubicBezTo>
                      <a:pt x="101" y="202"/>
                      <a:pt x="100" y="202"/>
                      <a:pt x="100" y="201"/>
                    </a:cubicBezTo>
                    <a:cubicBezTo>
                      <a:pt x="100" y="201"/>
                      <a:pt x="99" y="201"/>
                      <a:pt x="99" y="200"/>
                    </a:cubicBezTo>
                    <a:cubicBezTo>
                      <a:pt x="98" y="200"/>
                      <a:pt x="97" y="199"/>
                      <a:pt x="97" y="198"/>
                    </a:cubicBezTo>
                    <a:cubicBezTo>
                      <a:pt x="96" y="198"/>
                      <a:pt x="97" y="198"/>
                      <a:pt x="97" y="197"/>
                    </a:cubicBezTo>
                    <a:cubicBezTo>
                      <a:pt x="97" y="197"/>
                      <a:pt x="97" y="196"/>
                      <a:pt x="97" y="196"/>
                    </a:cubicBezTo>
                    <a:cubicBezTo>
                      <a:pt x="97" y="196"/>
                      <a:pt x="97" y="196"/>
                      <a:pt x="97" y="196"/>
                    </a:cubicBezTo>
                    <a:cubicBezTo>
                      <a:pt x="97" y="196"/>
                      <a:pt x="97" y="196"/>
                      <a:pt x="97" y="196"/>
                    </a:cubicBezTo>
                    <a:cubicBezTo>
                      <a:pt x="98" y="196"/>
                      <a:pt x="98" y="196"/>
                      <a:pt x="98" y="196"/>
                    </a:cubicBezTo>
                    <a:cubicBezTo>
                      <a:pt x="98" y="196"/>
                      <a:pt x="97" y="196"/>
                      <a:pt x="97" y="195"/>
                    </a:cubicBezTo>
                    <a:cubicBezTo>
                      <a:pt x="97" y="195"/>
                      <a:pt x="98" y="195"/>
                      <a:pt x="98" y="195"/>
                    </a:cubicBezTo>
                    <a:cubicBezTo>
                      <a:pt x="99" y="196"/>
                      <a:pt x="98" y="196"/>
                      <a:pt x="98" y="196"/>
                    </a:cubicBezTo>
                    <a:cubicBezTo>
                      <a:pt x="98" y="196"/>
                      <a:pt x="100" y="195"/>
                      <a:pt x="100" y="196"/>
                    </a:cubicBezTo>
                    <a:cubicBezTo>
                      <a:pt x="100" y="196"/>
                      <a:pt x="102" y="197"/>
                      <a:pt x="102" y="197"/>
                    </a:cubicBezTo>
                    <a:cubicBezTo>
                      <a:pt x="102" y="197"/>
                      <a:pt x="100" y="197"/>
                      <a:pt x="101" y="196"/>
                    </a:cubicBezTo>
                    <a:cubicBezTo>
                      <a:pt x="103" y="195"/>
                      <a:pt x="104" y="195"/>
                      <a:pt x="105" y="195"/>
                    </a:cubicBezTo>
                    <a:cubicBezTo>
                      <a:pt x="104" y="195"/>
                      <a:pt x="103" y="195"/>
                      <a:pt x="102" y="196"/>
                    </a:cubicBezTo>
                    <a:cubicBezTo>
                      <a:pt x="101" y="196"/>
                      <a:pt x="101" y="197"/>
                      <a:pt x="100" y="196"/>
                    </a:cubicBezTo>
                    <a:cubicBezTo>
                      <a:pt x="100" y="196"/>
                      <a:pt x="100" y="195"/>
                      <a:pt x="101" y="195"/>
                    </a:cubicBezTo>
                    <a:cubicBezTo>
                      <a:pt x="101" y="195"/>
                      <a:pt x="99" y="195"/>
                      <a:pt x="100" y="194"/>
                    </a:cubicBezTo>
                    <a:cubicBezTo>
                      <a:pt x="100" y="194"/>
                      <a:pt x="101" y="194"/>
                      <a:pt x="102" y="194"/>
                    </a:cubicBezTo>
                    <a:cubicBezTo>
                      <a:pt x="101" y="194"/>
                      <a:pt x="100" y="194"/>
                      <a:pt x="101" y="193"/>
                    </a:cubicBezTo>
                    <a:cubicBezTo>
                      <a:pt x="102" y="192"/>
                      <a:pt x="103" y="192"/>
                      <a:pt x="105" y="192"/>
                    </a:cubicBezTo>
                    <a:cubicBezTo>
                      <a:pt x="104" y="192"/>
                      <a:pt x="103" y="192"/>
                      <a:pt x="103" y="192"/>
                    </a:cubicBezTo>
                    <a:cubicBezTo>
                      <a:pt x="103" y="192"/>
                      <a:pt x="101" y="193"/>
                      <a:pt x="101" y="192"/>
                    </a:cubicBezTo>
                    <a:cubicBezTo>
                      <a:pt x="101" y="192"/>
                      <a:pt x="103" y="192"/>
                      <a:pt x="103" y="192"/>
                    </a:cubicBezTo>
                    <a:cubicBezTo>
                      <a:pt x="102" y="192"/>
                      <a:pt x="102" y="192"/>
                      <a:pt x="102" y="192"/>
                    </a:cubicBezTo>
                    <a:cubicBezTo>
                      <a:pt x="102" y="192"/>
                      <a:pt x="102" y="192"/>
                      <a:pt x="102" y="192"/>
                    </a:cubicBezTo>
                    <a:cubicBezTo>
                      <a:pt x="102" y="192"/>
                      <a:pt x="102" y="192"/>
                      <a:pt x="102" y="192"/>
                    </a:cubicBezTo>
                    <a:cubicBezTo>
                      <a:pt x="102" y="192"/>
                      <a:pt x="102" y="192"/>
                      <a:pt x="102" y="192"/>
                    </a:cubicBezTo>
                    <a:cubicBezTo>
                      <a:pt x="101" y="192"/>
                      <a:pt x="101" y="192"/>
                      <a:pt x="101" y="192"/>
                    </a:cubicBezTo>
                    <a:cubicBezTo>
                      <a:pt x="101" y="192"/>
                      <a:pt x="101" y="192"/>
                      <a:pt x="101" y="192"/>
                    </a:cubicBezTo>
                    <a:cubicBezTo>
                      <a:pt x="101" y="191"/>
                      <a:pt x="101" y="191"/>
                      <a:pt x="102" y="191"/>
                    </a:cubicBezTo>
                    <a:cubicBezTo>
                      <a:pt x="102" y="191"/>
                      <a:pt x="102" y="191"/>
                      <a:pt x="102" y="191"/>
                    </a:cubicBezTo>
                    <a:cubicBezTo>
                      <a:pt x="102" y="191"/>
                      <a:pt x="102" y="190"/>
                      <a:pt x="103" y="190"/>
                    </a:cubicBezTo>
                    <a:cubicBezTo>
                      <a:pt x="104" y="190"/>
                      <a:pt x="104" y="190"/>
                      <a:pt x="105" y="190"/>
                    </a:cubicBezTo>
                    <a:cubicBezTo>
                      <a:pt x="104" y="189"/>
                      <a:pt x="104" y="190"/>
                      <a:pt x="103" y="190"/>
                    </a:cubicBezTo>
                    <a:cubicBezTo>
                      <a:pt x="103" y="190"/>
                      <a:pt x="103" y="189"/>
                      <a:pt x="103" y="189"/>
                    </a:cubicBezTo>
                    <a:cubicBezTo>
                      <a:pt x="103" y="189"/>
                      <a:pt x="103" y="190"/>
                      <a:pt x="102" y="190"/>
                    </a:cubicBezTo>
                    <a:cubicBezTo>
                      <a:pt x="102" y="191"/>
                      <a:pt x="102" y="191"/>
                      <a:pt x="101" y="191"/>
                    </a:cubicBezTo>
                    <a:cubicBezTo>
                      <a:pt x="100" y="192"/>
                      <a:pt x="100" y="191"/>
                      <a:pt x="100" y="191"/>
                    </a:cubicBezTo>
                    <a:cubicBezTo>
                      <a:pt x="101" y="190"/>
                      <a:pt x="101" y="191"/>
                      <a:pt x="102" y="190"/>
                    </a:cubicBezTo>
                    <a:cubicBezTo>
                      <a:pt x="101" y="190"/>
                      <a:pt x="99" y="191"/>
                      <a:pt x="99" y="190"/>
                    </a:cubicBezTo>
                    <a:cubicBezTo>
                      <a:pt x="99" y="190"/>
                      <a:pt x="99" y="190"/>
                      <a:pt x="99" y="190"/>
                    </a:cubicBezTo>
                    <a:cubicBezTo>
                      <a:pt x="99" y="190"/>
                      <a:pt x="99" y="190"/>
                      <a:pt x="99" y="190"/>
                    </a:cubicBezTo>
                    <a:cubicBezTo>
                      <a:pt x="99" y="191"/>
                      <a:pt x="99" y="191"/>
                      <a:pt x="98" y="190"/>
                    </a:cubicBezTo>
                    <a:cubicBezTo>
                      <a:pt x="99" y="191"/>
                      <a:pt x="98" y="191"/>
                      <a:pt x="98" y="191"/>
                    </a:cubicBezTo>
                    <a:cubicBezTo>
                      <a:pt x="98" y="191"/>
                      <a:pt x="99" y="191"/>
                      <a:pt x="99" y="191"/>
                    </a:cubicBezTo>
                    <a:cubicBezTo>
                      <a:pt x="99" y="191"/>
                      <a:pt x="100" y="192"/>
                      <a:pt x="99" y="192"/>
                    </a:cubicBezTo>
                    <a:cubicBezTo>
                      <a:pt x="99" y="192"/>
                      <a:pt x="99" y="192"/>
                      <a:pt x="98" y="192"/>
                    </a:cubicBezTo>
                    <a:cubicBezTo>
                      <a:pt x="98" y="192"/>
                      <a:pt x="98" y="192"/>
                      <a:pt x="98" y="192"/>
                    </a:cubicBezTo>
                    <a:cubicBezTo>
                      <a:pt x="97" y="192"/>
                      <a:pt x="98" y="192"/>
                      <a:pt x="98" y="192"/>
                    </a:cubicBezTo>
                    <a:cubicBezTo>
                      <a:pt x="98" y="191"/>
                      <a:pt x="97" y="191"/>
                      <a:pt x="98" y="190"/>
                    </a:cubicBezTo>
                    <a:cubicBezTo>
                      <a:pt x="97" y="190"/>
                      <a:pt x="96" y="191"/>
                      <a:pt x="96" y="191"/>
                    </a:cubicBezTo>
                    <a:cubicBezTo>
                      <a:pt x="96" y="191"/>
                      <a:pt x="97" y="191"/>
                      <a:pt x="97" y="191"/>
                    </a:cubicBezTo>
                    <a:cubicBezTo>
                      <a:pt x="98" y="190"/>
                      <a:pt x="97" y="191"/>
                      <a:pt x="97" y="191"/>
                    </a:cubicBezTo>
                    <a:cubicBezTo>
                      <a:pt x="98" y="191"/>
                      <a:pt x="97" y="192"/>
                      <a:pt x="97" y="192"/>
                    </a:cubicBezTo>
                    <a:cubicBezTo>
                      <a:pt x="96" y="193"/>
                      <a:pt x="96" y="192"/>
                      <a:pt x="96" y="191"/>
                    </a:cubicBezTo>
                    <a:cubicBezTo>
                      <a:pt x="96" y="191"/>
                      <a:pt x="96" y="192"/>
                      <a:pt x="96" y="192"/>
                    </a:cubicBezTo>
                    <a:cubicBezTo>
                      <a:pt x="96" y="192"/>
                      <a:pt x="96" y="191"/>
                      <a:pt x="96" y="191"/>
                    </a:cubicBezTo>
                    <a:cubicBezTo>
                      <a:pt x="95" y="191"/>
                      <a:pt x="96" y="192"/>
                      <a:pt x="95" y="191"/>
                    </a:cubicBezTo>
                    <a:cubicBezTo>
                      <a:pt x="95" y="191"/>
                      <a:pt x="95" y="191"/>
                      <a:pt x="95" y="191"/>
                    </a:cubicBezTo>
                    <a:cubicBezTo>
                      <a:pt x="94" y="190"/>
                      <a:pt x="95" y="190"/>
                      <a:pt x="95" y="190"/>
                    </a:cubicBezTo>
                    <a:cubicBezTo>
                      <a:pt x="95" y="190"/>
                      <a:pt x="94" y="190"/>
                      <a:pt x="95" y="190"/>
                    </a:cubicBezTo>
                    <a:cubicBezTo>
                      <a:pt x="95" y="190"/>
                      <a:pt x="95" y="190"/>
                      <a:pt x="95" y="190"/>
                    </a:cubicBezTo>
                    <a:cubicBezTo>
                      <a:pt x="94" y="190"/>
                      <a:pt x="96" y="188"/>
                      <a:pt x="96" y="189"/>
                    </a:cubicBezTo>
                    <a:cubicBezTo>
                      <a:pt x="97" y="189"/>
                      <a:pt x="96" y="189"/>
                      <a:pt x="96" y="188"/>
                    </a:cubicBezTo>
                    <a:cubicBezTo>
                      <a:pt x="97" y="188"/>
                      <a:pt x="97" y="188"/>
                      <a:pt x="97" y="189"/>
                    </a:cubicBezTo>
                    <a:cubicBezTo>
                      <a:pt x="97" y="189"/>
                      <a:pt x="97" y="190"/>
                      <a:pt x="97" y="190"/>
                    </a:cubicBezTo>
                    <a:cubicBezTo>
                      <a:pt x="97" y="190"/>
                      <a:pt x="95" y="190"/>
                      <a:pt x="96" y="190"/>
                    </a:cubicBezTo>
                    <a:cubicBezTo>
                      <a:pt x="95" y="190"/>
                      <a:pt x="96" y="190"/>
                      <a:pt x="96" y="190"/>
                    </a:cubicBezTo>
                    <a:cubicBezTo>
                      <a:pt x="97" y="190"/>
                      <a:pt x="97" y="190"/>
                      <a:pt x="97" y="189"/>
                    </a:cubicBezTo>
                    <a:cubicBezTo>
                      <a:pt x="97" y="188"/>
                      <a:pt x="99" y="189"/>
                      <a:pt x="99" y="189"/>
                    </a:cubicBezTo>
                    <a:cubicBezTo>
                      <a:pt x="99" y="189"/>
                      <a:pt x="99" y="189"/>
                      <a:pt x="99" y="189"/>
                    </a:cubicBezTo>
                    <a:cubicBezTo>
                      <a:pt x="99" y="189"/>
                      <a:pt x="100" y="189"/>
                      <a:pt x="100" y="189"/>
                    </a:cubicBezTo>
                    <a:cubicBezTo>
                      <a:pt x="100" y="189"/>
                      <a:pt x="99" y="189"/>
                      <a:pt x="99" y="188"/>
                    </a:cubicBezTo>
                    <a:cubicBezTo>
                      <a:pt x="99" y="188"/>
                      <a:pt x="100" y="188"/>
                      <a:pt x="100" y="188"/>
                    </a:cubicBezTo>
                    <a:cubicBezTo>
                      <a:pt x="101" y="188"/>
                      <a:pt x="103" y="187"/>
                      <a:pt x="103" y="187"/>
                    </a:cubicBezTo>
                    <a:cubicBezTo>
                      <a:pt x="103" y="187"/>
                      <a:pt x="102" y="187"/>
                      <a:pt x="101" y="187"/>
                    </a:cubicBezTo>
                    <a:cubicBezTo>
                      <a:pt x="101" y="188"/>
                      <a:pt x="101" y="188"/>
                      <a:pt x="101" y="188"/>
                    </a:cubicBezTo>
                    <a:cubicBezTo>
                      <a:pt x="100" y="188"/>
                      <a:pt x="100" y="187"/>
                      <a:pt x="100" y="187"/>
                    </a:cubicBezTo>
                    <a:cubicBezTo>
                      <a:pt x="100" y="187"/>
                      <a:pt x="100" y="187"/>
                      <a:pt x="100" y="187"/>
                    </a:cubicBezTo>
                    <a:cubicBezTo>
                      <a:pt x="99" y="187"/>
                      <a:pt x="99" y="187"/>
                      <a:pt x="99" y="187"/>
                    </a:cubicBezTo>
                    <a:cubicBezTo>
                      <a:pt x="98" y="187"/>
                      <a:pt x="99" y="186"/>
                      <a:pt x="100" y="186"/>
                    </a:cubicBezTo>
                    <a:cubicBezTo>
                      <a:pt x="101" y="186"/>
                      <a:pt x="100" y="185"/>
                      <a:pt x="101" y="184"/>
                    </a:cubicBezTo>
                    <a:cubicBezTo>
                      <a:pt x="101" y="184"/>
                      <a:pt x="103" y="184"/>
                      <a:pt x="103" y="184"/>
                    </a:cubicBezTo>
                    <a:cubicBezTo>
                      <a:pt x="103" y="183"/>
                      <a:pt x="102" y="185"/>
                      <a:pt x="102" y="183"/>
                    </a:cubicBezTo>
                    <a:cubicBezTo>
                      <a:pt x="102" y="183"/>
                      <a:pt x="103" y="182"/>
                      <a:pt x="104" y="182"/>
                    </a:cubicBezTo>
                    <a:cubicBezTo>
                      <a:pt x="104" y="181"/>
                      <a:pt x="104" y="181"/>
                      <a:pt x="105" y="181"/>
                    </a:cubicBezTo>
                    <a:cubicBezTo>
                      <a:pt x="105" y="181"/>
                      <a:pt x="105" y="180"/>
                      <a:pt x="106" y="181"/>
                    </a:cubicBezTo>
                    <a:cubicBezTo>
                      <a:pt x="106" y="182"/>
                      <a:pt x="105" y="183"/>
                      <a:pt x="105" y="184"/>
                    </a:cubicBezTo>
                    <a:cubicBezTo>
                      <a:pt x="106" y="183"/>
                      <a:pt x="106" y="182"/>
                      <a:pt x="107" y="181"/>
                    </a:cubicBezTo>
                    <a:cubicBezTo>
                      <a:pt x="107" y="180"/>
                      <a:pt x="109" y="181"/>
                      <a:pt x="110" y="180"/>
                    </a:cubicBezTo>
                    <a:cubicBezTo>
                      <a:pt x="109" y="180"/>
                      <a:pt x="108" y="180"/>
                      <a:pt x="108" y="180"/>
                    </a:cubicBezTo>
                    <a:cubicBezTo>
                      <a:pt x="108" y="180"/>
                      <a:pt x="109" y="179"/>
                      <a:pt x="109" y="179"/>
                    </a:cubicBezTo>
                    <a:cubicBezTo>
                      <a:pt x="109" y="179"/>
                      <a:pt x="108" y="180"/>
                      <a:pt x="108" y="180"/>
                    </a:cubicBezTo>
                    <a:cubicBezTo>
                      <a:pt x="108" y="180"/>
                      <a:pt x="108" y="180"/>
                      <a:pt x="108" y="180"/>
                    </a:cubicBezTo>
                    <a:cubicBezTo>
                      <a:pt x="107" y="180"/>
                      <a:pt x="107" y="180"/>
                      <a:pt x="107" y="181"/>
                    </a:cubicBezTo>
                    <a:cubicBezTo>
                      <a:pt x="106" y="181"/>
                      <a:pt x="106" y="181"/>
                      <a:pt x="106" y="181"/>
                    </a:cubicBezTo>
                    <a:cubicBezTo>
                      <a:pt x="106" y="180"/>
                      <a:pt x="106" y="180"/>
                      <a:pt x="106" y="180"/>
                    </a:cubicBezTo>
                    <a:cubicBezTo>
                      <a:pt x="106" y="180"/>
                      <a:pt x="106" y="180"/>
                      <a:pt x="105" y="180"/>
                    </a:cubicBezTo>
                    <a:cubicBezTo>
                      <a:pt x="105" y="181"/>
                      <a:pt x="104" y="181"/>
                      <a:pt x="103" y="181"/>
                    </a:cubicBezTo>
                    <a:cubicBezTo>
                      <a:pt x="103" y="181"/>
                      <a:pt x="102" y="181"/>
                      <a:pt x="102" y="182"/>
                    </a:cubicBezTo>
                    <a:cubicBezTo>
                      <a:pt x="102" y="182"/>
                      <a:pt x="102" y="182"/>
                      <a:pt x="102" y="183"/>
                    </a:cubicBezTo>
                    <a:cubicBezTo>
                      <a:pt x="102" y="183"/>
                      <a:pt x="101" y="182"/>
                      <a:pt x="101" y="183"/>
                    </a:cubicBezTo>
                    <a:cubicBezTo>
                      <a:pt x="101" y="183"/>
                      <a:pt x="100" y="183"/>
                      <a:pt x="100" y="184"/>
                    </a:cubicBezTo>
                    <a:cubicBezTo>
                      <a:pt x="100" y="184"/>
                      <a:pt x="100" y="185"/>
                      <a:pt x="100" y="185"/>
                    </a:cubicBezTo>
                    <a:cubicBezTo>
                      <a:pt x="100" y="185"/>
                      <a:pt x="99" y="186"/>
                      <a:pt x="99" y="185"/>
                    </a:cubicBezTo>
                    <a:cubicBezTo>
                      <a:pt x="99" y="186"/>
                      <a:pt x="98" y="184"/>
                      <a:pt x="99" y="184"/>
                    </a:cubicBezTo>
                    <a:cubicBezTo>
                      <a:pt x="98" y="184"/>
                      <a:pt x="99" y="183"/>
                      <a:pt x="99" y="183"/>
                    </a:cubicBezTo>
                    <a:cubicBezTo>
                      <a:pt x="99" y="183"/>
                      <a:pt x="97" y="184"/>
                      <a:pt x="97" y="183"/>
                    </a:cubicBezTo>
                    <a:cubicBezTo>
                      <a:pt x="97" y="183"/>
                      <a:pt x="98" y="183"/>
                      <a:pt x="99" y="183"/>
                    </a:cubicBezTo>
                    <a:cubicBezTo>
                      <a:pt x="98" y="183"/>
                      <a:pt x="98" y="183"/>
                      <a:pt x="98" y="183"/>
                    </a:cubicBezTo>
                    <a:cubicBezTo>
                      <a:pt x="98" y="183"/>
                      <a:pt x="98" y="182"/>
                      <a:pt x="98" y="182"/>
                    </a:cubicBezTo>
                    <a:cubicBezTo>
                      <a:pt x="98" y="182"/>
                      <a:pt x="98" y="183"/>
                      <a:pt x="98" y="183"/>
                    </a:cubicBezTo>
                    <a:cubicBezTo>
                      <a:pt x="98" y="183"/>
                      <a:pt x="99" y="181"/>
                      <a:pt x="99" y="181"/>
                    </a:cubicBezTo>
                    <a:cubicBezTo>
                      <a:pt x="99" y="181"/>
                      <a:pt x="98" y="181"/>
                      <a:pt x="98" y="181"/>
                    </a:cubicBezTo>
                    <a:cubicBezTo>
                      <a:pt x="98" y="181"/>
                      <a:pt x="97" y="183"/>
                      <a:pt x="97" y="183"/>
                    </a:cubicBezTo>
                    <a:cubicBezTo>
                      <a:pt x="97" y="183"/>
                      <a:pt x="96" y="183"/>
                      <a:pt x="96" y="184"/>
                    </a:cubicBezTo>
                    <a:cubicBezTo>
                      <a:pt x="96" y="184"/>
                      <a:pt x="95" y="183"/>
                      <a:pt x="96" y="183"/>
                    </a:cubicBezTo>
                    <a:cubicBezTo>
                      <a:pt x="96" y="183"/>
                      <a:pt x="95" y="183"/>
                      <a:pt x="95" y="183"/>
                    </a:cubicBezTo>
                    <a:cubicBezTo>
                      <a:pt x="95" y="183"/>
                      <a:pt x="95" y="183"/>
                      <a:pt x="96" y="182"/>
                    </a:cubicBezTo>
                    <a:cubicBezTo>
                      <a:pt x="95" y="182"/>
                      <a:pt x="94" y="183"/>
                      <a:pt x="95" y="182"/>
                    </a:cubicBezTo>
                    <a:cubicBezTo>
                      <a:pt x="95" y="182"/>
                      <a:pt x="95" y="182"/>
                      <a:pt x="95" y="182"/>
                    </a:cubicBezTo>
                    <a:cubicBezTo>
                      <a:pt x="95" y="182"/>
                      <a:pt x="94" y="181"/>
                      <a:pt x="95" y="181"/>
                    </a:cubicBezTo>
                    <a:cubicBezTo>
                      <a:pt x="96" y="181"/>
                      <a:pt x="95" y="180"/>
                      <a:pt x="95" y="180"/>
                    </a:cubicBezTo>
                    <a:cubicBezTo>
                      <a:pt x="96" y="180"/>
                      <a:pt x="96" y="180"/>
                      <a:pt x="97" y="181"/>
                    </a:cubicBezTo>
                    <a:cubicBezTo>
                      <a:pt x="97" y="180"/>
                      <a:pt x="98" y="181"/>
                      <a:pt x="99" y="180"/>
                    </a:cubicBezTo>
                    <a:cubicBezTo>
                      <a:pt x="99" y="180"/>
                      <a:pt x="99" y="180"/>
                      <a:pt x="99" y="179"/>
                    </a:cubicBezTo>
                    <a:cubicBezTo>
                      <a:pt x="99" y="179"/>
                      <a:pt x="99" y="178"/>
                      <a:pt x="99" y="178"/>
                    </a:cubicBezTo>
                    <a:cubicBezTo>
                      <a:pt x="99" y="178"/>
                      <a:pt x="98" y="178"/>
                      <a:pt x="98" y="178"/>
                    </a:cubicBezTo>
                    <a:cubicBezTo>
                      <a:pt x="98" y="178"/>
                      <a:pt x="99" y="178"/>
                      <a:pt x="99" y="177"/>
                    </a:cubicBezTo>
                    <a:cubicBezTo>
                      <a:pt x="98" y="178"/>
                      <a:pt x="98" y="178"/>
                      <a:pt x="98" y="179"/>
                    </a:cubicBezTo>
                    <a:cubicBezTo>
                      <a:pt x="97" y="179"/>
                      <a:pt x="96" y="179"/>
                      <a:pt x="96" y="179"/>
                    </a:cubicBezTo>
                    <a:cubicBezTo>
                      <a:pt x="96" y="180"/>
                      <a:pt x="95" y="180"/>
                      <a:pt x="95" y="179"/>
                    </a:cubicBezTo>
                    <a:cubicBezTo>
                      <a:pt x="95" y="179"/>
                      <a:pt x="94" y="179"/>
                      <a:pt x="94" y="178"/>
                    </a:cubicBezTo>
                    <a:cubicBezTo>
                      <a:pt x="94" y="178"/>
                      <a:pt x="95" y="179"/>
                      <a:pt x="95" y="179"/>
                    </a:cubicBezTo>
                    <a:cubicBezTo>
                      <a:pt x="95" y="178"/>
                      <a:pt x="94" y="178"/>
                      <a:pt x="94" y="178"/>
                    </a:cubicBezTo>
                    <a:cubicBezTo>
                      <a:pt x="94" y="178"/>
                      <a:pt x="93" y="177"/>
                      <a:pt x="93" y="177"/>
                    </a:cubicBezTo>
                    <a:cubicBezTo>
                      <a:pt x="93" y="177"/>
                      <a:pt x="94" y="177"/>
                      <a:pt x="95" y="177"/>
                    </a:cubicBezTo>
                    <a:cubicBezTo>
                      <a:pt x="96" y="178"/>
                      <a:pt x="96" y="178"/>
                      <a:pt x="96" y="179"/>
                    </a:cubicBezTo>
                    <a:cubicBezTo>
                      <a:pt x="96" y="178"/>
                      <a:pt x="96" y="178"/>
                      <a:pt x="97" y="179"/>
                    </a:cubicBezTo>
                    <a:cubicBezTo>
                      <a:pt x="96" y="178"/>
                      <a:pt x="96" y="178"/>
                      <a:pt x="96" y="178"/>
                    </a:cubicBezTo>
                    <a:cubicBezTo>
                      <a:pt x="96" y="178"/>
                      <a:pt x="97" y="178"/>
                      <a:pt x="97" y="178"/>
                    </a:cubicBezTo>
                    <a:cubicBezTo>
                      <a:pt x="97" y="178"/>
                      <a:pt x="96" y="178"/>
                      <a:pt x="95" y="177"/>
                    </a:cubicBezTo>
                    <a:cubicBezTo>
                      <a:pt x="95" y="177"/>
                      <a:pt x="96" y="177"/>
                      <a:pt x="96" y="177"/>
                    </a:cubicBezTo>
                    <a:cubicBezTo>
                      <a:pt x="97" y="176"/>
                      <a:pt x="97" y="177"/>
                      <a:pt x="98" y="176"/>
                    </a:cubicBezTo>
                    <a:cubicBezTo>
                      <a:pt x="97" y="176"/>
                      <a:pt x="97" y="176"/>
                      <a:pt x="97" y="176"/>
                    </a:cubicBezTo>
                    <a:cubicBezTo>
                      <a:pt x="97" y="176"/>
                      <a:pt x="96" y="176"/>
                      <a:pt x="96" y="176"/>
                    </a:cubicBezTo>
                    <a:cubicBezTo>
                      <a:pt x="96" y="177"/>
                      <a:pt x="95" y="177"/>
                      <a:pt x="95" y="177"/>
                    </a:cubicBezTo>
                    <a:cubicBezTo>
                      <a:pt x="94" y="177"/>
                      <a:pt x="94" y="177"/>
                      <a:pt x="93" y="175"/>
                    </a:cubicBezTo>
                    <a:cubicBezTo>
                      <a:pt x="94" y="176"/>
                      <a:pt x="94" y="176"/>
                      <a:pt x="94" y="176"/>
                    </a:cubicBezTo>
                    <a:cubicBezTo>
                      <a:pt x="94" y="176"/>
                      <a:pt x="94" y="176"/>
                      <a:pt x="94" y="176"/>
                    </a:cubicBezTo>
                    <a:cubicBezTo>
                      <a:pt x="94" y="175"/>
                      <a:pt x="95" y="175"/>
                      <a:pt x="95" y="175"/>
                    </a:cubicBezTo>
                    <a:cubicBezTo>
                      <a:pt x="95" y="175"/>
                      <a:pt x="95" y="175"/>
                      <a:pt x="95" y="175"/>
                    </a:cubicBezTo>
                    <a:cubicBezTo>
                      <a:pt x="94" y="176"/>
                      <a:pt x="93" y="175"/>
                      <a:pt x="94" y="175"/>
                    </a:cubicBezTo>
                    <a:cubicBezTo>
                      <a:pt x="94" y="174"/>
                      <a:pt x="96" y="175"/>
                      <a:pt x="97" y="175"/>
                    </a:cubicBezTo>
                    <a:cubicBezTo>
                      <a:pt x="97" y="174"/>
                      <a:pt x="98" y="174"/>
                      <a:pt x="99" y="174"/>
                    </a:cubicBezTo>
                    <a:cubicBezTo>
                      <a:pt x="98" y="174"/>
                      <a:pt x="99" y="174"/>
                      <a:pt x="99" y="174"/>
                    </a:cubicBezTo>
                    <a:cubicBezTo>
                      <a:pt x="100" y="174"/>
                      <a:pt x="99" y="174"/>
                      <a:pt x="100" y="174"/>
                    </a:cubicBezTo>
                    <a:cubicBezTo>
                      <a:pt x="99" y="174"/>
                      <a:pt x="101" y="174"/>
                      <a:pt x="102" y="174"/>
                    </a:cubicBezTo>
                    <a:cubicBezTo>
                      <a:pt x="102" y="174"/>
                      <a:pt x="104" y="174"/>
                      <a:pt x="103" y="175"/>
                    </a:cubicBezTo>
                    <a:cubicBezTo>
                      <a:pt x="103" y="175"/>
                      <a:pt x="104" y="174"/>
                      <a:pt x="104" y="174"/>
                    </a:cubicBezTo>
                    <a:cubicBezTo>
                      <a:pt x="104" y="175"/>
                      <a:pt x="104" y="175"/>
                      <a:pt x="104" y="175"/>
                    </a:cubicBezTo>
                    <a:cubicBezTo>
                      <a:pt x="104" y="175"/>
                      <a:pt x="104" y="175"/>
                      <a:pt x="104" y="175"/>
                    </a:cubicBezTo>
                    <a:cubicBezTo>
                      <a:pt x="104" y="174"/>
                      <a:pt x="105" y="174"/>
                      <a:pt x="105" y="174"/>
                    </a:cubicBezTo>
                    <a:cubicBezTo>
                      <a:pt x="106" y="174"/>
                      <a:pt x="106" y="174"/>
                      <a:pt x="106" y="173"/>
                    </a:cubicBezTo>
                    <a:cubicBezTo>
                      <a:pt x="106" y="173"/>
                      <a:pt x="107" y="174"/>
                      <a:pt x="107" y="174"/>
                    </a:cubicBezTo>
                    <a:cubicBezTo>
                      <a:pt x="108" y="174"/>
                      <a:pt x="108" y="174"/>
                      <a:pt x="108" y="174"/>
                    </a:cubicBezTo>
                    <a:cubicBezTo>
                      <a:pt x="108" y="174"/>
                      <a:pt x="109" y="174"/>
                      <a:pt x="109" y="175"/>
                    </a:cubicBezTo>
                    <a:cubicBezTo>
                      <a:pt x="109" y="175"/>
                      <a:pt x="109" y="175"/>
                      <a:pt x="108" y="176"/>
                    </a:cubicBezTo>
                    <a:cubicBezTo>
                      <a:pt x="108" y="175"/>
                      <a:pt x="109" y="175"/>
                      <a:pt x="109" y="175"/>
                    </a:cubicBezTo>
                    <a:cubicBezTo>
                      <a:pt x="110" y="175"/>
                      <a:pt x="110" y="176"/>
                      <a:pt x="110" y="176"/>
                    </a:cubicBezTo>
                    <a:cubicBezTo>
                      <a:pt x="111" y="176"/>
                      <a:pt x="108" y="175"/>
                      <a:pt x="109" y="174"/>
                    </a:cubicBezTo>
                    <a:cubicBezTo>
                      <a:pt x="110" y="173"/>
                      <a:pt x="111" y="174"/>
                      <a:pt x="112" y="174"/>
                    </a:cubicBezTo>
                    <a:cubicBezTo>
                      <a:pt x="112" y="174"/>
                      <a:pt x="112" y="174"/>
                      <a:pt x="112" y="174"/>
                    </a:cubicBezTo>
                    <a:cubicBezTo>
                      <a:pt x="112" y="173"/>
                      <a:pt x="114" y="173"/>
                      <a:pt x="114" y="173"/>
                    </a:cubicBezTo>
                    <a:cubicBezTo>
                      <a:pt x="114" y="173"/>
                      <a:pt x="113" y="173"/>
                      <a:pt x="112" y="173"/>
                    </a:cubicBezTo>
                    <a:cubicBezTo>
                      <a:pt x="112" y="173"/>
                      <a:pt x="111" y="173"/>
                      <a:pt x="111" y="172"/>
                    </a:cubicBezTo>
                    <a:cubicBezTo>
                      <a:pt x="111" y="172"/>
                      <a:pt x="113" y="171"/>
                      <a:pt x="113" y="170"/>
                    </a:cubicBezTo>
                    <a:cubicBezTo>
                      <a:pt x="113" y="171"/>
                      <a:pt x="112" y="171"/>
                      <a:pt x="111" y="171"/>
                    </a:cubicBezTo>
                    <a:cubicBezTo>
                      <a:pt x="112" y="172"/>
                      <a:pt x="111" y="172"/>
                      <a:pt x="111" y="172"/>
                    </a:cubicBezTo>
                    <a:cubicBezTo>
                      <a:pt x="111" y="172"/>
                      <a:pt x="111" y="172"/>
                      <a:pt x="111" y="173"/>
                    </a:cubicBezTo>
                    <a:cubicBezTo>
                      <a:pt x="111" y="173"/>
                      <a:pt x="111" y="173"/>
                      <a:pt x="112" y="173"/>
                    </a:cubicBezTo>
                    <a:cubicBezTo>
                      <a:pt x="111" y="174"/>
                      <a:pt x="111" y="173"/>
                      <a:pt x="110" y="173"/>
                    </a:cubicBezTo>
                    <a:cubicBezTo>
                      <a:pt x="110" y="173"/>
                      <a:pt x="109" y="174"/>
                      <a:pt x="109" y="174"/>
                    </a:cubicBezTo>
                    <a:cubicBezTo>
                      <a:pt x="108" y="174"/>
                      <a:pt x="108" y="174"/>
                      <a:pt x="108" y="174"/>
                    </a:cubicBezTo>
                    <a:cubicBezTo>
                      <a:pt x="109" y="174"/>
                      <a:pt x="109" y="173"/>
                      <a:pt x="110" y="173"/>
                    </a:cubicBezTo>
                    <a:cubicBezTo>
                      <a:pt x="110" y="173"/>
                      <a:pt x="110" y="173"/>
                      <a:pt x="110" y="172"/>
                    </a:cubicBezTo>
                    <a:cubicBezTo>
                      <a:pt x="110" y="172"/>
                      <a:pt x="109" y="173"/>
                      <a:pt x="109" y="173"/>
                    </a:cubicBezTo>
                    <a:cubicBezTo>
                      <a:pt x="108" y="174"/>
                      <a:pt x="107" y="173"/>
                      <a:pt x="107" y="173"/>
                    </a:cubicBezTo>
                    <a:cubicBezTo>
                      <a:pt x="107" y="173"/>
                      <a:pt x="106" y="173"/>
                      <a:pt x="106" y="173"/>
                    </a:cubicBezTo>
                    <a:cubicBezTo>
                      <a:pt x="106" y="172"/>
                      <a:pt x="106" y="172"/>
                      <a:pt x="107" y="172"/>
                    </a:cubicBezTo>
                    <a:cubicBezTo>
                      <a:pt x="107" y="172"/>
                      <a:pt x="107" y="171"/>
                      <a:pt x="107" y="171"/>
                    </a:cubicBezTo>
                    <a:cubicBezTo>
                      <a:pt x="107" y="171"/>
                      <a:pt x="106" y="172"/>
                      <a:pt x="106" y="172"/>
                    </a:cubicBezTo>
                    <a:cubicBezTo>
                      <a:pt x="106" y="173"/>
                      <a:pt x="105" y="172"/>
                      <a:pt x="105" y="172"/>
                    </a:cubicBezTo>
                    <a:cubicBezTo>
                      <a:pt x="105" y="173"/>
                      <a:pt x="105" y="173"/>
                      <a:pt x="105" y="173"/>
                    </a:cubicBezTo>
                    <a:cubicBezTo>
                      <a:pt x="105" y="173"/>
                      <a:pt x="105" y="173"/>
                      <a:pt x="105" y="173"/>
                    </a:cubicBezTo>
                    <a:cubicBezTo>
                      <a:pt x="106" y="173"/>
                      <a:pt x="105" y="174"/>
                      <a:pt x="104" y="174"/>
                    </a:cubicBezTo>
                    <a:cubicBezTo>
                      <a:pt x="104" y="174"/>
                      <a:pt x="103" y="174"/>
                      <a:pt x="103" y="173"/>
                    </a:cubicBezTo>
                    <a:cubicBezTo>
                      <a:pt x="102" y="173"/>
                      <a:pt x="101" y="174"/>
                      <a:pt x="102" y="173"/>
                    </a:cubicBezTo>
                    <a:cubicBezTo>
                      <a:pt x="101" y="173"/>
                      <a:pt x="100" y="174"/>
                      <a:pt x="100" y="173"/>
                    </a:cubicBezTo>
                    <a:cubicBezTo>
                      <a:pt x="99" y="174"/>
                      <a:pt x="96" y="175"/>
                      <a:pt x="96" y="174"/>
                    </a:cubicBezTo>
                    <a:cubicBezTo>
                      <a:pt x="96" y="174"/>
                      <a:pt x="95" y="174"/>
                      <a:pt x="95" y="174"/>
                    </a:cubicBezTo>
                    <a:cubicBezTo>
                      <a:pt x="95" y="174"/>
                      <a:pt x="95" y="174"/>
                      <a:pt x="95" y="174"/>
                    </a:cubicBezTo>
                    <a:cubicBezTo>
                      <a:pt x="95" y="173"/>
                      <a:pt x="94" y="174"/>
                      <a:pt x="94" y="173"/>
                    </a:cubicBezTo>
                    <a:cubicBezTo>
                      <a:pt x="94" y="173"/>
                      <a:pt x="95" y="173"/>
                      <a:pt x="95" y="173"/>
                    </a:cubicBezTo>
                    <a:cubicBezTo>
                      <a:pt x="95" y="173"/>
                      <a:pt x="95" y="173"/>
                      <a:pt x="95" y="173"/>
                    </a:cubicBezTo>
                    <a:cubicBezTo>
                      <a:pt x="96" y="174"/>
                      <a:pt x="95" y="173"/>
                      <a:pt x="96" y="173"/>
                    </a:cubicBezTo>
                    <a:cubicBezTo>
                      <a:pt x="95" y="173"/>
                      <a:pt x="93" y="173"/>
                      <a:pt x="94" y="172"/>
                    </a:cubicBezTo>
                    <a:cubicBezTo>
                      <a:pt x="94" y="172"/>
                      <a:pt x="93" y="172"/>
                      <a:pt x="93" y="172"/>
                    </a:cubicBezTo>
                    <a:cubicBezTo>
                      <a:pt x="94" y="172"/>
                      <a:pt x="95" y="172"/>
                      <a:pt x="95" y="172"/>
                    </a:cubicBezTo>
                    <a:cubicBezTo>
                      <a:pt x="95" y="172"/>
                      <a:pt x="95" y="172"/>
                      <a:pt x="95" y="172"/>
                    </a:cubicBezTo>
                    <a:cubicBezTo>
                      <a:pt x="95" y="172"/>
                      <a:pt x="94" y="172"/>
                      <a:pt x="94" y="172"/>
                    </a:cubicBezTo>
                    <a:cubicBezTo>
                      <a:pt x="95" y="171"/>
                      <a:pt x="94" y="172"/>
                      <a:pt x="94" y="171"/>
                    </a:cubicBezTo>
                    <a:cubicBezTo>
                      <a:pt x="94" y="171"/>
                      <a:pt x="94" y="171"/>
                      <a:pt x="95" y="171"/>
                    </a:cubicBezTo>
                    <a:cubicBezTo>
                      <a:pt x="95" y="171"/>
                      <a:pt x="93" y="171"/>
                      <a:pt x="93" y="171"/>
                    </a:cubicBezTo>
                    <a:cubicBezTo>
                      <a:pt x="94" y="170"/>
                      <a:pt x="96" y="171"/>
                      <a:pt x="96" y="171"/>
                    </a:cubicBezTo>
                    <a:cubicBezTo>
                      <a:pt x="96" y="170"/>
                      <a:pt x="97" y="170"/>
                      <a:pt x="97" y="170"/>
                    </a:cubicBezTo>
                    <a:cubicBezTo>
                      <a:pt x="97" y="170"/>
                      <a:pt x="97" y="170"/>
                      <a:pt x="97" y="170"/>
                    </a:cubicBezTo>
                    <a:cubicBezTo>
                      <a:pt x="97" y="170"/>
                      <a:pt x="96" y="170"/>
                      <a:pt x="95" y="170"/>
                    </a:cubicBezTo>
                    <a:cubicBezTo>
                      <a:pt x="94" y="170"/>
                      <a:pt x="96" y="170"/>
                      <a:pt x="97" y="170"/>
                    </a:cubicBezTo>
                    <a:cubicBezTo>
                      <a:pt x="96" y="169"/>
                      <a:pt x="96" y="169"/>
                      <a:pt x="95" y="169"/>
                    </a:cubicBezTo>
                    <a:cubicBezTo>
                      <a:pt x="95" y="169"/>
                      <a:pt x="95" y="169"/>
                      <a:pt x="95" y="169"/>
                    </a:cubicBezTo>
                    <a:cubicBezTo>
                      <a:pt x="95" y="169"/>
                      <a:pt x="94" y="169"/>
                      <a:pt x="94" y="169"/>
                    </a:cubicBezTo>
                    <a:cubicBezTo>
                      <a:pt x="95" y="169"/>
                      <a:pt x="96" y="169"/>
                      <a:pt x="97" y="169"/>
                    </a:cubicBezTo>
                    <a:cubicBezTo>
                      <a:pt x="96" y="169"/>
                      <a:pt x="93" y="169"/>
                      <a:pt x="94" y="168"/>
                    </a:cubicBezTo>
                    <a:cubicBezTo>
                      <a:pt x="94" y="167"/>
                      <a:pt x="94" y="168"/>
                      <a:pt x="95" y="168"/>
                    </a:cubicBezTo>
                    <a:cubicBezTo>
                      <a:pt x="95" y="168"/>
                      <a:pt x="96" y="168"/>
                      <a:pt x="95" y="168"/>
                    </a:cubicBezTo>
                    <a:cubicBezTo>
                      <a:pt x="95" y="167"/>
                      <a:pt x="96" y="167"/>
                      <a:pt x="96" y="167"/>
                    </a:cubicBezTo>
                    <a:cubicBezTo>
                      <a:pt x="96" y="167"/>
                      <a:pt x="95" y="168"/>
                      <a:pt x="95" y="167"/>
                    </a:cubicBezTo>
                    <a:cubicBezTo>
                      <a:pt x="95" y="167"/>
                      <a:pt x="96" y="167"/>
                      <a:pt x="96" y="167"/>
                    </a:cubicBezTo>
                    <a:cubicBezTo>
                      <a:pt x="96" y="167"/>
                      <a:pt x="97" y="166"/>
                      <a:pt x="97" y="166"/>
                    </a:cubicBezTo>
                    <a:cubicBezTo>
                      <a:pt x="98" y="166"/>
                      <a:pt x="99" y="166"/>
                      <a:pt x="99" y="167"/>
                    </a:cubicBezTo>
                    <a:cubicBezTo>
                      <a:pt x="99" y="167"/>
                      <a:pt x="99" y="167"/>
                      <a:pt x="99" y="167"/>
                    </a:cubicBezTo>
                    <a:cubicBezTo>
                      <a:pt x="99" y="167"/>
                      <a:pt x="100" y="166"/>
                      <a:pt x="101" y="167"/>
                    </a:cubicBezTo>
                    <a:cubicBezTo>
                      <a:pt x="102" y="167"/>
                      <a:pt x="101" y="168"/>
                      <a:pt x="100" y="168"/>
                    </a:cubicBezTo>
                    <a:cubicBezTo>
                      <a:pt x="101" y="168"/>
                      <a:pt x="101" y="167"/>
                      <a:pt x="101" y="167"/>
                    </a:cubicBezTo>
                    <a:cubicBezTo>
                      <a:pt x="102" y="167"/>
                      <a:pt x="102" y="168"/>
                      <a:pt x="103" y="167"/>
                    </a:cubicBezTo>
                    <a:cubicBezTo>
                      <a:pt x="103" y="167"/>
                      <a:pt x="102" y="167"/>
                      <a:pt x="102" y="167"/>
                    </a:cubicBezTo>
                    <a:cubicBezTo>
                      <a:pt x="103" y="167"/>
                      <a:pt x="104" y="167"/>
                      <a:pt x="105" y="167"/>
                    </a:cubicBezTo>
                    <a:cubicBezTo>
                      <a:pt x="105" y="167"/>
                      <a:pt x="106" y="167"/>
                      <a:pt x="106" y="167"/>
                    </a:cubicBezTo>
                    <a:cubicBezTo>
                      <a:pt x="106" y="166"/>
                      <a:pt x="107" y="167"/>
                      <a:pt x="108" y="166"/>
                    </a:cubicBezTo>
                    <a:cubicBezTo>
                      <a:pt x="107" y="166"/>
                      <a:pt x="106" y="166"/>
                      <a:pt x="105" y="166"/>
                    </a:cubicBezTo>
                    <a:cubicBezTo>
                      <a:pt x="105" y="167"/>
                      <a:pt x="104" y="167"/>
                      <a:pt x="104" y="167"/>
                    </a:cubicBezTo>
                    <a:cubicBezTo>
                      <a:pt x="103" y="167"/>
                      <a:pt x="102" y="166"/>
                      <a:pt x="101" y="166"/>
                    </a:cubicBezTo>
                    <a:cubicBezTo>
                      <a:pt x="101" y="166"/>
                      <a:pt x="100" y="167"/>
                      <a:pt x="99" y="166"/>
                    </a:cubicBezTo>
                    <a:cubicBezTo>
                      <a:pt x="100" y="166"/>
                      <a:pt x="101" y="166"/>
                      <a:pt x="101" y="166"/>
                    </a:cubicBezTo>
                    <a:cubicBezTo>
                      <a:pt x="101" y="166"/>
                      <a:pt x="100" y="166"/>
                      <a:pt x="100" y="166"/>
                    </a:cubicBezTo>
                    <a:cubicBezTo>
                      <a:pt x="99" y="166"/>
                      <a:pt x="98" y="166"/>
                      <a:pt x="97" y="166"/>
                    </a:cubicBezTo>
                    <a:cubicBezTo>
                      <a:pt x="97" y="166"/>
                      <a:pt x="96" y="166"/>
                      <a:pt x="95" y="166"/>
                    </a:cubicBezTo>
                    <a:cubicBezTo>
                      <a:pt x="95" y="166"/>
                      <a:pt x="95" y="165"/>
                      <a:pt x="95" y="165"/>
                    </a:cubicBezTo>
                    <a:cubicBezTo>
                      <a:pt x="95" y="165"/>
                      <a:pt x="96" y="165"/>
                      <a:pt x="96" y="165"/>
                    </a:cubicBezTo>
                    <a:cubicBezTo>
                      <a:pt x="96" y="165"/>
                      <a:pt x="97" y="165"/>
                      <a:pt x="97" y="165"/>
                    </a:cubicBezTo>
                    <a:cubicBezTo>
                      <a:pt x="97" y="165"/>
                      <a:pt x="95" y="164"/>
                      <a:pt x="95" y="164"/>
                    </a:cubicBezTo>
                    <a:cubicBezTo>
                      <a:pt x="95" y="164"/>
                      <a:pt x="95" y="164"/>
                      <a:pt x="95" y="164"/>
                    </a:cubicBezTo>
                    <a:cubicBezTo>
                      <a:pt x="94" y="163"/>
                      <a:pt x="96" y="163"/>
                      <a:pt x="96" y="163"/>
                    </a:cubicBezTo>
                    <a:cubicBezTo>
                      <a:pt x="96" y="164"/>
                      <a:pt x="98" y="165"/>
                      <a:pt x="97" y="165"/>
                    </a:cubicBezTo>
                    <a:cubicBezTo>
                      <a:pt x="98" y="165"/>
                      <a:pt x="98" y="164"/>
                      <a:pt x="98" y="165"/>
                    </a:cubicBezTo>
                    <a:cubicBezTo>
                      <a:pt x="99" y="164"/>
                      <a:pt x="97" y="164"/>
                      <a:pt x="97" y="164"/>
                    </a:cubicBezTo>
                    <a:cubicBezTo>
                      <a:pt x="97" y="164"/>
                      <a:pt x="98" y="163"/>
                      <a:pt x="98" y="163"/>
                    </a:cubicBezTo>
                    <a:cubicBezTo>
                      <a:pt x="98" y="163"/>
                      <a:pt x="98" y="163"/>
                      <a:pt x="99" y="164"/>
                    </a:cubicBezTo>
                    <a:cubicBezTo>
                      <a:pt x="99" y="164"/>
                      <a:pt x="99" y="164"/>
                      <a:pt x="99" y="164"/>
                    </a:cubicBezTo>
                    <a:cubicBezTo>
                      <a:pt x="99" y="164"/>
                      <a:pt x="99" y="164"/>
                      <a:pt x="99" y="163"/>
                    </a:cubicBezTo>
                    <a:cubicBezTo>
                      <a:pt x="100" y="163"/>
                      <a:pt x="100" y="163"/>
                      <a:pt x="101" y="163"/>
                    </a:cubicBezTo>
                    <a:cubicBezTo>
                      <a:pt x="102" y="163"/>
                      <a:pt x="101" y="164"/>
                      <a:pt x="100" y="165"/>
                    </a:cubicBezTo>
                    <a:cubicBezTo>
                      <a:pt x="101" y="165"/>
                      <a:pt x="101" y="164"/>
                      <a:pt x="101" y="164"/>
                    </a:cubicBezTo>
                    <a:cubicBezTo>
                      <a:pt x="102" y="164"/>
                      <a:pt x="102" y="164"/>
                      <a:pt x="102" y="164"/>
                    </a:cubicBezTo>
                    <a:cubicBezTo>
                      <a:pt x="103" y="164"/>
                      <a:pt x="103" y="164"/>
                      <a:pt x="104" y="164"/>
                    </a:cubicBezTo>
                    <a:cubicBezTo>
                      <a:pt x="103" y="164"/>
                      <a:pt x="102" y="164"/>
                      <a:pt x="101" y="163"/>
                    </a:cubicBezTo>
                    <a:cubicBezTo>
                      <a:pt x="102" y="163"/>
                      <a:pt x="102" y="163"/>
                      <a:pt x="102" y="163"/>
                    </a:cubicBezTo>
                    <a:cubicBezTo>
                      <a:pt x="102" y="163"/>
                      <a:pt x="102" y="163"/>
                      <a:pt x="101" y="163"/>
                    </a:cubicBezTo>
                    <a:cubicBezTo>
                      <a:pt x="102" y="162"/>
                      <a:pt x="104" y="161"/>
                      <a:pt x="104" y="162"/>
                    </a:cubicBezTo>
                    <a:cubicBezTo>
                      <a:pt x="105" y="162"/>
                      <a:pt x="106" y="164"/>
                      <a:pt x="106" y="164"/>
                    </a:cubicBezTo>
                    <a:cubicBezTo>
                      <a:pt x="106" y="164"/>
                      <a:pt x="105" y="163"/>
                      <a:pt x="106" y="163"/>
                    </a:cubicBezTo>
                    <a:cubicBezTo>
                      <a:pt x="105" y="163"/>
                      <a:pt x="105" y="162"/>
                      <a:pt x="105" y="162"/>
                    </a:cubicBezTo>
                    <a:cubicBezTo>
                      <a:pt x="105" y="162"/>
                      <a:pt x="105" y="161"/>
                      <a:pt x="105" y="161"/>
                    </a:cubicBezTo>
                    <a:cubicBezTo>
                      <a:pt x="105" y="161"/>
                      <a:pt x="106" y="161"/>
                      <a:pt x="106" y="162"/>
                    </a:cubicBezTo>
                    <a:cubicBezTo>
                      <a:pt x="106" y="160"/>
                      <a:pt x="108" y="161"/>
                      <a:pt x="108" y="161"/>
                    </a:cubicBezTo>
                    <a:cubicBezTo>
                      <a:pt x="108" y="162"/>
                      <a:pt x="109" y="162"/>
                      <a:pt x="109" y="162"/>
                    </a:cubicBezTo>
                    <a:cubicBezTo>
                      <a:pt x="110" y="163"/>
                      <a:pt x="109" y="164"/>
                      <a:pt x="108" y="164"/>
                    </a:cubicBezTo>
                    <a:cubicBezTo>
                      <a:pt x="109" y="164"/>
                      <a:pt x="109" y="164"/>
                      <a:pt x="109" y="164"/>
                    </a:cubicBezTo>
                    <a:cubicBezTo>
                      <a:pt x="110" y="164"/>
                      <a:pt x="110" y="164"/>
                      <a:pt x="111" y="164"/>
                    </a:cubicBezTo>
                    <a:cubicBezTo>
                      <a:pt x="110" y="164"/>
                      <a:pt x="110" y="164"/>
                      <a:pt x="109" y="164"/>
                    </a:cubicBezTo>
                    <a:cubicBezTo>
                      <a:pt x="108" y="164"/>
                      <a:pt x="109" y="164"/>
                      <a:pt x="109" y="163"/>
                    </a:cubicBezTo>
                    <a:cubicBezTo>
                      <a:pt x="109" y="162"/>
                      <a:pt x="109" y="162"/>
                      <a:pt x="110" y="162"/>
                    </a:cubicBezTo>
                    <a:cubicBezTo>
                      <a:pt x="111" y="163"/>
                      <a:pt x="111" y="162"/>
                      <a:pt x="112" y="163"/>
                    </a:cubicBezTo>
                    <a:cubicBezTo>
                      <a:pt x="112" y="162"/>
                      <a:pt x="108" y="163"/>
                      <a:pt x="109" y="162"/>
                    </a:cubicBezTo>
                    <a:cubicBezTo>
                      <a:pt x="109" y="161"/>
                      <a:pt x="109" y="161"/>
                      <a:pt x="108" y="161"/>
                    </a:cubicBezTo>
                    <a:cubicBezTo>
                      <a:pt x="108" y="160"/>
                      <a:pt x="107" y="160"/>
                      <a:pt x="107" y="160"/>
                    </a:cubicBezTo>
                    <a:cubicBezTo>
                      <a:pt x="106" y="161"/>
                      <a:pt x="106" y="161"/>
                      <a:pt x="105" y="161"/>
                    </a:cubicBezTo>
                    <a:cubicBezTo>
                      <a:pt x="104" y="161"/>
                      <a:pt x="104" y="161"/>
                      <a:pt x="104" y="161"/>
                    </a:cubicBezTo>
                    <a:cubicBezTo>
                      <a:pt x="104" y="160"/>
                      <a:pt x="105" y="160"/>
                      <a:pt x="105" y="160"/>
                    </a:cubicBezTo>
                    <a:cubicBezTo>
                      <a:pt x="106" y="160"/>
                      <a:pt x="106" y="160"/>
                      <a:pt x="107" y="160"/>
                    </a:cubicBezTo>
                    <a:cubicBezTo>
                      <a:pt x="106" y="160"/>
                      <a:pt x="106" y="160"/>
                      <a:pt x="105" y="160"/>
                    </a:cubicBezTo>
                    <a:cubicBezTo>
                      <a:pt x="105" y="160"/>
                      <a:pt x="106" y="160"/>
                      <a:pt x="106" y="160"/>
                    </a:cubicBezTo>
                    <a:cubicBezTo>
                      <a:pt x="105" y="160"/>
                      <a:pt x="104" y="160"/>
                      <a:pt x="104" y="160"/>
                    </a:cubicBezTo>
                    <a:cubicBezTo>
                      <a:pt x="103" y="159"/>
                      <a:pt x="105" y="159"/>
                      <a:pt x="105" y="159"/>
                    </a:cubicBezTo>
                    <a:cubicBezTo>
                      <a:pt x="105" y="158"/>
                      <a:pt x="106" y="159"/>
                      <a:pt x="106" y="159"/>
                    </a:cubicBezTo>
                    <a:cubicBezTo>
                      <a:pt x="106" y="159"/>
                      <a:pt x="107" y="159"/>
                      <a:pt x="107" y="159"/>
                    </a:cubicBezTo>
                    <a:cubicBezTo>
                      <a:pt x="108" y="159"/>
                      <a:pt x="108" y="159"/>
                      <a:pt x="108" y="159"/>
                    </a:cubicBezTo>
                    <a:cubicBezTo>
                      <a:pt x="108" y="159"/>
                      <a:pt x="109" y="159"/>
                      <a:pt x="108" y="159"/>
                    </a:cubicBezTo>
                    <a:cubicBezTo>
                      <a:pt x="109" y="159"/>
                      <a:pt x="109" y="159"/>
                      <a:pt x="110" y="159"/>
                    </a:cubicBezTo>
                    <a:cubicBezTo>
                      <a:pt x="110" y="159"/>
                      <a:pt x="109" y="159"/>
                      <a:pt x="109" y="159"/>
                    </a:cubicBezTo>
                    <a:cubicBezTo>
                      <a:pt x="110" y="159"/>
                      <a:pt x="110" y="159"/>
                      <a:pt x="110" y="160"/>
                    </a:cubicBezTo>
                    <a:cubicBezTo>
                      <a:pt x="110" y="159"/>
                      <a:pt x="110" y="159"/>
                      <a:pt x="111" y="159"/>
                    </a:cubicBezTo>
                    <a:cubicBezTo>
                      <a:pt x="111" y="159"/>
                      <a:pt x="112" y="159"/>
                      <a:pt x="112" y="160"/>
                    </a:cubicBezTo>
                    <a:cubicBezTo>
                      <a:pt x="113" y="160"/>
                      <a:pt x="114" y="160"/>
                      <a:pt x="115" y="159"/>
                    </a:cubicBezTo>
                    <a:cubicBezTo>
                      <a:pt x="114" y="159"/>
                      <a:pt x="113" y="160"/>
                      <a:pt x="113" y="159"/>
                    </a:cubicBezTo>
                    <a:cubicBezTo>
                      <a:pt x="112" y="159"/>
                      <a:pt x="112" y="159"/>
                      <a:pt x="113" y="159"/>
                    </a:cubicBezTo>
                    <a:cubicBezTo>
                      <a:pt x="113" y="159"/>
                      <a:pt x="113" y="159"/>
                      <a:pt x="113" y="159"/>
                    </a:cubicBezTo>
                    <a:cubicBezTo>
                      <a:pt x="113" y="159"/>
                      <a:pt x="113" y="159"/>
                      <a:pt x="113" y="159"/>
                    </a:cubicBezTo>
                    <a:cubicBezTo>
                      <a:pt x="114" y="158"/>
                      <a:pt x="114" y="158"/>
                      <a:pt x="115" y="158"/>
                    </a:cubicBezTo>
                    <a:cubicBezTo>
                      <a:pt x="115" y="158"/>
                      <a:pt x="115" y="158"/>
                      <a:pt x="116" y="158"/>
                    </a:cubicBezTo>
                    <a:cubicBezTo>
                      <a:pt x="116" y="158"/>
                      <a:pt x="116" y="158"/>
                      <a:pt x="117" y="158"/>
                    </a:cubicBezTo>
                    <a:cubicBezTo>
                      <a:pt x="117" y="158"/>
                      <a:pt x="117" y="158"/>
                      <a:pt x="118" y="158"/>
                    </a:cubicBezTo>
                    <a:cubicBezTo>
                      <a:pt x="116" y="156"/>
                      <a:pt x="114" y="159"/>
                      <a:pt x="112" y="158"/>
                    </a:cubicBezTo>
                    <a:cubicBezTo>
                      <a:pt x="112" y="158"/>
                      <a:pt x="112" y="158"/>
                      <a:pt x="112" y="158"/>
                    </a:cubicBezTo>
                    <a:cubicBezTo>
                      <a:pt x="113" y="158"/>
                      <a:pt x="114" y="158"/>
                      <a:pt x="114" y="157"/>
                    </a:cubicBezTo>
                    <a:cubicBezTo>
                      <a:pt x="114" y="157"/>
                      <a:pt x="113" y="157"/>
                      <a:pt x="112" y="158"/>
                    </a:cubicBezTo>
                    <a:cubicBezTo>
                      <a:pt x="111" y="158"/>
                      <a:pt x="111" y="158"/>
                      <a:pt x="110" y="158"/>
                    </a:cubicBezTo>
                    <a:cubicBezTo>
                      <a:pt x="109" y="158"/>
                      <a:pt x="109" y="158"/>
                      <a:pt x="109" y="157"/>
                    </a:cubicBezTo>
                    <a:cubicBezTo>
                      <a:pt x="110" y="157"/>
                      <a:pt x="110" y="157"/>
                      <a:pt x="111" y="157"/>
                    </a:cubicBezTo>
                    <a:cubicBezTo>
                      <a:pt x="110" y="157"/>
                      <a:pt x="110" y="157"/>
                      <a:pt x="110" y="157"/>
                    </a:cubicBezTo>
                    <a:cubicBezTo>
                      <a:pt x="109" y="157"/>
                      <a:pt x="109" y="157"/>
                      <a:pt x="109" y="156"/>
                    </a:cubicBezTo>
                    <a:cubicBezTo>
                      <a:pt x="108" y="156"/>
                      <a:pt x="110" y="155"/>
                      <a:pt x="111" y="155"/>
                    </a:cubicBezTo>
                    <a:cubicBezTo>
                      <a:pt x="112" y="155"/>
                      <a:pt x="112" y="156"/>
                      <a:pt x="113" y="156"/>
                    </a:cubicBezTo>
                    <a:cubicBezTo>
                      <a:pt x="114" y="156"/>
                      <a:pt x="114" y="155"/>
                      <a:pt x="115" y="156"/>
                    </a:cubicBezTo>
                    <a:cubicBezTo>
                      <a:pt x="115" y="156"/>
                      <a:pt x="114" y="156"/>
                      <a:pt x="114" y="156"/>
                    </a:cubicBezTo>
                    <a:cubicBezTo>
                      <a:pt x="116" y="156"/>
                      <a:pt x="117" y="155"/>
                      <a:pt x="118" y="157"/>
                    </a:cubicBezTo>
                    <a:cubicBezTo>
                      <a:pt x="118" y="157"/>
                      <a:pt x="119" y="157"/>
                      <a:pt x="120" y="158"/>
                    </a:cubicBezTo>
                    <a:cubicBezTo>
                      <a:pt x="120" y="158"/>
                      <a:pt x="121" y="158"/>
                      <a:pt x="121" y="158"/>
                    </a:cubicBezTo>
                    <a:cubicBezTo>
                      <a:pt x="121" y="158"/>
                      <a:pt x="119" y="157"/>
                      <a:pt x="119" y="157"/>
                    </a:cubicBezTo>
                    <a:cubicBezTo>
                      <a:pt x="119" y="157"/>
                      <a:pt x="117" y="156"/>
                      <a:pt x="118" y="156"/>
                    </a:cubicBezTo>
                    <a:cubicBezTo>
                      <a:pt x="118" y="156"/>
                      <a:pt x="118" y="156"/>
                      <a:pt x="117" y="156"/>
                    </a:cubicBezTo>
                    <a:cubicBezTo>
                      <a:pt x="117" y="155"/>
                      <a:pt x="117" y="155"/>
                      <a:pt x="116" y="155"/>
                    </a:cubicBezTo>
                    <a:cubicBezTo>
                      <a:pt x="117" y="155"/>
                      <a:pt x="116" y="155"/>
                      <a:pt x="116" y="155"/>
                    </a:cubicBezTo>
                    <a:cubicBezTo>
                      <a:pt x="116" y="155"/>
                      <a:pt x="117" y="154"/>
                      <a:pt x="117" y="154"/>
                    </a:cubicBezTo>
                    <a:cubicBezTo>
                      <a:pt x="118" y="154"/>
                      <a:pt x="118" y="155"/>
                      <a:pt x="118" y="155"/>
                    </a:cubicBezTo>
                    <a:cubicBezTo>
                      <a:pt x="118" y="155"/>
                      <a:pt x="118" y="155"/>
                      <a:pt x="119" y="155"/>
                    </a:cubicBezTo>
                    <a:cubicBezTo>
                      <a:pt x="119" y="155"/>
                      <a:pt x="119" y="156"/>
                      <a:pt x="119" y="157"/>
                    </a:cubicBezTo>
                    <a:cubicBezTo>
                      <a:pt x="120" y="156"/>
                      <a:pt x="120" y="157"/>
                      <a:pt x="121" y="157"/>
                    </a:cubicBezTo>
                    <a:cubicBezTo>
                      <a:pt x="120" y="157"/>
                      <a:pt x="120" y="156"/>
                      <a:pt x="120" y="156"/>
                    </a:cubicBezTo>
                    <a:cubicBezTo>
                      <a:pt x="120" y="156"/>
                      <a:pt x="121" y="156"/>
                      <a:pt x="121" y="157"/>
                    </a:cubicBezTo>
                    <a:cubicBezTo>
                      <a:pt x="121" y="157"/>
                      <a:pt x="122" y="157"/>
                      <a:pt x="122" y="157"/>
                    </a:cubicBezTo>
                    <a:cubicBezTo>
                      <a:pt x="122" y="157"/>
                      <a:pt x="120" y="156"/>
                      <a:pt x="120" y="156"/>
                    </a:cubicBezTo>
                    <a:cubicBezTo>
                      <a:pt x="120" y="156"/>
                      <a:pt x="121" y="156"/>
                      <a:pt x="122" y="155"/>
                    </a:cubicBezTo>
                    <a:cubicBezTo>
                      <a:pt x="122" y="155"/>
                      <a:pt x="121" y="155"/>
                      <a:pt x="120" y="155"/>
                    </a:cubicBezTo>
                    <a:cubicBezTo>
                      <a:pt x="121" y="155"/>
                      <a:pt x="121" y="155"/>
                      <a:pt x="121" y="155"/>
                    </a:cubicBezTo>
                    <a:cubicBezTo>
                      <a:pt x="121" y="155"/>
                      <a:pt x="120" y="156"/>
                      <a:pt x="119" y="155"/>
                    </a:cubicBezTo>
                    <a:cubicBezTo>
                      <a:pt x="120" y="155"/>
                      <a:pt x="120" y="155"/>
                      <a:pt x="120" y="155"/>
                    </a:cubicBezTo>
                    <a:cubicBezTo>
                      <a:pt x="120" y="155"/>
                      <a:pt x="119" y="155"/>
                      <a:pt x="119" y="155"/>
                    </a:cubicBezTo>
                    <a:cubicBezTo>
                      <a:pt x="119" y="155"/>
                      <a:pt x="118" y="154"/>
                      <a:pt x="118" y="154"/>
                    </a:cubicBezTo>
                    <a:cubicBezTo>
                      <a:pt x="118" y="154"/>
                      <a:pt x="119" y="154"/>
                      <a:pt x="119" y="154"/>
                    </a:cubicBezTo>
                    <a:cubicBezTo>
                      <a:pt x="119" y="154"/>
                      <a:pt x="119" y="154"/>
                      <a:pt x="119" y="154"/>
                    </a:cubicBezTo>
                    <a:cubicBezTo>
                      <a:pt x="119" y="154"/>
                      <a:pt x="119" y="154"/>
                      <a:pt x="119" y="154"/>
                    </a:cubicBezTo>
                    <a:cubicBezTo>
                      <a:pt x="120" y="154"/>
                      <a:pt x="121" y="154"/>
                      <a:pt x="121" y="154"/>
                    </a:cubicBezTo>
                    <a:cubicBezTo>
                      <a:pt x="121" y="154"/>
                      <a:pt x="121" y="154"/>
                      <a:pt x="121" y="154"/>
                    </a:cubicBezTo>
                    <a:cubicBezTo>
                      <a:pt x="121" y="154"/>
                      <a:pt x="122" y="153"/>
                      <a:pt x="122" y="153"/>
                    </a:cubicBezTo>
                    <a:cubicBezTo>
                      <a:pt x="123" y="153"/>
                      <a:pt x="124" y="153"/>
                      <a:pt x="124" y="153"/>
                    </a:cubicBezTo>
                    <a:cubicBezTo>
                      <a:pt x="123" y="153"/>
                      <a:pt x="122" y="154"/>
                      <a:pt x="121" y="153"/>
                    </a:cubicBezTo>
                    <a:cubicBezTo>
                      <a:pt x="120" y="152"/>
                      <a:pt x="122" y="152"/>
                      <a:pt x="122" y="152"/>
                    </a:cubicBezTo>
                    <a:cubicBezTo>
                      <a:pt x="122" y="152"/>
                      <a:pt x="122" y="151"/>
                      <a:pt x="122" y="151"/>
                    </a:cubicBezTo>
                    <a:cubicBezTo>
                      <a:pt x="123" y="151"/>
                      <a:pt x="123" y="151"/>
                      <a:pt x="123" y="151"/>
                    </a:cubicBezTo>
                    <a:cubicBezTo>
                      <a:pt x="124" y="151"/>
                      <a:pt x="124" y="151"/>
                      <a:pt x="124" y="151"/>
                    </a:cubicBezTo>
                    <a:cubicBezTo>
                      <a:pt x="124" y="151"/>
                      <a:pt x="125" y="151"/>
                      <a:pt x="125" y="151"/>
                    </a:cubicBezTo>
                    <a:cubicBezTo>
                      <a:pt x="125" y="152"/>
                      <a:pt x="125" y="152"/>
                      <a:pt x="125" y="153"/>
                    </a:cubicBezTo>
                    <a:cubicBezTo>
                      <a:pt x="125" y="152"/>
                      <a:pt x="127" y="152"/>
                      <a:pt x="128" y="151"/>
                    </a:cubicBezTo>
                    <a:cubicBezTo>
                      <a:pt x="128" y="151"/>
                      <a:pt x="126" y="152"/>
                      <a:pt x="126" y="151"/>
                    </a:cubicBezTo>
                    <a:cubicBezTo>
                      <a:pt x="126" y="151"/>
                      <a:pt x="128" y="151"/>
                      <a:pt x="128" y="151"/>
                    </a:cubicBezTo>
                    <a:cubicBezTo>
                      <a:pt x="128" y="151"/>
                      <a:pt x="127" y="151"/>
                      <a:pt x="126" y="151"/>
                    </a:cubicBezTo>
                    <a:cubicBezTo>
                      <a:pt x="126" y="151"/>
                      <a:pt x="125" y="151"/>
                      <a:pt x="126" y="150"/>
                    </a:cubicBezTo>
                    <a:cubicBezTo>
                      <a:pt x="126" y="150"/>
                      <a:pt x="126" y="150"/>
                      <a:pt x="127" y="150"/>
                    </a:cubicBezTo>
                    <a:cubicBezTo>
                      <a:pt x="127" y="150"/>
                      <a:pt x="127" y="150"/>
                      <a:pt x="127" y="150"/>
                    </a:cubicBezTo>
                    <a:cubicBezTo>
                      <a:pt x="128" y="150"/>
                      <a:pt x="128" y="150"/>
                      <a:pt x="129" y="150"/>
                    </a:cubicBezTo>
                    <a:cubicBezTo>
                      <a:pt x="129" y="150"/>
                      <a:pt x="128" y="150"/>
                      <a:pt x="128" y="150"/>
                    </a:cubicBezTo>
                    <a:cubicBezTo>
                      <a:pt x="128" y="149"/>
                      <a:pt x="129" y="149"/>
                      <a:pt x="129" y="149"/>
                    </a:cubicBezTo>
                    <a:cubicBezTo>
                      <a:pt x="130" y="149"/>
                      <a:pt x="130" y="149"/>
                      <a:pt x="130" y="150"/>
                    </a:cubicBezTo>
                    <a:cubicBezTo>
                      <a:pt x="131" y="150"/>
                      <a:pt x="131" y="151"/>
                      <a:pt x="131" y="151"/>
                    </a:cubicBezTo>
                    <a:cubicBezTo>
                      <a:pt x="132" y="152"/>
                      <a:pt x="131" y="152"/>
                      <a:pt x="130" y="152"/>
                    </a:cubicBezTo>
                    <a:cubicBezTo>
                      <a:pt x="131" y="152"/>
                      <a:pt x="131" y="152"/>
                      <a:pt x="132" y="152"/>
                    </a:cubicBezTo>
                    <a:cubicBezTo>
                      <a:pt x="133" y="152"/>
                      <a:pt x="133" y="152"/>
                      <a:pt x="134" y="152"/>
                    </a:cubicBezTo>
                    <a:cubicBezTo>
                      <a:pt x="133" y="152"/>
                      <a:pt x="133" y="152"/>
                      <a:pt x="132" y="152"/>
                    </a:cubicBezTo>
                    <a:cubicBezTo>
                      <a:pt x="132" y="151"/>
                      <a:pt x="133" y="151"/>
                      <a:pt x="133" y="151"/>
                    </a:cubicBezTo>
                    <a:cubicBezTo>
                      <a:pt x="134" y="151"/>
                      <a:pt x="134" y="151"/>
                      <a:pt x="134" y="151"/>
                    </a:cubicBezTo>
                    <a:cubicBezTo>
                      <a:pt x="135" y="151"/>
                      <a:pt x="135" y="151"/>
                      <a:pt x="135" y="151"/>
                    </a:cubicBezTo>
                    <a:cubicBezTo>
                      <a:pt x="135" y="151"/>
                      <a:pt x="136" y="151"/>
                      <a:pt x="136" y="151"/>
                    </a:cubicBezTo>
                    <a:cubicBezTo>
                      <a:pt x="136" y="151"/>
                      <a:pt x="137" y="151"/>
                      <a:pt x="138" y="151"/>
                    </a:cubicBezTo>
                    <a:cubicBezTo>
                      <a:pt x="138" y="151"/>
                      <a:pt x="139" y="151"/>
                      <a:pt x="138" y="151"/>
                    </a:cubicBezTo>
                    <a:cubicBezTo>
                      <a:pt x="138" y="151"/>
                      <a:pt x="137" y="150"/>
                      <a:pt x="137" y="150"/>
                    </a:cubicBezTo>
                    <a:cubicBezTo>
                      <a:pt x="138" y="150"/>
                      <a:pt x="138" y="150"/>
                      <a:pt x="139" y="150"/>
                    </a:cubicBezTo>
                    <a:cubicBezTo>
                      <a:pt x="138" y="150"/>
                      <a:pt x="138" y="150"/>
                      <a:pt x="139" y="149"/>
                    </a:cubicBezTo>
                    <a:cubicBezTo>
                      <a:pt x="138" y="150"/>
                      <a:pt x="137" y="150"/>
                      <a:pt x="137" y="150"/>
                    </a:cubicBezTo>
                    <a:cubicBezTo>
                      <a:pt x="137" y="149"/>
                      <a:pt x="137" y="149"/>
                      <a:pt x="138" y="149"/>
                    </a:cubicBezTo>
                    <a:cubicBezTo>
                      <a:pt x="139" y="149"/>
                      <a:pt x="139" y="148"/>
                      <a:pt x="140" y="148"/>
                    </a:cubicBezTo>
                    <a:cubicBezTo>
                      <a:pt x="140" y="148"/>
                      <a:pt x="141" y="148"/>
                      <a:pt x="142" y="148"/>
                    </a:cubicBezTo>
                    <a:cubicBezTo>
                      <a:pt x="142" y="148"/>
                      <a:pt x="143" y="148"/>
                      <a:pt x="142" y="147"/>
                    </a:cubicBezTo>
                    <a:cubicBezTo>
                      <a:pt x="142" y="147"/>
                      <a:pt x="143" y="147"/>
                      <a:pt x="142" y="147"/>
                    </a:cubicBezTo>
                    <a:cubicBezTo>
                      <a:pt x="142" y="147"/>
                      <a:pt x="141" y="147"/>
                      <a:pt x="141" y="147"/>
                    </a:cubicBezTo>
                    <a:cubicBezTo>
                      <a:pt x="141" y="147"/>
                      <a:pt x="140" y="147"/>
                      <a:pt x="140" y="147"/>
                    </a:cubicBezTo>
                    <a:cubicBezTo>
                      <a:pt x="140" y="146"/>
                      <a:pt x="143" y="146"/>
                      <a:pt x="143" y="145"/>
                    </a:cubicBezTo>
                    <a:cubicBezTo>
                      <a:pt x="142" y="145"/>
                      <a:pt x="142" y="145"/>
                      <a:pt x="141" y="145"/>
                    </a:cubicBezTo>
                    <a:cubicBezTo>
                      <a:pt x="140" y="145"/>
                      <a:pt x="142" y="145"/>
                      <a:pt x="142" y="144"/>
                    </a:cubicBezTo>
                    <a:cubicBezTo>
                      <a:pt x="141" y="144"/>
                      <a:pt x="140" y="146"/>
                      <a:pt x="140" y="146"/>
                    </a:cubicBezTo>
                    <a:cubicBezTo>
                      <a:pt x="139" y="146"/>
                      <a:pt x="139" y="147"/>
                      <a:pt x="138" y="147"/>
                    </a:cubicBezTo>
                    <a:cubicBezTo>
                      <a:pt x="137" y="147"/>
                      <a:pt x="137" y="147"/>
                      <a:pt x="136" y="147"/>
                    </a:cubicBezTo>
                    <a:cubicBezTo>
                      <a:pt x="137" y="147"/>
                      <a:pt x="138" y="147"/>
                      <a:pt x="139" y="147"/>
                    </a:cubicBezTo>
                    <a:cubicBezTo>
                      <a:pt x="139" y="146"/>
                      <a:pt x="140" y="147"/>
                      <a:pt x="139" y="147"/>
                    </a:cubicBezTo>
                    <a:cubicBezTo>
                      <a:pt x="139" y="148"/>
                      <a:pt x="138" y="148"/>
                      <a:pt x="138" y="148"/>
                    </a:cubicBezTo>
                    <a:cubicBezTo>
                      <a:pt x="137" y="149"/>
                      <a:pt x="136" y="149"/>
                      <a:pt x="135" y="150"/>
                    </a:cubicBezTo>
                    <a:cubicBezTo>
                      <a:pt x="135" y="150"/>
                      <a:pt x="134" y="150"/>
                      <a:pt x="134" y="150"/>
                    </a:cubicBezTo>
                    <a:cubicBezTo>
                      <a:pt x="133" y="150"/>
                      <a:pt x="133" y="150"/>
                      <a:pt x="133" y="150"/>
                    </a:cubicBezTo>
                    <a:cubicBezTo>
                      <a:pt x="132" y="151"/>
                      <a:pt x="131" y="151"/>
                      <a:pt x="131" y="150"/>
                    </a:cubicBezTo>
                    <a:cubicBezTo>
                      <a:pt x="131" y="150"/>
                      <a:pt x="130" y="149"/>
                      <a:pt x="131" y="149"/>
                    </a:cubicBezTo>
                    <a:cubicBezTo>
                      <a:pt x="131" y="148"/>
                      <a:pt x="132" y="148"/>
                      <a:pt x="133" y="148"/>
                    </a:cubicBezTo>
                    <a:cubicBezTo>
                      <a:pt x="132" y="148"/>
                      <a:pt x="132" y="148"/>
                      <a:pt x="132" y="148"/>
                    </a:cubicBezTo>
                    <a:cubicBezTo>
                      <a:pt x="132" y="148"/>
                      <a:pt x="132" y="148"/>
                      <a:pt x="132" y="148"/>
                    </a:cubicBezTo>
                    <a:cubicBezTo>
                      <a:pt x="132" y="148"/>
                      <a:pt x="131" y="148"/>
                      <a:pt x="130" y="148"/>
                    </a:cubicBezTo>
                    <a:cubicBezTo>
                      <a:pt x="130" y="148"/>
                      <a:pt x="129" y="149"/>
                      <a:pt x="128" y="149"/>
                    </a:cubicBezTo>
                    <a:cubicBezTo>
                      <a:pt x="129" y="148"/>
                      <a:pt x="129" y="148"/>
                      <a:pt x="130" y="148"/>
                    </a:cubicBezTo>
                    <a:cubicBezTo>
                      <a:pt x="130" y="148"/>
                      <a:pt x="129" y="148"/>
                      <a:pt x="129" y="148"/>
                    </a:cubicBezTo>
                    <a:cubicBezTo>
                      <a:pt x="129" y="148"/>
                      <a:pt x="130" y="147"/>
                      <a:pt x="130" y="147"/>
                    </a:cubicBezTo>
                    <a:cubicBezTo>
                      <a:pt x="130" y="147"/>
                      <a:pt x="130" y="147"/>
                      <a:pt x="129" y="147"/>
                    </a:cubicBezTo>
                    <a:cubicBezTo>
                      <a:pt x="130" y="147"/>
                      <a:pt x="130" y="147"/>
                      <a:pt x="131" y="147"/>
                    </a:cubicBezTo>
                    <a:cubicBezTo>
                      <a:pt x="131" y="147"/>
                      <a:pt x="131" y="147"/>
                      <a:pt x="131" y="147"/>
                    </a:cubicBezTo>
                    <a:cubicBezTo>
                      <a:pt x="131" y="146"/>
                      <a:pt x="132" y="147"/>
                      <a:pt x="132" y="146"/>
                    </a:cubicBezTo>
                    <a:cubicBezTo>
                      <a:pt x="132" y="146"/>
                      <a:pt x="133" y="146"/>
                      <a:pt x="134" y="146"/>
                    </a:cubicBezTo>
                    <a:cubicBezTo>
                      <a:pt x="133" y="145"/>
                      <a:pt x="132" y="147"/>
                      <a:pt x="131" y="146"/>
                    </a:cubicBezTo>
                    <a:cubicBezTo>
                      <a:pt x="131" y="146"/>
                      <a:pt x="133" y="146"/>
                      <a:pt x="133" y="146"/>
                    </a:cubicBezTo>
                    <a:cubicBezTo>
                      <a:pt x="131" y="146"/>
                      <a:pt x="133" y="146"/>
                      <a:pt x="133" y="146"/>
                    </a:cubicBezTo>
                    <a:cubicBezTo>
                      <a:pt x="132" y="146"/>
                      <a:pt x="132" y="146"/>
                      <a:pt x="131" y="146"/>
                    </a:cubicBezTo>
                    <a:cubicBezTo>
                      <a:pt x="132" y="146"/>
                      <a:pt x="132" y="145"/>
                      <a:pt x="132" y="145"/>
                    </a:cubicBezTo>
                    <a:cubicBezTo>
                      <a:pt x="132" y="145"/>
                      <a:pt x="132" y="145"/>
                      <a:pt x="132" y="145"/>
                    </a:cubicBezTo>
                    <a:cubicBezTo>
                      <a:pt x="133" y="145"/>
                      <a:pt x="133" y="145"/>
                      <a:pt x="134" y="144"/>
                    </a:cubicBezTo>
                    <a:cubicBezTo>
                      <a:pt x="132" y="145"/>
                      <a:pt x="133" y="144"/>
                      <a:pt x="133" y="144"/>
                    </a:cubicBezTo>
                    <a:cubicBezTo>
                      <a:pt x="133" y="144"/>
                      <a:pt x="133" y="144"/>
                      <a:pt x="134" y="144"/>
                    </a:cubicBezTo>
                    <a:cubicBezTo>
                      <a:pt x="134" y="144"/>
                      <a:pt x="135" y="144"/>
                      <a:pt x="135" y="144"/>
                    </a:cubicBezTo>
                    <a:cubicBezTo>
                      <a:pt x="135" y="143"/>
                      <a:pt x="134" y="143"/>
                      <a:pt x="134" y="143"/>
                    </a:cubicBezTo>
                    <a:cubicBezTo>
                      <a:pt x="134" y="143"/>
                      <a:pt x="135" y="143"/>
                      <a:pt x="135" y="143"/>
                    </a:cubicBezTo>
                    <a:cubicBezTo>
                      <a:pt x="135" y="142"/>
                      <a:pt x="136" y="142"/>
                      <a:pt x="136" y="142"/>
                    </a:cubicBezTo>
                    <a:cubicBezTo>
                      <a:pt x="135" y="142"/>
                      <a:pt x="137" y="142"/>
                      <a:pt x="137" y="142"/>
                    </a:cubicBezTo>
                    <a:cubicBezTo>
                      <a:pt x="136" y="142"/>
                      <a:pt x="136" y="141"/>
                      <a:pt x="136" y="141"/>
                    </a:cubicBezTo>
                    <a:cubicBezTo>
                      <a:pt x="136" y="141"/>
                      <a:pt x="137" y="141"/>
                      <a:pt x="137" y="141"/>
                    </a:cubicBezTo>
                    <a:cubicBezTo>
                      <a:pt x="137" y="141"/>
                      <a:pt x="137" y="142"/>
                      <a:pt x="138" y="142"/>
                    </a:cubicBezTo>
                    <a:cubicBezTo>
                      <a:pt x="138" y="142"/>
                      <a:pt x="138" y="141"/>
                      <a:pt x="138" y="141"/>
                    </a:cubicBezTo>
                    <a:cubicBezTo>
                      <a:pt x="137" y="141"/>
                      <a:pt x="137" y="141"/>
                      <a:pt x="137" y="141"/>
                    </a:cubicBezTo>
                    <a:cubicBezTo>
                      <a:pt x="137" y="141"/>
                      <a:pt x="137" y="141"/>
                      <a:pt x="137" y="141"/>
                    </a:cubicBezTo>
                    <a:cubicBezTo>
                      <a:pt x="138" y="140"/>
                      <a:pt x="138" y="141"/>
                      <a:pt x="138" y="141"/>
                    </a:cubicBezTo>
                    <a:cubicBezTo>
                      <a:pt x="138" y="140"/>
                      <a:pt x="139" y="141"/>
                      <a:pt x="139" y="141"/>
                    </a:cubicBezTo>
                    <a:cubicBezTo>
                      <a:pt x="139" y="140"/>
                      <a:pt x="139" y="140"/>
                      <a:pt x="139" y="140"/>
                    </a:cubicBezTo>
                    <a:cubicBezTo>
                      <a:pt x="139" y="139"/>
                      <a:pt x="139" y="140"/>
                      <a:pt x="139" y="140"/>
                    </a:cubicBezTo>
                    <a:cubicBezTo>
                      <a:pt x="140" y="140"/>
                      <a:pt x="140" y="140"/>
                      <a:pt x="140" y="140"/>
                    </a:cubicBezTo>
                    <a:cubicBezTo>
                      <a:pt x="140" y="141"/>
                      <a:pt x="140" y="140"/>
                      <a:pt x="140" y="141"/>
                    </a:cubicBezTo>
                    <a:cubicBezTo>
                      <a:pt x="140" y="141"/>
                      <a:pt x="140" y="141"/>
                      <a:pt x="140" y="141"/>
                    </a:cubicBezTo>
                    <a:cubicBezTo>
                      <a:pt x="141" y="141"/>
                      <a:pt x="141" y="141"/>
                      <a:pt x="141" y="141"/>
                    </a:cubicBezTo>
                    <a:cubicBezTo>
                      <a:pt x="142" y="141"/>
                      <a:pt x="141" y="142"/>
                      <a:pt x="141" y="142"/>
                    </a:cubicBezTo>
                    <a:cubicBezTo>
                      <a:pt x="141" y="142"/>
                      <a:pt x="142" y="142"/>
                      <a:pt x="142" y="142"/>
                    </a:cubicBezTo>
                    <a:cubicBezTo>
                      <a:pt x="142" y="141"/>
                      <a:pt x="144" y="141"/>
                      <a:pt x="144" y="141"/>
                    </a:cubicBezTo>
                    <a:cubicBezTo>
                      <a:pt x="144" y="141"/>
                      <a:pt x="143" y="141"/>
                      <a:pt x="143" y="141"/>
                    </a:cubicBezTo>
                    <a:cubicBezTo>
                      <a:pt x="142" y="141"/>
                      <a:pt x="143" y="140"/>
                      <a:pt x="143" y="140"/>
                    </a:cubicBezTo>
                    <a:cubicBezTo>
                      <a:pt x="143" y="140"/>
                      <a:pt x="143" y="140"/>
                      <a:pt x="143" y="140"/>
                    </a:cubicBezTo>
                    <a:cubicBezTo>
                      <a:pt x="144" y="140"/>
                      <a:pt x="144" y="140"/>
                      <a:pt x="145" y="140"/>
                    </a:cubicBezTo>
                    <a:cubicBezTo>
                      <a:pt x="145" y="140"/>
                      <a:pt x="144" y="140"/>
                      <a:pt x="144" y="140"/>
                    </a:cubicBezTo>
                    <a:cubicBezTo>
                      <a:pt x="144" y="140"/>
                      <a:pt x="144" y="139"/>
                      <a:pt x="143" y="140"/>
                    </a:cubicBezTo>
                    <a:cubicBezTo>
                      <a:pt x="144" y="140"/>
                      <a:pt x="143" y="140"/>
                      <a:pt x="142" y="140"/>
                    </a:cubicBezTo>
                    <a:cubicBezTo>
                      <a:pt x="142" y="139"/>
                      <a:pt x="142" y="139"/>
                      <a:pt x="142" y="139"/>
                    </a:cubicBezTo>
                    <a:cubicBezTo>
                      <a:pt x="142" y="138"/>
                      <a:pt x="144" y="138"/>
                      <a:pt x="143" y="138"/>
                    </a:cubicBezTo>
                    <a:cubicBezTo>
                      <a:pt x="144" y="138"/>
                      <a:pt x="145" y="138"/>
                      <a:pt x="145" y="138"/>
                    </a:cubicBezTo>
                    <a:cubicBezTo>
                      <a:pt x="145" y="138"/>
                      <a:pt x="144" y="138"/>
                      <a:pt x="144" y="138"/>
                    </a:cubicBezTo>
                    <a:cubicBezTo>
                      <a:pt x="144" y="137"/>
                      <a:pt x="145" y="138"/>
                      <a:pt x="145" y="137"/>
                    </a:cubicBezTo>
                    <a:cubicBezTo>
                      <a:pt x="145" y="137"/>
                      <a:pt x="144" y="137"/>
                      <a:pt x="144" y="137"/>
                    </a:cubicBezTo>
                    <a:cubicBezTo>
                      <a:pt x="144" y="137"/>
                      <a:pt x="144" y="137"/>
                      <a:pt x="144" y="137"/>
                    </a:cubicBezTo>
                    <a:cubicBezTo>
                      <a:pt x="144" y="137"/>
                      <a:pt x="144" y="137"/>
                      <a:pt x="144" y="137"/>
                    </a:cubicBezTo>
                    <a:cubicBezTo>
                      <a:pt x="143" y="138"/>
                      <a:pt x="142" y="138"/>
                      <a:pt x="141" y="138"/>
                    </a:cubicBezTo>
                    <a:cubicBezTo>
                      <a:pt x="141" y="138"/>
                      <a:pt x="142" y="138"/>
                      <a:pt x="142" y="138"/>
                    </a:cubicBezTo>
                    <a:cubicBezTo>
                      <a:pt x="142" y="138"/>
                      <a:pt x="141" y="138"/>
                      <a:pt x="141" y="138"/>
                    </a:cubicBezTo>
                    <a:cubicBezTo>
                      <a:pt x="141" y="137"/>
                      <a:pt x="141" y="137"/>
                      <a:pt x="142" y="137"/>
                    </a:cubicBezTo>
                    <a:cubicBezTo>
                      <a:pt x="142" y="137"/>
                      <a:pt x="141" y="137"/>
                      <a:pt x="141" y="137"/>
                    </a:cubicBezTo>
                    <a:cubicBezTo>
                      <a:pt x="141" y="137"/>
                      <a:pt x="142" y="137"/>
                      <a:pt x="142" y="137"/>
                    </a:cubicBezTo>
                    <a:cubicBezTo>
                      <a:pt x="143" y="136"/>
                      <a:pt x="143" y="137"/>
                      <a:pt x="144" y="136"/>
                    </a:cubicBezTo>
                    <a:cubicBezTo>
                      <a:pt x="143" y="137"/>
                      <a:pt x="143" y="137"/>
                      <a:pt x="143" y="136"/>
                    </a:cubicBezTo>
                    <a:cubicBezTo>
                      <a:pt x="143" y="136"/>
                      <a:pt x="144" y="136"/>
                      <a:pt x="144" y="136"/>
                    </a:cubicBezTo>
                    <a:cubicBezTo>
                      <a:pt x="144" y="136"/>
                      <a:pt x="145" y="136"/>
                      <a:pt x="145" y="136"/>
                    </a:cubicBezTo>
                    <a:cubicBezTo>
                      <a:pt x="144" y="136"/>
                      <a:pt x="144" y="136"/>
                      <a:pt x="144" y="136"/>
                    </a:cubicBezTo>
                    <a:cubicBezTo>
                      <a:pt x="144" y="136"/>
                      <a:pt x="144" y="136"/>
                      <a:pt x="145" y="136"/>
                    </a:cubicBezTo>
                    <a:cubicBezTo>
                      <a:pt x="145" y="136"/>
                      <a:pt x="145" y="136"/>
                      <a:pt x="145" y="136"/>
                    </a:cubicBezTo>
                    <a:cubicBezTo>
                      <a:pt x="145" y="136"/>
                      <a:pt x="145" y="136"/>
                      <a:pt x="145" y="136"/>
                    </a:cubicBezTo>
                    <a:cubicBezTo>
                      <a:pt x="145" y="135"/>
                      <a:pt x="146" y="135"/>
                      <a:pt x="146" y="135"/>
                    </a:cubicBezTo>
                    <a:cubicBezTo>
                      <a:pt x="146" y="134"/>
                      <a:pt x="147" y="134"/>
                      <a:pt x="147" y="134"/>
                    </a:cubicBezTo>
                    <a:cubicBezTo>
                      <a:pt x="147" y="135"/>
                      <a:pt x="147" y="135"/>
                      <a:pt x="147" y="135"/>
                    </a:cubicBezTo>
                    <a:cubicBezTo>
                      <a:pt x="147" y="135"/>
                      <a:pt x="147" y="135"/>
                      <a:pt x="147" y="135"/>
                    </a:cubicBezTo>
                    <a:cubicBezTo>
                      <a:pt x="147" y="135"/>
                      <a:pt x="147" y="135"/>
                      <a:pt x="148" y="135"/>
                    </a:cubicBezTo>
                    <a:cubicBezTo>
                      <a:pt x="147" y="135"/>
                      <a:pt x="148" y="134"/>
                      <a:pt x="148" y="134"/>
                    </a:cubicBezTo>
                    <a:cubicBezTo>
                      <a:pt x="149" y="134"/>
                      <a:pt x="148" y="135"/>
                      <a:pt x="149" y="135"/>
                    </a:cubicBezTo>
                    <a:cubicBezTo>
                      <a:pt x="148" y="135"/>
                      <a:pt x="147" y="135"/>
                      <a:pt x="147" y="135"/>
                    </a:cubicBezTo>
                    <a:cubicBezTo>
                      <a:pt x="147" y="135"/>
                      <a:pt x="150" y="136"/>
                      <a:pt x="150" y="135"/>
                    </a:cubicBezTo>
                    <a:cubicBezTo>
                      <a:pt x="150" y="135"/>
                      <a:pt x="150" y="135"/>
                      <a:pt x="150" y="135"/>
                    </a:cubicBezTo>
                    <a:cubicBezTo>
                      <a:pt x="150" y="134"/>
                      <a:pt x="151" y="134"/>
                      <a:pt x="152" y="134"/>
                    </a:cubicBezTo>
                    <a:cubicBezTo>
                      <a:pt x="152" y="134"/>
                      <a:pt x="154" y="133"/>
                      <a:pt x="154" y="133"/>
                    </a:cubicBezTo>
                    <a:cubicBezTo>
                      <a:pt x="153" y="133"/>
                      <a:pt x="151" y="134"/>
                      <a:pt x="151" y="134"/>
                    </a:cubicBezTo>
                    <a:cubicBezTo>
                      <a:pt x="150" y="135"/>
                      <a:pt x="150" y="135"/>
                      <a:pt x="149" y="134"/>
                    </a:cubicBezTo>
                    <a:cubicBezTo>
                      <a:pt x="149" y="134"/>
                      <a:pt x="150" y="134"/>
                      <a:pt x="150" y="134"/>
                    </a:cubicBezTo>
                    <a:cubicBezTo>
                      <a:pt x="150" y="134"/>
                      <a:pt x="149" y="134"/>
                      <a:pt x="149" y="134"/>
                    </a:cubicBezTo>
                    <a:cubicBezTo>
                      <a:pt x="149" y="133"/>
                      <a:pt x="149" y="133"/>
                      <a:pt x="150" y="133"/>
                    </a:cubicBezTo>
                    <a:cubicBezTo>
                      <a:pt x="149" y="133"/>
                      <a:pt x="149" y="133"/>
                      <a:pt x="148" y="134"/>
                    </a:cubicBezTo>
                    <a:cubicBezTo>
                      <a:pt x="149" y="133"/>
                      <a:pt x="149" y="133"/>
                      <a:pt x="150" y="133"/>
                    </a:cubicBezTo>
                    <a:cubicBezTo>
                      <a:pt x="150" y="133"/>
                      <a:pt x="150" y="133"/>
                      <a:pt x="150" y="133"/>
                    </a:cubicBezTo>
                    <a:cubicBezTo>
                      <a:pt x="150" y="133"/>
                      <a:pt x="150" y="132"/>
                      <a:pt x="150" y="132"/>
                    </a:cubicBezTo>
                    <a:cubicBezTo>
                      <a:pt x="149" y="132"/>
                      <a:pt x="149" y="133"/>
                      <a:pt x="148" y="133"/>
                    </a:cubicBezTo>
                    <a:cubicBezTo>
                      <a:pt x="149" y="133"/>
                      <a:pt x="147" y="134"/>
                      <a:pt x="147" y="134"/>
                    </a:cubicBezTo>
                    <a:cubicBezTo>
                      <a:pt x="147" y="133"/>
                      <a:pt x="147" y="133"/>
                      <a:pt x="147" y="133"/>
                    </a:cubicBezTo>
                    <a:cubicBezTo>
                      <a:pt x="147" y="133"/>
                      <a:pt x="147" y="133"/>
                      <a:pt x="147" y="133"/>
                    </a:cubicBezTo>
                    <a:cubicBezTo>
                      <a:pt x="147" y="133"/>
                      <a:pt x="148" y="132"/>
                      <a:pt x="148" y="132"/>
                    </a:cubicBezTo>
                    <a:cubicBezTo>
                      <a:pt x="147" y="132"/>
                      <a:pt x="149" y="132"/>
                      <a:pt x="149" y="131"/>
                    </a:cubicBezTo>
                    <a:cubicBezTo>
                      <a:pt x="149" y="131"/>
                      <a:pt x="148" y="132"/>
                      <a:pt x="148" y="131"/>
                    </a:cubicBezTo>
                    <a:cubicBezTo>
                      <a:pt x="148" y="131"/>
                      <a:pt x="148" y="131"/>
                      <a:pt x="148" y="131"/>
                    </a:cubicBezTo>
                    <a:cubicBezTo>
                      <a:pt x="148" y="131"/>
                      <a:pt x="148" y="130"/>
                      <a:pt x="149" y="130"/>
                    </a:cubicBezTo>
                    <a:cubicBezTo>
                      <a:pt x="149" y="131"/>
                      <a:pt x="150" y="132"/>
                      <a:pt x="150" y="132"/>
                    </a:cubicBezTo>
                    <a:cubicBezTo>
                      <a:pt x="150" y="131"/>
                      <a:pt x="150" y="131"/>
                      <a:pt x="151" y="132"/>
                    </a:cubicBezTo>
                    <a:cubicBezTo>
                      <a:pt x="151" y="132"/>
                      <a:pt x="151" y="132"/>
                      <a:pt x="152" y="132"/>
                    </a:cubicBezTo>
                    <a:cubicBezTo>
                      <a:pt x="151" y="132"/>
                      <a:pt x="151" y="132"/>
                      <a:pt x="152" y="131"/>
                    </a:cubicBezTo>
                    <a:cubicBezTo>
                      <a:pt x="152" y="131"/>
                      <a:pt x="151" y="131"/>
                      <a:pt x="151" y="131"/>
                    </a:cubicBezTo>
                    <a:cubicBezTo>
                      <a:pt x="151" y="131"/>
                      <a:pt x="151" y="131"/>
                      <a:pt x="151" y="131"/>
                    </a:cubicBezTo>
                    <a:cubicBezTo>
                      <a:pt x="151" y="131"/>
                      <a:pt x="151" y="131"/>
                      <a:pt x="151" y="131"/>
                    </a:cubicBezTo>
                    <a:cubicBezTo>
                      <a:pt x="151" y="131"/>
                      <a:pt x="151" y="130"/>
                      <a:pt x="151" y="130"/>
                    </a:cubicBezTo>
                    <a:cubicBezTo>
                      <a:pt x="151" y="130"/>
                      <a:pt x="150" y="131"/>
                      <a:pt x="150" y="131"/>
                    </a:cubicBezTo>
                    <a:cubicBezTo>
                      <a:pt x="150" y="131"/>
                      <a:pt x="150" y="130"/>
                      <a:pt x="150" y="130"/>
                    </a:cubicBezTo>
                    <a:cubicBezTo>
                      <a:pt x="150" y="130"/>
                      <a:pt x="150" y="131"/>
                      <a:pt x="150" y="131"/>
                    </a:cubicBezTo>
                    <a:cubicBezTo>
                      <a:pt x="149" y="131"/>
                      <a:pt x="149" y="130"/>
                      <a:pt x="150" y="130"/>
                    </a:cubicBezTo>
                    <a:cubicBezTo>
                      <a:pt x="149" y="130"/>
                      <a:pt x="149" y="129"/>
                      <a:pt x="150" y="129"/>
                    </a:cubicBezTo>
                    <a:cubicBezTo>
                      <a:pt x="150" y="129"/>
                      <a:pt x="151" y="129"/>
                      <a:pt x="151" y="129"/>
                    </a:cubicBezTo>
                    <a:cubicBezTo>
                      <a:pt x="151" y="129"/>
                      <a:pt x="151" y="129"/>
                      <a:pt x="151" y="129"/>
                    </a:cubicBezTo>
                    <a:cubicBezTo>
                      <a:pt x="151" y="130"/>
                      <a:pt x="152" y="130"/>
                      <a:pt x="152" y="130"/>
                    </a:cubicBezTo>
                    <a:cubicBezTo>
                      <a:pt x="152" y="130"/>
                      <a:pt x="152" y="130"/>
                      <a:pt x="151" y="129"/>
                    </a:cubicBezTo>
                    <a:cubicBezTo>
                      <a:pt x="151" y="129"/>
                      <a:pt x="151" y="129"/>
                      <a:pt x="151" y="129"/>
                    </a:cubicBezTo>
                    <a:cubicBezTo>
                      <a:pt x="150" y="128"/>
                      <a:pt x="151" y="128"/>
                      <a:pt x="152" y="128"/>
                    </a:cubicBezTo>
                    <a:cubicBezTo>
                      <a:pt x="152" y="128"/>
                      <a:pt x="151" y="128"/>
                      <a:pt x="151" y="128"/>
                    </a:cubicBezTo>
                    <a:cubicBezTo>
                      <a:pt x="151" y="126"/>
                      <a:pt x="154" y="127"/>
                      <a:pt x="155" y="128"/>
                    </a:cubicBezTo>
                    <a:cubicBezTo>
                      <a:pt x="155" y="127"/>
                      <a:pt x="154" y="127"/>
                      <a:pt x="153" y="126"/>
                    </a:cubicBezTo>
                    <a:cubicBezTo>
                      <a:pt x="153" y="126"/>
                      <a:pt x="153" y="126"/>
                      <a:pt x="154" y="125"/>
                    </a:cubicBezTo>
                    <a:cubicBezTo>
                      <a:pt x="153" y="125"/>
                      <a:pt x="152" y="126"/>
                      <a:pt x="151" y="126"/>
                    </a:cubicBezTo>
                    <a:cubicBezTo>
                      <a:pt x="152" y="126"/>
                      <a:pt x="152" y="126"/>
                      <a:pt x="152" y="126"/>
                    </a:cubicBezTo>
                    <a:cubicBezTo>
                      <a:pt x="152" y="126"/>
                      <a:pt x="152" y="126"/>
                      <a:pt x="151" y="126"/>
                    </a:cubicBezTo>
                    <a:cubicBezTo>
                      <a:pt x="152" y="125"/>
                      <a:pt x="153" y="125"/>
                      <a:pt x="153" y="125"/>
                    </a:cubicBezTo>
                    <a:cubicBezTo>
                      <a:pt x="154" y="125"/>
                      <a:pt x="155" y="124"/>
                      <a:pt x="155" y="124"/>
                    </a:cubicBezTo>
                    <a:cubicBezTo>
                      <a:pt x="156" y="124"/>
                      <a:pt x="156" y="124"/>
                      <a:pt x="157" y="124"/>
                    </a:cubicBezTo>
                    <a:cubicBezTo>
                      <a:pt x="157" y="124"/>
                      <a:pt x="158" y="124"/>
                      <a:pt x="157" y="124"/>
                    </a:cubicBezTo>
                    <a:cubicBezTo>
                      <a:pt x="158" y="124"/>
                      <a:pt x="157" y="125"/>
                      <a:pt x="158" y="125"/>
                    </a:cubicBezTo>
                    <a:cubicBezTo>
                      <a:pt x="158" y="125"/>
                      <a:pt x="158" y="125"/>
                      <a:pt x="159" y="125"/>
                    </a:cubicBezTo>
                    <a:cubicBezTo>
                      <a:pt x="159" y="125"/>
                      <a:pt x="160" y="125"/>
                      <a:pt x="160" y="125"/>
                    </a:cubicBezTo>
                    <a:cubicBezTo>
                      <a:pt x="160" y="124"/>
                      <a:pt x="159" y="124"/>
                      <a:pt x="159" y="124"/>
                    </a:cubicBezTo>
                    <a:cubicBezTo>
                      <a:pt x="158" y="124"/>
                      <a:pt x="158" y="124"/>
                      <a:pt x="158" y="124"/>
                    </a:cubicBezTo>
                    <a:cubicBezTo>
                      <a:pt x="158" y="124"/>
                      <a:pt x="160" y="124"/>
                      <a:pt x="159" y="124"/>
                    </a:cubicBezTo>
                    <a:cubicBezTo>
                      <a:pt x="159" y="124"/>
                      <a:pt x="162" y="123"/>
                      <a:pt x="162" y="123"/>
                    </a:cubicBezTo>
                    <a:cubicBezTo>
                      <a:pt x="162" y="123"/>
                      <a:pt x="159" y="124"/>
                      <a:pt x="159" y="124"/>
                    </a:cubicBezTo>
                    <a:cubicBezTo>
                      <a:pt x="159" y="124"/>
                      <a:pt x="159" y="124"/>
                      <a:pt x="159" y="123"/>
                    </a:cubicBezTo>
                    <a:cubicBezTo>
                      <a:pt x="159" y="123"/>
                      <a:pt x="159" y="124"/>
                      <a:pt x="158" y="124"/>
                    </a:cubicBezTo>
                    <a:cubicBezTo>
                      <a:pt x="158" y="124"/>
                      <a:pt x="158" y="123"/>
                      <a:pt x="158" y="123"/>
                    </a:cubicBezTo>
                    <a:cubicBezTo>
                      <a:pt x="157" y="123"/>
                      <a:pt x="157" y="124"/>
                      <a:pt x="156" y="124"/>
                    </a:cubicBezTo>
                    <a:cubicBezTo>
                      <a:pt x="156" y="124"/>
                      <a:pt x="155" y="124"/>
                      <a:pt x="155" y="124"/>
                    </a:cubicBezTo>
                    <a:cubicBezTo>
                      <a:pt x="155" y="124"/>
                      <a:pt x="154" y="124"/>
                      <a:pt x="154" y="124"/>
                    </a:cubicBezTo>
                    <a:cubicBezTo>
                      <a:pt x="154" y="124"/>
                      <a:pt x="154" y="124"/>
                      <a:pt x="154" y="124"/>
                    </a:cubicBezTo>
                    <a:cubicBezTo>
                      <a:pt x="155" y="124"/>
                      <a:pt x="156" y="123"/>
                      <a:pt x="157" y="123"/>
                    </a:cubicBezTo>
                    <a:cubicBezTo>
                      <a:pt x="157" y="123"/>
                      <a:pt x="157" y="123"/>
                      <a:pt x="156" y="123"/>
                    </a:cubicBezTo>
                    <a:cubicBezTo>
                      <a:pt x="156" y="123"/>
                      <a:pt x="154" y="123"/>
                      <a:pt x="155" y="123"/>
                    </a:cubicBezTo>
                    <a:cubicBezTo>
                      <a:pt x="155" y="123"/>
                      <a:pt x="154" y="123"/>
                      <a:pt x="154" y="123"/>
                    </a:cubicBezTo>
                    <a:cubicBezTo>
                      <a:pt x="154" y="122"/>
                      <a:pt x="155" y="122"/>
                      <a:pt x="154" y="122"/>
                    </a:cubicBezTo>
                    <a:cubicBezTo>
                      <a:pt x="154" y="122"/>
                      <a:pt x="154" y="122"/>
                      <a:pt x="155" y="122"/>
                    </a:cubicBezTo>
                    <a:cubicBezTo>
                      <a:pt x="154" y="121"/>
                      <a:pt x="154" y="121"/>
                      <a:pt x="153" y="121"/>
                    </a:cubicBezTo>
                    <a:cubicBezTo>
                      <a:pt x="154" y="121"/>
                      <a:pt x="154" y="121"/>
                      <a:pt x="155" y="121"/>
                    </a:cubicBezTo>
                    <a:cubicBezTo>
                      <a:pt x="155" y="121"/>
                      <a:pt x="156" y="121"/>
                      <a:pt x="155" y="122"/>
                    </a:cubicBezTo>
                    <a:cubicBezTo>
                      <a:pt x="156" y="122"/>
                      <a:pt x="156" y="122"/>
                      <a:pt x="156" y="122"/>
                    </a:cubicBezTo>
                    <a:cubicBezTo>
                      <a:pt x="156" y="122"/>
                      <a:pt x="156" y="122"/>
                      <a:pt x="156" y="122"/>
                    </a:cubicBezTo>
                    <a:cubicBezTo>
                      <a:pt x="155" y="121"/>
                      <a:pt x="156" y="121"/>
                      <a:pt x="156" y="121"/>
                    </a:cubicBezTo>
                    <a:cubicBezTo>
                      <a:pt x="157" y="121"/>
                      <a:pt x="158" y="121"/>
                      <a:pt x="158" y="121"/>
                    </a:cubicBezTo>
                    <a:cubicBezTo>
                      <a:pt x="158" y="121"/>
                      <a:pt x="157" y="121"/>
                      <a:pt x="157" y="121"/>
                    </a:cubicBezTo>
                    <a:cubicBezTo>
                      <a:pt x="158" y="120"/>
                      <a:pt x="158" y="120"/>
                      <a:pt x="159" y="120"/>
                    </a:cubicBezTo>
                    <a:cubicBezTo>
                      <a:pt x="158" y="120"/>
                      <a:pt x="157" y="121"/>
                      <a:pt x="156" y="121"/>
                    </a:cubicBezTo>
                    <a:cubicBezTo>
                      <a:pt x="155" y="121"/>
                      <a:pt x="156" y="120"/>
                      <a:pt x="156" y="120"/>
                    </a:cubicBezTo>
                    <a:cubicBezTo>
                      <a:pt x="156" y="120"/>
                      <a:pt x="155" y="120"/>
                      <a:pt x="155" y="120"/>
                    </a:cubicBezTo>
                    <a:cubicBezTo>
                      <a:pt x="155" y="120"/>
                      <a:pt x="157" y="120"/>
                      <a:pt x="157" y="120"/>
                    </a:cubicBezTo>
                    <a:cubicBezTo>
                      <a:pt x="157" y="119"/>
                      <a:pt x="156" y="119"/>
                      <a:pt x="155" y="119"/>
                    </a:cubicBezTo>
                    <a:cubicBezTo>
                      <a:pt x="156" y="119"/>
                      <a:pt x="157" y="119"/>
                      <a:pt x="157" y="119"/>
                    </a:cubicBezTo>
                    <a:cubicBezTo>
                      <a:pt x="158" y="119"/>
                      <a:pt x="158" y="119"/>
                      <a:pt x="158" y="119"/>
                    </a:cubicBezTo>
                    <a:cubicBezTo>
                      <a:pt x="158" y="119"/>
                      <a:pt x="158" y="119"/>
                      <a:pt x="158" y="119"/>
                    </a:cubicBezTo>
                    <a:cubicBezTo>
                      <a:pt x="157" y="119"/>
                      <a:pt x="158" y="119"/>
                      <a:pt x="158" y="119"/>
                    </a:cubicBezTo>
                    <a:cubicBezTo>
                      <a:pt x="158" y="119"/>
                      <a:pt x="157" y="119"/>
                      <a:pt x="157" y="119"/>
                    </a:cubicBezTo>
                    <a:cubicBezTo>
                      <a:pt x="157" y="118"/>
                      <a:pt x="160" y="119"/>
                      <a:pt x="161" y="118"/>
                    </a:cubicBezTo>
                    <a:cubicBezTo>
                      <a:pt x="160" y="118"/>
                      <a:pt x="159" y="118"/>
                      <a:pt x="158" y="118"/>
                    </a:cubicBezTo>
                    <a:cubicBezTo>
                      <a:pt x="159" y="118"/>
                      <a:pt x="158" y="118"/>
                      <a:pt x="158" y="118"/>
                    </a:cubicBezTo>
                    <a:cubicBezTo>
                      <a:pt x="158" y="118"/>
                      <a:pt x="158" y="118"/>
                      <a:pt x="157" y="118"/>
                    </a:cubicBezTo>
                    <a:cubicBezTo>
                      <a:pt x="157" y="117"/>
                      <a:pt x="157" y="117"/>
                      <a:pt x="157" y="117"/>
                    </a:cubicBezTo>
                    <a:cubicBezTo>
                      <a:pt x="158" y="117"/>
                      <a:pt x="159" y="117"/>
                      <a:pt x="159" y="117"/>
                    </a:cubicBezTo>
                    <a:cubicBezTo>
                      <a:pt x="159" y="117"/>
                      <a:pt x="159" y="117"/>
                      <a:pt x="159" y="117"/>
                    </a:cubicBezTo>
                    <a:cubicBezTo>
                      <a:pt x="159" y="117"/>
                      <a:pt x="160" y="116"/>
                      <a:pt x="161" y="117"/>
                    </a:cubicBezTo>
                    <a:cubicBezTo>
                      <a:pt x="161" y="117"/>
                      <a:pt x="160" y="117"/>
                      <a:pt x="160" y="117"/>
                    </a:cubicBezTo>
                    <a:cubicBezTo>
                      <a:pt x="160" y="117"/>
                      <a:pt x="161" y="117"/>
                      <a:pt x="161" y="117"/>
                    </a:cubicBezTo>
                    <a:cubicBezTo>
                      <a:pt x="161" y="117"/>
                      <a:pt x="161" y="116"/>
                      <a:pt x="161" y="116"/>
                    </a:cubicBezTo>
                    <a:cubicBezTo>
                      <a:pt x="161" y="116"/>
                      <a:pt x="162" y="116"/>
                      <a:pt x="162" y="117"/>
                    </a:cubicBezTo>
                    <a:cubicBezTo>
                      <a:pt x="162" y="117"/>
                      <a:pt x="163" y="116"/>
                      <a:pt x="162" y="116"/>
                    </a:cubicBezTo>
                    <a:cubicBezTo>
                      <a:pt x="163" y="116"/>
                      <a:pt x="164" y="116"/>
                      <a:pt x="164" y="116"/>
                    </a:cubicBezTo>
                    <a:cubicBezTo>
                      <a:pt x="164" y="116"/>
                      <a:pt x="165" y="116"/>
                      <a:pt x="165" y="116"/>
                    </a:cubicBezTo>
                    <a:cubicBezTo>
                      <a:pt x="165" y="115"/>
                      <a:pt x="163" y="116"/>
                      <a:pt x="163" y="116"/>
                    </a:cubicBezTo>
                    <a:cubicBezTo>
                      <a:pt x="163" y="116"/>
                      <a:pt x="163" y="115"/>
                      <a:pt x="163" y="115"/>
                    </a:cubicBezTo>
                    <a:cubicBezTo>
                      <a:pt x="163" y="115"/>
                      <a:pt x="164" y="115"/>
                      <a:pt x="164" y="115"/>
                    </a:cubicBezTo>
                    <a:cubicBezTo>
                      <a:pt x="164" y="115"/>
                      <a:pt x="166" y="115"/>
                      <a:pt x="165" y="115"/>
                    </a:cubicBezTo>
                    <a:cubicBezTo>
                      <a:pt x="166" y="114"/>
                      <a:pt x="167" y="114"/>
                      <a:pt x="168" y="114"/>
                    </a:cubicBezTo>
                    <a:cubicBezTo>
                      <a:pt x="167" y="115"/>
                      <a:pt x="167" y="115"/>
                      <a:pt x="168" y="115"/>
                    </a:cubicBezTo>
                    <a:cubicBezTo>
                      <a:pt x="168" y="115"/>
                      <a:pt x="167" y="115"/>
                      <a:pt x="168" y="115"/>
                    </a:cubicBezTo>
                    <a:cubicBezTo>
                      <a:pt x="168" y="114"/>
                      <a:pt x="169" y="115"/>
                      <a:pt x="169" y="115"/>
                    </a:cubicBezTo>
                    <a:cubicBezTo>
                      <a:pt x="170" y="115"/>
                      <a:pt x="171" y="115"/>
                      <a:pt x="171" y="115"/>
                    </a:cubicBezTo>
                    <a:cubicBezTo>
                      <a:pt x="171" y="115"/>
                      <a:pt x="170" y="116"/>
                      <a:pt x="171" y="116"/>
                    </a:cubicBezTo>
                    <a:cubicBezTo>
                      <a:pt x="171" y="115"/>
                      <a:pt x="171" y="114"/>
                      <a:pt x="171" y="114"/>
                    </a:cubicBezTo>
                    <a:cubicBezTo>
                      <a:pt x="171" y="114"/>
                      <a:pt x="172" y="115"/>
                      <a:pt x="173" y="115"/>
                    </a:cubicBezTo>
                    <a:cubicBezTo>
                      <a:pt x="173" y="114"/>
                      <a:pt x="172" y="114"/>
                      <a:pt x="171" y="114"/>
                    </a:cubicBezTo>
                    <a:cubicBezTo>
                      <a:pt x="171" y="114"/>
                      <a:pt x="170" y="115"/>
                      <a:pt x="170" y="114"/>
                    </a:cubicBezTo>
                    <a:cubicBezTo>
                      <a:pt x="170" y="114"/>
                      <a:pt x="170" y="114"/>
                      <a:pt x="170" y="114"/>
                    </a:cubicBezTo>
                    <a:cubicBezTo>
                      <a:pt x="169" y="114"/>
                      <a:pt x="169" y="114"/>
                      <a:pt x="168" y="114"/>
                    </a:cubicBezTo>
                    <a:cubicBezTo>
                      <a:pt x="170" y="114"/>
                      <a:pt x="167" y="113"/>
                      <a:pt x="168" y="114"/>
                    </a:cubicBezTo>
                    <a:cubicBezTo>
                      <a:pt x="167" y="114"/>
                      <a:pt x="167" y="114"/>
                      <a:pt x="166" y="114"/>
                    </a:cubicBezTo>
                    <a:cubicBezTo>
                      <a:pt x="166" y="114"/>
                      <a:pt x="166" y="114"/>
                      <a:pt x="166" y="114"/>
                    </a:cubicBezTo>
                    <a:cubicBezTo>
                      <a:pt x="165" y="114"/>
                      <a:pt x="164" y="114"/>
                      <a:pt x="163" y="114"/>
                    </a:cubicBezTo>
                    <a:cubicBezTo>
                      <a:pt x="163" y="114"/>
                      <a:pt x="163" y="114"/>
                      <a:pt x="164" y="114"/>
                    </a:cubicBezTo>
                    <a:cubicBezTo>
                      <a:pt x="164" y="114"/>
                      <a:pt x="165" y="113"/>
                      <a:pt x="165" y="113"/>
                    </a:cubicBezTo>
                    <a:cubicBezTo>
                      <a:pt x="165" y="113"/>
                      <a:pt x="165" y="113"/>
                      <a:pt x="165" y="113"/>
                    </a:cubicBezTo>
                    <a:cubicBezTo>
                      <a:pt x="165" y="113"/>
                      <a:pt x="165" y="113"/>
                      <a:pt x="166" y="113"/>
                    </a:cubicBezTo>
                    <a:cubicBezTo>
                      <a:pt x="166" y="113"/>
                      <a:pt x="167" y="112"/>
                      <a:pt x="167" y="113"/>
                    </a:cubicBezTo>
                    <a:cubicBezTo>
                      <a:pt x="167" y="113"/>
                      <a:pt x="167" y="113"/>
                      <a:pt x="166" y="113"/>
                    </a:cubicBezTo>
                    <a:cubicBezTo>
                      <a:pt x="167" y="113"/>
                      <a:pt x="168" y="112"/>
                      <a:pt x="168" y="112"/>
                    </a:cubicBezTo>
                    <a:cubicBezTo>
                      <a:pt x="167" y="112"/>
                      <a:pt x="166" y="113"/>
                      <a:pt x="165" y="112"/>
                    </a:cubicBezTo>
                    <a:cubicBezTo>
                      <a:pt x="166" y="112"/>
                      <a:pt x="167" y="111"/>
                      <a:pt x="168" y="111"/>
                    </a:cubicBezTo>
                    <a:cubicBezTo>
                      <a:pt x="169" y="111"/>
                      <a:pt x="169" y="111"/>
                      <a:pt x="169" y="111"/>
                    </a:cubicBezTo>
                    <a:cubicBezTo>
                      <a:pt x="168" y="111"/>
                      <a:pt x="168" y="111"/>
                      <a:pt x="168" y="111"/>
                    </a:cubicBezTo>
                    <a:cubicBezTo>
                      <a:pt x="168" y="111"/>
                      <a:pt x="168" y="112"/>
                      <a:pt x="168" y="112"/>
                    </a:cubicBezTo>
                    <a:cubicBezTo>
                      <a:pt x="168" y="112"/>
                      <a:pt x="168" y="112"/>
                      <a:pt x="167" y="112"/>
                    </a:cubicBezTo>
                    <a:cubicBezTo>
                      <a:pt x="168" y="112"/>
                      <a:pt x="169" y="111"/>
                      <a:pt x="169" y="112"/>
                    </a:cubicBezTo>
                    <a:cubicBezTo>
                      <a:pt x="169" y="112"/>
                      <a:pt x="168" y="113"/>
                      <a:pt x="169" y="112"/>
                    </a:cubicBezTo>
                    <a:cubicBezTo>
                      <a:pt x="169" y="112"/>
                      <a:pt x="170" y="112"/>
                      <a:pt x="170" y="112"/>
                    </a:cubicBezTo>
                    <a:cubicBezTo>
                      <a:pt x="171" y="112"/>
                      <a:pt x="171" y="112"/>
                      <a:pt x="172" y="113"/>
                    </a:cubicBezTo>
                    <a:cubicBezTo>
                      <a:pt x="172" y="113"/>
                      <a:pt x="172" y="113"/>
                      <a:pt x="172" y="113"/>
                    </a:cubicBezTo>
                    <a:cubicBezTo>
                      <a:pt x="172" y="113"/>
                      <a:pt x="172" y="113"/>
                      <a:pt x="172" y="113"/>
                    </a:cubicBezTo>
                    <a:cubicBezTo>
                      <a:pt x="173" y="113"/>
                      <a:pt x="173" y="113"/>
                      <a:pt x="173" y="113"/>
                    </a:cubicBezTo>
                    <a:cubicBezTo>
                      <a:pt x="173" y="113"/>
                      <a:pt x="172" y="113"/>
                      <a:pt x="173" y="113"/>
                    </a:cubicBezTo>
                    <a:cubicBezTo>
                      <a:pt x="172" y="113"/>
                      <a:pt x="172" y="113"/>
                      <a:pt x="172" y="113"/>
                    </a:cubicBezTo>
                    <a:cubicBezTo>
                      <a:pt x="172" y="113"/>
                      <a:pt x="171" y="112"/>
                      <a:pt x="172" y="112"/>
                    </a:cubicBezTo>
                    <a:cubicBezTo>
                      <a:pt x="172" y="112"/>
                      <a:pt x="172" y="112"/>
                      <a:pt x="172" y="112"/>
                    </a:cubicBezTo>
                    <a:cubicBezTo>
                      <a:pt x="172" y="111"/>
                      <a:pt x="173" y="111"/>
                      <a:pt x="174" y="111"/>
                    </a:cubicBezTo>
                    <a:cubicBezTo>
                      <a:pt x="173" y="111"/>
                      <a:pt x="171" y="112"/>
                      <a:pt x="170" y="112"/>
                    </a:cubicBezTo>
                    <a:cubicBezTo>
                      <a:pt x="170" y="112"/>
                      <a:pt x="169" y="111"/>
                      <a:pt x="169" y="111"/>
                    </a:cubicBezTo>
                    <a:cubicBezTo>
                      <a:pt x="169" y="111"/>
                      <a:pt x="171" y="111"/>
                      <a:pt x="171" y="111"/>
                    </a:cubicBezTo>
                    <a:cubicBezTo>
                      <a:pt x="171" y="111"/>
                      <a:pt x="169" y="111"/>
                      <a:pt x="169" y="111"/>
                    </a:cubicBezTo>
                    <a:cubicBezTo>
                      <a:pt x="169" y="110"/>
                      <a:pt x="170" y="110"/>
                      <a:pt x="170" y="110"/>
                    </a:cubicBezTo>
                    <a:cubicBezTo>
                      <a:pt x="170" y="110"/>
                      <a:pt x="170" y="110"/>
                      <a:pt x="170" y="110"/>
                    </a:cubicBezTo>
                    <a:cubicBezTo>
                      <a:pt x="170" y="109"/>
                      <a:pt x="171" y="110"/>
                      <a:pt x="171" y="110"/>
                    </a:cubicBezTo>
                    <a:cubicBezTo>
                      <a:pt x="171" y="110"/>
                      <a:pt x="171" y="110"/>
                      <a:pt x="172" y="110"/>
                    </a:cubicBezTo>
                    <a:cubicBezTo>
                      <a:pt x="171" y="110"/>
                      <a:pt x="171" y="110"/>
                      <a:pt x="171" y="110"/>
                    </a:cubicBezTo>
                    <a:cubicBezTo>
                      <a:pt x="171" y="109"/>
                      <a:pt x="172" y="109"/>
                      <a:pt x="172" y="110"/>
                    </a:cubicBezTo>
                    <a:cubicBezTo>
                      <a:pt x="172" y="110"/>
                      <a:pt x="174" y="110"/>
                      <a:pt x="174" y="110"/>
                    </a:cubicBezTo>
                    <a:cubicBezTo>
                      <a:pt x="173" y="110"/>
                      <a:pt x="173" y="109"/>
                      <a:pt x="172" y="109"/>
                    </a:cubicBezTo>
                    <a:cubicBezTo>
                      <a:pt x="172" y="109"/>
                      <a:pt x="171" y="109"/>
                      <a:pt x="171" y="109"/>
                    </a:cubicBezTo>
                    <a:cubicBezTo>
                      <a:pt x="171" y="109"/>
                      <a:pt x="170" y="109"/>
                      <a:pt x="170" y="108"/>
                    </a:cubicBezTo>
                    <a:cubicBezTo>
                      <a:pt x="170" y="109"/>
                      <a:pt x="170" y="109"/>
                      <a:pt x="170" y="109"/>
                    </a:cubicBezTo>
                    <a:cubicBezTo>
                      <a:pt x="169" y="109"/>
                      <a:pt x="169" y="109"/>
                      <a:pt x="169" y="110"/>
                    </a:cubicBezTo>
                    <a:cubicBezTo>
                      <a:pt x="169" y="110"/>
                      <a:pt x="169" y="110"/>
                      <a:pt x="169" y="110"/>
                    </a:cubicBezTo>
                    <a:cubicBezTo>
                      <a:pt x="168" y="110"/>
                      <a:pt x="167" y="111"/>
                      <a:pt x="166" y="110"/>
                    </a:cubicBezTo>
                    <a:cubicBezTo>
                      <a:pt x="166" y="110"/>
                      <a:pt x="166" y="110"/>
                      <a:pt x="167" y="110"/>
                    </a:cubicBezTo>
                    <a:cubicBezTo>
                      <a:pt x="166" y="110"/>
                      <a:pt x="166" y="110"/>
                      <a:pt x="166" y="110"/>
                    </a:cubicBezTo>
                    <a:cubicBezTo>
                      <a:pt x="167" y="109"/>
                      <a:pt x="168" y="110"/>
                      <a:pt x="168" y="110"/>
                    </a:cubicBezTo>
                    <a:cubicBezTo>
                      <a:pt x="168" y="109"/>
                      <a:pt x="167" y="110"/>
                      <a:pt x="168" y="109"/>
                    </a:cubicBezTo>
                    <a:cubicBezTo>
                      <a:pt x="167" y="109"/>
                      <a:pt x="167" y="109"/>
                      <a:pt x="166" y="109"/>
                    </a:cubicBezTo>
                    <a:cubicBezTo>
                      <a:pt x="167" y="109"/>
                      <a:pt x="165" y="109"/>
                      <a:pt x="166" y="109"/>
                    </a:cubicBezTo>
                    <a:cubicBezTo>
                      <a:pt x="167" y="109"/>
                      <a:pt x="168" y="109"/>
                      <a:pt x="168" y="109"/>
                    </a:cubicBezTo>
                    <a:cubicBezTo>
                      <a:pt x="168" y="109"/>
                      <a:pt x="167" y="109"/>
                      <a:pt x="167" y="109"/>
                    </a:cubicBezTo>
                    <a:cubicBezTo>
                      <a:pt x="167" y="108"/>
                      <a:pt x="167" y="108"/>
                      <a:pt x="167" y="108"/>
                    </a:cubicBezTo>
                    <a:cubicBezTo>
                      <a:pt x="167" y="108"/>
                      <a:pt x="167" y="108"/>
                      <a:pt x="167" y="108"/>
                    </a:cubicBezTo>
                    <a:cubicBezTo>
                      <a:pt x="167" y="108"/>
                      <a:pt x="169" y="108"/>
                      <a:pt x="169" y="108"/>
                    </a:cubicBezTo>
                    <a:cubicBezTo>
                      <a:pt x="169" y="108"/>
                      <a:pt x="169" y="108"/>
                      <a:pt x="169" y="109"/>
                    </a:cubicBezTo>
                    <a:cubicBezTo>
                      <a:pt x="169" y="109"/>
                      <a:pt x="169" y="108"/>
                      <a:pt x="170" y="108"/>
                    </a:cubicBezTo>
                    <a:cubicBezTo>
                      <a:pt x="170" y="108"/>
                      <a:pt x="170" y="108"/>
                      <a:pt x="171" y="108"/>
                    </a:cubicBezTo>
                    <a:cubicBezTo>
                      <a:pt x="171" y="108"/>
                      <a:pt x="172" y="108"/>
                      <a:pt x="171" y="108"/>
                    </a:cubicBezTo>
                    <a:cubicBezTo>
                      <a:pt x="172" y="108"/>
                      <a:pt x="172" y="107"/>
                      <a:pt x="173" y="108"/>
                    </a:cubicBezTo>
                    <a:cubicBezTo>
                      <a:pt x="174" y="108"/>
                      <a:pt x="174" y="108"/>
                      <a:pt x="174" y="107"/>
                    </a:cubicBezTo>
                    <a:cubicBezTo>
                      <a:pt x="175" y="107"/>
                      <a:pt x="173" y="107"/>
                      <a:pt x="173" y="107"/>
                    </a:cubicBezTo>
                    <a:cubicBezTo>
                      <a:pt x="172" y="107"/>
                      <a:pt x="172" y="107"/>
                      <a:pt x="171" y="106"/>
                    </a:cubicBezTo>
                    <a:cubicBezTo>
                      <a:pt x="171" y="107"/>
                      <a:pt x="171" y="107"/>
                      <a:pt x="170" y="107"/>
                    </a:cubicBezTo>
                    <a:cubicBezTo>
                      <a:pt x="171" y="107"/>
                      <a:pt x="169" y="107"/>
                      <a:pt x="169" y="107"/>
                    </a:cubicBezTo>
                    <a:cubicBezTo>
                      <a:pt x="170" y="107"/>
                      <a:pt x="170" y="107"/>
                      <a:pt x="170" y="107"/>
                    </a:cubicBezTo>
                    <a:cubicBezTo>
                      <a:pt x="170" y="106"/>
                      <a:pt x="170" y="106"/>
                      <a:pt x="170" y="106"/>
                    </a:cubicBezTo>
                    <a:cubicBezTo>
                      <a:pt x="170" y="106"/>
                      <a:pt x="171" y="106"/>
                      <a:pt x="171" y="106"/>
                    </a:cubicBezTo>
                    <a:cubicBezTo>
                      <a:pt x="171" y="106"/>
                      <a:pt x="171" y="106"/>
                      <a:pt x="172" y="106"/>
                    </a:cubicBezTo>
                    <a:cubicBezTo>
                      <a:pt x="172" y="106"/>
                      <a:pt x="172" y="105"/>
                      <a:pt x="172" y="105"/>
                    </a:cubicBezTo>
                    <a:cubicBezTo>
                      <a:pt x="172" y="105"/>
                      <a:pt x="172" y="106"/>
                      <a:pt x="172" y="106"/>
                    </a:cubicBezTo>
                    <a:cubicBezTo>
                      <a:pt x="172" y="106"/>
                      <a:pt x="172" y="106"/>
                      <a:pt x="172" y="106"/>
                    </a:cubicBezTo>
                    <a:cubicBezTo>
                      <a:pt x="172" y="107"/>
                      <a:pt x="173" y="106"/>
                      <a:pt x="174" y="106"/>
                    </a:cubicBezTo>
                    <a:cubicBezTo>
                      <a:pt x="174" y="106"/>
                      <a:pt x="173" y="106"/>
                      <a:pt x="173" y="105"/>
                    </a:cubicBezTo>
                    <a:cubicBezTo>
                      <a:pt x="173" y="105"/>
                      <a:pt x="174" y="105"/>
                      <a:pt x="174" y="105"/>
                    </a:cubicBezTo>
                    <a:cubicBezTo>
                      <a:pt x="173" y="104"/>
                      <a:pt x="176" y="105"/>
                      <a:pt x="175" y="105"/>
                    </a:cubicBezTo>
                    <a:cubicBezTo>
                      <a:pt x="175" y="106"/>
                      <a:pt x="175" y="105"/>
                      <a:pt x="175" y="106"/>
                    </a:cubicBezTo>
                    <a:cubicBezTo>
                      <a:pt x="175" y="107"/>
                      <a:pt x="175" y="107"/>
                      <a:pt x="176" y="107"/>
                    </a:cubicBezTo>
                    <a:cubicBezTo>
                      <a:pt x="176" y="108"/>
                      <a:pt x="176" y="108"/>
                      <a:pt x="176" y="108"/>
                    </a:cubicBezTo>
                    <a:cubicBezTo>
                      <a:pt x="177" y="108"/>
                      <a:pt x="178" y="109"/>
                      <a:pt x="178" y="109"/>
                    </a:cubicBezTo>
                    <a:cubicBezTo>
                      <a:pt x="178" y="109"/>
                      <a:pt x="177" y="108"/>
                      <a:pt x="177" y="108"/>
                    </a:cubicBezTo>
                    <a:cubicBezTo>
                      <a:pt x="176" y="108"/>
                      <a:pt x="176" y="108"/>
                      <a:pt x="176" y="108"/>
                    </a:cubicBezTo>
                    <a:cubicBezTo>
                      <a:pt x="177" y="107"/>
                      <a:pt x="176" y="107"/>
                      <a:pt x="176" y="107"/>
                    </a:cubicBezTo>
                    <a:cubicBezTo>
                      <a:pt x="177" y="107"/>
                      <a:pt x="177" y="108"/>
                      <a:pt x="178" y="108"/>
                    </a:cubicBezTo>
                    <a:cubicBezTo>
                      <a:pt x="178" y="108"/>
                      <a:pt x="177" y="108"/>
                      <a:pt x="177" y="107"/>
                    </a:cubicBezTo>
                    <a:cubicBezTo>
                      <a:pt x="177" y="107"/>
                      <a:pt x="178" y="108"/>
                      <a:pt x="178" y="107"/>
                    </a:cubicBezTo>
                    <a:cubicBezTo>
                      <a:pt x="178" y="107"/>
                      <a:pt x="178" y="107"/>
                      <a:pt x="178" y="107"/>
                    </a:cubicBezTo>
                    <a:cubicBezTo>
                      <a:pt x="178" y="107"/>
                      <a:pt x="178" y="107"/>
                      <a:pt x="178" y="107"/>
                    </a:cubicBezTo>
                    <a:cubicBezTo>
                      <a:pt x="178" y="107"/>
                      <a:pt x="177" y="107"/>
                      <a:pt x="177" y="106"/>
                    </a:cubicBezTo>
                    <a:cubicBezTo>
                      <a:pt x="178" y="106"/>
                      <a:pt x="179" y="107"/>
                      <a:pt x="179" y="107"/>
                    </a:cubicBezTo>
                    <a:cubicBezTo>
                      <a:pt x="179" y="107"/>
                      <a:pt x="179" y="106"/>
                      <a:pt x="179" y="106"/>
                    </a:cubicBezTo>
                    <a:cubicBezTo>
                      <a:pt x="179" y="106"/>
                      <a:pt x="180" y="106"/>
                      <a:pt x="180" y="106"/>
                    </a:cubicBezTo>
                    <a:cubicBezTo>
                      <a:pt x="179" y="106"/>
                      <a:pt x="179" y="106"/>
                      <a:pt x="179" y="106"/>
                    </a:cubicBezTo>
                    <a:cubicBezTo>
                      <a:pt x="178" y="106"/>
                      <a:pt x="178" y="106"/>
                      <a:pt x="178" y="106"/>
                    </a:cubicBezTo>
                    <a:cubicBezTo>
                      <a:pt x="177" y="106"/>
                      <a:pt x="177" y="106"/>
                      <a:pt x="177" y="106"/>
                    </a:cubicBezTo>
                    <a:cubicBezTo>
                      <a:pt x="177" y="106"/>
                      <a:pt x="177" y="106"/>
                      <a:pt x="176" y="106"/>
                    </a:cubicBezTo>
                    <a:cubicBezTo>
                      <a:pt x="177" y="106"/>
                      <a:pt x="177" y="106"/>
                      <a:pt x="177" y="106"/>
                    </a:cubicBezTo>
                    <a:cubicBezTo>
                      <a:pt x="177" y="105"/>
                      <a:pt x="178" y="106"/>
                      <a:pt x="178" y="106"/>
                    </a:cubicBezTo>
                    <a:cubicBezTo>
                      <a:pt x="178" y="105"/>
                      <a:pt x="178" y="105"/>
                      <a:pt x="177" y="105"/>
                    </a:cubicBezTo>
                    <a:cubicBezTo>
                      <a:pt x="178" y="105"/>
                      <a:pt x="178" y="106"/>
                      <a:pt x="179" y="105"/>
                    </a:cubicBezTo>
                    <a:cubicBezTo>
                      <a:pt x="178" y="105"/>
                      <a:pt x="178" y="105"/>
                      <a:pt x="178" y="105"/>
                    </a:cubicBezTo>
                    <a:cubicBezTo>
                      <a:pt x="177" y="105"/>
                      <a:pt x="176" y="105"/>
                      <a:pt x="176" y="105"/>
                    </a:cubicBezTo>
                    <a:cubicBezTo>
                      <a:pt x="176" y="105"/>
                      <a:pt x="177" y="105"/>
                      <a:pt x="177" y="105"/>
                    </a:cubicBezTo>
                    <a:cubicBezTo>
                      <a:pt x="177" y="105"/>
                      <a:pt x="175" y="105"/>
                      <a:pt x="175" y="104"/>
                    </a:cubicBezTo>
                    <a:cubicBezTo>
                      <a:pt x="176" y="104"/>
                      <a:pt x="176" y="104"/>
                      <a:pt x="176" y="104"/>
                    </a:cubicBezTo>
                    <a:cubicBezTo>
                      <a:pt x="177" y="104"/>
                      <a:pt x="178" y="104"/>
                      <a:pt x="178" y="105"/>
                    </a:cubicBezTo>
                    <a:cubicBezTo>
                      <a:pt x="179" y="105"/>
                      <a:pt x="179" y="106"/>
                      <a:pt x="180" y="106"/>
                    </a:cubicBezTo>
                    <a:cubicBezTo>
                      <a:pt x="180" y="106"/>
                      <a:pt x="180" y="106"/>
                      <a:pt x="179" y="105"/>
                    </a:cubicBezTo>
                    <a:cubicBezTo>
                      <a:pt x="179" y="105"/>
                      <a:pt x="179" y="105"/>
                      <a:pt x="179" y="105"/>
                    </a:cubicBezTo>
                    <a:cubicBezTo>
                      <a:pt x="178" y="104"/>
                      <a:pt x="177" y="104"/>
                      <a:pt x="177" y="104"/>
                    </a:cubicBezTo>
                    <a:cubicBezTo>
                      <a:pt x="177" y="104"/>
                      <a:pt x="176" y="104"/>
                      <a:pt x="176" y="104"/>
                    </a:cubicBezTo>
                    <a:cubicBezTo>
                      <a:pt x="177" y="103"/>
                      <a:pt x="178" y="103"/>
                      <a:pt x="179" y="103"/>
                    </a:cubicBezTo>
                    <a:cubicBezTo>
                      <a:pt x="179" y="103"/>
                      <a:pt x="181" y="104"/>
                      <a:pt x="180" y="104"/>
                    </a:cubicBezTo>
                    <a:cubicBezTo>
                      <a:pt x="181" y="104"/>
                      <a:pt x="182" y="104"/>
                      <a:pt x="183" y="104"/>
                    </a:cubicBezTo>
                    <a:cubicBezTo>
                      <a:pt x="183" y="104"/>
                      <a:pt x="184" y="105"/>
                      <a:pt x="184" y="105"/>
                    </a:cubicBezTo>
                    <a:cubicBezTo>
                      <a:pt x="184" y="105"/>
                      <a:pt x="184" y="105"/>
                      <a:pt x="184" y="105"/>
                    </a:cubicBezTo>
                    <a:cubicBezTo>
                      <a:pt x="184" y="105"/>
                      <a:pt x="183" y="104"/>
                      <a:pt x="184" y="103"/>
                    </a:cubicBezTo>
                    <a:cubicBezTo>
                      <a:pt x="184" y="103"/>
                      <a:pt x="185" y="104"/>
                      <a:pt x="186" y="104"/>
                    </a:cubicBezTo>
                    <a:cubicBezTo>
                      <a:pt x="185" y="104"/>
                      <a:pt x="185" y="103"/>
                      <a:pt x="184" y="103"/>
                    </a:cubicBezTo>
                    <a:cubicBezTo>
                      <a:pt x="185" y="102"/>
                      <a:pt x="187" y="104"/>
                      <a:pt x="188" y="103"/>
                    </a:cubicBezTo>
                    <a:cubicBezTo>
                      <a:pt x="187" y="103"/>
                      <a:pt x="187" y="103"/>
                      <a:pt x="187" y="103"/>
                    </a:cubicBezTo>
                    <a:cubicBezTo>
                      <a:pt x="186" y="103"/>
                      <a:pt x="185" y="103"/>
                      <a:pt x="185" y="103"/>
                    </a:cubicBezTo>
                    <a:cubicBezTo>
                      <a:pt x="185" y="102"/>
                      <a:pt x="185" y="102"/>
                      <a:pt x="185" y="102"/>
                    </a:cubicBezTo>
                    <a:cubicBezTo>
                      <a:pt x="184" y="103"/>
                      <a:pt x="183" y="103"/>
                      <a:pt x="182" y="103"/>
                    </a:cubicBezTo>
                    <a:cubicBezTo>
                      <a:pt x="182" y="103"/>
                      <a:pt x="182" y="103"/>
                      <a:pt x="182" y="103"/>
                    </a:cubicBezTo>
                    <a:cubicBezTo>
                      <a:pt x="181" y="102"/>
                      <a:pt x="180" y="103"/>
                      <a:pt x="179" y="103"/>
                    </a:cubicBezTo>
                    <a:cubicBezTo>
                      <a:pt x="178" y="103"/>
                      <a:pt x="178" y="103"/>
                      <a:pt x="178" y="103"/>
                    </a:cubicBezTo>
                    <a:cubicBezTo>
                      <a:pt x="177" y="102"/>
                      <a:pt x="179" y="102"/>
                      <a:pt x="179" y="102"/>
                    </a:cubicBezTo>
                    <a:cubicBezTo>
                      <a:pt x="178" y="102"/>
                      <a:pt x="179" y="101"/>
                      <a:pt x="179" y="101"/>
                    </a:cubicBezTo>
                    <a:cubicBezTo>
                      <a:pt x="179" y="101"/>
                      <a:pt x="182" y="100"/>
                      <a:pt x="182" y="101"/>
                    </a:cubicBezTo>
                    <a:cubicBezTo>
                      <a:pt x="182" y="101"/>
                      <a:pt x="183" y="100"/>
                      <a:pt x="183" y="100"/>
                    </a:cubicBezTo>
                    <a:cubicBezTo>
                      <a:pt x="184" y="100"/>
                      <a:pt x="185" y="101"/>
                      <a:pt x="186" y="101"/>
                    </a:cubicBezTo>
                    <a:cubicBezTo>
                      <a:pt x="185" y="101"/>
                      <a:pt x="185" y="100"/>
                      <a:pt x="184" y="100"/>
                    </a:cubicBezTo>
                    <a:cubicBezTo>
                      <a:pt x="184" y="100"/>
                      <a:pt x="183" y="100"/>
                      <a:pt x="183" y="100"/>
                    </a:cubicBezTo>
                    <a:cubicBezTo>
                      <a:pt x="184" y="99"/>
                      <a:pt x="186" y="100"/>
                      <a:pt x="187" y="100"/>
                    </a:cubicBezTo>
                    <a:cubicBezTo>
                      <a:pt x="186" y="99"/>
                      <a:pt x="185" y="100"/>
                      <a:pt x="185" y="99"/>
                    </a:cubicBezTo>
                    <a:cubicBezTo>
                      <a:pt x="185" y="99"/>
                      <a:pt x="185" y="99"/>
                      <a:pt x="185" y="99"/>
                    </a:cubicBezTo>
                    <a:cubicBezTo>
                      <a:pt x="186" y="99"/>
                      <a:pt x="187" y="99"/>
                      <a:pt x="186" y="99"/>
                    </a:cubicBezTo>
                    <a:cubicBezTo>
                      <a:pt x="186" y="99"/>
                      <a:pt x="187" y="99"/>
                      <a:pt x="187" y="99"/>
                    </a:cubicBezTo>
                    <a:cubicBezTo>
                      <a:pt x="186" y="99"/>
                      <a:pt x="186" y="99"/>
                      <a:pt x="185" y="99"/>
                    </a:cubicBezTo>
                    <a:cubicBezTo>
                      <a:pt x="184" y="99"/>
                      <a:pt x="184" y="98"/>
                      <a:pt x="185" y="98"/>
                    </a:cubicBezTo>
                    <a:cubicBezTo>
                      <a:pt x="185" y="98"/>
                      <a:pt x="184" y="98"/>
                      <a:pt x="185" y="98"/>
                    </a:cubicBezTo>
                    <a:cubicBezTo>
                      <a:pt x="185" y="97"/>
                      <a:pt x="186" y="97"/>
                      <a:pt x="186" y="97"/>
                    </a:cubicBezTo>
                    <a:cubicBezTo>
                      <a:pt x="186" y="97"/>
                      <a:pt x="187" y="97"/>
                      <a:pt x="188" y="97"/>
                    </a:cubicBezTo>
                    <a:cubicBezTo>
                      <a:pt x="188" y="96"/>
                      <a:pt x="189" y="97"/>
                      <a:pt x="189" y="96"/>
                    </a:cubicBezTo>
                    <a:cubicBezTo>
                      <a:pt x="189" y="96"/>
                      <a:pt x="188" y="96"/>
                      <a:pt x="189" y="96"/>
                    </a:cubicBezTo>
                    <a:cubicBezTo>
                      <a:pt x="187" y="96"/>
                      <a:pt x="189" y="95"/>
                      <a:pt x="189" y="94"/>
                    </a:cubicBezTo>
                    <a:cubicBezTo>
                      <a:pt x="189" y="94"/>
                      <a:pt x="189" y="94"/>
                      <a:pt x="189" y="94"/>
                    </a:cubicBezTo>
                    <a:cubicBezTo>
                      <a:pt x="190" y="93"/>
                      <a:pt x="191" y="93"/>
                      <a:pt x="190" y="94"/>
                    </a:cubicBezTo>
                    <a:cubicBezTo>
                      <a:pt x="190" y="94"/>
                      <a:pt x="191" y="94"/>
                      <a:pt x="191" y="95"/>
                    </a:cubicBezTo>
                    <a:cubicBezTo>
                      <a:pt x="192" y="95"/>
                      <a:pt x="191" y="95"/>
                      <a:pt x="191" y="96"/>
                    </a:cubicBezTo>
                    <a:cubicBezTo>
                      <a:pt x="192" y="96"/>
                      <a:pt x="192" y="95"/>
                      <a:pt x="192" y="95"/>
                    </a:cubicBezTo>
                    <a:cubicBezTo>
                      <a:pt x="192" y="94"/>
                      <a:pt x="193" y="95"/>
                      <a:pt x="193" y="95"/>
                    </a:cubicBezTo>
                    <a:cubicBezTo>
                      <a:pt x="193" y="95"/>
                      <a:pt x="192" y="95"/>
                      <a:pt x="193" y="95"/>
                    </a:cubicBezTo>
                    <a:cubicBezTo>
                      <a:pt x="194" y="95"/>
                      <a:pt x="194" y="95"/>
                      <a:pt x="195" y="95"/>
                    </a:cubicBezTo>
                    <a:cubicBezTo>
                      <a:pt x="195" y="95"/>
                      <a:pt x="193" y="95"/>
                      <a:pt x="193" y="95"/>
                    </a:cubicBezTo>
                    <a:cubicBezTo>
                      <a:pt x="192" y="94"/>
                      <a:pt x="191" y="94"/>
                      <a:pt x="191" y="94"/>
                    </a:cubicBezTo>
                    <a:cubicBezTo>
                      <a:pt x="191" y="93"/>
                      <a:pt x="192" y="93"/>
                      <a:pt x="192" y="93"/>
                    </a:cubicBezTo>
                    <a:cubicBezTo>
                      <a:pt x="193" y="93"/>
                      <a:pt x="193" y="93"/>
                      <a:pt x="193" y="93"/>
                    </a:cubicBezTo>
                    <a:cubicBezTo>
                      <a:pt x="194" y="93"/>
                      <a:pt x="194" y="93"/>
                      <a:pt x="194" y="93"/>
                    </a:cubicBezTo>
                    <a:cubicBezTo>
                      <a:pt x="194" y="93"/>
                      <a:pt x="195" y="94"/>
                      <a:pt x="195" y="95"/>
                    </a:cubicBezTo>
                    <a:cubicBezTo>
                      <a:pt x="196" y="95"/>
                      <a:pt x="198" y="95"/>
                      <a:pt x="198" y="95"/>
                    </a:cubicBezTo>
                    <a:cubicBezTo>
                      <a:pt x="198" y="95"/>
                      <a:pt x="197" y="95"/>
                      <a:pt x="197" y="96"/>
                    </a:cubicBezTo>
                    <a:cubicBezTo>
                      <a:pt x="197" y="96"/>
                      <a:pt x="198" y="96"/>
                      <a:pt x="199" y="96"/>
                    </a:cubicBezTo>
                    <a:cubicBezTo>
                      <a:pt x="199" y="96"/>
                      <a:pt x="198" y="96"/>
                      <a:pt x="198" y="95"/>
                    </a:cubicBezTo>
                    <a:cubicBezTo>
                      <a:pt x="198" y="95"/>
                      <a:pt x="198" y="95"/>
                      <a:pt x="198" y="94"/>
                    </a:cubicBezTo>
                    <a:cubicBezTo>
                      <a:pt x="197" y="94"/>
                      <a:pt x="196" y="95"/>
                      <a:pt x="195" y="94"/>
                    </a:cubicBezTo>
                    <a:cubicBezTo>
                      <a:pt x="195" y="94"/>
                      <a:pt x="194" y="93"/>
                      <a:pt x="195" y="93"/>
                    </a:cubicBezTo>
                    <a:cubicBezTo>
                      <a:pt x="195" y="93"/>
                      <a:pt x="196" y="93"/>
                      <a:pt x="197" y="93"/>
                    </a:cubicBezTo>
                    <a:cubicBezTo>
                      <a:pt x="196" y="92"/>
                      <a:pt x="194" y="93"/>
                      <a:pt x="194" y="92"/>
                    </a:cubicBezTo>
                    <a:cubicBezTo>
                      <a:pt x="194" y="92"/>
                      <a:pt x="196" y="91"/>
                      <a:pt x="196" y="91"/>
                    </a:cubicBezTo>
                    <a:cubicBezTo>
                      <a:pt x="197" y="90"/>
                      <a:pt x="198" y="90"/>
                      <a:pt x="199" y="90"/>
                    </a:cubicBezTo>
                    <a:cubicBezTo>
                      <a:pt x="200" y="90"/>
                      <a:pt x="200" y="91"/>
                      <a:pt x="199" y="92"/>
                    </a:cubicBezTo>
                    <a:cubicBezTo>
                      <a:pt x="200" y="92"/>
                      <a:pt x="200" y="92"/>
                      <a:pt x="200" y="93"/>
                    </a:cubicBezTo>
                    <a:cubicBezTo>
                      <a:pt x="200" y="93"/>
                      <a:pt x="199" y="93"/>
                      <a:pt x="199" y="93"/>
                    </a:cubicBezTo>
                    <a:cubicBezTo>
                      <a:pt x="200" y="93"/>
                      <a:pt x="200" y="93"/>
                      <a:pt x="200" y="93"/>
                    </a:cubicBezTo>
                    <a:cubicBezTo>
                      <a:pt x="200" y="94"/>
                      <a:pt x="199" y="94"/>
                      <a:pt x="199" y="94"/>
                    </a:cubicBezTo>
                    <a:cubicBezTo>
                      <a:pt x="200" y="94"/>
                      <a:pt x="200" y="93"/>
                      <a:pt x="200" y="92"/>
                    </a:cubicBezTo>
                    <a:cubicBezTo>
                      <a:pt x="200" y="92"/>
                      <a:pt x="201" y="92"/>
                      <a:pt x="201" y="92"/>
                    </a:cubicBezTo>
                    <a:cubicBezTo>
                      <a:pt x="201" y="92"/>
                      <a:pt x="200" y="92"/>
                      <a:pt x="200" y="92"/>
                    </a:cubicBezTo>
                    <a:cubicBezTo>
                      <a:pt x="200" y="91"/>
                      <a:pt x="202" y="90"/>
                      <a:pt x="202" y="90"/>
                    </a:cubicBezTo>
                    <a:cubicBezTo>
                      <a:pt x="202" y="90"/>
                      <a:pt x="201" y="91"/>
                      <a:pt x="202" y="91"/>
                    </a:cubicBezTo>
                    <a:cubicBezTo>
                      <a:pt x="202" y="91"/>
                      <a:pt x="202" y="89"/>
                      <a:pt x="203" y="89"/>
                    </a:cubicBezTo>
                    <a:cubicBezTo>
                      <a:pt x="203" y="89"/>
                      <a:pt x="203" y="90"/>
                      <a:pt x="203" y="90"/>
                    </a:cubicBezTo>
                    <a:cubicBezTo>
                      <a:pt x="203" y="89"/>
                      <a:pt x="204" y="89"/>
                      <a:pt x="204" y="89"/>
                    </a:cubicBezTo>
                    <a:cubicBezTo>
                      <a:pt x="205" y="90"/>
                      <a:pt x="203" y="91"/>
                      <a:pt x="204" y="92"/>
                    </a:cubicBezTo>
                    <a:cubicBezTo>
                      <a:pt x="205" y="92"/>
                      <a:pt x="204" y="92"/>
                      <a:pt x="204" y="93"/>
                    </a:cubicBezTo>
                    <a:cubicBezTo>
                      <a:pt x="204" y="93"/>
                      <a:pt x="204" y="93"/>
                      <a:pt x="204" y="93"/>
                    </a:cubicBezTo>
                    <a:cubicBezTo>
                      <a:pt x="204" y="94"/>
                      <a:pt x="204" y="93"/>
                      <a:pt x="203" y="94"/>
                    </a:cubicBezTo>
                    <a:cubicBezTo>
                      <a:pt x="203" y="94"/>
                      <a:pt x="203" y="94"/>
                      <a:pt x="203" y="94"/>
                    </a:cubicBezTo>
                    <a:cubicBezTo>
                      <a:pt x="203" y="94"/>
                      <a:pt x="202" y="95"/>
                      <a:pt x="202" y="95"/>
                    </a:cubicBezTo>
                    <a:cubicBezTo>
                      <a:pt x="202" y="95"/>
                      <a:pt x="203" y="94"/>
                      <a:pt x="203" y="94"/>
                    </a:cubicBezTo>
                    <a:cubicBezTo>
                      <a:pt x="204" y="94"/>
                      <a:pt x="204" y="94"/>
                      <a:pt x="204" y="93"/>
                    </a:cubicBezTo>
                    <a:cubicBezTo>
                      <a:pt x="205" y="93"/>
                      <a:pt x="205" y="92"/>
                      <a:pt x="206" y="93"/>
                    </a:cubicBezTo>
                    <a:cubicBezTo>
                      <a:pt x="206" y="93"/>
                      <a:pt x="207" y="93"/>
                      <a:pt x="208" y="93"/>
                    </a:cubicBezTo>
                    <a:cubicBezTo>
                      <a:pt x="207" y="93"/>
                      <a:pt x="207" y="93"/>
                      <a:pt x="207" y="93"/>
                    </a:cubicBezTo>
                    <a:cubicBezTo>
                      <a:pt x="206" y="93"/>
                      <a:pt x="206" y="92"/>
                      <a:pt x="206" y="92"/>
                    </a:cubicBezTo>
                    <a:cubicBezTo>
                      <a:pt x="205" y="92"/>
                      <a:pt x="206" y="91"/>
                      <a:pt x="205" y="91"/>
                    </a:cubicBezTo>
                    <a:cubicBezTo>
                      <a:pt x="205" y="91"/>
                      <a:pt x="208" y="90"/>
                      <a:pt x="207" y="90"/>
                    </a:cubicBezTo>
                    <a:cubicBezTo>
                      <a:pt x="207" y="90"/>
                      <a:pt x="209" y="89"/>
                      <a:pt x="209" y="89"/>
                    </a:cubicBezTo>
                    <a:cubicBezTo>
                      <a:pt x="209" y="89"/>
                      <a:pt x="208" y="90"/>
                      <a:pt x="208" y="90"/>
                    </a:cubicBezTo>
                    <a:cubicBezTo>
                      <a:pt x="208" y="90"/>
                      <a:pt x="208" y="90"/>
                      <a:pt x="208" y="90"/>
                    </a:cubicBezTo>
                    <a:cubicBezTo>
                      <a:pt x="208" y="90"/>
                      <a:pt x="209" y="91"/>
                      <a:pt x="209" y="90"/>
                    </a:cubicBezTo>
                    <a:cubicBezTo>
                      <a:pt x="209" y="90"/>
                      <a:pt x="209" y="90"/>
                      <a:pt x="209" y="90"/>
                    </a:cubicBezTo>
                    <a:cubicBezTo>
                      <a:pt x="209" y="90"/>
                      <a:pt x="209" y="90"/>
                      <a:pt x="210" y="90"/>
                    </a:cubicBezTo>
                    <a:cubicBezTo>
                      <a:pt x="210" y="90"/>
                      <a:pt x="210" y="90"/>
                      <a:pt x="210" y="90"/>
                    </a:cubicBezTo>
                    <a:cubicBezTo>
                      <a:pt x="210" y="90"/>
                      <a:pt x="210" y="90"/>
                      <a:pt x="210" y="90"/>
                    </a:cubicBezTo>
                    <a:cubicBezTo>
                      <a:pt x="210" y="90"/>
                      <a:pt x="211" y="90"/>
                      <a:pt x="211" y="89"/>
                    </a:cubicBezTo>
                    <a:cubicBezTo>
                      <a:pt x="210" y="89"/>
                      <a:pt x="209" y="89"/>
                      <a:pt x="210" y="89"/>
                    </a:cubicBezTo>
                    <a:cubicBezTo>
                      <a:pt x="211" y="88"/>
                      <a:pt x="212" y="88"/>
                      <a:pt x="212" y="89"/>
                    </a:cubicBezTo>
                    <a:cubicBezTo>
                      <a:pt x="212" y="89"/>
                      <a:pt x="212" y="89"/>
                      <a:pt x="213" y="89"/>
                    </a:cubicBezTo>
                    <a:cubicBezTo>
                      <a:pt x="213" y="90"/>
                      <a:pt x="214" y="90"/>
                      <a:pt x="214" y="90"/>
                    </a:cubicBezTo>
                    <a:cubicBezTo>
                      <a:pt x="214" y="90"/>
                      <a:pt x="215" y="90"/>
                      <a:pt x="215" y="90"/>
                    </a:cubicBezTo>
                    <a:cubicBezTo>
                      <a:pt x="215" y="91"/>
                      <a:pt x="216" y="91"/>
                      <a:pt x="216" y="91"/>
                    </a:cubicBezTo>
                    <a:cubicBezTo>
                      <a:pt x="216" y="91"/>
                      <a:pt x="215" y="91"/>
                      <a:pt x="215" y="91"/>
                    </a:cubicBezTo>
                    <a:cubicBezTo>
                      <a:pt x="216" y="91"/>
                      <a:pt x="216" y="91"/>
                      <a:pt x="217" y="91"/>
                    </a:cubicBezTo>
                    <a:cubicBezTo>
                      <a:pt x="216" y="91"/>
                      <a:pt x="216" y="91"/>
                      <a:pt x="216" y="90"/>
                    </a:cubicBezTo>
                    <a:cubicBezTo>
                      <a:pt x="215" y="90"/>
                      <a:pt x="215" y="90"/>
                      <a:pt x="215" y="90"/>
                    </a:cubicBezTo>
                    <a:cubicBezTo>
                      <a:pt x="215" y="90"/>
                      <a:pt x="216" y="90"/>
                      <a:pt x="216" y="90"/>
                    </a:cubicBezTo>
                    <a:cubicBezTo>
                      <a:pt x="216" y="90"/>
                      <a:pt x="214" y="89"/>
                      <a:pt x="215" y="89"/>
                    </a:cubicBezTo>
                    <a:cubicBezTo>
                      <a:pt x="214" y="89"/>
                      <a:pt x="215" y="89"/>
                      <a:pt x="215" y="89"/>
                    </a:cubicBezTo>
                    <a:cubicBezTo>
                      <a:pt x="215" y="89"/>
                      <a:pt x="216" y="89"/>
                      <a:pt x="216" y="89"/>
                    </a:cubicBezTo>
                    <a:cubicBezTo>
                      <a:pt x="216" y="89"/>
                      <a:pt x="216" y="89"/>
                      <a:pt x="215" y="89"/>
                    </a:cubicBezTo>
                    <a:cubicBezTo>
                      <a:pt x="216" y="88"/>
                      <a:pt x="216" y="88"/>
                      <a:pt x="216" y="88"/>
                    </a:cubicBezTo>
                    <a:cubicBezTo>
                      <a:pt x="215" y="88"/>
                      <a:pt x="214" y="89"/>
                      <a:pt x="214" y="88"/>
                    </a:cubicBezTo>
                    <a:cubicBezTo>
                      <a:pt x="214" y="88"/>
                      <a:pt x="216" y="88"/>
                      <a:pt x="216" y="88"/>
                    </a:cubicBezTo>
                    <a:cubicBezTo>
                      <a:pt x="216" y="88"/>
                      <a:pt x="215" y="88"/>
                      <a:pt x="214" y="88"/>
                    </a:cubicBezTo>
                    <a:cubicBezTo>
                      <a:pt x="214" y="88"/>
                      <a:pt x="214" y="88"/>
                      <a:pt x="214" y="88"/>
                    </a:cubicBezTo>
                    <a:cubicBezTo>
                      <a:pt x="214" y="88"/>
                      <a:pt x="214" y="88"/>
                      <a:pt x="213" y="88"/>
                    </a:cubicBezTo>
                    <a:cubicBezTo>
                      <a:pt x="213" y="88"/>
                      <a:pt x="213" y="88"/>
                      <a:pt x="212" y="88"/>
                    </a:cubicBezTo>
                    <a:cubicBezTo>
                      <a:pt x="212" y="88"/>
                      <a:pt x="211" y="87"/>
                      <a:pt x="212" y="87"/>
                    </a:cubicBezTo>
                    <a:cubicBezTo>
                      <a:pt x="211" y="87"/>
                      <a:pt x="209" y="87"/>
                      <a:pt x="209" y="87"/>
                    </a:cubicBezTo>
                    <a:cubicBezTo>
                      <a:pt x="210" y="86"/>
                      <a:pt x="210" y="86"/>
                      <a:pt x="211" y="86"/>
                    </a:cubicBezTo>
                    <a:cubicBezTo>
                      <a:pt x="211" y="86"/>
                      <a:pt x="211" y="87"/>
                      <a:pt x="212" y="87"/>
                    </a:cubicBezTo>
                    <a:cubicBezTo>
                      <a:pt x="212" y="87"/>
                      <a:pt x="211" y="85"/>
                      <a:pt x="212" y="86"/>
                    </a:cubicBezTo>
                    <a:cubicBezTo>
                      <a:pt x="213" y="86"/>
                      <a:pt x="214" y="87"/>
                      <a:pt x="214" y="87"/>
                    </a:cubicBezTo>
                    <a:cubicBezTo>
                      <a:pt x="214" y="87"/>
                      <a:pt x="213" y="87"/>
                      <a:pt x="214" y="86"/>
                    </a:cubicBezTo>
                    <a:cubicBezTo>
                      <a:pt x="214" y="86"/>
                      <a:pt x="215" y="86"/>
                      <a:pt x="215" y="86"/>
                    </a:cubicBezTo>
                    <a:cubicBezTo>
                      <a:pt x="215" y="86"/>
                      <a:pt x="215" y="86"/>
                      <a:pt x="215" y="86"/>
                    </a:cubicBezTo>
                    <a:cubicBezTo>
                      <a:pt x="215" y="86"/>
                      <a:pt x="215" y="86"/>
                      <a:pt x="216" y="86"/>
                    </a:cubicBezTo>
                    <a:cubicBezTo>
                      <a:pt x="216" y="86"/>
                      <a:pt x="216" y="86"/>
                      <a:pt x="216" y="86"/>
                    </a:cubicBezTo>
                    <a:cubicBezTo>
                      <a:pt x="216" y="86"/>
                      <a:pt x="216" y="86"/>
                      <a:pt x="217" y="86"/>
                    </a:cubicBezTo>
                    <a:cubicBezTo>
                      <a:pt x="218" y="86"/>
                      <a:pt x="217" y="86"/>
                      <a:pt x="217" y="87"/>
                    </a:cubicBezTo>
                    <a:cubicBezTo>
                      <a:pt x="217" y="87"/>
                      <a:pt x="217" y="87"/>
                      <a:pt x="217" y="87"/>
                    </a:cubicBezTo>
                    <a:cubicBezTo>
                      <a:pt x="217" y="87"/>
                      <a:pt x="217" y="87"/>
                      <a:pt x="217" y="87"/>
                    </a:cubicBezTo>
                    <a:cubicBezTo>
                      <a:pt x="217" y="87"/>
                      <a:pt x="217" y="87"/>
                      <a:pt x="218" y="87"/>
                    </a:cubicBezTo>
                    <a:cubicBezTo>
                      <a:pt x="218" y="87"/>
                      <a:pt x="219" y="88"/>
                      <a:pt x="219" y="88"/>
                    </a:cubicBezTo>
                    <a:cubicBezTo>
                      <a:pt x="219" y="87"/>
                      <a:pt x="217" y="87"/>
                      <a:pt x="217" y="87"/>
                    </a:cubicBezTo>
                    <a:cubicBezTo>
                      <a:pt x="218" y="86"/>
                      <a:pt x="219" y="87"/>
                      <a:pt x="220" y="87"/>
                    </a:cubicBezTo>
                    <a:cubicBezTo>
                      <a:pt x="220" y="87"/>
                      <a:pt x="221" y="87"/>
                      <a:pt x="221" y="87"/>
                    </a:cubicBezTo>
                    <a:cubicBezTo>
                      <a:pt x="222" y="87"/>
                      <a:pt x="221" y="87"/>
                      <a:pt x="221" y="88"/>
                    </a:cubicBezTo>
                    <a:cubicBezTo>
                      <a:pt x="220" y="88"/>
                      <a:pt x="218" y="88"/>
                      <a:pt x="217" y="88"/>
                    </a:cubicBezTo>
                    <a:cubicBezTo>
                      <a:pt x="218" y="88"/>
                      <a:pt x="219" y="88"/>
                      <a:pt x="219" y="88"/>
                    </a:cubicBezTo>
                    <a:cubicBezTo>
                      <a:pt x="220" y="88"/>
                      <a:pt x="220" y="88"/>
                      <a:pt x="220" y="88"/>
                    </a:cubicBezTo>
                    <a:cubicBezTo>
                      <a:pt x="221" y="88"/>
                      <a:pt x="222" y="87"/>
                      <a:pt x="222" y="87"/>
                    </a:cubicBezTo>
                    <a:cubicBezTo>
                      <a:pt x="222" y="87"/>
                      <a:pt x="222" y="88"/>
                      <a:pt x="222" y="88"/>
                    </a:cubicBezTo>
                    <a:cubicBezTo>
                      <a:pt x="223" y="88"/>
                      <a:pt x="224" y="89"/>
                      <a:pt x="223" y="89"/>
                    </a:cubicBezTo>
                    <a:cubicBezTo>
                      <a:pt x="223" y="89"/>
                      <a:pt x="224" y="89"/>
                      <a:pt x="224" y="89"/>
                    </a:cubicBezTo>
                    <a:cubicBezTo>
                      <a:pt x="224" y="89"/>
                      <a:pt x="226" y="89"/>
                      <a:pt x="226" y="89"/>
                    </a:cubicBezTo>
                    <a:cubicBezTo>
                      <a:pt x="226" y="89"/>
                      <a:pt x="224" y="88"/>
                      <a:pt x="223" y="88"/>
                    </a:cubicBezTo>
                    <a:cubicBezTo>
                      <a:pt x="224" y="88"/>
                      <a:pt x="225" y="88"/>
                      <a:pt x="225" y="88"/>
                    </a:cubicBezTo>
                    <a:cubicBezTo>
                      <a:pt x="225" y="87"/>
                      <a:pt x="224" y="87"/>
                      <a:pt x="224" y="87"/>
                    </a:cubicBezTo>
                    <a:cubicBezTo>
                      <a:pt x="224" y="87"/>
                      <a:pt x="225" y="87"/>
                      <a:pt x="225" y="87"/>
                    </a:cubicBezTo>
                    <a:cubicBezTo>
                      <a:pt x="224" y="87"/>
                      <a:pt x="224" y="87"/>
                      <a:pt x="224" y="87"/>
                    </a:cubicBezTo>
                    <a:cubicBezTo>
                      <a:pt x="224" y="86"/>
                      <a:pt x="225" y="87"/>
                      <a:pt x="226" y="86"/>
                    </a:cubicBezTo>
                    <a:cubicBezTo>
                      <a:pt x="225" y="86"/>
                      <a:pt x="225" y="87"/>
                      <a:pt x="224" y="86"/>
                    </a:cubicBezTo>
                    <a:cubicBezTo>
                      <a:pt x="225" y="86"/>
                      <a:pt x="225" y="86"/>
                      <a:pt x="226" y="86"/>
                    </a:cubicBezTo>
                    <a:cubicBezTo>
                      <a:pt x="226" y="86"/>
                      <a:pt x="226" y="86"/>
                      <a:pt x="225" y="86"/>
                    </a:cubicBezTo>
                    <a:cubicBezTo>
                      <a:pt x="225" y="85"/>
                      <a:pt x="227" y="85"/>
                      <a:pt x="227" y="84"/>
                    </a:cubicBezTo>
                    <a:cubicBezTo>
                      <a:pt x="229" y="84"/>
                      <a:pt x="230" y="84"/>
                      <a:pt x="231" y="84"/>
                    </a:cubicBezTo>
                    <a:cubicBezTo>
                      <a:pt x="231" y="84"/>
                      <a:pt x="230" y="84"/>
                      <a:pt x="230" y="84"/>
                    </a:cubicBezTo>
                    <a:cubicBezTo>
                      <a:pt x="230" y="84"/>
                      <a:pt x="230" y="83"/>
                      <a:pt x="230" y="83"/>
                    </a:cubicBezTo>
                    <a:cubicBezTo>
                      <a:pt x="231" y="82"/>
                      <a:pt x="232" y="83"/>
                      <a:pt x="233" y="83"/>
                    </a:cubicBezTo>
                    <a:cubicBezTo>
                      <a:pt x="233" y="83"/>
                      <a:pt x="234" y="83"/>
                      <a:pt x="233" y="83"/>
                    </a:cubicBezTo>
                    <a:cubicBezTo>
                      <a:pt x="233" y="83"/>
                      <a:pt x="233" y="82"/>
                      <a:pt x="233" y="82"/>
                    </a:cubicBezTo>
                    <a:cubicBezTo>
                      <a:pt x="232" y="82"/>
                      <a:pt x="232" y="82"/>
                      <a:pt x="231" y="82"/>
                    </a:cubicBezTo>
                    <a:cubicBezTo>
                      <a:pt x="230" y="82"/>
                      <a:pt x="230" y="81"/>
                      <a:pt x="231" y="81"/>
                    </a:cubicBezTo>
                    <a:cubicBezTo>
                      <a:pt x="231" y="81"/>
                      <a:pt x="232" y="81"/>
                      <a:pt x="232" y="81"/>
                    </a:cubicBezTo>
                    <a:cubicBezTo>
                      <a:pt x="233" y="82"/>
                      <a:pt x="232" y="81"/>
                      <a:pt x="232" y="81"/>
                    </a:cubicBezTo>
                    <a:cubicBezTo>
                      <a:pt x="233" y="81"/>
                      <a:pt x="233" y="81"/>
                      <a:pt x="233" y="81"/>
                    </a:cubicBezTo>
                    <a:cubicBezTo>
                      <a:pt x="233" y="81"/>
                      <a:pt x="233" y="81"/>
                      <a:pt x="232" y="80"/>
                    </a:cubicBezTo>
                    <a:cubicBezTo>
                      <a:pt x="233" y="80"/>
                      <a:pt x="232" y="80"/>
                      <a:pt x="233" y="80"/>
                    </a:cubicBezTo>
                    <a:cubicBezTo>
                      <a:pt x="232" y="80"/>
                      <a:pt x="232" y="80"/>
                      <a:pt x="232" y="80"/>
                    </a:cubicBezTo>
                    <a:cubicBezTo>
                      <a:pt x="232" y="80"/>
                      <a:pt x="232" y="80"/>
                      <a:pt x="233" y="80"/>
                    </a:cubicBezTo>
                    <a:cubicBezTo>
                      <a:pt x="232" y="80"/>
                      <a:pt x="232" y="79"/>
                      <a:pt x="232" y="79"/>
                    </a:cubicBezTo>
                    <a:cubicBezTo>
                      <a:pt x="232" y="79"/>
                      <a:pt x="233" y="79"/>
                      <a:pt x="233" y="80"/>
                    </a:cubicBezTo>
                    <a:cubicBezTo>
                      <a:pt x="233" y="80"/>
                      <a:pt x="233" y="80"/>
                      <a:pt x="234" y="80"/>
                    </a:cubicBezTo>
                    <a:cubicBezTo>
                      <a:pt x="234" y="80"/>
                      <a:pt x="234" y="80"/>
                      <a:pt x="234" y="80"/>
                    </a:cubicBezTo>
                    <a:cubicBezTo>
                      <a:pt x="234" y="80"/>
                      <a:pt x="235" y="80"/>
                      <a:pt x="235" y="80"/>
                    </a:cubicBezTo>
                    <a:cubicBezTo>
                      <a:pt x="235" y="80"/>
                      <a:pt x="235" y="80"/>
                      <a:pt x="235" y="80"/>
                    </a:cubicBezTo>
                    <a:cubicBezTo>
                      <a:pt x="236" y="80"/>
                      <a:pt x="235" y="81"/>
                      <a:pt x="235" y="81"/>
                    </a:cubicBezTo>
                    <a:cubicBezTo>
                      <a:pt x="235" y="81"/>
                      <a:pt x="235" y="81"/>
                      <a:pt x="235" y="81"/>
                    </a:cubicBezTo>
                    <a:cubicBezTo>
                      <a:pt x="236" y="80"/>
                      <a:pt x="236" y="80"/>
                      <a:pt x="236" y="80"/>
                    </a:cubicBezTo>
                    <a:cubicBezTo>
                      <a:pt x="237" y="81"/>
                      <a:pt x="237" y="81"/>
                      <a:pt x="237" y="81"/>
                    </a:cubicBezTo>
                    <a:cubicBezTo>
                      <a:pt x="237" y="81"/>
                      <a:pt x="238" y="81"/>
                      <a:pt x="238" y="81"/>
                    </a:cubicBezTo>
                    <a:cubicBezTo>
                      <a:pt x="238" y="81"/>
                      <a:pt x="237" y="80"/>
                      <a:pt x="237" y="80"/>
                    </a:cubicBezTo>
                    <a:cubicBezTo>
                      <a:pt x="238" y="80"/>
                      <a:pt x="238" y="80"/>
                      <a:pt x="239" y="80"/>
                    </a:cubicBezTo>
                    <a:cubicBezTo>
                      <a:pt x="239" y="80"/>
                      <a:pt x="239" y="81"/>
                      <a:pt x="238" y="81"/>
                    </a:cubicBezTo>
                    <a:cubicBezTo>
                      <a:pt x="238" y="81"/>
                      <a:pt x="239" y="81"/>
                      <a:pt x="239" y="81"/>
                    </a:cubicBezTo>
                    <a:cubicBezTo>
                      <a:pt x="240" y="80"/>
                      <a:pt x="240" y="81"/>
                      <a:pt x="240" y="81"/>
                    </a:cubicBezTo>
                    <a:cubicBezTo>
                      <a:pt x="240" y="81"/>
                      <a:pt x="241" y="80"/>
                      <a:pt x="241" y="81"/>
                    </a:cubicBezTo>
                    <a:cubicBezTo>
                      <a:pt x="241" y="81"/>
                      <a:pt x="241" y="81"/>
                      <a:pt x="241" y="81"/>
                    </a:cubicBezTo>
                    <a:cubicBezTo>
                      <a:pt x="241" y="81"/>
                      <a:pt x="241" y="81"/>
                      <a:pt x="242" y="81"/>
                    </a:cubicBezTo>
                    <a:cubicBezTo>
                      <a:pt x="241" y="81"/>
                      <a:pt x="241" y="81"/>
                      <a:pt x="241" y="81"/>
                    </a:cubicBezTo>
                    <a:cubicBezTo>
                      <a:pt x="241" y="81"/>
                      <a:pt x="240" y="82"/>
                      <a:pt x="240" y="82"/>
                    </a:cubicBezTo>
                    <a:cubicBezTo>
                      <a:pt x="240" y="82"/>
                      <a:pt x="240" y="82"/>
                      <a:pt x="240" y="82"/>
                    </a:cubicBezTo>
                    <a:cubicBezTo>
                      <a:pt x="240" y="82"/>
                      <a:pt x="239" y="82"/>
                      <a:pt x="239" y="82"/>
                    </a:cubicBezTo>
                    <a:cubicBezTo>
                      <a:pt x="238" y="83"/>
                      <a:pt x="238" y="83"/>
                      <a:pt x="238" y="83"/>
                    </a:cubicBezTo>
                    <a:cubicBezTo>
                      <a:pt x="237" y="84"/>
                      <a:pt x="237" y="84"/>
                      <a:pt x="236" y="84"/>
                    </a:cubicBezTo>
                    <a:cubicBezTo>
                      <a:pt x="237" y="84"/>
                      <a:pt x="237" y="84"/>
                      <a:pt x="237" y="84"/>
                    </a:cubicBezTo>
                    <a:cubicBezTo>
                      <a:pt x="238" y="84"/>
                      <a:pt x="236" y="84"/>
                      <a:pt x="236" y="84"/>
                    </a:cubicBezTo>
                    <a:cubicBezTo>
                      <a:pt x="237" y="84"/>
                      <a:pt x="237" y="84"/>
                      <a:pt x="238" y="84"/>
                    </a:cubicBezTo>
                    <a:cubicBezTo>
                      <a:pt x="238" y="84"/>
                      <a:pt x="238" y="85"/>
                      <a:pt x="237" y="85"/>
                    </a:cubicBezTo>
                    <a:cubicBezTo>
                      <a:pt x="237" y="85"/>
                      <a:pt x="237" y="85"/>
                      <a:pt x="236" y="85"/>
                    </a:cubicBezTo>
                    <a:cubicBezTo>
                      <a:pt x="237" y="85"/>
                      <a:pt x="237" y="86"/>
                      <a:pt x="237" y="86"/>
                    </a:cubicBezTo>
                    <a:cubicBezTo>
                      <a:pt x="238" y="85"/>
                      <a:pt x="236" y="86"/>
                      <a:pt x="236" y="86"/>
                    </a:cubicBezTo>
                    <a:cubicBezTo>
                      <a:pt x="236" y="87"/>
                      <a:pt x="236" y="87"/>
                      <a:pt x="236" y="87"/>
                    </a:cubicBezTo>
                    <a:cubicBezTo>
                      <a:pt x="236" y="88"/>
                      <a:pt x="236" y="88"/>
                      <a:pt x="236" y="88"/>
                    </a:cubicBezTo>
                    <a:cubicBezTo>
                      <a:pt x="236" y="88"/>
                      <a:pt x="237" y="88"/>
                      <a:pt x="236" y="88"/>
                    </a:cubicBezTo>
                    <a:cubicBezTo>
                      <a:pt x="236" y="87"/>
                      <a:pt x="237" y="87"/>
                      <a:pt x="237" y="87"/>
                    </a:cubicBezTo>
                    <a:cubicBezTo>
                      <a:pt x="237" y="87"/>
                      <a:pt x="237" y="87"/>
                      <a:pt x="237" y="87"/>
                    </a:cubicBezTo>
                    <a:cubicBezTo>
                      <a:pt x="237" y="87"/>
                      <a:pt x="237" y="88"/>
                      <a:pt x="237" y="88"/>
                    </a:cubicBezTo>
                    <a:cubicBezTo>
                      <a:pt x="237" y="89"/>
                      <a:pt x="238" y="87"/>
                      <a:pt x="238" y="87"/>
                    </a:cubicBezTo>
                    <a:cubicBezTo>
                      <a:pt x="239" y="86"/>
                      <a:pt x="240" y="86"/>
                      <a:pt x="239" y="86"/>
                    </a:cubicBezTo>
                    <a:cubicBezTo>
                      <a:pt x="239" y="85"/>
                      <a:pt x="241" y="84"/>
                      <a:pt x="242" y="83"/>
                    </a:cubicBezTo>
                    <a:cubicBezTo>
                      <a:pt x="242" y="83"/>
                      <a:pt x="242" y="83"/>
                      <a:pt x="242" y="83"/>
                    </a:cubicBezTo>
                    <a:cubicBezTo>
                      <a:pt x="243" y="82"/>
                      <a:pt x="243" y="82"/>
                      <a:pt x="244" y="82"/>
                    </a:cubicBezTo>
                    <a:cubicBezTo>
                      <a:pt x="244" y="81"/>
                      <a:pt x="246" y="79"/>
                      <a:pt x="247" y="80"/>
                    </a:cubicBezTo>
                    <a:cubicBezTo>
                      <a:pt x="248" y="80"/>
                      <a:pt x="246" y="81"/>
                      <a:pt x="247" y="81"/>
                    </a:cubicBezTo>
                    <a:cubicBezTo>
                      <a:pt x="247" y="82"/>
                      <a:pt x="246" y="82"/>
                      <a:pt x="245" y="83"/>
                    </a:cubicBezTo>
                    <a:cubicBezTo>
                      <a:pt x="245" y="83"/>
                      <a:pt x="247" y="82"/>
                      <a:pt x="247" y="83"/>
                    </a:cubicBezTo>
                    <a:cubicBezTo>
                      <a:pt x="247" y="83"/>
                      <a:pt x="246" y="84"/>
                      <a:pt x="247" y="84"/>
                    </a:cubicBezTo>
                    <a:cubicBezTo>
                      <a:pt x="247" y="84"/>
                      <a:pt x="247" y="85"/>
                      <a:pt x="246" y="85"/>
                    </a:cubicBezTo>
                    <a:cubicBezTo>
                      <a:pt x="246" y="86"/>
                      <a:pt x="247" y="85"/>
                      <a:pt x="247" y="85"/>
                    </a:cubicBezTo>
                    <a:cubicBezTo>
                      <a:pt x="247" y="85"/>
                      <a:pt x="248" y="85"/>
                      <a:pt x="248" y="85"/>
                    </a:cubicBezTo>
                    <a:cubicBezTo>
                      <a:pt x="248" y="85"/>
                      <a:pt x="248" y="84"/>
                      <a:pt x="248" y="84"/>
                    </a:cubicBezTo>
                    <a:cubicBezTo>
                      <a:pt x="249" y="84"/>
                      <a:pt x="249" y="84"/>
                      <a:pt x="249" y="84"/>
                    </a:cubicBezTo>
                    <a:cubicBezTo>
                      <a:pt x="249" y="85"/>
                      <a:pt x="250" y="84"/>
                      <a:pt x="250" y="84"/>
                    </a:cubicBezTo>
                    <a:cubicBezTo>
                      <a:pt x="250" y="84"/>
                      <a:pt x="249" y="84"/>
                      <a:pt x="250" y="84"/>
                    </a:cubicBezTo>
                    <a:cubicBezTo>
                      <a:pt x="249" y="83"/>
                      <a:pt x="250" y="83"/>
                      <a:pt x="250" y="83"/>
                    </a:cubicBezTo>
                    <a:cubicBezTo>
                      <a:pt x="250" y="83"/>
                      <a:pt x="251" y="83"/>
                      <a:pt x="251" y="83"/>
                    </a:cubicBezTo>
                    <a:cubicBezTo>
                      <a:pt x="251" y="83"/>
                      <a:pt x="251" y="83"/>
                      <a:pt x="250" y="83"/>
                    </a:cubicBezTo>
                    <a:cubicBezTo>
                      <a:pt x="250" y="83"/>
                      <a:pt x="251" y="83"/>
                      <a:pt x="250" y="82"/>
                    </a:cubicBezTo>
                    <a:cubicBezTo>
                      <a:pt x="250" y="82"/>
                      <a:pt x="250" y="82"/>
                      <a:pt x="250" y="82"/>
                    </a:cubicBezTo>
                    <a:cubicBezTo>
                      <a:pt x="250" y="82"/>
                      <a:pt x="250" y="82"/>
                      <a:pt x="250" y="82"/>
                    </a:cubicBezTo>
                    <a:cubicBezTo>
                      <a:pt x="251" y="82"/>
                      <a:pt x="251" y="82"/>
                      <a:pt x="252" y="82"/>
                    </a:cubicBezTo>
                    <a:cubicBezTo>
                      <a:pt x="251" y="82"/>
                      <a:pt x="251" y="81"/>
                      <a:pt x="252" y="81"/>
                    </a:cubicBezTo>
                    <a:cubicBezTo>
                      <a:pt x="252" y="81"/>
                      <a:pt x="253" y="81"/>
                      <a:pt x="254" y="81"/>
                    </a:cubicBezTo>
                    <a:cubicBezTo>
                      <a:pt x="253" y="81"/>
                      <a:pt x="253" y="81"/>
                      <a:pt x="252" y="81"/>
                    </a:cubicBezTo>
                    <a:cubicBezTo>
                      <a:pt x="253" y="81"/>
                      <a:pt x="253" y="81"/>
                      <a:pt x="253" y="81"/>
                    </a:cubicBezTo>
                    <a:cubicBezTo>
                      <a:pt x="252" y="81"/>
                      <a:pt x="252" y="81"/>
                      <a:pt x="252" y="81"/>
                    </a:cubicBezTo>
                    <a:cubicBezTo>
                      <a:pt x="252" y="81"/>
                      <a:pt x="252" y="80"/>
                      <a:pt x="252" y="80"/>
                    </a:cubicBezTo>
                    <a:cubicBezTo>
                      <a:pt x="252" y="80"/>
                      <a:pt x="250" y="81"/>
                      <a:pt x="250" y="80"/>
                    </a:cubicBezTo>
                    <a:cubicBezTo>
                      <a:pt x="250" y="80"/>
                      <a:pt x="251" y="80"/>
                      <a:pt x="251" y="80"/>
                    </a:cubicBezTo>
                    <a:cubicBezTo>
                      <a:pt x="251" y="80"/>
                      <a:pt x="250" y="79"/>
                      <a:pt x="251" y="79"/>
                    </a:cubicBezTo>
                    <a:cubicBezTo>
                      <a:pt x="251" y="79"/>
                      <a:pt x="253" y="80"/>
                      <a:pt x="253" y="80"/>
                    </a:cubicBezTo>
                    <a:cubicBezTo>
                      <a:pt x="253" y="80"/>
                      <a:pt x="253" y="79"/>
                      <a:pt x="252" y="79"/>
                    </a:cubicBezTo>
                    <a:cubicBezTo>
                      <a:pt x="252" y="79"/>
                      <a:pt x="253" y="79"/>
                      <a:pt x="253" y="78"/>
                    </a:cubicBezTo>
                    <a:cubicBezTo>
                      <a:pt x="254" y="78"/>
                      <a:pt x="254" y="79"/>
                      <a:pt x="254" y="79"/>
                    </a:cubicBezTo>
                    <a:cubicBezTo>
                      <a:pt x="254" y="79"/>
                      <a:pt x="255" y="79"/>
                      <a:pt x="255" y="79"/>
                    </a:cubicBezTo>
                    <a:cubicBezTo>
                      <a:pt x="256" y="79"/>
                      <a:pt x="256" y="79"/>
                      <a:pt x="257" y="79"/>
                    </a:cubicBezTo>
                    <a:cubicBezTo>
                      <a:pt x="257" y="79"/>
                      <a:pt x="257" y="79"/>
                      <a:pt x="258" y="79"/>
                    </a:cubicBezTo>
                    <a:cubicBezTo>
                      <a:pt x="258" y="79"/>
                      <a:pt x="257" y="79"/>
                      <a:pt x="257" y="80"/>
                    </a:cubicBezTo>
                    <a:cubicBezTo>
                      <a:pt x="257" y="80"/>
                      <a:pt x="258" y="80"/>
                      <a:pt x="258" y="80"/>
                    </a:cubicBezTo>
                    <a:cubicBezTo>
                      <a:pt x="258" y="79"/>
                      <a:pt x="259" y="80"/>
                      <a:pt x="259" y="80"/>
                    </a:cubicBezTo>
                    <a:cubicBezTo>
                      <a:pt x="260" y="80"/>
                      <a:pt x="259" y="81"/>
                      <a:pt x="259" y="81"/>
                    </a:cubicBezTo>
                    <a:cubicBezTo>
                      <a:pt x="259" y="81"/>
                      <a:pt x="259" y="81"/>
                      <a:pt x="259" y="81"/>
                    </a:cubicBezTo>
                    <a:cubicBezTo>
                      <a:pt x="259" y="81"/>
                      <a:pt x="258" y="81"/>
                      <a:pt x="258" y="81"/>
                    </a:cubicBezTo>
                    <a:cubicBezTo>
                      <a:pt x="258" y="81"/>
                      <a:pt x="258" y="81"/>
                      <a:pt x="258" y="81"/>
                    </a:cubicBezTo>
                    <a:cubicBezTo>
                      <a:pt x="258" y="82"/>
                      <a:pt x="257" y="81"/>
                      <a:pt x="256" y="81"/>
                    </a:cubicBezTo>
                    <a:cubicBezTo>
                      <a:pt x="256" y="81"/>
                      <a:pt x="255" y="81"/>
                      <a:pt x="254" y="81"/>
                    </a:cubicBezTo>
                    <a:cubicBezTo>
                      <a:pt x="255" y="81"/>
                      <a:pt x="255" y="82"/>
                      <a:pt x="255" y="82"/>
                    </a:cubicBezTo>
                    <a:cubicBezTo>
                      <a:pt x="255" y="82"/>
                      <a:pt x="256" y="81"/>
                      <a:pt x="257" y="82"/>
                    </a:cubicBezTo>
                    <a:cubicBezTo>
                      <a:pt x="256" y="82"/>
                      <a:pt x="255" y="83"/>
                      <a:pt x="254" y="83"/>
                    </a:cubicBezTo>
                    <a:cubicBezTo>
                      <a:pt x="255" y="83"/>
                      <a:pt x="256" y="83"/>
                      <a:pt x="257" y="83"/>
                    </a:cubicBezTo>
                    <a:cubicBezTo>
                      <a:pt x="257" y="82"/>
                      <a:pt x="258" y="82"/>
                      <a:pt x="258" y="82"/>
                    </a:cubicBezTo>
                    <a:cubicBezTo>
                      <a:pt x="259" y="83"/>
                      <a:pt x="256" y="84"/>
                      <a:pt x="255" y="84"/>
                    </a:cubicBezTo>
                    <a:cubicBezTo>
                      <a:pt x="256" y="84"/>
                      <a:pt x="256" y="85"/>
                      <a:pt x="256" y="85"/>
                    </a:cubicBezTo>
                    <a:cubicBezTo>
                      <a:pt x="256" y="85"/>
                      <a:pt x="256" y="84"/>
                      <a:pt x="256" y="84"/>
                    </a:cubicBezTo>
                    <a:cubicBezTo>
                      <a:pt x="256" y="84"/>
                      <a:pt x="256" y="84"/>
                      <a:pt x="256" y="84"/>
                    </a:cubicBezTo>
                    <a:cubicBezTo>
                      <a:pt x="257" y="84"/>
                      <a:pt x="257" y="84"/>
                      <a:pt x="258" y="84"/>
                    </a:cubicBezTo>
                    <a:cubicBezTo>
                      <a:pt x="258" y="84"/>
                      <a:pt x="257" y="84"/>
                      <a:pt x="257" y="85"/>
                    </a:cubicBezTo>
                    <a:cubicBezTo>
                      <a:pt x="257" y="85"/>
                      <a:pt x="259" y="84"/>
                      <a:pt x="259" y="84"/>
                    </a:cubicBezTo>
                    <a:cubicBezTo>
                      <a:pt x="259" y="84"/>
                      <a:pt x="259" y="85"/>
                      <a:pt x="259" y="85"/>
                    </a:cubicBezTo>
                    <a:cubicBezTo>
                      <a:pt x="258" y="85"/>
                      <a:pt x="258" y="85"/>
                      <a:pt x="258" y="86"/>
                    </a:cubicBezTo>
                    <a:cubicBezTo>
                      <a:pt x="258" y="86"/>
                      <a:pt x="258" y="85"/>
                      <a:pt x="258" y="85"/>
                    </a:cubicBezTo>
                    <a:cubicBezTo>
                      <a:pt x="258" y="85"/>
                      <a:pt x="259" y="85"/>
                      <a:pt x="259" y="85"/>
                    </a:cubicBezTo>
                    <a:cubicBezTo>
                      <a:pt x="260" y="84"/>
                      <a:pt x="260" y="85"/>
                      <a:pt x="260" y="84"/>
                    </a:cubicBezTo>
                    <a:cubicBezTo>
                      <a:pt x="260" y="84"/>
                      <a:pt x="259" y="84"/>
                      <a:pt x="259" y="83"/>
                    </a:cubicBezTo>
                    <a:cubicBezTo>
                      <a:pt x="260" y="83"/>
                      <a:pt x="260" y="83"/>
                      <a:pt x="261" y="82"/>
                    </a:cubicBezTo>
                    <a:cubicBezTo>
                      <a:pt x="259" y="82"/>
                      <a:pt x="262" y="81"/>
                      <a:pt x="262" y="81"/>
                    </a:cubicBezTo>
                    <a:cubicBezTo>
                      <a:pt x="262" y="81"/>
                      <a:pt x="264" y="80"/>
                      <a:pt x="264" y="81"/>
                    </a:cubicBezTo>
                    <a:cubicBezTo>
                      <a:pt x="264" y="81"/>
                      <a:pt x="265" y="81"/>
                      <a:pt x="266" y="82"/>
                    </a:cubicBezTo>
                    <a:cubicBezTo>
                      <a:pt x="266" y="82"/>
                      <a:pt x="265" y="82"/>
                      <a:pt x="265" y="82"/>
                    </a:cubicBezTo>
                    <a:cubicBezTo>
                      <a:pt x="265" y="82"/>
                      <a:pt x="266" y="82"/>
                      <a:pt x="266" y="82"/>
                    </a:cubicBezTo>
                    <a:cubicBezTo>
                      <a:pt x="266" y="82"/>
                      <a:pt x="266" y="82"/>
                      <a:pt x="265" y="82"/>
                    </a:cubicBezTo>
                    <a:cubicBezTo>
                      <a:pt x="266" y="82"/>
                      <a:pt x="266" y="82"/>
                      <a:pt x="265" y="82"/>
                    </a:cubicBezTo>
                    <a:cubicBezTo>
                      <a:pt x="265" y="83"/>
                      <a:pt x="267" y="82"/>
                      <a:pt x="267" y="82"/>
                    </a:cubicBezTo>
                    <a:cubicBezTo>
                      <a:pt x="268" y="82"/>
                      <a:pt x="268" y="82"/>
                      <a:pt x="268" y="82"/>
                    </a:cubicBezTo>
                    <a:cubicBezTo>
                      <a:pt x="269" y="82"/>
                      <a:pt x="269" y="83"/>
                      <a:pt x="268" y="83"/>
                    </a:cubicBezTo>
                    <a:cubicBezTo>
                      <a:pt x="269" y="83"/>
                      <a:pt x="271" y="82"/>
                      <a:pt x="272" y="83"/>
                    </a:cubicBezTo>
                    <a:cubicBezTo>
                      <a:pt x="271" y="83"/>
                      <a:pt x="271" y="83"/>
                      <a:pt x="271" y="83"/>
                    </a:cubicBezTo>
                    <a:cubicBezTo>
                      <a:pt x="271" y="83"/>
                      <a:pt x="272" y="83"/>
                      <a:pt x="272" y="83"/>
                    </a:cubicBezTo>
                    <a:cubicBezTo>
                      <a:pt x="273" y="84"/>
                      <a:pt x="271" y="83"/>
                      <a:pt x="271" y="84"/>
                    </a:cubicBezTo>
                    <a:cubicBezTo>
                      <a:pt x="271" y="84"/>
                      <a:pt x="271" y="84"/>
                      <a:pt x="271" y="84"/>
                    </a:cubicBezTo>
                    <a:cubicBezTo>
                      <a:pt x="271" y="84"/>
                      <a:pt x="272" y="84"/>
                      <a:pt x="273" y="84"/>
                    </a:cubicBezTo>
                    <a:cubicBezTo>
                      <a:pt x="273" y="84"/>
                      <a:pt x="274" y="84"/>
                      <a:pt x="274" y="84"/>
                    </a:cubicBezTo>
                    <a:cubicBezTo>
                      <a:pt x="275" y="84"/>
                      <a:pt x="275" y="84"/>
                      <a:pt x="275" y="84"/>
                    </a:cubicBezTo>
                    <a:cubicBezTo>
                      <a:pt x="276" y="84"/>
                      <a:pt x="276" y="85"/>
                      <a:pt x="276" y="85"/>
                    </a:cubicBezTo>
                    <a:cubicBezTo>
                      <a:pt x="277" y="84"/>
                      <a:pt x="278" y="85"/>
                      <a:pt x="278" y="85"/>
                    </a:cubicBezTo>
                    <a:cubicBezTo>
                      <a:pt x="279" y="87"/>
                      <a:pt x="275" y="86"/>
                      <a:pt x="275" y="87"/>
                    </a:cubicBezTo>
                    <a:cubicBezTo>
                      <a:pt x="274" y="87"/>
                      <a:pt x="273" y="87"/>
                      <a:pt x="274" y="87"/>
                    </a:cubicBezTo>
                    <a:cubicBezTo>
                      <a:pt x="274" y="88"/>
                      <a:pt x="271" y="88"/>
                      <a:pt x="272" y="88"/>
                    </a:cubicBezTo>
                    <a:cubicBezTo>
                      <a:pt x="270" y="88"/>
                      <a:pt x="268" y="88"/>
                      <a:pt x="266" y="88"/>
                    </a:cubicBezTo>
                    <a:cubicBezTo>
                      <a:pt x="266" y="88"/>
                      <a:pt x="265" y="88"/>
                      <a:pt x="264" y="87"/>
                    </a:cubicBezTo>
                    <a:cubicBezTo>
                      <a:pt x="263" y="87"/>
                      <a:pt x="262" y="87"/>
                      <a:pt x="261" y="87"/>
                    </a:cubicBezTo>
                    <a:cubicBezTo>
                      <a:pt x="262" y="87"/>
                      <a:pt x="262" y="87"/>
                      <a:pt x="262" y="87"/>
                    </a:cubicBezTo>
                    <a:cubicBezTo>
                      <a:pt x="262" y="87"/>
                      <a:pt x="262" y="87"/>
                      <a:pt x="261" y="88"/>
                    </a:cubicBezTo>
                    <a:cubicBezTo>
                      <a:pt x="262" y="88"/>
                      <a:pt x="262" y="87"/>
                      <a:pt x="263" y="88"/>
                    </a:cubicBezTo>
                    <a:cubicBezTo>
                      <a:pt x="263" y="88"/>
                      <a:pt x="263" y="88"/>
                      <a:pt x="262" y="88"/>
                    </a:cubicBezTo>
                    <a:cubicBezTo>
                      <a:pt x="263" y="88"/>
                      <a:pt x="264" y="88"/>
                      <a:pt x="265" y="88"/>
                    </a:cubicBezTo>
                    <a:cubicBezTo>
                      <a:pt x="265" y="88"/>
                      <a:pt x="265" y="88"/>
                      <a:pt x="265" y="88"/>
                    </a:cubicBezTo>
                    <a:cubicBezTo>
                      <a:pt x="266" y="89"/>
                      <a:pt x="268" y="88"/>
                      <a:pt x="269" y="89"/>
                    </a:cubicBezTo>
                    <a:cubicBezTo>
                      <a:pt x="269" y="89"/>
                      <a:pt x="268" y="89"/>
                      <a:pt x="268" y="89"/>
                    </a:cubicBezTo>
                    <a:cubicBezTo>
                      <a:pt x="268" y="89"/>
                      <a:pt x="267" y="90"/>
                      <a:pt x="267" y="90"/>
                    </a:cubicBezTo>
                    <a:cubicBezTo>
                      <a:pt x="267" y="90"/>
                      <a:pt x="269" y="89"/>
                      <a:pt x="269" y="89"/>
                    </a:cubicBezTo>
                    <a:cubicBezTo>
                      <a:pt x="270" y="89"/>
                      <a:pt x="270" y="90"/>
                      <a:pt x="270" y="90"/>
                    </a:cubicBezTo>
                    <a:cubicBezTo>
                      <a:pt x="270" y="90"/>
                      <a:pt x="270" y="91"/>
                      <a:pt x="269" y="91"/>
                    </a:cubicBezTo>
                    <a:cubicBezTo>
                      <a:pt x="270" y="91"/>
                      <a:pt x="268" y="91"/>
                      <a:pt x="268" y="91"/>
                    </a:cubicBezTo>
                    <a:cubicBezTo>
                      <a:pt x="268" y="91"/>
                      <a:pt x="268" y="92"/>
                      <a:pt x="268" y="92"/>
                    </a:cubicBezTo>
                    <a:cubicBezTo>
                      <a:pt x="269" y="92"/>
                      <a:pt x="269" y="91"/>
                      <a:pt x="270" y="91"/>
                    </a:cubicBezTo>
                    <a:cubicBezTo>
                      <a:pt x="270" y="91"/>
                      <a:pt x="272" y="91"/>
                      <a:pt x="272" y="91"/>
                    </a:cubicBezTo>
                    <a:cubicBezTo>
                      <a:pt x="272" y="91"/>
                      <a:pt x="272" y="91"/>
                      <a:pt x="271" y="91"/>
                    </a:cubicBezTo>
                    <a:cubicBezTo>
                      <a:pt x="272" y="91"/>
                      <a:pt x="272" y="91"/>
                      <a:pt x="273" y="92"/>
                    </a:cubicBezTo>
                    <a:cubicBezTo>
                      <a:pt x="273" y="91"/>
                      <a:pt x="273" y="91"/>
                      <a:pt x="273" y="91"/>
                    </a:cubicBezTo>
                    <a:cubicBezTo>
                      <a:pt x="273" y="91"/>
                      <a:pt x="273" y="91"/>
                      <a:pt x="273" y="91"/>
                    </a:cubicBezTo>
                    <a:cubicBezTo>
                      <a:pt x="273" y="91"/>
                      <a:pt x="273" y="90"/>
                      <a:pt x="273" y="90"/>
                    </a:cubicBezTo>
                    <a:cubicBezTo>
                      <a:pt x="272" y="90"/>
                      <a:pt x="274" y="90"/>
                      <a:pt x="274" y="90"/>
                    </a:cubicBezTo>
                    <a:cubicBezTo>
                      <a:pt x="274" y="90"/>
                      <a:pt x="274" y="90"/>
                      <a:pt x="273" y="90"/>
                    </a:cubicBezTo>
                    <a:cubicBezTo>
                      <a:pt x="274" y="90"/>
                      <a:pt x="274" y="90"/>
                      <a:pt x="274" y="90"/>
                    </a:cubicBezTo>
                    <a:cubicBezTo>
                      <a:pt x="275" y="91"/>
                      <a:pt x="275" y="92"/>
                      <a:pt x="274" y="92"/>
                    </a:cubicBezTo>
                    <a:cubicBezTo>
                      <a:pt x="275" y="92"/>
                      <a:pt x="275" y="92"/>
                      <a:pt x="275" y="91"/>
                    </a:cubicBezTo>
                    <a:cubicBezTo>
                      <a:pt x="275" y="91"/>
                      <a:pt x="275" y="91"/>
                      <a:pt x="275" y="90"/>
                    </a:cubicBezTo>
                    <a:cubicBezTo>
                      <a:pt x="275" y="90"/>
                      <a:pt x="276" y="90"/>
                      <a:pt x="277" y="91"/>
                    </a:cubicBezTo>
                    <a:cubicBezTo>
                      <a:pt x="277" y="91"/>
                      <a:pt x="277" y="91"/>
                      <a:pt x="277" y="91"/>
                    </a:cubicBezTo>
                    <a:cubicBezTo>
                      <a:pt x="277" y="91"/>
                      <a:pt x="277" y="91"/>
                      <a:pt x="277" y="91"/>
                    </a:cubicBezTo>
                    <a:cubicBezTo>
                      <a:pt x="278" y="91"/>
                      <a:pt x="278" y="91"/>
                      <a:pt x="278" y="92"/>
                    </a:cubicBezTo>
                    <a:cubicBezTo>
                      <a:pt x="279" y="92"/>
                      <a:pt x="278" y="93"/>
                      <a:pt x="278" y="93"/>
                    </a:cubicBezTo>
                    <a:close/>
                    <a:moveTo>
                      <a:pt x="172" y="110"/>
                    </a:moveTo>
                    <a:cubicBezTo>
                      <a:pt x="172" y="110"/>
                      <a:pt x="172" y="110"/>
                      <a:pt x="172" y="110"/>
                    </a:cubicBezTo>
                    <a:cubicBezTo>
                      <a:pt x="172" y="110"/>
                      <a:pt x="172" y="110"/>
                      <a:pt x="172" y="110"/>
                    </a:cubicBezTo>
                    <a:close/>
                    <a:moveTo>
                      <a:pt x="160" y="119"/>
                    </a:moveTo>
                    <a:cubicBezTo>
                      <a:pt x="160" y="119"/>
                      <a:pt x="159" y="119"/>
                      <a:pt x="158" y="119"/>
                    </a:cubicBezTo>
                    <a:cubicBezTo>
                      <a:pt x="159" y="119"/>
                      <a:pt x="159" y="119"/>
                      <a:pt x="160" y="119"/>
                    </a:cubicBezTo>
                    <a:close/>
                    <a:moveTo>
                      <a:pt x="97" y="169"/>
                    </a:moveTo>
                    <a:cubicBezTo>
                      <a:pt x="97" y="169"/>
                      <a:pt x="96" y="169"/>
                      <a:pt x="96" y="169"/>
                    </a:cubicBezTo>
                    <a:cubicBezTo>
                      <a:pt x="96" y="169"/>
                      <a:pt x="97" y="169"/>
                      <a:pt x="96" y="169"/>
                    </a:cubicBezTo>
                    <a:cubicBezTo>
                      <a:pt x="97" y="169"/>
                      <a:pt x="97" y="169"/>
                      <a:pt x="97" y="169"/>
                    </a:cubicBezTo>
                    <a:close/>
                    <a:moveTo>
                      <a:pt x="99" y="171"/>
                    </a:moveTo>
                    <a:cubicBezTo>
                      <a:pt x="98" y="171"/>
                      <a:pt x="97" y="171"/>
                      <a:pt x="96" y="171"/>
                    </a:cubicBezTo>
                    <a:cubicBezTo>
                      <a:pt x="96" y="171"/>
                      <a:pt x="96" y="172"/>
                      <a:pt x="95" y="172"/>
                    </a:cubicBezTo>
                    <a:cubicBezTo>
                      <a:pt x="95" y="172"/>
                      <a:pt x="96" y="172"/>
                      <a:pt x="96" y="172"/>
                    </a:cubicBezTo>
                    <a:cubicBezTo>
                      <a:pt x="96" y="172"/>
                      <a:pt x="96" y="172"/>
                      <a:pt x="96" y="172"/>
                    </a:cubicBezTo>
                    <a:cubicBezTo>
                      <a:pt x="97" y="171"/>
                      <a:pt x="98" y="172"/>
                      <a:pt x="99" y="171"/>
                    </a:cubicBezTo>
                    <a:close/>
                    <a:moveTo>
                      <a:pt x="100" y="171"/>
                    </a:moveTo>
                    <a:cubicBezTo>
                      <a:pt x="100" y="169"/>
                      <a:pt x="98" y="171"/>
                      <a:pt x="97" y="171"/>
                    </a:cubicBezTo>
                    <a:cubicBezTo>
                      <a:pt x="97" y="171"/>
                      <a:pt x="98" y="171"/>
                      <a:pt x="98" y="171"/>
                    </a:cubicBezTo>
                    <a:cubicBezTo>
                      <a:pt x="99" y="171"/>
                      <a:pt x="99" y="170"/>
                      <a:pt x="100" y="171"/>
                    </a:cubicBezTo>
                    <a:close/>
                    <a:moveTo>
                      <a:pt x="108" y="176"/>
                    </a:moveTo>
                    <a:cubicBezTo>
                      <a:pt x="108" y="176"/>
                      <a:pt x="108" y="176"/>
                      <a:pt x="108" y="176"/>
                    </a:cubicBezTo>
                    <a:cubicBezTo>
                      <a:pt x="108" y="176"/>
                      <a:pt x="108" y="176"/>
                      <a:pt x="108" y="176"/>
                    </a:cubicBezTo>
                    <a:close/>
                    <a:moveTo>
                      <a:pt x="125" y="153"/>
                    </a:moveTo>
                    <a:cubicBezTo>
                      <a:pt x="125" y="153"/>
                      <a:pt x="124" y="153"/>
                      <a:pt x="125" y="153"/>
                    </a:cubicBezTo>
                    <a:cubicBezTo>
                      <a:pt x="125" y="153"/>
                      <a:pt x="125" y="153"/>
                      <a:pt x="125" y="153"/>
                    </a:cubicBezTo>
                    <a:close/>
                    <a:moveTo>
                      <a:pt x="145" y="136"/>
                    </a:moveTo>
                    <a:cubicBezTo>
                      <a:pt x="146" y="135"/>
                      <a:pt x="146" y="135"/>
                      <a:pt x="146" y="135"/>
                    </a:cubicBezTo>
                    <a:cubicBezTo>
                      <a:pt x="146" y="135"/>
                      <a:pt x="146" y="135"/>
                      <a:pt x="145" y="136"/>
                    </a:cubicBezTo>
                    <a:close/>
                    <a:moveTo>
                      <a:pt x="144" y="137"/>
                    </a:moveTo>
                    <a:cubicBezTo>
                      <a:pt x="144" y="137"/>
                      <a:pt x="143" y="137"/>
                      <a:pt x="143" y="137"/>
                    </a:cubicBezTo>
                    <a:cubicBezTo>
                      <a:pt x="143" y="137"/>
                      <a:pt x="144" y="137"/>
                      <a:pt x="144" y="137"/>
                    </a:cubicBezTo>
                    <a:close/>
                    <a:moveTo>
                      <a:pt x="150" y="137"/>
                    </a:moveTo>
                    <a:cubicBezTo>
                      <a:pt x="149" y="136"/>
                      <a:pt x="147" y="136"/>
                      <a:pt x="146" y="136"/>
                    </a:cubicBezTo>
                    <a:cubicBezTo>
                      <a:pt x="146" y="136"/>
                      <a:pt x="146" y="137"/>
                      <a:pt x="145" y="137"/>
                    </a:cubicBezTo>
                    <a:cubicBezTo>
                      <a:pt x="146" y="136"/>
                      <a:pt x="146" y="136"/>
                      <a:pt x="147" y="136"/>
                    </a:cubicBezTo>
                    <a:cubicBezTo>
                      <a:pt x="147" y="136"/>
                      <a:pt x="148" y="136"/>
                      <a:pt x="148" y="136"/>
                    </a:cubicBezTo>
                    <a:cubicBezTo>
                      <a:pt x="149" y="136"/>
                      <a:pt x="149" y="137"/>
                      <a:pt x="150" y="137"/>
                    </a:cubicBezTo>
                    <a:close/>
                    <a:moveTo>
                      <a:pt x="201" y="92"/>
                    </a:moveTo>
                    <a:cubicBezTo>
                      <a:pt x="202" y="92"/>
                      <a:pt x="203" y="93"/>
                      <a:pt x="203" y="92"/>
                    </a:cubicBezTo>
                    <a:cubicBezTo>
                      <a:pt x="202" y="92"/>
                      <a:pt x="202" y="92"/>
                      <a:pt x="201" y="92"/>
                    </a:cubicBezTo>
                    <a:close/>
                    <a:moveTo>
                      <a:pt x="121" y="150"/>
                    </a:moveTo>
                    <a:cubicBezTo>
                      <a:pt x="121" y="150"/>
                      <a:pt x="122" y="150"/>
                      <a:pt x="122" y="150"/>
                    </a:cubicBezTo>
                    <a:cubicBezTo>
                      <a:pt x="122" y="150"/>
                      <a:pt x="119" y="150"/>
                      <a:pt x="119" y="151"/>
                    </a:cubicBezTo>
                    <a:cubicBezTo>
                      <a:pt x="120" y="151"/>
                      <a:pt x="121" y="151"/>
                      <a:pt x="123" y="151"/>
                    </a:cubicBezTo>
                    <a:cubicBezTo>
                      <a:pt x="123" y="150"/>
                      <a:pt x="124" y="150"/>
                      <a:pt x="125" y="150"/>
                    </a:cubicBezTo>
                    <a:cubicBezTo>
                      <a:pt x="125" y="150"/>
                      <a:pt x="126" y="150"/>
                      <a:pt x="126" y="150"/>
                    </a:cubicBezTo>
                    <a:cubicBezTo>
                      <a:pt x="125" y="150"/>
                      <a:pt x="125" y="150"/>
                      <a:pt x="125" y="150"/>
                    </a:cubicBezTo>
                    <a:cubicBezTo>
                      <a:pt x="125" y="149"/>
                      <a:pt x="125" y="149"/>
                      <a:pt x="125" y="149"/>
                    </a:cubicBezTo>
                    <a:cubicBezTo>
                      <a:pt x="125" y="149"/>
                      <a:pt x="124" y="150"/>
                      <a:pt x="124" y="150"/>
                    </a:cubicBezTo>
                    <a:cubicBezTo>
                      <a:pt x="124" y="149"/>
                      <a:pt x="124" y="149"/>
                      <a:pt x="124" y="149"/>
                    </a:cubicBezTo>
                    <a:cubicBezTo>
                      <a:pt x="123" y="149"/>
                      <a:pt x="123" y="149"/>
                      <a:pt x="123" y="149"/>
                    </a:cubicBezTo>
                    <a:cubicBezTo>
                      <a:pt x="123" y="149"/>
                      <a:pt x="121" y="149"/>
                      <a:pt x="121" y="150"/>
                    </a:cubicBezTo>
                    <a:close/>
                    <a:moveTo>
                      <a:pt x="201" y="87"/>
                    </a:moveTo>
                    <a:cubicBezTo>
                      <a:pt x="201" y="87"/>
                      <a:pt x="201" y="87"/>
                      <a:pt x="200" y="87"/>
                    </a:cubicBezTo>
                    <a:cubicBezTo>
                      <a:pt x="200" y="86"/>
                      <a:pt x="200" y="87"/>
                      <a:pt x="200" y="87"/>
                    </a:cubicBezTo>
                    <a:cubicBezTo>
                      <a:pt x="199" y="87"/>
                      <a:pt x="198" y="85"/>
                      <a:pt x="198" y="86"/>
                    </a:cubicBezTo>
                    <a:cubicBezTo>
                      <a:pt x="198" y="86"/>
                      <a:pt x="198" y="87"/>
                      <a:pt x="198" y="87"/>
                    </a:cubicBezTo>
                    <a:cubicBezTo>
                      <a:pt x="199" y="87"/>
                      <a:pt x="199" y="87"/>
                      <a:pt x="199" y="87"/>
                    </a:cubicBezTo>
                    <a:cubicBezTo>
                      <a:pt x="200" y="88"/>
                      <a:pt x="200" y="88"/>
                      <a:pt x="201" y="88"/>
                    </a:cubicBezTo>
                    <a:cubicBezTo>
                      <a:pt x="201" y="88"/>
                      <a:pt x="202" y="88"/>
                      <a:pt x="201" y="88"/>
                    </a:cubicBezTo>
                    <a:cubicBezTo>
                      <a:pt x="202" y="88"/>
                      <a:pt x="202" y="88"/>
                      <a:pt x="202" y="88"/>
                    </a:cubicBezTo>
                    <a:cubicBezTo>
                      <a:pt x="202" y="87"/>
                      <a:pt x="201" y="88"/>
                      <a:pt x="201" y="87"/>
                    </a:cubicBezTo>
                    <a:close/>
                    <a:moveTo>
                      <a:pt x="95" y="167"/>
                    </a:moveTo>
                    <a:cubicBezTo>
                      <a:pt x="95" y="167"/>
                      <a:pt x="95" y="167"/>
                      <a:pt x="96" y="167"/>
                    </a:cubicBezTo>
                    <a:cubicBezTo>
                      <a:pt x="95" y="166"/>
                      <a:pt x="93" y="166"/>
                      <a:pt x="92" y="167"/>
                    </a:cubicBezTo>
                    <a:cubicBezTo>
                      <a:pt x="93" y="167"/>
                      <a:pt x="93" y="167"/>
                      <a:pt x="94" y="167"/>
                    </a:cubicBezTo>
                    <a:cubicBezTo>
                      <a:pt x="92" y="168"/>
                      <a:pt x="95" y="167"/>
                      <a:pt x="95" y="167"/>
                    </a:cubicBezTo>
                    <a:close/>
                    <a:moveTo>
                      <a:pt x="95" y="187"/>
                    </a:moveTo>
                    <a:cubicBezTo>
                      <a:pt x="95" y="187"/>
                      <a:pt x="96" y="187"/>
                      <a:pt x="96" y="187"/>
                    </a:cubicBezTo>
                    <a:cubicBezTo>
                      <a:pt x="96" y="188"/>
                      <a:pt x="97" y="188"/>
                      <a:pt x="97" y="187"/>
                    </a:cubicBezTo>
                    <a:cubicBezTo>
                      <a:pt x="97" y="186"/>
                      <a:pt x="96" y="185"/>
                      <a:pt x="95" y="186"/>
                    </a:cubicBezTo>
                    <a:cubicBezTo>
                      <a:pt x="96" y="186"/>
                      <a:pt x="95" y="186"/>
                      <a:pt x="95" y="186"/>
                    </a:cubicBezTo>
                    <a:cubicBezTo>
                      <a:pt x="95" y="186"/>
                      <a:pt x="95" y="187"/>
                      <a:pt x="95" y="187"/>
                    </a:cubicBezTo>
                    <a:close/>
                    <a:moveTo>
                      <a:pt x="160" y="104"/>
                    </a:moveTo>
                    <a:cubicBezTo>
                      <a:pt x="161" y="105"/>
                      <a:pt x="160" y="103"/>
                      <a:pt x="159" y="104"/>
                    </a:cubicBezTo>
                    <a:cubicBezTo>
                      <a:pt x="159" y="105"/>
                      <a:pt x="158" y="104"/>
                      <a:pt x="157" y="105"/>
                    </a:cubicBezTo>
                    <a:cubicBezTo>
                      <a:pt x="157" y="105"/>
                      <a:pt x="158" y="105"/>
                      <a:pt x="158" y="105"/>
                    </a:cubicBezTo>
                    <a:cubicBezTo>
                      <a:pt x="158" y="105"/>
                      <a:pt x="156" y="105"/>
                      <a:pt x="157" y="105"/>
                    </a:cubicBezTo>
                    <a:cubicBezTo>
                      <a:pt x="156" y="106"/>
                      <a:pt x="157" y="105"/>
                      <a:pt x="157" y="106"/>
                    </a:cubicBezTo>
                    <a:cubicBezTo>
                      <a:pt x="157" y="106"/>
                      <a:pt x="157" y="106"/>
                      <a:pt x="157" y="106"/>
                    </a:cubicBezTo>
                    <a:cubicBezTo>
                      <a:pt x="157" y="106"/>
                      <a:pt x="157" y="106"/>
                      <a:pt x="157" y="106"/>
                    </a:cubicBezTo>
                    <a:cubicBezTo>
                      <a:pt x="157" y="106"/>
                      <a:pt x="156" y="106"/>
                      <a:pt x="157" y="106"/>
                    </a:cubicBezTo>
                    <a:cubicBezTo>
                      <a:pt x="157" y="107"/>
                      <a:pt x="158" y="106"/>
                      <a:pt x="157" y="106"/>
                    </a:cubicBezTo>
                    <a:cubicBezTo>
                      <a:pt x="157" y="106"/>
                      <a:pt x="159" y="107"/>
                      <a:pt x="158" y="106"/>
                    </a:cubicBezTo>
                    <a:cubicBezTo>
                      <a:pt x="158" y="106"/>
                      <a:pt x="160" y="106"/>
                      <a:pt x="159" y="106"/>
                    </a:cubicBezTo>
                    <a:cubicBezTo>
                      <a:pt x="160" y="106"/>
                      <a:pt x="161" y="106"/>
                      <a:pt x="161" y="105"/>
                    </a:cubicBezTo>
                    <a:cubicBezTo>
                      <a:pt x="162" y="104"/>
                      <a:pt x="160" y="105"/>
                      <a:pt x="160" y="104"/>
                    </a:cubicBezTo>
                    <a:close/>
                    <a:moveTo>
                      <a:pt x="102" y="162"/>
                    </a:moveTo>
                    <a:cubicBezTo>
                      <a:pt x="102" y="162"/>
                      <a:pt x="102" y="161"/>
                      <a:pt x="102" y="161"/>
                    </a:cubicBezTo>
                    <a:cubicBezTo>
                      <a:pt x="102" y="161"/>
                      <a:pt x="102" y="161"/>
                      <a:pt x="102" y="161"/>
                    </a:cubicBezTo>
                    <a:cubicBezTo>
                      <a:pt x="102" y="161"/>
                      <a:pt x="101" y="161"/>
                      <a:pt x="100" y="161"/>
                    </a:cubicBezTo>
                    <a:cubicBezTo>
                      <a:pt x="100" y="162"/>
                      <a:pt x="101" y="162"/>
                      <a:pt x="100" y="163"/>
                    </a:cubicBezTo>
                    <a:cubicBezTo>
                      <a:pt x="101" y="163"/>
                      <a:pt x="102" y="162"/>
                      <a:pt x="102" y="162"/>
                    </a:cubicBezTo>
                    <a:close/>
                    <a:moveTo>
                      <a:pt x="116" y="152"/>
                    </a:moveTo>
                    <a:cubicBezTo>
                      <a:pt x="116" y="152"/>
                      <a:pt x="117" y="152"/>
                      <a:pt x="117" y="152"/>
                    </a:cubicBezTo>
                    <a:cubicBezTo>
                      <a:pt x="117" y="152"/>
                      <a:pt x="118" y="152"/>
                      <a:pt x="118" y="152"/>
                    </a:cubicBezTo>
                    <a:cubicBezTo>
                      <a:pt x="118" y="151"/>
                      <a:pt x="118" y="151"/>
                      <a:pt x="117" y="151"/>
                    </a:cubicBezTo>
                    <a:cubicBezTo>
                      <a:pt x="117" y="151"/>
                      <a:pt x="117" y="151"/>
                      <a:pt x="116" y="151"/>
                    </a:cubicBezTo>
                    <a:cubicBezTo>
                      <a:pt x="115" y="151"/>
                      <a:pt x="115" y="152"/>
                      <a:pt x="116" y="152"/>
                    </a:cubicBezTo>
                    <a:close/>
                    <a:moveTo>
                      <a:pt x="221" y="86"/>
                    </a:moveTo>
                    <a:cubicBezTo>
                      <a:pt x="221" y="86"/>
                      <a:pt x="222" y="86"/>
                      <a:pt x="222" y="86"/>
                    </a:cubicBezTo>
                    <a:cubicBezTo>
                      <a:pt x="222" y="86"/>
                      <a:pt x="222" y="86"/>
                      <a:pt x="221" y="86"/>
                    </a:cubicBezTo>
                    <a:cubicBezTo>
                      <a:pt x="222" y="86"/>
                      <a:pt x="222" y="86"/>
                      <a:pt x="222" y="86"/>
                    </a:cubicBezTo>
                    <a:cubicBezTo>
                      <a:pt x="222" y="85"/>
                      <a:pt x="221" y="86"/>
                      <a:pt x="221" y="85"/>
                    </a:cubicBezTo>
                    <a:cubicBezTo>
                      <a:pt x="220" y="84"/>
                      <a:pt x="220" y="86"/>
                      <a:pt x="220" y="86"/>
                    </a:cubicBezTo>
                    <a:cubicBezTo>
                      <a:pt x="220" y="85"/>
                      <a:pt x="219" y="85"/>
                      <a:pt x="219" y="85"/>
                    </a:cubicBezTo>
                    <a:cubicBezTo>
                      <a:pt x="218" y="85"/>
                      <a:pt x="219" y="85"/>
                      <a:pt x="218" y="86"/>
                    </a:cubicBezTo>
                    <a:cubicBezTo>
                      <a:pt x="218" y="86"/>
                      <a:pt x="218" y="85"/>
                      <a:pt x="218" y="86"/>
                    </a:cubicBezTo>
                    <a:cubicBezTo>
                      <a:pt x="217" y="86"/>
                      <a:pt x="220" y="86"/>
                      <a:pt x="221" y="86"/>
                    </a:cubicBezTo>
                    <a:close/>
                    <a:moveTo>
                      <a:pt x="154" y="108"/>
                    </a:moveTo>
                    <a:cubicBezTo>
                      <a:pt x="155" y="107"/>
                      <a:pt x="154" y="107"/>
                      <a:pt x="154" y="107"/>
                    </a:cubicBezTo>
                    <a:cubicBezTo>
                      <a:pt x="154" y="107"/>
                      <a:pt x="155" y="106"/>
                      <a:pt x="154" y="106"/>
                    </a:cubicBezTo>
                    <a:cubicBezTo>
                      <a:pt x="154" y="106"/>
                      <a:pt x="153" y="107"/>
                      <a:pt x="153" y="107"/>
                    </a:cubicBezTo>
                    <a:cubicBezTo>
                      <a:pt x="153" y="107"/>
                      <a:pt x="152" y="109"/>
                      <a:pt x="152" y="109"/>
                    </a:cubicBezTo>
                    <a:cubicBezTo>
                      <a:pt x="152" y="109"/>
                      <a:pt x="155" y="108"/>
                      <a:pt x="153" y="108"/>
                    </a:cubicBezTo>
                    <a:cubicBezTo>
                      <a:pt x="154" y="107"/>
                      <a:pt x="154" y="108"/>
                      <a:pt x="154" y="108"/>
                    </a:cubicBezTo>
                    <a:close/>
                    <a:moveTo>
                      <a:pt x="230" y="83"/>
                    </a:moveTo>
                    <a:cubicBezTo>
                      <a:pt x="230" y="83"/>
                      <a:pt x="229" y="82"/>
                      <a:pt x="229" y="82"/>
                    </a:cubicBezTo>
                    <a:cubicBezTo>
                      <a:pt x="228" y="82"/>
                      <a:pt x="228" y="82"/>
                      <a:pt x="227" y="82"/>
                    </a:cubicBezTo>
                    <a:cubicBezTo>
                      <a:pt x="228" y="82"/>
                      <a:pt x="227" y="82"/>
                      <a:pt x="227" y="82"/>
                    </a:cubicBezTo>
                    <a:cubicBezTo>
                      <a:pt x="226" y="82"/>
                      <a:pt x="226" y="83"/>
                      <a:pt x="226" y="83"/>
                    </a:cubicBezTo>
                    <a:cubicBezTo>
                      <a:pt x="226" y="83"/>
                      <a:pt x="226" y="83"/>
                      <a:pt x="226" y="83"/>
                    </a:cubicBezTo>
                    <a:cubicBezTo>
                      <a:pt x="226" y="83"/>
                      <a:pt x="226" y="83"/>
                      <a:pt x="226" y="83"/>
                    </a:cubicBezTo>
                    <a:cubicBezTo>
                      <a:pt x="228" y="84"/>
                      <a:pt x="229" y="84"/>
                      <a:pt x="230" y="83"/>
                    </a:cubicBezTo>
                    <a:close/>
                    <a:moveTo>
                      <a:pt x="98" y="184"/>
                    </a:moveTo>
                    <a:cubicBezTo>
                      <a:pt x="97" y="185"/>
                      <a:pt x="96" y="184"/>
                      <a:pt x="97" y="185"/>
                    </a:cubicBezTo>
                    <a:cubicBezTo>
                      <a:pt x="97" y="186"/>
                      <a:pt x="96" y="185"/>
                      <a:pt x="96" y="185"/>
                    </a:cubicBezTo>
                    <a:cubicBezTo>
                      <a:pt x="96" y="186"/>
                      <a:pt x="97" y="186"/>
                      <a:pt x="97" y="185"/>
                    </a:cubicBezTo>
                    <a:cubicBezTo>
                      <a:pt x="97" y="186"/>
                      <a:pt x="97" y="186"/>
                      <a:pt x="97" y="186"/>
                    </a:cubicBezTo>
                    <a:cubicBezTo>
                      <a:pt x="97" y="186"/>
                      <a:pt x="98" y="186"/>
                      <a:pt x="98" y="186"/>
                    </a:cubicBezTo>
                    <a:cubicBezTo>
                      <a:pt x="98" y="186"/>
                      <a:pt x="98" y="186"/>
                      <a:pt x="98" y="185"/>
                    </a:cubicBezTo>
                    <a:cubicBezTo>
                      <a:pt x="98" y="185"/>
                      <a:pt x="99" y="184"/>
                      <a:pt x="98" y="184"/>
                    </a:cubicBezTo>
                    <a:close/>
                    <a:moveTo>
                      <a:pt x="239" y="79"/>
                    </a:moveTo>
                    <a:cubicBezTo>
                      <a:pt x="239" y="79"/>
                      <a:pt x="238" y="80"/>
                      <a:pt x="238" y="80"/>
                    </a:cubicBezTo>
                    <a:cubicBezTo>
                      <a:pt x="238" y="80"/>
                      <a:pt x="239" y="80"/>
                      <a:pt x="240" y="80"/>
                    </a:cubicBezTo>
                    <a:cubicBezTo>
                      <a:pt x="240" y="80"/>
                      <a:pt x="240" y="80"/>
                      <a:pt x="241" y="80"/>
                    </a:cubicBezTo>
                    <a:cubicBezTo>
                      <a:pt x="241" y="80"/>
                      <a:pt x="244" y="80"/>
                      <a:pt x="243" y="79"/>
                    </a:cubicBezTo>
                    <a:cubicBezTo>
                      <a:pt x="243" y="79"/>
                      <a:pt x="242" y="80"/>
                      <a:pt x="241" y="79"/>
                    </a:cubicBezTo>
                    <a:cubicBezTo>
                      <a:pt x="242" y="79"/>
                      <a:pt x="242" y="79"/>
                      <a:pt x="242" y="79"/>
                    </a:cubicBezTo>
                    <a:cubicBezTo>
                      <a:pt x="242" y="79"/>
                      <a:pt x="241" y="79"/>
                      <a:pt x="241" y="79"/>
                    </a:cubicBezTo>
                    <a:cubicBezTo>
                      <a:pt x="241" y="79"/>
                      <a:pt x="242" y="79"/>
                      <a:pt x="242" y="79"/>
                    </a:cubicBezTo>
                    <a:cubicBezTo>
                      <a:pt x="242" y="78"/>
                      <a:pt x="241" y="78"/>
                      <a:pt x="241" y="78"/>
                    </a:cubicBezTo>
                    <a:cubicBezTo>
                      <a:pt x="241" y="78"/>
                      <a:pt x="241" y="79"/>
                      <a:pt x="241" y="78"/>
                    </a:cubicBezTo>
                    <a:cubicBezTo>
                      <a:pt x="241" y="78"/>
                      <a:pt x="241" y="78"/>
                      <a:pt x="241" y="78"/>
                    </a:cubicBezTo>
                    <a:cubicBezTo>
                      <a:pt x="240" y="78"/>
                      <a:pt x="240" y="78"/>
                      <a:pt x="240" y="78"/>
                    </a:cubicBezTo>
                    <a:cubicBezTo>
                      <a:pt x="239" y="78"/>
                      <a:pt x="239" y="78"/>
                      <a:pt x="239" y="78"/>
                    </a:cubicBezTo>
                    <a:cubicBezTo>
                      <a:pt x="239" y="78"/>
                      <a:pt x="240" y="78"/>
                      <a:pt x="240" y="79"/>
                    </a:cubicBezTo>
                    <a:cubicBezTo>
                      <a:pt x="239" y="79"/>
                      <a:pt x="239" y="79"/>
                      <a:pt x="238" y="79"/>
                    </a:cubicBezTo>
                    <a:cubicBezTo>
                      <a:pt x="238" y="79"/>
                      <a:pt x="237" y="79"/>
                      <a:pt x="237" y="79"/>
                    </a:cubicBezTo>
                    <a:cubicBezTo>
                      <a:pt x="237" y="79"/>
                      <a:pt x="237" y="79"/>
                      <a:pt x="237" y="79"/>
                    </a:cubicBezTo>
                    <a:cubicBezTo>
                      <a:pt x="238" y="80"/>
                      <a:pt x="238" y="79"/>
                      <a:pt x="239" y="79"/>
                    </a:cubicBezTo>
                    <a:close/>
                    <a:moveTo>
                      <a:pt x="121" y="153"/>
                    </a:moveTo>
                    <a:cubicBezTo>
                      <a:pt x="121" y="153"/>
                      <a:pt x="120" y="152"/>
                      <a:pt x="120" y="153"/>
                    </a:cubicBezTo>
                    <a:cubicBezTo>
                      <a:pt x="120" y="153"/>
                      <a:pt x="120" y="153"/>
                      <a:pt x="119" y="153"/>
                    </a:cubicBezTo>
                    <a:cubicBezTo>
                      <a:pt x="119" y="153"/>
                      <a:pt x="119" y="153"/>
                      <a:pt x="119" y="153"/>
                    </a:cubicBezTo>
                    <a:cubicBezTo>
                      <a:pt x="119" y="153"/>
                      <a:pt x="119" y="152"/>
                      <a:pt x="119" y="153"/>
                    </a:cubicBezTo>
                    <a:cubicBezTo>
                      <a:pt x="119" y="153"/>
                      <a:pt x="119" y="153"/>
                      <a:pt x="119" y="153"/>
                    </a:cubicBezTo>
                    <a:cubicBezTo>
                      <a:pt x="119" y="153"/>
                      <a:pt x="121" y="154"/>
                      <a:pt x="121" y="153"/>
                    </a:cubicBezTo>
                    <a:close/>
                    <a:moveTo>
                      <a:pt x="169" y="103"/>
                    </a:moveTo>
                    <a:cubicBezTo>
                      <a:pt x="168" y="103"/>
                      <a:pt x="167" y="103"/>
                      <a:pt x="167" y="103"/>
                    </a:cubicBezTo>
                    <a:cubicBezTo>
                      <a:pt x="167" y="103"/>
                      <a:pt x="166" y="104"/>
                      <a:pt x="166" y="104"/>
                    </a:cubicBezTo>
                    <a:cubicBezTo>
                      <a:pt x="167" y="103"/>
                      <a:pt x="165" y="103"/>
                      <a:pt x="165" y="103"/>
                    </a:cubicBezTo>
                    <a:cubicBezTo>
                      <a:pt x="165" y="103"/>
                      <a:pt x="164" y="103"/>
                      <a:pt x="164" y="104"/>
                    </a:cubicBezTo>
                    <a:cubicBezTo>
                      <a:pt x="164" y="104"/>
                      <a:pt x="164" y="103"/>
                      <a:pt x="164" y="103"/>
                    </a:cubicBezTo>
                    <a:cubicBezTo>
                      <a:pt x="164" y="103"/>
                      <a:pt x="163" y="103"/>
                      <a:pt x="163" y="104"/>
                    </a:cubicBezTo>
                    <a:cubicBezTo>
                      <a:pt x="163" y="104"/>
                      <a:pt x="163" y="104"/>
                      <a:pt x="163" y="104"/>
                    </a:cubicBezTo>
                    <a:cubicBezTo>
                      <a:pt x="164" y="104"/>
                      <a:pt x="164" y="104"/>
                      <a:pt x="164" y="104"/>
                    </a:cubicBezTo>
                    <a:cubicBezTo>
                      <a:pt x="164" y="104"/>
                      <a:pt x="163" y="104"/>
                      <a:pt x="163" y="104"/>
                    </a:cubicBezTo>
                    <a:cubicBezTo>
                      <a:pt x="163" y="104"/>
                      <a:pt x="162" y="104"/>
                      <a:pt x="163" y="105"/>
                    </a:cubicBezTo>
                    <a:cubicBezTo>
                      <a:pt x="163" y="105"/>
                      <a:pt x="162" y="105"/>
                      <a:pt x="162" y="105"/>
                    </a:cubicBezTo>
                    <a:cubicBezTo>
                      <a:pt x="162" y="105"/>
                      <a:pt x="161" y="105"/>
                      <a:pt x="162" y="106"/>
                    </a:cubicBezTo>
                    <a:cubicBezTo>
                      <a:pt x="162" y="106"/>
                      <a:pt x="163" y="105"/>
                      <a:pt x="163" y="105"/>
                    </a:cubicBezTo>
                    <a:cubicBezTo>
                      <a:pt x="163" y="105"/>
                      <a:pt x="164" y="105"/>
                      <a:pt x="164" y="105"/>
                    </a:cubicBezTo>
                    <a:cubicBezTo>
                      <a:pt x="164" y="105"/>
                      <a:pt x="165" y="105"/>
                      <a:pt x="165" y="105"/>
                    </a:cubicBezTo>
                    <a:cubicBezTo>
                      <a:pt x="165" y="105"/>
                      <a:pt x="165" y="104"/>
                      <a:pt x="165" y="104"/>
                    </a:cubicBezTo>
                    <a:cubicBezTo>
                      <a:pt x="165" y="104"/>
                      <a:pt x="166" y="104"/>
                      <a:pt x="166" y="104"/>
                    </a:cubicBezTo>
                    <a:cubicBezTo>
                      <a:pt x="166" y="104"/>
                      <a:pt x="165" y="104"/>
                      <a:pt x="165" y="105"/>
                    </a:cubicBezTo>
                    <a:cubicBezTo>
                      <a:pt x="167" y="105"/>
                      <a:pt x="168" y="104"/>
                      <a:pt x="169" y="103"/>
                    </a:cubicBezTo>
                    <a:close/>
                    <a:moveTo>
                      <a:pt x="3" y="80"/>
                    </a:moveTo>
                    <a:cubicBezTo>
                      <a:pt x="2" y="80"/>
                      <a:pt x="0" y="80"/>
                      <a:pt x="0" y="81"/>
                    </a:cubicBezTo>
                    <a:cubicBezTo>
                      <a:pt x="0" y="81"/>
                      <a:pt x="1" y="81"/>
                      <a:pt x="2" y="80"/>
                    </a:cubicBezTo>
                    <a:cubicBezTo>
                      <a:pt x="3" y="80"/>
                      <a:pt x="4" y="80"/>
                      <a:pt x="5" y="80"/>
                    </a:cubicBezTo>
                    <a:cubicBezTo>
                      <a:pt x="5" y="80"/>
                      <a:pt x="8" y="79"/>
                      <a:pt x="8" y="79"/>
                    </a:cubicBezTo>
                    <a:cubicBezTo>
                      <a:pt x="7" y="79"/>
                      <a:pt x="9" y="78"/>
                      <a:pt x="8" y="78"/>
                    </a:cubicBezTo>
                    <a:cubicBezTo>
                      <a:pt x="6" y="77"/>
                      <a:pt x="4" y="79"/>
                      <a:pt x="3" y="8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1" name="Northern Mariana Islands (US commonwealth)">
                <a:extLst>
                  <a:ext uri="{FF2B5EF4-FFF2-40B4-BE49-F238E27FC236}">
                    <a16:creationId xmlns:a16="http://schemas.microsoft.com/office/drawing/2014/main" id="{B23651EA-309F-817A-4422-60B314F8C9C2}"/>
                  </a:ext>
                </a:extLst>
              </p:cNvPr>
              <p:cNvSpPr>
                <a:spLocks noEditPoints="1"/>
              </p:cNvSpPr>
              <p:nvPr/>
            </p:nvSpPr>
            <p:spPr bwMode="auto">
              <a:xfrm>
                <a:off x="10586722" y="3242576"/>
                <a:ext cx="71552" cy="251903"/>
              </a:xfrm>
              <a:custGeom>
                <a:avLst/>
                <a:gdLst/>
                <a:ahLst/>
                <a:cxnLst>
                  <a:cxn ang="0">
                    <a:pos x="16" y="71"/>
                  </a:cxn>
                  <a:cxn ang="0">
                    <a:pos x="16" y="71"/>
                  </a:cxn>
                  <a:cxn ang="0">
                    <a:pos x="16" y="70"/>
                  </a:cxn>
                  <a:cxn ang="0">
                    <a:pos x="16" y="71"/>
                  </a:cxn>
                  <a:cxn ang="0">
                    <a:pos x="19" y="61"/>
                  </a:cxn>
                  <a:cxn ang="0">
                    <a:pos x="19" y="62"/>
                  </a:cxn>
                  <a:cxn ang="0">
                    <a:pos x="19" y="61"/>
                  </a:cxn>
                  <a:cxn ang="0">
                    <a:pos x="12" y="20"/>
                  </a:cxn>
                  <a:cxn ang="0">
                    <a:pos x="12" y="21"/>
                  </a:cxn>
                  <a:cxn ang="0">
                    <a:pos x="12" y="20"/>
                  </a:cxn>
                  <a:cxn ang="0">
                    <a:pos x="16" y="33"/>
                  </a:cxn>
                  <a:cxn ang="0">
                    <a:pos x="16" y="33"/>
                  </a:cxn>
                  <a:cxn ang="0">
                    <a:pos x="17" y="36"/>
                  </a:cxn>
                  <a:cxn ang="0">
                    <a:pos x="17" y="36"/>
                  </a:cxn>
                  <a:cxn ang="0">
                    <a:pos x="17" y="36"/>
                  </a:cxn>
                  <a:cxn ang="0">
                    <a:pos x="17" y="43"/>
                  </a:cxn>
                  <a:cxn ang="0">
                    <a:pos x="17" y="43"/>
                  </a:cxn>
                  <a:cxn ang="0">
                    <a:pos x="17" y="46"/>
                  </a:cxn>
                  <a:cxn ang="0">
                    <a:pos x="17" y="47"/>
                  </a:cxn>
                  <a:cxn ang="0">
                    <a:pos x="17" y="46"/>
                  </a:cxn>
                  <a:cxn ang="0">
                    <a:pos x="5" y="6"/>
                  </a:cxn>
                  <a:cxn ang="0">
                    <a:pos x="5" y="6"/>
                  </a:cxn>
                  <a:cxn ang="0">
                    <a:pos x="7" y="10"/>
                  </a:cxn>
                  <a:cxn ang="0">
                    <a:pos x="7" y="10"/>
                  </a:cxn>
                  <a:cxn ang="0">
                    <a:pos x="1" y="1"/>
                  </a:cxn>
                  <a:cxn ang="0">
                    <a:pos x="1" y="1"/>
                  </a:cxn>
                  <a:cxn ang="0">
                    <a:pos x="20" y="58"/>
                  </a:cxn>
                  <a:cxn ang="0">
                    <a:pos x="20" y="60"/>
                  </a:cxn>
                  <a:cxn ang="0">
                    <a:pos x="20" y="60"/>
                  </a:cxn>
                  <a:cxn ang="0">
                    <a:pos x="20" y="59"/>
                  </a:cxn>
                  <a:cxn ang="0">
                    <a:pos x="20" y="58"/>
                  </a:cxn>
                  <a:cxn ang="0">
                    <a:pos x="14" y="26"/>
                  </a:cxn>
                  <a:cxn ang="0">
                    <a:pos x="14" y="28"/>
                  </a:cxn>
                  <a:cxn ang="0">
                    <a:pos x="15" y="27"/>
                  </a:cxn>
                  <a:cxn ang="0">
                    <a:pos x="14" y="26"/>
                  </a:cxn>
                </a:cxnLst>
                <a:rect l="0" t="0" r="r" b="b"/>
                <a:pathLst>
                  <a:path w="20" h="71">
                    <a:moveTo>
                      <a:pt x="16" y="71"/>
                    </a:moveTo>
                    <a:cubicBezTo>
                      <a:pt x="16" y="71"/>
                      <a:pt x="16" y="71"/>
                      <a:pt x="16" y="71"/>
                    </a:cubicBezTo>
                    <a:cubicBezTo>
                      <a:pt x="16" y="71"/>
                      <a:pt x="16" y="70"/>
                      <a:pt x="16" y="70"/>
                    </a:cubicBezTo>
                    <a:cubicBezTo>
                      <a:pt x="17" y="70"/>
                      <a:pt x="17" y="71"/>
                      <a:pt x="16" y="71"/>
                    </a:cubicBezTo>
                    <a:close/>
                    <a:moveTo>
                      <a:pt x="19" y="61"/>
                    </a:moveTo>
                    <a:cubicBezTo>
                      <a:pt x="18" y="61"/>
                      <a:pt x="18" y="62"/>
                      <a:pt x="19" y="62"/>
                    </a:cubicBezTo>
                    <a:cubicBezTo>
                      <a:pt x="20" y="62"/>
                      <a:pt x="19" y="60"/>
                      <a:pt x="19" y="61"/>
                    </a:cubicBezTo>
                    <a:close/>
                    <a:moveTo>
                      <a:pt x="12" y="20"/>
                    </a:moveTo>
                    <a:cubicBezTo>
                      <a:pt x="11" y="20"/>
                      <a:pt x="12" y="20"/>
                      <a:pt x="12" y="21"/>
                    </a:cubicBezTo>
                    <a:cubicBezTo>
                      <a:pt x="12" y="20"/>
                      <a:pt x="12" y="19"/>
                      <a:pt x="12" y="20"/>
                    </a:cubicBezTo>
                    <a:close/>
                    <a:moveTo>
                      <a:pt x="16" y="33"/>
                    </a:moveTo>
                    <a:cubicBezTo>
                      <a:pt x="17" y="33"/>
                      <a:pt x="15" y="33"/>
                      <a:pt x="16" y="33"/>
                    </a:cubicBezTo>
                    <a:close/>
                    <a:moveTo>
                      <a:pt x="17" y="36"/>
                    </a:moveTo>
                    <a:cubicBezTo>
                      <a:pt x="17" y="36"/>
                      <a:pt x="17" y="36"/>
                      <a:pt x="17" y="36"/>
                    </a:cubicBezTo>
                    <a:cubicBezTo>
                      <a:pt x="17" y="36"/>
                      <a:pt x="17" y="36"/>
                      <a:pt x="17" y="36"/>
                    </a:cubicBezTo>
                    <a:close/>
                    <a:moveTo>
                      <a:pt x="17" y="43"/>
                    </a:moveTo>
                    <a:cubicBezTo>
                      <a:pt x="18" y="43"/>
                      <a:pt x="17" y="43"/>
                      <a:pt x="17" y="43"/>
                    </a:cubicBezTo>
                    <a:close/>
                    <a:moveTo>
                      <a:pt x="17" y="46"/>
                    </a:moveTo>
                    <a:cubicBezTo>
                      <a:pt x="16" y="46"/>
                      <a:pt x="16" y="47"/>
                      <a:pt x="17" y="47"/>
                    </a:cubicBezTo>
                    <a:cubicBezTo>
                      <a:pt x="17" y="47"/>
                      <a:pt x="17" y="46"/>
                      <a:pt x="17" y="46"/>
                    </a:cubicBezTo>
                    <a:close/>
                    <a:moveTo>
                      <a:pt x="5" y="6"/>
                    </a:moveTo>
                    <a:cubicBezTo>
                      <a:pt x="6" y="6"/>
                      <a:pt x="4" y="6"/>
                      <a:pt x="5" y="6"/>
                    </a:cubicBezTo>
                    <a:close/>
                    <a:moveTo>
                      <a:pt x="7" y="10"/>
                    </a:moveTo>
                    <a:cubicBezTo>
                      <a:pt x="8" y="10"/>
                      <a:pt x="7" y="10"/>
                      <a:pt x="7" y="10"/>
                    </a:cubicBezTo>
                    <a:close/>
                    <a:moveTo>
                      <a:pt x="1" y="1"/>
                    </a:moveTo>
                    <a:cubicBezTo>
                      <a:pt x="1" y="0"/>
                      <a:pt x="0" y="0"/>
                      <a:pt x="1" y="1"/>
                    </a:cubicBezTo>
                    <a:close/>
                    <a:moveTo>
                      <a:pt x="20" y="58"/>
                    </a:moveTo>
                    <a:cubicBezTo>
                      <a:pt x="19" y="58"/>
                      <a:pt x="19" y="60"/>
                      <a:pt x="20" y="60"/>
                    </a:cubicBezTo>
                    <a:cubicBezTo>
                      <a:pt x="20" y="60"/>
                      <a:pt x="20" y="60"/>
                      <a:pt x="20" y="60"/>
                    </a:cubicBezTo>
                    <a:cubicBezTo>
                      <a:pt x="20" y="60"/>
                      <a:pt x="20" y="60"/>
                      <a:pt x="20" y="59"/>
                    </a:cubicBezTo>
                    <a:cubicBezTo>
                      <a:pt x="20" y="59"/>
                      <a:pt x="20" y="58"/>
                      <a:pt x="20" y="58"/>
                    </a:cubicBezTo>
                    <a:close/>
                    <a:moveTo>
                      <a:pt x="14" y="26"/>
                    </a:moveTo>
                    <a:cubicBezTo>
                      <a:pt x="14" y="27"/>
                      <a:pt x="14" y="28"/>
                      <a:pt x="14" y="28"/>
                    </a:cubicBezTo>
                    <a:cubicBezTo>
                      <a:pt x="14" y="28"/>
                      <a:pt x="14" y="27"/>
                      <a:pt x="15" y="27"/>
                    </a:cubicBezTo>
                    <a:cubicBezTo>
                      <a:pt x="15" y="27"/>
                      <a:pt x="15" y="26"/>
                      <a:pt x="14" y="2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2" name="North Macedonia">
                <a:extLst>
                  <a:ext uri="{FF2B5EF4-FFF2-40B4-BE49-F238E27FC236}">
                    <a16:creationId xmlns:a16="http://schemas.microsoft.com/office/drawing/2014/main" id="{F6BC2404-E3CD-DF9F-BA66-FD7D74E266F4}"/>
                  </a:ext>
                </a:extLst>
              </p:cNvPr>
              <p:cNvSpPr>
                <a:spLocks/>
              </p:cNvSpPr>
              <p:nvPr/>
            </p:nvSpPr>
            <p:spPr bwMode="auto">
              <a:xfrm>
                <a:off x="6366136" y="2395714"/>
                <a:ext cx="81353" cy="59791"/>
              </a:xfrm>
              <a:custGeom>
                <a:avLst/>
                <a:gdLst/>
                <a:ahLst/>
                <a:cxnLst>
                  <a:cxn ang="0">
                    <a:pos x="23" y="7"/>
                  </a:cxn>
                  <a:cxn ang="0">
                    <a:pos x="22" y="5"/>
                  </a:cxn>
                  <a:cxn ang="0">
                    <a:pos x="21" y="3"/>
                  </a:cxn>
                  <a:cxn ang="0">
                    <a:pos x="19" y="3"/>
                  </a:cxn>
                  <a:cxn ang="0">
                    <a:pos x="17" y="1"/>
                  </a:cxn>
                  <a:cxn ang="0">
                    <a:pos x="16" y="0"/>
                  </a:cxn>
                  <a:cxn ang="0">
                    <a:pos x="15" y="1"/>
                  </a:cxn>
                  <a:cxn ang="0">
                    <a:pos x="14" y="1"/>
                  </a:cxn>
                  <a:cxn ang="0">
                    <a:pos x="13" y="0"/>
                  </a:cxn>
                  <a:cxn ang="0">
                    <a:pos x="12" y="1"/>
                  </a:cxn>
                  <a:cxn ang="0">
                    <a:pos x="11" y="1"/>
                  </a:cxn>
                  <a:cxn ang="0">
                    <a:pos x="9" y="1"/>
                  </a:cxn>
                  <a:cxn ang="0">
                    <a:pos x="9" y="2"/>
                  </a:cxn>
                  <a:cxn ang="0">
                    <a:pos x="7" y="3"/>
                  </a:cxn>
                  <a:cxn ang="0">
                    <a:pos x="6" y="2"/>
                  </a:cxn>
                  <a:cxn ang="0">
                    <a:pos x="5" y="2"/>
                  </a:cxn>
                  <a:cxn ang="0">
                    <a:pos x="3" y="4"/>
                  </a:cxn>
                  <a:cxn ang="0">
                    <a:pos x="3" y="5"/>
                  </a:cxn>
                  <a:cxn ang="0">
                    <a:pos x="2" y="5"/>
                  </a:cxn>
                  <a:cxn ang="0">
                    <a:pos x="1" y="6"/>
                  </a:cxn>
                  <a:cxn ang="0">
                    <a:pos x="1" y="6"/>
                  </a:cxn>
                  <a:cxn ang="0">
                    <a:pos x="1" y="7"/>
                  </a:cxn>
                  <a:cxn ang="0">
                    <a:pos x="1" y="8"/>
                  </a:cxn>
                  <a:cxn ang="0">
                    <a:pos x="0" y="9"/>
                  </a:cxn>
                  <a:cxn ang="0">
                    <a:pos x="1" y="11"/>
                  </a:cxn>
                  <a:cxn ang="0">
                    <a:pos x="1" y="12"/>
                  </a:cxn>
                  <a:cxn ang="0">
                    <a:pos x="2" y="14"/>
                  </a:cxn>
                  <a:cxn ang="0">
                    <a:pos x="3" y="14"/>
                  </a:cxn>
                  <a:cxn ang="0">
                    <a:pos x="3" y="16"/>
                  </a:cxn>
                  <a:cxn ang="0">
                    <a:pos x="4" y="16"/>
                  </a:cxn>
                  <a:cxn ang="0">
                    <a:pos x="5" y="16"/>
                  </a:cxn>
                  <a:cxn ang="0">
                    <a:pos x="7" y="16"/>
                  </a:cxn>
                  <a:cxn ang="0">
                    <a:pos x="8" y="16"/>
                  </a:cxn>
                  <a:cxn ang="0">
                    <a:pos x="9" y="16"/>
                  </a:cxn>
                  <a:cxn ang="0">
                    <a:pos x="11" y="16"/>
                  </a:cxn>
                  <a:cxn ang="0">
                    <a:pos x="12" y="16"/>
                  </a:cxn>
                  <a:cxn ang="0">
                    <a:pos x="13" y="15"/>
                  </a:cxn>
                  <a:cxn ang="0">
                    <a:pos x="15" y="13"/>
                  </a:cxn>
                  <a:cxn ang="0">
                    <a:pos x="15" y="13"/>
                  </a:cxn>
                  <a:cxn ang="0">
                    <a:pos x="16" y="13"/>
                  </a:cxn>
                  <a:cxn ang="0">
                    <a:pos x="17" y="13"/>
                  </a:cxn>
                  <a:cxn ang="0">
                    <a:pos x="19" y="14"/>
                  </a:cxn>
                  <a:cxn ang="0">
                    <a:pos x="20" y="13"/>
                  </a:cxn>
                  <a:cxn ang="0">
                    <a:pos x="20" y="13"/>
                  </a:cxn>
                  <a:cxn ang="0">
                    <a:pos x="21" y="13"/>
                  </a:cxn>
                  <a:cxn ang="0">
                    <a:pos x="21" y="12"/>
                  </a:cxn>
                  <a:cxn ang="0">
                    <a:pos x="22" y="11"/>
                  </a:cxn>
                  <a:cxn ang="0">
                    <a:pos x="22" y="11"/>
                  </a:cxn>
                  <a:cxn ang="0">
                    <a:pos x="22" y="8"/>
                  </a:cxn>
                  <a:cxn ang="0">
                    <a:pos x="23" y="7"/>
                  </a:cxn>
                </a:cxnLst>
                <a:rect l="0" t="0" r="r" b="b"/>
                <a:pathLst>
                  <a:path w="23" h="17">
                    <a:moveTo>
                      <a:pt x="23" y="7"/>
                    </a:moveTo>
                    <a:cubicBezTo>
                      <a:pt x="22" y="6"/>
                      <a:pt x="22" y="6"/>
                      <a:pt x="22" y="5"/>
                    </a:cubicBezTo>
                    <a:cubicBezTo>
                      <a:pt x="22" y="4"/>
                      <a:pt x="22" y="4"/>
                      <a:pt x="21" y="3"/>
                    </a:cubicBezTo>
                    <a:cubicBezTo>
                      <a:pt x="20" y="3"/>
                      <a:pt x="20" y="3"/>
                      <a:pt x="19" y="3"/>
                    </a:cubicBezTo>
                    <a:cubicBezTo>
                      <a:pt x="18" y="2"/>
                      <a:pt x="18" y="1"/>
                      <a:pt x="17" y="1"/>
                    </a:cubicBezTo>
                    <a:cubicBezTo>
                      <a:pt x="16" y="0"/>
                      <a:pt x="16" y="1"/>
                      <a:pt x="16" y="0"/>
                    </a:cubicBezTo>
                    <a:cubicBezTo>
                      <a:pt x="16" y="0"/>
                      <a:pt x="15" y="0"/>
                      <a:pt x="15" y="1"/>
                    </a:cubicBezTo>
                    <a:cubicBezTo>
                      <a:pt x="14" y="1"/>
                      <a:pt x="14" y="1"/>
                      <a:pt x="14" y="1"/>
                    </a:cubicBezTo>
                    <a:cubicBezTo>
                      <a:pt x="14" y="1"/>
                      <a:pt x="14" y="0"/>
                      <a:pt x="13" y="0"/>
                    </a:cubicBezTo>
                    <a:cubicBezTo>
                      <a:pt x="13" y="0"/>
                      <a:pt x="12" y="1"/>
                      <a:pt x="12" y="1"/>
                    </a:cubicBezTo>
                    <a:cubicBezTo>
                      <a:pt x="11" y="1"/>
                      <a:pt x="11" y="1"/>
                      <a:pt x="11" y="1"/>
                    </a:cubicBezTo>
                    <a:cubicBezTo>
                      <a:pt x="10" y="1"/>
                      <a:pt x="10" y="1"/>
                      <a:pt x="9" y="1"/>
                    </a:cubicBezTo>
                    <a:cubicBezTo>
                      <a:pt x="9" y="1"/>
                      <a:pt x="8" y="1"/>
                      <a:pt x="9" y="2"/>
                    </a:cubicBezTo>
                    <a:cubicBezTo>
                      <a:pt x="7" y="2"/>
                      <a:pt x="8" y="3"/>
                      <a:pt x="7" y="3"/>
                    </a:cubicBezTo>
                    <a:cubicBezTo>
                      <a:pt x="7" y="4"/>
                      <a:pt x="7" y="2"/>
                      <a:pt x="6" y="2"/>
                    </a:cubicBezTo>
                    <a:cubicBezTo>
                      <a:pt x="6" y="2"/>
                      <a:pt x="6" y="2"/>
                      <a:pt x="5" y="2"/>
                    </a:cubicBezTo>
                    <a:cubicBezTo>
                      <a:pt x="4" y="3"/>
                      <a:pt x="3" y="3"/>
                      <a:pt x="3" y="4"/>
                    </a:cubicBezTo>
                    <a:cubicBezTo>
                      <a:pt x="3" y="4"/>
                      <a:pt x="3" y="5"/>
                      <a:pt x="3" y="5"/>
                    </a:cubicBezTo>
                    <a:cubicBezTo>
                      <a:pt x="2" y="6"/>
                      <a:pt x="2" y="5"/>
                      <a:pt x="2" y="5"/>
                    </a:cubicBezTo>
                    <a:cubicBezTo>
                      <a:pt x="2" y="6"/>
                      <a:pt x="1" y="5"/>
                      <a:pt x="1" y="6"/>
                    </a:cubicBezTo>
                    <a:cubicBezTo>
                      <a:pt x="1" y="6"/>
                      <a:pt x="1" y="6"/>
                      <a:pt x="1" y="6"/>
                    </a:cubicBezTo>
                    <a:cubicBezTo>
                      <a:pt x="1" y="6"/>
                      <a:pt x="1" y="6"/>
                      <a:pt x="1" y="7"/>
                    </a:cubicBezTo>
                    <a:cubicBezTo>
                      <a:pt x="1" y="7"/>
                      <a:pt x="1" y="8"/>
                      <a:pt x="1" y="8"/>
                    </a:cubicBezTo>
                    <a:cubicBezTo>
                      <a:pt x="1" y="9"/>
                      <a:pt x="0" y="9"/>
                      <a:pt x="0" y="9"/>
                    </a:cubicBezTo>
                    <a:cubicBezTo>
                      <a:pt x="0" y="10"/>
                      <a:pt x="1" y="10"/>
                      <a:pt x="1" y="11"/>
                    </a:cubicBezTo>
                    <a:cubicBezTo>
                      <a:pt x="1" y="11"/>
                      <a:pt x="1" y="11"/>
                      <a:pt x="1" y="12"/>
                    </a:cubicBezTo>
                    <a:cubicBezTo>
                      <a:pt x="1" y="13"/>
                      <a:pt x="2" y="13"/>
                      <a:pt x="2" y="14"/>
                    </a:cubicBezTo>
                    <a:cubicBezTo>
                      <a:pt x="2" y="14"/>
                      <a:pt x="2" y="14"/>
                      <a:pt x="3" y="14"/>
                    </a:cubicBezTo>
                    <a:cubicBezTo>
                      <a:pt x="3" y="15"/>
                      <a:pt x="3" y="16"/>
                      <a:pt x="3" y="16"/>
                    </a:cubicBezTo>
                    <a:cubicBezTo>
                      <a:pt x="4" y="16"/>
                      <a:pt x="4" y="16"/>
                      <a:pt x="4" y="16"/>
                    </a:cubicBezTo>
                    <a:cubicBezTo>
                      <a:pt x="5" y="16"/>
                      <a:pt x="5" y="16"/>
                      <a:pt x="5" y="16"/>
                    </a:cubicBezTo>
                    <a:cubicBezTo>
                      <a:pt x="5" y="17"/>
                      <a:pt x="7" y="16"/>
                      <a:pt x="7" y="16"/>
                    </a:cubicBezTo>
                    <a:cubicBezTo>
                      <a:pt x="7" y="16"/>
                      <a:pt x="7" y="16"/>
                      <a:pt x="8" y="16"/>
                    </a:cubicBezTo>
                    <a:cubicBezTo>
                      <a:pt x="8" y="16"/>
                      <a:pt x="9" y="16"/>
                      <a:pt x="9" y="16"/>
                    </a:cubicBezTo>
                    <a:cubicBezTo>
                      <a:pt x="10" y="16"/>
                      <a:pt x="10" y="16"/>
                      <a:pt x="11" y="16"/>
                    </a:cubicBezTo>
                    <a:cubicBezTo>
                      <a:pt x="11" y="16"/>
                      <a:pt x="11" y="16"/>
                      <a:pt x="12" y="16"/>
                    </a:cubicBezTo>
                    <a:cubicBezTo>
                      <a:pt x="13" y="16"/>
                      <a:pt x="12" y="15"/>
                      <a:pt x="13" y="15"/>
                    </a:cubicBezTo>
                    <a:cubicBezTo>
                      <a:pt x="13" y="14"/>
                      <a:pt x="14" y="13"/>
                      <a:pt x="15" y="13"/>
                    </a:cubicBezTo>
                    <a:cubicBezTo>
                      <a:pt x="15" y="13"/>
                      <a:pt x="15" y="13"/>
                      <a:pt x="15" y="13"/>
                    </a:cubicBezTo>
                    <a:cubicBezTo>
                      <a:pt x="15" y="13"/>
                      <a:pt x="15" y="13"/>
                      <a:pt x="16" y="13"/>
                    </a:cubicBezTo>
                    <a:cubicBezTo>
                      <a:pt x="16" y="13"/>
                      <a:pt x="16" y="13"/>
                      <a:pt x="17" y="13"/>
                    </a:cubicBezTo>
                    <a:cubicBezTo>
                      <a:pt x="18" y="13"/>
                      <a:pt x="18" y="14"/>
                      <a:pt x="19" y="14"/>
                    </a:cubicBezTo>
                    <a:cubicBezTo>
                      <a:pt x="19" y="14"/>
                      <a:pt x="19" y="14"/>
                      <a:pt x="20" y="13"/>
                    </a:cubicBezTo>
                    <a:cubicBezTo>
                      <a:pt x="20" y="13"/>
                      <a:pt x="20" y="13"/>
                      <a:pt x="20" y="13"/>
                    </a:cubicBezTo>
                    <a:cubicBezTo>
                      <a:pt x="20" y="13"/>
                      <a:pt x="20" y="14"/>
                      <a:pt x="21" y="13"/>
                    </a:cubicBezTo>
                    <a:cubicBezTo>
                      <a:pt x="21" y="13"/>
                      <a:pt x="21" y="12"/>
                      <a:pt x="21" y="12"/>
                    </a:cubicBezTo>
                    <a:cubicBezTo>
                      <a:pt x="21" y="11"/>
                      <a:pt x="21" y="11"/>
                      <a:pt x="22" y="11"/>
                    </a:cubicBezTo>
                    <a:cubicBezTo>
                      <a:pt x="22" y="11"/>
                      <a:pt x="22" y="11"/>
                      <a:pt x="22" y="11"/>
                    </a:cubicBezTo>
                    <a:cubicBezTo>
                      <a:pt x="23" y="10"/>
                      <a:pt x="23" y="9"/>
                      <a:pt x="22" y="8"/>
                    </a:cubicBezTo>
                    <a:cubicBezTo>
                      <a:pt x="23" y="8"/>
                      <a:pt x="23" y="7"/>
                      <a:pt x="23" y="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3" name="North Korea">
                <a:extLst>
                  <a:ext uri="{FF2B5EF4-FFF2-40B4-BE49-F238E27FC236}">
                    <a16:creationId xmlns:a16="http://schemas.microsoft.com/office/drawing/2014/main" id="{01F3BDBC-0585-0157-86E4-E2660E15DEE5}"/>
                  </a:ext>
                </a:extLst>
              </p:cNvPr>
              <p:cNvSpPr>
                <a:spLocks noEditPoints="1"/>
              </p:cNvSpPr>
              <p:nvPr/>
            </p:nvSpPr>
            <p:spPr bwMode="auto">
              <a:xfrm>
                <a:off x="9659487" y="2371210"/>
                <a:ext cx="155847" cy="204855"/>
              </a:xfrm>
              <a:custGeom>
                <a:avLst/>
                <a:gdLst/>
                <a:ahLst/>
                <a:cxnLst>
                  <a:cxn ang="0">
                    <a:pos x="41" y="10"/>
                  </a:cxn>
                  <a:cxn ang="0">
                    <a:pos x="40" y="13"/>
                  </a:cxn>
                  <a:cxn ang="0">
                    <a:pos x="42" y="18"/>
                  </a:cxn>
                  <a:cxn ang="0">
                    <a:pos x="41" y="25"/>
                  </a:cxn>
                  <a:cxn ang="0">
                    <a:pos x="38" y="30"/>
                  </a:cxn>
                  <a:cxn ang="0">
                    <a:pos x="35" y="32"/>
                  </a:cxn>
                  <a:cxn ang="0">
                    <a:pos x="30" y="36"/>
                  </a:cxn>
                  <a:cxn ang="0">
                    <a:pos x="32" y="39"/>
                  </a:cxn>
                  <a:cxn ang="0">
                    <a:pos x="32" y="40"/>
                  </a:cxn>
                  <a:cxn ang="0">
                    <a:pos x="34" y="42"/>
                  </a:cxn>
                  <a:cxn ang="0">
                    <a:pos x="39" y="45"/>
                  </a:cxn>
                  <a:cxn ang="0">
                    <a:pos x="44" y="49"/>
                  </a:cxn>
                  <a:cxn ang="0">
                    <a:pos x="37" y="51"/>
                  </a:cxn>
                  <a:cxn ang="0">
                    <a:pos x="32" y="55"/>
                  </a:cxn>
                  <a:cxn ang="0">
                    <a:pos x="28" y="56"/>
                  </a:cxn>
                  <a:cxn ang="0">
                    <a:pos x="25" y="56"/>
                  </a:cxn>
                  <a:cxn ang="0">
                    <a:pos x="23" y="56"/>
                  </a:cxn>
                  <a:cxn ang="0">
                    <a:pos x="22" y="58"/>
                  </a:cxn>
                  <a:cxn ang="0">
                    <a:pos x="21" y="57"/>
                  </a:cxn>
                  <a:cxn ang="0">
                    <a:pos x="21" y="56"/>
                  </a:cxn>
                  <a:cxn ang="0">
                    <a:pos x="19" y="56"/>
                  </a:cxn>
                  <a:cxn ang="0">
                    <a:pos x="17" y="54"/>
                  </a:cxn>
                  <a:cxn ang="0">
                    <a:pos x="14" y="54"/>
                  </a:cxn>
                  <a:cxn ang="0">
                    <a:pos x="15" y="52"/>
                  </a:cxn>
                  <a:cxn ang="0">
                    <a:pos x="14" y="49"/>
                  </a:cxn>
                  <a:cxn ang="0">
                    <a:pos x="16" y="47"/>
                  </a:cxn>
                  <a:cxn ang="0">
                    <a:pos x="19" y="48"/>
                  </a:cxn>
                  <a:cxn ang="0">
                    <a:pos x="16" y="47"/>
                  </a:cxn>
                  <a:cxn ang="0">
                    <a:pos x="14" y="46"/>
                  </a:cxn>
                  <a:cxn ang="0">
                    <a:pos x="14" y="41"/>
                  </a:cxn>
                  <a:cxn ang="0">
                    <a:pos x="12" y="39"/>
                  </a:cxn>
                  <a:cxn ang="0">
                    <a:pos x="8" y="37"/>
                  </a:cxn>
                  <a:cxn ang="0">
                    <a:pos x="5" y="37"/>
                  </a:cxn>
                  <a:cxn ang="0">
                    <a:pos x="1" y="33"/>
                  </a:cxn>
                  <a:cxn ang="0">
                    <a:pos x="2" y="29"/>
                  </a:cxn>
                  <a:cxn ang="0">
                    <a:pos x="4" y="27"/>
                  </a:cxn>
                  <a:cxn ang="0">
                    <a:pos x="7" y="25"/>
                  </a:cxn>
                  <a:cxn ang="0">
                    <a:pos x="9" y="23"/>
                  </a:cxn>
                  <a:cxn ang="0">
                    <a:pos x="11" y="20"/>
                  </a:cxn>
                  <a:cxn ang="0">
                    <a:pos x="12" y="17"/>
                  </a:cxn>
                  <a:cxn ang="0">
                    <a:pos x="12" y="14"/>
                  </a:cxn>
                  <a:cxn ang="0">
                    <a:pos x="16" y="15"/>
                  </a:cxn>
                  <a:cxn ang="0">
                    <a:pos x="19" y="17"/>
                  </a:cxn>
                  <a:cxn ang="0">
                    <a:pos x="25" y="17"/>
                  </a:cxn>
                  <a:cxn ang="0">
                    <a:pos x="26" y="11"/>
                  </a:cxn>
                  <a:cxn ang="0">
                    <a:pos x="30" y="10"/>
                  </a:cxn>
                  <a:cxn ang="0">
                    <a:pos x="31" y="7"/>
                  </a:cxn>
                  <a:cxn ang="0">
                    <a:pos x="33" y="7"/>
                  </a:cxn>
                  <a:cxn ang="0">
                    <a:pos x="33" y="3"/>
                  </a:cxn>
                  <a:cxn ang="0">
                    <a:pos x="35" y="0"/>
                  </a:cxn>
                  <a:cxn ang="0">
                    <a:pos x="39" y="4"/>
                  </a:cxn>
                  <a:cxn ang="0">
                    <a:pos x="43" y="7"/>
                  </a:cxn>
                  <a:cxn ang="0">
                    <a:pos x="13" y="55"/>
                  </a:cxn>
                  <a:cxn ang="0">
                    <a:pos x="14" y="55"/>
                  </a:cxn>
                </a:cxnLst>
                <a:rect l="0" t="0" r="r" b="b"/>
                <a:pathLst>
                  <a:path w="44" h="58">
                    <a:moveTo>
                      <a:pt x="41" y="8"/>
                    </a:moveTo>
                    <a:cubicBezTo>
                      <a:pt x="41" y="8"/>
                      <a:pt x="42" y="8"/>
                      <a:pt x="42" y="8"/>
                    </a:cubicBezTo>
                    <a:cubicBezTo>
                      <a:pt x="41" y="8"/>
                      <a:pt x="42" y="9"/>
                      <a:pt x="41" y="9"/>
                    </a:cubicBezTo>
                    <a:cubicBezTo>
                      <a:pt x="41" y="8"/>
                      <a:pt x="41" y="10"/>
                      <a:pt x="41" y="10"/>
                    </a:cubicBezTo>
                    <a:cubicBezTo>
                      <a:pt x="41" y="10"/>
                      <a:pt x="41" y="10"/>
                      <a:pt x="41" y="10"/>
                    </a:cubicBezTo>
                    <a:cubicBezTo>
                      <a:pt x="40" y="10"/>
                      <a:pt x="40" y="11"/>
                      <a:pt x="40" y="11"/>
                    </a:cubicBezTo>
                    <a:cubicBezTo>
                      <a:pt x="40" y="11"/>
                      <a:pt x="40" y="12"/>
                      <a:pt x="40" y="12"/>
                    </a:cubicBezTo>
                    <a:cubicBezTo>
                      <a:pt x="39" y="12"/>
                      <a:pt x="40" y="13"/>
                      <a:pt x="40" y="13"/>
                    </a:cubicBezTo>
                    <a:cubicBezTo>
                      <a:pt x="40" y="14"/>
                      <a:pt x="39" y="14"/>
                      <a:pt x="39" y="14"/>
                    </a:cubicBezTo>
                    <a:cubicBezTo>
                      <a:pt x="39" y="14"/>
                      <a:pt x="39" y="14"/>
                      <a:pt x="39" y="15"/>
                    </a:cubicBezTo>
                    <a:cubicBezTo>
                      <a:pt x="39" y="15"/>
                      <a:pt x="39" y="16"/>
                      <a:pt x="40" y="17"/>
                    </a:cubicBezTo>
                    <a:cubicBezTo>
                      <a:pt x="40" y="17"/>
                      <a:pt x="41" y="17"/>
                      <a:pt x="42" y="18"/>
                    </a:cubicBezTo>
                    <a:cubicBezTo>
                      <a:pt x="42" y="19"/>
                      <a:pt x="42" y="20"/>
                      <a:pt x="42" y="21"/>
                    </a:cubicBezTo>
                    <a:cubicBezTo>
                      <a:pt x="43" y="22"/>
                      <a:pt x="44" y="22"/>
                      <a:pt x="44" y="23"/>
                    </a:cubicBezTo>
                    <a:cubicBezTo>
                      <a:pt x="44" y="24"/>
                      <a:pt x="43" y="24"/>
                      <a:pt x="43" y="24"/>
                    </a:cubicBezTo>
                    <a:cubicBezTo>
                      <a:pt x="42" y="24"/>
                      <a:pt x="41" y="25"/>
                      <a:pt x="41" y="25"/>
                    </a:cubicBezTo>
                    <a:cubicBezTo>
                      <a:pt x="41" y="26"/>
                      <a:pt x="40" y="25"/>
                      <a:pt x="40" y="26"/>
                    </a:cubicBezTo>
                    <a:cubicBezTo>
                      <a:pt x="41" y="27"/>
                      <a:pt x="41" y="28"/>
                      <a:pt x="40" y="28"/>
                    </a:cubicBezTo>
                    <a:cubicBezTo>
                      <a:pt x="39" y="28"/>
                      <a:pt x="39" y="29"/>
                      <a:pt x="38" y="29"/>
                    </a:cubicBezTo>
                    <a:cubicBezTo>
                      <a:pt x="37" y="30"/>
                      <a:pt x="37" y="30"/>
                      <a:pt x="38" y="30"/>
                    </a:cubicBezTo>
                    <a:cubicBezTo>
                      <a:pt x="38" y="31"/>
                      <a:pt x="37" y="31"/>
                      <a:pt x="37" y="32"/>
                    </a:cubicBezTo>
                    <a:cubicBezTo>
                      <a:pt x="37" y="32"/>
                      <a:pt x="36" y="32"/>
                      <a:pt x="36" y="32"/>
                    </a:cubicBezTo>
                    <a:cubicBezTo>
                      <a:pt x="36" y="32"/>
                      <a:pt x="36" y="33"/>
                      <a:pt x="36" y="33"/>
                    </a:cubicBezTo>
                    <a:cubicBezTo>
                      <a:pt x="36" y="33"/>
                      <a:pt x="35" y="32"/>
                      <a:pt x="35" y="32"/>
                    </a:cubicBezTo>
                    <a:cubicBezTo>
                      <a:pt x="35" y="33"/>
                      <a:pt x="34" y="32"/>
                      <a:pt x="33" y="32"/>
                    </a:cubicBezTo>
                    <a:cubicBezTo>
                      <a:pt x="33" y="32"/>
                      <a:pt x="33" y="33"/>
                      <a:pt x="32" y="33"/>
                    </a:cubicBezTo>
                    <a:cubicBezTo>
                      <a:pt x="32" y="34"/>
                      <a:pt x="33" y="34"/>
                      <a:pt x="32" y="34"/>
                    </a:cubicBezTo>
                    <a:cubicBezTo>
                      <a:pt x="32" y="35"/>
                      <a:pt x="30" y="35"/>
                      <a:pt x="30" y="36"/>
                    </a:cubicBezTo>
                    <a:cubicBezTo>
                      <a:pt x="31" y="37"/>
                      <a:pt x="31" y="37"/>
                      <a:pt x="31" y="37"/>
                    </a:cubicBezTo>
                    <a:cubicBezTo>
                      <a:pt x="32" y="37"/>
                      <a:pt x="32" y="38"/>
                      <a:pt x="32" y="38"/>
                    </a:cubicBezTo>
                    <a:cubicBezTo>
                      <a:pt x="32" y="39"/>
                      <a:pt x="33" y="40"/>
                      <a:pt x="33" y="40"/>
                    </a:cubicBezTo>
                    <a:cubicBezTo>
                      <a:pt x="33" y="40"/>
                      <a:pt x="32" y="39"/>
                      <a:pt x="32" y="39"/>
                    </a:cubicBezTo>
                    <a:cubicBezTo>
                      <a:pt x="32" y="39"/>
                      <a:pt x="31" y="39"/>
                      <a:pt x="31" y="40"/>
                    </a:cubicBezTo>
                    <a:cubicBezTo>
                      <a:pt x="31" y="40"/>
                      <a:pt x="32" y="40"/>
                      <a:pt x="32" y="40"/>
                    </a:cubicBezTo>
                    <a:cubicBezTo>
                      <a:pt x="32" y="40"/>
                      <a:pt x="32" y="40"/>
                      <a:pt x="32" y="40"/>
                    </a:cubicBezTo>
                    <a:cubicBezTo>
                      <a:pt x="32" y="40"/>
                      <a:pt x="32" y="40"/>
                      <a:pt x="32" y="40"/>
                    </a:cubicBezTo>
                    <a:cubicBezTo>
                      <a:pt x="32" y="40"/>
                      <a:pt x="32" y="40"/>
                      <a:pt x="31" y="40"/>
                    </a:cubicBezTo>
                    <a:cubicBezTo>
                      <a:pt x="31" y="40"/>
                      <a:pt x="32" y="41"/>
                      <a:pt x="32" y="41"/>
                    </a:cubicBezTo>
                    <a:cubicBezTo>
                      <a:pt x="32" y="42"/>
                      <a:pt x="33" y="42"/>
                      <a:pt x="33" y="42"/>
                    </a:cubicBezTo>
                    <a:cubicBezTo>
                      <a:pt x="33" y="42"/>
                      <a:pt x="33" y="42"/>
                      <a:pt x="34" y="42"/>
                    </a:cubicBezTo>
                    <a:cubicBezTo>
                      <a:pt x="34" y="42"/>
                      <a:pt x="34" y="42"/>
                      <a:pt x="35" y="42"/>
                    </a:cubicBezTo>
                    <a:cubicBezTo>
                      <a:pt x="35" y="42"/>
                      <a:pt x="35" y="42"/>
                      <a:pt x="36" y="42"/>
                    </a:cubicBezTo>
                    <a:cubicBezTo>
                      <a:pt x="36" y="43"/>
                      <a:pt x="37" y="44"/>
                      <a:pt x="38" y="44"/>
                    </a:cubicBezTo>
                    <a:cubicBezTo>
                      <a:pt x="38" y="45"/>
                      <a:pt x="39" y="45"/>
                      <a:pt x="39" y="45"/>
                    </a:cubicBezTo>
                    <a:cubicBezTo>
                      <a:pt x="40" y="46"/>
                      <a:pt x="40" y="46"/>
                      <a:pt x="41" y="46"/>
                    </a:cubicBezTo>
                    <a:cubicBezTo>
                      <a:pt x="41" y="47"/>
                      <a:pt x="42" y="47"/>
                      <a:pt x="43" y="47"/>
                    </a:cubicBezTo>
                    <a:cubicBezTo>
                      <a:pt x="43" y="47"/>
                      <a:pt x="44" y="48"/>
                      <a:pt x="44" y="48"/>
                    </a:cubicBezTo>
                    <a:cubicBezTo>
                      <a:pt x="43" y="48"/>
                      <a:pt x="43" y="49"/>
                      <a:pt x="44" y="49"/>
                    </a:cubicBezTo>
                    <a:cubicBezTo>
                      <a:pt x="44" y="50"/>
                      <a:pt x="44" y="51"/>
                      <a:pt x="43" y="51"/>
                    </a:cubicBezTo>
                    <a:cubicBezTo>
                      <a:pt x="42" y="51"/>
                      <a:pt x="41" y="51"/>
                      <a:pt x="40" y="51"/>
                    </a:cubicBezTo>
                    <a:cubicBezTo>
                      <a:pt x="40" y="51"/>
                      <a:pt x="39" y="51"/>
                      <a:pt x="38" y="51"/>
                    </a:cubicBezTo>
                    <a:cubicBezTo>
                      <a:pt x="38" y="51"/>
                      <a:pt x="37" y="51"/>
                      <a:pt x="37" y="51"/>
                    </a:cubicBezTo>
                    <a:cubicBezTo>
                      <a:pt x="36" y="51"/>
                      <a:pt x="36" y="51"/>
                      <a:pt x="35" y="51"/>
                    </a:cubicBezTo>
                    <a:cubicBezTo>
                      <a:pt x="35" y="51"/>
                      <a:pt x="34" y="52"/>
                      <a:pt x="34" y="52"/>
                    </a:cubicBezTo>
                    <a:cubicBezTo>
                      <a:pt x="33" y="53"/>
                      <a:pt x="33" y="54"/>
                      <a:pt x="33" y="54"/>
                    </a:cubicBezTo>
                    <a:cubicBezTo>
                      <a:pt x="33" y="55"/>
                      <a:pt x="33" y="55"/>
                      <a:pt x="32" y="55"/>
                    </a:cubicBezTo>
                    <a:cubicBezTo>
                      <a:pt x="32" y="55"/>
                      <a:pt x="32" y="56"/>
                      <a:pt x="32" y="56"/>
                    </a:cubicBezTo>
                    <a:cubicBezTo>
                      <a:pt x="32" y="57"/>
                      <a:pt x="32" y="57"/>
                      <a:pt x="31" y="57"/>
                    </a:cubicBezTo>
                    <a:cubicBezTo>
                      <a:pt x="31" y="57"/>
                      <a:pt x="30" y="56"/>
                      <a:pt x="29" y="56"/>
                    </a:cubicBezTo>
                    <a:cubicBezTo>
                      <a:pt x="29" y="56"/>
                      <a:pt x="28" y="56"/>
                      <a:pt x="28" y="56"/>
                    </a:cubicBezTo>
                    <a:cubicBezTo>
                      <a:pt x="28" y="56"/>
                      <a:pt x="28" y="57"/>
                      <a:pt x="28" y="57"/>
                    </a:cubicBezTo>
                    <a:cubicBezTo>
                      <a:pt x="28" y="58"/>
                      <a:pt x="28" y="58"/>
                      <a:pt x="27" y="57"/>
                    </a:cubicBezTo>
                    <a:cubicBezTo>
                      <a:pt x="27" y="57"/>
                      <a:pt x="27" y="57"/>
                      <a:pt x="27" y="56"/>
                    </a:cubicBezTo>
                    <a:cubicBezTo>
                      <a:pt x="26" y="56"/>
                      <a:pt x="25" y="56"/>
                      <a:pt x="25" y="56"/>
                    </a:cubicBezTo>
                    <a:cubicBezTo>
                      <a:pt x="25" y="56"/>
                      <a:pt x="26" y="57"/>
                      <a:pt x="26" y="57"/>
                    </a:cubicBezTo>
                    <a:cubicBezTo>
                      <a:pt x="25" y="56"/>
                      <a:pt x="25" y="56"/>
                      <a:pt x="24" y="55"/>
                    </a:cubicBezTo>
                    <a:cubicBezTo>
                      <a:pt x="23" y="55"/>
                      <a:pt x="23" y="55"/>
                      <a:pt x="22" y="54"/>
                    </a:cubicBezTo>
                    <a:cubicBezTo>
                      <a:pt x="20" y="54"/>
                      <a:pt x="23" y="55"/>
                      <a:pt x="23" y="56"/>
                    </a:cubicBezTo>
                    <a:cubicBezTo>
                      <a:pt x="23" y="56"/>
                      <a:pt x="23" y="56"/>
                      <a:pt x="22" y="56"/>
                    </a:cubicBezTo>
                    <a:cubicBezTo>
                      <a:pt x="23" y="56"/>
                      <a:pt x="23" y="57"/>
                      <a:pt x="23" y="57"/>
                    </a:cubicBezTo>
                    <a:cubicBezTo>
                      <a:pt x="23" y="58"/>
                      <a:pt x="22" y="57"/>
                      <a:pt x="22" y="57"/>
                    </a:cubicBezTo>
                    <a:cubicBezTo>
                      <a:pt x="22" y="58"/>
                      <a:pt x="22" y="58"/>
                      <a:pt x="22" y="58"/>
                    </a:cubicBezTo>
                    <a:cubicBezTo>
                      <a:pt x="21" y="58"/>
                      <a:pt x="21" y="58"/>
                      <a:pt x="21" y="58"/>
                    </a:cubicBezTo>
                    <a:cubicBezTo>
                      <a:pt x="21" y="58"/>
                      <a:pt x="21" y="58"/>
                      <a:pt x="21" y="58"/>
                    </a:cubicBezTo>
                    <a:cubicBezTo>
                      <a:pt x="21" y="57"/>
                      <a:pt x="21" y="57"/>
                      <a:pt x="21" y="57"/>
                    </a:cubicBezTo>
                    <a:cubicBezTo>
                      <a:pt x="21" y="57"/>
                      <a:pt x="21" y="57"/>
                      <a:pt x="21" y="57"/>
                    </a:cubicBezTo>
                    <a:cubicBezTo>
                      <a:pt x="21" y="57"/>
                      <a:pt x="22" y="57"/>
                      <a:pt x="22" y="57"/>
                    </a:cubicBezTo>
                    <a:cubicBezTo>
                      <a:pt x="22" y="57"/>
                      <a:pt x="21" y="56"/>
                      <a:pt x="21" y="56"/>
                    </a:cubicBezTo>
                    <a:cubicBezTo>
                      <a:pt x="21" y="55"/>
                      <a:pt x="21" y="56"/>
                      <a:pt x="20" y="56"/>
                    </a:cubicBezTo>
                    <a:cubicBezTo>
                      <a:pt x="21" y="56"/>
                      <a:pt x="21" y="56"/>
                      <a:pt x="21" y="56"/>
                    </a:cubicBezTo>
                    <a:cubicBezTo>
                      <a:pt x="21" y="56"/>
                      <a:pt x="21" y="56"/>
                      <a:pt x="20" y="56"/>
                    </a:cubicBezTo>
                    <a:cubicBezTo>
                      <a:pt x="20" y="56"/>
                      <a:pt x="20" y="57"/>
                      <a:pt x="20" y="57"/>
                    </a:cubicBezTo>
                    <a:cubicBezTo>
                      <a:pt x="19" y="57"/>
                      <a:pt x="20" y="56"/>
                      <a:pt x="20" y="56"/>
                    </a:cubicBezTo>
                    <a:cubicBezTo>
                      <a:pt x="19" y="56"/>
                      <a:pt x="19" y="55"/>
                      <a:pt x="19" y="56"/>
                    </a:cubicBezTo>
                    <a:cubicBezTo>
                      <a:pt x="19" y="56"/>
                      <a:pt x="18" y="56"/>
                      <a:pt x="17" y="56"/>
                    </a:cubicBezTo>
                    <a:cubicBezTo>
                      <a:pt x="17" y="56"/>
                      <a:pt x="16" y="55"/>
                      <a:pt x="17" y="55"/>
                    </a:cubicBezTo>
                    <a:cubicBezTo>
                      <a:pt x="17" y="55"/>
                      <a:pt x="18" y="55"/>
                      <a:pt x="18" y="55"/>
                    </a:cubicBezTo>
                    <a:cubicBezTo>
                      <a:pt x="18" y="55"/>
                      <a:pt x="17" y="55"/>
                      <a:pt x="17" y="54"/>
                    </a:cubicBezTo>
                    <a:cubicBezTo>
                      <a:pt x="17" y="54"/>
                      <a:pt x="18" y="55"/>
                      <a:pt x="18" y="55"/>
                    </a:cubicBezTo>
                    <a:cubicBezTo>
                      <a:pt x="19" y="54"/>
                      <a:pt x="18" y="54"/>
                      <a:pt x="18" y="54"/>
                    </a:cubicBezTo>
                    <a:cubicBezTo>
                      <a:pt x="17" y="54"/>
                      <a:pt x="16" y="54"/>
                      <a:pt x="16" y="54"/>
                    </a:cubicBezTo>
                    <a:cubicBezTo>
                      <a:pt x="15" y="54"/>
                      <a:pt x="15" y="53"/>
                      <a:pt x="14" y="54"/>
                    </a:cubicBezTo>
                    <a:cubicBezTo>
                      <a:pt x="14" y="54"/>
                      <a:pt x="13" y="54"/>
                      <a:pt x="13" y="53"/>
                    </a:cubicBezTo>
                    <a:cubicBezTo>
                      <a:pt x="13" y="53"/>
                      <a:pt x="13" y="53"/>
                      <a:pt x="14" y="53"/>
                    </a:cubicBezTo>
                    <a:cubicBezTo>
                      <a:pt x="14" y="53"/>
                      <a:pt x="14" y="52"/>
                      <a:pt x="14" y="52"/>
                    </a:cubicBezTo>
                    <a:cubicBezTo>
                      <a:pt x="14" y="52"/>
                      <a:pt x="15" y="53"/>
                      <a:pt x="15" y="52"/>
                    </a:cubicBezTo>
                    <a:cubicBezTo>
                      <a:pt x="15" y="52"/>
                      <a:pt x="14" y="52"/>
                      <a:pt x="14" y="52"/>
                    </a:cubicBezTo>
                    <a:cubicBezTo>
                      <a:pt x="13" y="52"/>
                      <a:pt x="14" y="50"/>
                      <a:pt x="14" y="50"/>
                    </a:cubicBezTo>
                    <a:cubicBezTo>
                      <a:pt x="14" y="50"/>
                      <a:pt x="14" y="48"/>
                      <a:pt x="14" y="48"/>
                    </a:cubicBezTo>
                    <a:cubicBezTo>
                      <a:pt x="14" y="48"/>
                      <a:pt x="14" y="49"/>
                      <a:pt x="14" y="49"/>
                    </a:cubicBezTo>
                    <a:cubicBezTo>
                      <a:pt x="15" y="48"/>
                      <a:pt x="14" y="48"/>
                      <a:pt x="14" y="48"/>
                    </a:cubicBezTo>
                    <a:cubicBezTo>
                      <a:pt x="14" y="47"/>
                      <a:pt x="15" y="48"/>
                      <a:pt x="15" y="48"/>
                    </a:cubicBezTo>
                    <a:cubicBezTo>
                      <a:pt x="15" y="48"/>
                      <a:pt x="15" y="48"/>
                      <a:pt x="15" y="48"/>
                    </a:cubicBezTo>
                    <a:cubicBezTo>
                      <a:pt x="15" y="47"/>
                      <a:pt x="16" y="48"/>
                      <a:pt x="16" y="47"/>
                    </a:cubicBezTo>
                    <a:cubicBezTo>
                      <a:pt x="17" y="47"/>
                      <a:pt x="17" y="47"/>
                      <a:pt x="18" y="47"/>
                    </a:cubicBezTo>
                    <a:cubicBezTo>
                      <a:pt x="18" y="47"/>
                      <a:pt x="18" y="48"/>
                      <a:pt x="18" y="47"/>
                    </a:cubicBezTo>
                    <a:cubicBezTo>
                      <a:pt x="18" y="47"/>
                      <a:pt x="18" y="47"/>
                      <a:pt x="18" y="47"/>
                    </a:cubicBezTo>
                    <a:cubicBezTo>
                      <a:pt x="19" y="48"/>
                      <a:pt x="19" y="48"/>
                      <a:pt x="19" y="48"/>
                    </a:cubicBezTo>
                    <a:cubicBezTo>
                      <a:pt x="19" y="47"/>
                      <a:pt x="17" y="47"/>
                      <a:pt x="17" y="46"/>
                    </a:cubicBezTo>
                    <a:cubicBezTo>
                      <a:pt x="16" y="47"/>
                      <a:pt x="17" y="47"/>
                      <a:pt x="17" y="47"/>
                    </a:cubicBezTo>
                    <a:cubicBezTo>
                      <a:pt x="17" y="47"/>
                      <a:pt x="16" y="47"/>
                      <a:pt x="16" y="47"/>
                    </a:cubicBezTo>
                    <a:cubicBezTo>
                      <a:pt x="16" y="47"/>
                      <a:pt x="16" y="47"/>
                      <a:pt x="16" y="47"/>
                    </a:cubicBezTo>
                    <a:cubicBezTo>
                      <a:pt x="16" y="47"/>
                      <a:pt x="15" y="47"/>
                      <a:pt x="15" y="47"/>
                    </a:cubicBezTo>
                    <a:cubicBezTo>
                      <a:pt x="15" y="47"/>
                      <a:pt x="15" y="46"/>
                      <a:pt x="15" y="46"/>
                    </a:cubicBezTo>
                    <a:cubicBezTo>
                      <a:pt x="15" y="46"/>
                      <a:pt x="15" y="46"/>
                      <a:pt x="15" y="47"/>
                    </a:cubicBezTo>
                    <a:cubicBezTo>
                      <a:pt x="14" y="46"/>
                      <a:pt x="14" y="46"/>
                      <a:pt x="14" y="46"/>
                    </a:cubicBezTo>
                    <a:cubicBezTo>
                      <a:pt x="13" y="45"/>
                      <a:pt x="14" y="45"/>
                      <a:pt x="14" y="44"/>
                    </a:cubicBezTo>
                    <a:cubicBezTo>
                      <a:pt x="13" y="44"/>
                      <a:pt x="14" y="44"/>
                      <a:pt x="13" y="44"/>
                    </a:cubicBezTo>
                    <a:cubicBezTo>
                      <a:pt x="13" y="43"/>
                      <a:pt x="14" y="43"/>
                      <a:pt x="14" y="43"/>
                    </a:cubicBezTo>
                    <a:cubicBezTo>
                      <a:pt x="13" y="43"/>
                      <a:pt x="13" y="41"/>
                      <a:pt x="14" y="41"/>
                    </a:cubicBezTo>
                    <a:cubicBezTo>
                      <a:pt x="14" y="41"/>
                      <a:pt x="14" y="41"/>
                      <a:pt x="14" y="40"/>
                    </a:cubicBezTo>
                    <a:cubicBezTo>
                      <a:pt x="14" y="40"/>
                      <a:pt x="13" y="40"/>
                      <a:pt x="13" y="40"/>
                    </a:cubicBezTo>
                    <a:cubicBezTo>
                      <a:pt x="13" y="40"/>
                      <a:pt x="13" y="40"/>
                      <a:pt x="14" y="40"/>
                    </a:cubicBezTo>
                    <a:cubicBezTo>
                      <a:pt x="14" y="40"/>
                      <a:pt x="12" y="39"/>
                      <a:pt x="12" y="39"/>
                    </a:cubicBezTo>
                    <a:cubicBezTo>
                      <a:pt x="12" y="39"/>
                      <a:pt x="13" y="37"/>
                      <a:pt x="12" y="38"/>
                    </a:cubicBezTo>
                    <a:cubicBezTo>
                      <a:pt x="12" y="38"/>
                      <a:pt x="12" y="38"/>
                      <a:pt x="11" y="38"/>
                    </a:cubicBezTo>
                    <a:cubicBezTo>
                      <a:pt x="11" y="38"/>
                      <a:pt x="10" y="37"/>
                      <a:pt x="10" y="38"/>
                    </a:cubicBezTo>
                    <a:cubicBezTo>
                      <a:pt x="10" y="38"/>
                      <a:pt x="8" y="37"/>
                      <a:pt x="8" y="37"/>
                    </a:cubicBezTo>
                    <a:cubicBezTo>
                      <a:pt x="8" y="36"/>
                      <a:pt x="7" y="36"/>
                      <a:pt x="7" y="36"/>
                    </a:cubicBezTo>
                    <a:cubicBezTo>
                      <a:pt x="6" y="36"/>
                      <a:pt x="6" y="36"/>
                      <a:pt x="5" y="35"/>
                    </a:cubicBezTo>
                    <a:cubicBezTo>
                      <a:pt x="5" y="36"/>
                      <a:pt x="6" y="36"/>
                      <a:pt x="6" y="36"/>
                    </a:cubicBezTo>
                    <a:cubicBezTo>
                      <a:pt x="6" y="37"/>
                      <a:pt x="5" y="38"/>
                      <a:pt x="5" y="37"/>
                    </a:cubicBezTo>
                    <a:cubicBezTo>
                      <a:pt x="5" y="37"/>
                      <a:pt x="5" y="36"/>
                      <a:pt x="5" y="36"/>
                    </a:cubicBezTo>
                    <a:cubicBezTo>
                      <a:pt x="4" y="36"/>
                      <a:pt x="4" y="35"/>
                      <a:pt x="3" y="35"/>
                    </a:cubicBezTo>
                    <a:cubicBezTo>
                      <a:pt x="3" y="35"/>
                      <a:pt x="1" y="35"/>
                      <a:pt x="1" y="34"/>
                    </a:cubicBezTo>
                    <a:cubicBezTo>
                      <a:pt x="1" y="34"/>
                      <a:pt x="1" y="33"/>
                      <a:pt x="1" y="33"/>
                    </a:cubicBezTo>
                    <a:cubicBezTo>
                      <a:pt x="1" y="32"/>
                      <a:pt x="1" y="33"/>
                      <a:pt x="2" y="33"/>
                    </a:cubicBezTo>
                    <a:cubicBezTo>
                      <a:pt x="1" y="32"/>
                      <a:pt x="0" y="32"/>
                      <a:pt x="0" y="32"/>
                    </a:cubicBezTo>
                    <a:cubicBezTo>
                      <a:pt x="1" y="31"/>
                      <a:pt x="1" y="30"/>
                      <a:pt x="2" y="30"/>
                    </a:cubicBezTo>
                    <a:cubicBezTo>
                      <a:pt x="2" y="29"/>
                      <a:pt x="2" y="29"/>
                      <a:pt x="2" y="29"/>
                    </a:cubicBezTo>
                    <a:cubicBezTo>
                      <a:pt x="2" y="28"/>
                      <a:pt x="3" y="28"/>
                      <a:pt x="3" y="28"/>
                    </a:cubicBezTo>
                    <a:cubicBezTo>
                      <a:pt x="3" y="27"/>
                      <a:pt x="4" y="28"/>
                      <a:pt x="4" y="28"/>
                    </a:cubicBezTo>
                    <a:cubicBezTo>
                      <a:pt x="4" y="28"/>
                      <a:pt x="4" y="27"/>
                      <a:pt x="4" y="27"/>
                    </a:cubicBezTo>
                    <a:cubicBezTo>
                      <a:pt x="4" y="27"/>
                      <a:pt x="4" y="27"/>
                      <a:pt x="4" y="27"/>
                    </a:cubicBezTo>
                    <a:cubicBezTo>
                      <a:pt x="5" y="26"/>
                      <a:pt x="5" y="26"/>
                      <a:pt x="6" y="26"/>
                    </a:cubicBezTo>
                    <a:cubicBezTo>
                      <a:pt x="6" y="26"/>
                      <a:pt x="7" y="26"/>
                      <a:pt x="7" y="26"/>
                    </a:cubicBezTo>
                    <a:cubicBezTo>
                      <a:pt x="7" y="26"/>
                      <a:pt x="7" y="26"/>
                      <a:pt x="7" y="25"/>
                    </a:cubicBezTo>
                    <a:cubicBezTo>
                      <a:pt x="7" y="25"/>
                      <a:pt x="7" y="25"/>
                      <a:pt x="7" y="25"/>
                    </a:cubicBezTo>
                    <a:cubicBezTo>
                      <a:pt x="7" y="25"/>
                      <a:pt x="7" y="24"/>
                      <a:pt x="7" y="24"/>
                    </a:cubicBezTo>
                    <a:cubicBezTo>
                      <a:pt x="8" y="25"/>
                      <a:pt x="8" y="25"/>
                      <a:pt x="8" y="24"/>
                    </a:cubicBezTo>
                    <a:cubicBezTo>
                      <a:pt x="8" y="25"/>
                      <a:pt x="8" y="24"/>
                      <a:pt x="8" y="24"/>
                    </a:cubicBezTo>
                    <a:cubicBezTo>
                      <a:pt x="8" y="24"/>
                      <a:pt x="8" y="23"/>
                      <a:pt x="9" y="23"/>
                    </a:cubicBezTo>
                    <a:cubicBezTo>
                      <a:pt x="9" y="23"/>
                      <a:pt x="9" y="24"/>
                      <a:pt x="9" y="23"/>
                    </a:cubicBezTo>
                    <a:cubicBezTo>
                      <a:pt x="10" y="23"/>
                      <a:pt x="10" y="23"/>
                      <a:pt x="11" y="23"/>
                    </a:cubicBezTo>
                    <a:cubicBezTo>
                      <a:pt x="10" y="23"/>
                      <a:pt x="11" y="22"/>
                      <a:pt x="11" y="22"/>
                    </a:cubicBezTo>
                    <a:cubicBezTo>
                      <a:pt x="11" y="21"/>
                      <a:pt x="11" y="21"/>
                      <a:pt x="11" y="20"/>
                    </a:cubicBezTo>
                    <a:cubicBezTo>
                      <a:pt x="12" y="20"/>
                      <a:pt x="12" y="19"/>
                      <a:pt x="12" y="19"/>
                    </a:cubicBezTo>
                    <a:cubicBezTo>
                      <a:pt x="12" y="19"/>
                      <a:pt x="12" y="18"/>
                      <a:pt x="12" y="18"/>
                    </a:cubicBezTo>
                    <a:cubicBezTo>
                      <a:pt x="12" y="18"/>
                      <a:pt x="12" y="18"/>
                      <a:pt x="12" y="18"/>
                    </a:cubicBezTo>
                    <a:cubicBezTo>
                      <a:pt x="13" y="18"/>
                      <a:pt x="12" y="18"/>
                      <a:pt x="12" y="17"/>
                    </a:cubicBezTo>
                    <a:cubicBezTo>
                      <a:pt x="12" y="17"/>
                      <a:pt x="12" y="17"/>
                      <a:pt x="12" y="16"/>
                    </a:cubicBezTo>
                    <a:cubicBezTo>
                      <a:pt x="12" y="16"/>
                      <a:pt x="12" y="16"/>
                      <a:pt x="12" y="15"/>
                    </a:cubicBezTo>
                    <a:cubicBezTo>
                      <a:pt x="11" y="15"/>
                      <a:pt x="12" y="15"/>
                      <a:pt x="12" y="15"/>
                    </a:cubicBezTo>
                    <a:cubicBezTo>
                      <a:pt x="12" y="14"/>
                      <a:pt x="12" y="14"/>
                      <a:pt x="12" y="14"/>
                    </a:cubicBezTo>
                    <a:cubicBezTo>
                      <a:pt x="12" y="14"/>
                      <a:pt x="13" y="15"/>
                      <a:pt x="13" y="14"/>
                    </a:cubicBezTo>
                    <a:cubicBezTo>
                      <a:pt x="14" y="14"/>
                      <a:pt x="13" y="13"/>
                      <a:pt x="14" y="13"/>
                    </a:cubicBezTo>
                    <a:cubicBezTo>
                      <a:pt x="14" y="14"/>
                      <a:pt x="14" y="14"/>
                      <a:pt x="15" y="14"/>
                    </a:cubicBezTo>
                    <a:cubicBezTo>
                      <a:pt x="15" y="14"/>
                      <a:pt x="15" y="14"/>
                      <a:pt x="16" y="15"/>
                    </a:cubicBezTo>
                    <a:cubicBezTo>
                      <a:pt x="15" y="15"/>
                      <a:pt x="17" y="15"/>
                      <a:pt x="17" y="16"/>
                    </a:cubicBezTo>
                    <a:cubicBezTo>
                      <a:pt x="17" y="16"/>
                      <a:pt x="17" y="16"/>
                      <a:pt x="17" y="16"/>
                    </a:cubicBezTo>
                    <a:cubicBezTo>
                      <a:pt x="17" y="16"/>
                      <a:pt x="18" y="16"/>
                      <a:pt x="18" y="16"/>
                    </a:cubicBezTo>
                    <a:cubicBezTo>
                      <a:pt x="19" y="17"/>
                      <a:pt x="18" y="17"/>
                      <a:pt x="19" y="17"/>
                    </a:cubicBezTo>
                    <a:cubicBezTo>
                      <a:pt x="19" y="17"/>
                      <a:pt x="19" y="17"/>
                      <a:pt x="20" y="17"/>
                    </a:cubicBezTo>
                    <a:cubicBezTo>
                      <a:pt x="20" y="17"/>
                      <a:pt x="21" y="17"/>
                      <a:pt x="22" y="17"/>
                    </a:cubicBezTo>
                    <a:cubicBezTo>
                      <a:pt x="22" y="18"/>
                      <a:pt x="23" y="18"/>
                      <a:pt x="24" y="17"/>
                    </a:cubicBezTo>
                    <a:cubicBezTo>
                      <a:pt x="24" y="17"/>
                      <a:pt x="24" y="17"/>
                      <a:pt x="25" y="17"/>
                    </a:cubicBezTo>
                    <a:cubicBezTo>
                      <a:pt x="26" y="17"/>
                      <a:pt x="27" y="19"/>
                      <a:pt x="27" y="17"/>
                    </a:cubicBezTo>
                    <a:cubicBezTo>
                      <a:pt x="27" y="15"/>
                      <a:pt x="26" y="15"/>
                      <a:pt x="25" y="14"/>
                    </a:cubicBezTo>
                    <a:cubicBezTo>
                      <a:pt x="25" y="14"/>
                      <a:pt x="21" y="11"/>
                      <a:pt x="23" y="11"/>
                    </a:cubicBezTo>
                    <a:cubicBezTo>
                      <a:pt x="24" y="11"/>
                      <a:pt x="25" y="10"/>
                      <a:pt x="26" y="11"/>
                    </a:cubicBezTo>
                    <a:cubicBezTo>
                      <a:pt x="26" y="11"/>
                      <a:pt x="26" y="11"/>
                      <a:pt x="28" y="11"/>
                    </a:cubicBezTo>
                    <a:cubicBezTo>
                      <a:pt x="28" y="11"/>
                      <a:pt x="29" y="10"/>
                      <a:pt x="29" y="11"/>
                    </a:cubicBezTo>
                    <a:cubicBezTo>
                      <a:pt x="29" y="11"/>
                      <a:pt x="30" y="11"/>
                      <a:pt x="30" y="11"/>
                    </a:cubicBezTo>
                    <a:cubicBezTo>
                      <a:pt x="30" y="11"/>
                      <a:pt x="30" y="10"/>
                      <a:pt x="30" y="10"/>
                    </a:cubicBezTo>
                    <a:cubicBezTo>
                      <a:pt x="31" y="9"/>
                      <a:pt x="31" y="10"/>
                      <a:pt x="31" y="9"/>
                    </a:cubicBezTo>
                    <a:cubicBezTo>
                      <a:pt x="31" y="9"/>
                      <a:pt x="31" y="9"/>
                      <a:pt x="31" y="8"/>
                    </a:cubicBezTo>
                    <a:cubicBezTo>
                      <a:pt x="31" y="8"/>
                      <a:pt x="31" y="8"/>
                      <a:pt x="31" y="8"/>
                    </a:cubicBezTo>
                    <a:cubicBezTo>
                      <a:pt x="31" y="7"/>
                      <a:pt x="31" y="7"/>
                      <a:pt x="31" y="7"/>
                    </a:cubicBezTo>
                    <a:cubicBezTo>
                      <a:pt x="31" y="7"/>
                      <a:pt x="32" y="7"/>
                      <a:pt x="31" y="6"/>
                    </a:cubicBezTo>
                    <a:cubicBezTo>
                      <a:pt x="32" y="6"/>
                      <a:pt x="32" y="6"/>
                      <a:pt x="32" y="6"/>
                    </a:cubicBezTo>
                    <a:cubicBezTo>
                      <a:pt x="32" y="6"/>
                      <a:pt x="33" y="7"/>
                      <a:pt x="33" y="7"/>
                    </a:cubicBezTo>
                    <a:cubicBezTo>
                      <a:pt x="33" y="7"/>
                      <a:pt x="33" y="7"/>
                      <a:pt x="33" y="7"/>
                    </a:cubicBezTo>
                    <a:cubicBezTo>
                      <a:pt x="34" y="7"/>
                      <a:pt x="34" y="6"/>
                      <a:pt x="34" y="6"/>
                    </a:cubicBezTo>
                    <a:cubicBezTo>
                      <a:pt x="34" y="6"/>
                      <a:pt x="35" y="7"/>
                      <a:pt x="34" y="6"/>
                    </a:cubicBezTo>
                    <a:cubicBezTo>
                      <a:pt x="34" y="5"/>
                      <a:pt x="34" y="4"/>
                      <a:pt x="34" y="4"/>
                    </a:cubicBezTo>
                    <a:cubicBezTo>
                      <a:pt x="34" y="3"/>
                      <a:pt x="34" y="4"/>
                      <a:pt x="33" y="3"/>
                    </a:cubicBezTo>
                    <a:cubicBezTo>
                      <a:pt x="33" y="3"/>
                      <a:pt x="33" y="2"/>
                      <a:pt x="33" y="2"/>
                    </a:cubicBezTo>
                    <a:cubicBezTo>
                      <a:pt x="33" y="2"/>
                      <a:pt x="33" y="0"/>
                      <a:pt x="33" y="0"/>
                    </a:cubicBezTo>
                    <a:cubicBezTo>
                      <a:pt x="33" y="0"/>
                      <a:pt x="33" y="0"/>
                      <a:pt x="33" y="0"/>
                    </a:cubicBezTo>
                    <a:cubicBezTo>
                      <a:pt x="34" y="1"/>
                      <a:pt x="34" y="0"/>
                      <a:pt x="35" y="0"/>
                    </a:cubicBezTo>
                    <a:cubicBezTo>
                      <a:pt x="35" y="0"/>
                      <a:pt x="35" y="1"/>
                      <a:pt x="35" y="1"/>
                    </a:cubicBezTo>
                    <a:cubicBezTo>
                      <a:pt x="36" y="1"/>
                      <a:pt x="36" y="1"/>
                      <a:pt x="37" y="1"/>
                    </a:cubicBezTo>
                    <a:cubicBezTo>
                      <a:pt x="37" y="2"/>
                      <a:pt x="37" y="2"/>
                      <a:pt x="37" y="3"/>
                    </a:cubicBezTo>
                    <a:cubicBezTo>
                      <a:pt x="38" y="3"/>
                      <a:pt x="38" y="4"/>
                      <a:pt x="39" y="4"/>
                    </a:cubicBezTo>
                    <a:cubicBezTo>
                      <a:pt x="39" y="4"/>
                      <a:pt x="41" y="5"/>
                      <a:pt x="41" y="5"/>
                    </a:cubicBezTo>
                    <a:cubicBezTo>
                      <a:pt x="41" y="5"/>
                      <a:pt x="40" y="4"/>
                      <a:pt x="40" y="4"/>
                    </a:cubicBezTo>
                    <a:cubicBezTo>
                      <a:pt x="41" y="4"/>
                      <a:pt x="41" y="5"/>
                      <a:pt x="42" y="6"/>
                    </a:cubicBezTo>
                    <a:cubicBezTo>
                      <a:pt x="42" y="6"/>
                      <a:pt x="43" y="6"/>
                      <a:pt x="43" y="7"/>
                    </a:cubicBezTo>
                    <a:cubicBezTo>
                      <a:pt x="43" y="7"/>
                      <a:pt x="44" y="8"/>
                      <a:pt x="44" y="8"/>
                    </a:cubicBezTo>
                    <a:cubicBezTo>
                      <a:pt x="44" y="8"/>
                      <a:pt x="44" y="8"/>
                      <a:pt x="43" y="8"/>
                    </a:cubicBezTo>
                    <a:cubicBezTo>
                      <a:pt x="43" y="7"/>
                      <a:pt x="42" y="8"/>
                      <a:pt x="41" y="8"/>
                    </a:cubicBezTo>
                    <a:close/>
                    <a:moveTo>
                      <a:pt x="13" y="55"/>
                    </a:moveTo>
                    <a:cubicBezTo>
                      <a:pt x="13" y="55"/>
                      <a:pt x="14" y="56"/>
                      <a:pt x="14" y="56"/>
                    </a:cubicBezTo>
                    <a:cubicBezTo>
                      <a:pt x="14" y="55"/>
                      <a:pt x="14" y="55"/>
                      <a:pt x="14" y="55"/>
                    </a:cubicBezTo>
                    <a:cubicBezTo>
                      <a:pt x="14" y="55"/>
                      <a:pt x="14" y="55"/>
                      <a:pt x="14" y="55"/>
                    </a:cubicBezTo>
                    <a:cubicBezTo>
                      <a:pt x="14" y="55"/>
                      <a:pt x="14" y="55"/>
                      <a:pt x="14" y="55"/>
                    </a:cubicBezTo>
                    <a:cubicBezTo>
                      <a:pt x="14" y="55"/>
                      <a:pt x="13" y="55"/>
                      <a:pt x="13" y="5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4" name="Nigeria">
                <a:extLst>
                  <a:ext uri="{FF2B5EF4-FFF2-40B4-BE49-F238E27FC236}">
                    <a16:creationId xmlns:a16="http://schemas.microsoft.com/office/drawing/2014/main" id="{19487FF0-15CB-E992-D1B5-556D01ECB9A2}"/>
                  </a:ext>
                </a:extLst>
              </p:cNvPr>
              <p:cNvSpPr>
                <a:spLocks/>
              </p:cNvSpPr>
              <p:nvPr/>
            </p:nvSpPr>
            <p:spPr bwMode="auto">
              <a:xfrm>
                <a:off x="5788819" y="3501337"/>
                <a:ext cx="411669" cy="376384"/>
              </a:xfrm>
              <a:custGeom>
                <a:avLst/>
                <a:gdLst/>
                <a:ahLst/>
                <a:cxnLst>
                  <a:cxn ang="0">
                    <a:pos x="111" y="18"/>
                  </a:cxn>
                  <a:cxn ang="0">
                    <a:pos x="105" y="3"/>
                  </a:cxn>
                  <a:cxn ang="0">
                    <a:pos x="100" y="4"/>
                  </a:cxn>
                  <a:cxn ang="0">
                    <a:pos x="95" y="9"/>
                  </a:cxn>
                  <a:cxn ang="0">
                    <a:pos x="85" y="6"/>
                  </a:cxn>
                  <a:cxn ang="0">
                    <a:pos x="70" y="8"/>
                  </a:cxn>
                  <a:cxn ang="0">
                    <a:pos x="57" y="11"/>
                  </a:cxn>
                  <a:cxn ang="0">
                    <a:pos x="47" y="8"/>
                  </a:cxn>
                  <a:cxn ang="0">
                    <a:pos x="37" y="5"/>
                  </a:cxn>
                  <a:cxn ang="0">
                    <a:pos x="25" y="2"/>
                  </a:cxn>
                  <a:cxn ang="0">
                    <a:pos x="14" y="5"/>
                  </a:cxn>
                  <a:cxn ang="0">
                    <a:pos x="9" y="20"/>
                  </a:cxn>
                  <a:cxn ang="0">
                    <a:pos x="10" y="31"/>
                  </a:cxn>
                  <a:cxn ang="0">
                    <a:pos x="10" y="39"/>
                  </a:cxn>
                  <a:cxn ang="0">
                    <a:pos x="6" y="46"/>
                  </a:cxn>
                  <a:cxn ang="0">
                    <a:pos x="3" y="54"/>
                  </a:cxn>
                  <a:cxn ang="0">
                    <a:pos x="0" y="62"/>
                  </a:cxn>
                  <a:cxn ang="0">
                    <a:pos x="0" y="73"/>
                  </a:cxn>
                  <a:cxn ang="0">
                    <a:pos x="0" y="81"/>
                  </a:cxn>
                  <a:cxn ang="0">
                    <a:pos x="11" y="81"/>
                  </a:cxn>
                  <a:cxn ang="0">
                    <a:pos x="8" y="82"/>
                  </a:cxn>
                  <a:cxn ang="0">
                    <a:pos x="18" y="85"/>
                  </a:cxn>
                  <a:cxn ang="0">
                    <a:pos x="23" y="90"/>
                  </a:cxn>
                  <a:cxn ang="0">
                    <a:pos x="27" y="91"/>
                  </a:cxn>
                  <a:cxn ang="0">
                    <a:pos x="25" y="94"/>
                  </a:cxn>
                  <a:cxn ang="0">
                    <a:pos x="27" y="93"/>
                  </a:cxn>
                  <a:cxn ang="0">
                    <a:pos x="26" y="96"/>
                  </a:cxn>
                  <a:cxn ang="0">
                    <a:pos x="27" y="100"/>
                  </a:cxn>
                  <a:cxn ang="0">
                    <a:pos x="29" y="104"/>
                  </a:cxn>
                  <a:cxn ang="0">
                    <a:pos x="32" y="106"/>
                  </a:cxn>
                  <a:cxn ang="0">
                    <a:pos x="34" y="106"/>
                  </a:cxn>
                  <a:cxn ang="0">
                    <a:pos x="34" y="105"/>
                  </a:cxn>
                  <a:cxn ang="0">
                    <a:pos x="37" y="104"/>
                  </a:cxn>
                  <a:cxn ang="0">
                    <a:pos x="39" y="105"/>
                  </a:cxn>
                  <a:cxn ang="0">
                    <a:pos x="39" y="100"/>
                  </a:cxn>
                  <a:cxn ang="0">
                    <a:pos x="40" y="105"/>
                  </a:cxn>
                  <a:cxn ang="0">
                    <a:pos x="41" y="103"/>
                  </a:cxn>
                  <a:cxn ang="0">
                    <a:pos x="42" y="104"/>
                  </a:cxn>
                  <a:cxn ang="0">
                    <a:pos x="43" y="102"/>
                  </a:cxn>
                  <a:cxn ang="0">
                    <a:pos x="45" y="103"/>
                  </a:cxn>
                  <a:cxn ang="0">
                    <a:pos x="52" y="103"/>
                  </a:cxn>
                  <a:cxn ang="0">
                    <a:pos x="55" y="100"/>
                  </a:cxn>
                  <a:cxn ang="0">
                    <a:pos x="59" y="94"/>
                  </a:cxn>
                  <a:cxn ang="0">
                    <a:pos x="62" y="87"/>
                  </a:cxn>
                  <a:cxn ang="0">
                    <a:pos x="66" y="82"/>
                  </a:cxn>
                  <a:cxn ang="0">
                    <a:pos x="70" y="78"/>
                  </a:cxn>
                  <a:cxn ang="0">
                    <a:pos x="77" y="76"/>
                  </a:cxn>
                  <a:cxn ang="0">
                    <a:pos x="83" y="83"/>
                  </a:cxn>
                  <a:cxn ang="0">
                    <a:pos x="87" y="76"/>
                  </a:cxn>
                  <a:cxn ang="0">
                    <a:pos x="91" y="68"/>
                  </a:cxn>
                  <a:cxn ang="0">
                    <a:pos x="93" y="60"/>
                  </a:cxn>
                  <a:cxn ang="0">
                    <a:pos x="97" y="57"/>
                  </a:cxn>
                  <a:cxn ang="0">
                    <a:pos x="100" y="49"/>
                  </a:cxn>
                  <a:cxn ang="0">
                    <a:pos x="102" y="42"/>
                  </a:cxn>
                  <a:cxn ang="0">
                    <a:pos x="108" y="31"/>
                  </a:cxn>
                  <a:cxn ang="0">
                    <a:pos x="115" y="27"/>
                  </a:cxn>
                </a:cxnLst>
                <a:rect l="0" t="0" r="r" b="b"/>
                <a:pathLst>
                  <a:path w="116" h="106">
                    <a:moveTo>
                      <a:pt x="115" y="22"/>
                    </a:moveTo>
                    <a:cubicBezTo>
                      <a:pt x="115" y="21"/>
                      <a:pt x="115" y="21"/>
                      <a:pt x="115" y="20"/>
                    </a:cubicBezTo>
                    <a:cubicBezTo>
                      <a:pt x="115" y="20"/>
                      <a:pt x="116" y="20"/>
                      <a:pt x="115" y="19"/>
                    </a:cubicBezTo>
                    <a:cubicBezTo>
                      <a:pt x="115" y="19"/>
                      <a:pt x="114" y="19"/>
                      <a:pt x="114" y="18"/>
                    </a:cubicBezTo>
                    <a:cubicBezTo>
                      <a:pt x="113" y="17"/>
                      <a:pt x="112" y="18"/>
                      <a:pt x="111" y="18"/>
                    </a:cubicBezTo>
                    <a:cubicBezTo>
                      <a:pt x="111" y="17"/>
                      <a:pt x="111" y="16"/>
                      <a:pt x="111" y="16"/>
                    </a:cubicBezTo>
                    <a:cubicBezTo>
                      <a:pt x="111" y="15"/>
                      <a:pt x="111" y="14"/>
                      <a:pt x="110" y="13"/>
                    </a:cubicBezTo>
                    <a:cubicBezTo>
                      <a:pt x="110" y="11"/>
                      <a:pt x="110" y="10"/>
                      <a:pt x="109" y="8"/>
                    </a:cubicBezTo>
                    <a:cubicBezTo>
                      <a:pt x="108" y="7"/>
                      <a:pt x="107" y="5"/>
                      <a:pt x="106" y="4"/>
                    </a:cubicBezTo>
                    <a:cubicBezTo>
                      <a:pt x="106" y="4"/>
                      <a:pt x="106" y="3"/>
                      <a:pt x="105" y="3"/>
                    </a:cubicBezTo>
                    <a:cubicBezTo>
                      <a:pt x="105" y="2"/>
                      <a:pt x="104" y="3"/>
                      <a:pt x="103" y="3"/>
                    </a:cubicBezTo>
                    <a:cubicBezTo>
                      <a:pt x="103" y="3"/>
                      <a:pt x="102" y="3"/>
                      <a:pt x="102" y="4"/>
                    </a:cubicBezTo>
                    <a:cubicBezTo>
                      <a:pt x="102" y="4"/>
                      <a:pt x="101" y="5"/>
                      <a:pt x="101" y="4"/>
                    </a:cubicBezTo>
                    <a:cubicBezTo>
                      <a:pt x="101" y="4"/>
                      <a:pt x="100" y="5"/>
                      <a:pt x="100" y="5"/>
                    </a:cubicBezTo>
                    <a:cubicBezTo>
                      <a:pt x="100" y="5"/>
                      <a:pt x="100" y="4"/>
                      <a:pt x="100" y="4"/>
                    </a:cubicBezTo>
                    <a:cubicBezTo>
                      <a:pt x="99" y="4"/>
                      <a:pt x="99" y="5"/>
                      <a:pt x="98" y="5"/>
                    </a:cubicBezTo>
                    <a:cubicBezTo>
                      <a:pt x="98" y="6"/>
                      <a:pt x="97" y="6"/>
                      <a:pt x="97" y="6"/>
                    </a:cubicBezTo>
                    <a:cubicBezTo>
                      <a:pt x="97" y="6"/>
                      <a:pt x="97" y="7"/>
                      <a:pt x="96" y="7"/>
                    </a:cubicBezTo>
                    <a:cubicBezTo>
                      <a:pt x="96" y="7"/>
                      <a:pt x="95" y="8"/>
                      <a:pt x="95" y="8"/>
                    </a:cubicBezTo>
                    <a:cubicBezTo>
                      <a:pt x="95" y="9"/>
                      <a:pt x="95" y="9"/>
                      <a:pt x="95" y="9"/>
                    </a:cubicBezTo>
                    <a:cubicBezTo>
                      <a:pt x="95" y="9"/>
                      <a:pt x="94" y="9"/>
                      <a:pt x="94" y="9"/>
                    </a:cubicBezTo>
                    <a:cubicBezTo>
                      <a:pt x="94" y="10"/>
                      <a:pt x="94" y="10"/>
                      <a:pt x="93" y="10"/>
                    </a:cubicBezTo>
                    <a:cubicBezTo>
                      <a:pt x="93" y="9"/>
                      <a:pt x="92" y="9"/>
                      <a:pt x="91" y="9"/>
                    </a:cubicBezTo>
                    <a:cubicBezTo>
                      <a:pt x="90" y="9"/>
                      <a:pt x="89" y="8"/>
                      <a:pt x="88" y="8"/>
                    </a:cubicBezTo>
                    <a:cubicBezTo>
                      <a:pt x="87" y="7"/>
                      <a:pt x="86" y="7"/>
                      <a:pt x="85" y="6"/>
                    </a:cubicBezTo>
                    <a:cubicBezTo>
                      <a:pt x="83" y="6"/>
                      <a:pt x="82" y="6"/>
                      <a:pt x="81" y="6"/>
                    </a:cubicBezTo>
                    <a:cubicBezTo>
                      <a:pt x="80" y="6"/>
                      <a:pt x="79" y="6"/>
                      <a:pt x="77" y="6"/>
                    </a:cubicBezTo>
                    <a:cubicBezTo>
                      <a:pt x="76" y="6"/>
                      <a:pt x="76" y="7"/>
                      <a:pt x="75" y="7"/>
                    </a:cubicBezTo>
                    <a:cubicBezTo>
                      <a:pt x="74" y="7"/>
                      <a:pt x="73" y="7"/>
                      <a:pt x="72" y="7"/>
                    </a:cubicBezTo>
                    <a:cubicBezTo>
                      <a:pt x="72" y="8"/>
                      <a:pt x="71" y="8"/>
                      <a:pt x="70" y="8"/>
                    </a:cubicBezTo>
                    <a:cubicBezTo>
                      <a:pt x="70" y="9"/>
                      <a:pt x="70" y="9"/>
                      <a:pt x="69" y="10"/>
                    </a:cubicBezTo>
                    <a:cubicBezTo>
                      <a:pt x="68" y="10"/>
                      <a:pt x="68" y="11"/>
                      <a:pt x="67" y="12"/>
                    </a:cubicBezTo>
                    <a:cubicBezTo>
                      <a:pt x="67" y="13"/>
                      <a:pt x="66" y="12"/>
                      <a:pt x="66" y="12"/>
                    </a:cubicBezTo>
                    <a:cubicBezTo>
                      <a:pt x="64" y="12"/>
                      <a:pt x="62" y="12"/>
                      <a:pt x="60" y="12"/>
                    </a:cubicBezTo>
                    <a:cubicBezTo>
                      <a:pt x="59" y="12"/>
                      <a:pt x="58" y="11"/>
                      <a:pt x="57" y="11"/>
                    </a:cubicBezTo>
                    <a:cubicBezTo>
                      <a:pt x="57" y="10"/>
                      <a:pt x="57" y="10"/>
                      <a:pt x="56" y="10"/>
                    </a:cubicBezTo>
                    <a:cubicBezTo>
                      <a:pt x="55" y="9"/>
                      <a:pt x="55" y="9"/>
                      <a:pt x="55" y="9"/>
                    </a:cubicBezTo>
                    <a:cubicBezTo>
                      <a:pt x="54" y="8"/>
                      <a:pt x="54" y="8"/>
                      <a:pt x="53" y="7"/>
                    </a:cubicBezTo>
                    <a:cubicBezTo>
                      <a:pt x="52" y="7"/>
                      <a:pt x="50" y="6"/>
                      <a:pt x="49" y="7"/>
                    </a:cubicBezTo>
                    <a:cubicBezTo>
                      <a:pt x="48" y="7"/>
                      <a:pt x="48" y="8"/>
                      <a:pt x="47" y="8"/>
                    </a:cubicBezTo>
                    <a:cubicBezTo>
                      <a:pt x="46" y="9"/>
                      <a:pt x="46" y="9"/>
                      <a:pt x="45" y="9"/>
                    </a:cubicBezTo>
                    <a:cubicBezTo>
                      <a:pt x="44" y="9"/>
                      <a:pt x="44" y="9"/>
                      <a:pt x="43" y="9"/>
                    </a:cubicBezTo>
                    <a:cubicBezTo>
                      <a:pt x="43" y="10"/>
                      <a:pt x="43" y="10"/>
                      <a:pt x="42" y="10"/>
                    </a:cubicBezTo>
                    <a:cubicBezTo>
                      <a:pt x="41" y="11"/>
                      <a:pt x="40" y="10"/>
                      <a:pt x="39" y="9"/>
                    </a:cubicBezTo>
                    <a:cubicBezTo>
                      <a:pt x="39" y="7"/>
                      <a:pt x="38" y="6"/>
                      <a:pt x="37" y="5"/>
                    </a:cubicBezTo>
                    <a:cubicBezTo>
                      <a:pt x="37" y="5"/>
                      <a:pt x="35" y="3"/>
                      <a:pt x="34" y="3"/>
                    </a:cubicBezTo>
                    <a:cubicBezTo>
                      <a:pt x="33" y="3"/>
                      <a:pt x="33" y="3"/>
                      <a:pt x="32" y="3"/>
                    </a:cubicBezTo>
                    <a:cubicBezTo>
                      <a:pt x="31" y="2"/>
                      <a:pt x="31" y="2"/>
                      <a:pt x="30" y="2"/>
                    </a:cubicBezTo>
                    <a:cubicBezTo>
                      <a:pt x="29" y="1"/>
                      <a:pt x="27" y="0"/>
                      <a:pt x="26" y="1"/>
                    </a:cubicBezTo>
                    <a:cubicBezTo>
                      <a:pt x="25" y="1"/>
                      <a:pt x="25" y="2"/>
                      <a:pt x="25" y="2"/>
                    </a:cubicBezTo>
                    <a:cubicBezTo>
                      <a:pt x="24" y="2"/>
                      <a:pt x="23" y="2"/>
                      <a:pt x="23" y="2"/>
                    </a:cubicBezTo>
                    <a:cubicBezTo>
                      <a:pt x="22" y="2"/>
                      <a:pt x="22" y="2"/>
                      <a:pt x="21" y="2"/>
                    </a:cubicBezTo>
                    <a:cubicBezTo>
                      <a:pt x="20" y="2"/>
                      <a:pt x="19" y="2"/>
                      <a:pt x="19" y="2"/>
                    </a:cubicBezTo>
                    <a:cubicBezTo>
                      <a:pt x="18" y="3"/>
                      <a:pt x="17" y="3"/>
                      <a:pt x="16" y="4"/>
                    </a:cubicBezTo>
                    <a:cubicBezTo>
                      <a:pt x="16" y="5"/>
                      <a:pt x="15" y="5"/>
                      <a:pt x="14" y="5"/>
                    </a:cubicBezTo>
                    <a:cubicBezTo>
                      <a:pt x="14" y="6"/>
                      <a:pt x="14" y="7"/>
                      <a:pt x="14" y="8"/>
                    </a:cubicBezTo>
                    <a:cubicBezTo>
                      <a:pt x="14" y="9"/>
                      <a:pt x="14" y="11"/>
                      <a:pt x="13" y="12"/>
                    </a:cubicBezTo>
                    <a:cubicBezTo>
                      <a:pt x="12" y="13"/>
                      <a:pt x="11" y="14"/>
                      <a:pt x="10" y="15"/>
                    </a:cubicBezTo>
                    <a:cubicBezTo>
                      <a:pt x="9" y="16"/>
                      <a:pt x="9" y="16"/>
                      <a:pt x="9" y="17"/>
                    </a:cubicBezTo>
                    <a:cubicBezTo>
                      <a:pt x="9" y="18"/>
                      <a:pt x="9" y="19"/>
                      <a:pt x="9" y="20"/>
                    </a:cubicBezTo>
                    <a:cubicBezTo>
                      <a:pt x="9" y="21"/>
                      <a:pt x="10" y="21"/>
                      <a:pt x="9" y="22"/>
                    </a:cubicBezTo>
                    <a:cubicBezTo>
                      <a:pt x="9" y="23"/>
                      <a:pt x="9" y="23"/>
                      <a:pt x="9" y="24"/>
                    </a:cubicBezTo>
                    <a:cubicBezTo>
                      <a:pt x="10" y="24"/>
                      <a:pt x="9" y="25"/>
                      <a:pt x="9" y="25"/>
                    </a:cubicBezTo>
                    <a:cubicBezTo>
                      <a:pt x="8" y="26"/>
                      <a:pt x="8" y="26"/>
                      <a:pt x="8" y="27"/>
                    </a:cubicBezTo>
                    <a:cubicBezTo>
                      <a:pt x="7" y="28"/>
                      <a:pt x="9" y="30"/>
                      <a:pt x="10" y="31"/>
                    </a:cubicBezTo>
                    <a:cubicBezTo>
                      <a:pt x="10" y="31"/>
                      <a:pt x="10" y="31"/>
                      <a:pt x="10" y="31"/>
                    </a:cubicBezTo>
                    <a:cubicBezTo>
                      <a:pt x="10" y="31"/>
                      <a:pt x="10" y="32"/>
                      <a:pt x="10" y="32"/>
                    </a:cubicBezTo>
                    <a:cubicBezTo>
                      <a:pt x="10" y="32"/>
                      <a:pt x="10" y="33"/>
                      <a:pt x="10" y="34"/>
                    </a:cubicBezTo>
                    <a:cubicBezTo>
                      <a:pt x="10" y="35"/>
                      <a:pt x="11" y="36"/>
                      <a:pt x="11" y="37"/>
                    </a:cubicBezTo>
                    <a:cubicBezTo>
                      <a:pt x="11" y="37"/>
                      <a:pt x="11" y="39"/>
                      <a:pt x="10" y="39"/>
                    </a:cubicBezTo>
                    <a:cubicBezTo>
                      <a:pt x="9" y="38"/>
                      <a:pt x="8" y="40"/>
                      <a:pt x="9" y="41"/>
                    </a:cubicBezTo>
                    <a:cubicBezTo>
                      <a:pt x="9" y="41"/>
                      <a:pt x="10" y="42"/>
                      <a:pt x="9" y="42"/>
                    </a:cubicBezTo>
                    <a:cubicBezTo>
                      <a:pt x="9" y="43"/>
                      <a:pt x="9" y="43"/>
                      <a:pt x="9" y="44"/>
                    </a:cubicBezTo>
                    <a:cubicBezTo>
                      <a:pt x="8" y="45"/>
                      <a:pt x="8" y="45"/>
                      <a:pt x="7" y="45"/>
                    </a:cubicBezTo>
                    <a:cubicBezTo>
                      <a:pt x="6" y="45"/>
                      <a:pt x="6" y="46"/>
                      <a:pt x="6" y="46"/>
                    </a:cubicBezTo>
                    <a:cubicBezTo>
                      <a:pt x="6" y="47"/>
                      <a:pt x="6" y="47"/>
                      <a:pt x="5" y="47"/>
                    </a:cubicBezTo>
                    <a:cubicBezTo>
                      <a:pt x="5" y="48"/>
                      <a:pt x="5" y="48"/>
                      <a:pt x="4" y="49"/>
                    </a:cubicBezTo>
                    <a:cubicBezTo>
                      <a:pt x="4" y="50"/>
                      <a:pt x="4" y="50"/>
                      <a:pt x="4" y="51"/>
                    </a:cubicBezTo>
                    <a:cubicBezTo>
                      <a:pt x="4" y="52"/>
                      <a:pt x="4" y="52"/>
                      <a:pt x="4" y="53"/>
                    </a:cubicBezTo>
                    <a:cubicBezTo>
                      <a:pt x="4" y="53"/>
                      <a:pt x="3" y="54"/>
                      <a:pt x="3" y="54"/>
                    </a:cubicBezTo>
                    <a:cubicBezTo>
                      <a:pt x="2" y="53"/>
                      <a:pt x="1" y="54"/>
                      <a:pt x="1" y="54"/>
                    </a:cubicBezTo>
                    <a:cubicBezTo>
                      <a:pt x="1" y="54"/>
                      <a:pt x="0" y="55"/>
                      <a:pt x="1" y="55"/>
                    </a:cubicBezTo>
                    <a:cubicBezTo>
                      <a:pt x="1" y="56"/>
                      <a:pt x="0" y="57"/>
                      <a:pt x="0" y="57"/>
                    </a:cubicBezTo>
                    <a:cubicBezTo>
                      <a:pt x="0" y="58"/>
                      <a:pt x="0" y="59"/>
                      <a:pt x="0" y="60"/>
                    </a:cubicBezTo>
                    <a:cubicBezTo>
                      <a:pt x="0" y="61"/>
                      <a:pt x="0" y="62"/>
                      <a:pt x="0" y="62"/>
                    </a:cubicBezTo>
                    <a:cubicBezTo>
                      <a:pt x="1" y="63"/>
                      <a:pt x="0" y="65"/>
                      <a:pt x="0" y="66"/>
                    </a:cubicBezTo>
                    <a:cubicBezTo>
                      <a:pt x="0" y="67"/>
                      <a:pt x="0" y="67"/>
                      <a:pt x="0" y="68"/>
                    </a:cubicBezTo>
                    <a:cubicBezTo>
                      <a:pt x="0" y="68"/>
                      <a:pt x="0" y="69"/>
                      <a:pt x="0" y="70"/>
                    </a:cubicBezTo>
                    <a:cubicBezTo>
                      <a:pt x="0" y="70"/>
                      <a:pt x="1" y="71"/>
                      <a:pt x="1" y="71"/>
                    </a:cubicBezTo>
                    <a:cubicBezTo>
                      <a:pt x="1" y="72"/>
                      <a:pt x="0" y="72"/>
                      <a:pt x="0" y="73"/>
                    </a:cubicBezTo>
                    <a:cubicBezTo>
                      <a:pt x="0" y="73"/>
                      <a:pt x="1" y="74"/>
                      <a:pt x="0" y="75"/>
                    </a:cubicBezTo>
                    <a:cubicBezTo>
                      <a:pt x="0" y="75"/>
                      <a:pt x="1" y="76"/>
                      <a:pt x="1" y="76"/>
                    </a:cubicBezTo>
                    <a:cubicBezTo>
                      <a:pt x="0" y="77"/>
                      <a:pt x="0" y="76"/>
                      <a:pt x="0" y="77"/>
                    </a:cubicBezTo>
                    <a:cubicBezTo>
                      <a:pt x="0" y="78"/>
                      <a:pt x="0" y="78"/>
                      <a:pt x="1" y="79"/>
                    </a:cubicBezTo>
                    <a:cubicBezTo>
                      <a:pt x="1" y="80"/>
                      <a:pt x="0" y="80"/>
                      <a:pt x="0" y="81"/>
                    </a:cubicBezTo>
                    <a:cubicBezTo>
                      <a:pt x="0" y="82"/>
                      <a:pt x="0" y="82"/>
                      <a:pt x="0" y="83"/>
                    </a:cubicBezTo>
                    <a:cubicBezTo>
                      <a:pt x="0" y="83"/>
                      <a:pt x="7" y="83"/>
                      <a:pt x="7" y="83"/>
                    </a:cubicBezTo>
                    <a:cubicBezTo>
                      <a:pt x="6" y="82"/>
                      <a:pt x="6" y="82"/>
                      <a:pt x="7" y="82"/>
                    </a:cubicBezTo>
                    <a:cubicBezTo>
                      <a:pt x="7" y="81"/>
                      <a:pt x="7" y="80"/>
                      <a:pt x="7" y="81"/>
                    </a:cubicBezTo>
                    <a:cubicBezTo>
                      <a:pt x="7" y="82"/>
                      <a:pt x="10" y="80"/>
                      <a:pt x="11" y="81"/>
                    </a:cubicBezTo>
                    <a:cubicBezTo>
                      <a:pt x="11" y="81"/>
                      <a:pt x="10" y="81"/>
                      <a:pt x="10" y="81"/>
                    </a:cubicBezTo>
                    <a:cubicBezTo>
                      <a:pt x="10" y="81"/>
                      <a:pt x="10" y="81"/>
                      <a:pt x="10" y="81"/>
                    </a:cubicBezTo>
                    <a:cubicBezTo>
                      <a:pt x="10" y="81"/>
                      <a:pt x="9" y="82"/>
                      <a:pt x="9" y="82"/>
                    </a:cubicBezTo>
                    <a:cubicBezTo>
                      <a:pt x="9" y="82"/>
                      <a:pt x="8" y="82"/>
                      <a:pt x="8" y="82"/>
                    </a:cubicBezTo>
                    <a:cubicBezTo>
                      <a:pt x="8" y="82"/>
                      <a:pt x="8" y="82"/>
                      <a:pt x="8" y="82"/>
                    </a:cubicBezTo>
                    <a:cubicBezTo>
                      <a:pt x="8" y="82"/>
                      <a:pt x="7" y="82"/>
                      <a:pt x="7" y="83"/>
                    </a:cubicBezTo>
                    <a:cubicBezTo>
                      <a:pt x="7" y="82"/>
                      <a:pt x="7" y="82"/>
                      <a:pt x="7" y="82"/>
                    </a:cubicBezTo>
                    <a:cubicBezTo>
                      <a:pt x="6" y="83"/>
                      <a:pt x="9" y="83"/>
                      <a:pt x="9" y="83"/>
                    </a:cubicBezTo>
                    <a:cubicBezTo>
                      <a:pt x="10" y="83"/>
                      <a:pt x="11" y="83"/>
                      <a:pt x="12" y="83"/>
                    </a:cubicBezTo>
                    <a:cubicBezTo>
                      <a:pt x="14" y="83"/>
                      <a:pt x="17" y="83"/>
                      <a:pt x="18" y="85"/>
                    </a:cubicBezTo>
                    <a:cubicBezTo>
                      <a:pt x="19" y="85"/>
                      <a:pt x="20" y="86"/>
                      <a:pt x="21" y="87"/>
                    </a:cubicBezTo>
                    <a:cubicBezTo>
                      <a:pt x="21" y="88"/>
                      <a:pt x="22" y="88"/>
                      <a:pt x="22" y="89"/>
                    </a:cubicBezTo>
                    <a:cubicBezTo>
                      <a:pt x="22" y="90"/>
                      <a:pt x="23" y="90"/>
                      <a:pt x="23" y="89"/>
                    </a:cubicBezTo>
                    <a:cubicBezTo>
                      <a:pt x="24" y="89"/>
                      <a:pt x="24" y="88"/>
                      <a:pt x="25" y="88"/>
                    </a:cubicBezTo>
                    <a:cubicBezTo>
                      <a:pt x="25" y="89"/>
                      <a:pt x="24" y="89"/>
                      <a:pt x="23" y="90"/>
                    </a:cubicBezTo>
                    <a:cubicBezTo>
                      <a:pt x="23" y="89"/>
                      <a:pt x="23" y="90"/>
                      <a:pt x="23" y="90"/>
                    </a:cubicBezTo>
                    <a:cubicBezTo>
                      <a:pt x="23" y="91"/>
                      <a:pt x="23" y="91"/>
                      <a:pt x="23" y="92"/>
                    </a:cubicBezTo>
                    <a:cubicBezTo>
                      <a:pt x="24" y="93"/>
                      <a:pt x="25" y="91"/>
                      <a:pt x="25" y="90"/>
                    </a:cubicBezTo>
                    <a:cubicBezTo>
                      <a:pt x="25" y="91"/>
                      <a:pt x="25" y="92"/>
                      <a:pt x="26" y="91"/>
                    </a:cubicBezTo>
                    <a:cubicBezTo>
                      <a:pt x="26" y="91"/>
                      <a:pt x="26" y="91"/>
                      <a:pt x="27" y="91"/>
                    </a:cubicBezTo>
                    <a:cubicBezTo>
                      <a:pt x="27" y="91"/>
                      <a:pt x="27" y="92"/>
                      <a:pt x="27" y="92"/>
                    </a:cubicBezTo>
                    <a:cubicBezTo>
                      <a:pt x="27" y="92"/>
                      <a:pt x="27" y="91"/>
                      <a:pt x="26" y="91"/>
                    </a:cubicBezTo>
                    <a:cubicBezTo>
                      <a:pt x="26" y="92"/>
                      <a:pt x="26" y="92"/>
                      <a:pt x="25" y="92"/>
                    </a:cubicBezTo>
                    <a:cubicBezTo>
                      <a:pt x="25" y="92"/>
                      <a:pt x="24" y="92"/>
                      <a:pt x="24" y="92"/>
                    </a:cubicBezTo>
                    <a:cubicBezTo>
                      <a:pt x="24" y="93"/>
                      <a:pt x="24" y="93"/>
                      <a:pt x="25" y="94"/>
                    </a:cubicBezTo>
                    <a:cubicBezTo>
                      <a:pt x="25" y="94"/>
                      <a:pt x="26" y="94"/>
                      <a:pt x="26" y="94"/>
                    </a:cubicBezTo>
                    <a:cubicBezTo>
                      <a:pt x="26" y="94"/>
                      <a:pt x="26" y="93"/>
                      <a:pt x="26" y="94"/>
                    </a:cubicBezTo>
                    <a:cubicBezTo>
                      <a:pt x="27" y="94"/>
                      <a:pt x="27" y="93"/>
                      <a:pt x="27" y="93"/>
                    </a:cubicBezTo>
                    <a:cubicBezTo>
                      <a:pt x="27" y="93"/>
                      <a:pt x="28" y="93"/>
                      <a:pt x="28" y="92"/>
                    </a:cubicBezTo>
                    <a:cubicBezTo>
                      <a:pt x="28" y="93"/>
                      <a:pt x="28" y="93"/>
                      <a:pt x="27" y="93"/>
                    </a:cubicBezTo>
                    <a:cubicBezTo>
                      <a:pt x="27" y="93"/>
                      <a:pt x="27" y="94"/>
                      <a:pt x="28" y="94"/>
                    </a:cubicBezTo>
                    <a:cubicBezTo>
                      <a:pt x="27" y="94"/>
                      <a:pt x="27" y="95"/>
                      <a:pt x="26" y="94"/>
                    </a:cubicBezTo>
                    <a:cubicBezTo>
                      <a:pt x="26" y="94"/>
                      <a:pt x="25" y="94"/>
                      <a:pt x="25" y="95"/>
                    </a:cubicBezTo>
                    <a:cubicBezTo>
                      <a:pt x="25" y="95"/>
                      <a:pt x="25" y="96"/>
                      <a:pt x="26" y="96"/>
                    </a:cubicBezTo>
                    <a:cubicBezTo>
                      <a:pt x="26" y="97"/>
                      <a:pt x="26" y="97"/>
                      <a:pt x="26" y="96"/>
                    </a:cubicBezTo>
                    <a:cubicBezTo>
                      <a:pt x="27" y="96"/>
                      <a:pt x="27" y="97"/>
                      <a:pt x="27" y="97"/>
                    </a:cubicBezTo>
                    <a:cubicBezTo>
                      <a:pt x="26" y="97"/>
                      <a:pt x="26" y="97"/>
                      <a:pt x="27" y="97"/>
                    </a:cubicBezTo>
                    <a:cubicBezTo>
                      <a:pt x="26" y="97"/>
                      <a:pt x="26" y="97"/>
                      <a:pt x="26" y="97"/>
                    </a:cubicBezTo>
                    <a:cubicBezTo>
                      <a:pt x="26" y="97"/>
                      <a:pt x="26" y="98"/>
                      <a:pt x="26" y="98"/>
                    </a:cubicBezTo>
                    <a:cubicBezTo>
                      <a:pt x="26" y="99"/>
                      <a:pt x="26" y="99"/>
                      <a:pt x="27" y="100"/>
                    </a:cubicBezTo>
                    <a:cubicBezTo>
                      <a:pt x="27" y="100"/>
                      <a:pt x="27" y="100"/>
                      <a:pt x="27" y="100"/>
                    </a:cubicBezTo>
                    <a:cubicBezTo>
                      <a:pt x="27" y="100"/>
                      <a:pt x="27" y="101"/>
                      <a:pt x="27" y="101"/>
                    </a:cubicBezTo>
                    <a:cubicBezTo>
                      <a:pt x="28" y="102"/>
                      <a:pt x="28" y="102"/>
                      <a:pt x="28" y="102"/>
                    </a:cubicBezTo>
                    <a:cubicBezTo>
                      <a:pt x="28" y="103"/>
                      <a:pt x="28" y="103"/>
                      <a:pt x="29" y="104"/>
                    </a:cubicBezTo>
                    <a:cubicBezTo>
                      <a:pt x="29" y="104"/>
                      <a:pt x="30" y="104"/>
                      <a:pt x="29" y="104"/>
                    </a:cubicBezTo>
                    <a:cubicBezTo>
                      <a:pt x="30" y="104"/>
                      <a:pt x="30" y="105"/>
                      <a:pt x="30" y="105"/>
                    </a:cubicBezTo>
                    <a:cubicBezTo>
                      <a:pt x="30" y="105"/>
                      <a:pt x="30" y="105"/>
                      <a:pt x="30" y="105"/>
                    </a:cubicBezTo>
                    <a:cubicBezTo>
                      <a:pt x="30" y="105"/>
                      <a:pt x="32" y="106"/>
                      <a:pt x="31" y="105"/>
                    </a:cubicBezTo>
                    <a:cubicBezTo>
                      <a:pt x="32" y="105"/>
                      <a:pt x="31" y="106"/>
                      <a:pt x="32" y="105"/>
                    </a:cubicBezTo>
                    <a:cubicBezTo>
                      <a:pt x="32" y="105"/>
                      <a:pt x="32" y="105"/>
                      <a:pt x="32" y="106"/>
                    </a:cubicBezTo>
                    <a:cubicBezTo>
                      <a:pt x="32" y="106"/>
                      <a:pt x="32" y="106"/>
                      <a:pt x="32" y="106"/>
                    </a:cubicBezTo>
                    <a:cubicBezTo>
                      <a:pt x="32" y="105"/>
                      <a:pt x="32" y="105"/>
                      <a:pt x="32" y="105"/>
                    </a:cubicBezTo>
                    <a:cubicBezTo>
                      <a:pt x="32" y="104"/>
                      <a:pt x="33" y="105"/>
                      <a:pt x="33" y="105"/>
                    </a:cubicBezTo>
                    <a:cubicBezTo>
                      <a:pt x="33" y="106"/>
                      <a:pt x="32" y="106"/>
                      <a:pt x="33" y="106"/>
                    </a:cubicBezTo>
                    <a:cubicBezTo>
                      <a:pt x="33" y="106"/>
                      <a:pt x="34" y="106"/>
                      <a:pt x="34" y="106"/>
                    </a:cubicBezTo>
                    <a:cubicBezTo>
                      <a:pt x="34" y="106"/>
                      <a:pt x="34" y="106"/>
                      <a:pt x="34" y="106"/>
                    </a:cubicBezTo>
                    <a:cubicBezTo>
                      <a:pt x="34" y="105"/>
                      <a:pt x="34" y="105"/>
                      <a:pt x="34" y="104"/>
                    </a:cubicBezTo>
                    <a:cubicBezTo>
                      <a:pt x="34" y="105"/>
                      <a:pt x="34" y="105"/>
                      <a:pt x="34" y="105"/>
                    </a:cubicBezTo>
                    <a:cubicBezTo>
                      <a:pt x="34" y="104"/>
                      <a:pt x="34" y="104"/>
                      <a:pt x="34" y="104"/>
                    </a:cubicBezTo>
                    <a:cubicBezTo>
                      <a:pt x="34" y="104"/>
                      <a:pt x="34" y="105"/>
                      <a:pt x="34" y="105"/>
                    </a:cubicBezTo>
                    <a:cubicBezTo>
                      <a:pt x="34" y="105"/>
                      <a:pt x="35" y="104"/>
                      <a:pt x="35" y="104"/>
                    </a:cubicBezTo>
                    <a:cubicBezTo>
                      <a:pt x="35" y="104"/>
                      <a:pt x="34" y="106"/>
                      <a:pt x="34" y="106"/>
                    </a:cubicBezTo>
                    <a:cubicBezTo>
                      <a:pt x="34" y="106"/>
                      <a:pt x="36" y="106"/>
                      <a:pt x="36" y="106"/>
                    </a:cubicBezTo>
                    <a:cubicBezTo>
                      <a:pt x="36" y="105"/>
                      <a:pt x="37" y="106"/>
                      <a:pt x="37" y="106"/>
                    </a:cubicBezTo>
                    <a:cubicBezTo>
                      <a:pt x="38" y="105"/>
                      <a:pt x="37" y="104"/>
                      <a:pt x="37" y="104"/>
                    </a:cubicBezTo>
                    <a:cubicBezTo>
                      <a:pt x="38" y="104"/>
                      <a:pt x="37" y="105"/>
                      <a:pt x="38" y="106"/>
                    </a:cubicBezTo>
                    <a:cubicBezTo>
                      <a:pt x="39" y="106"/>
                      <a:pt x="38" y="104"/>
                      <a:pt x="38" y="104"/>
                    </a:cubicBezTo>
                    <a:cubicBezTo>
                      <a:pt x="38" y="104"/>
                      <a:pt x="38" y="104"/>
                      <a:pt x="38" y="105"/>
                    </a:cubicBezTo>
                    <a:cubicBezTo>
                      <a:pt x="39" y="104"/>
                      <a:pt x="38" y="103"/>
                      <a:pt x="39" y="103"/>
                    </a:cubicBezTo>
                    <a:cubicBezTo>
                      <a:pt x="39" y="103"/>
                      <a:pt x="38" y="105"/>
                      <a:pt x="39" y="105"/>
                    </a:cubicBezTo>
                    <a:cubicBezTo>
                      <a:pt x="39" y="106"/>
                      <a:pt x="40" y="106"/>
                      <a:pt x="40" y="105"/>
                    </a:cubicBezTo>
                    <a:cubicBezTo>
                      <a:pt x="40" y="105"/>
                      <a:pt x="40" y="105"/>
                      <a:pt x="40" y="105"/>
                    </a:cubicBezTo>
                    <a:cubicBezTo>
                      <a:pt x="40" y="104"/>
                      <a:pt x="39" y="104"/>
                      <a:pt x="40" y="103"/>
                    </a:cubicBezTo>
                    <a:cubicBezTo>
                      <a:pt x="40" y="102"/>
                      <a:pt x="39" y="102"/>
                      <a:pt x="39" y="102"/>
                    </a:cubicBezTo>
                    <a:cubicBezTo>
                      <a:pt x="39" y="101"/>
                      <a:pt x="39" y="101"/>
                      <a:pt x="39" y="100"/>
                    </a:cubicBezTo>
                    <a:cubicBezTo>
                      <a:pt x="39" y="100"/>
                      <a:pt x="39" y="100"/>
                      <a:pt x="39" y="100"/>
                    </a:cubicBezTo>
                    <a:cubicBezTo>
                      <a:pt x="39" y="101"/>
                      <a:pt x="39" y="101"/>
                      <a:pt x="39" y="101"/>
                    </a:cubicBezTo>
                    <a:cubicBezTo>
                      <a:pt x="39" y="101"/>
                      <a:pt x="39" y="102"/>
                      <a:pt x="39" y="102"/>
                    </a:cubicBezTo>
                    <a:cubicBezTo>
                      <a:pt x="39" y="102"/>
                      <a:pt x="40" y="102"/>
                      <a:pt x="40" y="103"/>
                    </a:cubicBezTo>
                    <a:cubicBezTo>
                      <a:pt x="39" y="103"/>
                      <a:pt x="40" y="105"/>
                      <a:pt x="40" y="105"/>
                    </a:cubicBezTo>
                    <a:cubicBezTo>
                      <a:pt x="41" y="105"/>
                      <a:pt x="41" y="105"/>
                      <a:pt x="42" y="105"/>
                    </a:cubicBezTo>
                    <a:cubicBezTo>
                      <a:pt x="42" y="105"/>
                      <a:pt x="41" y="104"/>
                      <a:pt x="41" y="104"/>
                    </a:cubicBezTo>
                    <a:cubicBezTo>
                      <a:pt x="41" y="104"/>
                      <a:pt x="41" y="102"/>
                      <a:pt x="41" y="103"/>
                    </a:cubicBezTo>
                    <a:cubicBezTo>
                      <a:pt x="41" y="103"/>
                      <a:pt x="40" y="102"/>
                      <a:pt x="40" y="102"/>
                    </a:cubicBezTo>
                    <a:cubicBezTo>
                      <a:pt x="41" y="102"/>
                      <a:pt x="41" y="103"/>
                      <a:pt x="41" y="103"/>
                    </a:cubicBezTo>
                    <a:cubicBezTo>
                      <a:pt x="41" y="103"/>
                      <a:pt x="41" y="102"/>
                      <a:pt x="41" y="101"/>
                    </a:cubicBezTo>
                    <a:cubicBezTo>
                      <a:pt x="41" y="102"/>
                      <a:pt x="41" y="102"/>
                      <a:pt x="41" y="102"/>
                    </a:cubicBezTo>
                    <a:cubicBezTo>
                      <a:pt x="42" y="102"/>
                      <a:pt x="41" y="103"/>
                      <a:pt x="42" y="104"/>
                    </a:cubicBezTo>
                    <a:cubicBezTo>
                      <a:pt x="42" y="104"/>
                      <a:pt x="42" y="104"/>
                      <a:pt x="42" y="104"/>
                    </a:cubicBezTo>
                    <a:cubicBezTo>
                      <a:pt x="42" y="105"/>
                      <a:pt x="42" y="104"/>
                      <a:pt x="42" y="104"/>
                    </a:cubicBezTo>
                    <a:cubicBezTo>
                      <a:pt x="42" y="104"/>
                      <a:pt x="43" y="104"/>
                      <a:pt x="43" y="104"/>
                    </a:cubicBezTo>
                    <a:cubicBezTo>
                      <a:pt x="43" y="104"/>
                      <a:pt x="43" y="103"/>
                      <a:pt x="43" y="103"/>
                    </a:cubicBezTo>
                    <a:cubicBezTo>
                      <a:pt x="43" y="102"/>
                      <a:pt x="42" y="102"/>
                      <a:pt x="42" y="101"/>
                    </a:cubicBezTo>
                    <a:cubicBezTo>
                      <a:pt x="42" y="101"/>
                      <a:pt x="42" y="102"/>
                      <a:pt x="43" y="102"/>
                    </a:cubicBezTo>
                    <a:cubicBezTo>
                      <a:pt x="43" y="102"/>
                      <a:pt x="43" y="102"/>
                      <a:pt x="43" y="102"/>
                    </a:cubicBezTo>
                    <a:cubicBezTo>
                      <a:pt x="43" y="102"/>
                      <a:pt x="43" y="103"/>
                      <a:pt x="43" y="103"/>
                    </a:cubicBezTo>
                    <a:cubicBezTo>
                      <a:pt x="44" y="103"/>
                      <a:pt x="44" y="103"/>
                      <a:pt x="44" y="104"/>
                    </a:cubicBezTo>
                    <a:cubicBezTo>
                      <a:pt x="44" y="104"/>
                      <a:pt x="45" y="104"/>
                      <a:pt x="45" y="103"/>
                    </a:cubicBezTo>
                    <a:cubicBezTo>
                      <a:pt x="44" y="103"/>
                      <a:pt x="44" y="103"/>
                      <a:pt x="44" y="103"/>
                    </a:cubicBezTo>
                    <a:cubicBezTo>
                      <a:pt x="45" y="103"/>
                      <a:pt x="45" y="103"/>
                      <a:pt x="45" y="103"/>
                    </a:cubicBezTo>
                    <a:cubicBezTo>
                      <a:pt x="47" y="103"/>
                      <a:pt x="46" y="102"/>
                      <a:pt x="47" y="102"/>
                    </a:cubicBezTo>
                    <a:cubicBezTo>
                      <a:pt x="47" y="102"/>
                      <a:pt x="47" y="103"/>
                      <a:pt x="47" y="104"/>
                    </a:cubicBezTo>
                    <a:cubicBezTo>
                      <a:pt x="47" y="104"/>
                      <a:pt x="48" y="104"/>
                      <a:pt x="49" y="104"/>
                    </a:cubicBezTo>
                    <a:cubicBezTo>
                      <a:pt x="48" y="103"/>
                      <a:pt x="50" y="103"/>
                      <a:pt x="50" y="103"/>
                    </a:cubicBezTo>
                    <a:cubicBezTo>
                      <a:pt x="51" y="103"/>
                      <a:pt x="51" y="103"/>
                      <a:pt x="52" y="103"/>
                    </a:cubicBezTo>
                    <a:cubicBezTo>
                      <a:pt x="53" y="103"/>
                      <a:pt x="54" y="104"/>
                      <a:pt x="54" y="103"/>
                    </a:cubicBezTo>
                    <a:cubicBezTo>
                      <a:pt x="55" y="102"/>
                      <a:pt x="54" y="101"/>
                      <a:pt x="54" y="100"/>
                    </a:cubicBezTo>
                    <a:cubicBezTo>
                      <a:pt x="54" y="100"/>
                      <a:pt x="54" y="100"/>
                      <a:pt x="53" y="99"/>
                    </a:cubicBezTo>
                    <a:cubicBezTo>
                      <a:pt x="53" y="99"/>
                      <a:pt x="53" y="99"/>
                      <a:pt x="53" y="98"/>
                    </a:cubicBezTo>
                    <a:cubicBezTo>
                      <a:pt x="53" y="99"/>
                      <a:pt x="55" y="101"/>
                      <a:pt x="55" y="100"/>
                    </a:cubicBezTo>
                    <a:cubicBezTo>
                      <a:pt x="55" y="101"/>
                      <a:pt x="55" y="101"/>
                      <a:pt x="56" y="101"/>
                    </a:cubicBezTo>
                    <a:cubicBezTo>
                      <a:pt x="56" y="101"/>
                      <a:pt x="56" y="102"/>
                      <a:pt x="56" y="101"/>
                    </a:cubicBezTo>
                    <a:cubicBezTo>
                      <a:pt x="57" y="101"/>
                      <a:pt x="56" y="100"/>
                      <a:pt x="57" y="100"/>
                    </a:cubicBezTo>
                    <a:cubicBezTo>
                      <a:pt x="57" y="100"/>
                      <a:pt x="57" y="99"/>
                      <a:pt x="58" y="99"/>
                    </a:cubicBezTo>
                    <a:cubicBezTo>
                      <a:pt x="59" y="97"/>
                      <a:pt x="59" y="95"/>
                      <a:pt x="59" y="94"/>
                    </a:cubicBezTo>
                    <a:cubicBezTo>
                      <a:pt x="59" y="93"/>
                      <a:pt x="60" y="92"/>
                      <a:pt x="60" y="91"/>
                    </a:cubicBezTo>
                    <a:cubicBezTo>
                      <a:pt x="59" y="91"/>
                      <a:pt x="59" y="91"/>
                      <a:pt x="60" y="90"/>
                    </a:cubicBezTo>
                    <a:cubicBezTo>
                      <a:pt x="60" y="90"/>
                      <a:pt x="59" y="89"/>
                      <a:pt x="60" y="89"/>
                    </a:cubicBezTo>
                    <a:cubicBezTo>
                      <a:pt x="60" y="88"/>
                      <a:pt x="60" y="89"/>
                      <a:pt x="61" y="88"/>
                    </a:cubicBezTo>
                    <a:cubicBezTo>
                      <a:pt x="61" y="88"/>
                      <a:pt x="61" y="87"/>
                      <a:pt x="62" y="87"/>
                    </a:cubicBezTo>
                    <a:cubicBezTo>
                      <a:pt x="62" y="86"/>
                      <a:pt x="63" y="86"/>
                      <a:pt x="63" y="85"/>
                    </a:cubicBezTo>
                    <a:cubicBezTo>
                      <a:pt x="64" y="85"/>
                      <a:pt x="64" y="84"/>
                      <a:pt x="64" y="84"/>
                    </a:cubicBezTo>
                    <a:cubicBezTo>
                      <a:pt x="65" y="84"/>
                      <a:pt x="65" y="84"/>
                      <a:pt x="65" y="83"/>
                    </a:cubicBezTo>
                    <a:cubicBezTo>
                      <a:pt x="65" y="83"/>
                      <a:pt x="65" y="83"/>
                      <a:pt x="66" y="83"/>
                    </a:cubicBezTo>
                    <a:cubicBezTo>
                      <a:pt x="66" y="83"/>
                      <a:pt x="66" y="83"/>
                      <a:pt x="66" y="82"/>
                    </a:cubicBezTo>
                    <a:cubicBezTo>
                      <a:pt x="66" y="82"/>
                      <a:pt x="66" y="82"/>
                      <a:pt x="67" y="82"/>
                    </a:cubicBezTo>
                    <a:cubicBezTo>
                      <a:pt x="67" y="81"/>
                      <a:pt x="68" y="82"/>
                      <a:pt x="68" y="81"/>
                    </a:cubicBezTo>
                    <a:cubicBezTo>
                      <a:pt x="68" y="80"/>
                      <a:pt x="68" y="79"/>
                      <a:pt x="68" y="79"/>
                    </a:cubicBezTo>
                    <a:cubicBezTo>
                      <a:pt x="69" y="78"/>
                      <a:pt x="69" y="79"/>
                      <a:pt x="69" y="79"/>
                    </a:cubicBezTo>
                    <a:cubicBezTo>
                      <a:pt x="69" y="79"/>
                      <a:pt x="70" y="78"/>
                      <a:pt x="70" y="78"/>
                    </a:cubicBezTo>
                    <a:cubicBezTo>
                      <a:pt x="70" y="78"/>
                      <a:pt x="72" y="76"/>
                      <a:pt x="72" y="76"/>
                    </a:cubicBezTo>
                    <a:cubicBezTo>
                      <a:pt x="72" y="78"/>
                      <a:pt x="74" y="78"/>
                      <a:pt x="75" y="78"/>
                    </a:cubicBezTo>
                    <a:cubicBezTo>
                      <a:pt x="76" y="78"/>
                      <a:pt x="76" y="76"/>
                      <a:pt x="76" y="76"/>
                    </a:cubicBezTo>
                    <a:cubicBezTo>
                      <a:pt x="76" y="75"/>
                      <a:pt x="76" y="75"/>
                      <a:pt x="76" y="75"/>
                    </a:cubicBezTo>
                    <a:cubicBezTo>
                      <a:pt x="76" y="76"/>
                      <a:pt x="77" y="76"/>
                      <a:pt x="77" y="76"/>
                    </a:cubicBezTo>
                    <a:cubicBezTo>
                      <a:pt x="78" y="76"/>
                      <a:pt x="78" y="77"/>
                      <a:pt x="79" y="77"/>
                    </a:cubicBezTo>
                    <a:cubicBezTo>
                      <a:pt x="79" y="77"/>
                      <a:pt x="79" y="78"/>
                      <a:pt x="79" y="78"/>
                    </a:cubicBezTo>
                    <a:cubicBezTo>
                      <a:pt x="80" y="79"/>
                      <a:pt x="81" y="79"/>
                      <a:pt x="81" y="79"/>
                    </a:cubicBezTo>
                    <a:cubicBezTo>
                      <a:pt x="81" y="80"/>
                      <a:pt x="81" y="80"/>
                      <a:pt x="81" y="81"/>
                    </a:cubicBezTo>
                    <a:cubicBezTo>
                      <a:pt x="81" y="82"/>
                      <a:pt x="82" y="83"/>
                      <a:pt x="83" y="83"/>
                    </a:cubicBezTo>
                    <a:cubicBezTo>
                      <a:pt x="83" y="82"/>
                      <a:pt x="84" y="82"/>
                      <a:pt x="84" y="82"/>
                    </a:cubicBezTo>
                    <a:cubicBezTo>
                      <a:pt x="84" y="81"/>
                      <a:pt x="84" y="81"/>
                      <a:pt x="85" y="81"/>
                    </a:cubicBezTo>
                    <a:cubicBezTo>
                      <a:pt x="86" y="80"/>
                      <a:pt x="86" y="80"/>
                      <a:pt x="86" y="79"/>
                    </a:cubicBezTo>
                    <a:cubicBezTo>
                      <a:pt x="86" y="79"/>
                      <a:pt x="85" y="78"/>
                      <a:pt x="86" y="78"/>
                    </a:cubicBezTo>
                    <a:cubicBezTo>
                      <a:pt x="86" y="77"/>
                      <a:pt x="87" y="76"/>
                      <a:pt x="87" y="76"/>
                    </a:cubicBezTo>
                    <a:cubicBezTo>
                      <a:pt x="88" y="76"/>
                      <a:pt x="88" y="76"/>
                      <a:pt x="88" y="75"/>
                    </a:cubicBezTo>
                    <a:cubicBezTo>
                      <a:pt x="89" y="75"/>
                      <a:pt x="89" y="75"/>
                      <a:pt x="88" y="75"/>
                    </a:cubicBezTo>
                    <a:cubicBezTo>
                      <a:pt x="88" y="75"/>
                      <a:pt x="88" y="73"/>
                      <a:pt x="88" y="73"/>
                    </a:cubicBezTo>
                    <a:cubicBezTo>
                      <a:pt x="88" y="72"/>
                      <a:pt x="89" y="72"/>
                      <a:pt x="90" y="70"/>
                    </a:cubicBezTo>
                    <a:cubicBezTo>
                      <a:pt x="90" y="70"/>
                      <a:pt x="90" y="68"/>
                      <a:pt x="91" y="68"/>
                    </a:cubicBezTo>
                    <a:cubicBezTo>
                      <a:pt x="91" y="67"/>
                      <a:pt x="92" y="66"/>
                      <a:pt x="92" y="66"/>
                    </a:cubicBezTo>
                    <a:cubicBezTo>
                      <a:pt x="92" y="65"/>
                      <a:pt x="92" y="65"/>
                      <a:pt x="92" y="64"/>
                    </a:cubicBezTo>
                    <a:cubicBezTo>
                      <a:pt x="92" y="64"/>
                      <a:pt x="92" y="64"/>
                      <a:pt x="92" y="63"/>
                    </a:cubicBezTo>
                    <a:cubicBezTo>
                      <a:pt x="92" y="63"/>
                      <a:pt x="92" y="62"/>
                      <a:pt x="92" y="61"/>
                    </a:cubicBezTo>
                    <a:cubicBezTo>
                      <a:pt x="92" y="60"/>
                      <a:pt x="93" y="61"/>
                      <a:pt x="93" y="60"/>
                    </a:cubicBezTo>
                    <a:cubicBezTo>
                      <a:pt x="94" y="60"/>
                      <a:pt x="94" y="59"/>
                      <a:pt x="94" y="59"/>
                    </a:cubicBezTo>
                    <a:cubicBezTo>
                      <a:pt x="94" y="59"/>
                      <a:pt x="94" y="59"/>
                      <a:pt x="94" y="58"/>
                    </a:cubicBezTo>
                    <a:cubicBezTo>
                      <a:pt x="95" y="58"/>
                      <a:pt x="95" y="58"/>
                      <a:pt x="95" y="59"/>
                    </a:cubicBezTo>
                    <a:cubicBezTo>
                      <a:pt x="96" y="59"/>
                      <a:pt x="96" y="58"/>
                      <a:pt x="96" y="58"/>
                    </a:cubicBezTo>
                    <a:cubicBezTo>
                      <a:pt x="97" y="58"/>
                      <a:pt x="97" y="57"/>
                      <a:pt x="97" y="57"/>
                    </a:cubicBezTo>
                    <a:cubicBezTo>
                      <a:pt x="98" y="57"/>
                      <a:pt x="98" y="57"/>
                      <a:pt x="98" y="56"/>
                    </a:cubicBezTo>
                    <a:cubicBezTo>
                      <a:pt x="98" y="55"/>
                      <a:pt x="98" y="54"/>
                      <a:pt x="98" y="53"/>
                    </a:cubicBezTo>
                    <a:cubicBezTo>
                      <a:pt x="98" y="52"/>
                      <a:pt x="99" y="51"/>
                      <a:pt x="98" y="50"/>
                    </a:cubicBezTo>
                    <a:cubicBezTo>
                      <a:pt x="98" y="50"/>
                      <a:pt x="99" y="50"/>
                      <a:pt x="99" y="50"/>
                    </a:cubicBezTo>
                    <a:cubicBezTo>
                      <a:pt x="99" y="49"/>
                      <a:pt x="99" y="49"/>
                      <a:pt x="100" y="49"/>
                    </a:cubicBezTo>
                    <a:cubicBezTo>
                      <a:pt x="100" y="49"/>
                      <a:pt x="101" y="49"/>
                      <a:pt x="101" y="48"/>
                    </a:cubicBezTo>
                    <a:cubicBezTo>
                      <a:pt x="102" y="48"/>
                      <a:pt x="102" y="46"/>
                      <a:pt x="102" y="46"/>
                    </a:cubicBezTo>
                    <a:cubicBezTo>
                      <a:pt x="102" y="45"/>
                      <a:pt x="102" y="45"/>
                      <a:pt x="102" y="45"/>
                    </a:cubicBezTo>
                    <a:cubicBezTo>
                      <a:pt x="102" y="44"/>
                      <a:pt x="102" y="44"/>
                      <a:pt x="102" y="44"/>
                    </a:cubicBezTo>
                    <a:cubicBezTo>
                      <a:pt x="102" y="43"/>
                      <a:pt x="102" y="43"/>
                      <a:pt x="102" y="42"/>
                    </a:cubicBezTo>
                    <a:cubicBezTo>
                      <a:pt x="103" y="42"/>
                      <a:pt x="103" y="42"/>
                      <a:pt x="104" y="42"/>
                    </a:cubicBezTo>
                    <a:cubicBezTo>
                      <a:pt x="104" y="41"/>
                      <a:pt x="104" y="40"/>
                      <a:pt x="104" y="40"/>
                    </a:cubicBezTo>
                    <a:cubicBezTo>
                      <a:pt x="104" y="39"/>
                      <a:pt x="104" y="38"/>
                      <a:pt x="105" y="37"/>
                    </a:cubicBezTo>
                    <a:cubicBezTo>
                      <a:pt x="105" y="36"/>
                      <a:pt x="106" y="34"/>
                      <a:pt x="107" y="33"/>
                    </a:cubicBezTo>
                    <a:cubicBezTo>
                      <a:pt x="107" y="32"/>
                      <a:pt x="107" y="32"/>
                      <a:pt x="108" y="31"/>
                    </a:cubicBezTo>
                    <a:cubicBezTo>
                      <a:pt x="108" y="31"/>
                      <a:pt x="108" y="30"/>
                      <a:pt x="109" y="30"/>
                    </a:cubicBezTo>
                    <a:cubicBezTo>
                      <a:pt x="109" y="29"/>
                      <a:pt x="109" y="29"/>
                      <a:pt x="110" y="30"/>
                    </a:cubicBezTo>
                    <a:cubicBezTo>
                      <a:pt x="111" y="30"/>
                      <a:pt x="111" y="29"/>
                      <a:pt x="112" y="29"/>
                    </a:cubicBezTo>
                    <a:cubicBezTo>
                      <a:pt x="112" y="28"/>
                      <a:pt x="113" y="28"/>
                      <a:pt x="113" y="28"/>
                    </a:cubicBezTo>
                    <a:cubicBezTo>
                      <a:pt x="114" y="28"/>
                      <a:pt x="114" y="27"/>
                      <a:pt x="115" y="27"/>
                    </a:cubicBezTo>
                    <a:cubicBezTo>
                      <a:pt x="115" y="26"/>
                      <a:pt x="115" y="26"/>
                      <a:pt x="115" y="25"/>
                    </a:cubicBezTo>
                    <a:cubicBezTo>
                      <a:pt x="114" y="24"/>
                      <a:pt x="115" y="24"/>
                      <a:pt x="115" y="24"/>
                    </a:cubicBezTo>
                    <a:cubicBezTo>
                      <a:pt x="115" y="23"/>
                      <a:pt x="115" y="22"/>
                      <a:pt x="115" y="2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5" name="Niger">
                <a:extLst>
                  <a:ext uri="{FF2B5EF4-FFF2-40B4-BE49-F238E27FC236}">
                    <a16:creationId xmlns:a16="http://schemas.microsoft.com/office/drawing/2014/main" id="{FF301545-E740-13DE-A201-4704194AD5C1}"/>
                  </a:ext>
                </a:extLst>
              </p:cNvPr>
              <p:cNvSpPr>
                <a:spLocks/>
              </p:cNvSpPr>
              <p:nvPr/>
            </p:nvSpPr>
            <p:spPr bwMode="auto">
              <a:xfrm>
                <a:off x="5704525" y="3129858"/>
                <a:ext cx="538111" cy="460676"/>
              </a:xfrm>
              <a:custGeom>
                <a:avLst/>
                <a:gdLst/>
                <a:ahLst/>
                <a:cxnLst>
                  <a:cxn ang="0">
                    <a:pos x="147" y="29"/>
                  </a:cxn>
                  <a:cxn ang="0">
                    <a:pos x="144" y="18"/>
                  </a:cxn>
                  <a:cxn ang="0">
                    <a:pos x="136" y="9"/>
                  </a:cxn>
                  <a:cxn ang="0">
                    <a:pos x="132" y="7"/>
                  </a:cxn>
                  <a:cxn ang="0">
                    <a:pos x="113" y="0"/>
                  </a:cxn>
                  <a:cxn ang="0">
                    <a:pos x="64" y="35"/>
                  </a:cxn>
                  <a:cxn ang="0">
                    <a:pos x="52" y="45"/>
                  </a:cxn>
                  <a:cxn ang="0">
                    <a:pos x="39" y="50"/>
                  </a:cxn>
                  <a:cxn ang="0">
                    <a:pos x="39" y="71"/>
                  </a:cxn>
                  <a:cxn ang="0">
                    <a:pos x="39" y="78"/>
                  </a:cxn>
                  <a:cxn ang="0">
                    <a:pos x="37" y="83"/>
                  </a:cxn>
                  <a:cxn ang="0">
                    <a:pos x="33" y="88"/>
                  </a:cxn>
                  <a:cxn ang="0">
                    <a:pos x="28" y="89"/>
                  </a:cxn>
                  <a:cxn ang="0">
                    <a:pos x="12" y="90"/>
                  </a:cxn>
                  <a:cxn ang="0">
                    <a:pos x="3" y="94"/>
                  </a:cxn>
                  <a:cxn ang="0">
                    <a:pos x="0" y="95"/>
                  </a:cxn>
                  <a:cxn ang="0">
                    <a:pos x="2" y="101"/>
                  </a:cxn>
                  <a:cxn ang="0">
                    <a:pos x="4" y="106"/>
                  </a:cxn>
                  <a:cxn ang="0">
                    <a:pos x="6" y="109"/>
                  </a:cxn>
                  <a:cxn ang="0">
                    <a:pos x="10" y="111"/>
                  </a:cxn>
                  <a:cxn ang="0">
                    <a:pos x="8" y="114"/>
                  </a:cxn>
                  <a:cxn ang="0">
                    <a:pos x="14" y="119"/>
                  </a:cxn>
                  <a:cxn ang="0">
                    <a:pos x="19" y="120"/>
                  </a:cxn>
                  <a:cxn ang="0">
                    <a:pos x="18" y="122"/>
                  </a:cxn>
                  <a:cxn ang="0">
                    <a:pos x="22" y="127"/>
                  </a:cxn>
                  <a:cxn ang="0">
                    <a:pos x="22" y="123"/>
                  </a:cxn>
                  <a:cxn ang="0">
                    <a:pos x="26" y="123"/>
                  </a:cxn>
                  <a:cxn ang="0">
                    <a:pos x="30" y="127"/>
                  </a:cxn>
                  <a:cxn ang="0">
                    <a:pos x="33" y="129"/>
                  </a:cxn>
                  <a:cxn ang="0">
                    <a:pos x="34" y="120"/>
                  </a:cxn>
                  <a:cxn ang="0">
                    <a:pos x="38" y="111"/>
                  </a:cxn>
                  <a:cxn ang="0">
                    <a:pos x="46" y="107"/>
                  </a:cxn>
                  <a:cxn ang="0">
                    <a:pos x="51" y="106"/>
                  </a:cxn>
                  <a:cxn ang="0">
                    <a:pos x="59" y="108"/>
                  </a:cxn>
                  <a:cxn ang="0">
                    <a:pos x="65" y="115"/>
                  </a:cxn>
                  <a:cxn ang="0">
                    <a:pos x="70" y="114"/>
                  </a:cxn>
                  <a:cxn ang="0">
                    <a:pos x="79" y="114"/>
                  </a:cxn>
                  <a:cxn ang="0">
                    <a:pos x="88" y="117"/>
                  </a:cxn>
                  <a:cxn ang="0">
                    <a:pos x="93" y="115"/>
                  </a:cxn>
                  <a:cxn ang="0">
                    <a:pos x="97" y="112"/>
                  </a:cxn>
                  <a:cxn ang="0">
                    <a:pos x="107" y="111"/>
                  </a:cxn>
                  <a:cxn ang="0">
                    <a:pos x="116" y="114"/>
                  </a:cxn>
                  <a:cxn ang="0">
                    <a:pos x="120" y="112"/>
                  </a:cxn>
                  <a:cxn ang="0">
                    <a:pos x="122" y="110"/>
                  </a:cxn>
                  <a:cxn ang="0">
                    <a:pos x="126" y="108"/>
                  </a:cxn>
                  <a:cxn ang="0">
                    <a:pos x="129" y="99"/>
                  </a:cxn>
                  <a:cxn ang="0">
                    <a:pos x="131" y="95"/>
                  </a:cxn>
                  <a:cxn ang="0">
                    <a:pos x="144" y="76"/>
                  </a:cxn>
                  <a:cxn ang="0">
                    <a:pos x="149" y="44"/>
                  </a:cxn>
                  <a:cxn ang="0">
                    <a:pos x="150" y="32"/>
                  </a:cxn>
                </a:cxnLst>
                <a:rect l="0" t="0" r="r" b="b"/>
                <a:pathLst>
                  <a:path w="152" h="130">
                    <a:moveTo>
                      <a:pt x="150" y="32"/>
                    </a:moveTo>
                    <a:cubicBezTo>
                      <a:pt x="149" y="32"/>
                      <a:pt x="149" y="31"/>
                      <a:pt x="148" y="31"/>
                    </a:cubicBezTo>
                    <a:cubicBezTo>
                      <a:pt x="147" y="30"/>
                      <a:pt x="147" y="29"/>
                      <a:pt x="147" y="29"/>
                    </a:cubicBezTo>
                    <a:cubicBezTo>
                      <a:pt x="148" y="28"/>
                      <a:pt x="148" y="28"/>
                      <a:pt x="148" y="27"/>
                    </a:cubicBezTo>
                    <a:cubicBezTo>
                      <a:pt x="146" y="26"/>
                      <a:pt x="146" y="24"/>
                      <a:pt x="144" y="22"/>
                    </a:cubicBezTo>
                    <a:cubicBezTo>
                      <a:pt x="143" y="21"/>
                      <a:pt x="144" y="19"/>
                      <a:pt x="144" y="18"/>
                    </a:cubicBezTo>
                    <a:cubicBezTo>
                      <a:pt x="144" y="13"/>
                      <a:pt x="143" y="9"/>
                      <a:pt x="142" y="5"/>
                    </a:cubicBezTo>
                    <a:cubicBezTo>
                      <a:pt x="141" y="6"/>
                      <a:pt x="139" y="7"/>
                      <a:pt x="138" y="8"/>
                    </a:cubicBezTo>
                    <a:cubicBezTo>
                      <a:pt x="137" y="8"/>
                      <a:pt x="137" y="9"/>
                      <a:pt x="136" y="9"/>
                    </a:cubicBezTo>
                    <a:cubicBezTo>
                      <a:pt x="136" y="9"/>
                      <a:pt x="135" y="10"/>
                      <a:pt x="135" y="10"/>
                    </a:cubicBezTo>
                    <a:cubicBezTo>
                      <a:pt x="134" y="9"/>
                      <a:pt x="134" y="9"/>
                      <a:pt x="133" y="8"/>
                    </a:cubicBezTo>
                    <a:cubicBezTo>
                      <a:pt x="133" y="8"/>
                      <a:pt x="132" y="8"/>
                      <a:pt x="132" y="7"/>
                    </a:cubicBezTo>
                    <a:cubicBezTo>
                      <a:pt x="131" y="6"/>
                      <a:pt x="130" y="5"/>
                      <a:pt x="129" y="4"/>
                    </a:cubicBezTo>
                    <a:cubicBezTo>
                      <a:pt x="127" y="3"/>
                      <a:pt x="124" y="2"/>
                      <a:pt x="122" y="2"/>
                    </a:cubicBezTo>
                    <a:cubicBezTo>
                      <a:pt x="119" y="1"/>
                      <a:pt x="116" y="0"/>
                      <a:pt x="113" y="0"/>
                    </a:cubicBezTo>
                    <a:cubicBezTo>
                      <a:pt x="106" y="4"/>
                      <a:pt x="98" y="10"/>
                      <a:pt x="91" y="15"/>
                    </a:cubicBezTo>
                    <a:cubicBezTo>
                      <a:pt x="84" y="19"/>
                      <a:pt x="79" y="23"/>
                      <a:pt x="72" y="27"/>
                    </a:cubicBezTo>
                    <a:cubicBezTo>
                      <a:pt x="69" y="30"/>
                      <a:pt x="67" y="32"/>
                      <a:pt x="64" y="35"/>
                    </a:cubicBezTo>
                    <a:cubicBezTo>
                      <a:pt x="61" y="38"/>
                      <a:pt x="58" y="40"/>
                      <a:pt x="56" y="43"/>
                    </a:cubicBezTo>
                    <a:cubicBezTo>
                      <a:pt x="56" y="44"/>
                      <a:pt x="55" y="44"/>
                      <a:pt x="55" y="44"/>
                    </a:cubicBezTo>
                    <a:cubicBezTo>
                      <a:pt x="54" y="45"/>
                      <a:pt x="53" y="45"/>
                      <a:pt x="52" y="45"/>
                    </a:cubicBezTo>
                    <a:cubicBezTo>
                      <a:pt x="50" y="46"/>
                      <a:pt x="48" y="46"/>
                      <a:pt x="46" y="46"/>
                    </a:cubicBezTo>
                    <a:cubicBezTo>
                      <a:pt x="44" y="47"/>
                      <a:pt x="42" y="47"/>
                      <a:pt x="40" y="48"/>
                    </a:cubicBezTo>
                    <a:cubicBezTo>
                      <a:pt x="39" y="48"/>
                      <a:pt x="40" y="49"/>
                      <a:pt x="39" y="50"/>
                    </a:cubicBezTo>
                    <a:cubicBezTo>
                      <a:pt x="39" y="54"/>
                      <a:pt x="39" y="57"/>
                      <a:pt x="39" y="61"/>
                    </a:cubicBezTo>
                    <a:cubicBezTo>
                      <a:pt x="39" y="63"/>
                      <a:pt x="39" y="67"/>
                      <a:pt x="39" y="69"/>
                    </a:cubicBezTo>
                    <a:cubicBezTo>
                      <a:pt x="39" y="69"/>
                      <a:pt x="39" y="70"/>
                      <a:pt x="39" y="71"/>
                    </a:cubicBezTo>
                    <a:cubicBezTo>
                      <a:pt x="39" y="72"/>
                      <a:pt x="39" y="72"/>
                      <a:pt x="39" y="72"/>
                    </a:cubicBezTo>
                    <a:cubicBezTo>
                      <a:pt x="39" y="73"/>
                      <a:pt x="39" y="74"/>
                      <a:pt x="39" y="75"/>
                    </a:cubicBezTo>
                    <a:cubicBezTo>
                      <a:pt x="39" y="76"/>
                      <a:pt x="39" y="77"/>
                      <a:pt x="39" y="78"/>
                    </a:cubicBezTo>
                    <a:cubicBezTo>
                      <a:pt x="39" y="78"/>
                      <a:pt x="38" y="79"/>
                      <a:pt x="38" y="79"/>
                    </a:cubicBezTo>
                    <a:cubicBezTo>
                      <a:pt x="37" y="79"/>
                      <a:pt x="37" y="80"/>
                      <a:pt x="37" y="81"/>
                    </a:cubicBezTo>
                    <a:cubicBezTo>
                      <a:pt x="37" y="82"/>
                      <a:pt x="37" y="82"/>
                      <a:pt x="37" y="83"/>
                    </a:cubicBezTo>
                    <a:cubicBezTo>
                      <a:pt x="36" y="84"/>
                      <a:pt x="36" y="84"/>
                      <a:pt x="36" y="85"/>
                    </a:cubicBezTo>
                    <a:cubicBezTo>
                      <a:pt x="36" y="86"/>
                      <a:pt x="35" y="86"/>
                      <a:pt x="35" y="86"/>
                    </a:cubicBezTo>
                    <a:cubicBezTo>
                      <a:pt x="34" y="86"/>
                      <a:pt x="33" y="87"/>
                      <a:pt x="33" y="88"/>
                    </a:cubicBezTo>
                    <a:cubicBezTo>
                      <a:pt x="32" y="88"/>
                      <a:pt x="33" y="89"/>
                      <a:pt x="32" y="89"/>
                    </a:cubicBezTo>
                    <a:cubicBezTo>
                      <a:pt x="32" y="90"/>
                      <a:pt x="31" y="89"/>
                      <a:pt x="31" y="89"/>
                    </a:cubicBezTo>
                    <a:cubicBezTo>
                      <a:pt x="30" y="89"/>
                      <a:pt x="28" y="88"/>
                      <a:pt x="28" y="89"/>
                    </a:cubicBezTo>
                    <a:cubicBezTo>
                      <a:pt x="27" y="90"/>
                      <a:pt x="25" y="90"/>
                      <a:pt x="24" y="90"/>
                    </a:cubicBezTo>
                    <a:cubicBezTo>
                      <a:pt x="22" y="90"/>
                      <a:pt x="20" y="90"/>
                      <a:pt x="18" y="90"/>
                    </a:cubicBezTo>
                    <a:cubicBezTo>
                      <a:pt x="16" y="90"/>
                      <a:pt x="14" y="90"/>
                      <a:pt x="12" y="90"/>
                    </a:cubicBezTo>
                    <a:cubicBezTo>
                      <a:pt x="11" y="90"/>
                      <a:pt x="10" y="91"/>
                      <a:pt x="9" y="92"/>
                    </a:cubicBezTo>
                    <a:cubicBezTo>
                      <a:pt x="8" y="94"/>
                      <a:pt x="7" y="94"/>
                      <a:pt x="5" y="94"/>
                    </a:cubicBezTo>
                    <a:cubicBezTo>
                      <a:pt x="4" y="94"/>
                      <a:pt x="4" y="93"/>
                      <a:pt x="3" y="94"/>
                    </a:cubicBezTo>
                    <a:cubicBezTo>
                      <a:pt x="2" y="94"/>
                      <a:pt x="2" y="94"/>
                      <a:pt x="1" y="93"/>
                    </a:cubicBezTo>
                    <a:cubicBezTo>
                      <a:pt x="1" y="94"/>
                      <a:pt x="1" y="94"/>
                      <a:pt x="1" y="94"/>
                    </a:cubicBezTo>
                    <a:cubicBezTo>
                      <a:pt x="1" y="95"/>
                      <a:pt x="0" y="95"/>
                      <a:pt x="0" y="95"/>
                    </a:cubicBezTo>
                    <a:cubicBezTo>
                      <a:pt x="0" y="96"/>
                      <a:pt x="1" y="96"/>
                      <a:pt x="0" y="97"/>
                    </a:cubicBezTo>
                    <a:cubicBezTo>
                      <a:pt x="0" y="98"/>
                      <a:pt x="0" y="99"/>
                      <a:pt x="0" y="99"/>
                    </a:cubicBezTo>
                    <a:cubicBezTo>
                      <a:pt x="1" y="100"/>
                      <a:pt x="1" y="100"/>
                      <a:pt x="2" y="101"/>
                    </a:cubicBezTo>
                    <a:cubicBezTo>
                      <a:pt x="2" y="102"/>
                      <a:pt x="2" y="102"/>
                      <a:pt x="2" y="103"/>
                    </a:cubicBezTo>
                    <a:cubicBezTo>
                      <a:pt x="2" y="104"/>
                      <a:pt x="2" y="104"/>
                      <a:pt x="3" y="105"/>
                    </a:cubicBezTo>
                    <a:cubicBezTo>
                      <a:pt x="3" y="105"/>
                      <a:pt x="3" y="106"/>
                      <a:pt x="4" y="106"/>
                    </a:cubicBezTo>
                    <a:cubicBezTo>
                      <a:pt x="4" y="107"/>
                      <a:pt x="4" y="107"/>
                      <a:pt x="4" y="107"/>
                    </a:cubicBezTo>
                    <a:cubicBezTo>
                      <a:pt x="4" y="108"/>
                      <a:pt x="4" y="108"/>
                      <a:pt x="5" y="108"/>
                    </a:cubicBezTo>
                    <a:cubicBezTo>
                      <a:pt x="6" y="108"/>
                      <a:pt x="6" y="108"/>
                      <a:pt x="6" y="109"/>
                    </a:cubicBezTo>
                    <a:cubicBezTo>
                      <a:pt x="7" y="109"/>
                      <a:pt x="8" y="109"/>
                      <a:pt x="8" y="110"/>
                    </a:cubicBezTo>
                    <a:cubicBezTo>
                      <a:pt x="8" y="110"/>
                      <a:pt x="8" y="110"/>
                      <a:pt x="9" y="111"/>
                    </a:cubicBezTo>
                    <a:cubicBezTo>
                      <a:pt x="9" y="111"/>
                      <a:pt x="10" y="111"/>
                      <a:pt x="10" y="111"/>
                    </a:cubicBezTo>
                    <a:cubicBezTo>
                      <a:pt x="10" y="112"/>
                      <a:pt x="10" y="111"/>
                      <a:pt x="10" y="111"/>
                    </a:cubicBezTo>
                    <a:cubicBezTo>
                      <a:pt x="9" y="112"/>
                      <a:pt x="9" y="111"/>
                      <a:pt x="8" y="111"/>
                    </a:cubicBezTo>
                    <a:cubicBezTo>
                      <a:pt x="7" y="112"/>
                      <a:pt x="8" y="114"/>
                      <a:pt x="8" y="114"/>
                    </a:cubicBezTo>
                    <a:cubicBezTo>
                      <a:pt x="8" y="115"/>
                      <a:pt x="8" y="115"/>
                      <a:pt x="9" y="115"/>
                    </a:cubicBezTo>
                    <a:cubicBezTo>
                      <a:pt x="9" y="115"/>
                      <a:pt x="10" y="116"/>
                      <a:pt x="10" y="117"/>
                    </a:cubicBezTo>
                    <a:cubicBezTo>
                      <a:pt x="11" y="117"/>
                      <a:pt x="12" y="119"/>
                      <a:pt x="14" y="119"/>
                    </a:cubicBezTo>
                    <a:cubicBezTo>
                      <a:pt x="14" y="120"/>
                      <a:pt x="16" y="120"/>
                      <a:pt x="16" y="119"/>
                    </a:cubicBezTo>
                    <a:cubicBezTo>
                      <a:pt x="17" y="118"/>
                      <a:pt x="18" y="118"/>
                      <a:pt x="19" y="119"/>
                    </a:cubicBezTo>
                    <a:cubicBezTo>
                      <a:pt x="19" y="119"/>
                      <a:pt x="19" y="119"/>
                      <a:pt x="19" y="120"/>
                    </a:cubicBezTo>
                    <a:cubicBezTo>
                      <a:pt x="20" y="120"/>
                      <a:pt x="19" y="120"/>
                      <a:pt x="20" y="121"/>
                    </a:cubicBezTo>
                    <a:cubicBezTo>
                      <a:pt x="20" y="121"/>
                      <a:pt x="20" y="122"/>
                      <a:pt x="20" y="122"/>
                    </a:cubicBezTo>
                    <a:cubicBezTo>
                      <a:pt x="19" y="122"/>
                      <a:pt x="18" y="122"/>
                      <a:pt x="18" y="122"/>
                    </a:cubicBezTo>
                    <a:cubicBezTo>
                      <a:pt x="18" y="122"/>
                      <a:pt x="18" y="123"/>
                      <a:pt x="19" y="123"/>
                    </a:cubicBezTo>
                    <a:cubicBezTo>
                      <a:pt x="19" y="125"/>
                      <a:pt x="20" y="126"/>
                      <a:pt x="21" y="128"/>
                    </a:cubicBezTo>
                    <a:cubicBezTo>
                      <a:pt x="21" y="127"/>
                      <a:pt x="21" y="127"/>
                      <a:pt x="22" y="127"/>
                    </a:cubicBezTo>
                    <a:cubicBezTo>
                      <a:pt x="22" y="126"/>
                      <a:pt x="22" y="126"/>
                      <a:pt x="21" y="126"/>
                    </a:cubicBezTo>
                    <a:cubicBezTo>
                      <a:pt x="21" y="126"/>
                      <a:pt x="21" y="124"/>
                      <a:pt x="21" y="124"/>
                    </a:cubicBezTo>
                    <a:cubicBezTo>
                      <a:pt x="21" y="124"/>
                      <a:pt x="22" y="123"/>
                      <a:pt x="22" y="123"/>
                    </a:cubicBezTo>
                    <a:cubicBezTo>
                      <a:pt x="23" y="123"/>
                      <a:pt x="23" y="123"/>
                      <a:pt x="24" y="123"/>
                    </a:cubicBezTo>
                    <a:cubicBezTo>
                      <a:pt x="24" y="123"/>
                      <a:pt x="24" y="122"/>
                      <a:pt x="25" y="122"/>
                    </a:cubicBezTo>
                    <a:cubicBezTo>
                      <a:pt x="25" y="122"/>
                      <a:pt x="26" y="122"/>
                      <a:pt x="26" y="123"/>
                    </a:cubicBezTo>
                    <a:cubicBezTo>
                      <a:pt x="26" y="123"/>
                      <a:pt x="27" y="123"/>
                      <a:pt x="27" y="124"/>
                    </a:cubicBezTo>
                    <a:cubicBezTo>
                      <a:pt x="28" y="124"/>
                      <a:pt x="29" y="125"/>
                      <a:pt x="29" y="126"/>
                    </a:cubicBezTo>
                    <a:cubicBezTo>
                      <a:pt x="29" y="127"/>
                      <a:pt x="30" y="127"/>
                      <a:pt x="30" y="127"/>
                    </a:cubicBezTo>
                    <a:cubicBezTo>
                      <a:pt x="30" y="128"/>
                      <a:pt x="30" y="127"/>
                      <a:pt x="31" y="128"/>
                    </a:cubicBezTo>
                    <a:cubicBezTo>
                      <a:pt x="32" y="128"/>
                      <a:pt x="32" y="129"/>
                      <a:pt x="33" y="130"/>
                    </a:cubicBezTo>
                    <a:cubicBezTo>
                      <a:pt x="33" y="129"/>
                      <a:pt x="34" y="129"/>
                      <a:pt x="33" y="129"/>
                    </a:cubicBezTo>
                    <a:cubicBezTo>
                      <a:pt x="33" y="128"/>
                      <a:pt x="33" y="128"/>
                      <a:pt x="33" y="127"/>
                    </a:cubicBezTo>
                    <a:cubicBezTo>
                      <a:pt x="33" y="126"/>
                      <a:pt x="33" y="125"/>
                      <a:pt x="33" y="124"/>
                    </a:cubicBezTo>
                    <a:cubicBezTo>
                      <a:pt x="34" y="123"/>
                      <a:pt x="33" y="121"/>
                      <a:pt x="34" y="120"/>
                    </a:cubicBezTo>
                    <a:cubicBezTo>
                      <a:pt x="34" y="119"/>
                      <a:pt x="35" y="119"/>
                      <a:pt x="36" y="118"/>
                    </a:cubicBezTo>
                    <a:cubicBezTo>
                      <a:pt x="37" y="117"/>
                      <a:pt x="37" y="116"/>
                      <a:pt x="38" y="115"/>
                    </a:cubicBezTo>
                    <a:cubicBezTo>
                      <a:pt x="38" y="114"/>
                      <a:pt x="38" y="112"/>
                      <a:pt x="38" y="111"/>
                    </a:cubicBezTo>
                    <a:cubicBezTo>
                      <a:pt x="38" y="110"/>
                      <a:pt x="39" y="110"/>
                      <a:pt x="40" y="109"/>
                    </a:cubicBezTo>
                    <a:cubicBezTo>
                      <a:pt x="41" y="108"/>
                      <a:pt x="41" y="108"/>
                      <a:pt x="42" y="108"/>
                    </a:cubicBezTo>
                    <a:cubicBezTo>
                      <a:pt x="43" y="107"/>
                      <a:pt x="45" y="107"/>
                      <a:pt x="46" y="107"/>
                    </a:cubicBezTo>
                    <a:cubicBezTo>
                      <a:pt x="47" y="108"/>
                      <a:pt x="48" y="107"/>
                      <a:pt x="49" y="107"/>
                    </a:cubicBezTo>
                    <a:cubicBezTo>
                      <a:pt x="49" y="107"/>
                      <a:pt x="50" y="107"/>
                      <a:pt x="50" y="106"/>
                    </a:cubicBezTo>
                    <a:cubicBezTo>
                      <a:pt x="50" y="106"/>
                      <a:pt x="51" y="106"/>
                      <a:pt x="51" y="106"/>
                    </a:cubicBezTo>
                    <a:cubicBezTo>
                      <a:pt x="52" y="106"/>
                      <a:pt x="53" y="106"/>
                      <a:pt x="54" y="107"/>
                    </a:cubicBezTo>
                    <a:cubicBezTo>
                      <a:pt x="55" y="107"/>
                      <a:pt x="56" y="108"/>
                      <a:pt x="58" y="108"/>
                    </a:cubicBezTo>
                    <a:cubicBezTo>
                      <a:pt x="58" y="108"/>
                      <a:pt x="58" y="108"/>
                      <a:pt x="59" y="108"/>
                    </a:cubicBezTo>
                    <a:cubicBezTo>
                      <a:pt x="60" y="108"/>
                      <a:pt x="60" y="109"/>
                      <a:pt x="61" y="109"/>
                    </a:cubicBezTo>
                    <a:cubicBezTo>
                      <a:pt x="62" y="110"/>
                      <a:pt x="62" y="111"/>
                      <a:pt x="63" y="112"/>
                    </a:cubicBezTo>
                    <a:cubicBezTo>
                      <a:pt x="63" y="113"/>
                      <a:pt x="64" y="114"/>
                      <a:pt x="65" y="115"/>
                    </a:cubicBezTo>
                    <a:cubicBezTo>
                      <a:pt x="65" y="116"/>
                      <a:pt x="66" y="116"/>
                      <a:pt x="67" y="115"/>
                    </a:cubicBezTo>
                    <a:cubicBezTo>
                      <a:pt x="67" y="115"/>
                      <a:pt x="67" y="114"/>
                      <a:pt x="68" y="114"/>
                    </a:cubicBezTo>
                    <a:cubicBezTo>
                      <a:pt x="69" y="114"/>
                      <a:pt x="69" y="114"/>
                      <a:pt x="70" y="114"/>
                    </a:cubicBezTo>
                    <a:cubicBezTo>
                      <a:pt x="70" y="114"/>
                      <a:pt x="71" y="113"/>
                      <a:pt x="72" y="113"/>
                    </a:cubicBezTo>
                    <a:cubicBezTo>
                      <a:pt x="73" y="112"/>
                      <a:pt x="74" y="111"/>
                      <a:pt x="76" y="112"/>
                    </a:cubicBezTo>
                    <a:cubicBezTo>
                      <a:pt x="77" y="112"/>
                      <a:pt x="78" y="114"/>
                      <a:pt x="79" y="114"/>
                    </a:cubicBezTo>
                    <a:cubicBezTo>
                      <a:pt x="80" y="115"/>
                      <a:pt x="81" y="114"/>
                      <a:pt x="81" y="115"/>
                    </a:cubicBezTo>
                    <a:cubicBezTo>
                      <a:pt x="82" y="116"/>
                      <a:pt x="82" y="116"/>
                      <a:pt x="83" y="116"/>
                    </a:cubicBezTo>
                    <a:cubicBezTo>
                      <a:pt x="84" y="117"/>
                      <a:pt x="86" y="117"/>
                      <a:pt x="88" y="117"/>
                    </a:cubicBezTo>
                    <a:cubicBezTo>
                      <a:pt x="89" y="117"/>
                      <a:pt x="89" y="117"/>
                      <a:pt x="90" y="118"/>
                    </a:cubicBezTo>
                    <a:cubicBezTo>
                      <a:pt x="91" y="118"/>
                      <a:pt x="91" y="118"/>
                      <a:pt x="91" y="117"/>
                    </a:cubicBezTo>
                    <a:cubicBezTo>
                      <a:pt x="92" y="116"/>
                      <a:pt x="93" y="115"/>
                      <a:pt x="93" y="115"/>
                    </a:cubicBezTo>
                    <a:cubicBezTo>
                      <a:pt x="94" y="115"/>
                      <a:pt x="94" y="114"/>
                      <a:pt x="94" y="114"/>
                    </a:cubicBezTo>
                    <a:cubicBezTo>
                      <a:pt x="94" y="114"/>
                      <a:pt x="94" y="113"/>
                      <a:pt x="95" y="113"/>
                    </a:cubicBezTo>
                    <a:cubicBezTo>
                      <a:pt x="95" y="113"/>
                      <a:pt x="96" y="113"/>
                      <a:pt x="97" y="112"/>
                    </a:cubicBezTo>
                    <a:cubicBezTo>
                      <a:pt x="97" y="112"/>
                      <a:pt x="98" y="112"/>
                      <a:pt x="99" y="112"/>
                    </a:cubicBezTo>
                    <a:cubicBezTo>
                      <a:pt x="100" y="112"/>
                      <a:pt x="100" y="111"/>
                      <a:pt x="101" y="111"/>
                    </a:cubicBezTo>
                    <a:cubicBezTo>
                      <a:pt x="103" y="111"/>
                      <a:pt x="105" y="111"/>
                      <a:pt x="107" y="111"/>
                    </a:cubicBezTo>
                    <a:cubicBezTo>
                      <a:pt x="108" y="111"/>
                      <a:pt x="110" y="112"/>
                      <a:pt x="112" y="112"/>
                    </a:cubicBezTo>
                    <a:cubicBezTo>
                      <a:pt x="113" y="113"/>
                      <a:pt x="113" y="113"/>
                      <a:pt x="114" y="114"/>
                    </a:cubicBezTo>
                    <a:cubicBezTo>
                      <a:pt x="115" y="114"/>
                      <a:pt x="116" y="114"/>
                      <a:pt x="116" y="114"/>
                    </a:cubicBezTo>
                    <a:cubicBezTo>
                      <a:pt x="117" y="114"/>
                      <a:pt x="118" y="115"/>
                      <a:pt x="118" y="115"/>
                    </a:cubicBezTo>
                    <a:cubicBezTo>
                      <a:pt x="118" y="115"/>
                      <a:pt x="119" y="114"/>
                      <a:pt x="119" y="114"/>
                    </a:cubicBezTo>
                    <a:cubicBezTo>
                      <a:pt x="119" y="113"/>
                      <a:pt x="119" y="113"/>
                      <a:pt x="120" y="112"/>
                    </a:cubicBezTo>
                    <a:cubicBezTo>
                      <a:pt x="120" y="112"/>
                      <a:pt x="120" y="112"/>
                      <a:pt x="120" y="112"/>
                    </a:cubicBezTo>
                    <a:cubicBezTo>
                      <a:pt x="120" y="112"/>
                      <a:pt x="120" y="112"/>
                      <a:pt x="120" y="112"/>
                    </a:cubicBezTo>
                    <a:cubicBezTo>
                      <a:pt x="121" y="112"/>
                      <a:pt x="122" y="111"/>
                      <a:pt x="122" y="110"/>
                    </a:cubicBezTo>
                    <a:cubicBezTo>
                      <a:pt x="123" y="110"/>
                      <a:pt x="123" y="109"/>
                      <a:pt x="124" y="109"/>
                    </a:cubicBezTo>
                    <a:cubicBezTo>
                      <a:pt x="124" y="110"/>
                      <a:pt x="125" y="109"/>
                      <a:pt x="125" y="109"/>
                    </a:cubicBezTo>
                    <a:cubicBezTo>
                      <a:pt x="126" y="109"/>
                      <a:pt x="126" y="109"/>
                      <a:pt x="126" y="108"/>
                    </a:cubicBezTo>
                    <a:cubicBezTo>
                      <a:pt x="127" y="107"/>
                      <a:pt x="128" y="108"/>
                      <a:pt x="129" y="108"/>
                    </a:cubicBezTo>
                    <a:cubicBezTo>
                      <a:pt x="129" y="105"/>
                      <a:pt x="128" y="103"/>
                      <a:pt x="128" y="100"/>
                    </a:cubicBezTo>
                    <a:cubicBezTo>
                      <a:pt x="128" y="99"/>
                      <a:pt x="128" y="99"/>
                      <a:pt x="129" y="99"/>
                    </a:cubicBezTo>
                    <a:cubicBezTo>
                      <a:pt x="130" y="98"/>
                      <a:pt x="129" y="98"/>
                      <a:pt x="130" y="97"/>
                    </a:cubicBezTo>
                    <a:cubicBezTo>
                      <a:pt x="130" y="97"/>
                      <a:pt x="131" y="97"/>
                      <a:pt x="131" y="96"/>
                    </a:cubicBezTo>
                    <a:cubicBezTo>
                      <a:pt x="131" y="96"/>
                      <a:pt x="131" y="95"/>
                      <a:pt x="131" y="95"/>
                    </a:cubicBezTo>
                    <a:cubicBezTo>
                      <a:pt x="131" y="94"/>
                      <a:pt x="131" y="93"/>
                      <a:pt x="132" y="93"/>
                    </a:cubicBezTo>
                    <a:cubicBezTo>
                      <a:pt x="133" y="90"/>
                      <a:pt x="135" y="88"/>
                      <a:pt x="136" y="86"/>
                    </a:cubicBezTo>
                    <a:cubicBezTo>
                      <a:pt x="139" y="82"/>
                      <a:pt x="141" y="79"/>
                      <a:pt x="144" y="76"/>
                    </a:cubicBezTo>
                    <a:cubicBezTo>
                      <a:pt x="145" y="75"/>
                      <a:pt x="147" y="74"/>
                      <a:pt x="147" y="72"/>
                    </a:cubicBezTo>
                    <a:cubicBezTo>
                      <a:pt x="147" y="71"/>
                      <a:pt x="147" y="69"/>
                      <a:pt x="147" y="68"/>
                    </a:cubicBezTo>
                    <a:cubicBezTo>
                      <a:pt x="148" y="60"/>
                      <a:pt x="148" y="52"/>
                      <a:pt x="149" y="44"/>
                    </a:cubicBezTo>
                    <a:cubicBezTo>
                      <a:pt x="149" y="42"/>
                      <a:pt x="149" y="40"/>
                      <a:pt x="150" y="38"/>
                    </a:cubicBezTo>
                    <a:cubicBezTo>
                      <a:pt x="150" y="37"/>
                      <a:pt x="152" y="35"/>
                      <a:pt x="152" y="35"/>
                    </a:cubicBezTo>
                    <a:cubicBezTo>
                      <a:pt x="151" y="34"/>
                      <a:pt x="150" y="33"/>
                      <a:pt x="150" y="3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6" name="Nicaragua">
                <a:extLst>
                  <a:ext uri="{FF2B5EF4-FFF2-40B4-BE49-F238E27FC236}">
                    <a16:creationId xmlns:a16="http://schemas.microsoft.com/office/drawing/2014/main" id="{D1BD57B9-2A35-FA27-2E2D-CC383CB566D8}"/>
                  </a:ext>
                </a:extLst>
              </p:cNvPr>
              <p:cNvSpPr>
                <a:spLocks noEditPoints="1"/>
              </p:cNvSpPr>
              <p:nvPr/>
            </p:nvSpPr>
            <p:spPr bwMode="auto">
              <a:xfrm>
                <a:off x="2705224" y="3459193"/>
                <a:ext cx="177409" cy="170548"/>
              </a:xfrm>
              <a:custGeom>
                <a:avLst/>
                <a:gdLst/>
                <a:ahLst/>
                <a:cxnLst>
                  <a:cxn ang="0">
                    <a:pos x="19" y="39"/>
                  </a:cxn>
                  <a:cxn ang="0">
                    <a:pos x="19" y="38"/>
                  </a:cxn>
                  <a:cxn ang="0">
                    <a:pos x="45" y="1"/>
                  </a:cxn>
                  <a:cxn ang="0">
                    <a:pos x="45" y="2"/>
                  </a:cxn>
                  <a:cxn ang="0">
                    <a:pos x="44" y="1"/>
                  </a:cxn>
                  <a:cxn ang="0">
                    <a:pos x="44" y="3"/>
                  </a:cxn>
                  <a:cxn ang="0">
                    <a:pos x="45" y="5"/>
                  </a:cxn>
                  <a:cxn ang="0">
                    <a:pos x="43" y="12"/>
                  </a:cxn>
                  <a:cxn ang="0">
                    <a:pos x="40" y="21"/>
                  </a:cxn>
                  <a:cxn ang="0">
                    <a:pos x="40" y="29"/>
                  </a:cxn>
                  <a:cxn ang="0">
                    <a:pos x="39" y="27"/>
                  </a:cxn>
                  <a:cxn ang="0">
                    <a:pos x="39" y="25"/>
                  </a:cxn>
                  <a:cxn ang="0">
                    <a:pos x="38" y="28"/>
                  </a:cxn>
                  <a:cxn ang="0">
                    <a:pos x="38" y="30"/>
                  </a:cxn>
                  <a:cxn ang="0">
                    <a:pos x="38" y="31"/>
                  </a:cxn>
                  <a:cxn ang="0">
                    <a:pos x="38" y="32"/>
                  </a:cxn>
                  <a:cxn ang="0">
                    <a:pos x="37" y="33"/>
                  </a:cxn>
                  <a:cxn ang="0">
                    <a:pos x="36" y="35"/>
                  </a:cxn>
                  <a:cxn ang="0">
                    <a:pos x="38" y="38"/>
                  </a:cxn>
                  <a:cxn ang="0">
                    <a:pos x="36" y="44"/>
                  </a:cxn>
                  <a:cxn ang="0">
                    <a:pos x="34" y="47"/>
                  </a:cxn>
                  <a:cxn ang="0">
                    <a:pos x="31" y="45"/>
                  </a:cxn>
                  <a:cxn ang="0">
                    <a:pos x="29" y="44"/>
                  </a:cxn>
                  <a:cxn ang="0">
                    <a:pos x="22" y="43"/>
                  </a:cxn>
                  <a:cxn ang="0">
                    <a:pos x="18" y="44"/>
                  </a:cxn>
                  <a:cxn ang="0">
                    <a:pos x="12" y="37"/>
                  </a:cxn>
                  <a:cxn ang="0">
                    <a:pos x="9" y="33"/>
                  </a:cxn>
                  <a:cxn ang="0">
                    <a:pos x="5" y="28"/>
                  </a:cxn>
                  <a:cxn ang="0">
                    <a:pos x="5" y="28"/>
                  </a:cxn>
                  <a:cxn ang="0">
                    <a:pos x="2" y="25"/>
                  </a:cxn>
                  <a:cxn ang="0">
                    <a:pos x="0" y="23"/>
                  </a:cxn>
                  <a:cxn ang="0">
                    <a:pos x="4" y="23"/>
                  </a:cxn>
                  <a:cxn ang="0">
                    <a:pos x="6" y="23"/>
                  </a:cxn>
                  <a:cxn ang="0">
                    <a:pos x="10" y="19"/>
                  </a:cxn>
                  <a:cxn ang="0">
                    <a:pos x="10" y="14"/>
                  </a:cxn>
                  <a:cxn ang="0">
                    <a:pos x="14" y="14"/>
                  </a:cxn>
                  <a:cxn ang="0">
                    <a:pos x="18" y="12"/>
                  </a:cxn>
                  <a:cxn ang="0">
                    <a:pos x="19" y="13"/>
                  </a:cxn>
                  <a:cxn ang="0">
                    <a:pos x="22" y="11"/>
                  </a:cxn>
                  <a:cxn ang="0">
                    <a:pos x="26" y="8"/>
                  </a:cxn>
                  <a:cxn ang="0">
                    <a:pos x="27" y="5"/>
                  </a:cxn>
                  <a:cxn ang="0">
                    <a:pos x="28" y="4"/>
                  </a:cxn>
                  <a:cxn ang="0">
                    <a:pos x="30" y="2"/>
                  </a:cxn>
                  <a:cxn ang="0">
                    <a:pos x="34" y="4"/>
                  </a:cxn>
                  <a:cxn ang="0">
                    <a:pos x="36" y="3"/>
                  </a:cxn>
                  <a:cxn ang="0">
                    <a:pos x="39" y="3"/>
                  </a:cxn>
                  <a:cxn ang="0">
                    <a:pos x="42" y="1"/>
                  </a:cxn>
                  <a:cxn ang="0">
                    <a:pos x="44" y="0"/>
                  </a:cxn>
                  <a:cxn ang="0">
                    <a:pos x="26" y="41"/>
                  </a:cxn>
                  <a:cxn ang="0">
                    <a:pos x="21" y="35"/>
                  </a:cxn>
                  <a:cxn ang="0">
                    <a:pos x="19" y="32"/>
                  </a:cxn>
                  <a:cxn ang="0">
                    <a:pos x="16" y="35"/>
                  </a:cxn>
                  <a:cxn ang="0">
                    <a:pos x="17" y="37"/>
                  </a:cxn>
                  <a:cxn ang="0">
                    <a:pos x="17" y="39"/>
                  </a:cxn>
                  <a:cxn ang="0">
                    <a:pos x="24" y="44"/>
                  </a:cxn>
                  <a:cxn ang="0">
                    <a:pos x="44" y="32"/>
                  </a:cxn>
                  <a:cxn ang="0">
                    <a:pos x="49" y="7"/>
                  </a:cxn>
                </a:cxnLst>
                <a:rect l="0" t="0" r="r" b="b"/>
                <a:pathLst>
                  <a:path w="50" h="48">
                    <a:moveTo>
                      <a:pt x="20" y="39"/>
                    </a:moveTo>
                    <a:cubicBezTo>
                      <a:pt x="20" y="40"/>
                      <a:pt x="20" y="40"/>
                      <a:pt x="20" y="40"/>
                    </a:cubicBezTo>
                    <a:cubicBezTo>
                      <a:pt x="19" y="40"/>
                      <a:pt x="19" y="40"/>
                      <a:pt x="19" y="39"/>
                    </a:cubicBezTo>
                    <a:cubicBezTo>
                      <a:pt x="19" y="39"/>
                      <a:pt x="19" y="39"/>
                      <a:pt x="19" y="39"/>
                    </a:cubicBezTo>
                    <a:cubicBezTo>
                      <a:pt x="19" y="39"/>
                      <a:pt x="18" y="39"/>
                      <a:pt x="18" y="39"/>
                    </a:cubicBezTo>
                    <a:cubicBezTo>
                      <a:pt x="18" y="38"/>
                      <a:pt x="18" y="38"/>
                      <a:pt x="19" y="38"/>
                    </a:cubicBezTo>
                    <a:cubicBezTo>
                      <a:pt x="19" y="38"/>
                      <a:pt x="19" y="38"/>
                      <a:pt x="20" y="39"/>
                    </a:cubicBezTo>
                    <a:cubicBezTo>
                      <a:pt x="20" y="39"/>
                      <a:pt x="20" y="39"/>
                      <a:pt x="20" y="39"/>
                    </a:cubicBezTo>
                    <a:close/>
                    <a:moveTo>
                      <a:pt x="45" y="1"/>
                    </a:moveTo>
                    <a:cubicBezTo>
                      <a:pt x="45" y="1"/>
                      <a:pt x="46" y="0"/>
                      <a:pt x="46" y="0"/>
                    </a:cubicBezTo>
                    <a:cubicBezTo>
                      <a:pt x="46" y="1"/>
                      <a:pt x="46" y="1"/>
                      <a:pt x="46" y="1"/>
                    </a:cubicBezTo>
                    <a:cubicBezTo>
                      <a:pt x="45" y="1"/>
                      <a:pt x="45" y="1"/>
                      <a:pt x="45" y="2"/>
                    </a:cubicBezTo>
                    <a:cubicBezTo>
                      <a:pt x="45" y="2"/>
                      <a:pt x="45" y="3"/>
                      <a:pt x="44" y="3"/>
                    </a:cubicBezTo>
                    <a:cubicBezTo>
                      <a:pt x="45" y="3"/>
                      <a:pt x="44" y="2"/>
                      <a:pt x="45" y="2"/>
                    </a:cubicBezTo>
                    <a:cubicBezTo>
                      <a:pt x="45" y="2"/>
                      <a:pt x="45" y="1"/>
                      <a:pt x="44" y="1"/>
                    </a:cubicBezTo>
                    <a:cubicBezTo>
                      <a:pt x="44" y="2"/>
                      <a:pt x="43" y="2"/>
                      <a:pt x="43" y="3"/>
                    </a:cubicBezTo>
                    <a:cubicBezTo>
                      <a:pt x="44" y="2"/>
                      <a:pt x="44" y="3"/>
                      <a:pt x="44" y="3"/>
                    </a:cubicBezTo>
                    <a:cubicBezTo>
                      <a:pt x="44" y="4"/>
                      <a:pt x="45" y="3"/>
                      <a:pt x="44" y="3"/>
                    </a:cubicBezTo>
                    <a:cubicBezTo>
                      <a:pt x="44" y="3"/>
                      <a:pt x="44" y="3"/>
                      <a:pt x="44" y="3"/>
                    </a:cubicBezTo>
                    <a:cubicBezTo>
                      <a:pt x="44" y="3"/>
                      <a:pt x="44" y="3"/>
                      <a:pt x="44" y="3"/>
                    </a:cubicBezTo>
                    <a:cubicBezTo>
                      <a:pt x="45" y="3"/>
                      <a:pt x="45" y="4"/>
                      <a:pt x="45" y="5"/>
                    </a:cubicBezTo>
                    <a:cubicBezTo>
                      <a:pt x="45" y="5"/>
                      <a:pt x="45" y="6"/>
                      <a:pt x="45" y="7"/>
                    </a:cubicBezTo>
                    <a:cubicBezTo>
                      <a:pt x="45" y="9"/>
                      <a:pt x="44" y="9"/>
                      <a:pt x="43" y="11"/>
                    </a:cubicBezTo>
                    <a:cubicBezTo>
                      <a:pt x="43" y="11"/>
                      <a:pt x="43" y="11"/>
                      <a:pt x="43" y="12"/>
                    </a:cubicBezTo>
                    <a:cubicBezTo>
                      <a:pt x="42" y="12"/>
                      <a:pt x="42" y="13"/>
                      <a:pt x="42" y="14"/>
                    </a:cubicBezTo>
                    <a:cubicBezTo>
                      <a:pt x="41" y="16"/>
                      <a:pt x="41" y="17"/>
                      <a:pt x="40" y="19"/>
                    </a:cubicBezTo>
                    <a:cubicBezTo>
                      <a:pt x="40" y="20"/>
                      <a:pt x="40" y="20"/>
                      <a:pt x="40" y="21"/>
                    </a:cubicBezTo>
                    <a:cubicBezTo>
                      <a:pt x="40" y="22"/>
                      <a:pt x="41" y="22"/>
                      <a:pt x="40" y="23"/>
                    </a:cubicBezTo>
                    <a:cubicBezTo>
                      <a:pt x="40" y="25"/>
                      <a:pt x="39" y="26"/>
                      <a:pt x="40" y="28"/>
                    </a:cubicBezTo>
                    <a:cubicBezTo>
                      <a:pt x="40" y="28"/>
                      <a:pt x="41" y="29"/>
                      <a:pt x="40" y="29"/>
                    </a:cubicBezTo>
                    <a:cubicBezTo>
                      <a:pt x="40" y="29"/>
                      <a:pt x="39" y="29"/>
                      <a:pt x="39" y="29"/>
                    </a:cubicBezTo>
                    <a:cubicBezTo>
                      <a:pt x="39" y="29"/>
                      <a:pt x="39" y="29"/>
                      <a:pt x="39" y="29"/>
                    </a:cubicBezTo>
                    <a:cubicBezTo>
                      <a:pt x="39" y="28"/>
                      <a:pt x="39" y="27"/>
                      <a:pt x="39" y="27"/>
                    </a:cubicBezTo>
                    <a:cubicBezTo>
                      <a:pt x="39" y="27"/>
                      <a:pt x="39" y="27"/>
                      <a:pt x="40" y="27"/>
                    </a:cubicBezTo>
                    <a:cubicBezTo>
                      <a:pt x="40" y="26"/>
                      <a:pt x="40" y="25"/>
                      <a:pt x="40" y="25"/>
                    </a:cubicBezTo>
                    <a:cubicBezTo>
                      <a:pt x="40" y="24"/>
                      <a:pt x="39" y="24"/>
                      <a:pt x="39" y="25"/>
                    </a:cubicBezTo>
                    <a:cubicBezTo>
                      <a:pt x="39" y="25"/>
                      <a:pt x="39" y="26"/>
                      <a:pt x="39" y="26"/>
                    </a:cubicBezTo>
                    <a:cubicBezTo>
                      <a:pt x="39" y="27"/>
                      <a:pt x="37" y="27"/>
                      <a:pt x="37" y="28"/>
                    </a:cubicBezTo>
                    <a:cubicBezTo>
                      <a:pt x="37" y="28"/>
                      <a:pt x="38" y="28"/>
                      <a:pt x="38" y="28"/>
                    </a:cubicBezTo>
                    <a:cubicBezTo>
                      <a:pt x="38" y="29"/>
                      <a:pt x="38" y="29"/>
                      <a:pt x="38" y="29"/>
                    </a:cubicBezTo>
                    <a:cubicBezTo>
                      <a:pt x="38" y="29"/>
                      <a:pt x="38" y="29"/>
                      <a:pt x="38" y="30"/>
                    </a:cubicBezTo>
                    <a:cubicBezTo>
                      <a:pt x="38" y="30"/>
                      <a:pt x="38" y="30"/>
                      <a:pt x="38" y="30"/>
                    </a:cubicBezTo>
                    <a:cubicBezTo>
                      <a:pt x="38" y="30"/>
                      <a:pt x="38" y="30"/>
                      <a:pt x="38" y="30"/>
                    </a:cubicBezTo>
                    <a:cubicBezTo>
                      <a:pt x="38" y="30"/>
                      <a:pt x="39" y="29"/>
                      <a:pt x="39" y="30"/>
                    </a:cubicBezTo>
                    <a:cubicBezTo>
                      <a:pt x="39" y="30"/>
                      <a:pt x="38" y="31"/>
                      <a:pt x="38" y="31"/>
                    </a:cubicBezTo>
                    <a:cubicBezTo>
                      <a:pt x="38" y="32"/>
                      <a:pt x="38" y="33"/>
                      <a:pt x="38" y="34"/>
                    </a:cubicBezTo>
                    <a:cubicBezTo>
                      <a:pt x="38" y="33"/>
                      <a:pt x="38" y="33"/>
                      <a:pt x="38" y="33"/>
                    </a:cubicBezTo>
                    <a:cubicBezTo>
                      <a:pt x="38" y="32"/>
                      <a:pt x="38" y="33"/>
                      <a:pt x="38" y="32"/>
                    </a:cubicBezTo>
                    <a:cubicBezTo>
                      <a:pt x="38" y="32"/>
                      <a:pt x="37" y="31"/>
                      <a:pt x="37" y="32"/>
                    </a:cubicBezTo>
                    <a:cubicBezTo>
                      <a:pt x="37" y="32"/>
                      <a:pt x="38" y="32"/>
                      <a:pt x="38" y="32"/>
                    </a:cubicBezTo>
                    <a:cubicBezTo>
                      <a:pt x="37" y="33"/>
                      <a:pt x="38" y="33"/>
                      <a:pt x="37" y="33"/>
                    </a:cubicBezTo>
                    <a:cubicBezTo>
                      <a:pt x="37" y="33"/>
                      <a:pt x="37" y="33"/>
                      <a:pt x="37" y="33"/>
                    </a:cubicBezTo>
                    <a:cubicBezTo>
                      <a:pt x="37" y="33"/>
                      <a:pt x="37" y="34"/>
                      <a:pt x="37" y="34"/>
                    </a:cubicBezTo>
                    <a:cubicBezTo>
                      <a:pt x="37" y="34"/>
                      <a:pt x="37" y="34"/>
                      <a:pt x="36" y="35"/>
                    </a:cubicBezTo>
                    <a:cubicBezTo>
                      <a:pt x="36" y="35"/>
                      <a:pt x="37" y="36"/>
                      <a:pt x="37" y="35"/>
                    </a:cubicBezTo>
                    <a:cubicBezTo>
                      <a:pt x="37" y="35"/>
                      <a:pt x="38" y="35"/>
                      <a:pt x="38" y="36"/>
                    </a:cubicBezTo>
                    <a:cubicBezTo>
                      <a:pt x="38" y="36"/>
                      <a:pt x="38" y="37"/>
                      <a:pt x="38" y="38"/>
                    </a:cubicBezTo>
                    <a:cubicBezTo>
                      <a:pt x="38" y="38"/>
                      <a:pt x="37" y="38"/>
                      <a:pt x="37" y="39"/>
                    </a:cubicBezTo>
                    <a:cubicBezTo>
                      <a:pt x="36" y="39"/>
                      <a:pt x="36" y="40"/>
                      <a:pt x="36" y="41"/>
                    </a:cubicBezTo>
                    <a:cubicBezTo>
                      <a:pt x="35" y="42"/>
                      <a:pt x="36" y="43"/>
                      <a:pt x="36" y="44"/>
                    </a:cubicBezTo>
                    <a:cubicBezTo>
                      <a:pt x="36" y="45"/>
                      <a:pt x="37" y="45"/>
                      <a:pt x="37" y="45"/>
                    </a:cubicBezTo>
                    <a:cubicBezTo>
                      <a:pt x="37" y="45"/>
                      <a:pt x="37" y="47"/>
                      <a:pt x="37" y="47"/>
                    </a:cubicBezTo>
                    <a:cubicBezTo>
                      <a:pt x="36" y="47"/>
                      <a:pt x="35" y="48"/>
                      <a:pt x="34" y="47"/>
                    </a:cubicBezTo>
                    <a:cubicBezTo>
                      <a:pt x="33" y="46"/>
                      <a:pt x="33" y="47"/>
                      <a:pt x="32" y="47"/>
                    </a:cubicBezTo>
                    <a:cubicBezTo>
                      <a:pt x="31" y="46"/>
                      <a:pt x="32" y="46"/>
                      <a:pt x="31" y="45"/>
                    </a:cubicBezTo>
                    <a:cubicBezTo>
                      <a:pt x="31" y="45"/>
                      <a:pt x="31" y="45"/>
                      <a:pt x="31" y="45"/>
                    </a:cubicBezTo>
                    <a:cubicBezTo>
                      <a:pt x="31" y="45"/>
                      <a:pt x="31" y="45"/>
                      <a:pt x="31" y="45"/>
                    </a:cubicBezTo>
                    <a:cubicBezTo>
                      <a:pt x="30" y="44"/>
                      <a:pt x="30" y="45"/>
                      <a:pt x="30" y="45"/>
                    </a:cubicBezTo>
                    <a:cubicBezTo>
                      <a:pt x="30" y="45"/>
                      <a:pt x="29" y="45"/>
                      <a:pt x="29" y="44"/>
                    </a:cubicBezTo>
                    <a:cubicBezTo>
                      <a:pt x="29" y="44"/>
                      <a:pt x="28" y="43"/>
                      <a:pt x="27" y="44"/>
                    </a:cubicBezTo>
                    <a:cubicBezTo>
                      <a:pt x="26" y="44"/>
                      <a:pt x="25" y="45"/>
                      <a:pt x="25" y="45"/>
                    </a:cubicBezTo>
                    <a:cubicBezTo>
                      <a:pt x="24" y="44"/>
                      <a:pt x="23" y="44"/>
                      <a:pt x="22" y="43"/>
                    </a:cubicBezTo>
                    <a:cubicBezTo>
                      <a:pt x="21" y="43"/>
                      <a:pt x="21" y="43"/>
                      <a:pt x="20" y="43"/>
                    </a:cubicBezTo>
                    <a:cubicBezTo>
                      <a:pt x="20" y="42"/>
                      <a:pt x="19" y="42"/>
                      <a:pt x="18" y="42"/>
                    </a:cubicBezTo>
                    <a:cubicBezTo>
                      <a:pt x="18" y="43"/>
                      <a:pt x="18" y="44"/>
                      <a:pt x="18" y="44"/>
                    </a:cubicBezTo>
                    <a:cubicBezTo>
                      <a:pt x="17" y="43"/>
                      <a:pt x="17" y="43"/>
                      <a:pt x="16" y="42"/>
                    </a:cubicBezTo>
                    <a:cubicBezTo>
                      <a:pt x="16" y="41"/>
                      <a:pt x="14" y="40"/>
                      <a:pt x="13" y="39"/>
                    </a:cubicBezTo>
                    <a:cubicBezTo>
                      <a:pt x="13" y="38"/>
                      <a:pt x="12" y="38"/>
                      <a:pt x="12" y="37"/>
                    </a:cubicBezTo>
                    <a:cubicBezTo>
                      <a:pt x="11" y="37"/>
                      <a:pt x="11" y="36"/>
                      <a:pt x="10" y="36"/>
                    </a:cubicBezTo>
                    <a:cubicBezTo>
                      <a:pt x="10" y="35"/>
                      <a:pt x="10" y="35"/>
                      <a:pt x="10" y="35"/>
                    </a:cubicBezTo>
                    <a:cubicBezTo>
                      <a:pt x="10" y="35"/>
                      <a:pt x="9" y="34"/>
                      <a:pt x="9" y="33"/>
                    </a:cubicBezTo>
                    <a:cubicBezTo>
                      <a:pt x="9" y="33"/>
                      <a:pt x="9" y="31"/>
                      <a:pt x="8" y="31"/>
                    </a:cubicBezTo>
                    <a:cubicBezTo>
                      <a:pt x="8" y="30"/>
                      <a:pt x="7" y="30"/>
                      <a:pt x="6" y="30"/>
                    </a:cubicBezTo>
                    <a:cubicBezTo>
                      <a:pt x="6" y="29"/>
                      <a:pt x="5" y="29"/>
                      <a:pt x="5" y="28"/>
                    </a:cubicBezTo>
                    <a:cubicBezTo>
                      <a:pt x="5" y="28"/>
                      <a:pt x="5" y="29"/>
                      <a:pt x="5" y="29"/>
                    </a:cubicBezTo>
                    <a:cubicBezTo>
                      <a:pt x="5" y="28"/>
                      <a:pt x="5" y="28"/>
                      <a:pt x="5" y="28"/>
                    </a:cubicBezTo>
                    <a:cubicBezTo>
                      <a:pt x="5" y="28"/>
                      <a:pt x="5" y="28"/>
                      <a:pt x="5" y="28"/>
                    </a:cubicBezTo>
                    <a:cubicBezTo>
                      <a:pt x="4" y="28"/>
                      <a:pt x="4" y="27"/>
                      <a:pt x="3" y="27"/>
                    </a:cubicBezTo>
                    <a:cubicBezTo>
                      <a:pt x="3" y="26"/>
                      <a:pt x="3" y="26"/>
                      <a:pt x="3" y="26"/>
                    </a:cubicBezTo>
                    <a:cubicBezTo>
                      <a:pt x="2" y="26"/>
                      <a:pt x="2" y="25"/>
                      <a:pt x="2" y="25"/>
                    </a:cubicBezTo>
                    <a:cubicBezTo>
                      <a:pt x="3" y="25"/>
                      <a:pt x="2" y="24"/>
                      <a:pt x="2" y="24"/>
                    </a:cubicBezTo>
                    <a:cubicBezTo>
                      <a:pt x="2" y="24"/>
                      <a:pt x="2" y="25"/>
                      <a:pt x="2" y="25"/>
                    </a:cubicBezTo>
                    <a:cubicBezTo>
                      <a:pt x="2" y="25"/>
                      <a:pt x="0" y="24"/>
                      <a:pt x="0" y="23"/>
                    </a:cubicBezTo>
                    <a:cubicBezTo>
                      <a:pt x="0" y="23"/>
                      <a:pt x="1" y="22"/>
                      <a:pt x="1" y="21"/>
                    </a:cubicBezTo>
                    <a:cubicBezTo>
                      <a:pt x="1" y="22"/>
                      <a:pt x="2" y="22"/>
                      <a:pt x="2" y="23"/>
                    </a:cubicBezTo>
                    <a:cubicBezTo>
                      <a:pt x="3" y="23"/>
                      <a:pt x="3" y="23"/>
                      <a:pt x="4" y="23"/>
                    </a:cubicBezTo>
                    <a:cubicBezTo>
                      <a:pt x="4" y="23"/>
                      <a:pt x="3" y="23"/>
                      <a:pt x="4" y="23"/>
                    </a:cubicBezTo>
                    <a:cubicBezTo>
                      <a:pt x="4" y="23"/>
                      <a:pt x="4" y="22"/>
                      <a:pt x="5" y="22"/>
                    </a:cubicBezTo>
                    <a:cubicBezTo>
                      <a:pt x="5" y="22"/>
                      <a:pt x="6" y="23"/>
                      <a:pt x="6" y="23"/>
                    </a:cubicBezTo>
                    <a:cubicBezTo>
                      <a:pt x="7" y="23"/>
                      <a:pt x="8" y="21"/>
                      <a:pt x="8" y="21"/>
                    </a:cubicBezTo>
                    <a:cubicBezTo>
                      <a:pt x="8" y="20"/>
                      <a:pt x="8" y="19"/>
                      <a:pt x="9" y="19"/>
                    </a:cubicBezTo>
                    <a:cubicBezTo>
                      <a:pt x="9" y="19"/>
                      <a:pt x="10" y="20"/>
                      <a:pt x="10" y="19"/>
                    </a:cubicBezTo>
                    <a:cubicBezTo>
                      <a:pt x="10" y="18"/>
                      <a:pt x="10" y="18"/>
                      <a:pt x="10" y="18"/>
                    </a:cubicBezTo>
                    <a:cubicBezTo>
                      <a:pt x="10" y="17"/>
                      <a:pt x="10" y="17"/>
                      <a:pt x="10" y="16"/>
                    </a:cubicBezTo>
                    <a:cubicBezTo>
                      <a:pt x="10" y="15"/>
                      <a:pt x="9" y="14"/>
                      <a:pt x="10" y="14"/>
                    </a:cubicBezTo>
                    <a:cubicBezTo>
                      <a:pt x="11" y="14"/>
                      <a:pt x="11" y="14"/>
                      <a:pt x="11" y="14"/>
                    </a:cubicBezTo>
                    <a:cubicBezTo>
                      <a:pt x="12" y="14"/>
                      <a:pt x="12" y="14"/>
                      <a:pt x="13" y="14"/>
                    </a:cubicBezTo>
                    <a:cubicBezTo>
                      <a:pt x="13" y="14"/>
                      <a:pt x="14" y="14"/>
                      <a:pt x="14" y="14"/>
                    </a:cubicBezTo>
                    <a:cubicBezTo>
                      <a:pt x="15" y="13"/>
                      <a:pt x="15" y="12"/>
                      <a:pt x="16" y="12"/>
                    </a:cubicBezTo>
                    <a:cubicBezTo>
                      <a:pt x="16" y="11"/>
                      <a:pt x="17" y="11"/>
                      <a:pt x="17" y="11"/>
                    </a:cubicBezTo>
                    <a:cubicBezTo>
                      <a:pt x="18" y="11"/>
                      <a:pt x="18" y="12"/>
                      <a:pt x="18" y="12"/>
                    </a:cubicBezTo>
                    <a:cubicBezTo>
                      <a:pt x="18" y="12"/>
                      <a:pt x="18" y="12"/>
                      <a:pt x="18" y="12"/>
                    </a:cubicBezTo>
                    <a:cubicBezTo>
                      <a:pt x="19" y="13"/>
                      <a:pt x="19" y="12"/>
                      <a:pt x="19" y="12"/>
                    </a:cubicBezTo>
                    <a:cubicBezTo>
                      <a:pt x="19" y="12"/>
                      <a:pt x="19" y="13"/>
                      <a:pt x="19" y="13"/>
                    </a:cubicBezTo>
                    <a:cubicBezTo>
                      <a:pt x="20" y="13"/>
                      <a:pt x="20" y="13"/>
                      <a:pt x="20" y="13"/>
                    </a:cubicBezTo>
                    <a:cubicBezTo>
                      <a:pt x="20" y="13"/>
                      <a:pt x="20" y="12"/>
                      <a:pt x="20" y="12"/>
                    </a:cubicBezTo>
                    <a:cubicBezTo>
                      <a:pt x="20" y="12"/>
                      <a:pt x="21" y="11"/>
                      <a:pt x="22" y="11"/>
                    </a:cubicBezTo>
                    <a:cubicBezTo>
                      <a:pt x="22" y="11"/>
                      <a:pt x="23" y="10"/>
                      <a:pt x="23" y="10"/>
                    </a:cubicBezTo>
                    <a:cubicBezTo>
                      <a:pt x="24" y="9"/>
                      <a:pt x="24" y="9"/>
                      <a:pt x="25" y="8"/>
                    </a:cubicBezTo>
                    <a:cubicBezTo>
                      <a:pt x="25" y="8"/>
                      <a:pt x="25" y="8"/>
                      <a:pt x="26" y="8"/>
                    </a:cubicBezTo>
                    <a:cubicBezTo>
                      <a:pt x="26" y="8"/>
                      <a:pt x="26" y="7"/>
                      <a:pt x="26" y="6"/>
                    </a:cubicBezTo>
                    <a:cubicBezTo>
                      <a:pt x="26" y="6"/>
                      <a:pt x="26" y="5"/>
                      <a:pt x="27" y="5"/>
                    </a:cubicBezTo>
                    <a:cubicBezTo>
                      <a:pt x="27" y="5"/>
                      <a:pt x="27" y="6"/>
                      <a:pt x="27" y="5"/>
                    </a:cubicBezTo>
                    <a:cubicBezTo>
                      <a:pt x="28" y="5"/>
                      <a:pt x="28" y="5"/>
                      <a:pt x="28" y="5"/>
                    </a:cubicBezTo>
                    <a:cubicBezTo>
                      <a:pt x="28" y="5"/>
                      <a:pt x="28" y="5"/>
                      <a:pt x="28" y="5"/>
                    </a:cubicBezTo>
                    <a:cubicBezTo>
                      <a:pt x="28" y="4"/>
                      <a:pt x="27" y="4"/>
                      <a:pt x="28" y="4"/>
                    </a:cubicBezTo>
                    <a:cubicBezTo>
                      <a:pt x="28" y="4"/>
                      <a:pt x="28" y="4"/>
                      <a:pt x="28" y="3"/>
                    </a:cubicBezTo>
                    <a:cubicBezTo>
                      <a:pt x="28" y="3"/>
                      <a:pt x="29" y="3"/>
                      <a:pt x="29" y="3"/>
                    </a:cubicBezTo>
                    <a:cubicBezTo>
                      <a:pt x="29" y="2"/>
                      <a:pt x="29" y="2"/>
                      <a:pt x="30" y="2"/>
                    </a:cubicBezTo>
                    <a:cubicBezTo>
                      <a:pt x="30" y="2"/>
                      <a:pt x="30" y="4"/>
                      <a:pt x="31" y="4"/>
                    </a:cubicBezTo>
                    <a:cubicBezTo>
                      <a:pt x="31" y="4"/>
                      <a:pt x="32" y="4"/>
                      <a:pt x="33" y="4"/>
                    </a:cubicBezTo>
                    <a:cubicBezTo>
                      <a:pt x="33" y="5"/>
                      <a:pt x="34" y="4"/>
                      <a:pt x="34" y="4"/>
                    </a:cubicBezTo>
                    <a:cubicBezTo>
                      <a:pt x="34" y="3"/>
                      <a:pt x="35" y="4"/>
                      <a:pt x="35" y="4"/>
                    </a:cubicBezTo>
                    <a:cubicBezTo>
                      <a:pt x="35" y="4"/>
                      <a:pt x="35" y="3"/>
                      <a:pt x="35" y="3"/>
                    </a:cubicBezTo>
                    <a:cubicBezTo>
                      <a:pt x="36" y="3"/>
                      <a:pt x="35" y="3"/>
                      <a:pt x="36" y="3"/>
                    </a:cubicBezTo>
                    <a:cubicBezTo>
                      <a:pt x="36" y="3"/>
                      <a:pt x="36" y="4"/>
                      <a:pt x="37" y="3"/>
                    </a:cubicBezTo>
                    <a:cubicBezTo>
                      <a:pt x="37" y="3"/>
                      <a:pt x="36" y="3"/>
                      <a:pt x="37" y="3"/>
                    </a:cubicBezTo>
                    <a:cubicBezTo>
                      <a:pt x="37" y="3"/>
                      <a:pt x="38" y="4"/>
                      <a:pt x="39" y="3"/>
                    </a:cubicBezTo>
                    <a:cubicBezTo>
                      <a:pt x="39" y="3"/>
                      <a:pt x="40" y="2"/>
                      <a:pt x="41" y="2"/>
                    </a:cubicBezTo>
                    <a:cubicBezTo>
                      <a:pt x="40" y="1"/>
                      <a:pt x="42" y="2"/>
                      <a:pt x="42" y="2"/>
                    </a:cubicBezTo>
                    <a:cubicBezTo>
                      <a:pt x="42" y="2"/>
                      <a:pt x="42" y="1"/>
                      <a:pt x="42" y="1"/>
                    </a:cubicBezTo>
                    <a:cubicBezTo>
                      <a:pt x="42" y="1"/>
                      <a:pt x="42" y="1"/>
                      <a:pt x="43" y="1"/>
                    </a:cubicBezTo>
                    <a:cubicBezTo>
                      <a:pt x="43" y="0"/>
                      <a:pt x="43" y="0"/>
                      <a:pt x="43" y="1"/>
                    </a:cubicBezTo>
                    <a:cubicBezTo>
                      <a:pt x="43" y="1"/>
                      <a:pt x="44" y="0"/>
                      <a:pt x="44" y="0"/>
                    </a:cubicBezTo>
                    <a:cubicBezTo>
                      <a:pt x="44" y="0"/>
                      <a:pt x="44" y="0"/>
                      <a:pt x="44" y="0"/>
                    </a:cubicBezTo>
                    <a:cubicBezTo>
                      <a:pt x="45" y="0"/>
                      <a:pt x="45" y="0"/>
                      <a:pt x="45" y="1"/>
                    </a:cubicBezTo>
                    <a:close/>
                    <a:moveTo>
                      <a:pt x="26" y="41"/>
                    </a:moveTo>
                    <a:cubicBezTo>
                      <a:pt x="26" y="41"/>
                      <a:pt x="26" y="40"/>
                      <a:pt x="25" y="39"/>
                    </a:cubicBezTo>
                    <a:cubicBezTo>
                      <a:pt x="25" y="39"/>
                      <a:pt x="24" y="38"/>
                      <a:pt x="24" y="38"/>
                    </a:cubicBezTo>
                    <a:cubicBezTo>
                      <a:pt x="24" y="37"/>
                      <a:pt x="21" y="34"/>
                      <a:pt x="21" y="35"/>
                    </a:cubicBezTo>
                    <a:cubicBezTo>
                      <a:pt x="20" y="35"/>
                      <a:pt x="20" y="34"/>
                      <a:pt x="20" y="34"/>
                    </a:cubicBezTo>
                    <a:cubicBezTo>
                      <a:pt x="20" y="33"/>
                      <a:pt x="19" y="33"/>
                      <a:pt x="19" y="33"/>
                    </a:cubicBezTo>
                    <a:cubicBezTo>
                      <a:pt x="19" y="33"/>
                      <a:pt x="19" y="33"/>
                      <a:pt x="19" y="32"/>
                    </a:cubicBezTo>
                    <a:cubicBezTo>
                      <a:pt x="18" y="32"/>
                      <a:pt x="18" y="32"/>
                      <a:pt x="17" y="32"/>
                    </a:cubicBezTo>
                    <a:cubicBezTo>
                      <a:pt x="16" y="33"/>
                      <a:pt x="16" y="34"/>
                      <a:pt x="16" y="35"/>
                    </a:cubicBezTo>
                    <a:cubicBezTo>
                      <a:pt x="16" y="35"/>
                      <a:pt x="16" y="35"/>
                      <a:pt x="16" y="35"/>
                    </a:cubicBezTo>
                    <a:cubicBezTo>
                      <a:pt x="16" y="35"/>
                      <a:pt x="17" y="35"/>
                      <a:pt x="16" y="36"/>
                    </a:cubicBezTo>
                    <a:cubicBezTo>
                      <a:pt x="16" y="36"/>
                      <a:pt x="16" y="37"/>
                      <a:pt x="17" y="37"/>
                    </a:cubicBezTo>
                    <a:cubicBezTo>
                      <a:pt x="17" y="37"/>
                      <a:pt x="17" y="37"/>
                      <a:pt x="17" y="37"/>
                    </a:cubicBezTo>
                    <a:cubicBezTo>
                      <a:pt x="17" y="37"/>
                      <a:pt x="17" y="37"/>
                      <a:pt x="17" y="37"/>
                    </a:cubicBezTo>
                    <a:cubicBezTo>
                      <a:pt x="17" y="38"/>
                      <a:pt x="17" y="38"/>
                      <a:pt x="16" y="38"/>
                    </a:cubicBezTo>
                    <a:cubicBezTo>
                      <a:pt x="16" y="38"/>
                      <a:pt x="17" y="39"/>
                      <a:pt x="17" y="39"/>
                    </a:cubicBezTo>
                    <a:cubicBezTo>
                      <a:pt x="17" y="39"/>
                      <a:pt x="17" y="40"/>
                      <a:pt x="18" y="41"/>
                    </a:cubicBezTo>
                    <a:cubicBezTo>
                      <a:pt x="18" y="42"/>
                      <a:pt x="20" y="42"/>
                      <a:pt x="21" y="43"/>
                    </a:cubicBezTo>
                    <a:cubicBezTo>
                      <a:pt x="22" y="43"/>
                      <a:pt x="23" y="43"/>
                      <a:pt x="24" y="44"/>
                    </a:cubicBezTo>
                    <a:cubicBezTo>
                      <a:pt x="25" y="44"/>
                      <a:pt x="26" y="44"/>
                      <a:pt x="26" y="44"/>
                    </a:cubicBezTo>
                    <a:cubicBezTo>
                      <a:pt x="27" y="43"/>
                      <a:pt x="27" y="41"/>
                      <a:pt x="26" y="41"/>
                    </a:cubicBezTo>
                    <a:close/>
                    <a:moveTo>
                      <a:pt x="44" y="32"/>
                    </a:moveTo>
                    <a:cubicBezTo>
                      <a:pt x="45" y="31"/>
                      <a:pt x="44" y="31"/>
                      <a:pt x="44" y="32"/>
                    </a:cubicBezTo>
                    <a:close/>
                    <a:moveTo>
                      <a:pt x="50" y="7"/>
                    </a:moveTo>
                    <a:cubicBezTo>
                      <a:pt x="49" y="7"/>
                      <a:pt x="49" y="7"/>
                      <a:pt x="49" y="7"/>
                    </a:cubicBezTo>
                    <a:cubicBezTo>
                      <a:pt x="49" y="7"/>
                      <a:pt x="49" y="7"/>
                      <a:pt x="49" y="8"/>
                    </a:cubicBezTo>
                    <a:cubicBezTo>
                      <a:pt x="49" y="7"/>
                      <a:pt x="50" y="7"/>
                      <a:pt x="50" y="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7" name="New Zealand">
                <a:extLst>
                  <a:ext uri="{FF2B5EF4-FFF2-40B4-BE49-F238E27FC236}">
                    <a16:creationId xmlns:a16="http://schemas.microsoft.com/office/drawing/2014/main" id="{B29049B1-4829-F69E-52D7-6F22A5B5F472}"/>
                  </a:ext>
                </a:extLst>
              </p:cNvPr>
              <p:cNvSpPr>
                <a:spLocks noEditPoints="1"/>
              </p:cNvSpPr>
              <p:nvPr/>
            </p:nvSpPr>
            <p:spPr bwMode="auto">
              <a:xfrm>
                <a:off x="10318158" y="5174479"/>
                <a:ext cx="1122287" cy="989967"/>
              </a:xfrm>
              <a:custGeom>
                <a:avLst/>
                <a:gdLst/>
                <a:ahLst/>
                <a:cxnLst>
                  <a:cxn ang="0">
                    <a:pos x="129" y="208"/>
                  </a:cxn>
                  <a:cxn ang="0">
                    <a:pos x="310" y="165"/>
                  </a:cxn>
                  <a:cxn ang="0">
                    <a:pos x="313" y="162"/>
                  </a:cxn>
                  <a:cxn ang="0">
                    <a:pos x="217" y="225"/>
                  </a:cxn>
                  <a:cxn ang="0">
                    <a:pos x="99" y="237"/>
                  </a:cxn>
                  <a:cxn ang="0">
                    <a:pos x="103" y="234"/>
                  </a:cxn>
                  <a:cxn ang="0">
                    <a:pos x="109" y="255"/>
                  </a:cxn>
                  <a:cxn ang="0">
                    <a:pos x="4" y="276"/>
                  </a:cxn>
                  <a:cxn ang="0">
                    <a:pos x="149" y="195"/>
                  </a:cxn>
                  <a:cxn ang="0">
                    <a:pos x="146" y="198"/>
                  </a:cxn>
                  <a:cxn ang="0">
                    <a:pos x="149" y="196"/>
                  </a:cxn>
                  <a:cxn ang="0">
                    <a:pos x="298" y="97"/>
                  </a:cxn>
                  <a:cxn ang="0">
                    <a:pos x="295" y="91"/>
                  </a:cxn>
                  <a:cxn ang="0">
                    <a:pos x="296" y="83"/>
                  </a:cxn>
                  <a:cxn ang="0">
                    <a:pos x="291" y="87"/>
                  </a:cxn>
                  <a:cxn ang="0">
                    <a:pos x="287" y="85"/>
                  </a:cxn>
                  <a:cxn ang="0">
                    <a:pos x="292" y="81"/>
                  </a:cxn>
                  <a:cxn ang="0">
                    <a:pos x="293" y="73"/>
                  </a:cxn>
                  <a:cxn ang="0">
                    <a:pos x="292" y="69"/>
                  </a:cxn>
                  <a:cxn ang="0">
                    <a:pos x="291" y="66"/>
                  </a:cxn>
                  <a:cxn ang="0">
                    <a:pos x="288" y="64"/>
                  </a:cxn>
                  <a:cxn ang="0">
                    <a:pos x="286" y="63"/>
                  </a:cxn>
                  <a:cxn ang="0">
                    <a:pos x="286" y="60"/>
                  </a:cxn>
                  <a:cxn ang="0">
                    <a:pos x="283" y="69"/>
                  </a:cxn>
                  <a:cxn ang="0">
                    <a:pos x="286" y="69"/>
                  </a:cxn>
                  <a:cxn ang="0">
                    <a:pos x="285" y="78"/>
                  </a:cxn>
                  <a:cxn ang="0">
                    <a:pos x="287" y="80"/>
                  </a:cxn>
                  <a:cxn ang="0">
                    <a:pos x="285" y="82"/>
                  </a:cxn>
                  <a:cxn ang="0">
                    <a:pos x="287" y="89"/>
                  </a:cxn>
                  <a:cxn ang="0">
                    <a:pos x="283" y="93"/>
                  </a:cxn>
                  <a:cxn ang="0">
                    <a:pos x="280" y="100"/>
                  </a:cxn>
                  <a:cxn ang="0">
                    <a:pos x="263" y="112"/>
                  </a:cxn>
                  <a:cxn ang="0">
                    <a:pos x="260" y="131"/>
                  </a:cxn>
                  <a:cxn ang="0">
                    <a:pos x="256" y="136"/>
                  </a:cxn>
                  <a:cxn ang="0">
                    <a:pos x="280" y="124"/>
                  </a:cxn>
                  <a:cxn ang="0">
                    <a:pos x="293" y="112"/>
                  </a:cxn>
                  <a:cxn ang="0">
                    <a:pos x="306" y="106"/>
                  </a:cxn>
                  <a:cxn ang="0">
                    <a:pos x="316" y="95"/>
                  </a:cxn>
                  <a:cxn ang="0">
                    <a:pos x="250" y="132"/>
                  </a:cxn>
                  <a:cxn ang="0">
                    <a:pos x="251" y="131"/>
                  </a:cxn>
                  <a:cxn ang="0">
                    <a:pos x="242" y="135"/>
                  </a:cxn>
                  <a:cxn ang="0">
                    <a:pos x="243" y="126"/>
                  </a:cxn>
                  <a:cxn ang="0">
                    <a:pos x="232" y="134"/>
                  </a:cxn>
                  <a:cxn ang="0">
                    <a:pos x="208" y="152"/>
                  </a:cxn>
                  <a:cxn ang="0">
                    <a:pos x="196" y="158"/>
                  </a:cxn>
                  <a:cxn ang="0">
                    <a:pos x="172" y="168"/>
                  </a:cxn>
                  <a:cxn ang="0">
                    <a:pos x="163" y="173"/>
                  </a:cxn>
                  <a:cxn ang="0">
                    <a:pos x="157" y="177"/>
                  </a:cxn>
                  <a:cxn ang="0">
                    <a:pos x="154" y="179"/>
                  </a:cxn>
                  <a:cxn ang="0">
                    <a:pos x="152" y="181"/>
                  </a:cxn>
                  <a:cxn ang="0">
                    <a:pos x="145" y="185"/>
                  </a:cxn>
                  <a:cxn ang="0">
                    <a:pos x="147" y="186"/>
                  </a:cxn>
                  <a:cxn ang="0">
                    <a:pos x="156" y="191"/>
                  </a:cxn>
                  <a:cxn ang="0">
                    <a:pos x="157" y="192"/>
                  </a:cxn>
                  <a:cxn ang="0">
                    <a:pos x="164" y="192"/>
                  </a:cxn>
                  <a:cxn ang="0">
                    <a:pos x="182" y="184"/>
                  </a:cxn>
                  <a:cxn ang="0">
                    <a:pos x="189" y="178"/>
                  </a:cxn>
                  <a:cxn ang="0">
                    <a:pos x="216" y="161"/>
                  </a:cxn>
                  <a:cxn ang="0">
                    <a:pos x="221" y="162"/>
                  </a:cxn>
                  <a:cxn ang="0">
                    <a:pos x="226" y="154"/>
                  </a:cxn>
                  <a:cxn ang="0">
                    <a:pos x="248" y="139"/>
                  </a:cxn>
                  <a:cxn ang="0">
                    <a:pos x="251" y="134"/>
                  </a:cxn>
                </a:cxnLst>
                <a:rect l="0" t="0" r="r" b="b"/>
                <a:pathLst>
                  <a:path w="317" h="279">
                    <a:moveTo>
                      <a:pt x="237" y="205"/>
                    </a:moveTo>
                    <a:cubicBezTo>
                      <a:pt x="237" y="205"/>
                      <a:pt x="237" y="204"/>
                      <a:pt x="237" y="204"/>
                    </a:cubicBezTo>
                    <a:cubicBezTo>
                      <a:pt x="237" y="205"/>
                      <a:pt x="237" y="205"/>
                      <a:pt x="237" y="205"/>
                    </a:cubicBezTo>
                    <a:cubicBezTo>
                      <a:pt x="237" y="205"/>
                      <a:pt x="237" y="205"/>
                      <a:pt x="237" y="205"/>
                    </a:cubicBezTo>
                    <a:close/>
                    <a:moveTo>
                      <a:pt x="129" y="208"/>
                    </a:moveTo>
                    <a:cubicBezTo>
                      <a:pt x="129" y="208"/>
                      <a:pt x="129" y="207"/>
                      <a:pt x="129" y="207"/>
                    </a:cubicBezTo>
                    <a:cubicBezTo>
                      <a:pt x="129" y="207"/>
                      <a:pt x="128" y="207"/>
                      <a:pt x="128" y="208"/>
                    </a:cubicBezTo>
                    <a:cubicBezTo>
                      <a:pt x="128" y="208"/>
                      <a:pt x="129" y="208"/>
                      <a:pt x="129" y="208"/>
                    </a:cubicBezTo>
                    <a:close/>
                    <a:moveTo>
                      <a:pt x="313" y="161"/>
                    </a:moveTo>
                    <a:cubicBezTo>
                      <a:pt x="312" y="161"/>
                      <a:pt x="312" y="161"/>
                      <a:pt x="311" y="162"/>
                    </a:cubicBezTo>
                    <a:cubicBezTo>
                      <a:pt x="310" y="162"/>
                      <a:pt x="310" y="161"/>
                      <a:pt x="309" y="162"/>
                    </a:cubicBezTo>
                    <a:cubicBezTo>
                      <a:pt x="309" y="162"/>
                      <a:pt x="308" y="162"/>
                      <a:pt x="308" y="162"/>
                    </a:cubicBezTo>
                    <a:cubicBezTo>
                      <a:pt x="309" y="163"/>
                      <a:pt x="311" y="162"/>
                      <a:pt x="311" y="163"/>
                    </a:cubicBezTo>
                    <a:cubicBezTo>
                      <a:pt x="311" y="164"/>
                      <a:pt x="309" y="164"/>
                      <a:pt x="308" y="164"/>
                    </a:cubicBezTo>
                    <a:cubicBezTo>
                      <a:pt x="308" y="165"/>
                      <a:pt x="308" y="165"/>
                      <a:pt x="308" y="166"/>
                    </a:cubicBezTo>
                    <a:cubicBezTo>
                      <a:pt x="309" y="166"/>
                      <a:pt x="309" y="165"/>
                      <a:pt x="310" y="165"/>
                    </a:cubicBezTo>
                    <a:cubicBezTo>
                      <a:pt x="310" y="165"/>
                      <a:pt x="311" y="165"/>
                      <a:pt x="311" y="165"/>
                    </a:cubicBezTo>
                    <a:cubicBezTo>
                      <a:pt x="311" y="164"/>
                      <a:pt x="311" y="164"/>
                      <a:pt x="311" y="164"/>
                    </a:cubicBezTo>
                    <a:cubicBezTo>
                      <a:pt x="311" y="164"/>
                      <a:pt x="311" y="163"/>
                      <a:pt x="311" y="163"/>
                    </a:cubicBezTo>
                    <a:cubicBezTo>
                      <a:pt x="311" y="162"/>
                      <a:pt x="312" y="162"/>
                      <a:pt x="312" y="162"/>
                    </a:cubicBezTo>
                    <a:cubicBezTo>
                      <a:pt x="312" y="162"/>
                      <a:pt x="311" y="162"/>
                      <a:pt x="312" y="162"/>
                    </a:cubicBezTo>
                    <a:cubicBezTo>
                      <a:pt x="312" y="161"/>
                      <a:pt x="312" y="161"/>
                      <a:pt x="313" y="162"/>
                    </a:cubicBezTo>
                    <a:cubicBezTo>
                      <a:pt x="314" y="162"/>
                      <a:pt x="312" y="163"/>
                      <a:pt x="312" y="163"/>
                    </a:cubicBezTo>
                    <a:cubicBezTo>
                      <a:pt x="312" y="163"/>
                      <a:pt x="313" y="162"/>
                      <a:pt x="313" y="162"/>
                    </a:cubicBezTo>
                    <a:cubicBezTo>
                      <a:pt x="314" y="162"/>
                      <a:pt x="315" y="161"/>
                      <a:pt x="315" y="161"/>
                    </a:cubicBezTo>
                    <a:cubicBezTo>
                      <a:pt x="314" y="161"/>
                      <a:pt x="313" y="161"/>
                      <a:pt x="313" y="161"/>
                    </a:cubicBezTo>
                    <a:close/>
                    <a:moveTo>
                      <a:pt x="310" y="168"/>
                    </a:moveTo>
                    <a:cubicBezTo>
                      <a:pt x="309" y="168"/>
                      <a:pt x="309" y="168"/>
                      <a:pt x="309" y="168"/>
                    </a:cubicBezTo>
                    <a:cubicBezTo>
                      <a:pt x="310" y="168"/>
                      <a:pt x="311" y="167"/>
                      <a:pt x="311" y="167"/>
                    </a:cubicBezTo>
                    <a:cubicBezTo>
                      <a:pt x="311" y="166"/>
                      <a:pt x="310" y="167"/>
                      <a:pt x="310" y="168"/>
                    </a:cubicBezTo>
                    <a:close/>
                    <a:moveTo>
                      <a:pt x="216" y="225"/>
                    </a:moveTo>
                    <a:cubicBezTo>
                      <a:pt x="216" y="226"/>
                      <a:pt x="217" y="225"/>
                      <a:pt x="217" y="225"/>
                    </a:cubicBezTo>
                    <a:cubicBezTo>
                      <a:pt x="217" y="225"/>
                      <a:pt x="218" y="225"/>
                      <a:pt x="218" y="225"/>
                    </a:cubicBezTo>
                    <a:cubicBezTo>
                      <a:pt x="217" y="224"/>
                      <a:pt x="216" y="225"/>
                      <a:pt x="216" y="225"/>
                    </a:cubicBezTo>
                    <a:close/>
                    <a:moveTo>
                      <a:pt x="101" y="235"/>
                    </a:moveTo>
                    <a:cubicBezTo>
                      <a:pt x="101" y="235"/>
                      <a:pt x="101" y="236"/>
                      <a:pt x="100" y="236"/>
                    </a:cubicBezTo>
                    <a:cubicBezTo>
                      <a:pt x="99" y="236"/>
                      <a:pt x="98" y="236"/>
                      <a:pt x="97" y="238"/>
                    </a:cubicBezTo>
                    <a:cubicBezTo>
                      <a:pt x="98" y="237"/>
                      <a:pt x="98" y="238"/>
                      <a:pt x="98" y="237"/>
                    </a:cubicBezTo>
                    <a:cubicBezTo>
                      <a:pt x="98" y="237"/>
                      <a:pt x="99" y="237"/>
                      <a:pt x="99" y="237"/>
                    </a:cubicBezTo>
                    <a:cubicBezTo>
                      <a:pt x="99" y="237"/>
                      <a:pt x="99" y="237"/>
                      <a:pt x="99" y="237"/>
                    </a:cubicBezTo>
                    <a:cubicBezTo>
                      <a:pt x="99" y="237"/>
                      <a:pt x="99" y="238"/>
                      <a:pt x="100" y="238"/>
                    </a:cubicBezTo>
                    <a:cubicBezTo>
                      <a:pt x="100" y="238"/>
                      <a:pt x="100" y="237"/>
                      <a:pt x="100" y="237"/>
                    </a:cubicBezTo>
                    <a:cubicBezTo>
                      <a:pt x="100" y="237"/>
                      <a:pt x="100" y="237"/>
                      <a:pt x="101" y="237"/>
                    </a:cubicBezTo>
                    <a:cubicBezTo>
                      <a:pt x="100" y="237"/>
                      <a:pt x="100" y="237"/>
                      <a:pt x="100" y="237"/>
                    </a:cubicBezTo>
                    <a:cubicBezTo>
                      <a:pt x="101" y="236"/>
                      <a:pt x="101" y="236"/>
                      <a:pt x="100" y="236"/>
                    </a:cubicBezTo>
                    <a:cubicBezTo>
                      <a:pt x="100" y="236"/>
                      <a:pt x="101" y="236"/>
                      <a:pt x="101" y="236"/>
                    </a:cubicBezTo>
                    <a:cubicBezTo>
                      <a:pt x="101" y="235"/>
                      <a:pt x="102" y="235"/>
                      <a:pt x="103" y="235"/>
                    </a:cubicBezTo>
                    <a:cubicBezTo>
                      <a:pt x="103" y="235"/>
                      <a:pt x="103" y="234"/>
                      <a:pt x="103" y="234"/>
                    </a:cubicBezTo>
                    <a:cubicBezTo>
                      <a:pt x="103" y="234"/>
                      <a:pt x="103" y="234"/>
                      <a:pt x="103" y="234"/>
                    </a:cubicBezTo>
                    <a:cubicBezTo>
                      <a:pt x="103" y="234"/>
                      <a:pt x="102" y="234"/>
                      <a:pt x="101" y="235"/>
                    </a:cubicBezTo>
                    <a:close/>
                    <a:moveTo>
                      <a:pt x="106" y="255"/>
                    </a:moveTo>
                    <a:cubicBezTo>
                      <a:pt x="106" y="256"/>
                      <a:pt x="108" y="256"/>
                      <a:pt x="108" y="255"/>
                    </a:cubicBezTo>
                    <a:cubicBezTo>
                      <a:pt x="108" y="255"/>
                      <a:pt x="107" y="255"/>
                      <a:pt x="107" y="255"/>
                    </a:cubicBezTo>
                    <a:cubicBezTo>
                      <a:pt x="107" y="255"/>
                      <a:pt x="109" y="255"/>
                      <a:pt x="108" y="255"/>
                    </a:cubicBezTo>
                    <a:cubicBezTo>
                      <a:pt x="108" y="255"/>
                      <a:pt x="108" y="255"/>
                      <a:pt x="108" y="255"/>
                    </a:cubicBezTo>
                    <a:cubicBezTo>
                      <a:pt x="108" y="255"/>
                      <a:pt x="109" y="255"/>
                      <a:pt x="109" y="255"/>
                    </a:cubicBezTo>
                    <a:cubicBezTo>
                      <a:pt x="109" y="255"/>
                      <a:pt x="109" y="255"/>
                      <a:pt x="109" y="254"/>
                    </a:cubicBezTo>
                    <a:cubicBezTo>
                      <a:pt x="108" y="254"/>
                      <a:pt x="108" y="255"/>
                      <a:pt x="107" y="255"/>
                    </a:cubicBezTo>
                    <a:cubicBezTo>
                      <a:pt x="107" y="255"/>
                      <a:pt x="107" y="255"/>
                      <a:pt x="106" y="255"/>
                    </a:cubicBezTo>
                    <a:close/>
                    <a:moveTo>
                      <a:pt x="268" y="1"/>
                    </a:moveTo>
                    <a:cubicBezTo>
                      <a:pt x="269" y="0"/>
                      <a:pt x="268" y="0"/>
                      <a:pt x="268" y="1"/>
                    </a:cubicBezTo>
                    <a:cubicBezTo>
                      <a:pt x="268" y="1"/>
                      <a:pt x="268" y="1"/>
                      <a:pt x="268" y="1"/>
                    </a:cubicBezTo>
                    <a:close/>
                    <a:moveTo>
                      <a:pt x="1" y="279"/>
                    </a:moveTo>
                    <a:cubicBezTo>
                      <a:pt x="2" y="278"/>
                      <a:pt x="3" y="277"/>
                      <a:pt x="4" y="276"/>
                    </a:cubicBezTo>
                    <a:cubicBezTo>
                      <a:pt x="3" y="276"/>
                      <a:pt x="2" y="277"/>
                      <a:pt x="2" y="278"/>
                    </a:cubicBezTo>
                    <a:cubicBezTo>
                      <a:pt x="1" y="278"/>
                      <a:pt x="0" y="279"/>
                      <a:pt x="1" y="279"/>
                    </a:cubicBezTo>
                    <a:close/>
                    <a:moveTo>
                      <a:pt x="150" y="195"/>
                    </a:moveTo>
                    <a:cubicBezTo>
                      <a:pt x="150" y="195"/>
                      <a:pt x="151" y="196"/>
                      <a:pt x="151" y="195"/>
                    </a:cubicBezTo>
                    <a:cubicBezTo>
                      <a:pt x="151" y="195"/>
                      <a:pt x="152" y="195"/>
                      <a:pt x="152" y="195"/>
                    </a:cubicBezTo>
                    <a:cubicBezTo>
                      <a:pt x="151" y="194"/>
                      <a:pt x="152" y="194"/>
                      <a:pt x="152" y="193"/>
                    </a:cubicBezTo>
                    <a:cubicBezTo>
                      <a:pt x="151" y="193"/>
                      <a:pt x="150" y="193"/>
                      <a:pt x="150" y="193"/>
                    </a:cubicBezTo>
                    <a:cubicBezTo>
                      <a:pt x="149" y="193"/>
                      <a:pt x="149" y="194"/>
                      <a:pt x="149" y="195"/>
                    </a:cubicBezTo>
                    <a:cubicBezTo>
                      <a:pt x="148" y="196"/>
                      <a:pt x="148" y="196"/>
                      <a:pt x="147" y="196"/>
                    </a:cubicBezTo>
                    <a:cubicBezTo>
                      <a:pt x="147" y="197"/>
                      <a:pt x="147" y="197"/>
                      <a:pt x="146" y="197"/>
                    </a:cubicBezTo>
                    <a:cubicBezTo>
                      <a:pt x="146" y="197"/>
                      <a:pt x="145" y="197"/>
                      <a:pt x="145" y="197"/>
                    </a:cubicBezTo>
                    <a:cubicBezTo>
                      <a:pt x="145" y="198"/>
                      <a:pt x="144" y="198"/>
                      <a:pt x="144" y="199"/>
                    </a:cubicBezTo>
                    <a:cubicBezTo>
                      <a:pt x="143" y="199"/>
                      <a:pt x="142" y="199"/>
                      <a:pt x="143" y="199"/>
                    </a:cubicBezTo>
                    <a:cubicBezTo>
                      <a:pt x="143" y="200"/>
                      <a:pt x="144" y="199"/>
                      <a:pt x="145" y="199"/>
                    </a:cubicBezTo>
                    <a:cubicBezTo>
                      <a:pt x="144" y="199"/>
                      <a:pt x="144" y="199"/>
                      <a:pt x="144" y="199"/>
                    </a:cubicBezTo>
                    <a:cubicBezTo>
                      <a:pt x="144" y="199"/>
                      <a:pt x="145" y="198"/>
                      <a:pt x="146" y="198"/>
                    </a:cubicBezTo>
                    <a:cubicBezTo>
                      <a:pt x="146" y="198"/>
                      <a:pt x="146" y="198"/>
                      <a:pt x="147" y="198"/>
                    </a:cubicBezTo>
                    <a:cubicBezTo>
                      <a:pt x="148" y="198"/>
                      <a:pt x="149" y="198"/>
                      <a:pt x="149" y="198"/>
                    </a:cubicBezTo>
                    <a:cubicBezTo>
                      <a:pt x="150" y="198"/>
                      <a:pt x="150" y="197"/>
                      <a:pt x="151" y="197"/>
                    </a:cubicBezTo>
                    <a:cubicBezTo>
                      <a:pt x="151" y="197"/>
                      <a:pt x="151" y="196"/>
                      <a:pt x="152" y="196"/>
                    </a:cubicBezTo>
                    <a:cubicBezTo>
                      <a:pt x="151" y="196"/>
                      <a:pt x="151" y="196"/>
                      <a:pt x="150" y="196"/>
                    </a:cubicBezTo>
                    <a:cubicBezTo>
                      <a:pt x="151" y="196"/>
                      <a:pt x="151" y="196"/>
                      <a:pt x="151" y="196"/>
                    </a:cubicBezTo>
                    <a:cubicBezTo>
                      <a:pt x="151" y="196"/>
                      <a:pt x="150" y="196"/>
                      <a:pt x="150" y="196"/>
                    </a:cubicBezTo>
                    <a:cubicBezTo>
                      <a:pt x="150" y="196"/>
                      <a:pt x="149" y="196"/>
                      <a:pt x="149" y="196"/>
                    </a:cubicBezTo>
                    <a:cubicBezTo>
                      <a:pt x="150" y="196"/>
                      <a:pt x="150" y="196"/>
                      <a:pt x="150" y="195"/>
                    </a:cubicBezTo>
                    <a:close/>
                    <a:moveTo>
                      <a:pt x="315" y="94"/>
                    </a:moveTo>
                    <a:cubicBezTo>
                      <a:pt x="314" y="93"/>
                      <a:pt x="313" y="94"/>
                      <a:pt x="312" y="94"/>
                    </a:cubicBezTo>
                    <a:cubicBezTo>
                      <a:pt x="310" y="95"/>
                      <a:pt x="309" y="95"/>
                      <a:pt x="308" y="96"/>
                    </a:cubicBezTo>
                    <a:cubicBezTo>
                      <a:pt x="307" y="97"/>
                      <a:pt x="306" y="98"/>
                      <a:pt x="304" y="98"/>
                    </a:cubicBezTo>
                    <a:cubicBezTo>
                      <a:pt x="303" y="99"/>
                      <a:pt x="302" y="98"/>
                      <a:pt x="301" y="99"/>
                    </a:cubicBezTo>
                    <a:cubicBezTo>
                      <a:pt x="301" y="99"/>
                      <a:pt x="301" y="99"/>
                      <a:pt x="301" y="99"/>
                    </a:cubicBezTo>
                    <a:cubicBezTo>
                      <a:pt x="301" y="98"/>
                      <a:pt x="299" y="98"/>
                      <a:pt x="298" y="97"/>
                    </a:cubicBezTo>
                    <a:cubicBezTo>
                      <a:pt x="297" y="97"/>
                      <a:pt x="297" y="96"/>
                      <a:pt x="296" y="96"/>
                    </a:cubicBezTo>
                    <a:cubicBezTo>
                      <a:pt x="296" y="96"/>
                      <a:pt x="295" y="95"/>
                      <a:pt x="295" y="95"/>
                    </a:cubicBezTo>
                    <a:cubicBezTo>
                      <a:pt x="295" y="95"/>
                      <a:pt x="295" y="95"/>
                      <a:pt x="295" y="95"/>
                    </a:cubicBezTo>
                    <a:cubicBezTo>
                      <a:pt x="295" y="95"/>
                      <a:pt x="294" y="95"/>
                      <a:pt x="294" y="95"/>
                    </a:cubicBezTo>
                    <a:cubicBezTo>
                      <a:pt x="294" y="95"/>
                      <a:pt x="294" y="94"/>
                      <a:pt x="293" y="95"/>
                    </a:cubicBezTo>
                    <a:cubicBezTo>
                      <a:pt x="294" y="94"/>
                      <a:pt x="293" y="94"/>
                      <a:pt x="294" y="94"/>
                    </a:cubicBezTo>
                    <a:cubicBezTo>
                      <a:pt x="294" y="94"/>
                      <a:pt x="294" y="93"/>
                      <a:pt x="295" y="93"/>
                    </a:cubicBezTo>
                    <a:cubicBezTo>
                      <a:pt x="295" y="92"/>
                      <a:pt x="295" y="92"/>
                      <a:pt x="295" y="91"/>
                    </a:cubicBezTo>
                    <a:cubicBezTo>
                      <a:pt x="295" y="91"/>
                      <a:pt x="295" y="90"/>
                      <a:pt x="295" y="90"/>
                    </a:cubicBezTo>
                    <a:cubicBezTo>
                      <a:pt x="296" y="89"/>
                      <a:pt x="297" y="88"/>
                      <a:pt x="297" y="87"/>
                    </a:cubicBezTo>
                    <a:cubicBezTo>
                      <a:pt x="297" y="86"/>
                      <a:pt x="297" y="86"/>
                      <a:pt x="296" y="86"/>
                    </a:cubicBezTo>
                    <a:cubicBezTo>
                      <a:pt x="296" y="86"/>
                      <a:pt x="296" y="86"/>
                      <a:pt x="296" y="86"/>
                    </a:cubicBezTo>
                    <a:cubicBezTo>
                      <a:pt x="296" y="85"/>
                      <a:pt x="298" y="85"/>
                      <a:pt x="298" y="85"/>
                    </a:cubicBezTo>
                    <a:cubicBezTo>
                      <a:pt x="298" y="84"/>
                      <a:pt x="296" y="85"/>
                      <a:pt x="296" y="85"/>
                    </a:cubicBezTo>
                    <a:cubicBezTo>
                      <a:pt x="296" y="85"/>
                      <a:pt x="296" y="84"/>
                      <a:pt x="296" y="84"/>
                    </a:cubicBezTo>
                    <a:cubicBezTo>
                      <a:pt x="296" y="84"/>
                      <a:pt x="297" y="83"/>
                      <a:pt x="296" y="83"/>
                    </a:cubicBezTo>
                    <a:cubicBezTo>
                      <a:pt x="296" y="82"/>
                      <a:pt x="296" y="82"/>
                      <a:pt x="295" y="82"/>
                    </a:cubicBezTo>
                    <a:cubicBezTo>
                      <a:pt x="294" y="83"/>
                      <a:pt x="296" y="83"/>
                      <a:pt x="295" y="84"/>
                    </a:cubicBezTo>
                    <a:cubicBezTo>
                      <a:pt x="295" y="84"/>
                      <a:pt x="295" y="85"/>
                      <a:pt x="295" y="85"/>
                    </a:cubicBezTo>
                    <a:cubicBezTo>
                      <a:pt x="294" y="86"/>
                      <a:pt x="294" y="86"/>
                      <a:pt x="294" y="86"/>
                    </a:cubicBezTo>
                    <a:cubicBezTo>
                      <a:pt x="293" y="87"/>
                      <a:pt x="293" y="87"/>
                      <a:pt x="293" y="88"/>
                    </a:cubicBezTo>
                    <a:cubicBezTo>
                      <a:pt x="293" y="88"/>
                      <a:pt x="293" y="89"/>
                      <a:pt x="293" y="89"/>
                    </a:cubicBezTo>
                    <a:cubicBezTo>
                      <a:pt x="292" y="90"/>
                      <a:pt x="291" y="91"/>
                      <a:pt x="290" y="90"/>
                    </a:cubicBezTo>
                    <a:cubicBezTo>
                      <a:pt x="290" y="89"/>
                      <a:pt x="291" y="88"/>
                      <a:pt x="291" y="87"/>
                    </a:cubicBezTo>
                    <a:cubicBezTo>
                      <a:pt x="291" y="87"/>
                      <a:pt x="290" y="87"/>
                      <a:pt x="290" y="87"/>
                    </a:cubicBezTo>
                    <a:cubicBezTo>
                      <a:pt x="290" y="87"/>
                      <a:pt x="290" y="86"/>
                      <a:pt x="290" y="86"/>
                    </a:cubicBezTo>
                    <a:cubicBezTo>
                      <a:pt x="290" y="86"/>
                      <a:pt x="289" y="87"/>
                      <a:pt x="289" y="87"/>
                    </a:cubicBezTo>
                    <a:cubicBezTo>
                      <a:pt x="289" y="87"/>
                      <a:pt x="289" y="86"/>
                      <a:pt x="288" y="87"/>
                    </a:cubicBezTo>
                    <a:cubicBezTo>
                      <a:pt x="288" y="86"/>
                      <a:pt x="288" y="86"/>
                      <a:pt x="288" y="86"/>
                    </a:cubicBezTo>
                    <a:cubicBezTo>
                      <a:pt x="288" y="86"/>
                      <a:pt x="287" y="86"/>
                      <a:pt x="287" y="86"/>
                    </a:cubicBezTo>
                    <a:cubicBezTo>
                      <a:pt x="286" y="86"/>
                      <a:pt x="287" y="86"/>
                      <a:pt x="287" y="85"/>
                    </a:cubicBezTo>
                    <a:cubicBezTo>
                      <a:pt x="287" y="85"/>
                      <a:pt x="287" y="85"/>
                      <a:pt x="287" y="85"/>
                    </a:cubicBezTo>
                    <a:cubicBezTo>
                      <a:pt x="287" y="85"/>
                      <a:pt x="288" y="86"/>
                      <a:pt x="288" y="86"/>
                    </a:cubicBezTo>
                    <a:cubicBezTo>
                      <a:pt x="289" y="86"/>
                      <a:pt x="288" y="85"/>
                      <a:pt x="289" y="84"/>
                    </a:cubicBezTo>
                    <a:cubicBezTo>
                      <a:pt x="289" y="84"/>
                      <a:pt x="290" y="83"/>
                      <a:pt x="290" y="83"/>
                    </a:cubicBezTo>
                    <a:cubicBezTo>
                      <a:pt x="290" y="83"/>
                      <a:pt x="289" y="84"/>
                      <a:pt x="289" y="83"/>
                    </a:cubicBezTo>
                    <a:cubicBezTo>
                      <a:pt x="289" y="83"/>
                      <a:pt x="289" y="82"/>
                      <a:pt x="290" y="81"/>
                    </a:cubicBezTo>
                    <a:cubicBezTo>
                      <a:pt x="290" y="82"/>
                      <a:pt x="290" y="82"/>
                      <a:pt x="290" y="82"/>
                    </a:cubicBezTo>
                    <a:cubicBezTo>
                      <a:pt x="290" y="82"/>
                      <a:pt x="290" y="82"/>
                      <a:pt x="290" y="81"/>
                    </a:cubicBezTo>
                    <a:cubicBezTo>
                      <a:pt x="291" y="81"/>
                      <a:pt x="291" y="81"/>
                      <a:pt x="292" y="81"/>
                    </a:cubicBezTo>
                    <a:cubicBezTo>
                      <a:pt x="291" y="80"/>
                      <a:pt x="292" y="80"/>
                      <a:pt x="292" y="80"/>
                    </a:cubicBezTo>
                    <a:cubicBezTo>
                      <a:pt x="291" y="79"/>
                      <a:pt x="291" y="79"/>
                      <a:pt x="291" y="79"/>
                    </a:cubicBezTo>
                    <a:cubicBezTo>
                      <a:pt x="291" y="78"/>
                      <a:pt x="291" y="78"/>
                      <a:pt x="291" y="77"/>
                    </a:cubicBezTo>
                    <a:cubicBezTo>
                      <a:pt x="291" y="76"/>
                      <a:pt x="291" y="76"/>
                      <a:pt x="291" y="75"/>
                    </a:cubicBezTo>
                    <a:cubicBezTo>
                      <a:pt x="292" y="75"/>
                      <a:pt x="291" y="75"/>
                      <a:pt x="290" y="75"/>
                    </a:cubicBezTo>
                    <a:cubicBezTo>
                      <a:pt x="290" y="75"/>
                      <a:pt x="291" y="74"/>
                      <a:pt x="291" y="74"/>
                    </a:cubicBezTo>
                    <a:cubicBezTo>
                      <a:pt x="291" y="74"/>
                      <a:pt x="291" y="75"/>
                      <a:pt x="292" y="74"/>
                    </a:cubicBezTo>
                    <a:cubicBezTo>
                      <a:pt x="292" y="77"/>
                      <a:pt x="293" y="73"/>
                      <a:pt x="293" y="73"/>
                    </a:cubicBezTo>
                    <a:cubicBezTo>
                      <a:pt x="293" y="73"/>
                      <a:pt x="293" y="73"/>
                      <a:pt x="294" y="72"/>
                    </a:cubicBezTo>
                    <a:cubicBezTo>
                      <a:pt x="294" y="72"/>
                      <a:pt x="293" y="72"/>
                      <a:pt x="293" y="72"/>
                    </a:cubicBezTo>
                    <a:cubicBezTo>
                      <a:pt x="293" y="71"/>
                      <a:pt x="294" y="71"/>
                      <a:pt x="293" y="71"/>
                    </a:cubicBezTo>
                    <a:cubicBezTo>
                      <a:pt x="293" y="70"/>
                      <a:pt x="293" y="70"/>
                      <a:pt x="293" y="70"/>
                    </a:cubicBezTo>
                    <a:cubicBezTo>
                      <a:pt x="294" y="70"/>
                      <a:pt x="294" y="69"/>
                      <a:pt x="294" y="69"/>
                    </a:cubicBezTo>
                    <a:cubicBezTo>
                      <a:pt x="293" y="69"/>
                      <a:pt x="294" y="68"/>
                      <a:pt x="294" y="68"/>
                    </a:cubicBezTo>
                    <a:cubicBezTo>
                      <a:pt x="294" y="68"/>
                      <a:pt x="292" y="69"/>
                      <a:pt x="292" y="69"/>
                    </a:cubicBezTo>
                    <a:cubicBezTo>
                      <a:pt x="292" y="69"/>
                      <a:pt x="292" y="69"/>
                      <a:pt x="292" y="69"/>
                    </a:cubicBezTo>
                    <a:cubicBezTo>
                      <a:pt x="292" y="69"/>
                      <a:pt x="292" y="69"/>
                      <a:pt x="292" y="69"/>
                    </a:cubicBezTo>
                    <a:cubicBezTo>
                      <a:pt x="292" y="69"/>
                      <a:pt x="291" y="70"/>
                      <a:pt x="291" y="70"/>
                    </a:cubicBezTo>
                    <a:cubicBezTo>
                      <a:pt x="291" y="69"/>
                      <a:pt x="292" y="68"/>
                      <a:pt x="291" y="68"/>
                    </a:cubicBezTo>
                    <a:cubicBezTo>
                      <a:pt x="291" y="68"/>
                      <a:pt x="291" y="68"/>
                      <a:pt x="291" y="68"/>
                    </a:cubicBezTo>
                    <a:cubicBezTo>
                      <a:pt x="291" y="68"/>
                      <a:pt x="291" y="68"/>
                      <a:pt x="291" y="68"/>
                    </a:cubicBezTo>
                    <a:cubicBezTo>
                      <a:pt x="292" y="67"/>
                      <a:pt x="292" y="68"/>
                      <a:pt x="292" y="68"/>
                    </a:cubicBezTo>
                    <a:cubicBezTo>
                      <a:pt x="293" y="67"/>
                      <a:pt x="292" y="67"/>
                      <a:pt x="291" y="67"/>
                    </a:cubicBezTo>
                    <a:cubicBezTo>
                      <a:pt x="291" y="67"/>
                      <a:pt x="292" y="66"/>
                      <a:pt x="291" y="66"/>
                    </a:cubicBezTo>
                    <a:cubicBezTo>
                      <a:pt x="290" y="66"/>
                      <a:pt x="290" y="67"/>
                      <a:pt x="289" y="67"/>
                    </a:cubicBezTo>
                    <a:cubicBezTo>
                      <a:pt x="289" y="66"/>
                      <a:pt x="290" y="66"/>
                      <a:pt x="290" y="66"/>
                    </a:cubicBezTo>
                    <a:cubicBezTo>
                      <a:pt x="290" y="66"/>
                      <a:pt x="290" y="65"/>
                      <a:pt x="290" y="65"/>
                    </a:cubicBezTo>
                    <a:cubicBezTo>
                      <a:pt x="289" y="66"/>
                      <a:pt x="289" y="65"/>
                      <a:pt x="289" y="65"/>
                    </a:cubicBezTo>
                    <a:cubicBezTo>
                      <a:pt x="288" y="65"/>
                      <a:pt x="289" y="66"/>
                      <a:pt x="288" y="66"/>
                    </a:cubicBezTo>
                    <a:cubicBezTo>
                      <a:pt x="287" y="66"/>
                      <a:pt x="287" y="65"/>
                      <a:pt x="288" y="65"/>
                    </a:cubicBezTo>
                    <a:cubicBezTo>
                      <a:pt x="288" y="65"/>
                      <a:pt x="288" y="65"/>
                      <a:pt x="288" y="64"/>
                    </a:cubicBezTo>
                    <a:cubicBezTo>
                      <a:pt x="288" y="64"/>
                      <a:pt x="288" y="64"/>
                      <a:pt x="288" y="64"/>
                    </a:cubicBezTo>
                    <a:cubicBezTo>
                      <a:pt x="288" y="64"/>
                      <a:pt x="288" y="64"/>
                      <a:pt x="288" y="64"/>
                    </a:cubicBezTo>
                    <a:cubicBezTo>
                      <a:pt x="288" y="64"/>
                      <a:pt x="288" y="64"/>
                      <a:pt x="287" y="64"/>
                    </a:cubicBezTo>
                    <a:cubicBezTo>
                      <a:pt x="287" y="64"/>
                      <a:pt x="287" y="64"/>
                      <a:pt x="287" y="64"/>
                    </a:cubicBezTo>
                    <a:cubicBezTo>
                      <a:pt x="287" y="64"/>
                      <a:pt x="287" y="65"/>
                      <a:pt x="287" y="65"/>
                    </a:cubicBezTo>
                    <a:cubicBezTo>
                      <a:pt x="286" y="65"/>
                      <a:pt x="286" y="66"/>
                      <a:pt x="286" y="66"/>
                    </a:cubicBezTo>
                    <a:cubicBezTo>
                      <a:pt x="286" y="66"/>
                      <a:pt x="285" y="66"/>
                      <a:pt x="285" y="66"/>
                    </a:cubicBezTo>
                    <a:cubicBezTo>
                      <a:pt x="285" y="65"/>
                      <a:pt x="286" y="65"/>
                      <a:pt x="286" y="65"/>
                    </a:cubicBezTo>
                    <a:cubicBezTo>
                      <a:pt x="286" y="64"/>
                      <a:pt x="285" y="64"/>
                      <a:pt x="286" y="63"/>
                    </a:cubicBezTo>
                    <a:cubicBezTo>
                      <a:pt x="286" y="64"/>
                      <a:pt x="286" y="64"/>
                      <a:pt x="286" y="64"/>
                    </a:cubicBezTo>
                    <a:cubicBezTo>
                      <a:pt x="286" y="64"/>
                      <a:pt x="286" y="62"/>
                      <a:pt x="286" y="62"/>
                    </a:cubicBezTo>
                    <a:cubicBezTo>
                      <a:pt x="286" y="62"/>
                      <a:pt x="286" y="61"/>
                      <a:pt x="286" y="61"/>
                    </a:cubicBezTo>
                    <a:cubicBezTo>
                      <a:pt x="286" y="61"/>
                      <a:pt x="286" y="61"/>
                      <a:pt x="285" y="62"/>
                    </a:cubicBezTo>
                    <a:cubicBezTo>
                      <a:pt x="285" y="61"/>
                      <a:pt x="285" y="61"/>
                      <a:pt x="285" y="61"/>
                    </a:cubicBezTo>
                    <a:cubicBezTo>
                      <a:pt x="285" y="61"/>
                      <a:pt x="285" y="61"/>
                      <a:pt x="285" y="61"/>
                    </a:cubicBezTo>
                    <a:cubicBezTo>
                      <a:pt x="285" y="61"/>
                      <a:pt x="285" y="60"/>
                      <a:pt x="286" y="60"/>
                    </a:cubicBezTo>
                    <a:cubicBezTo>
                      <a:pt x="286" y="60"/>
                      <a:pt x="286" y="61"/>
                      <a:pt x="286" y="60"/>
                    </a:cubicBezTo>
                    <a:cubicBezTo>
                      <a:pt x="286" y="60"/>
                      <a:pt x="287" y="59"/>
                      <a:pt x="287" y="59"/>
                    </a:cubicBezTo>
                    <a:cubicBezTo>
                      <a:pt x="287" y="59"/>
                      <a:pt x="286" y="59"/>
                      <a:pt x="286" y="59"/>
                    </a:cubicBezTo>
                    <a:cubicBezTo>
                      <a:pt x="285" y="59"/>
                      <a:pt x="285" y="60"/>
                      <a:pt x="285" y="60"/>
                    </a:cubicBezTo>
                    <a:cubicBezTo>
                      <a:pt x="285" y="60"/>
                      <a:pt x="284" y="60"/>
                      <a:pt x="284" y="60"/>
                    </a:cubicBezTo>
                    <a:cubicBezTo>
                      <a:pt x="283" y="60"/>
                      <a:pt x="284" y="62"/>
                      <a:pt x="284" y="62"/>
                    </a:cubicBezTo>
                    <a:cubicBezTo>
                      <a:pt x="284" y="63"/>
                      <a:pt x="285" y="64"/>
                      <a:pt x="285" y="65"/>
                    </a:cubicBezTo>
                    <a:cubicBezTo>
                      <a:pt x="285" y="66"/>
                      <a:pt x="284" y="67"/>
                      <a:pt x="283" y="68"/>
                    </a:cubicBezTo>
                    <a:cubicBezTo>
                      <a:pt x="282" y="68"/>
                      <a:pt x="283" y="69"/>
                      <a:pt x="283" y="69"/>
                    </a:cubicBezTo>
                    <a:cubicBezTo>
                      <a:pt x="283" y="69"/>
                      <a:pt x="283" y="69"/>
                      <a:pt x="283" y="70"/>
                    </a:cubicBezTo>
                    <a:cubicBezTo>
                      <a:pt x="283" y="70"/>
                      <a:pt x="283" y="69"/>
                      <a:pt x="284" y="69"/>
                    </a:cubicBezTo>
                    <a:cubicBezTo>
                      <a:pt x="283" y="70"/>
                      <a:pt x="283" y="70"/>
                      <a:pt x="283" y="70"/>
                    </a:cubicBezTo>
                    <a:cubicBezTo>
                      <a:pt x="283" y="70"/>
                      <a:pt x="283" y="71"/>
                      <a:pt x="283" y="71"/>
                    </a:cubicBezTo>
                    <a:cubicBezTo>
                      <a:pt x="283" y="71"/>
                      <a:pt x="283" y="72"/>
                      <a:pt x="284" y="71"/>
                    </a:cubicBezTo>
                    <a:cubicBezTo>
                      <a:pt x="284" y="71"/>
                      <a:pt x="285" y="70"/>
                      <a:pt x="285" y="70"/>
                    </a:cubicBezTo>
                    <a:cubicBezTo>
                      <a:pt x="285" y="70"/>
                      <a:pt x="286" y="70"/>
                      <a:pt x="286" y="70"/>
                    </a:cubicBezTo>
                    <a:cubicBezTo>
                      <a:pt x="286" y="70"/>
                      <a:pt x="286" y="69"/>
                      <a:pt x="286" y="69"/>
                    </a:cubicBezTo>
                    <a:cubicBezTo>
                      <a:pt x="286" y="69"/>
                      <a:pt x="286" y="70"/>
                      <a:pt x="287" y="69"/>
                    </a:cubicBezTo>
                    <a:cubicBezTo>
                      <a:pt x="286" y="70"/>
                      <a:pt x="286" y="70"/>
                      <a:pt x="285" y="71"/>
                    </a:cubicBezTo>
                    <a:cubicBezTo>
                      <a:pt x="285" y="70"/>
                      <a:pt x="285" y="70"/>
                      <a:pt x="285" y="71"/>
                    </a:cubicBezTo>
                    <a:cubicBezTo>
                      <a:pt x="285" y="70"/>
                      <a:pt x="284" y="71"/>
                      <a:pt x="284" y="71"/>
                    </a:cubicBezTo>
                    <a:cubicBezTo>
                      <a:pt x="283" y="72"/>
                      <a:pt x="283" y="72"/>
                      <a:pt x="283" y="73"/>
                    </a:cubicBezTo>
                    <a:cubicBezTo>
                      <a:pt x="284" y="75"/>
                      <a:pt x="284" y="77"/>
                      <a:pt x="284" y="78"/>
                    </a:cubicBezTo>
                    <a:cubicBezTo>
                      <a:pt x="284" y="79"/>
                      <a:pt x="284" y="82"/>
                      <a:pt x="285" y="81"/>
                    </a:cubicBezTo>
                    <a:cubicBezTo>
                      <a:pt x="286" y="80"/>
                      <a:pt x="285" y="79"/>
                      <a:pt x="285" y="78"/>
                    </a:cubicBezTo>
                    <a:cubicBezTo>
                      <a:pt x="285" y="79"/>
                      <a:pt x="286" y="78"/>
                      <a:pt x="286" y="79"/>
                    </a:cubicBezTo>
                    <a:cubicBezTo>
                      <a:pt x="286" y="79"/>
                      <a:pt x="286" y="79"/>
                      <a:pt x="286" y="79"/>
                    </a:cubicBezTo>
                    <a:cubicBezTo>
                      <a:pt x="287" y="80"/>
                      <a:pt x="287" y="79"/>
                      <a:pt x="287" y="79"/>
                    </a:cubicBezTo>
                    <a:cubicBezTo>
                      <a:pt x="287" y="79"/>
                      <a:pt x="287" y="78"/>
                      <a:pt x="287" y="78"/>
                    </a:cubicBezTo>
                    <a:cubicBezTo>
                      <a:pt x="287" y="79"/>
                      <a:pt x="287" y="79"/>
                      <a:pt x="287" y="79"/>
                    </a:cubicBezTo>
                    <a:cubicBezTo>
                      <a:pt x="288" y="79"/>
                      <a:pt x="288" y="79"/>
                      <a:pt x="289" y="78"/>
                    </a:cubicBezTo>
                    <a:cubicBezTo>
                      <a:pt x="289" y="79"/>
                      <a:pt x="288" y="79"/>
                      <a:pt x="288" y="79"/>
                    </a:cubicBezTo>
                    <a:cubicBezTo>
                      <a:pt x="288" y="79"/>
                      <a:pt x="288" y="80"/>
                      <a:pt x="287" y="80"/>
                    </a:cubicBezTo>
                    <a:cubicBezTo>
                      <a:pt x="287" y="80"/>
                      <a:pt x="287" y="80"/>
                      <a:pt x="287" y="80"/>
                    </a:cubicBezTo>
                    <a:cubicBezTo>
                      <a:pt x="286" y="80"/>
                      <a:pt x="288" y="80"/>
                      <a:pt x="289" y="80"/>
                    </a:cubicBezTo>
                    <a:cubicBezTo>
                      <a:pt x="288" y="80"/>
                      <a:pt x="287" y="80"/>
                      <a:pt x="286" y="81"/>
                    </a:cubicBezTo>
                    <a:cubicBezTo>
                      <a:pt x="286" y="81"/>
                      <a:pt x="287" y="81"/>
                      <a:pt x="287" y="81"/>
                    </a:cubicBezTo>
                    <a:cubicBezTo>
                      <a:pt x="287" y="81"/>
                      <a:pt x="287" y="81"/>
                      <a:pt x="288" y="81"/>
                    </a:cubicBezTo>
                    <a:cubicBezTo>
                      <a:pt x="287" y="81"/>
                      <a:pt x="287" y="84"/>
                      <a:pt x="286" y="84"/>
                    </a:cubicBezTo>
                    <a:cubicBezTo>
                      <a:pt x="285" y="84"/>
                      <a:pt x="286" y="81"/>
                      <a:pt x="285" y="82"/>
                    </a:cubicBezTo>
                    <a:cubicBezTo>
                      <a:pt x="285" y="81"/>
                      <a:pt x="285" y="82"/>
                      <a:pt x="285" y="82"/>
                    </a:cubicBezTo>
                    <a:cubicBezTo>
                      <a:pt x="284" y="83"/>
                      <a:pt x="285" y="83"/>
                      <a:pt x="285" y="84"/>
                    </a:cubicBezTo>
                    <a:cubicBezTo>
                      <a:pt x="285" y="84"/>
                      <a:pt x="285" y="85"/>
                      <a:pt x="285" y="86"/>
                    </a:cubicBezTo>
                    <a:cubicBezTo>
                      <a:pt x="284" y="86"/>
                      <a:pt x="284" y="88"/>
                      <a:pt x="284" y="88"/>
                    </a:cubicBezTo>
                    <a:cubicBezTo>
                      <a:pt x="284" y="88"/>
                      <a:pt x="285" y="88"/>
                      <a:pt x="285" y="88"/>
                    </a:cubicBezTo>
                    <a:cubicBezTo>
                      <a:pt x="285" y="88"/>
                      <a:pt x="287" y="87"/>
                      <a:pt x="287" y="87"/>
                    </a:cubicBezTo>
                    <a:cubicBezTo>
                      <a:pt x="287" y="87"/>
                      <a:pt x="286" y="87"/>
                      <a:pt x="286" y="88"/>
                    </a:cubicBezTo>
                    <a:cubicBezTo>
                      <a:pt x="286" y="88"/>
                      <a:pt x="287" y="88"/>
                      <a:pt x="287" y="88"/>
                    </a:cubicBezTo>
                    <a:cubicBezTo>
                      <a:pt x="287" y="88"/>
                      <a:pt x="287" y="88"/>
                      <a:pt x="287" y="89"/>
                    </a:cubicBezTo>
                    <a:cubicBezTo>
                      <a:pt x="287" y="88"/>
                      <a:pt x="286" y="89"/>
                      <a:pt x="286" y="89"/>
                    </a:cubicBezTo>
                    <a:cubicBezTo>
                      <a:pt x="286" y="89"/>
                      <a:pt x="285" y="89"/>
                      <a:pt x="285" y="89"/>
                    </a:cubicBezTo>
                    <a:cubicBezTo>
                      <a:pt x="285" y="90"/>
                      <a:pt x="285" y="90"/>
                      <a:pt x="285" y="90"/>
                    </a:cubicBezTo>
                    <a:cubicBezTo>
                      <a:pt x="285" y="90"/>
                      <a:pt x="285" y="88"/>
                      <a:pt x="285" y="88"/>
                    </a:cubicBezTo>
                    <a:cubicBezTo>
                      <a:pt x="284" y="88"/>
                      <a:pt x="284" y="89"/>
                      <a:pt x="284" y="89"/>
                    </a:cubicBezTo>
                    <a:cubicBezTo>
                      <a:pt x="284" y="90"/>
                      <a:pt x="284" y="91"/>
                      <a:pt x="284" y="92"/>
                    </a:cubicBezTo>
                    <a:cubicBezTo>
                      <a:pt x="284" y="92"/>
                      <a:pt x="284" y="91"/>
                      <a:pt x="284" y="91"/>
                    </a:cubicBezTo>
                    <a:cubicBezTo>
                      <a:pt x="284" y="92"/>
                      <a:pt x="283" y="92"/>
                      <a:pt x="283" y="93"/>
                    </a:cubicBezTo>
                    <a:cubicBezTo>
                      <a:pt x="283" y="93"/>
                      <a:pt x="283" y="93"/>
                      <a:pt x="283" y="94"/>
                    </a:cubicBezTo>
                    <a:cubicBezTo>
                      <a:pt x="283" y="94"/>
                      <a:pt x="282" y="95"/>
                      <a:pt x="282" y="96"/>
                    </a:cubicBezTo>
                    <a:cubicBezTo>
                      <a:pt x="282" y="97"/>
                      <a:pt x="282" y="96"/>
                      <a:pt x="283" y="96"/>
                    </a:cubicBezTo>
                    <a:cubicBezTo>
                      <a:pt x="283" y="96"/>
                      <a:pt x="283" y="97"/>
                      <a:pt x="282" y="97"/>
                    </a:cubicBezTo>
                    <a:cubicBezTo>
                      <a:pt x="281" y="97"/>
                      <a:pt x="280" y="98"/>
                      <a:pt x="280" y="99"/>
                    </a:cubicBezTo>
                    <a:cubicBezTo>
                      <a:pt x="280" y="99"/>
                      <a:pt x="281" y="98"/>
                      <a:pt x="281" y="98"/>
                    </a:cubicBezTo>
                    <a:cubicBezTo>
                      <a:pt x="281" y="99"/>
                      <a:pt x="280" y="99"/>
                      <a:pt x="280" y="100"/>
                    </a:cubicBezTo>
                    <a:cubicBezTo>
                      <a:pt x="281" y="99"/>
                      <a:pt x="281" y="100"/>
                      <a:pt x="280" y="100"/>
                    </a:cubicBezTo>
                    <a:cubicBezTo>
                      <a:pt x="279" y="100"/>
                      <a:pt x="279" y="100"/>
                      <a:pt x="279" y="100"/>
                    </a:cubicBezTo>
                    <a:cubicBezTo>
                      <a:pt x="278" y="100"/>
                      <a:pt x="278" y="101"/>
                      <a:pt x="278" y="101"/>
                    </a:cubicBezTo>
                    <a:cubicBezTo>
                      <a:pt x="277" y="103"/>
                      <a:pt x="276" y="102"/>
                      <a:pt x="275" y="105"/>
                    </a:cubicBezTo>
                    <a:cubicBezTo>
                      <a:pt x="274" y="106"/>
                      <a:pt x="273" y="107"/>
                      <a:pt x="272" y="108"/>
                    </a:cubicBezTo>
                    <a:cubicBezTo>
                      <a:pt x="271" y="109"/>
                      <a:pt x="270" y="109"/>
                      <a:pt x="269" y="109"/>
                    </a:cubicBezTo>
                    <a:cubicBezTo>
                      <a:pt x="269" y="109"/>
                      <a:pt x="269" y="109"/>
                      <a:pt x="269" y="109"/>
                    </a:cubicBezTo>
                    <a:cubicBezTo>
                      <a:pt x="268" y="110"/>
                      <a:pt x="267" y="110"/>
                      <a:pt x="267" y="110"/>
                    </a:cubicBezTo>
                    <a:cubicBezTo>
                      <a:pt x="266" y="110"/>
                      <a:pt x="264" y="111"/>
                      <a:pt x="263" y="112"/>
                    </a:cubicBezTo>
                    <a:cubicBezTo>
                      <a:pt x="262" y="112"/>
                      <a:pt x="261" y="113"/>
                      <a:pt x="261" y="115"/>
                    </a:cubicBezTo>
                    <a:cubicBezTo>
                      <a:pt x="261" y="116"/>
                      <a:pt x="262" y="116"/>
                      <a:pt x="263" y="116"/>
                    </a:cubicBezTo>
                    <a:cubicBezTo>
                      <a:pt x="264" y="116"/>
                      <a:pt x="264" y="117"/>
                      <a:pt x="265" y="118"/>
                    </a:cubicBezTo>
                    <a:cubicBezTo>
                      <a:pt x="265" y="119"/>
                      <a:pt x="266" y="119"/>
                      <a:pt x="266" y="119"/>
                    </a:cubicBezTo>
                    <a:cubicBezTo>
                      <a:pt x="267" y="119"/>
                      <a:pt x="268" y="119"/>
                      <a:pt x="268" y="120"/>
                    </a:cubicBezTo>
                    <a:cubicBezTo>
                      <a:pt x="269" y="122"/>
                      <a:pt x="268" y="124"/>
                      <a:pt x="267" y="125"/>
                    </a:cubicBezTo>
                    <a:cubicBezTo>
                      <a:pt x="266" y="126"/>
                      <a:pt x="265" y="127"/>
                      <a:pt x="264" y="128"/>
                    </a:cubicBezTo>
                    <a:cubicBezTo>
                      <a:pt x="262" y="129"/>
                      <a:pt x="261" y="130"/>
                      <a:pt x="260" y="131"/>
                    </a:cubicBezTo>
                    <a:cubicBezTo>
                      <a:pt x="259" y="132"/>
                      <a:pt x="258" y="132"/>
                      <a:pt x="258" y="132"/>
                    </a:cubicBezTo>
                    <a:cubicBezTo>
                      <a:pt x="258" y="133"/>
                      <a:pt x="257" y="133"/>
                      <a:pt x="257" y="133"/>
                    </a:cubicBezTo>
                    <a:cubicBezTo>
                      <a:pt x="256" y="133"/>
                      <a:pt x="256" y="134"/>
                      <a:pt x="255" y="134"/>
                    </a:cubicBezTo>
                    <a:cubicBezTo>
                      <a:pt x="255" y="134"/>
                      <a:pt x="254" y="135"/>
                      <a:pt x="254" y="135"/>
                    </a:cubicBezTo>
                    <a:cubicBezTo>
                      <a:pt x="255" y="136"/>
                      <a:pt x="256" y="135"/>
                      <a:pt x="256" y="135"/>
                    </a:cubicBezTo>
                    <a:cubicBezTo>
                      <a:pt x="256" y="135"/>
                      <a:pt x="256" y="134"/>
                      <a:pt x="256" y="134"/>
                    </a:cubicBezTo>
                    <a:cubicBezTo>
                      <a:pt x="257" y="134"/>
                      <a:pt x="257" y="135"/>
                      <a:pt x="256" y="135"/>
                    </a:cubicBezTo>
                    <a:cubicBezTo>
                      <a:pt x="256" y="135"/>
                      <a:pt x="256" y="136"/>
                      <a:pt x="256" y="136"/>
                    </a:cubicBezTo>
                    <a:cubicBezTo>
                      <a:pt x="256" y="136"/>
                      <a:pt x="258" y="136"/>
                      <a:pt x="258" y="136"/>
                    </a:cubicBezTo>
                    <a:cubicBezTo>
                      <a:pt x="258" y="136"/>
                      <a:pt x="258" y="136"/>
                      <a:pt x="258" y="136"/>
                    </a:cubicBezTo>
                    <a:cubicBezTo>
                      <a:pt x="258" y="137"/>
                      <a:pt x="258" y="137"/>
                      <a:pt x="258" y="137"/>
                    </a:cubicBezTo>
                    <a:cubicBezTo>
                      <a:pt x="257" y="138"/>
                      <a:pt x="258" y="138"/>
                      <a:pt x="259" y="138"/>
                    </a:cubicBezTo>
                    <a:cubicBezTo>
                      <a:pt x="260" y="137"/>
                      <a:pt x="262" y="137"/>
                      <a:pt x="263" y="136"/>
                    </a:cubicBezTo>
                    <a:cubicBezTo>
                      <a:pt x="267" y="134"/>
                      <a:pt x="270" y="132"/>
                      <a:pt x="273" y="129"/>
                    </a:cubicBezTo>
                    <a:cubicBezTo>
                      <a:pt x="275" y="128"/>
                      <a:pt x="276" y="127"/>
                      <a:pt x="278" y="126"/>
                    </a:cubicBezTo>
                    <a:cubicBezTo>
                      <a:pt x="279" y="126"/>
                      <a:pt x="279" y="125"/>
                      <a:pt x="280" y="124"/>
                    </a:cubicBezTo>
                    <a:cubicBezTo>
                      <a:pt x="281" y="124"/>
                      <a:pt x="281" y="123"/>
                      <a:pt x="282" y="123"/>
                    </a:cubicBezTo>
                    <a:cubicBezTo>
                      <a:pt x="284" y="122"/>
                      <a:pt x="285" y="121"/>
                      <a:pt x="286" y="120"/>
                    </a:cubicBezTo>
                    <a:cubicBezTo>
                      <a:pt x="287" y="119"/>
                      <a:pt x="287" y="118"/>
                      <a:pt x="288" y="118"/>
                    </a:cubicBezTo>
                    <a:cubicBezTo>
                      <a:pt x="288" y="118"/>
                      <a:pt x="289" y="117"/>
                      <a:pt x="289" y="117"/>
                    </a:cubicBezTo>
                    <a:cubicBezTo>
                      <a:pt x="288" y="117"/>
                      <a:pt x="288" y="116"/>
                      <a:pt x="288" y="116"/>
                    </a:cubicBezTo>
                    <a:cubicBezTo>
                      <a:pt x="288" y="116"/>
                      <a:pt x="289" y="115"/>
                      <a:pt x="289" y="115"/>
                    </a:cubicBezTo>
                    <a:cubicBezTo>
                      <a:pt x="288" y="115"/>
                      <a:pt x="289" y="115"/>
                      <a:pt x="289" y="115"/>
                    </a:cubicBezTo>
                    <a:cubicBezTo>
                      <a:pt x="289" y="113"/>
                      <a:pt x="291" y="112"/>
                      <a:pt x="293" y="112"/>
                    </a:cubicBezTo>
                    <a:cubicBezTo>
                      <a:pt x="294" y="111"/>
                      <a:pt x="296" y="110"/>
                      <a:pt x="298" y="110"/>
                    </a:cubicBezTo>
                    <a:cubicBezTo>
                      <a:pt x="299" y="110"/>
                      <a:pt x="300" y="110"/>
                      <a:pt x="300" y="111"/>
                    </a:cubicBezTo>
                    <a:cubicBezTo>
                      <a:pt x="300" y="111"/>
                      <a:pt x="299" y="112"/>
                      <a:pt x="299" y="112"/>
                    </a:cubicBezTo>
                    <a:cubicBezTo>
                      <a:pt x="299" y="112"/>
                      <a:pt x="300" y="112"/>
                      <a:pt x="301" y="111"/>
                    </a:cubicBezTo>
                    <a:cubicBezTo>
                      <a:pt x="302" y="111"/>
                      <a:pt x="300" y="110"/>
                      <a:pt x="301" y="110"/>
                    </a:cubicBezTo>
                    <a:cubicBezTo>
                      <a:pt x="302" y="109"/>
                      <a:pt x="303" y="108"/>
                      <a:pt x="304" y="107"/>
                    </a:cubicBezTo>
                    <a:cubicBezTo>
                      <a:pt x="304" y="106"/>
                      <a:pt x="304" y="106"/>
                      <a:pt x="305" y="106"/>
                    </a:cubicBezTo>
                    <a:cubicBezTo>
                      <a:pt x="305" y="106"/>
                      <a:pt x="306" y="106"/>
                      <a:pt x="306" y="106"/>
                    </a:cubicBezTo>
                    <a:cubicBezTo>
                      <a:pt x="307" y="105"/>
                      <a:pt x="308" y="104"/>
                      <a:pt x="309" y="103"/>
                    </a:cubicBezTo>
                    <a:cubicBezTo>
                      <a:pt x="310" y="103"/>
                      <a:pt x="309" y="103"/>
                      <a:pt x="309" y="103"/>
                    </a:cubicBezTo>
                    <a:cubicBezTo>
                      <a:pt x="310" y="103"/>
                      <a:pt x="310" y="103"/>
                      <a:pt x="310" y="102"/>
                    </a:cubicBezTo>
                    <a:cubicBezTo>
                      <a:pt x="310" y="102"/>
                      <a:pt x="310" y="102"/>
                      <a:pt x="311" y="101"/>
                    </a:cubicBezTo>
                    <a:cubicBezTo>
                      <a:pt x="311" y="100"/>
                      <a:pt x="312" y="100"/>
                      <a:pt x="312" y="99"/>
                    </a:cubicBezTo>
                    <a:cubicBezTo>
                      <a:pt x="313" y="98"/>
                      <a:pt x="314" y="97"/>
                      <a:pt x="315" y="96"/>
                    </a:cubicBezTo>
                    <a:cubicBezTo>
                      <a:pt x="315" y="97"/>
                      <a:pt x="314" y="97"/>
                      <a:pt x="314" y="97"/>
                    </a:cubicBezTo>
                    <a:cubicBezTo>
                      <a:pt x="314" y="96"/>
                      <a:pt x="317" y="96"/>
                      <a:pt x="316" y="95"/>
                    </a:cubicBezTo>
                    <a:cubicBezTo>
                      <a:pt x="316" y="95"/>
                      <a:pt x="314" y="95"/>
                      <a:pt x="315" y="94"/>
                    </a:cubicBezTo>
                    <a:close/>
                    <a:moveTo>
                      <a:pt x="253" y="131"/>
                    </a:moveTo>
                    <a:cubicBezTo>
                      <a:pt x="253" y="131"/>
                      <a:pt x="252" y="132"/>
                      <a:pt x="252" y="132"/>
                    </a:cubicBezTo>
                    <a:cubicBezTo>
                      <a:pt x="252" y="131"/>
                      <a:pt x="252" y="131"/>
                      <a:pt x="252" y="131"/>
                    </a:cubicBezTo>
                    <a:cubicBezTo>
                      <a:pt x="251" y="131"/>
                      <a:pt x="251" y="132"/>
                      <a:pt x="251" y="132"/>
                    </a:cubicBezTo>
                    <a:cubicBezTo>
                      <a:pt x="251" y="132"/>
                      <a:pt x="251" y="132"/>
                      <a:pt x="251" y="132"/>
                    </a:cubicBezTo>
                    <a:cubicBezTo>
                      <a:pt x="251" y="132"/>
                      <a:pt x="251" y="133"/>
                      <a:pt x="250" y="133"/>
                    </a:cubicBezTo>
                    <a:cubicBezTo>
                      <a:pt x="250" y="133"/>
                      <a:pt x="250" y="132"/>
                      <a:pt x="250" y="132"/>
                    </a:cubicBezTo>
                    <a:cubicBezTo>
                      <a:pt x="250" y="133"/>
                      <a:pt x="249" y="133"/>
                      <a:pt x="249" y="134"/>
                    </a:cubicBezTo>
                    <a:cubicBezTo>
                      <a:pt x="249" y="134"/>
                      <a:pt x="250" y="133"/>
                      <a:pt x="251" y="133"/>
                    </a:cubicBezTo>
                    <a:cubicBezTo>
                      <a:pt x="250" y="134"/>
                      <a:pt x="249" y="134"/>
                      <a:pt x="249" y="134"/>
                    </a:cubicBezTo>
                    <a:cubicBezTo>
                      <a:pt x="249" y="134"/>
                      <a:pt x="247" y="135"/>
                      <a:pt x="247" y="134"/>
                    </a:cubicBezTo>
                    <a:cubicBezTo>
                      <a:pt x="247" y="134"/>
                      <a:pt x="249" y="133"/>
                      <a:pt x="249" y="133"/>
                    </a:cubicBezTo>
                    <a:cubicBezTo>
                      <a:pt x="249" y="133"/>
                      <a:pt x="250" y="132"/>
                      <a:pt x="250" y="132"/>
                    </a:cubicBezTo>
                    <a:cubicBezTo>
                      <a:pt x="250" y="132"/>
                      <a:pt x="249" y="132"/>
                      <a:pt x="249" y="132"/>
                    </a:cubicBezTo>
                    <a:cubicBezTo>
                      <a:pt x="249" y="132"/>
                      <a:pt x="250" y="132"/>
                      <a:pt x="251" y="131"/>
                    </a:cubicBezTo>
                    <a:cubicBezTo>
                      <a:pt x="251" y="131"/>
                      <a:pt x="252" y="131"/>
                      <a:pt x="252" y="130"/>
                    </a:cubicBezTo>
                    <a:cubicBezTo>
                      <a:pt x="252" y="130"/>
                      <a:pt x="250" y="131"/>
                      <a:pt x="250" y="131"/>
                    </a:cubicBezTo>
                    <a:cubicBezTo>
                      <a:pt x="250" y="131"/>
                      <a:pt x="249" y="131"/>
                      <a:pt x="249" y="131"/>
                    </a:cubicBezTo>
                    <a:cubicBezTo>
                      <a:pt x="249" y="131"/>
                      <a:pt x="248" y="132"/>
                      <a:pt x="249" y="132"/>
                    </a:cubicBezTo>
                    <a:cubicBezTo>
                      <a:pt x="248" y="132"/>
                      <a:pt x="248" y="133"/>
                      <a:pt x="247" y="132"/>
                    </a:cubicBezTo>
                    <a:cubicBezTo>
                      <a:pt x="247" y="132"/>
                      <a:pt x="246" y="133"/>
                      <a:pt x="246" y="133"/>
                    </a:cubicBezTo>
                    <a:cubicBezTo>
                      <a:pt x="245" y="133"/>
                      <a:pt x="244" y="133"/>
                      <a:pt x="244" y="134"/>
                    </a:cubicBezTo>
                    <a:cubicBezTo>
                      <a:pt x="243" y="134"/>
                      <a:pt x="243" y="135"/>
                      <a:pt x="242" y="135"/>
                    </a:cubicBezTo>
                    <a:cubicBezTo>
                      <a:pt x="241" y="135"/>
                      <a:pt x="242" y="133"/>
                      <a:pt x="242" y="132"/>
                    </a:cubicBezTo>
                    <a:cubicBezTo>
                      <a:pt x="242" y="131"/>
                      <a:pt x="243" y="131"/>
                      <a:pt x="244" y="130"/>
                    </a:cubicBezTo>
                    <a:cubicBezTo>
                      <a:pt x="244" y="130"/>
                      <a:pt x="244" y="129"/>
                      <a:pt x="244" y="129"/>
                    </a:cubicBezTo>
                    <a:cubicBezTo>
                      <a:pt x="244" y="129"/>
                      <a:pt x="242" y="130"/>
                      <a:pt x="242" y="129"/>
                    </a:cubicBezTo>
                    <a:cubicBezTo>
                      <a:pt x="242" y="129"/>
                      <a:pt x="242" y="128"/>
                      <a:pt x="242" y="127"/>
                    </a:cubicBezTo>
                    <a:cubicBezTo>
                      <a:pt x="243" y="127"/>
                      <a:pt x="244" y="126"/>
                      <a:pt x="245" y="126"/>
                    </a:cubicBezTo>
                    <a:cubicBezTo>
                      <a:pt x="245" y="126"/>
                      <a:pt x="246" y="127"/>
                      <a:pt x="246" y="126"/>
                    </a:cubicBezTo>
                    <a:cubicBezTo>
                      <a:pt x="246" y="126"/>
                      <a:pt x="243" y="126"/>
                      <a:pt x="243" y="126"/>
                    </a:cubicBezTo>
                    <a:cubicBezTo>
                      <a:pt x="243" y="126"/>
                      <a:pt x="242" y="126"/>
                      <a:pt x="242" y="127"/>
                    </a:cubicBezTo>
                    <a:cubicBezTo>
                      <a:pt x="242" y="127"/>
                      <a:pt x="242" y="127"/>
                      <a:pt x="242" y="127"/>
                    </a:cubicBezTo>
                    <a:cubicBezTo>
                      <a:pt x="242" y="127"/>
                      <a:pt x="241" y="127"/>
                      <a:pt x="241" y="127"/>
                    </a:cubicBezTo>
                    <a:cubicBezTo>
                      <a:pt x="241" y="127"/>
                      <a:pt x="241" y="127"/>
                      <a:pt x="241" y="127"/>
                    </a:cubicBezTo>
                    <a:cubicBezTo>
                      <a:pt x="240" y="127"/>
                      <a:pt x="240" y="128"/>
                      <a:pt x="239" y="128"/>
                    </a:cubicBezTo>
                    <a:cubicBezTo>
                      <a:pt x="238" y="129"/>
                      <a:pt x="237" y="129"/>
                      <a:pt x="236" y="130"/>
                    </a:cubicBezTo>
                    <a:cubicBezTo>
                      <a:pt x="235" y="130"/>
                      <a:pt x="235" y="131"/>
                      <a:pt x="234" y="132"/>
                    </a:cubicBezTo>
                    <a:cubicBezTo>
                      <a:pt x="234" y="133"/>
                      <a:pt x="233" y="134"/>
                      <a:pt x="232" y="134"/>
                    </a:cubicBezTo>
                    <a:cubicBezTo>
                      <a:pt x="231" y="136"/>
                      <a:pt x="229" y="137"/>
                      <a:pt x="227" y="138"/>
                    </a:cubicBezTo>
                    <a:cubicBezTo>
                      <a:pt x="226" y="139"/>
                      <a:pt x="226" y="139"/>
                      <a:pt x="225" y="140"/>
                    </a:cubicBezTo>
                    <a:cubicBezTo>
                      <a:pt x="224" y="140"/>
                      <a:pt x="223" y="139"/>
                      <a:pt x="223" y="140"/>
                    </a:cubicBezTo>
                    <a:cubicBezTo>
                      <a:pt x="221" y="142"/>
                      <a:pt x="219" y="143"/>
                      <a:pt x="218" y="145"/>
                    </a:cubicBezTo>
                    <a:cubicBezTo>
                      <a:pt x="217" y="146"/>
                      <a:pt x="216" y="146"/>
                      <a:pt x="215" y="147"/>
                    </a:cubicBezTo>
                    <a:cubicBezTo>
                      <a:pt x="215" y="147"/>
                      <a:pt x="214" y="148"/>
                      <a:pt x="214" y="148"/>
                    </a:cubicBezTo>
                    <a:cubicBezTo>
                      <a:pt x="213" y="149"/>
                      <a:pt x="212" y="150"/>
                      <a:pt x="211" y="150"/>
                    </a:cubicBezTo>
                    <a:cubicBezTo>
                      <a:pt x="210" y="151"/>
                      <a:pt x="209" y="151"/>
                      <a:pt x="208" y="152"/>
                    </a:cubicBezTo>
                    <a:cubicBezTo>
                      <a:pt x="207" y="152"/>
                      <a:pt x="206" y="153"/>
                      <a:pt x="205" y="153"/>
                    </a:cubicBezTo>
                    <a:cubicBezTo>
                      <a:pt x="204" y="153"/>
                      <a:pt x="204" y="154"/>
                      <a:pt x="203" y="154"/>
                    </a:cubicBezTo>
                    <a:cubicBezTo>
                      <a:pt x="203" y="154"/>
                      <a:pt x="202" y="154"/>
                      <a:pt x="202" y="154"/>
                    </a:cubicBezTo>
                    <a:cubicBezTo>
                      <a:pt x="202" y="155"/>
                      <a:pt x="202" y="154"/>
                      <a:pt x="201" y="155"/>
                    </a:cubicBezTo>
                    <a:cubicBezTo>
                      <a:pt x="201" y="155"/>
                      <a:pt x="200" y="155"/>
                      <a:pt x="200" y="155"/>
                    </a:cubicBezTo>
                    <a:cubicBezTo>
                      <a:pt x="200" y="155"/>
                      <a:pt x="200" y="155"/>
                      <a:pt x="201" y="155"/>
                    </a:cubicBezTo>
                    <a:cubicBezTo>
                      <a:pt x="200" y="156"/>
                      <a:pt x="199" y="156"/>
                      <a:pt x="198" y="156"/>
                    </a:cubicBezTo>
                    <a:cubicBezTo>
                      <a:pt x="198" y="157"/>
                      <a:pt x="197" y="158"/>
                      <a:pt x="196" y="158"/>
                    </a:cubicBezTo>
                    <a:cubicBezTo>
                      <a:pt x="194" y="157"/>
                      <a:pt x="193" y="160"/>
                      <a:pt x="191" y="160"/>
                    </a:cubicBezTo>
                    <a:cubicBezTo>
                      <a:pt x="190" y="160"/>
                      <a:pt x="188" y="161"/>
                      <a:pt x="186" y="162"/>
                    </a:cubicBezTo>
                    <a:cubicBezTo>
                      <a:pt x="185" y="162"/>
                      <a:pt x="185" y="162"/>
                      <a:pt x="184" y="163"/>
                    </a:cubicBezTo>
                    <a:cubicBezTo>
                      <a:pt x="183" y="163"/>
                      <a:pt x="182" y="164"/>
                      <a:pt x="181" y="164"/>
                    </a:cubicBezTo>
                    <a:cubicBezTo>
                      <a:pt x="180" y="164"/>
                      <a:pt x="179" y="164"/>
                      <a:pt x="179" y="164"/>
                    </a:cubicBezTo>
                    <a:cubicBezTo>
                      <a:pt x="178" y="164"/>
                      <a:pt x="177" y="165"/>
                      <a:pt x="176" y="165"/>
                    </a:cubicBezTo>
                    <a:cubicBezTo>
                      <a:pt x="175" y="166"/>
                      <a:pt x="174" y="166"/>
                      <a:pt x="173" y="167"/>
                    </a:cubicBezTo>
                    <a:cubicBezTo>
                      <a:pt x="173" y="167"/>
                      <a:pt x="173" y="167"/>
                      <a:pt x="172" y="168"/>
                    </a:cubicBezTo>
                    <a:cubicBezTo>
                      <a:pt x="172" y="168"/>
                      <a:pt x="171" y="168"/>
                      <a:pt x="170" y="169"/>
                    </a:cubicBezTo>
                    <a:cubicBezTo>
                      <a:pt x="169" y="169"/>
                      <a:pt x="169" y="169"/>
                      <a:pt x="168" y="170"/>
                    </a:cubicBezTo>
                    <a:cubicBezTo>
                      <a:pt x="168" y="170"/>
                      <a:pt x="168" y="171"/>
                      <a:pt x="168" y="171"/>
                    </a:cubicBezTo>
                    <a:cubicBezTo>
                      <a:pt x="168" y="171"/>
                      <a:pt x="168" y="171"/>
                      <a:pt x="168" y="171"/>
                    </a:cubicBezTo>
                    <a:cubicBezTo>
                      <a:pt x="167" y="170"/>
                      <a:pt x="167" y="171"/>
                      <a:pt x="167" y="171"/>
                    </a:cubicBezTo>
                    <a:cubicBezTo>
                      <a:pt x="166" y="171"/>
                      <a:pt x="166" y="172"/>
                      <a:pt x="166" y="172"/>
                    </a:cubicBezTo>
                    <a:cubicBezTo>
                      <a:pt x="165" y="171"/>
                      <a:pt x="165" y="172"/>
                      <a:pt x="165" y="172"/>
                    </a:cubicBezTo>
                    <a:cubicBezTo>
                      <a:pt x="165" y="172"/>
                      <a:pt x="164" y="173"/>
                      <a:pt x="163" y="173"/>
                    </a:cubicBezTo>
                    <a:cubicBezTo>
                      <a:pt x="162" y="173"/>
                      <a:pt x="162" y="173"/>
                      <a:pt x="161" y="174"/>
                    </a:cubicBezTo>
                    <a:cubicBezTo>
                      <a:pt x="161" y="175"/>
                      <a:pt x="161" y="175"/>
                      <a:pt x="161" y="174"/>
                    </a:cubicBezTo>
                    <a:cubicBezTo>
                      <a:pt x="162" y="173"/>
                      <a:pt x="161" y="174"/>
                      <a:pt x="161" y="174"/>
                    </a:cubicBezTo>
                    <a:cubicBezTo>
                      <a:pt x="160" y="174"/>
                      <a:pt x="160" y="174"/>
                      <a:pt x="159" y="175"/>
                    </a:cubicBezTo>
                    <a:cubicBezTo>
                      <a:pt x="158" y="175"/>
                      <a:pt x="159" y="175"/>
                      <a:pt x="160" y="175"/>
                    </a:cubicBezTo>
                    <a:cubicBezTo>
                      <a:pt x="160" y="176"/>
                      <a:pt x="159" y="175"/>
                      <a:pt x="159" y="175"/>
                    </a:cubicBezTo>
                    <a:cubicBezTo>
                      <a:pt x="158" y="175"/>
                      <a:pt x="158" y="175"/>
                      <a:pt x="158" y="176"/>
                    </a:cubicBezTo>
                    <a:cubicBezTo>
                      <a:pt x="157" y="175"/>
                      <a:pt x="157" y="177"/>
                      <a:pt x="157" y="177"/>
                    </a:cubicBezTo>
                    <a:cubicBezTo>
                      <a:pt x="157" y="177"/>
                      <a:pt x="157" y="176"/>
                      <a:pt x="156" y="176"/>
                    </a:cubicBezTo>
                    <a:cubicBezTo>
                      <a:pt x="156" y="176"/>
                      <a:pt x="156" y="177"/>
                      <a:pt x="156" y="177"/>
                    </a:cubicBezTo>
                    <a:cubicBezTo>
                      <a:pt x="155" y="178"/>
                      <a:pt x="156" y="178"/>
                      <a:pt x="157" y="178"/>
                    </a:cubicBezTo>
                    <a:cubicBezTo>
                      <a:pt x="156" y="179"/>
                      <a:pt x="155" y="178"/>
                      <a:pt x="155" y="178"/>
                    </a:cubicBezTo>
                    <a:cubicBezTo>
                      <a:pt x="155" y="179"/>
                      <a:pt x="155" y="179"/>
                      <a:pt x="155" y="180"/>
                    </a:cubicBezTo>
                    <a:cubicBezTo>
                      <a:pt x="155" y="180"/>
                      <a:pt x="154" y="180"/>
                      <a:pt x="154" y="180"/>
                    </a:cubicBezTo>
                    <a:cubicBezTo>
                      <a:pt x="154" y="180"/>
                      <a:pt x="155" y="179"/>
                      <a:pt x="155" y="179"/>
                    </a:cubicBezTo>
                    <a:cubicBezTo>
                      <a:pt x="154" y="179"/>
                      <a:pt x="154" y="179"/>
                      <a:pt x="154" y="179"/>
                    </a:cubicBezTo>
                    <a:cubicBezTo>
                      <a:pt x="154" y="179"/>
                      <a:pt x="155" y="178"/>
                      <a:pt x="154" y="179"/>
                    </a:cubicBezTo>
                    <a:cubicBezTo>
                      <a:pt x="154" y="178"/>
                      <a:pt x="154" y="178"/>
                      <a:pt x="154" y="178"/>
                    </a:cubicBezTo>
                    <a:cubicBezTo>
                      <a:pt x="153" y="178"/>
                      <a:pt x="153" y="178"/>
                      <a:pt x="153" y="178"/>
                    </a:cubicBezTo>
                    <a:cubicBezTo>
                      <a:pt x="152" y="179"/>
                      <a:pt x="153" y="179"/>
                      <a:pt x="153" y="180"/>
                    </a:cubicBezTo>
                    <a:cubicBezTo>
                      <a:pt x="153" y="179"/>
                      <a:pt x="151" y="181"/>
                      <a:pt x="150" y="181"/>
                    </a:cubicBezTo>
                    <a:cubicBezTo>
                      <a:pt x="150" y="181"/>
                      <a:pt x="150" y="181"/>
                      <a:pt x="151" y="181"/>
                    </a:cubicBezTo>
                    <a:cubicBezTo>
                      <a:pt x="152" y="181"/>
                      <a:pt x="152" y="180"/>
                      <a:pt x="153" y="180"/>
                    </a:cubicBezTo>
                    <a:cubicBezTo>
                      <a:pt x="153" y="181"/>
                      <a:pt x="152" y="181"/>
                      <a:pt x="152" y="181"/>
                    </a:cubicBezTo>
                    <a:cubicBezTo>
                      <a:pt x="152" y="181"/>
                      <a:pt x="153" y="181"/>
                      <a:pt x="153" y="181"/>
                    </a:cubicBezTo>
                    <a:cubicBezTo>
                      <a:pt x="152" y="181"/>
                      <a:pt x="150" y="181"/>
                      <a:pt x="150" y="182"/>
                    </a:cubicBezTo>
                    <a:cubicBezTo>
                      <a:pt x="150" y="182"/>
                      <a:pt x="152" y="182"/>
                      <a:pt x="152" y="182"/>
                    </a:cubicBezTo>
                    <a:cubicBezTo>
                      <a:pt x="151" y="182"/>
                      <a:pt x="150" y="182"/>
                      <a:pt x="149" y="183"/>
                    </a:cubicBezTo>
                    <a:cubicBezTo>
                      <a:pt x="150" y="183"/>
                      <a:pt x="151" y="183"/>
                      <a:pt x="151" y="183"/>
                    </a:cubicBezTo>
                    <a:cubicBezTo>
                      <a:pt x="151" y="183"/>
                      <a:pt x="150" y="183"/>
                      <a:pt x="149" y="183"/>
                    </a:cubicBezTo>
                    <a:cubicBezTo>
                      <a:pt x="148" y="184"/>
                      <a:pt x="147" y="183"/>
                      <a:pt x="146" y="184"/>
                    </a:cubicBezTo>
                    <a:cubicBezTo>
                      <a:pt x="145" y="184"/>
                      <a:pt x="145" y="185"/>
                      <a:pt x="145" y="185"/>
                    </a:cubicBezTo>
                    <a:cubicBezTo>
                      <a:pt x="145" y="185"/>
                      <a:pt x="144" y="186"/>
                      <a:pt x="145" y="186"/>
                    </a:cubicBezTo>
                    <a:cubicBezTo>
                      <a:pt x="146" y="186"/>
                      <a:pt x="147" y="185"/>
                      <a:pt x="148" y="184"/>
                    </a:cubicBezTo>
                    <a:cubicBezTo>
                      <a:pt x="147" y="185"/>
                      <a:pt x="147" y="185"/>
                      <a:pt x="147" y="185"/>
                    </a:cubicBezTo>
                    <a:cubicBezTo>
                      <a:pt x="147" y="185"/>
                      <a:pt x="147" y="185"/>
                      <a:pt x="148" y="185"/>
                    </a:cubicBezTo>
                    <a:cubicBezTo>
                      <a:pt x="147" y="186"/>
                      <a:pt x="145" y="186"/>
                      <a:pt x="145" y="187"/>
                    </a:cubicBezTo>
                    <a:cubicBezTo>
                      <a:pt x="145" y="187"/>
                      <a:pt x="146" y="186"/>
                      <a:pt x="146" y="186"/>
                    </a:cubicBezTo>
                    <a:cubicBezTo>
                      <a:pt x="146" y="186"/>
                      <a:pt x="146" y="186"/>
                      <a:pt x="146" y="186"/>
                    </a:cubicBezTo>
                    <a:cubicBezTo>
                      <a:pt x="147" y="186"/>
                      <a:pt x="147" y="186"/>
                      <a:pt x="147" y="186"/>
                    </a:cubicBezTo>
                    <a:cubicBezTo>
                      <a:pt x="148" y="185"/>
                      <a:pt x="148" y="185"/>
                      <a:pt x="149" y="185"/>
                    </a:cubicBezTo>
                    <a:cubicBezTo>
                      <a:pt x="148" y="186"/>
                      <a:pt x="144" y="187"/>
                      <a:pt x="145" y="188"/>
                    </a:cubicBezTo>
                    <a:cubicBezTo>
                      <a:pt x="145" y="188"/>
                      <a:pt x="147" y="188"/>
                      <a:pt x="147" y="188"/>
                    </a:cubicBezTo>
                    <a:cubicBezTo>
                      <a:pt x="148" y="189"/>
                      <a:pt x="150" y="189"/>
                      <a:pt x="151" y="188"/>
                    </a:cubicBezTo>
                    <a:cubicBezTo>
                      <a:pt x="151" y="188"/>
                      <a:pt x="153" y="187"/>
                      <a:pt x="153" y="188"/>
                    </a:cubicBezTo>
                    <a:cubicBezTo>
                      <a:pt x="153" y="189"/>
                      <a:pt x="152" y="190"/>
                      <a:pt x="153" y="190"/>
                    </a:cubicBezTo>
                    <a:cubicBezTo>
                      <a:pt x="154" y="190"/>
                      <a:pt x="155" y="190"/>
                      <a:pt x="155" y="190"/>
                    </a:cubicBezTo>
                    <a:cubicBezTo>
                      <a:pt x="157" y="189"/>
                      <a:pt x="156" y="191"/>
                      <a:pt x="156" y="191"/>
                    </a:cubicBezTo>
                    <a:cubicBezTo>
                      <a:pt x="156" y="191"/>
                      <a:pt x="157" y="190"/>
                      <a:pt x="157" y="190"/>
                    </a:cubicBezTo>
                    <a:cubicBezTo>
                      <a:pt x="157" y="190"/>
                      <a:pt x="157" y="191"/>
                      <a:pt x="157" y="191"/>
                    </a:cubicBezTo>
                    <a:cubicBezTo>
                      <a:pt x="156" y="191"/>
                      <a:pt x="156" y="191"/>
                      <a:pt x="155" y="191"/>
                    </a:cubicBezTo>
                    <a:cubicBezTo>
                      <a:pt x="155" y="191"/>
                      <a:pt x="155" y="192"/>
                      <a:pt x="156" y="192"/>
                    </a:cubicBezTo>
                    <a:cubicBezTo>
                      <a:pt x="156" y="192"/>
                      <a:pt x="156" y="192"/>
                      <a:pt x="156" y="192"/>
                    </a:cubicBezTo>
                    <a:cubicBezTo>
                      <a:pt x="157" y="192"/>
                      <a:pt x="157" y="192"/>
                      <a:pt x="157" y="192"/>
                    </a:cubicBezTo>
                    <a:cubicBezTo>
                      <a:pt x="157" y="192"/>
                      <a:pt x="157" y="192"/>
                      <a:pt x="156" y="192"/>
                    </a:cubicBezTo>
                    <a:cubicBezTo>
                      <a:pt x="156" y="192"/>
                      <a:pt x="157" y="192"/>
                      <a:pt x="157" y="192"/>
                    </a:cubicBezTo>
                    <a:cubicBezTo>
                      <a:pt x="157" y="192"/>
                      <a:pt x="158" y="192"/>
                      <a:pt x="158" y="192"/>
                    </a:cubicBezTo>
                    <a:cubicBezTo>
                      <a:pt x="158" y="192"/>
                      <a:pt x="158" y="192"/>
                      <a:pt x="159" y="192"/>
                    </a:cubicBezTo>
                    <a:cubicBezTo>
                      <a:pt x="158" y="192"/>
                      <a:pt x="159" y="192"/>
                      <a:pt x="160" y="192"/>
                    </a:cubicBezTo>
                    <a:cubicBezTo>
                      <a:pt x="160" y="192"/>
                      <a:pt x="159" y="193"/>
                      <a:pt x="160" y="193"/>
                    </a:cubicBezTo>
                    <a:cubicBezTo>
                      <a:pt x="160" y="193"/>
                      <a:pt x="161" y="193"/>
                      <a:pt x="161" y="193"/>
                    </a:cubicBezTo>
                    <a:cubicBezTo>
                      <a:pt x="162" y="193"/>
                      <a:pt x="162" y="193"/>
                      <a:pt x="162" y="193"/>
                    </a:cubicBezTo>
                    <a:cubicBezTo>
                      <a:pt x="163" y="193"/>
                      <a:pt x="163" y="193"/>
                      <a:pt x="163" y="193"/>
                    </a:cubicBezTo>
                    <a:cubicBezTo>
                      <a:pt x="164" y="193"/>
                      <a:pt x="164" y="193"/>
                      <a:pt x="164" y="192"/>
                    </a:cubicBezTo>
                    <a:cubicBezTo>
                      <a:pt x="165" y="192"/>
                      <a:pt x="165" y="192"/>
                      <a:pt x="166" y="192"/>
                    </a:cubicBezTo>
                    <a:cubicBezTo>
                      <a:pt x="167" y="192"/>
                      <a:pt x="167" y="192"/>
                      <a:pt x="168" y="191"/>
                    </a:cubicBezTo>
                    <a:cubicBezTo>
                      <a:pt x="169" y="191"/>
                      <a:pt x="169" y="191"/>
                      <a:pt x="170" y="190"/>
                    </a:cubicBezTo>
                    <a:cubicBezTo>
                      <a:pt x="171" y="189"/>
                      <a:pt x="173" y="189"/>
                      <a:pt x="174" y="188"/>
                    </a:cubicBezTo>
                    <a:cubicBezTo>
                      <a:pt x="175" y="188"/>
                      <a:pt x="176" y="187"/>
                      <a:pt x="177" y="186"/>
                    </a:cubicBezTo>
                    <a:cubicBezTo>
                      <a:pt x="178" y="185"/>
                      <a:pt x="179" y="185"/>
                      <a:pt x="181" y="185"/>
                    </a:cubicBezTo>
                    <a:cubicBezTo>
                      <a:pt x="181" y="185"/>
                      <a:pt x="183" y="185"/>
                      <a:pt x="183" y="184"/>
                    </a:cubicBezTo>
                    <a:cubicBezTo>
                      <a:pt x="183" y="184"/>
                      <a:pt x="183" y="184"/>
                      <a:pt x="182" y="184"/>
                    </a:cubicBezTo>
                    <a:cubicBezTo>
                      <a:pt x="183" y="184"/>
                      <a:pt x="183" y="184"/>
                      <a:pt x="183" y="183"/>
                    </a:cubicBezTo>
                    <a:cubicBezTo>
                      <a:pt x="182" y="184"/>
                      <a:pt x="182" y="184"/>
                      <a:pt x="181" y="184"/>
                    </a:cubicBezTo>
                    <a:cubicBezTo>
                      <a:pt x="181" y="184"/>
                      <a:pt x="182" y="184"/>
                      <a:pt x="183" y="183"/>
                    </a:cubicBezTo>
                    <a:cubicBezTo>
                      <a:pt x="184" y="183"/>
                      <a:pt x="182" y="183"/>
                      <a:pt x="182" y="183"/>
                    </a:cubicBezTo>
                    <a:cubicBezTo>
                      <a:pt x="183" y="182"/>
                      <a:pt x="184" y="182"/>
                      <a:pt x="185" y="181"/>
                    </a:cubicBezTo>
                    <a:cubicBezTo>
                      <a:pt x="186" y="181"/>
                      <a:pt x="187" y="180"/>
                      <a:pt x="188" y="179"/>
                    </a:cubicBezTo>
                    <a:cubicBezTo>
                      <a:pt x="188" y="179"/>
                      <a:pt x="188" y="179"/>
                      <a:pt x="188" y="179"/>
                    </a:cubicBezTo>
                    <a:cubicBezTo>
                      <a:pt x="188" y="178"/>
                      <a:pt x="188" y="178"/>
                      <a:pt x="189" y="178"/>
                    </a:cubicBezTo>
                    <a:cubicBezTo>
                      <a:pt x="189" y="177"/>
                      <a:pt x="190" y="177"/>
                      <a:pt x="191" y="176"/>
                    </a:cubicBezTo>
                    <a:cubicBezTo>
                      <a:pt x="193" y="175"/>
                      <a:pt x="195" y="174"/>
                      <a:pt x="196" y="172"/>
                    </a:cubicBezTo>
                    <a:cubicBezTo>
                      <a:pt x="196" y="171"/>
                      <a:pt x="197" y="171"/>
                      <a:pt x="198" y="170"/>
                    </a:cubicBezTo>
                    <a:cubicBezTo>
                      <a:pt x="198" y="169"/>
                      <a:pt x="199" y="169"/>
                      <a:pt x="200" y="168"/>
                    </a:cubicBezTo>
                    <a:cubicBezTo>
                      <a:pt x="201" y="167"/>
                      <a:pt x="203" y="166"/>
                      <a:pt x="205" y="165"/>
                    </a:cubicBezTo>
                    <a:cubicBezTo>
                      <a:pt x="207" y="165"/>
                      <a:pt x="209" y="164"/>
                      <a:pt x="211" y="163"/>
                    </a:cubicBezTo>
                    <a:cubicBezTo>
                      <a:pt x="212" y="163"/>
                      <a:pt x="213" y="163"/>
                      <a:pt x="214" y="162"/>
                    </a:cubicBezTo>
                    <a:cubicBezTo>
                      <a:pt x="215" y="162"/>
                      <a:pt x="215" y="161"/>
                      <a:pt x="216" y="161"/>
                    </a:cubicBezTo>
                    <a:cubicBezTo>
                      <a:pt x="217" y="162"/>
                      <a:pt x="217" y="162"/>
                      <a:pt x="216" y="162"/>
                    </a:cubicBezTo>
                    <a:cubicBezTo>
                      <a:pt x="215" y="162"/>
                      <a:pt x="215" y="162"/>
                      <a:pt x="214" y="163"/>
                    </a:cubicBezTo>
                    <a:cubicBezTo>
                      <a:pt x="215" y="163"/>
                      <a:pt x="216" y="162"/>
                      <a:pt x="216" y="162"/>
                    </a:cubicBezTo>
                    <a:cubicBezTo>
                      <a:pt x="217" y="162"/>
                      <a:pt x="217" y="163"/>
                      <a:pt x="218" y="163"/>
                    </a:cubicBezTo>
                    <a:cubicBezTo>
                      <a:pt x="218" y="163"/>
                      <a:pt x="219" y="163"/>
                      <a:pt x="219" y="162"/>
                    </a:cubicBezTo>
                    <a:cubicBezTo>
                      <a:pt x="219" y="162"/>
                      <a:pt x="219" y="162"/>
                      <a:pt x="219" y="162"/>
                    </a:cubicBezTo>
                    <a:cubicBezTo>
                      <a:pt x="219" y="162"/>
                      <a:pt x="218" y="163"/>
                      <a:pt x="219" y="163"/>
                    </a:cubicBezTo>
                    <a:cubicBezTo>
                      <a:pt x="220" y="163"/>
                      <a:pt x="221" y="162"/>
                      <a:pt x="221" y="162"/>
                    </a:cubicBezTo>
                    <a:cubicBezTo>
                      <a:pt x="221" y="161"/>
                      <a:pt x="222" y="160"/>
                      <a:pt x="221" y="161"/>
                    </a:cubicBezTo>
                    <a:cubicBezTo>
                      <a:pt x="221" y="160"/>
                      <a:pt x="220" y="160"/>
                      <a:pt x="220" y="161"/>
                    </a:cubicBezTo>
                    <a:cubicBezTo>
                      <a:pt x="220" y="160"/>
                      <a:pt x="220" y="160"/>
                      <a:pt x="219" y="160"/>
                    </a:cubicBezTo>
                    <a:cubicBezTo>
                      <a:pt x="220" y="160"/>
                      <a:pt x="218" y="160"/>
                      <a:pt x="218" y="160"/>
                    </a:cubicBezTo>
                    <a:cubicBezTo>
                      <a:pt x="218" y="160"/>
                      <a:pt x="220" y="160"/>
                      <a:pt x="220" y="159"/>
                    </a:cubicBezTo>
                    <a:cubicBezTo>
                      <a:pt x="220" y="159"/>
                      <a:pt x="220" y="158"/>
                      <a:pt x="220" y="158"/>
                    </a:cubicBezTo>
                    <a:cubicBezTo>
                      <a:pt x="220" y="158"/>
                      <a:pt x="221" y="157"/>
                      <a:pt x="221" y="157"/>
                    </a:cubicBezTo>
                    <a:cubicBezTo>
                      <a:pt x="223" y="155"/>
                      <a:pt x="224" y="155"/>
                      <a:pt x="226" y="154"/>
                    </a:cubicBezTo>
                    <a:cubicBezTo>
                      <a:pt x="227" y="154"/>
                      <a:pt x="228" y="153"/>
                      <a:pt x="230" y="152"/>
                    </a:cubicBezTo>
                    <a:cubicBezTo>
                      <a:pt x="231" y="151"/>
                      <a:pt x="233" y="150"/>
                      <a:pt x="234" y="149"/>
                    </a:cubicBezTo>
                    <a:cubicBezTo>
                      <a:pt x="235" y="148"/>
                      <a:pt x="235" y="148"/>
                      <a:pt x="236" y="147"/>
                    </a:cubicBezTo>
                    <a:cubicBezTo>
                      <a:pt x="236" y="147"/>
                      <a:pt x="237" y="147"/>
                      <a:pt x="237" y="147"/>
                    </a:cubicBezTo>
                    <a:cubicBezTo>
                      <a:pt x="237" y="147"/>
                      <a:pt x="237" y="147"/>
                      <a:pt x="237" y="147"/>
                    </a:cubicBezTo>
                    <a:cubicBezTo>
                      <a:pt x="238" y="146"/>
                      <a:pt x="240" y="145"/>
                      <a:pt x="241" y="144"/>
                    </a:cubicBezTo>
                    <a:cubicBezTo>
                      <a:pt x="242" y="143"/>
                      <a:pt x="243" y="142"/>
                      <a:pt x="245" y="142"/>
                    </a:cubicBezTo>
                    <a:cubicBezTo>
                      <a:pt x="246" y="141"/>
                      <a:pt x="247" y="140"/>
                      <a:pt x="248" y="139"/>
                    </a:cubicBezTo>
                    <a:cubicBezTo>
                      <a:pt x="247" y="139"/>
                      <a:pt x="247" y="139"/>
                      <a:pt x="248" y="139"/>
                    </a:cubicBezTo>
                    <a:cubicBezTo>
                      <a:pt x="248" y="138"/>
                      <a:pt x="248" y="138"/>
                      <a:pt x="248" y="137"/>
                    </a:cubicBezTo>
                    <a:cubicBezTo>
                      <a:pt x="248" y="136"/>
                      <a:pt x="249" y="135"/>
                      <a:pt x="250" y="135"/>
                    </a:cubicBezTo>
                    <a:cubicBezTo>
                      <a:pt x="250" y="135"/>
                      <a:pt x="250" y="135"/>
                      <a:pt x="250" y="135"/>
                    </a:cubicBezTo>
                    <a:cubicBezTo>
                      <a:pt x="250" y="135"/>
                      <a:pt x="252" y="135"/>
                      <a:pt x="252" y="134"/>
                    </a:cubicBezTo>
                    <a:cubicBezTo>
                      <a:pt x="251" y="134"/>
                      <a:pt x="251" y="134"/>
                      <a:pt x="250" y="134"/>
                    </a:cubicBezTo>
                    <a:cubicBezTo>
                      <a:pt x="249" y="134"/>
                      <a:pt x="249" y="135"/>
                      <a:pt x="248" y="134"/>
                    </a:cubicBezTo>
                    <a:cubicBezTo>
                      <a:pt x="249" y="134"/>
                      <a:pt x="250" y="134"/>
                      <a:pt x="251" y="134"/>
                    </a:cubicBezTo>
                    <a:cubicBezTo>
                      <a:pt x="251" y="134"/>
                      <a:pt x="251" y="134"/>
                      <a:pt x="252" y="133"/>
                    </a:cubicBezTo>
                    <a:cubicBezTo>
                      <a:pt x="252" y="133"/>
                      <a:pt x="252" y="133"/>
                      <a:pt x="252" y="133"/>
                    </a:cubicBezTo>
                    <a:cubicBezTo>
                      <a:pt x="252" y="133"/>
                      <a:pt x="254" y="132"/>
                      <a:pt x="254" y="132"/>
                    </a:cubicBezTo>
                    <a:cubicBezTo>
                      <a:pt x="254" y="132"/>
                      <a:pt x="253" y="132"/>
                      <a:pt x="253" y="132"/>
                    </a:cubicBezTo>
                    <a:cubicBezTo>
                      <a:pt x="253" y="132"/>
                      <a:pt x="253" y="132"/>
                      <a:pt x="253" y="13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8" name="New Caledonia (FR)">
                <a:extLst>
                  <a:ext uri="{FF2B5EF4-FFF2-40B4-BE49-F238E27FC236}">
                    <a16:creationId xmlns:a16="http://schemas.microsoft.com/office/drawing/2014/main" id="{9FDA5F50-9AD3-A907-6540-C64630A574CB}"/>
                  </a:ext>
                </a:extLst>
              </p:cNvPr>
              <p:cNvSpPr>
                <a:spLocks noEditPoints="1"/>
              </p:cNvSpPr>
              <p:nvPr/>
            </p:nvSpPr>
            <p:spPr bwMode="auto">
              <a:xfrm>
                <a:off x="11107189" y="4788294"/>
                <a:ext cx="272486" cy="138203"/>
              </a:xfrm>
              <a:custGeom>
                <a:avLst/>
                <a:gdLst/>
                <a:ahLst/>
                <a:cxnLst>
                  <a:cxn ang="0">
                    <a:pos x="34" y="6"/>
                  </a:cxn>
                  <a:cxn ang="0">
                    <a:pos x="39" y="12"/>
                  </a:cxn>
                  <a:cxn ang="0">
                    <a:pos x="57" y="31"/>
                  </a:cxn>
                  <a:cxn ang="0">
                    <a:pos x="55" y="28"/>
                  </a:cxn>
                  <a:cxn ang="0">
                    <a:pos x="53" y="27"/>
                  </a:cxn>
                  <a:cxn ang="0">
                    <a:pos x="51" y="26"/>
                  </a:cxn>
                  <a:cxn ang="0">
                    <a:pos x="50" y="24"/>
                  </a:cxn>
                  <a:cxn ang="0">
                    <a:pos x="49" y="23"/>
                  </a:cxn>
                  <a:cxn ang="0">
                    <a:pos x="47" y="20"/>
                  </a:cxn>
                  <a:cxn ang="0">
                    <a:pos x="43" y="17"/>
                  </a:cxn>
                  <a:cxn ang="0">
                    <a:pos x="40" y="13"/>
                  </a:cxn>
                  <a:cxn ang="0">
                    <a:pos x="38" y="13"/>
                  </a:cxn>
                  <a:cxn ang="0">
                    <a:pos x="36" y="12"/>
                  </a:cxn>
                  <a:cxn ang="0">
                    <a:pos x="37" y="13"/>
                  </a:cxn>
                  <a:cxn ang="0">
                    <a:pos x="37" y="16"/>
                  </a:cxn>
                  <a:cxn ang="0">
                    <a:pos x="39" y="20"/>
                  </a:cxn>
                  <a:cxn ang="0">
                    <a:pos x="41" y="22"/>
                  </a:cxn>
                  <a:cxn ang="0">
                    <a:pos x="42" y="24"/>
                  </a:cxn>
                  <a:cxn ang="0">
                    <a:pos x="43" y="25"/>
                  </a:cxn>
                  <a:cxn ang="0">
                    <a:pos x="45" y="27"/>
                  </a:cxn>
                  <a:cxn ang="0">
                    <a:pos x="47" y="28"/>
                  </a:cxn>
                  <a:cxn ang="0">
                    <a:pos x="49" y="29"/>
                  </a:cxn>
                  <a:cxn ang="0">
                    <a:pos x="50" y="31"/>
                  </a:cxn>
                  <a:cxn ang="0">
                    <a:pos x="52" y="32"/>
                  </a:cxn>
                  <a:cxn ang="0">
                    <a:pos x="52" y="33"/>
                  </a:cxn>
                  <a:cxn ang="0">
                    <a:pos x="53" y="35"/>
                  </a:cxn>
                  <a:cxn ang="0">
                    <a:pos x="54" y="35"/>
                  </a:cxn>
                  <a:cxn ang="0">
                    <a:pos x="56" y="35"/>
                  </a:cxn>
                  <a:cxn ang="0">
                    <a:pos x="58" y="35"/>
                  </a:cxn>
                  <a:cxn ang="0">
                    <a:pos x="59" y="36"/>
                  </a:cxn>
                  <a:cxn ang="0">
                    <a:pos x="57" y="32"/>
                  </a:cxn>
                  <a:cxn ang="0">
                    <a:pos x="77" y="39"/>
                  </a:cxn>
                  <a:cxn ang="0">
                    <a:pos x="64" y="39"/>
                  </a:cxn>
                  <a:cxn ang="0">
                    <a:pos x="60" y="14"/>
                  </a:cxn>
                  <a:cxn ang="0">
                    <a:pos x="59" y="18"/>
                  </a:cxn>
                  <a:cxn ang="0">
                    <a:pos x="61" y="15"/>
                  </a:cxn>
                  <a:cxn ang="0">
                    <a:pos x="58" y="18"/>
                  </a:cxn>
                  <a:cxn ang="0">
                    <a:pos x="66" y="20"/>
                  </a:cxn>
                  <a:cxn ang="0">
                    <a:pos x="64" y="19"/>
                  </a:cxn>
                  <a:cxn ang="0">
                    <a:pos x="64" y="20"/>
                  </a:cxn>
                  <a:cxn ang="0">
                    <a:pos x="64" y="22"/>
                  </a:cxn>
                  <a:cxn ang="0">
                    <a:pos x="67" y="21"/>
                  </a:cxn>
                  <a:cxn ang="0">
                    <a:pos x="0" y="2"/>
                  </a:cxn>
                  <a:cxn ang="0">
                    <a:pos x="0" y="1"/>
                  </a:cxn>
                  <a:cxn ang="0">
                    <a:pos x="70" y="25"/>
                  </a:cxn>
                  <a:cxn ang="0">
                    <a:pos x="70" y="28"/>
                  </a:cxn>
                  <a:cxn ang="0">
                    <a:pos x="72" y="27"/>
                  </a:cxn>
                </a:cxnLst>
                <a:rect l="0" t="0" r="r" b="b"/>
                <a:pathLst>
                  <a:path w="77" h="39">
                    <a:moveTo>
                      <a:pt x="34" y="6"/>
                    </a:moveTo>
                    <a:cubicBezTo>
                      <a:pt x="34" y="6"/>
                      <a:pt x="35" y="7"/>
                      <a:pt x="34" y="8"/>
                    </a:cubicBezTo>
                    <a:cubicBezTo>
                      <a:pt x="34" y="8"/>
                      <a:pt x="34" y="6"/>
                      <a:pt x="34" y="6"/>
                    </a:cubicBezTo>
                    <a:close/>
                    <a:moveTo>
                      <a:pt x="39" y="12"/>
                    </a:moveTo>
                    <a:cubicBezTo>
                      <a:pt x="39" y="12"/>
                      <a:pt x="39" y="11"/>
                      <a:pt x="38" y="11"/>
                    </a:cubicBezTo>
                    <a:cubicBezTo>
                      <a:pt x="38" y="11"/>
                      <a:pt x="38" y="12"/>
                      <a:pt x="39" y="12"/>
                    </a:cubicBezTo>
                    <a:close/>
                    <a:moveTo>
                      <a:pt x="57" y="32"/>
                    </a:moveTo>
                    <a:cubicBezTo>
                      <a:pt x="57" y="32"/>
                      <a:pt x="58" y="32"/>
                      <a:pt x="58" y="32"/>
                    </a:cubicBezTo>
                    <a:cubicBezTo>
                      <a:pt x="58" y="31"/>
                      <a:pt x="57" y="31"/>
                      <a:pt x="57" y="31"/>
                    </a:cubicBezTo>
                    <a:cubicBezTo>
                      <a:pt x="57" y="31"/>
                      <a:pt x="57" y="31"/>
                      <a:pt x="56" y="30"/>
                    </a:cubicBezTo>
                    <a:cubicBezTo>
                      <a:pt x="56" y="30"/>
                      <a:pt x="56" y="29"/>
                      <a:pt x="55" y="29"/>
                    </a:cubicBezTo>
                    <a:cubicBezTo>
                      <a:pt x="55" y="29"/>
                      <a:pt x="55" y="28"/>
                      <a:pt x="55" y="28"/>
                    </a:cubicBezTo>
                    <a:cubicBezTo>
                      <a:pt x="55" y="28"/>
                      <a:pt x="54" y="28"/>
                      <a:pt x="54" y="28"/>
                    </a:cubicBezTo>
                    <a:cubicBezTo>
                      <a:pt x="54" y="28"/>
                      <a:pt x="54" y="27"/>
                      <a:pt x="53" y="27"/>
                    </a:cubicBezTo>
                    <a:cubicBezTo>
                      <a:pt x="53" y="27"/>
                      <a:pt x="53" y="27"/>
                      <a:pt x="53" y="27"/>
                    </a:cubicBezTo>
                    <a:cubicBezTo>
                      <a:pt x="53" y="27"/>
                      <a:pt x="53" y="27"/>
                      <a:pt x="53" y="27"/>
                    </a:cubicBezTo>
                    <a:cubicBezTo>
                      <a:pt x="53" y="27"/>
                      <a:pt x="52" y="25"/>
                      <a:pt x="52" y="26"/>
                    </a:cubicBezTo>
                    <a:cubicBezTo>
                      <a:pt x="52" y="26"/>
                      <a:pt x="52" y="27"/>
                      <a:pt x="51" y="26"/>
                    </a:cubicBezTo>
                    <a:cubicBezTo>
                      <a:pt x="52" y="26"/>
                      <a:pt x="51" y="25"/>
                      <a:pt x="51" y="25"/>
                    </a:cubicBezTo>
                    <a:cubicBezTo>
                      <a:pt x="51" y="25"/>
                      <a:pt x="51" y="25"/>
                      <a:pt x="51" y="26"/>
                    </a:cubicBezTo>
                    <a:cubicBezTo>
                      <a:pt x="51" y="25"/>
                      <a:pt x="51" y="25"/>
                      <a:pt x="50" y="24"/>
                    </a:cubicBezTo>
                    <a:cubicBezTo>
                      <a:pt x="49" y="24"/>
                      <a:pt x="49" y="24"/>
                      <a:pt x="49" y="23"/>
                    </a:cubicBezTo>
                    <a:cubicBezTo>
                      <a:pt x="49" y="23"/>
                      <a:pt x="49" y="23"/>
                      <a:pt x="49" y="23"/>
                    </a:cubicBezTo>
                    <a:cubicBezTo>
                      <a:pt x="49" y="23"/>
                      <a:pt x="49" y="23"/>
                      <a:pt x="49" y="23"/>
                    </a:cubicBezTo>
                    <a:cubicBezTo>
                      <a:pt x="48" y="22"/>
                      <a:pt x="47" y="22"/>
                      <a:pt x="48" y="21"/>
                    </a:cubicBezTo>
                    <a:cubicBezTo>
                      <a:pt x="48" y="21"/>
                      <a:pt x="48" y="20"/>
                      <a:pt x="47" y="20"/>
                    </a:cubicBezTo>
                    <a:cubicBezTo>
                      <a:pt x="47" y="20"/>
                      <a:pt x="47" y="20"/>
                      <a:pt x="47" y="20"/>
                    </a:cubicBezTo>
                    <a:cubicBezTo>
                      <a:pt x="46" y="19"/>
                      <a:pt x="47" y="19"/>
                      <a:pt x="46" y="18"/>
                    </a:cubicBezTo>
                    <a:cubicBezTo>
                      <a:pt x="45" y="18"/>
                      <a:pt x="45" y="18"/>
                      <a:pt x="44" y="17"/>
                    </a:cubicBezTo>
                    <a:cubicBezTo>
                      <a:pt x="44" y="17"/>
                      <a:pt x="44" y="17"/>
                      <a:pt x="43" y="17"/>
                    </a:cubicBezTo>
                    <a:cubicBezTo>
                      <a:pt x="43" y="16"/>
                      <a:pt x="43" y="16"/>
                      <a:pt x="43" y="16"/>
                    </a:cubicBezTo>
                    <a:cubicBezTo>
                      <a:pt x="42" y="15"/>
                      <a:pt x="42" y="15"/>
                      <a:pt x="42" y="15"/>
                    </a:cubicBezTo>
                    <a:cubicBezTo>
                      <a:pt x="41" y="13"/>
                      <a:pt x="41" y="13"/>
                      <a:pt x="40" y="13"/>
                    </a:cubicBezTo>
                    <a:cubicBezTo>
                      <a:pt x="39" y="13"/>
                      <a:pt x="39" y="13"/>
                      <a:pt x="39" y="14"/>
                    </a:cubicBezTo>
                    <a:cubicBezTo>
                      <a:pt x="39" y="14"/>
                      <a:pt x="39" y="13"/>
                      <a:pt x="39" y="13"/>
                    </a:cubicBezTo>
                    <a:cubicBezTo>
                      <a:pt x="39" y="13"/>
                      <a:pt x="38" y="13"/>
                      <a:pt x="38" y="13"/>
                    </a:cubicBezTo>
                    <a:cubicBezTo>
                      <a:pt x="38" y="13"/>
                      <a:pt x="38" y="12"/>
                      <a:pt x="37" y="12"/>
                    </a:cubicBezTo>
                    <a:cubicBezTo>
                      <a:pt x="37" y="12"/>
                      <a:pt x="37" y="11"/>
                      <a:pt x="37" y="11"/>
                    </a:cubicBezTo>
                    <a:cubicBezTo>
                      <a:pt x="36" y="11"/>
                      <a:pt x="36" y="12"/>
                      <a:pt x="36" y="12"/>
                    </a:cubicBezTo>
                    <a:cubicBezTo>
                      <a:pt x="36" y="12"/>
                      <a:pt x="37" y="11"/>
                      <a:pt x="37" y="12"/>
                    </a:cubicBezTo>
                    <a:cubicBezTo>
                      <a:pt x="37" y="12"/>
                      <a:pt x="37" y="13"/>
                      <a:pt x="37" y="13"/>
                    </a:cubicBezTo>
                    <a:cubicBezTo>
                      <a:pt x="36" y="12"/>
                      <a:pt x="37" y="14"/>
                      <a:pt x="37" y="13"/>
                    </a:cubicBezTo>
                    <a:cubicBezTo>
                      <a:pt x="37" y="14"/>
                      <a:pt x="38" y="13"/>
                      <a:pt x="38" y="14"/>
                    </a:cubicBezTo>
                    <a:cubicBezTo>
                      <a:pt x="38" y="14"/>
                      <a:pt x="37" y="14"/>
                      <a:pt x="37" y="14"/>
                    </a:cubicBezTo>
                    <a:cubicBezTo>
                      <a:pt x="37" y="15"/>
                      <a:pt x="37" y="15"/>
                      <a:pt x="37" y="16"/>
                    </a:cubicBezTo>
                    <a:cubicBezTo>
                      <a:pt x="37" y="16"/>
                      <a:pt x="38" y="16"/>
                      <a:pt x="38" y="17"/>
                    </a:cubicBezTo>
                    <a:cubicBezTo>
                      <a:pt x="38" y="17"/>
                      <a:pt x="39" y="18"/>
                      <a:pt x="38" y="18"/>
                    </a:cubicBezTo>
                    <a:cubicBezTo>
                      <a:pt x="38" y="19"/>
                      <a:pt x="39" y="19"/>
                      <a:pt x="39" y="20"/>
                    </a:cubicBezTo>
                    <a:cubicBezTo>
                      <a:pt x="40" y="20"/>
                      <a:pt x="40" y="20"/>
                      <a:pt x="41" y="20"/>
                    </a:cubicBezTo>
                    <a:cubicBezTo>
                      <a:pt x="41" y="20"/>
                      <a:pt x="41" y="21"/>
                      <a:pt x="41" y="21"/>
                    </a:cubicBezTo>
                    <a:cubicBezTo>
                      <a:pt x="41" y="22"/>
                      <a:pt x="41" y="22"/>
                      <a:pt x="41" y="22"/>
                    </a:cubicBezTo>
                    <a:cubicBezTo>
                      <a:pt x="41" y="22"/>
                      <a:pt x="42" y="22"/>
                      <a:pt x="42" y="22"/>
                    </a:cubicBezTo>
                    <a:cubicBezTo>
                      <a:pt x="42" y="22"/>
                      <a:pt x="42" y="23"/>
                      <a:pt x="42" y="23"/>
                    </a:cubicBezTo>
                    <a:cubicBezTo>
                      <a:pt x="42" y="23"/>
                      <a:pt x="42" y="24"/>
                      <a:pt x="42" y="24"/>
                    </a:cubicBezTo>
                    <a:cubicBezTo>
                      <a:pt x="42" y="24"/>
                      <a:pt x="43" y="25"/>
                      <a:pt x="43" y="25"/>
                    </a:cubicBezTo>
                    <a:cubicBezTo>
                      <a:pt x="43" y="25"/>
                      <a:pt x="43" y="25"/>
                      <a:pt x="43" y="25"/>
                    </a:cubicBezTo>
                    <a:cubicBezTo>
                      <a:pt x="43" y="25"/>
                      <a:pt x="43" y="25"/>
                      <a:pt x="43" y="25"/>
                    </a:cubicBezTo>
                    <a:cubicBezTo>
                      <a:pt x="43" y="26"/>
                      <a:pt x="44" y="25"/>
                      <a:pt x="44" y="25"/>
                    </a:cubicBezTo>
                    <a:cubicBezTo>
                      <a:pt x="44" y="25"/>
                      <a:pt x="44" y="26"/>
                      <a:pt x="44" y="26"/>
                    </a:cubicBezTo>
                    <a:cubicBezTo>
                      <a:pt x="44" y="26"/>
                      <a:pt x="45" y="26"/>
                      <a:pt x="45" y="27"/>
                    </a:cubicBezTo>
                    <a:cubicBezTo>
                      <a:pt x="45" y="27"/>
                      <a:pt x="45" y="28"/>
                      <a:pt x="46" y="28"/>
                    </a:cubicBezTo>
                    <a:cubicBezTo>
                      <a:pt x="46" y="28"/>
                      <a:pt x="46" y="28"/>
                      <a:pt x="47" y="28"/>
                    </a:cubicBezTo>
                    <a:cubicBezTo>
                      <a:pt x="47" y="28"/>
                      <a:pt x="47" y="28"/>
                      <a:pt x="47" y="28"/>
                    </a:cubicBezTo>
                    <a:cubicBezTo>
                      <a:pt x="47" y="28"/>
                      <a:pt x="47" y="28"/>
                      <a:pt x="47" y="28"/>
                    </a:cubicBezTo>
                    <a:cubicBezTo>
                      <a:pt x="46" y="29"/>
                      <a:pt x="48" y="29"/>
                      <a:pt x="48" y="29"/>
                    </a:cubicBezTo>
                    <a:cubicBezTo>
                      <a:pt x="49" y="29"/>
                      <a:pt x="49" y="29"/>
                      <a:pt x="49" y="29"/>
                    </a:cubicBezTo>
                    <a:cubicBezTo>
                      <a:pt x="49" y="29"/>
                      <a:pt x="49" y="30"/>
                      <a:pt x="49" y="30"/>
                    </a:cubicBezTo>
                    <a:cubicBezTo>
                      <a:pt x="49" y="30"/>
                      <a:pt x="50" y="30"/>
                      <a:pt x="49" y="30"/>
                    </a:cubicBezTo>
                    <a:cubicBezTo>
                      <a:pt x="50" y="31"/>
                      <a:pt x="50" y="31"/>
                      <a:pt x="50" y="31"/>
                    </a:cubicBezTo>
                    <a:cubicBezTo>
                      <a:pt x="50" y="31"/>
                      <a:pt x="51" y="32"/>
                      <a:pt x="51" y="32"/>
                    </a:cubicBezTo>
                    <a:cubicBezTo>
                      <a:pt x="51" y="31"/>
                      <a:pt x="52" y="31"/>
                      <a:pt x="52" y="31"/>
                    </a:cubicBezTo>
                    <a:cubicBezTo>
                      <a:pt x="52" y="31"/>
                      <a:pt x="52" y="32"/>
                      <a:pt x="52" y="32"/>
                    </a:cubicBezTo>
                    <a:cubicBezTo>
                      <a:pt x="52" y="32"/>
                      <a:pt x="52" y="32"/>
                      <a:pt x="52" y="32"/>
                    </a:cubicBezTo>
                    <a:cubicBezTo>
                      <a:pt x="52" y="32"/>
                      <a:pt x="52" y="33"/>
                      <a:pt x="52" y="33"/>
                    </a:cubicBezTo>
                    <a:cubicBezTo>
                      <a:pt x="52" y="33"/>
                      <a:pt x="52" y="33"/>
                      <a:pt x="52" y="33"/>
                    </a:cubicBezTo>
                    <a:cubicBezTo>
                      <a:pt x="52" y="33"/>
                      <a:pt x="52" y="33"/>
                      <a:pt x="52" y="34"/>
                    </a:cubicBezTo>
                    <a:cubicBezTo>
                      <a:pt x="53" y="34"/>
                      <a:pt x="53" y="34"/>
                      <a:pt x="53" y="34"/>
                    </a:cubicBezTo>
                    <a:cubicBezTo>
                      <a:pt x="53" y="34"/>
                      <a:pt x="54" y="34"/>
                      <a:pt x="53" y="35"/>
                    </a:cubicBezTo>
                    <a:cubicBezTo>
                      <a:pt x="54" y="34"/>
                      <a:pt x="54" y="34"/>
                      <a:pt x="54" y="34"/>
                    </a:cubicBezTo>
                    <a:cubicBezTo>
                      <a:pt x="54" y="35"/>
                      <a:pt x="54" y="35"/>
                      <a:pt x="54" y="35"/>
                    </a:cubicBezTo>
                    <a:cubicBezTo>
                      <a:pt x="54" y="35"/>
                      <a:pt x="54" y="36"/>
                      <a:pt x="54" y="35"/>
                    </a:cubicBezTo>
                    <a:cubicBezTo>
                      <a:pt x="54" y="35"/>
                      <a:pt x="55" y="34"/>
                      <a:pt x="55" y="35"/>
                    </a:cubicBezTo>
                    <a:cubicBezTo>
                      <a:pt x="55" y="35"/>
                      <a:pt x="55" y="35"/>
                      <a:pt x="56" y="35"/>
                    </a:cubicBezTo>
                    <a:cubicBezTo>
                      <a:pt x="56" y="35"/>
                      <a:pt x="56" y="35"/>
                      <a:pt x="56" y="35"/>
                    </a:cubicBezTo>
                    <a:cubicBezTo>
                      <a:pt x="56" y="35"/>
                      <a:pt x="57" y="36"/>
                      <a:pt x="57" y="36"/>
                    </a:cubicBezTo>
                    <a:cubicBezTo>
                      <a:pt x="56" y="36"/>
                      <a:pt x="57" y="36"/>
                      <a:pt x="57" y="36"/>
                    </a:cubicBezTo>
                    <a:cubicBezTo>
                      <a:pt x="58" y="36"/>
                      <a:pt x="58" y="36"/>
                      <a:pt x="58" y="35"/>
                    </a:cubicBezTo>
                    <a:cubicBezTo>
                      <a:pt x="58" y="36"/>
                      <a:pt x="58" y="36"/>
                      <a:pt x="58" y="36"/>
                    </a:cubicBezTo>
                    <a:cubicBezTo>
                      <a:pt x="58" y="35"/>
                      <a:pt x="58" y="36"/>
                      <a:pt x="58" y="36"/>
                    </a:cubicBezTo>
                    <a:cubicBezTo>
                      <a:pt x="58" y="37"/>
                      <a:pt x="59" y="36"/>
                      <a:pt x="59" y="36"/>
                    </a:cubicBezTo>
                    <a:cubicBezTo>
                      <a:pt x="59" y="36"/>
                      <a:pt x="60" y="35"/>
                      <a:pt x="60" y="35"/>
                    </a:cubicBezTo>
                    <a:cubicBezTo>
                      <a:pt x="60" y="35"/>
                      <a:pt x="59" y="34"/>
                      <a:pt x="59" y="33"/>
                    </a:cubicBezTo>
                    <a:cubicBezTo>
                      <a:pt x="60" y="32"/>
                      <a:pt x="58" y="32"/>
                      <a:pt x="57" y="32"/>
                    </a:cubicBezTo>
                    <a:close/>
                    <a:moveTo>
                      <a:pt x="77" y="39"/>
                    </a:moveTo>
                    <a:cubicBezTo>
                      <a:pt x="77" y="39"/>
                      <a:pt x="77" y="39"/>
                      <a:pt x="77" y="39"/>
                    </a:cubicBezTo>
                    <a:cubicBezTo>
                      <a:pt x="77" y="39"/>
                      <a:pt x="77" y="39"/>
                      <a:pt x="77" y="39"/>
                    </a:cubicBezTo>
                    <a:close/>
                    <a:moveTo>
                      <a:pt x="63" y="38"/>
                    </a:moveTo>
                    <a:cubicBezTo>
                      <a:pt x="62" y="38"/>
                      <a:pt x="63" y="39"/>
                      <a:pt x="63" y="39"/>
                    </a:cubicBezTo>
                    <a:cubicBezTo>
                      <a:pt x="63" y="39"/>
                      <a:pt x="63" y="39"/>
                      <a:pt x="64" y="39"/>
                    </a:cubicBezTo>
                    <a:cubicBezTo>
                      <a:pt x="64" y="39"/>
                      <a:pt x="64" y="39"/>
                      <a:pt x="64" y="38"/>
                    </a:cubicBezTo>
                    <a:cubicBezTo>
                      <a:pt x="63" y="38"/>
                      <a:pt x="63" y="38"/>
                      <a:pt x="63" y="38"/>
                    </a:cubicBezTo>
                    <a:close/>
                    <a:moveTo>
                      <a:pt x="60" y="14"/>
                    </a:moveTo>
                    <a:cubicBezTo>
                      <a:pt x="60" y="14"/>
                      <a:pt x="61" y="15"/>
                      <a:pt x="60" y="15"/>
                    </a:cubicBezTo>
                    <a:cubicBezTo>
                      <a:pt x="60" y="16"/>
                      <a:pt x="60" y="17"/>
                      <a:pt x="59" y="18"/>
                    </a:cubicBezTo>
                    <a:cubicBezTo>
                      <a:pt x="59" y="18"/>
                      <a:pt x="59" y="18"/>
                      <a:pt x="59" y="18"/>
                    </a:cubicBezTo>
                    <a:cubicBezTo>
                      <a:pt x="59" y="18"/>
                      <a:pt x="59" y="18"/>
                      <a:pt x="59" y="18"/>
                    </a:cubicBezTo>
                    <a:cubicBezTo>
                      <a:pt x="59" y="18"/>
                      <a:pt x="60" y="17"/>
                      <a:pt x="60" y="17"/>
                    </a:cubicBezTo>
                    <a:cubicBezTo>
                      <a:pt x="60" y="17"/>
                      <a:pt x="61" y="15"/>
                      <a:pt x="61" y="15"/>
                    </a:cubicBezTo>
                    <a:cubicBezTo>
                      <a:pt x="61" y="15"/>
                      <a:pt x="61" y="14"/>
                      <a:pt x="60" y="14"/>
                    </a:cubicBezTo>
                    <a:close/>
                    <a:moveTo>
                      <a:pt x="58" y="18"/>
                    </a:moveTo>
                    <a:cubicBezTo>
                      <a:pt x="58" y="18"/>
                      <a:pt x="58" y="18"/>
                      <a:pt x="58" y="18"/>
                    </a:cubicBezTo>
                    <a:cubicBezTo>
                      <a:pt x="58" y="18"/>
                      <a:pt x="58" y="18"/>
                      <a:pt x="58" y="18"/>
                    </a:cubicBezTo>
                    <a:cubicBezTo>
                      <a:pt x="58" y="18"/>
                      <a:pt x="58" y="18"/>
                      <a:pt x="58" y="18"/>
                    </a:cubicBezTo>
                    <a:close/>
                    <a:moveTo>
                      <a:pt x="66" y="20"/>
                    </a:moveTo>
                    <a:cubicBezTo>
                      <a:pt x="66" y="20"/>
                      <a:pt x="66" y="20"/>
                      <a:pt x="66" y="19"/>
                    </a:cubicBezTo>
                    <a:cubicBezTo>
                      <a:pt x="66" y="19"/>
                      <a:pt x="67" y="18"/>
                      <a:pt x="66" y="18"/>
                    </a:cubicBezTo>
                    <a:cubicBezTo>
                      <a:pt x="65" y="18"/>
                      <a:pt x="63" y="18"/>
                      <a:pt x="64" y="19"/>
                    </a:cubicBezTo>
                    <a:cubicBezTo>
                      <a:pt x="64" y="19"/>
                      <a:pt x="65" y="18"/>
                      <a:pt x="65" y="18"/>
                    </a:cubicBezTo>
                    <a:cubicBezTo>
                      <a:pt x="65" y="19"/>
                      <a:pt x="65" y="19"/>
                      <a:pt x="65" y="19"/>
                    </a:cubicBezTo>
                    <a:cubicBezTo>
                      <a:pt x="65" y="20"/>
                      <a:pt x="64" y="20"/>
                      <a:pt x="64" y="20"/>
                    </a:cubicBezTo>
                    <a:cubicBezTo>
                      <a:pt x="64" y="20"/>
                      <a:pt x="63" y="20"/>
                      <a:pt x="63" y="20"/>
                    </a:cubicBezTo>
                    <a:cubicBezTo>
                      <a:pt x="63" y="20"/>
                      <a:pt x="63" y="21"/>
                      <a:pt x="64" y="21"/>
                    </a:cubicBezTo>
                    <a:cubicBezTo>
                      <a:pt x="64" y="22"/>
                      <a:pt x="64" y="22"/>
                      <a:pt x="64" y="22"/>
                    </a:cubicBezTo>
                    <a:cubicBezTo>
                      <a:pt x="65" y="22"/>
                      <a:pt x="65" y="22"/>
                      <a:pt x="65" y="22"/>
                    </a:cubicBezTo>
                    <a:cubicBezTo>
                      <a:pt x="65" y="23"/>
                      <a:pt x="66" y="23"/>
                      <a:pt x="66" y="23"/>
                    </a:cubicBezTo>
                    <a:cubicBezTo>
                      <a:pt x="66" y="23"/>
                      <a:pt x="67" y="22"/>
                      <a:pt x="67" y="21"/>
                    </a:cubicBezTo>
                    <a:cubicBezTo>
                      <a:pt x="66" y="21"/>
                      <a:pt x="67" y="21"/>
                      <a:pt x="66" y="20"/>
                    </a:cubicBezTo>
                    <a:close/>
                    <a:moveTo>
                      <a:pt x="0" y="1"/>
                    </a:moveTo>
                    <a:cubicBezTo>
                      <a:pt x="0" y="1"/>
                      <a:pt x="0" y="1"/>
                      <a:pt x="0" y="2"/>
                    </a:cubicBezTo>
                    <a:cubicBezTo>
                      <a:pt x="0" y="2"/>
                      <a:pt x="0" y="3"/>
                      <a:pt x="0" y="3"/>
                    </a:cubicBezTo>
                    <a:cubicBezTo>
                      <a:pt x="0" y="2"/>
                      <a:pt x="0" y="2"/>
                      <a:pt x="0" y="1"/>
                    </a:cubicBezTo>
                    <a:cubicBezTo>
                      <a:pt x="0" y="1"/>
                      <a:pt x="1" y="0"/>
                      <a:pt x="0" y="1"/>
                    </a:cubicBezTo>
                    <a:close/>
                    <a:moveTo>
                      <a:pt x="71" y="26"/>
                    </a:moveTo>
                    <a:cubicBezTo>
                      <a:pt x="71" y="26"/>
                      <a:pt x="71" y="25"/>
                      <a:pt x="71" y="25"/>
                    </a:cubicBezTo>
                    <a:cubicBezTo>
                      <a:pt x="71" y="25"/>
                      <a:pt x="71" y="25"/>
                      <a:pt x="70" y="25"/>
                    </a:cubicBezTo>
                    <a:cubicBezTo>
                      <a:pt x="70" y="25"/>
                      <a:pt x="70" y="25"/>
                      <a:pt x="70" y="25"/>
                    </a:cubicBezTo>
                    <a:cubicBezTo>
                      <a:pt x="70" y="26"/>
                      <a:pt x="70" y="26"/>
                      <a:pt x="70" y="27"/>
                    </a:cubicBezTo>
                    <a:cubicBezTo>
                      <a:pt x="70" y="27"/>
                      <a:pt x="70" y="28"/>
                      <a:pt x="70" y="28"/>
                    </a:cubicBezTo>
                    <a:cubicBezTo>
                      <a:pt x="70" y="28"/>
                      <a:pt x="70" y="28"/>
                      <a:pt x="70" y="28"/>
                    </a:cubicBezTo>
                    <a:cubicBezTo>
                      <a:pt x="71" y="28"/>
                      <a:pt x="70" y="28"/>
                      <a:pt x="71" y="28"/>
                    </a:cubicBezTo>
                    <a:cubicBezTo>
                      <a:pt x="71" y="28"/>
                      <a:pt x="72" y="28"/>
                      <a:pt x="72" y="27"/>
                    </a:cubicBezTo>
                    <a:cubicBezTo>
                      <a:pt x="72" y="27"/>
                      <a:pt x="73" y="26"/>
                      <a:pt x="73" y="26"/>
                    </a:cubicBezTo>
                    <a:cubicBezTo>
                      <a:pt x="73" y="26"/>
                      <a:pt x="72" y="26"/>
                      <a:pt x="71" y="2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49" name="Netherlands Antilles">
                <a:extLst>
                  <a:ext uri="{FF2B5EF4-FFF2-40B4-BE49-F238E27FC236}">
                    <a16:creationId xmlns:a16="http://schemas.microsoft.com/office/drawing/2014/main" id="{ABBA2423-4B29-FFFA-8112-DC3F50AAD1B5}"/>
                  </a:ext>
                </a:extLst>
              </p:cNvPr>
              <p:cNvSpPr>
                <a:spLocks noEditPoints="1"/>
              </p:cNvSpPr>
              <p:nvPr/>
            </p:nvSpPr>
            <p:spPr bwMode="auto">
              <a:xfrm>
                <a:off x="3307044" y="3342552"/>
                <a:ext cx="262684" cy="233279"/>
              </a:xfrm>
              <a:custGeom>
                <a:avLst/>
                <a:gdLst/>
                <a:ahLst/>
                <a:cxnLst>
                  <a:cxn ang="0">
                    <a:pos x="12" y="66"/>
                  </a:cxn>
                  <a:cxn ang="0">
                    <a:pos x="12" y="66"/>
                  </a:cxn>
                  <a:cxn ang="0">
                    <a:pos x="10" y="65"/>
                  </a:cxn>
                  <a:cxn ang="0">
                    <a:pos x="9" y="64"/>
                  </a:cxn>
                  <a:cxn ang="0">
                    <a:pos x="9" y="64"/>
                  </a:cxn>
                  <a:cxn ang="0">
                    <a:pos x="9" y="64"/>
                  </a:cxn>
                  <a:cxn ang="0">
                    <a:pos x="8" y="63"/>
                  </a:cxn>
                  <a:cxn ang="0">
                    <a:pos x="8" y="62"/>
                  </a:cxn>
                  <a:cxn ang="0">
                    <a:pos x="9" y="63"/>
                  </a:cxn>
                  <a:cxn ang="0">
                    <a:pos x="10" y="64"/>
                  </a:cxn>
                  <a:cxn ang="0">
                    <a:pos x="11" y="64"/>
                  </a:cxn>
                  <a:cxn ang="0">
                    <a:pos x="12" y="66"/>
                  </a:cxn>
                  <a:cxn ang="0">
                    <a:pos x="73" y="6"/>
                  </a:cxn>
                  <a:cxn ang="0">
                    <a:pos x="73" y="6"/>
                  </a:cxn>
                  <a:cxn ang="0">
                    <a:pos x="17" y="64"/>
                  </a:cxn>
                  <a:cxn ang="0">
                    <a:pos x="16" y="63"/>
                  </a:cxn>
                  <a:cxn ang="0">
                    <a:pos x="15" y="63"/>
                  </a:cxn>
                  <a:cxn ang="0">
                    <a:pos x="16" y="64"/>
                  </a:cxn>
                  <a:cxn ang="0">
                    <a:pos x="16" y="64"/>
                  </a:cxn>
                  <a:cxn ang="0">
                    <a:pos x="17" y="66"/>
                  </a:cxn>
                  <a:cxn ang="0">
                    <a:pos x="17" y="65"/>
                  </a:cxn>
                  <a:cxn ang="0">
                    <a:pos x="17" y="65"/>
                  </a:cxn>
                  <a:cxn ang="0">
                    <a:pos x="17" y="64"/>
                  </a:cxn>
                  <a:cxn ang="0">
                    <a:pos x="17" y="64"/>
                  </a:cxn>
                  <a:cxn ang="0">
                    <a:pos x="73" y="0"/>
                  </a:cxn>
                  <a:cxn ang="0">
                    <a:pos x="72" y="0"/>
                  </a:cxn>
                  <a:cxn ang="0">
                    <a:pos x="72" y="0"/>
                  </a:cxn>
                  <a:cxn ang="0">
                    <a:pos x="73" y="0"/>
                  </a:cxn>
                  <a:cxn ang="0">
                    <a:pos x="1" y="61"/>
                  </a:cxn>
                  <a:cxn ang="0">
                    <a:pos x="1" y="60"/>
                  </a:cxn>
                  <a:cxn ang="0">
                    <a:pos x="0" y="59"/>
                  </a:cxn>
                  <a:cxn ang="0">
                    <a:pos x="0" y="60"/>
                  </a:cxn>
                  <a:cxn ang="0">
                    <a:pos x="0" y="61"/>
                  </a:cxn>
                  <a:cxn ang="0">
                    <a:pos x="1" y="62"/>
                  </a:cxn>
                  <a:cxn ang="0">
                    <a:pos x="1" y="62"/>
                  </a:cxn>
                  <a:cxn ang="0">
                    <a:pos x="1" y="61"/>
                  </a:cxn>
                </a:cxnLst>
                <a:rect l="0" t="0" r="r" b="b"/>
                <a:pathLst>
                  <a:path w="74" h="66">
                    <a:moveTo>
                      <a:pt x="12" y="66"/>
                    </a:moveTo>
                    <a:cubicBezTo>
                      <a:pt x="12" y="66"/>
                      <a:pt x="12" y="66"/>
                      <a:pt x="12" y="66"/>
                    </a:cubicBezTo>
                    <a:cubicBezTo>
                      <a:pt x="11" y="66"/>
                      <a:pt x="11" y="66"/>
                      <a:pt x="10" y="65"/>
                    </a:cubicBezTo>
                    <a:cubicBezTo>
                      <a:pt x="10" y="65"/>
                      <a:pt x="10" y="64"/>
                      <a:pt x="9" y="64"/>
                    </a:cubicBezTo>
                    <a:cubicBezTo>
                      <a:pt x="9" y="64"/>
                      <a:pt x="9" y="64"/>
                      <a:pt x="9" y="64"/>
                    </a:cubicBezTo>
                    <a:cubicBezTo>
                      <a:pt x="9" y="64"/>
                      <a:pt x="9" y="64"/>
                      <a:pt x="9" y="64"/>
                    </a:cubicBezTo>
                    <a:cubicBezTo>
                      <a:pt x="9" y="64"/>
                      <a:pt x="8" y="63"/>
                      <a:pt x="8" y="63"/>
                    </a:cubicBezTo>
                    <a:cubicBezTo>
                      <a:pt x="8" y="63"/>
                      <a:pt x="8" y="62"/>
                      <a:pt x="8" y="62"/>
                    </a:cubicBezTo>
                    <a:cubicBezTo>
                      <a:pt x="9" y="62"/>
                      <a:pt x="9" y="63"/>
                      <a:pt x="9" y="63"/>
                    </a:cubicBezTo>
                    <a:cubicBezTo>
                      <a:pt x="9" y="63"/>
                      <a:pt x="9" y="64"/>
                      <a:pt x="10" y="64"/>
                    </a:cubicBezTo>
                    <a:cubicBezTo>
                      <a:pt x="10" y="64"/>
                      <a:pt x="11" y="64"/>
                      <a:pt x="11" y="64"/>
                    </a:cubicBezTo>
                    <a:cubicBezTo>
                      <a:pt x="11" y="65"/>
                      <a:pt x="12" y="65"/>
                      <a:pt x="12" y="66"/>
                    </a:cubicBezTo>
                    <a:close/>
                    <a:moveTo>
                      <a:pt x="73" y="6"/>
                    </a:moveTo>
                    <a:cubicBezTo>
                      <a:pt x="74" y="6"/>
                      <a:pt x="72" y="5"/>
                      <a:pt x="73" y="6"/>
                    </a:cubicBezTo>
                    <a:close/>
                    <a:moveTo>
                      <a:pt x="17" y="64"/>
                    </a:moveTo>
                    <a:cubicBezTo>
                      <a:pt x="17" y="64"/>
                      <a:pt x="16" y="64"/>
                      <a:pt x="16" y="63"/>
                    </a:cubicBezTo>
                    <a:cubicBezTo>
                      <a:pt x="16" y="63"/>
                      <a:pt x="16" y="63"/>
                      <a:pt x="15" y="63"/>
                    </a:cubicBezTo>
                    <a:cubicBezTo>
                      <a:pt x="15" y="64"/>
                      <a:pt x="16" y="64"/>
                      <a:pt x="16" y="64"/>
                    </a:cubicBezTo>
                    <a:cubicBezTo>
                      <a:pt x="16" y="64"/>
                      <a:pt x="16" y="64"/>
                      <a:pt x="16" y="64"/>
                    </a:cubicBezTo>
                    <a:cubicBezTo>
                      <a:pt x="17" y="65"/>
                      <a:pt x="16" y="66"/>
                      <a:pt x="17" y="66"/>
                    </a:cubicBezTo>
                    <a:cubicBezTo>
                      <a:pt x="17" y="66"/>
                      <a:pt x="17" y="66"/>
                      <a:pt x="17" y="65"/>
                    </a:cubicBezTo>
                    <a:cubicBezTo>
                      <a:pt x="17" y="65"/>
                      <a:pt x="17" y="65"/>
                      <a:pt x="17" y="65"/>
                    </a:cubicBezTo>
                    <a:cubicBezTo>
                      <a:pt x="17" y="65"/>
                      <a:pt x="17" y="65"/>
                      <a:pt x="17" y="64"/>
                    </a:cubicBezTo>
                    <a:cubicBezTo>
                      <a:pt x="17" y="64"/>
                      <a:pt x="18" y="64"/>
                      <a:pt x="17" y="64"/>
                    </a:cubicBezTo>
                    <a:close/>
                    <a:moveTo>
                      <a:pt x="73" y="0"/>
                    </a:moveTo>
                    <a:cubicBezTo>
                      <a:pt x="73" y="0"/>
                      <a:pt x="72" y="0"/>
                      <a:pt x="72" y="0"/>
                    </a:cubicBezTo>
                    <a:cubicBezTo>
                      <a:pt x="72" y="0"/>
                      <a:pt x="72" y="0"/>
                      <a:pt x="72" y="0"/>
                    </a:cubicBezTo>
                    <a:cubicBezTo>
                      <a:pt x="72" y="0"/>
                      <a:pt x="73" y="0"/>
                      <a:pt x="73" y="0"/>
                    </a:cubicBezTo>
                    <a:close/>
                    <a:moveTo>
                      <a:pt x="1" y="61"/>
                    </a:moveTo>
                    <a:cubicBezTo>
                      <a:pt x="1" y="61"/>
                      <a:pt x="1" y="61"/>
                      <a:pt x="1" y="60"/>
                    </a:cubicBezTo>
                    <a:cubicBezTo>
                      <a:pt x="0" y="60"/>
                      <a:pt x="0" y="59"/>
                      <a:pt x="0" y="59"/>
                    </a:cubicBezTo>
                    <a:cubicBezTo>
                      <a:pt x="0" y="59"/>
                      <a:pt x="0" y="60"/>
                      <a:pt x="0" y="60"/>
                    </a:cubicBezTo>
                    <a:cubicBezTo>
                      <a:pt x="0" y="61"/>
                      <a:pt x="0" y="61"/>
                      <a:pt x="0" y="61"/>
                    </a:cubicBezTo>
                    <a:cubicBezTo>
                      <a:pt x="0" y="61"/>
                      <a:pt x="1" y="61"/>
                      <a:pt x="1" y="62"/>
                    </a:cubicBezTo>
                    <a:cubicBezTo>
                      <a:pt x="1" y="62"/>
                      <a:pt x="1" y="62"/>
                      <a:pt x="1" y="62"/>
                    </a:cubicBezTo>
                    <a:cubicBezTo>
                      <a:pt x="1" y="62"/>
                      <a:pt x="2" y="62"/>
                      <a:pt x="1" y="6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0" name="Netherlands">
                <a:extLst>
                  <a:ext uri="{FF2B5EF4-FFF2-40B4-BE49-F238E27FC236}">
                    <a16:creationId xmlns:a16="http://schemas.microsoft.com/office/drawing/2014/main" id="{8AF73FA4-CF45-1F42-B7C9-0857825EEFAE}"/>
                  </a:ext>
                </a:extLst>
              </p:cNvPr>
              <p:cNvSpPr>
                <a:spLocks noEditPoints="1"/>
              </p:cNvSpPr>
              <p:nvPr/>
            </p:nvSpPr>
            <p:spPr bwMode="auto">
              <a:xfrm>
                <a:off x="5842727" y="1970323"/>
                <a:ext cx="116640" cy="105857"/>
              </a:xfrm>
              <a:custGeom>
                <a:avLst/>
                <a:gdLst/>
                <a:ahLst/>
                <a:cxnLst>
                  <a:cxn ang="0">
                    <a:pos x="25" y="1"/>
                  </a:cxn>
                  <a:cxn ang="0">
                    <a:pos x="7" y="20"/>
                  </a:cxn>
                  <a:cxn ang="0">
                    <a:pos x="5" y="19"/>
                  </a:cxn>
                  <a:cxn ang="0">
                    <a:pos x="32" y="5"/>
                  </a:cxn>
                  <a:cxn ang="0">
                    <a:pos x="30" y="10"/>
                  </a:cxn>
                  <a:cxn ang="0">
                    <a:pos x="29" y="12"/>
                  </a:cxn>
                  <a:cxn ang="0">
                    <a:pos x="31" y="13"/>
                  </a:cxn>
                  <a:cxn ang="0">
                    <a:pos x="30" y="15"/>
                  </a:cxn>
                  <a:cxn ang="0">
                    <a:pos x="29" y="17"/>
                  </a:cxn>
                  <a:cxn ang="0">
                    <a:pos x="26" y="18"/>
                  </a:cxn>
                  <a:cxn ang="0">
                    <a:pos x="23" y="18"/>
                  </a:cxn>
                  <a:cxn ang="0">
                    <a:pos x="22" y="20"/>
                  </a:cxn>
                  <a:cxn ang="0">
                    <a:pos x="23" y="24"/>
                  </a:cxn>
                  <a:cxn ang="0">
                    <a:pos x="23" y="26"/>
                  </a:cxn>
                  <a:cxn ang="0">
                    <a:pos x="21" y="28"/>
                  </a:cxn>
                  <a:cxn ang="0">
                    <a:pos x="22" y="29"/>
                  </a:cxn>
                  <a:cxn ang="0">
                    <a:pos x="19" y="30"/>
                  </a:cxn>
                  <a:cxn ang="0">
                    <a:pos x="20" y="28"/>
                  </a:cxn>
                  <a:cxn ang="0">
                    <a:pos x="21" y="26"/>
                  </a:cxn>
                  <a:cxn ang="0">
                    <a:pos x="16" y="24"/>
                  </a:cxn>
                  <a:cxn ang="0">
                    <a:pos x="15" y="23"/>
                  </a:cxn>
                  <a:cxn ang="0">
                    <a:pos x="12" y="22"/>
                  </a:cxn>
                  <a:cxn ang="0">
                    <a:pos x="10" y="22"/>
                  </a:cxn>
                  <a:cxn ang="0">
                    <a:pos x="8" y="23"/>
                  </a:cxn>
                  <a:cxn ang="0">
                    <a:pos x="3" y="23"/>
                  </a:cxn>
                  <a:cxn ang="0">
                    <a:pos x="3" y="21"/>
                  </a:cxn>
                  <a:cxn ang="0">
                    <a:pos x="7" y="23"/>
                  </a:cxn>
                  <a:cxn ang="0">
                    <a:pos x="7" y="21"/>
                  </a:cxn>
                  <a:cxn ang="0">
                    <a:pos x="10" y="20"/>
                  </a:cxn>
                  <a:cxn ang="0">
                    <a:pos x="12" y="19"/>
                  </a:cxn>
                  <a:cxn ang="0">
                    <a:pos x="7" y="19"/>
                  </a:cxn>
                  <a:cxn ang="0">
                    <a:pos x="8" y="16"/>
                  </a:cxn>
                  <a:cxn ang="0">
                    <a:pos x="11" y="9"/>
                  </a:cxn>
                  <a:cxn ang="0">
                    <a:pos x="15" y="7"/>
                  </a:cxn>
                  <a:cxn ang="0">
                    <a:pos x="20" y="3"/>
                  </a:cxn>
                  <a:cxn ang="0">
                    <a:pos x="27" y="2"/>
                  </a:cxn>
                  <a:cxn ang="0">
                    <a:pos x="32" y="4"/>
                  </a:cxn>
                  <a:cxn ang="0">
                    <a:pos x="21" y="11"/>
                  </a:cxn>
                  <a:cxn ang="0">
                    <a:pos x="19" y="8"/>
                  </a:cxn>
                  <a:cxn ang="0">
                    <a:pos x="15" y="7"/>
                  </a:cxn>
                  <a:cxn ang="0">
                    <a:pos x="15" y="10"/>
                  </a:cxn>
                  <a:cxn ang="0">
                    <a:pos x="14" y="13"/>
                  </a:cxn>
                  <a:cxn ang="0">
                    <a:pos x="21" y="12"/>
                  </a:cxn>
                  <a:cxn ang="0">
                    <a:pos x="19" y="14"/>
                  </a:cxn>
                  <a:cxn ang="0">
                    <a:pos x="18" y="11"/>
                  </a:cxn>
                  <a:cxn ang="0">
                    <a:pos x="21" y="11"/>
                  </a:cxn>
                  <a:cxn ang="0">
                    <a:pos x="16" y="3"/>
                  </a:cxn>
                  <a:cxn ang="0">
                    <a:pos x="5" y="23"/>
                  </a:cxn>
                  <a:cxn ang="0">
                    <a:pos x="1" y="25"/>
                  </a:cxn>
                  <a:cxn ang="0">
                    <a:pos x="4" y="25"/>
                  </a:cxn>
                  <a:cxn ang="0">
                    <a:pos x="6" y="23"/>
                  </a:cxn>
                  <a:cxn ang="0">
                    <a:pos x="13" y="4"/>
                  </a:cxn>
                  <a:cxn ang="0">
                    <a:pos x="22" y="1"/>
                  </a:cxn>
                  <a:cxn ang="0">
                    <a:pos x="21" y="2"/>
                  </a:cxn>
                  <a:cxn ang="0">
                    <a:pos x="5" y="19"/>
                  </a:cxn>
                  <a:cxn ang="0">
                    <a:pos x="29" y="0"/>
                  </a:cxn>
                  <a:cxn ang="0">
                    <a:pos x="29" y="0"/>
                  </a:cxn>
                </a:cxnLst>
                <a:rect l="0" t="0" r="r" b="b"/>
                <a:pathLst>
                  <a:path w="33" h="30">
                    <a:moveTo>
                      <a:pt x="24" y="1"/>
                    </a:moveTo>
                    <a:cubicBezTo>
                      <a:pt x="23" y="1"/>
                      <a:pt x="24" y="1"/>
                      <a:pt x="24" y="1"/>
                    </a:cubicBezTo>
                    <a:cubicBezTo>
                      <a:pt x="25" y="1"/>
                      <a:pt x="25" y="1"/>
                      <a:pt x="25" y="1"/>
                    </a:cubicBezTo>
                    <a:cubicBezTo>
                      <a:pt x="25" y="1"/>
                      <a:pt x="25" y="1"/>
                      <a:pt x="25" y="1"/>
                    </a:cubicBezTo>
                    <a:cubicBezTo>
                      <a:pt x="24" y="1"/>
                      <a:pt x="24" y="1"/>
                      <a:pt x="24" y="1"/>
                    </a:cubicBezTo>
                    <a:close/>
                    <a:moveTo>
                      <a:pt x="7" y="20"/>
                    </a:moveTo>
                    <a:cubicBezTo>
                      <a:pt x="7" y="20"/>
                      <a:pt x="8" y="21"/>
                      <a:pt x="8" y="20"/>
                    </a:cubicBezTo>
                    <a:cubicBezTo>
                      <a:pt x="9" y="20"/>
                      <a:pt x="7" y="19"/>
                      <a:pt x="7" y="19"/>
                    </a:cubicBezTo>
                    <a:cubicBezTo>
                      <a:pt x="6" y="19"/>
                      <a:pt x="5" y="18"/>
                      <a:pt x="5" y="19"/>
                    </a:cubicBezTo>
                    <a:cubicBezTo>
                      <a:pt x="4" y="19"/>
                      <a:pt x="6" y="19"/>
                      <a:pt x="6" y="19"/>
                    </a:cubicBezTo>
                    <a:cubicBezTo>
                      <a:pt x="6" y="20"/>
                      <a:pt x="6" y="20"/>
                      <a:pt x="7" y="20"/>
                    </a:cubicBezTo>
                    <a:close/>
                    <a:moveTo>
                      <a:pt x="32" y="5"/>
                    </a:moveTo>
                    <a:cubicBezTo>
                      <a:pt x="32" y="5"/>
                      <a:pt x="33" y="6"/>
                      <a:pt x="32" y="6"/>
                    </a:cubicBezTo>
                    <a:cubicBezTo>
                      <a:pt x="32" y="7"/>
                      <a:pt x="32" y="7"/>
                      <a:pt x="31" y="8"/>
                    </a:cubicBezTo>
                    <a:cubicBezTo>
                      <a:pt x="31" y="9"/>
                      <a:pt x="32" y="10"/>
                      <a:pt x="30" y="10"/>
                    </a:cubicBezTo>
                    <a:cubicBezTo>
                      <a:pt x="30" y="10"/>
                      <a:pt x="29" y="10"/>
                      <a:pt x="29" y="10"/>
                    </a:cubicBezTo>
                    <a:cubicBezTo>
                      <a:pt x="28" y="10"/>
                      <a:pt x="28" y="11"/>
                      <a:pt x="29" y="11"/>
                    </a:cubicBezTo>
                    <a:cubicBezTo>
                      <a:pt x="28" y="11"/>
                      <a:pt x="28" y="12"/>
                      <a:pt x="29" y="12"/>
                    </a:cubicBezTo>
                    <a:cubicBezTo>
                      <a:pt x="29" y="12"/>
                      <a:pt x="30" y="12"/>
                      <a:pt x="30" y="12"/>
                    </a:cubicBezTo>
                    <a:cubicBezTo>
                      <a:pt x="30" y="12"/>
                      <a:pt x="30" y="12"/>
                      <a:pt x="31" y="12"/>
                    </a:cubicBezTo>
                    <a:cubicBezTo>
                      <a:pt x="31" y="12"/>
                      <a:pt x="31" y="13"/>
                      <a:pt x="31" y="13"/>
                    </a:cubicBezTo>
                    <a:cubicBezTo>
                      <a:pt x="31" y="14"/>
                      <a:pt x="31" y="14"/>
                      <a:pt x="31" y="14"/>
                    </a:cubicBezTo>
                    <a:cubicBezTo>
                      <a:pt x="31" y="14"/>
                      <a:pt x="30" y="14"/>
                      <a:pt x="30" y="15"/>
                    </a:cubicBezTo>
                    <a:cubicBezTo>
                      <a:pt x="30" y="15"/>
                      <a:pt x="30" y="15"/>
                      <a:pt x="30" y="15"/>
                    </a:cubicBezTo>
                    <a:cubicBezTo>
                      <a:pt x="29" y="16"/>
                      <a:pt x="29" y="15"/>
                      <a:pt x="29" y="16"/>
                    </a:cubicBezTo>
                    <a:cubicBezTo>
                      <a:pt x="28" y="16"/>
                      <a:pt x="28" y="16"/>
                      <a:pt x="28" y="16"/>
                    </a:cubicBezTo>
                    <a:cubicBezTo>
                      <a:pt x="28" y="16"/>
                      <a:pt x="29" y="16"/>
                      <a:pt x="29" y="17"/>
                    </a:cubicBezTo>
                    <a:cubicBezTo>
                      <a:pt x="29" y="17"/>
                      <a:pt x="29" y="18"/>
                      <a:pt x="28" y="18"/>
                    </a:cubicBezTo>
                    <a:cubicBezTo>
                      <a:pt x="28" y="18"/>
                      <a:pt x="27" y="18"/>
                      <a:pt x="27" y="18"/>
                    </a:cubicBezTo>
                    <a:cubicBezTo>
                      <a:pt x="26" y="18"/>
                      <a:pt x="26" y="18"/>
                      <a:pt x="26" y="18"/>
                    </a:cubicBezTo>
                    <a:cubicBezTo>
                      <a:pt x="26" y="19"/>
                      <a:pt x="25" y="18"/>
                      <a:pt x="25" y="18"/>
                    </a:cubicBezTo>
                    <a:cubicBezTo>
                      <a:pt x="25" y="18"/>
                      <a:pt x="23" y="18"/>
                      <a:pt x="23" y="18"/>
                    </a:cubicBezTo>
                    <a:cubicBezTo>
                      <a:pt x="23" y="18"/>
                      <a:pt x="24" y="19"/>
                      <a:pt x="23" y="18"/>
                    </a:cubicBezTo>
                    <a:cubicBezTo>
                      <a:pt x="23" y="18"/>
                      <a:pt x="22" y="18"/>
                      <a:pt x="22" y="19"/>
                    </a:cubicBezTo>
                    <a:cubicBezTo>
                      <a:pt x="22" y="19"/>
                      <a:pt x="22" y="19"/>
                      <a:pt x="22" y="19"/>
                    </a:cubicBezTo>
                    <a:cubicBezTo>
                      <a:pt x="22" y="20"/>
                      <a:pt x="22" y="20"/>
                      <a:pt x="22" y="20"/>
                    </a:cubicBezTo>
                    <a:cubicBezTo>
                      <a:pt x="22" y="20"/>
                      <a:pt x="23" y="20"/>
                      <a:pt x="23" y="20"/>
                    </a:cubicBezTo>
                    <a:cubicBezTo>
                      <a:pt x="23" y="21"/>
                      <a:pt x="24" y="22"/>
                      <a:pt x="24" y="22"/>
                    </a:cubicBezTo>
                    <a:cubicBezTo>
                      <a:pt x="24" y="23"/>
                      <a:pt x="24" y="24"/>
                      <a:pt x="23" y="24"/>
                    </a:cubicBezTo>
                    <a:cubicBezTo>
                      <a:pt x="23" y="25"/>
                      <a:pt x="23" y="25"/>
                      <a:pt x="23" y="25"/>
                    </a:cubicBezTo>
                    <a:cubicBezTo>
                      <a:pt x="23" y="26"/>
                      <a:pt x="23" y="25"/>
                      <a:pt x="23" y="25"/>
                    </a:cubicBezTo>
                    <a:cubicBezTo>
                      <a:pt x="23" y="25"/>
                      <a:pt x="23" y="25"/>
                      <a:pt x="23" y="26"/>
                    </a:cubicBezTo>
                    <a:cubicBezTo>
                      <a:pt x="23" y="26"/>
                      <a:pt x="22" y="27"/>
                      <a:pt x="21" y="27"/>
                    </a:cubicBezTo>
                    <a:cubicBezTo>
                      <a:pt x="21" y="27"/>
                      <a:pt x="21" y="27"/>
                      <a:pt x="21" y="27"/>
                    </a:cubicBezTo>
                    <a:cubicBezTo>
                      <a:pt x="21" y="27"/>
                      <a:pt x="21" y="27"/>
                      <a:pt x="21" y="28"/>
                    </a:cubicBezTo>
                    <a:cubicBezTo>
                      <a:pt x="21" y="27"/>
                      <a:pt x="22" y="27"/>
                      <a:pt x="22" y="28"/>
                    </a:cubicBezTo>
                    <a:cubicBezTo>
                      <a:pt x="22" y="28"/>
                      <a:pt x="23" y="28"/>
                      <a:pt x="23" y="29"/>
                    </a:cubicBezTo>
                    <a:cubicBezTo>
                      <a:pt x="23" y="29"/>
                      <a:pt x="22" y="29"/>
                      <a:pt x="22" y="29"/>
                    </a:cubicBezTo>
                    <a:cubicBezTo>
                      <a:pt x="22" y="30"/>
                      <a:pt x="22" y="30"/>
                      <a:pt x="21" y="30"/>
                    </a:cubicBezTo>
                    <a:cubicBezTo>
                      <a:pt x="21" y="30"/>
                      <a:pt x="21" y="30"/>
                      <a:pt x="21" y="30"/>
                    </a:cubicBezTo>
                    <a:cubicBezTo>
                      <a:pt x="20" y="30"/>
                      <a:pt x="20" y="30"/>
                      <a:pt x="19" y="30"/>
                    </a:cubicBezTo>
                    <a:cubicBezTo>
                      <a:pt x="20" y="29"/>
                      <a:pt x="19" y="29"/>
                      <a:pt x="19" y="29"/>
                    </a:cubicBezTo>
                    <a:cubicBezTo>
                      <a:pt x="19" y="29"/>
                      <a:pt x="20" y="28"/>
                      <a:pt x="20" y="28"/>
                    </a:cubicBezTo>
                    <a:cubicBezTo>
                      <a:pt x="20" y="28"/>
                      <a:pt x="20" y="28"/>
                      <a:pt x="20" y="28"/>
                    </a:cubicBezTo>
                    <a:cubicBezTo>
                      <a:pt x="20" y="27"/>
                      <a:pt x="20" y="27"/>
                      <a:pt x="20" y="27"/>
                    </a:cubicBezTo>
                    <a:cubicBezTo>
                      <a:pt x="20" y="27"/>
                      <a:pt x="20" y="26"/>
                      <a:pt x="21" y="26"/>
                    </a:cubicBezTo>
                    <a:cubicBezTo>
                      <a:pt x="20" y="26"/>
                      <a:pt x="21" y="26"/>
                      <a:pt x="21" y="26"/>
                    </a:cubicBezTo>
                    <a:cubicBezTo>
                      <a:pt x="20" y="25"/>
                      <a:pt x="19" y="25"/>
                      <a:pt x="19" y="25"/>
                    </a:cubicBezTo>
                    <a:cubicBezTo>
                      <a:pt x="18" y="25"/>
                      <a:pt x="18" y="24"/>
                      <a:pt x="18" y="24"/>
                    </a:cubicBezTo>
                    <a:cubicBezTo>
                      <a:pt x="17" y="24"/>
                      <a:pt x="17" y="24"/>
                      <a:pt x="16" y="24"/>
                    </a:cubicBezTo>
                    <a:cubicBezTo>
                      <a:pt x="16" y="25"/>
                      <a:pt x="16" y="24"/>
                      <a:pt x="15" y="24"/>
                    </a:cubicBezTo>
                    <a:cubicBezTo>
                      <a:pt x="15" y="24"/>
                      <a:pt x="15" y="24"/>
                      <a:pt x="15" y="24"/>
                    </a:cubicBezTo>
                    <a:cubicBezTo>
                      <a:pt x="15" y="23"/>
                      <a:pt x="15" y="23"/>
                      <a:pt x="15" y="23"/>
                    </a:cubicBezTo>
                    <a:cubicBezTo>
                      <a:pt x="14" y="22"/>
                      <a:pt x="14" y="22"/>
                      <a:pt x="14" y="23"/>
                    </a:cubicBezTo>
                    <a:cubicBezTo>
                      <a:pt x="13" y="23"/>
                      <a:pt x="12" y="23"/>
                      <a:pt x="12" y="23"/>
                    </a:cubicBezTo>
                    <a:cubicBezTo>
                      <a:pt x="12" y="23"/>
                      <a:pt x="12" y="23"/>
                      <a:pt x="12" y="22"/>
                    </a:cubicBezTo>
                    <a:cubicBezTo>
                      <a:pt x="13" y="22"/>
                      <a:pt x="12" y="22"/>
                      <a:pt x="11" y="22"/>
                    </a:cubicBezTo>
                    <a:cubicBezTo>
                      <a:pt x="11" y="23"/>
                      <a:pt x="11" y="23"/>
                      <a:pt x="10" y="23"/>
                    </a:cubicBezTo>
                    <a:cubicBezTo>
                      <a:pt x="10" y="23"/>
                      <a:pt x="10" y="22"/>
                      <a:pt x="10" y="22"/>
                    </a:cubicBezTo>
                    <a:cubicBezTo>
                      <a:pt x="10" y="22"/>
                      <a:pt x="9" y="22"/>
                      <a:pt x="9" y="22"/>
                    </a:cubicBezTo>
                    <a:cubicBezTo>
                      <a:pt x="8" y="23"/>
                      <a:pt x="9" y="23"/>
                      <a:pt x="9" y="23"/>
                    </a:cubicBezTo>
                    <a:cubicBezTo>
                      <a:pt x="9" y="24"/>
                      <a:pt x="8" y="23"/>
                      <a:pt x="8" y="23"/>
                    </a:cubicBezTo>
                    <a:cubicBezTo>
                      <a:pt x="7" y="23"/>
                      <a:pt x="8" y="23"/>
                      <a:pt x="7" y="23"/>
                    </a:cubicBezTo>
                    <a:cubicBezTo>
                      <a:pt x="7" y="23"/>
                      <a:pt x="6" y="23"/>
                      <a:pt x="6" y="23"/>
                    </a:cubicBezTo>
                    <a:cubicBezTo>
                      <a:pt x="5" y="22"/>
                      <a:pt x="4" y="23"/>
                      <a:pt x="3" y="23"/>
                    </a:cubicBezTo>
                    <a:cubicBezTo>
                      <a:pt x="3" y="23"/>
                      <a:pt x="3" y="22"/>
                      <a:pt x="2" y="23"/>
                    </a:cubicBezTo>
                    <a:cubicBezTo>
                      <a:pt x="2" y="23"/>
                      <a:pt x="1" y="22"/>
                      <a:pt x="1" y="22"/>
                    </a:cubicBezTo>
                    <a:cubicBezTo>
                      <a:pt x="1" y="21"/>
                      <a:pt x="2" y="21"/>
                      <a:pt x="3" y="21"/>
                    </a:cubicBezTo>
                    <a:cubicBezTo>
                      <a:pt x="3" y="21"/>
                      <a:pt x="5" y="21"/>
                      <a:pt x="4" y="22"/>
                    </a:cubicBezTo>
                    <a:cubicBezTo>
                      <a:pt x="5" y="21"/>
                      <a:pt x="5" y="22"/>
                      <a:pt x="6" y="22"/>
                    </a:cubicBezTo>
                    <a:cubicBezTo>
                      <a:pt x="6" y="22"/>
                      <a:pt x="6" y="23"/>
                      <a:pt x="7" y="23"/>
                    </a:cubicBezTo>
                    <a:cubicBezTo>
                      <a:pt x="7" y="23"/>
                      <a:pt x="9" y="22"/>
                      <a:pt x="7" y="22"/>
                    </a:cubicBezTo>
                    <a:cubicBezTo>
                      <a:pt x="7" y="22"/>
                      <a:pt x="6" y="22"/>
                      <a:pt x="6" y="21"/>
                    </a:cubicBezTo>
                    <a:cubicBezTo>
                      <a:pt x="5" y="21"/>
                      <a:pt x="7" y="21"/>
                      <a:pt x="7" y="21"/>
                    </a:cubicBezTo>
                    <a:cubicBezTo>
                      <a:pt x="7" y="21"/>
                      <a:pt x="6" y="21"/>
                      <a:pt x="6" y="20"/>
                    </a:cubicBezTo>
                    <a:cubicBezTo>
                      <a:pt x="7" y="20"/>
                      <a:pt x="8" y="21"/>
                      <a:pt x="8" y="21"/>
                    </a:cubicBezTo>
                    <a:cubicBezTo>
                      <a:pt x="9" y="20"/>
                      <a:pt x="9" y="20"/>
                      <a:pt x="10" y="20"/>
                    </a:cubicBezTo>
                    <a:cubicBezTo>
                      <a:pt x="11" y="20"/>
                      <a:pt x="11" y="20"/>
                      <a:pt x="12" y="20"/>
                    </a:cubicBezTo>
                    <a:cubicBezTo>
                      <a:pt x="12" y="20"/>
                      <a:pt x="12" y="20"/>
                      <a:pt x="12" y="19"/>
                    </a:cubicBezTo>
                    <a:cubicBezTo>
                      <a:pt x="12" y="19"/>
                      <a:pt x="12" y="19"/>
                      <a:pt x="12" y="19"/>
                    </a:cubicBezTo>
                    <a:cubicBezTo>
                      <a:pt x="12" y="19"/>
                      <a:pt x="12" y="19"/>
                      <a:pt x="12" y="19"/>
                    </a:cubicBezTo>
                    <a:cubicBezTo>
                      <a:pt x="11" y="19"/>
                      <a:pt x="11" y="20"/>
                      <a:pt x="10" y="20"/>
                    </a:cubicBezTo>
                    <a:cubicBezTo>
                      <a:pt x="8" y="20"/>
                      <a:pt x="8" y="19"/>
                      <a:pt x="7" y="19"/>
                    </a:cubicBezTo>
                    <a:cubicBezTo>
                      <a:pt x="6" y="18"/>
                      <a:pt x="6" y="18"/>
                      <a:pt x="6" y="17"/>
                    </a:cubicBezTo>
                    <a:cubicBezTo>
                      <a:pt x="6" y="17"/>
                      <a:pt x="6" y="17"/>
                      <a:pt x="6" y="17"/>
                    </a:cubicBezTo>
                    <a:cubicBezTo>
                      <a:pt x="7" y="17"/>
                      <a:pt x="7" y="16"/>
                      <a:pt x="8" y="16"/>
                    </a:cubicBezTo>
                    <a:cubicBezTo>
                      <a:pt x="8" y="15"/>
                      <a:pt x="9" y="15"/>
                      <a:pt x="9" y="14"/>
                    </a:cubicBezTo>
                    <a:cubicBezTo>
                      <a:pt x="10" y="13"/>
                      <a:pt x="11" y="12"/>
                      <a:pt x="11" y="11"/>
                    </a:cubicBezTo>
                    <a:cubicBezTo>
                      <a:pt x="11" y="10"/>
                      <a:pt x="11" y="10"/>
                      <a:pt x="11" y="9"/>
                    </a:cubicBezTo>
                    <a:cubicBezTo>
                      <a:pt x="12" y="8"/>
                      <a:pt x="12" y="6"/>
                      <a:pt x="13" y="7"/>
                    </a:cubicBezTo>
                    <a:cubicBezTo>
                      <a:pt x="12" y="7"/>
                      <a:pt x="13" y="7"/>
                      <a:pt x="14" y="7"/>
                    </a:cubicBezTo>
                    <a:cubicBezTo>
                      <a:pt x="14" y="7"/>
                      <a:pt x="15" y="7"/>
                      <a:pt x="15" y="7"/>
                    </a:cubicBezTo>
                    <a:cubicBezTo>
                      <a:pt x="16" y="6"/>
                      <a:pt x="16" y="6"/>
                      <a:pt x="17" y="5"/>
                    </a:cubicBezTo>
                    <a:cubicBezTo>
                      <a:pt x="18" y="5"/>
                      <a:pt x="18" y="5"/>
                      <a:pt x="18" y="4"/>
                    </a:cubicBezTo>
                    <a:cubicBezTo>
                      <a:pt x="18" y="4"/>
                      <a:pt x="19" y="3"/>
                      <a:pt x="20" y="3"/>
                    </a:cubicBezTo>
                    <a:cubicBezTo>
                      <a:pt x="21" y="2"/>
                      <a:pt x="22" y="2"/>
                      <a:pt x="23" y="2"/>
                    </a:cubicBezTo>
                    <a:cubicBezTo>
                      <a:pt x="23" y="2"/>
                      <a:pt x="24" y="2"/>
                      <a:pt x="25" y="2"/>
                    </a:cubicBezTo>
                    <a:cubicBezTo>
                      <a:pt x="26" y="2"/>
                      <a:pt x="26" y="2"/>
                      <a:pt x="27" y="2"/>
                    </a:cubicBezTo>
                    <a:cubicBezTo>
                      <a:pt x="28" y="2"/>
                      <a:pt x="29" y="1"/>
                      <a:pt x="30" y="2"/>
                    </a:cubicBezTo>
                    <a:cubicBezTo>
                      <a:pt x="30" y="2"/>
                      <a:pt x="30" y="3"/>
                      <a:pt x="32" y="3"/>
                    </a:cubicBezTo>
                    <a:cubicBezTo>
                      <a:pt x="31" y="3"/>
                      <a:pt x="32" y="4"/>
                      <a:pt x="32" y="4"/>
                    </a:cubicBezTo>
                    <a:cubicBezTo>
                      <a:pt x="33" y="4"/>
                      <a:pt x="32" y="4"/>
                      <a:pt x="32" y="5"/>
                    </a:cubicBezTo>
                    <a:close/>
                    <a:moveTo>
                      <a:pt x="21" y="11"/>
                    </a:moveTo>
                    <a:cubicBezTo>
                      <a:pt x="21" y="11"/>
                      <a:pt x="21" y="11"/>
                      <a:pt x="21" y="11"/>
                    </a:cubicBezTo>
                    <a:cubicBezTo>
                      <a:pt x="21" y="10"/>
                      <a:pt x="20" y="10"/>
                      <a:pt x="19" y="10"/>
                    </a:cubicBezTo>
                    <a:cubicBezTo>
                      <a:pt x="19" y="10"/>
                      <a:pt x="19" y="8"/>
                      <a:pt x="20" y="8"/>
                    </a:cubicBezTo>
                    <a:cubicBezTo>
                      <a:pt x="20" y="8"/>
                      <a:pt x="19" y="8"/>
                      <a:pt x="19" y="8"/>
                    </a:cubicBezTo>
                    <a:cubicBezTo>
                      <a:pt x="19" y="8"/>
                      <a:pt x="18" y="8"/>
                      <a:pt x="18" y="8"/>
                    </a:cubicBezTo>
                    <a:cubicBezTo>
                      <a:pt x="17" y="8"/>
                      <a:pt x="18" y="7"/>
                      <a:pt x="18" y="6"/>
                    </a:cubicBezTo>
                    <a:cubicBezTo>
                      <a:pt x="17" y="5"/>
                      <a:pt x="15" y="7"/>
                      <a:pt x="15" y="7"/>
                    </a:cubicBezTo>
                    <a:cubicBezTo>
                      <a:pt x="15" y="7"/>
                      <a:pt x="15" y="9"/>
                      <a:pt x="16" y="9"/>
                    </a:cubicBezTo>
                    <a:cubicBezTo>
                      <a:pt x="17" y="9"/>
                      <a:pt x="17" y="10"/>
                      <a:pt x="16" y="10"/>
                    </a:cubicBezTo>
                    <a:cubicBezTo>
                      <a:pt x="15" y="10"/>
                      <a:pt x="15" y="10"/>
                      <a:pt x="15" y="10"/>
                    </a:cubicBezTo>
                    <a:cubicBezTo>
                      <a:pt x="14" y="10"/>
                      <a:pt x="15" y="11"/>
                      <a:pt x="15" y="11"/>
                    </a:cubicBezTo>
                    <a:cubicBezTo>
                      <a:pt x="15" y="12"/>
                      <a:pt x="14" y="12"/>
                      <a:pt x="15" y="12"/>
                    </a:cubicBezTo>
                    <a:cubicBezTo>
                      <a:pt x="15" y="12"/>
                      <a:pt x="14" y="13"/>
                      <a:pt x="14" y="13"/>
                    </a:cubicBezTo>
                    <a:cubicBezTo>
                      <a:pt x="15" y="13"/>
                      <a:pt x="16" y="13"/>
                      <a:pt x="16" y="14"/>
                    </a:cubicBezTo>
                    <a:cubicBezTo>
                      <a:pt x="17" y="14"/>
                      <a:pt x="18" y="14"/>
                      <a:pt x="19" y="13"/>
                    </a:cubicBezTo>
                    <a:cubicBezTo>
                      <a:pt x="19" y="13"/>
                      <a:pt x="20" y="13"/>
                      <a:pt x="21" y="12"/>
                    </a:cubicBezTo>
                    <a:cubicBezTo>
                      <a:pt x="20" y="12"/>
                      <a:pt x="20" y="12"/>
                      <a:pt x="19" y="13"/>
                    </a:cubicBezTo>
                    <a:cubicBezTo>
                      <a:pt x="19" y="13"/>
                      <a:pt x="19" y="13"/>
                      <a:pt x="19" y="13"/>
                    </a:cubicBezTo>
                    <a:cubicBezTo>
                      <a:pt x="18" y="13"/>
                      <a:pt x="19" y="13"/>
                      <a:pt x="19" y="14"/>
                    </a:cubicBezTo>
                    <a:cubicBezTo>
                      <a:pt x="18" y="14"/>
                      <a:pt x="16" y="13"/>
                      <a:pt x="15" y="13"/>
                    </a:cubicBezTo>
                    <a:cubicBezTo>
                      <a:pt x="15" y="13"/>
                      <a:pt x="17" y="12"/>
                      <a:pt x="17" y="12"/>
                    </a:cubicBezTo>
                    <a:cubicBezTo>
                      <a:pt x="17" y="12"/>
                      <a:pt x="17" y="11"/>
                      <a:pt x="18" y="11"/>
                    </a:cubicBezTo>
                    <a:cubicBezTo>
                      <a:pt x="18" y="11"/>
                      <a:pt x="19" y="11"/>
                      <a:pt x="19" y="11"/>
                    </a:cubicBezTo>
                    <a:cubicBezTo>
                      <a:pt x="20" y="10"/>
                      <a:pt x="22" y="10"/>
                      <a:pt x="21" y="12"/>
                    </a:cubicBezTo>
                    <a:cubicBezTo>
                      <a:pt x="21" y="12"/>
                      <a:pt x="22" y="11"/>
                      <a:pt x="21" y="11"/>
                    </a:cubicBezTo>
                    <a:close/>
                    <a:moveTo>
                      <a:pt x="19" y="2"/>
                    </a:moveTo>
                    <a:cubicBezTo>
                      <a:pt x="19" y="1"/>
                      <a:pt x="17" y="2"/>
                      <a:pt x="17" y="2"/>
                    </a:cubicBezTo>
                    <a:cubicBezTo>
                      <a:pt x="17" y="2"/>
                      <a:pt x="15" y="2"/>
                      <a:pt x="16" y="3"/>
                    </a:cubicBezTo>
                    <a:cubicBezTo>
                      <a:pt x="16" y="3"/>
                      <a:pt x="19" y="2"/>
                      <a:pt x="19" y="2"/>
                    </a:cubicBezTo>
                    <a:close/>
                    <a:moveTo>
                      <a:pt x="5" y="23"/>
                    </a:moveTo>
                    <a:cubicBezTo>
                      <a:pt x="5" y="23"/>
                      <a:pt x="5" y="23"/>
                      <a:pt x="5" y="23"/>
                    </a:cubicBezTo>
                    <a:cubicBezTo>
                      <a:pt x="4" y="24"/>
                      <a:pt x="3" y="23"/>
                      <a:pt x="2" y="23"/>
                    </a:cubicBezTo>
                    <a:cubicBezTo>
                      <a:pt x="1" y="23"/>
                      <a:pt x="1" y="23"/>
                      <a:pt x="0" y="23"/>
                    </a:cubicBezTo>
                    <a:cubicBezTo>
                      <a:pt x="0" y="24"/>
                      <a:pt x="0" y="25"/>
                      <a:pt x="1" y="25"/>
                    </a:cubicBezTo>
                    <a:cubicBezTo>
                      <a:pt x="1" y="25"/>
                      <a:pt x="1" y="24"/>
                      <a:pt x="2" y="24"/>
                    </a:cubicBezTo>
                    <a:cubicBezTo>
                      <a:pt x="2" y="24"/>
                      <a:pt x="3" y="24"/>
                      <a:pt x="3" y="24"/>
                    </a:cubicBezTo>
                    <a:cubicBezTo>
                      <a:pt x="3" y="24"/>
                      <a:pt x="4" y="24"/>
                      <a:pt x="4" y="25"/>
                    </a:cubicBezTo>
                    <a:cubicBezTo>
                      <a:pt x="4" y="25"/>
                      <a:pt x="5" y="25"/>
                      <a:pt x="5" y="25"/>
                    </a:cubicBezTo>
                    <a:cubicBezTo>
                      <a:pt x="6" y="25"/>
                      <a:pt x="7" y="24"/>
                      <a:pt x="7" y="24"/>
                    </a:cubicBezTo>
                    <a:cubicBezTo>
                      <a:pt x="7" y="23"/>
                      <a:pt x="6" y="23"/>
                      <a:pt x="6" y="23"/>
                    </a:cubicBezTo>
                    <a:cubicBezTo>
                      <a:pt x="6" y="23"/>
                      <a:pt x="5" y="23"/>
                      <a:pt x="5" y="23"/>
                    </a:cubicBezTo>
                    <a:close/>
                    <a:moveTo>
                      <a:pt x="12" y="6"/>
                    </a:moveTo>
                    <a:cubicBezTo>
                      <a:pt x="13" y="6"/>
                      <a:pt x="14" y="5"/>
                      <a:pt x="13" y="4"/>
                    </a:cubicBezTo>
                    <a:cubicBezTo>
                      <a:pt x="13" y="4"/>
                      <a:pt x="11" y="6"/>
                      <a:pt x="12" y="6"/>
                    </a:cubicBezTo>
                    <a:close/>
                    <a:moveTo>
                      <a:pt x="21" y="2"/>
                    </a:moveTo>
                    <a:cubicBezTo>
                      <a:pt x="21" y="2"/>
                      <a:pt x="22" y="2"/>
                      <a:pt x="22" y="1"/>
                    </a:cubicBezTo>
                    <a:cubicBezTo>
                      <a:pt x="22" y="1"/>
                      <a:pt x="21" y="1"/>
                      <a:pt x="20" y="1"/>
                    </a:cubicBezTo>
                    <a:cubicBezTo>
                      <a:pt x="20" y="1"/>
                      <a:pt x="19" y="2"/>
                      <a:pt x="20" y="2"/>
                    </a:cubicBezTo>
                    <a:cubicBezTo>
                      <a:pt x="20" y="2"/>
                      <a:pt x="20" y="2"/>
                      <a:pt x="21" y="2"/>
                    </a:cubicBezTo>
                    <a:close/>
                    <a:moveTo>
                      <a:pt x="4" y="20"/>
                    </a:moveTo>
                    <a:cubicBezTo>
                      <a:pt x="5" y="20"/>
                      <a:pt x="5" y="21"/>
                      <a:pt x="6" y="20"/>
                    </a:cubicBezTo>
                    <a:cubicBezTo>
                      <a:pt x="7" y="20"/>
                      <a:pt x="5" y="20"/>
                      <a:pt x="5" y="19"/>
                    </a:cubicBezTo>
                    <a:cubicBezTo>
                      <a:pt x="4" y="19"/>
                      <a:pt x="3" y="19"/>
                      <a:pt x="3" y="20"/>
                    </a:cubicBezTo>
                    <a:cubicBezTo>
                      <a:pt x="2" y="20"/>
                      <a:pt x="4" y="20"/>
                      <a:pt x="4" y="20"/>
                    </a:cubicBezTo>
                    <a:close/>
                    <a:moveTo>
                      <a:pt x="29" y="0"/>
                    </a:moveTo>
                    <a:cubicBezTo>
                      <a:pt x="29" y="0"/>
                      <a:pt x="28" y="0"/>
                      <a:pt x="28" y="0"/>
                    </a:cubicBezTo>
                    <a:cubicBezTo>
                      <a:pt x="28" y="0"/>
                      <a:pt x="29" y="0"/>
                      <a:pt x="29" y="0"/>
                    </a:cubicBezTo>
                    <a:cubicBezTo>
                      <a:pt x="28" y="0"/>
                      <a:pt x="29" y="0"/>
                      <a:pt x="29"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1" name="Nepal">
                <a:extLst>
                  <a:ext uri="{FF2B5EF4-FFF2-40B4-BE49-F238E27FC236}">
                    <a16:creationId xmlns:a16="http://schemas.microsoft.com/office/drawing/2014/main" id="{EA9362A5-0FB9-8425-3BF5-B092C552D0AD}"/>
                  </a:ext>
                </a:extLst>
              </p:cNvPr>
              <p:cNvSpPr>
                <a:spLocks/>
              </p:cNvSpPr>
              <p:nvPr/>
            </p:nvSpPr>
            <p:spPr bwMode="auto">
              <a:xfrm>
                <a:off x="8359789" y="2860312"/>
                <a:ext cx="283268" cy="158786"/>
              </a:xfrm>
              <a:custGeom>
                <a:avLst/>
                <a:gdLst/>
                <a:ahLst/>
                <a:cxnLst>
                  <a:cxn ang="0">
                    <a:pos x="77" y="36"/>
                  </a:cxn>
                  <a:cxn ang="0">
                    <a:pos x="78" y="28"/>
                  </a:cxn>
                  <a:cxn ang="0">
                    <a:pos x="72" y="28"/>
                  </a:cxn>
                  <a:cxn ang="0">
                    <a:pos x="69" y="28"/>
                  </a:cxn>
                  <a:cxn ang="0">
                    <a:pos x="65" y="26"/>
                  </a:cxn>
                  <a:cxn ang="0">
                    <a:pos x="62" y="27"/>
                  </a:cxn>
                  <a:cxn ang="0">
                    <a:pos x="58" y="25"/>
                  </a:cxn>
                  <a:cxn ang="0">
                    <a:pos x="56" y="26"/>
                  </a:cxn>
                  <a:cxn ang="0">
                    <a:pos x="52" y="23"/>
                  </a:cxn>
                  <a:cxn ang="0">
                    <a:pos x="48" y="23"/>
                  </a:cxn>
                  <a:cxn ang="0">
                    <a:pos x="47" y="20"/>
                  </a:cxn>
                  <a:cxn ang="0">
                    <a:pos x="43" y="19"/>
                  </a:cxn>
                  <a:cxn ang="0">
                    <a:pos x="38" y="16"/>
                  </a:cxn>
                  <a:cxn ang="0">
                    <a:pos x="34" y="13"/>
                  </a:cxn>
                  <a:cxn ang="0">
                    <a:pos x="31" y="13"/>
                  </a:cxn>
                  <a:cxn ang="0">
                    <a:pos x="27" y="9"/>
                  </a:cxn>
                  <a:cxn ang="0">
                    <a:pos x="24" y="8"/>
                  </a:cxn>
                  <a:cxn ang="0">
                    <a:pos x="19" y="4"/>
                  </a:cxn>
                  <a:cxn ang="0">
                    <a:pos x="15" y="1"/>
                  </a:cxn>
                  <a:cxn ang="0">
                    <a:pos x="10" y="1"/>
                  </a:cxn>
                  <a:cxn ang="0">
                    <a:pos x="9" y="3"/>
                  </a:cxn>
                  <a:cxn ang="0">
                    <a:pos x="6" y="3"/>
                  </a:cxn>
                  <a:cxn ang="0">
                    <a:pos x="5" y="2"/>
                  </a:cxn>
                  <a:cxn ang="0">
                    <a:pos x="2" y="7"/>
                  </a:cxn>
                  <a:cxn ang="0">
                    <a:pos x="0" y="11"/>
                  </a:cxn>
                  <a:cxn ang="0">
                    <a:pos x="0" y="14"/>
                  </a:cxn>
                  <a:cxn ang="0">
                    <a:pos x="2" y="19"/>
                  </a:cxn>
                  <a:cxn ang="0">
                    <a:pos x="4" y="20"/>
                  </a:cxn>
                  <a:cxn ang="0">
                    <a:pos x="8" y="21"/>
                  </a:cxn>
                  <a:cxn ang="0">
                    <a:pos x="11" y="23"/>
                  </a:cxn>
                  <a:cxn ang="0">
                    <a:pos x="14" y="25"/>
                  </a:cxn>
                  <a:cxn ang="0">
                    <a:pos x="18" y="28"/>
                  </a:cxn>
                  <a:cxn ang="0">
                    <a:pos x="24" y="30"/>
                  </a:cxn>
                  <a:cxn ang="0">
                    <a:pos x="30" y="32"/>
                  </a:cxn>
                  <a:cxn ang="0">
                    <a:pos x="34" y="33"/>
                  </a:cxn>
                  <a:cxn ang="0">
                    <a:pos x="38" y="34"/>
                  </a:cxn>
                  <a:cxn ang="0">
                    <a:pos x="40" y="32"/>
                  </a:cxn>
                  <a:cxn ang="0">
                    <a:pos x="46" y="37"/>
                  </a:cxn>
                  <a:cxn ang="0">
                    <a:pos x="52" y="40"/>
                  </a:cxn>
                  <a:cxn ang="0">
                    <a:pos x="57" y="41"/>
                  </a:cxn>
                  <a:cxn ang="0">
                    <a:pos x="61" y="42"/>
                  </a:cxn>
                  <a:cxn ang="0">
                    <a:pos x="67" y="44"/>
                  </a:cxn>
                  <a:cxn ang="0">
                    <a:pos x="69" y="43"/>
                  </a:cxn>
                  <a:cxn ang="0">
                    <a:pos x="72" y="44"/>
                  </a:cxn>
                  <a:cxn ang="0">
                    <a:pos x="76" y="44"/>
                  </a:cxn>
                  <a:cxn ang="0">
                    <a:pos x="77" y="44"/>
                  </a:cxn>
                  <a:cxn ang="0">
                    <a:pos x="80" y="39"/>
                  </a:cxn>
                </a:cxnLst>
                <a:rect l="0" t="0" r="r" b="b"/>
                <a:pathLst>
                  <a:path w="80" h="45">
                    <a:moveTo>
                      <a:pt x="80" y="39"/>
                    </a:moveTo>
                    <a:cubicBezTo>
                      <a:pt x="79" y="39"/>
                      <a:pt x="79" y="38"/>
                      <a:pt x="79" y="37"/>
                    </a:cubicBezTo>
                    <a:cubicBezTo>
                      <a:pt x="78" y="37"/>
                      <a:pt x="78" y="37"/>
                      <a:pt x="77" y="36"/>
                    </a:cubicBezTo>
                    <a:cubicBezTo>
                      <a:pt x="77" y="35"/>
                      <a:pt x="78" y="34"/>
                      <a:pt x="77" y="33"/>
                    </a:cubicBezTo>
                    <a:cubicBezTo>
                      <a:pt x="77" y="32"/>
                      <a:pt x="77" y="32"/>
                      <a:pt x="78" y="31"/>
                    </a:cubicBezTo>
                    <a:cubicBezTo>
                      <a:pt x="78" y="30"/>
                      <a:pt x="78" y="28"/>
                      <a:pt x="78" y="28"/>
                    </a:cubicBezTo>
                    <a:cubicBezTo>
                      <a:pt x="77" y="28"/>
                      <a:pt x="76" y="28"/>
                      <a:pt x="75" y="28"/>
                    </a:cubicBezTo>
                    <a:cubicBezTo>
                      <a:pt x="74" y="28"/>
                      <a:pt x="74" y="28"/>
                      <a:pt x="74" y="28"/>
                    </a:cubicBezTo>
                    <a:cubicBezTo>
                      <a:pt x="74" y="29"/>
                      <a:pt x="72" y="29"/>
                      <a:pt x="72" y="28"/>
                    </a:cubicBezTo>
                    <a:cubicBezTo>
                      <a:pt x="72" y="28"/>
                      <a:pt x="71" y="29"/>
                      <a:pt x="71" y="29"/>
                    </a:cubicBezTo>
                    <a:cubicBezTo>
                      <a:pt x="70" y="29"/>
                      <a:pt x="71" y="28"/>
                      <a:pt x="70" y="28"/>
                    </a:cubicBezTo>
                    <a:cubicBezTo>
                      <a:pt x="70" y="28"/>
                      <a:pt x="69" y="29"/>
                      <a:pt x="69" y="28"/>
                    </a:cubicBezTo>
                    <a:cubicBezTo>
                      <a:pt x="68" y="28"/>
                      <a:pt x="68" y="28"/>
                      <a:pt x="67" y="27"/>
                    </a:cubicBezTo>
                    <a:cubicBezTo>
                      <a:pt x="67" y="27"/>
                      <a:pt x="66" y="27"/>
                      <a:pt x="66" y="27"/>
                    </a:cubicBezTo>
                    <a:cubicBezTo>
                      <a:pt x="65" y="27"/>
                      <a:pt x="65" y="26"/>
                      <a:pt x="65" y="26"/>
                    </a:cubicBezTo>
                    <a:cubicBezTo>
                      <a:pt x="64" y="26"/>
                      <a:pt x="64" y="26"/>
                      <a:pt x="64" y="26"/>
                    </a:cubicBezTo>
                    <a:cubicBezTo>
                      <a:pt x="64" y="25"/>
                      <a:pt x="63" y="25"/>
                      <a:pt x="63" y="25"/>
                    </a:cubicBezTo>
                    <a:cubicBezTo>
                      <a:pt x="61" y="25"/>
                      <a:pt x="63" y="27"/>
                      <a:pt x="62" y="27"/>
                    </a:cubicBezTo>
                    <a:cubicBezTo>
                      <a:pt x="61" y="28"/>
                      <a:pt x="60" y="27"/>
                      <a:pt x="60" y="27"/>
                    </a:cubicBezTo>
                    <a:cubicBezTo>
                      <a:pt x="59" y="27"/>
                      <a:pt x="59" y="26"/>
                      <a:pt x="59" y="26"/>
                    </a:cubicBezTo>
                    <a:cubicBezTo>
                      <a:pt x="59" y="25"/>
                      <a:pt x="58" y="25"/>
                      <a:pt x="58" y="25"/>
                    </a:cubicBezTo>
                    <a:cubicBezTo>
                      <a:pt x="58" y="26"/>
                      <a:pt x="58" y="26"/>
                      <a:pt x="58" y="27"/>
                    </a:cubicBezTo>
                    <a:cubicBezTo>
                      <a:pt x="58" y="27"/>
                      <a:pt x="58" y="28"/>
                      <a:pt x="57" y="28"/>
                    </a:cubicBezTo>
                    <a:cubicBezTo>
                      <a:pt x="57" y="27"/>
                      <a:pt x="56" y="27"/>
                      <a:pt x="56" y="26"/>
                    </a:cubicBezTo>
                    <a:cubicBezTo>
                      <a:pt x="56" y="25"/>
                      <a:pt x="56" y="25"/>
                      <a:pt x="55" y="24"/>
                    </a:cubicBezTo>
                    <a:cubicBezTo>
                      <a:pt x="54" y="24"/>
                      <a:pt x="54" y="24"/>
                      <a:pt x="54" y="23"/>
                    </a:cubicBezTo>
                    <a:cubicBezTo>
                      <a:pt x="53" y="24"/>
                      <a:pt x="53" y="24"/>
                      <a:pt x="52" y="23"/>
                    </a:cubicBezTo>
                    <a:cubicBezTo>
                      <a:pt x="51" y="23"/>
                      <a:pt x="51" y="24"/>
                      <a:pt x="50" y="24"/>
                    </a:cubicBezTo>
                    <a:cubicBezTo>
                      <a:pt x="50" y="24"/>
                      <a:pt x="49" y="23"/>
                      <a:pt x="49" y="23"/>
                    </a:cubicBezTo>
                    <a:cubicBezTo>
                      <a:pt x="49" y="23"/>
                      <a:pt x="49" y="23"/>
                      <a:pt x="48" y="23"/>
                    </a:cubicBezTo>
                    <a:cubicBezTo>
                      <a:pt x="48" y="23"/>
                      <a:pt x="48" y="22"/>
                      <a:pt x="48" y="22"/>
                    </a:cubicBezTo>
                    <a:cubicBezTo>
                      <a:pt x="48" y="21"/>
                      <a:pt x="49" y="21"/>
                      <a:pt x="48" y="20"/>
                    </a:cubicBezTo>
                    <a:cubicBezTo>
                      <a:pt x="48" y="20"/>
                      <a:pt x="47" y="19"/>
                      <a:pt x="47" y="20"/>
                    </a:cubicBezTo>
                    <a:cubicBezTo>
                      <a:pt x="46" y="20"/>
                      <a:pt x="46" y="20"/>
                      <a:pt x="46" y="20"/>
                    </a:cubicBezTo>
                    <a:cubicBezTo>
                      <a:pt x="45" y="21"/>
                      <a:pt x="45" y="20"/>
                      <a:pt x="44" y="20"/>
                    </a:cubicBezTo>
                    <a:cubicBezTo>
                      <a:pt x="43" y="20"/>
                      <a:pt x="44" y="19"/>
                      <a:pt x="43" y="19"/>
                    </a:cubicBezTo>
                    <a:cubicBezTo>
                      <a:pt x="43" y="19"/>
                      <a:pt x="43" y="19"/>
                      <a:pt x="42" y="19"/>
                    </a:cubicBezTo>
                    <a:cubicBezTo>
                      <a:pt x="41" y="19"/>
                      <a:pt x="41" y="18"/>
                      <a:pt x="41" y="18"/>
                    </a:cubicBezTo>
                    <a:cubicBezTo>
                      <a:pt x="40" y="17"/>
                      <a:pt x="39" y="17"/>
                      <a:pt x="38" y="16"/>
                    </a:cubicBezTo>
                    <a:cubicBezTo>
                      <a:pt x="38" y="15"/>
                      <a:pt x="38" y="15"/>
                      <a:pt x="38" y="14"/>
                    </a:cubicBezTo>
                    <a:cubicBezTo>
                      <a:pt x="37" y="14"/>
                      <a:pt x="38" y="14"/>
                      <a:pt x="37" y="13"/>
                    </a:cubicBezTo>
                    <a:cubicBezTo>
                      <a:pt x="37" y="12"/>
                      <a:pt x="35" y="12"/>
                      <a:pt x="34" y="13"/>
                    </a:cubicBezTo>
                    <a:cubicBezTo>
                      <a:pt x="34" y="13"/>
                      <a:pt x="33" y="13"/>
                      <a:pt x="33" y="13"/>
                    </a:cubicBezTo>
                    <a:cubicBezTo>
                      <a:pt x="33" y="14"/>
                      <a:pt x="33" y="14"/>
                      <a:pt x="33" y="14"/>
                    </a:cubicBezTo>
                    <a:cubicBezTo>
                      <a:pt x="32" y="14"/>
                      <a:pt x="32" y="13"/>
                      <a:pt x="31" y="13"/>
                    </a:cubicBezTo>
                    <a:cubicBezTo>
                      <a:pt x="31" y="13"/>
                      <a:pt x="29" y="10"/>
                      <a:pt x="29" y="10"/>
                    </a:cubicBezTo>
                    <a:cubicBezTo>
                      <a:pt x="28" y="10"/>
                      <a:pt x="28" y="10"/>
                      <a:pt x="28" y="9"/>
                    </a:cubicBezTo>
                    <a:cubicBezTo>
                      <a:pt x="28" y="9"/>
                      <a:pt x="27" y="9"/>
                      <a:pt x="27" y="9"/>
                    </a:cubicBezTo>
                    <a:cubicBezTo>
                      <a:pt x="26" y="9"/>
                      <a:pt x="26" y="9"/>
                      <a:pt x="26" y="8"/>
                    </a:cubicBezTo>
                    <a:cubicBezTo>
                      <a:pt x="26" y="8"/>
                      <a:pt x="25" y="8"/>
                      <a:pt x="25" y="8"/>
                    </a:cubicBezTo>
                    <a:cubicBezTo>
                      <a:pt x="25" y="8"/>
                      <a:pt x="25" y="8"/>
                      <a:pt x="24" y="8"/>
                    </a:cubicBezTo>
                    <a:cubicBezTo>
                      <a:pt x="24" y="8"/>
                      <a:pt x="23" y="7"/>
                      <a:pt x="23" y="7"/>
                    </a:cubicBezTo>
                    <a:cubicBezTo>
                      <a:pt x="22" y="6"/>
                      <a:pt x="22" y="6"/>
                      <a:pt x="21" y="5"/>
                    </a:cubicBezTo>
                    <a:cubicBezTo>
                      <a:pt x="21" y="5"/>
                      <a:pt x="20" y="5"/>
                      <a:pt x="19" y="4"/>
                    </a:cubicBezTo>
                    <a:cubicBezTo>
                      <a:pt x="19" y="4"/>
                      <a:pt x="17" y="4"/>
                      <a:pt x="17" y="4"/>
                    </a:cubicBezTo>
                    <a:cubicBezTo>
                      <a:pt x="16" y="3"/>
                      <a:pt x="17" y="3"/>
                      <a:pt x="16" y="2"/>
                    </a:cubicBezTo>
                    <a:cubicBezTo>
                      <a:pt x="16" y="2"/>
                      <a:pt x="16" y="1"/>
                      <a:pt x="15" y="1"/>
                    </a:cubicBezTo>
                    <a:cubicBezTo>
                      <a:pt x="15" y="1"/>
                      <a:pt x="14" y="1"/>
                      <a:pt x="13" y="0"/>
                    </a:cubicBezTo>
                    <a:cubicBezTo>
                      <a:pt x="13" y="0"/>
                      <a:pt x="12" y="0"/>
                      <a:pt x="11" y="0"/>
                    </a:cubicBezTo>
                    <a:cubicBezTo>
                      <a:pt x="11" y="0"/>
                      <a:pt x="11" y="1"/>
                      <a:pt x="10" y="1"/>
                    </a:cubicBezTo>
                    <a:cubicBezTo>
                      <a:pt x="10" y="1"/>
                      <a:pt x="10" y="0"/>
                      <a:pt x="9" y="0"/>
                    </a:cubicBezTo>
                    <a:cubicBezTo>
                      <a:pt x="9" y="0"/>
                      <a:pt x="9" y="2"/>
                      <a:pt x="9" y="2"/>
                    </a:cubicBezTo>
                    <a:cubicBezTo>
                      <a:pt x="9" y="2"/>
                      <a:pt x="9" y="3"/>
                      <a:pt x="9" y="3"/>
                    </a:cubicBezTo>
                    <a:cubicBezTo>
                      <a:pt x="9" y="3"/>
                      <a:pt x="9" y="4"/>
                      <a:pt x="9" y="4"/>
                    </a:cubicBezTo>
                    <a:cubicBezTo>
                      <a:pt x="8" y="4"/>
                      <a:pt x="8" y="5"/>
                      <a:pt x="8" y="4"/>
                    </a:cubicBezTo>
                    <a:cubicBezTo>
                      <a:pt x="7" y="4"/>
                      <a:pt x="7" y="3"/>
                      <a:pt x="6" y="3"/>
                    </a:cubicBezTo>
                    <a:cubicBezTo>
                      <a:pt x="6" y="3"/>
                      <a:pt x="6" y="2"/>
                      <a:pt x="6" y="2"/>
                    </a:cubicBezTo>
                    <a:cubicBezTo>
                      <a:pt x="5" y="2"/>
                      <a:pt x="5" y="3"/>
                      <a:pt x="5" y="2"/>
                    </a:cubicBezTo>
                    <a:cubicBezTo>
                      <a:pt x="5" y="2"/>
                      <a:pt x="5" y="2"/>
                      <a:pt x="5" y="2"/>
                    </a:cubicBezTo>
                    <a:cubicBezTo>
                      <a:pt x="5" y="2"/>
                      <a:pt x="4" y="3"/>
                      <a:pt x="4" y="4"/>
                    </a:cubicBezTo>
                    <a:cubicBezTo>
                      <a:pt x="4" y="4"/>
                      <a:pt x="3" y="5"/>
                      <a:pt x="3" y="5"/>
                    </a:cubicBezTo>
                    <a:cubicBezTo>
                      <a:pt x="2" y="5"/>
                      <a:pt x="2" y="6"/>
                      <a:pt x="2" y="7"/>
                    </a:cubicBezTo>
                    <a:cubicBezTo>
                      <a:pt x="1" y="7"/>
                      <a:pt x="1" y="7"/>
                      <a:pt x="1" y="8"/>
                    </a:cubicBezTo>
                    <a:cubicBezTo>
                      <a:pt x="1" y="9"/>
                      <a:pt x="1" y="9"/>
                      <a:pt x="1" y="10"/>
                    </a:cubicBezTo>
                    <a:cubicBezTo>
                      <a:pt x="1" y="10"/>
                      <a:pt x="0" y="10"/>
                      <a:pt x="0" y="11"/>
                    </a:cubicBezTo>
                    <a:cubicBezTo>
                      <a:pt x="0" y="11"/>
                      <a:pt x="2" y="13"/>
                      <a:pt x="1" y="13"/>
                    </a:cubicBezTo>
                    <a:cubicBezTo>
                      <a:pt x="1" y="13"/>
                      <a:pt x="1" y="13"/>
                      <a:pt x="1" y="14"/>
                    </a:cubicBezTo>
                    <a:cubicBezTo>
                      <a:pt x="1" y="14"/>
                      <a:pt x="0" y="14"/>
                      <a:pt x="0" y="14"/>
                    </a:cubicBezTo>
                    <a:cubicBezTo>
                      <a:pt x="0" y="15"/>
                      <a:pt x="0" y="15"/>
                      <a:pt x="0" y="16"/>
                    </a:cubicBezTo>
                    <a:cubicBezTo>
                      <a:pt x="0" y="16"/>
                      <a:pt x="0" y="16"/>
                      <a:pt x="0" y="17"/>
                    </a:cubicBezTo>
                    <a:cubicBezTo>
                      <a:pt x="0" y="18"/>
                      <a:pt x="1" y="18"/>
                      <a:pt x="2" y="19"/>
                    </a:cubicBezTo>
                    <a:cubicBezTo>
                      <a:pt x="2" y="19"/>
                      <a:pt x="3" y="20"/>
                      <a:pt x="3" y="20"/>
                    </a:cubicBezTo>
                    <a:cubicBezTo>
                      <a:pt x="3" y="20"/>
                      <a:pt x="4" y="20"/>
                      <a:pt x="4" y="20"/>
                    </a:cubicBezTo>
                    <a:cubicBezTo>
                      <a:pt x="4" y="20"/>
                      <a:pt x="4" y="20"/>
                      <a:pt x="4" y="20"/>
                    </a:cubicBezTo>
                    <a:cubicBezTo>
                      <a:pt x="5" y="20"/>
                      <a:pt x="4" y="19"/>
                      <a:pt x="4" y="19"/>
                    </a:cubicBezTo>
                    <a:cubicBezTo>
                      <a:pt x="5" y="19"/>
                      <a:pt x="5" y="19"/>
                      <a:pt x="5" y="20"/>
                    </a:cubicBezTo>
                    <a:cubicBezTo>
                      <a:pt x="6" y="20"/>
                      <a:pt x="7" y="21"/>
                      <a:pt x="8" y="21"/>
                    </a:cubicBezTo>
                    <a:cubicBezTo>
                      <a:pt x="8" y="21"/>
                      <a:pt x="9" y="22"/>
                      <a:pt x="9" y="22"/>
                    </a:cubicBezTo>
                    <a:cubicBezTo>
                      <a:pt x="9" y="22"/>
                      <a:pt x="9" y="22"/>
                      <a:pt x="10" y="22"/>
                    </a:cubicBezTo>
                    <a:cubicBezTo>
                      <a:pt x="10" y="22"/>
                      <a:pt x="11" y="22"/>
                      <a:pt x="11" y="23"/>
                    </a:cubicBezTo>
                    <a:cubicBezTo>
                      <a:pt x="12" y="23"/>
                      <a:pt x="12" y="23"/>
                      <a:pt x="12" y="24"/>
                    </a:cubicBezTo>
                    <a:cubicBezTo>
                      <a:pt x="12" y="24"/>
                      <a:pt x="13" y="25"/>
                      <a:pt x="13" y="25"/>
                    </a:cubicBezTo>
                    <a:cubicBezTo>
                      <a:pt x="13" y="25"/>
                      <a:pt x="13" y="24"/>
                      <a:pt x="14" y="25"/>
                    </a:cubicBezTo>
                    <a:cubicBezTo>
                      <a:pt x="14" y="25"/>
                      <a:pt x="14" y="25"/>
                      <a:pt x="15" y="26"/>
                    </a:cubicBezTo>
                    <a:cubicBezTo>
                      <a:pt x="15" y="26"/>
                      <a:pt x="15" y="26"/>
                      <a:pt x="16" y="26"/>
                    </a:cubicBezTo>
                    <a:cubicBezTo>
                      <a:pt x="17" y="27"/>
                      <a:pt x="18" y="27"/>
                      <a:pt x="18" y="28"/>
                    </a:cubicBezTo>
                    <a:cubicBezTo>
                      <a:pt x="19" y="28"/>
                      <a:pt x="19" y="28"/>
                      <a:pt x="19" y="28"/>
                    </a:cubicBezTo>
                    <a:cubicBezTo>
                      <a:pt x="20" y="27"/>
                      <a:pt x="20" y="28"/>
                      <a:pt x="20" y="28"/>
                    </a:cubicBezTo>
                    <a:cubicBezTo>
                      <a:pt x="22" y="28"/>
                      <a:pt x="23" y="29"/>
                      <a:pt x="24" y="30"/>
                    </a:cubicBezTo>
                    <a:cubicBezTo>
                      <a:pt x="25" y="30"/>
                      <a:pt x="25" y="30"/>
                      <a:pt x="26" y="30"/>
                    </a:cubicBezTo>
                    <a:cubicBezTo>
                      <a:pt x="27" y="30"/>
                      <a:pt x="27" y="31"/>
                      <a:pt x="27" y="32"/>
                    </a:cubicBezTo>
                    <a:cubicBezTo>
                      <a:pt x="28" y="32"/>
                      <a:pt x="29" y="32"/>
                      <a:pt x="30" y="32"/>
                    </a:cubicBezTo>
                    <a:cubicBezTo>
                      <a:pt x="30" y="33"/>
                      <a:pt x="31" y="33"/>
                      <a:pt x="31" y="33"/>
                    </a:cubicBezTo>
                    <a:cubicBezTo>
                      <a:pt x="32" y="33"/>
                      <a:pt x="32" y="33"/>
                      <a:pt x="33" y="34"/>
                    </a:cubicBezTo>
                    <a:cubicBezTo>
                      <a:pt x="33" y="34"/>
                      <a:pt x="33" y="34"/>
                      <a:pt x="34" y="33"/>
                    </a:cubicBezTo>
                    <a:cubicBezTo>
                      <a:pt x="34" y="33"/>
                      <a:pt x="33" y="33"/>
                      <a:pt x="33" y="33"/>
                    </a:cubicBezTo>
                    <a:cubicBezTo>
                      <a:pt x="34" y="32"/>
                      <a:pt x="35" y="32"/>
                      <a:pt x="36" y="32"/>
                    </a:cubicBezTo>
                    <a:cubicBezTo>
                      <a:pt x="36" y="33"/>
                      <a:pt x="38" y="34"/>
                      <a:pt x="38" y="34"/>
                    </a:cubicBezTo>
                    <a:cubicBezTo>
                      <a:pt x="38" y="33"/>
                      <a:pt x="37" y="33"/>
                      <a:pt x="38" y="33"/>
                    </a:cubicBezTo>
                    <a:cubicBezTo>
                      <a:pt x="39" y="33"/>
                      <a:pt x="39" y="33"/>
                      <a:pt x="40" y="33"/>
                    </a:cubicBezTo>
                    <a:cubicBezTo>
                      <a:pt x="40" y="33"/>
                      <a:pt x="40" y="32"/>
                      <a:pt x="40" y="32"/>
                    </a:cubicBezTo>
                    <a:cubicBezTo>
                      <a:pt x="40" y="31"/>
                      <a:pt x="42" y="33"/>
                      <a:pt x="42" y="33"/>
                    </a:cubicBezTo>
                    <a:cubicBezTo>
                      <a:pt x="43" y="34"/>
                      <a:pt x="44" y="33"/>
                      <a:pt x="45" y="34"/>
                    </a:cubicBezTo>
                    <a:cubicBezTo>
                      <a:pt x="46" y="35"/>
                      <a:pt x="46" y="36"/>
                      <a:pt x="46" y="37"/>
                    </a:cubicBezTo>
                    <a:cubicBezTo>
                      <a:pt x="46" y="38"/>
                      <a:pt x="48" y="37"/>
                      <a:pt x="48" y="37"/>
                    </a:cubicBezTo>
                    <a:cubicBezTo>
                      <a:pt x="49" y="38"/>
                      <a:pt x="49" y="38"/>
                      <a:pt x="50" y="39"/>
                    </a:cubicBezTo>
                    <a:cubicBezTo>
                      <a:pt x="51" y="39"/>
                      <a:pt x="51" y="38"/>
                      <a:pt x="52" y="40"/>
                    </a:cubicBezTo>
                    <a:cubicBezTo>
                      <a:pt x="53" y="41"/>
                      <a:pt x="53" y="40"/>
                      <a:pt x="54" y="40"/>
                    </a:cubicBezTo>
                    <a:cubicBezTo>
                      <a:pt x="55" y="39"/>
                      <a:pt x="56" y="39"/>
                      <a:pt x="57" y="40"/>
                    </a:cubicBezTo>
                    <a:cubicBezTo>
                      <a:pt x="57" y="40"/>
                      <a:pt x="57" y="41"/>
                      <a:pt x="57" y="41"/>
                    </a:cubicBezTo>
                    <a:cubicBezTo>
                      <a:pt x="57" y="42"/>
                      <a:pt x="58" y="42"/>
                      <a:pt x="58" y="42"/>
                    </a:cubicBezTo>
                    <a:cubicBezTo>
                      <a:pt x="59" y="42"/>
                      <a:pt x="59" y="41"/>
                      <a:pt x="60" y="41"/>
                    </a:cubicBezTo>
                    <a:cubicBezTo>
                      <a:pt x="60" y="42"/>
                      <a:pt x="61" y="42"/>
                      <a:pt x="61" y="42"/>
                    </a:cubicBezTo>
                    <a:cubicBezTo>
                      <a:pt x="62" y="42"/>
                      <a:pt x="62" y="42"/>
                      <a:pt x="63" y="42"/>
                    </a:cubicBezTo>
                    <a:cubicBezTo>
                      <a:pt x="64" y="42"/>
                      <a:pt x="65" y="43"/>
                      <a:pt x="66" y="43"/>
                    </a:cubicBezTo>
                    <a:cubicBezTo>
                      <a:pt x="66" y="43"/>
                      <a:pt x="66" y="44"/>
                      <a:pt x="67" y="44"/>
                    </a:cubicBezTo>
                    <a:cubicBezTo>
                      <a:pt x="67" y="44"/>
                      <a:pt x="67" y="44"/>
                      <a:pt x="67" y="44"/>
                    </a:cubicBezTo>
                    <a:cubicBezTo>
                      <a:pt x="67" y="44"/>
                      <a:pt x="68" y="44"/>
                      <a:pt x="68" y="44"/>
                    </a:cubicBezTo>
                    <a:cubicBezTo>
                      <a:pt x="68" y="44"/>
                      <a:pt x="69" y="43"/>
                      <a:pt x="69" y="43"/>
                    </a:cubicBezTo>
                    <a:cubicBezTo>
                      <a:pt x="69" y="43"/>
                      <a:pt x="70" y="42"/>
                      <a:pt x="70" y="42"/>
                    </a:cubicBezTo>
                    <a:cubicBezTo>
                      <a:pt x="70" y="42"/>
                      <a:pt x="70" y="44"/>
                      <a:pt x="71" y="44"/>
                    </a:cubicBezTo>
                    <a:cubicBezTo>
                      <a:pt x="71" y="44"/>
                      <a:pt x="72" y="44"/>
                      <a:pt x="72" y="44"/>
                    </a:cubicBezTo>
                    <a:cubicBezTo>
                      <a:pt x="73" y="45"/>
                      <a:pt x="73" y="44"/>
                      <a:pt x="73" y="44"/>
                    </a:cubicBezTo>
                    <a:cubicBezTo>
                      <a:pt x="74" y="43"/>
                      <a:pt x="74" y="44"/>
                      <a:pt x="75" y="44"/>
                    </a:cubicBezTo>
                    <a:cubicBezTo>
                      <a:pt x="75" y="44"/>
                      <a:pt x="75" y="44"/>
                      <a:pt x="76" y="44"/>
                    </a:cubicBezTo>
                    <a:cubicBezTo>
                      <a:pt x="76" y="44"/>
                      <a:pt x="76" y="44"/>
                      <a:pt x="77" y="44"/>
                    </a:cubicBezTo>
                    <a:cubicBezTo>
                      <a:pt x="77" y="44"/>
                      <a:pt x="77" y="44"/>
                      <a:pt x="77" y="43"/>
                    </a:cubicBezTo>
                    <a:cubicBezTo>
                      <a:pt x="77" y="43"/>
                      <a:pt x="77" y="44"/>
                      <a:pt x="77" y="44"/>
                    </a:cubicBezTo>
                    <a:cubicBezTo>
                      <a:pt x="78" y="43"/>
                      <a:pt x="79" y="45"/>
                      <a:pt x="79" y="44"/>
                    </a:cubicBezTo>
                    <a:cubicBezTo>
                      <a:pt x="80" y="43"/>
                      <a:pt x="80" y="42"/>
                      <a:pt x="80" y="42"/>
                    </a:cubicBezTo>
                    <a:cubicBezTo>
                      <a:pt x="80" y="41"/>
                      <a:pt x="80" y="40"/>
                      <a:pt x="80" y="3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2" name="Nauru">
                <a:extLst>
                  <a:ext uri="{FF2B5EF4-FFF2-40B4-BE49-F238E27FC236}">
                    <a16:creationId xmlns:a16="http://schemas.microsoft.com/office/drawing/2014/main" id="{F71AA336-C1D5-7504-7953-AF2B43EE7992}"/>
                  </a:ext>
                </a:extLst>
              </p:cNvPr>
              <p:cNvSpPr>
                <a:spLocks/>
              </p:cNvSpPr>
              <p:nvPr/>
            </p:nvSpPr>
            <p:spPr bwMode="auto">
              <a:xfrm>
                <a:off x="11433585" y="4064933"/>
                <a:ext cx="980" cy="98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901" kern="0">
                  <a:solidFill>
                    <a:srgbClr val="FFFFFF"/>
                  </a:solidFill>
                </a:endParaRPr>
              </a:p>
            </p:txBody>
          </p:sp>
          <p:sp>
            <p:nvSpPr>
              <p:cNvPr id="1553" name="Namibia">
                <a:extLst>
                  <a:ext uri="{FF2B5EF4-FFF2-40B4-BE49-F238E27FC236}">
                    <a16:creationId xmlns:a16="http://schemas.microsoft.com/office/drawing/2014/main" id="{D4660311-D260-4BC1-AB55-287B81A7AC6A}"/>
                  </a:ext>
                </a:extLst>
              </p:cNvPr>
              <p:cNvSpPr>
                <a:spLocks/>
              </p:cNvSpPr>
              <p:nvPr/>
            </p:nvSpPr>
            <p:spPr bwMode="auto">
              <a:xfrm>
                <a:off x="6093649" y="4703020"/>
                <a:ext cx="463619" cy="471460"/>
              </a:xfrm>
              <a:custGeom>
                <a:avLst/>
                <a:gdLst/>
                <a:ahLst/>
                <a:cxnLst>
                  <a:cxn ang="0">
                    <a:pos x="123" y="6"/>
                  </a:cxn>
                  <a:cxn ang="0">
                    <a:pos x="101" y="11"/>
                  </a:cxn>
                  <a:cxn ang="0">
                    <a:pos x="92" y="12"/>
                  </a:cxn>
                  <a:cxn ang="0">
                    <a:pos x="85" y="12"/>
                  </a:cxn>
                  <a:cxn ang="0">
                    <a:pos x="77" y="11"/>
                  </a:cxn>
                  <a:cxn ang="0">
                    <a:pos x="70" y="10"/>
                  </a:cxn>
                  <a:cxn ang="0">
                    <a:pos x="61" y="5"/>
                  </a:cxn>
                  <a:cxn ang="0">
                    <a:pos x="27" y="5"/>
                  </a:cxn>
                  <a:cxn ang="0">
                    <a:pos x="22" y="5"/>
                  </a:cxn>
                  <a:cxn ang="0">
                    <a:pos x="11" y="2"/>
                  </a:cxn>
                  <a:cxn ang="0">
                    <a:pos x="8" y="3"/>
                  </a:cxn>
                  <a:cxn ang="0">
                    <a:pos x="1" y="4"/>
                  </a:cxn>
                  <a:cxn ang="0">
                    <a:pos x="7" y="21"/>
                  </a:cxn>
                  <a:cxn ang="0">
                    <a:pos x="10" y="27"/>
                  </a:cxn>
                  <a:cxn ang="0">
                    <a:pos x="14" y="36"/>
                  </a:cxn>
                  <a:cxn ang="0">
                    <a:pos x="20" y="49"/>
                  </a:cxn>
                  <a:cxn ang="0">
                    <a:pos x="22" y="54"/>
                  </a:cxn>
                  <a:cxn ang="0">
                    <a:pos x="27" y="63"/>
                  </a:cxn>
                  <a:cxn ang="0">
                    <a:pos x="27" y="66"/>
                  </a:cxn>
                  <a:cxn ang="0">
                    <a:pos x="27" y="73"/>
                  </a:cxn>
                  <a:cxn ang="0">
                    <a:pos x="27" y="79"/>
                  </a:cxn>
                  <a:cxn ang="0">
                    <a:pos x="28" y="84"/>
                  </a:cxn>
                  <a:cxn ang="0">
                    <a:pos x="30" y="91"/>
                  </a:cxn>
                  <a:cxn ang="0">
                    <a:pos x="31" y="98"/>
                  </a:cxn>
                  <a:cxn ang="0">
                    <a:pos x="31" y="102"/>
                  </a:cxn>
                  <a:cxn ang="0">
                    <a:pos x="32" y="104"/>
                  </a:cxn>
                  <a:cxn ang="0">
                    <a:pos x="32" y="108"/>
                  </a:cxn>
                  <a:cxn ang="0">
                    <a:pos x="34" y="112"/>
                  </a:cxn>
                  <a:cxn ang="0">
                    <a:pos x="36" y="119"/>
                  </a:cxn>
                  <a:cxn ang="0">
                    <a:pos x="43" y="127"/>
                  </a:cxn>
                  <a:cxn ang="0">
                    <a:pos x="48" y="127"/>
                  </a:cxn>
                  <a:cxn ang="0">
                    <a:pos x="49" y="124"/>
                  </a:cxn>
                  <a:cxn ang="0">
                    <a:pos x="51" y="123"/>
                  </a:cxn>
                  <a:cxn ang="0">
                    <a:pos x="53" y="125"/>
                  </a:cxn>
                  <a:cxn ang="0">
                    <a:pos x="54" y="129"/>
                  </a:cxn>
                  <a:cxn ang="0">
                    <a:pos x="57" y="130"/>
                  </a:cxn>
                  <a:cxn ang="0">
                    <a:pos x="61" y="132"/>
                  </a:cxn>
                  <a:cxn ang="0">
                    <a:pos x="69" y="132"/>
                  </a:cxn>
                  <a:cxn ang="0">
                    <a:pos x="73" y="129"/>
                  </a:cxn>
                  <a:cxn ang="0">
                    <a:pos x="77" y="127"/>
                  </a:cxn>
                  <a:cxn ang="0">
                    <a:pos x="79" y="89"/>
                  </a:cxn>
                  <a:cxn ang="0">
                    <a:pos x="80" y="56"/>
                  </a:cxn>
                  <a:cxn ang="0">
                    <a:pos x="89" y="53"/>
                  </a:cxn>
                  <a:cxn ang="0">
                    <a:pos x="91" y="15"/>
                  </a:cxn>
                  <a:cxn ang="0">
                    <a:pos x="111" y="12"/>
                  </a:cxn>
                  <a:cxn ang="0">
                    <a:pos x="114" y="16"/>
                  </a:cxn>
                  <a:cxn ang="0">
                    <a:pos x="118" y="14"/>
                  </a:cxn>
                  <a:cxn ang="0">
                    <a:pos x="123" y="12"/>
                  </a:cxn>
                  <a:cxn ang="0">
                    <a:pos x="128" y="10"/>
                  </a:cxn>
                  <a:cxn ang="0">
                    <a:pos x="128" y="8"/>
                  </a:cxn>
                </a:cxnLst>
                <a:rect l="0" t="0" r="r" b="b"/>
                <a:pathLst>
                  <a:path w="131" h="133">
                    <a:moveTo>
                      <a:pt x="128" y="8"/>
                    </a:moveTo>
                    <a:cubicBezTo>
                      <a:pt x="128" y="7"/>
                      <a:pt x="126" y="7"/>
                      <a:pt x="126" y="7"/>
                    </a:cubicBezTo>
                    <a:cubicBezTo>
                      <a:pt x="125" y="6"/>
                      <a:pt x="124" y="7"/>
                      <a:pt x="123" y="6"/>
                    </a:cubicBezTo>
                    <a:cubicBezTo>
                      <a:pt x="122" y="6"/>
                      <a:pt x="122" y="6"/>
                      <a:pt x="121" y="6"/>
                    </a:cubicBezTo>
                    <a:cubicBezTo>
                      <a:pt x="121" y="6"/>
                      <a:pt x="120" y="6"/>
                      <a:pt x="119" y="7"/>
                    </a:cubicBezTo>
                    <a:cubicBezTo>
                      <a:pt x="113" y="8"/>
                      <a:pt x="107" y="9"/>
                      <a:pt x="101" y="11"/>
                    </a:cubicBezTo>
                    <a:cubicBezTo>
                      <a:pt x="99" y="11"/>
                      <a:pt x="97" y="11"/>
                      <a:pt x="96" y="12"/>
                    </a:cubicBezTo>
                    <a:cubicBezTo>
                      <a:pt x="95" y="12"/>
                      <a:pt x="94" y="12"/>
                      <a:pt x="94" y="12"/>
                    </a:cubicBezTo>
                    <a:cubicBezTo>
                      <a:pt x="93" y="12"/>
                      <a:pt x="93" y="12"/>
                      <a:pt x="92" y="12"/>
                    </a:cubicBezTo>
                    <a:cubicBezTo>
                      <a:pt x="91" y="11"/>
                      <a:pt x="89" y="12"/>
                      <a:pt x="89" y="12"/>
                    </a:cubicBezTo>
                    <a:cubicBezTo>
                      <a:pt x="88" y="13"/>
                      <a:pt x="88" y="12"/>
                      <a:pt x="87" y="12"/>
                    </a:cubicBezTo>
                    <a:cubicBezTo>
                      <a:pt x="86" y="12"/>
                      <a:pt x="86" y="12"/>
                      <a:pt x="85" y="12"/>
                    </a:cubicBezTo>
                    <a:cubicBezTo>
                      <a:pt x="84" y="11"/>
                      <a:pt x="83" y="11"/>
                      <a:pt x="82" y="11"/>
                    </a:cubicBezTo>
                    <a:cubicBezTo>
                      <a:pt x="81" y="11"/>
                      <a:pt x="79" y="10"/>
                      <a:pt x="78" y="11"/>
                    </a:cubicBezTo>
                    <a:cubicBezTo>
                      <a:pt x="78" y="11"/>
                      <a:pt x="78" y="11"/>
                      <a:pt x="77" y="11"/>
                    </a:cubicBezTo>
                    <a:cubicBezTo>
                      <a:pt x="77" y="10"/>
                      <a:pt x="77" y="10"/>
                      <a:pt x="76" y="10"/>
                    </a:cubicBezTo>
                    <a:cubicBezTo>
                      <a:pt x="75" y="11"/>
                      <a:pt x="74" y="10"/>
                      <a:pt x="73" y="10"/>
                    </a:cubicBezTo>
                    <a:cubicBezTo>
                      <a:pt x="72" y="10"/>
                      <a:pt x="71" y="10"/>
                      <a:pt x="70" y="10"/>
                    </a:cubicBezTo>
                    <a:cubicBezTo>
                      <a:pt x="69" y="10"/>
                      <a:pt x="69" y="9"/>
                      <a:pt x="68" y="9"/>
                    </a:cubicBezTo>
                    <a:cubicBezTo>
                      <a:pt x="67" y="8"/>
                      <a:pt x="67" y="7"/>
                      <a:pt x="66" y="6"/>
                    </a:cubicBezTo>
                    <a:cubicBezTo>
                      <a:pt x="65" y="5"/>
                      <a:pt x="62" y="5"/>
                      <a:pt x="61" y="5"/>
                    </a:cubicBezTo>
                    <a:cubicBezTo>
                      <a:pt x="59" y="5"/>
                      <a:pt x="57" y="5"/>
                      <a:pt x="55" y="5"/>
                    </a:cubicBezTo>
                    <a:cubicBezTo>
                      <a:pt x="47" y="5"/>
                      <a:pt x="38" y="5"/>
                      <a:pt x="30" y="5"/>
                    </a:cubicBezTo>
                    <a:cubicBezTo>
                      <a:pt x="29" y="5"/>
                      <a:pt x="28" y="5"/>
                      <a:pt x="27" y="5"/>
                    </a:cubicBezTo>
                    <a:cubicBezTo>
                      <a:pt x="26" y="5"/>
                      <a:pt x="25" y="5"/>
                      <a:pt x="25" y="6"/>
                    </a:cubicBezTo>
                    <a:cubicBezTo>
                      <a:pt x="24" y="6"/>
                      <a:pt x="23" y="6"/>
                      <a:pt x="23" y="6"/>
                    </a:cubicBezTo>
                    <a:cubicBezTo>
                      <a:pt x="22" y="6"/>
                      <a:pt x="22" y="5"/>
                      <a:pt x="22" y="5"/>
                    </a:cubicBezTo>
                    <a:cubicBezTo>
                      <a:pt x="20" y="4"/>
                      <a:pt x="19" y="3"/>
                      <a:pt x="18" y="2"/>
                    </a:cubicBezTo>
                    <a:cubicBezTo>
                      <a:pt x="17" y="0"/>
                      <a:pt x="16" y="1"/>
                      <a:pt x="15" y="1"/>
                    </a:cubicBezTo>
                    <a:cubicBezTo>
                      <a:pt x="14" y="0"/>
                      <a:pt x="12" y="2"/>
                      <a:pt x="11" y="2"/>
                    </a:cubicBezTo>
                    <a:cubicBezTo>
                      <a:pt x="10" y="3"/>
                      <a:pt x="10" y="3"/>
                      <a:pt x="9" y="4"/>
                    </a:cubicBezTo>
                    <a:cubicBezTo>
                      <a:pt x="9" y="4"/>
                      <a:pt x="8" y="4"/>
                      <a:pt x="8" y="4"/>
                    </a:cubicBezTo>
                    <a:cubicBezTo>
                      <a:pt x="8" y="4"/>
                      <a:pt x="8" y="3"/>
                      <a:pt x="8" y="3"/>
                    </a:cubicBezTo>
                    <a:cubicBezTo>
                      <a:pt x="7" y="3"/>
                      <a:pt x="6" y="4"/>
                      <a:pt x="6" y="3"/>
                    </a:cubicBezTo>
                    <a:cubicBezTo>
                      <a:pt x="5" y="3"/>
                      <a:pt x="5" y="3"/>
                      <a:pt x="5" y="3"/>
                    </a:cubicBezTo>
                    <a:cubicBezTo>
                      <a:pt x="3" y="3"/>
                      <a:pt x="2" y="4"/>
                      <a:pt x="1" y="4"/>
                    </a:cubicBezTo>
                    <a:cubicBezTo>
                      <a:pt x="1" y="7"/>
                      <a:pt x="0" y="11"/>
                      <a:pt x="2" y="14"/>
                    </a:cubicBezTo>
                    <a:cubicBezTo>
                      <a:pt x="3" y="15"/>
                      <a:pt x="3" y="16"/>
                      <a:pt x="4" y="18"/>
                    </a:cubicBezTo>
                    <a:cubicBezTo>
                      <a:pt x="5" y="19"/>
                      <a:pt x="6" y="19"/>
                      <a:pt x="7" y="21"/>
                    </a:cubicBezTo>
                    <a:cubicBezTo>
                      <a:pt x="7" y="21"/>
                      <a:pt x="8" y="22"/>
                      <a:pt x="8" y="22"/>
                    </a:cubicBezTo>
                    <a:cubicBezTo>
                      <a:pt x="8" y="23"/>
                      <a:pt x="8" y="23"/>
                      <a:pt x="9" y="24"/>
                    </a:cubicBezTo>
                    <a:cubicBezTo>
                      <a:pt x="9" y="25"/>
                      <a:pt x="10" y="26"/>
                      <a:pt x="10" y="27"/>
                    </a:cubicBezTo>
                    <a:cubicBezTo>
                      <a:pt x="11" y="29"/>
                      <a:pt x="12" y="31"/>
                      <a:pt x="13" y="32"/>
                    </a:cubicBezTo>
                    <a:cubicBezTo>
                      <a:pt x="13" y="33"/>
                      <a:pt x="13" y="34"/>
                      <a:pt x="13" y="34"/>
                    </a:cubicBezTo>
                    <a:cubicBezTo>
                      <a:pt x="14" y="35"/>
                      <a:pt x="14" y="35"/>
                      <a:pt x="14" y="36"/>
                    </a:cubicBezTo>
                    <a:cubicBezTo>
                      <a:pt x="16" y="37"/>
                      <a:pt x="15" y="39"/>
                      <a:pt x="16" y="40"/>
                    </a:cubicBezTo>
                    <a:cubicBezTo>
                      <a:pt x="17" y="42"/>
                      <a:pt x="17" y="43"/>
                      <a:pt x="17" y="44"/>
                    </a:cubicBezTo>
                    <a:cubicBezTo>
                      <a:pt x="18" y="46"/>
                      <a:pt x="19" y="47"/>
                      <a:pt x="20" y="49"/>
                    </a:cubicBezTo>
                    <a:cubicBezTo>
                      <a:pt x="20" y="49"/>
                      <a:pt x="21" y="50"/>
                      <a:pt x="21" y="51"/>
                    </a:cubicBezTo>
                    <a:cubicBezTo>
                      <a:pt x="21" y="51"/>
                      <a:pt x="21" y="52"/>
                      <a:pt x="22" y="52"/>
                    </a:cubicBezTo>
                    <a:cubicBezTo>
                      <a:pt x="22" y="53"/>
                      <a:pt x="22" y="53"/>
                      <a:pt x="22" y="54"/>
                    </a:cubicBezTo>
                    <a:cubicBezTo>
                      <a:pt x="23" y="54"/>
                      <a:pt x="23" y="55"/>
                      <a:pt x="24" y="56"/>
                    </a:cubicBezTo>
                    <a:cubicBezTo>
                      <a:pt x="25" y="57"/>
                      <a:pt x="25" y="58"/>
                      <a:pt x="26" y="59"/>
                    </a:cubicBezTo>
                    <a:cubicBezTo>
                      <a:pt x="27" y="60"/>
                      <a:pt x="27" y="62"/>
                      <a:pt x="27" y="63"/>
                    </a:cubicBezTo>
                    <a:cubicBezTo>
                      <a:pt x="27" y="64"/>
                      <a:pt x="28" y="65"/>
                      <a:pt x="28" y="65"/>
                    </a:cubicBezTo>
                    <a:cubicBezTo>
                      <a:pt x="27" y="66"/>
                      <a:pt x="27" y="66"/>
                      <a:pt x="27" y="67"/>
                    </a:cubicBezTo>
                    <a:cubicBezTo>
                      <a:pt x="27" y="67"/>
                      <a:pt x="27" y="66"/>
                      <a:pt x="27" y="66"/>
                    </a:cubicBezTo>
                    <a:cubicBezTo>
                      <a:pt x="25" y="67"/>
                      <a:pt x="28" y="69"/>
                      <a:pt x="27" y="71"/>
                    </a:cubicBezTo>
                    <a:cubicBezTo>
                      <a:pt x="27" y="71"/>
                      <a:pt x="27" y="71"/>
                      <a:pt x="27" y="71"/>
                    </a:cubicBezTo>
                    <a:cubicBezTo>
                      <a:pt x="26" y="72"/>
                      <a:pt x="27" y="72"/>
                      <a:pt x="27" y="73"/>
                    </a:cubicBezTo>
                    <a:cubicBezTo>
                      <a:pt x="27" y="74"/>
                      <a:pt x="27" y="75"/>
                      <a:pt x="27" y="76"/>
                    </a:cubicBezTo>
                    <a:cubicBezTo>
                      <a:pt x="27" y="77"/>
                      <a:pt x="27" y="77"/>
                      <a:pt x="27" y="78"/>
                    </a:cubicBezTo>
                    <a:cubicBezTo>
                      <a:pt x="27" y="78"/>
                      <a:pt x="27" y="79"/>
                      <a:pt x="27" y="79"/>
                    </a:cubicBezTo>
                    <a:cubicBezTo>
                      <a:pt x="27" y="80"/>
                      <a:pt x="27" y="81"/>
                      <a:pt x="28" y="82"/>
                    </a:cubicBezTo>
                    <a:cubicBezTo>
                      <a:pt x="28" y="82"/>
                      <a:pt x="28" y="83"/>
                      <a:pt x="28" y="83"/>
                    </a:cubicBezTo>
                    <a:cubicBezTo>
                      <a:pt x="28" y="84"/>
                      <a:pt x="28" y="84"/>
                      <a:pt x="28" y="84"/>
                    </a:cubicBezTo>
                    <a:cubicBezTo>
                      <a:pt x="28" y="85"/>
                      <a:pt x="29" y="86"/>
                      <a:pt x="29" y="87"/>
                    </a:cubicBezTo>
                    <a:cubicBezTo>
                      <a:pt x="30" y="87"/>
                      <a:pt x="30" y="88"/>
                      <a:pt x="30" y="89"/>
                    </a:cubicBezTo>
                    <a:cubicBezTo>
                      <a:pt x="30" y="90"/>
                      <a:pt x="30" y="90"/>
                      <a:pt x="30" y="91"/>
                    </a:cubicBezTo>
                    <a:cubicBezTo>
                      <a:pt x="30" y="92"/>
                      <a:pt x="30" y="93"/>
                      <a:pt x="30" y="94"/>
                    </a:cubicBezTo>
                    <a:cubicBezTo>
                      <a:pt x="30" y="95"/>
                      <a:pt x="30" y="95"/>
                      <a:pt x="30" y="96"/>
                    </a:cubicBezTo>
                    <a:cubicBezTo>
                      <a:pt x="30" y="97"/>
                      <a:pt x="30" y="98"/>
                      <a:pt x="31" y="98"/>
                    </a:cubicBezTo>
                    <a:cubicBezTo>
                      <a:pt x="31" y="99"/>
                      <a:pt x="31" y="99"/>
                      <a:pt x="31" y="99"/>
                    </a:cubicBezTo>
                    <a:cubicBezTo>
                      <a:pt x="31" y="99"/>
                      <a:pt x="31" y="100"/>
                      <a:pt x="31" y="100"/>
                    </a:cubicBezTo>
                    <a:cubicBezTo>
                      <a:pt x="32" y="101"/>
                      <a:pt x="31" y="101"/>
                      <a:pt x="31" y="102"/>
                    </a:cubicBezTo>
                    <a:cubicBezTo>
                      <a:pt x="31" y="102"/>
                      <a:pt x="31" y="102"/>
                      <a:pt x="31" y="103"/>
                    </a:cubicBezTo>
                    <a:cubicBezTo>
                      <a:pt x="31" y="103"/>
                      <a:pt x="31" y="103"/>
                      <a:pt x="31" y="104"/>
                    </a:cubicBezTo>
                    <a:cubicBezTo>
                      <a:pt x="31" y="104"/>
                      <a:pt x="32" y="104"/>
                      <a:pt x="32" y="104"/>
                    </a:cubicBezTo>
                    <a:cubicBezTo>
                      <a:pt x="33" y="105"/>
                      <a:pt x="33" y="105"/>
                      <a:pt x="33" y="105"/>
                    </a:cubicBezTo>
                    <a:cubicBezTo>
                      <a:pt x="33" y="106"/>
                      <a:pt x="33" y="107"/>
                      <a:pt x="33" y="107"/>
                    </a:cubicBezTo>
                    <a:cubicBezTo>
                      <a:pt x="33" y="107"/>
                      <a:pt x="32" y="107"/>
                      <a:pt x="32" y="108"/>
                    </a:cubicBezTo>
                    <a:cubicBezTo>
                      <a:pt x="33" y="109"/>
                      <a:pt x="33" y="109"/>
                      <a:pt x="33" y="110"/>
                    </a:cubicBezTo>
                    <a:cubicBezTo>
                      <a:pt x="33" y="110"/>
                      <a:pt x="34" y="110"/>
                      <a:pt x="34" y="111"/>
                    </a:cubicBezTo>
                    <a:cubicBezTo>
                      <a:pt x="34" y="111"/>
                      <a:pt x="34" y="112"/>
                      <a:pt x="34" y="112"/>
                    </a:cubicBezTo>
                    <a:cubicBezTo>
                      <a:pt x="34" y="113"/>
                      <a:pt x="34" y="114"/>
                      <a:pt x="34" y="115"/>
                    </a:cubicBezTo>
                    <a:cubicBezTo>
                      <a:pt x="35" y="115"/>
                      <a:pt x="35" y="116"/>
                      <a:pt x="36" y="117"/>
                    </a:cubicBezTo>
                    <a:cubicBezTo>
                      <a:pt x="36" y="118"/>
                      <a:pt x="36" y="118"/>
                      <a:pt x="36" y="119"/>
                    </a:cubicBezTo>
                    <a:cubicBezTo>
                      <a:pt x="37" y="120"/>
                      <a:pt x="38" y="120"/>
                      <a:pt x="38" y="121"/>
                    </a:cubicBezTo>
                    <a:cubicBezTo>
                      <a:pt x="38" y="122"/>
                      <a:pt x="39" y="123"/>
                      <a:pt x="39" y="123"/>
                    </a:cubicBezTo>
                    <a:cubicBezTo>
                      <a:pt x="41" y="124"/>
                      <a:pt x="42" y="126"/>
                      <a:pt x="43" y="127"/>
                    </a:cubicBezTo>
                    <a:cubicBezTo>
                      <a:pt x="43" y="128"/>
                      <a:pt x="44" y="128"/>
                      <a:pt x="45" y="129"/>
                    </a:cubicBezTo>
                    <a:cubicBezTo>
                      <a:pt x="45" y="129"/>
                      <a:pt x="46" y="128"/>
                      <a:pt x="47" y="127"/>
                    </a:cubicBezTo>
                    <a:cubicBezTo>
                      <a:pt x="47" y="127"/>
                      <a:pt x="47" y="128"/>
                      <a:pt x="48" y="127"/>
                    </a:cubicBezTo>
                    <a:cubicBezTo>
                      <a:pt x="48" y="127"/>
                      <a:pt x="48" y="126"/>
                      <a:pt x="48" y="125"/>
                    </a:cubicBezTo>
                    <a:cubicBezTo>
                      <a:pt x="48" y="125"/>
                      <a:pt x="48" y="125"/>
                      <a:pt x="48" y="125"/>
                    </a:cubicBezTo>
                    <a:cubicBezTo>
                      <a:pt x="48" y="125"/>
                      <a:pt x="49" y="124"/>
                      <a:pt x="49" y="124"/>
                    </a:cubicBezTo>
                    <a:cubicBezTo>
                      <a:pt x="49" y="124"/>
                      <a:pt x="49" y="124"/>
                      <a:pt x="49" y="123"/>
                    </a:cubicBezTo>
                    <a:cubicBezTo>
                      <a:pt x="49" y="123"/>
                      <a:pt x="49" y="123"/>
                      <a:pt x="50" y="123"/>
                    </a:cubicBezTo>
                    <a:cubicBezTo>
                      <a:pt x="50" y="122"/>
                      <a:pt x="51" y="122"/>
                      <a:pt x="51" y="123"/>
                    </a:cubicBezTo>
                    <a:cubicBezTo>
                      <a:pt x="52" y="123"/>
                      <a:pt x="52" y="123"/>
                      <a:pt x="52" y="124"/>
                    </a:cubicBezTo>
                    <a:cubicBezTo>
                      <a:pt x="52" y="124"/>
                      <a:pt x="52" y="125"/>
                      <a:pt x="52" y="125"/>
                    </a:cubicBezTo>
                    <a:cubicBezTo>
                      <a:pt x="53" y="125"/>
                      <a:pt x="53" y="124"/>
                      <a:pt x="53" y="125"/>
                    </a:cubicBezTo>
                    <a:cubicBezTo>
                      <a:pt x="54" y="125"/>
                      <a:pt x="54" y="125"/>
                      <a:pt x="54" y="125"/>
                    </a:cubicBezTo>
                    <a:cubicBezTo>
                      <a:pt x="54" y="127"/>
                      <a:pt x="53" y="126"/>
                      <a:pt x="53" y="127"/>
                    </a:cubicBezTo>
                    <a:cubicBezTo>
                      <a:pt x="53" y="128"/>
                      <a:pt x="54" y="128"/>
                      <a:pt x="54" y="129"/>
                    </a:cubicBezTo>
                    <a:cubicBezTo>
                      <a:pt x="54" y="129"/>
                      <a:pt x="53" y="130"/>
                      <a:pt x="54" y="130"/>
                    </a:cubicBezTo>
                    <a:cubicBezTo>
                      <a:pt x="55" y="129"/>
                      <a:pt x="55" y="129"/>
                      <a:pt x="56" y="130"/>
                    </a:cubicBezTo>
                    <a:cubicBezTo>
                      <a:pt x="56" y="131"/>
                      <a:pt x="57" y="130"/>
                      <a:pt x="57" y="130"/>
                    </a:cubicBezTo>
                    <a:cubicBezTo>
                      <a:pt x="57" y="130"/>
                      <a:pt x="58" y="130"/>
                      <a:pt x="58" y="131"/>
                    </a:cubicBezTo>
                    <a:cubicBezTo>
                      <a:pt x="59" y="131"/>
                      <a:pt x="59" y="131"/>
                      <a:pt x="60" y="132"/>
                    </a:cubicBezTo>
                    <a:cubicBezTo>
                      <a:pt x="60" y="132"/>
                      <a:pt x="61" y="132"/>
                      <a:pt x="61" y="132"/>
                    </a:cubicBezTo>
                    <a:cubicBezTo>
                      <a:pt x="63" y="132"/>
                      <a:pt x="64" y="132"/>
                      <a:pt x="65" y="131"/>
                    </a:cubicBezTo>
                    <a:cubicBezTo>
                      <a:pt x="66" y="131"/>
                      <a:pt x="67" y="131"/>
                      <a:pt x="68" y="131"/>
                    </a:cubicBezTo>
                    <a:cubicBezTo>
                      <a:pt x="68" y="132"/>
                      <a:pt x="69" y="132"/>
                      <a:pt x="69" y="132"/>
                    </a:cubicBezTo>
                    <a:cubicBezTo>
                      <a:pt x="70" y="133"/>
                      <a:pt x="71" y="132"/>
                      <a:pt x="71" y="132"/>
                    </a:cubicBezTo>
                    <a:cubicBezTo>
                      <a:pt x="72" y="131"/>
                      <a:pt x="70" y="130"/>
                      <a:pt x="72" y="130"/>
                    </a:cubicBezTo>
                    <a:cubicBezTo>
                      <a:pt x="72" y="130"/>
                      <a:pt x="73" y="130"/>
                      <a:pt x="73" y="129"/>
                    </a:cubicBezTo>
                    <a:cubicBezTo>
                      <a:pt x="73" y="129"/>
                      <a:pt x="74" y="128"/>
                      <a:pt x="74" y="128"/>
                    </a:cubicBezTo>
                    <a:cubicBezTo>
                      <a:pt x="75" y="128"/>
                      <a:pt x="75" y="127"/>
                      <a:pt x="76" y="127"/>
                    </a:cubicBezTo>
                    <a:cubicBezTo>
                      <a:pt x="76" y="127"/>
                      <a:pt x="76" y="127"/>
                      <a:pt x="77" y="127"/>
                    </a:cubicBezTo>
                    <a:cubicBezTo>
                      <a:pt x="78" y="127"/>
                      <a:pt x="78" y="127"/>
                      <a:pt x="78" y="126"/>
                    </a:cubicBezTo>
                    <a:cubicBezTo>
                      <a:pt x="78" y="122"/>
                      <a:pt x="78" y="118"/>
                      <a:pt x="78" y="114"/>
                    </a:cubicBezTo>
                    <a:cubicBezTo>
                      <a:pt x="79" y="106"/>
                      <a:pt x="79" y="98"/>
                      <a:pt x="79" y="89"/>
                    </a:cubicBezTo>
                    <a:cubicBezTo>
                      <a:pt x="79" y="81"/>
                      <a:pt x="79" y="72"/>
                      <a:pt x="79" y="64"/>
                    </a:cubicBezTo>
                    <a:cubicBezTo>
                      <a:pt x="79" y="62"/>
                      <a:pt x="79" y="60"/>
                      <a:pt x="79" y="57"/>
                    </a:cubicBezTo>
                    <a:cubicBezTo>
                      <a:pt x="79" y="57"/>
                      <a:pt x="79" y="56"/>
                      <a:pt x="80" y="56"/>
                    </a:cubicBezTo>
                    <a:cubicBezTo>
                      <a:pt x="80" y="56"/>
                      <a:pt x="81" y="56"/>
                      <a:pt x="81" y="56"/>
                    </a:cubicBezTo>
                    <a:cubicBezTo>
                      <a:pt x="83" y="56"/>
                      <a:pt x="85" y="56"/>
                      <a:pt x="87" y="56"/>
                    </a:cubicBezTo>
                    <a:cubicBezTo>
                      <a:pt x="89" y="56"/>
                      <a:pt x="89" y="55"/>
                      <a:pt x="89" y="53"/>
                    </a:cubicBezTo>
                    <a:cubicBezTo>
                      <a:pt x="89" y="45"/>
                      <a:pt x="89" y="37"/>
                      <a:pt x="89" y="29"/>
                    </a:cubicBezTo>
                    <a:cubicBezTo>
                      <a:pt x="89" y="24"/>
                      <a:pt x="90" y="20"/>
                      <a:pt x="90" y="16"/>
                    </a:cubicBezTo>
                    <a:cubicBezTo>
                      <a:pt x="90" y="15"/>
                      <a:pt x="90" y="16"/>
                      <a:pt x="91" y="15"/>
                    </a:cubicBezTo>
                    <a:cubicBezTo>
                      <a:pt x="92" y="15"/>
                      <a:pt x="93" y="15"/>
                      <a:pt x="94" y="15"/>
                    </a:cubicBezTo>
                    <a:cubicBezTo>
                      <a:pt x="96" y="15"/>
                      <a:pt x="98" y="15"/>
                      <a:pt x="100" y="14"/>
                    </a:cubicBezTo>
                    <a:cubicBezTo>
                      <a:pt x="103" y="13"/>
                      <a:pt x="107" y="13"/>
                      <a:pt x="111" y="12"/>
                    </a:cubicBezTo>
                    <a:cubicBezTo>
                      <a:pt x="112" y="12"/>
                      <a:pt x="112" y="12"/>
                      <a:pt x="112" y="13"/>
                    </a:cubicBezTo>
                    <a:cubicBezTo>
                      <a:pt x="112" y="14"/>
                      <a:pt x="113" y="14"/>
                      <a:pt x="113" y="15"/>
                    </a:cubicBezTo>
                    <a:cubicBezTo>
                      <a:pt x="114" y="15"/>
                      <a:pt x="114" y="16"/>
                      <a:pt x="114" y="16"/>
                    </a:cubicBezTo>
                    <a:cubicBezTo>
                      <a:pt x="114" y="16"/>
                      <a:pt x="114" y="18"/>
                      <a:pt x="115" y="17"/>
                    </a:cubicBezTo>
                    <a:cubicBezTo>
                      <a:pt x="115" y="17"/>
                      <a:pt x="116" y="16"/>
                      <a:pt x="117" y="16"/>
                    </a:cubicBezTo>
                    <a:cubicBezTo>
                      <a:pt x="117" y="15"/>
                      <a:pt x="117" y="15"/>
                      <a:pt x="118" y="14"/>
                    </a:cubicBezTo>
                    <a:cubicBezTo>
                      <a:pt x="119" y="14"/>
                      <a:pt x="119" y="13"/>
                      <a:pt x="120" y="12"/>
                    </a:cubicBezTo>
                    <a:cubicBezTo>
                      <a:pt x="121" y="12"/>
                      <a:pt x="121" y="12"/>
                      <a:pt x="122" y="12"/>
                    </a:cubicBezTo>
                    <a:cubicBezTo>
                      <a:pt x="122" y="11"/>
                      <a:pt x="123" y="12"/>
                      <a:pt x="123" y="12"/>
                    </a:cubicBezTo>
                    <a:cubicBezTo>
                      <a:pt x="123" y="13"/>
                      <a:pt x="124" y="12"/>
                      <a:pt x="124" y="12"/>
                    </a:cubicBezTo>
                    <a:cubicBezTo>
                      <a:pt x="125" y="11"/>
                      <a:pt x="125" y="11"/>
                      <a:pt x="126" y="11"/>
                    </a:cubicBezTo>
                    <a:cubicBezTo>
                      <a:pt x="126" y="10"/>
                      <a:pt x="127" y="10"/>
                      <a:pt x="128" y="10"/>
                    </a:cubicBezTo>
                    <a:cubicBezTo>
                      <a:pt x="128" y="10"/>
                      <a:pt x="129" y="10"/>
                      <a:pt x="129" y="10"/>
                    </a:cubicBezTo>
                    <a:cubicBezTo>
                      <a:pt x="130" y="10"/>
                      <a:pt x="130" y="10"/>
                      <a:pt x="131" y="10"/>
                    </a:cubicBezTo>
                    <a:cubicBezTo>
                      <a:pt x="130" y="9"/>
                      <a:pt x="129" y="9"/>
                      <a:pt x="128" y="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4" name="Myanmar (Burma)">
                <a:extLst>
                  <a:ext uri="{FF2B5EF4-FFF2-40B4-BE49-F238E27FC236}">
                    <a16:creationId xmlns:a16="http://schemas.microsoft.com/office/drawing/2014/main" id="{B514FCD9-180F-3B1B-B9DB-5300E4574E34}"/>
                  </a:ext>
                </a:extLst>
              </p:cNvPr>
              <p:cNvSpPr>
                <a:spLocks noEditPoints="1"/>
              </p:cNvSpPr>
              <p:nvPr/>
            </p:nvSpPr>
            <p:spPr bwMode="auto">
              <a:xfrm>
                <a:off x="8805766" y="2934805"/>
                <a:ext cx="304831" cy="733162"/>
              </a:xfrm>
              <a:custGeom>
                <a:avLst/>
                <a:gdLst/>
                <a:ahLst/>
                <a:cxnLst>
                  <a:cxn ang="0">
                    <a:pos x="65" y="162"/>
                  </a:cxn>
                  <a:cxn ang="0">
                    <a:pos x="60" y="142"/>
                  </a:cxn>
                  <a:cxn ang="0">
                    <a:pos x="71" y="204"/>
                  </a:cxn>
                  <a:cxn ang="0">
                    <a:pos x="83" y="75"/>
                  </a:cxn>
                  <a:cxn ang="0">
                    <a:pos x="71" y="71"/>
                  </a:cxn>
                  <a:cxn ang="0">
                    <a:pos x="67" y="60"/>
                  </a:cxn>
                  <a:cxn ang="0">
                    <a:pos x="60" y="55"/>
                  </a:cxn>
                  <a:cxn ang="0">
                    <a:pos x="50" y="50"/>
                  </a:cxn>
                  <a:cxn ang="0">
                    <a:pos x="46" y="41"/>
                  </a:cxn>
                  <a:cxn ang="0">
                    <a:pos x="52" y="31"/>
                  </a:cxn>
                  <a:cxn ang="0">
                    <a:pos x="53" y="16"/>
                  </a:cxn>
                  <a:cxn ang="0">
                    <a:pos x="47" y="9"/>
                  </a:cxn>
                  <a:cxn ang="0">
                    <a:pos x="39" y="0"/>
                  </a:cxn>
                  <a:cxn ang="0">
                    <a:pos x="35" y="9"/>
                  </a:cxn>
                  <a:cxn ang="0">
                    <a:pos x="31" y="13"/>
                  </a:cxn>
                  <a:cxn ang="0">
                    <a:pos x="19" y="22"/>
                  </a:cxn>
                  <a:cxn ang="0">
                    <a:pos x="18" y="40"/>
                  </a:cxn>
                  <a:cxn ang="0">
                    <a:pos x="10" y="50"/>
                  </a:cxn>
                  <a:cxn ang="0">
                    <a:pos x="7" y="64"/>
                  </a:cxn>
                  <a:cxn ang="0">
                    <a:pos x="4" y="74"/>
                  </a:cxn>
                  <a:cxn ang="0">
                    <a:pos x="5" y="88"/>
                  </a:cxn>
                  <a:cxn ang="0">
                    <a:pos x="10" y="90"/>
                  </a:cxn>
                  <a:cxn ang="0">
                    <a:pos x="12" y="95"/>
                  </a:cxn>
                  <a:cxn ang="0">
                    <a:pos x="16" y="96"/>
                  </a:cxn>
                  <a:cxn ang="0">
                    <a:pos x="20" y="103"/>
                  </a:cxn>
                  <a:cxn ang="0">
                    <a:pos x="25" y="111"/>
                  </a:cxn>
                  <a:cxn ang="0">
                    <a:pos x="28" y="124"/>
                  </a:cxn>
                  <a:cxn ang="0">
                    <a:pos x="28" y="137"/>
                  </a:cxn>
                  <a:cxn ang="0">
                    <a:pos x="32" y="136"/>
                  </a:cxn>
                  <a:cxn ang="0">
                    <a:pos x="33" y="138"/>
                  </a:cxn>
                  <a:cxn ang="0">
                    <a:pos x="37" y="139"/>
                  </a:cxn>
                  <a:cxn ang="0">
                    <a:pos x="41" y="135"/>
                  </a:cxn>
                  <a:cxn ang="0">
                    <a:pos x="45" y="129"/>
                  </a:cxn>
                  <a:cxn ang="0">
                    <a:pos x="50" y="121"/>
                  </a:cxn>
                  <a:cxn ang="0">
                    <a:pos x="56" y="132"/>
                  </a:cxn>
                  <a:cxn ang="0">
                    <a:pos x="62" y="146"/>
                  </a:cxn>
                  <a:cxn ang="0">
                    <a:pos x="66" y="157"/>
                  </a:cxn>
                  <a:cxn ang="0">
                    <a:pos x="68" y="162"/>
                  </a:cxn>
                  <a:cxn ang="0">
                    <a:pos x="73" y="173"/>
                  </a:cxn>
                  <a:cxn ang="0">
                    <a:pos x="74" y="180"/>
                  </a:cxn>
                  <a:cxn ang="0">
                    <a:pos x="73" y="183"/>
                  </a:cxn>
                  <a:cxn ang="0">
                    <a:pos x="75" y="188"/>
                  </a:cxn>
                  <a:cxn ang="0">
                    <a:pos x="73" y="196"/>
                  </a:cxn>
                  <a:cxn ang="0">
                    <a:pos x="80" y="191"/>
                  </a:cxn>
                  <a:cxn ang="0">
                    <a:pos x="82" y="180"/>
                  </a:cxn>
                  <a:cxn ang="0">
                    <a:pos x="78" y="167"/>
                  </a:cxn>
                  <a:cxn ang="0">
                    <a:pos x="67" y="149"/>
                  </a:cxn>
                  <a:cxn ang="0">
                    <a:pos x="69" y="137"/>
                  </a:cxn>
                  <a:cxn ang="0">
                    <a:pos x="67" y="128"/>
                  </a:cxn>
                  <a:cxn ang="0">
                    <a:pos x="55" y="112"/>
                  </a:cxn>
                  <a:cxn ang="0">
                    <a:pos x="57" y="99"/>
                  </a:cxn>
                  <a:cxn ang="0">
                    <a:pos x="70" y="93"/>
                  </a:cxn>
                  <a:cxn ang="0">
                    <a:pos x="80" y="83"/>
                  </a:cxn>
                  <a:cxn ang="0">
                    <a:pos x="68" y="184"/>
                  </a:cxn>
                  <a:cxn ang="0">
                    <a:pos x="73" y="194"/>
                  </a:cxn>
                  <a:cxn ang="0">
                    <a:pos x="69" y="187"/>
                  </a:cxn>
                  <a:cxn ang="0">
                    <a:pos x="69" y="175"/>
                  </a:cxn>
                  <a:cxn ang="0">
                    <a:pos x="70" y="174"/>
                  </a:cxn>
                  <a:cxn ang="0">
                    <a:pos x="64" y="183"/>
                  </a:cxn>
                  <a:cxn ang="0">
                    <a:pos x="73" y="191"/>
                  </a:cxn>
                  <a:cxn ang="0">
                    <a:pos x="19" y="106"/>
                  </a:cxn>
                  <a:cxn ang="0">
                    <a:pos x="67" y="178"/>
                  </a:cxn>
                  <a:cxn ang="0">
                    <a:pos x="20" y="106"/>
                  </a:cxn>
                </a:cxnLst>
                <a:rect l="0" t="0" r="r" b="b"/>
                <a:pathLst>
                  <a:path w="86" h="207">
                    <a:moveTo>
                      <a:pt x="73" y="206"/>
                    </a:moveTo>
                    <a:cubicBezTo>
                      <a:pt x="73" y="206"/>
                      <a:pt x="73" y="207"/>
                      <a:pt x="73" y="206"/>
                    </a:cubicBezTo>
                    <a:cubicBezTo>
                      <a:pt x="73" y="206"/>
                      <a:pt x="73" y="206"/>
                      <a:pt x="73" y="206"/>
                    </a:cubicBezTo>
                    <a:close/>
                    <a:moveTo>
                      <a:pt x="65" y="160"/>
                    </a:moveTo>
                    <a:cubicBezTo>
                      <a:pt x="65" y="160"/>
                      <a:pt x="65" y="160"/>
                      <a:pt x="65" y="160"/>
                    </a:cubicBezTo>
                    <a:cubicBezTo>
                      <a:pt x="65" y="160"/>
                      <a:pt x="64" y="160"/>
                      <a:pt x="65" y="160"/>
                    </a:cubicBezTo>
                    <a:close/>
                    <a:moveTo>
                      <a:pt x="70" y="182"/>
                    </a:moveTo>
                    <a:cubicBezTo>
                      <a:pt x="70" y="182"/>
                      <a:pt x="70" y="182"/>
                      <a:pt x="70" y="182"/>
                    </a:cubicBezTo>
                    <a:cubicBezTo>
                      <a:pt x="70" y="182"/>
                      <a:pt x="70" y="182"/>
                      <a:pt x="70" y="182"/>
                    </a:cubicBezTo>
                    <a:cubicBezTo>
                      <a:pt x="69" y="182"/>
                      <a:pt x="70" y="182"/>
                      <a:pt x="70" y="182"/>
                    </a:cubicBezTo>
                    <a:close/>
                    <a:moveTo>
                      <a:pt x="65" y="162"/>
                    </a:moveTo>
                    <a:cubicBezTo>
                      <a:pt x="65" y="161"/>
                      <a:pt x="65" y="161"/>
                      <a:pt x="65" y="161"/>
                    </a:cubicBezTo>
                    <a:cubicBezTo>
                      <a:pt x="65" y="161"/>
                      <a:pt x="65" y="162"/>
                      <a:pt x="65" y="162"/>
                    </a:cubicBezTo>
                    <a:close/>
                    <a:moveTo>
                      <a:pt x="65" y="173"/>
                    </a:moveTo>
                    <a:cubicBezTo>
                      <a:pt x="66" y="173"/>
                      <a:pt x="65" y="172"/>
                      <a:pt x="65" y="173"/>
                    </a:cubicBezTo>
                    <a:close/>
                    <a:moveTo>
                      <a:pt x="65" y="175"/>
                    </a:moveTo>
                    <a:cubicBezTo>
                      <a:pt x="65" y="175"/>
                      <a:pt x="65" y="175"/>
                      <a:pt x="65" y="175"/>
                    </a:cubicBezTo>
                    <a:cubicBezTo>
                      <a:pt x="66" y="175"/>
                      <a:pt x="65" y="175"/>
                      <a:pt x="65" y="175"/>
                    </a:cubicBezTo>
                    <a:close/>
                    <a:moveTo>
                      <a:pt x="60" y="142"/>
                    </a:moveTo>
                    <a:cubicBezTo>
                      <a:pt x="60" y="142"/>
                      <a:pt x="60" y="143"/>
                      <a:pt x="60" y="143"/>
                    </a:cubicBezTo>
                    <a:cubicBezTo>
                      <a:pt x="60" y="143"/>
                      <a:pt x="60" y="142"/>
                      <a:pt x="60" y="142"/>
                    </a:cubicBezTo>
                    <a:cubicBezTo>
                      <a:pt x="60" y="142"/>
                      <a:pt x="60" y="142"/>
                      <a:pt x="60" y="142"/>
                    </a:cubicBezTo>
                    <a:close/>
                    <a:moveTo>
                      <a:pt x="70" y="190"/>
                    </a:moveTo>
                    <a:cubicBezTo>
                      <a:pt x="71" y="190"/>
                      <a:pt x="71" y="189"/>
                      <a:pt x="70" y="189"/>
                    </a:cubicBezTo>
                    <a:cubicBezTo>
                      <a:pt x="70" y="190"/>
                      <a:pt x="70" y="190"/>
                      <a:pt x="70" y="190"/>
                    </a:cubicBezTo>
                    <a:close/>
                    <a:moveTo>
                      <a:pt x="72" y="193"/>
                    </a:moveTo>
                    <a:cubicBezTo>
                      <a:pt x="73" y="193"/>
                      <a:pt x="72" y="192"/>
                      <a:pt x="72" y="193"/>
                    </a:cubicBezTo>
                    <a:close/>
                    <a:moveTo>
                      <a:pt x="62" y="184"/>
                    </a:moveTo>
                    <a:cubicBezTo>
                      <a:pt x="62" y="184"/>
                      <a:pt x="62" y="184"/>
                      <a:pt x="62" y="184"/>
                    </a:cubicBezTo>
                    <a:cubicBezTo>
                      <a:pt x="62" y="184"/>
                      <a:pt x="62" y="184"/>
                      <a:pt x="62" y="184"/>
                    </a:cubicBezTo>
                    <a:cubicBezTo>
                      <a:pt x="62" y="184"/>
                      <a:pt x="62" y="184"/>
                      <a:pt x="62" y="184"/>
                    </a:cubicBezTo>
                    <a:close/>
                    <a:moveTo>
                      <a:pt x="70" y="205"/>
                    </a:moveTo>
                    <a:cubicBezTo>
                      <a:pt x="70" y="205"/>
                      <a:pt x="70" y="204"/>
                      <a:pt x="71" y="204"/>
                    </a:cubicBezTo>
                    <a:cubicBezTo>
                      <a:pt x="71" y="204"/>
                      <a:pt x="71" y="204"/>
                      <a:pt x="71" y="204"/>
                    </a:cubicBezTo>
                    <a:cubicBezTo>
                      <a:pt x="71" y="204"/>
                      <a:pt x="71" y="203"/>
                      <a:pt x="72" y="203"/>
                    </a:cubicBezTo>
                    <a:cubicBezTo>
                      <a:pt x="71" y="202"/>
                      <a:pt x="69" y="204"/>
                      <a:pt x="70" y="205"/>
                    </a:cubicBezTo>
                    <a:close/>
                    <a:moveTo>
                      <a:pt x="71" y="201"/>
                    </a:moveTo>
                    <a:cubicBezTo>
                      <a:pt x="70" y="201"/>
                      <a:pt x="71" y="203"/>
                      <a:pt x="71" y="203"/>
                    </a:cubicBezTo>
                    <a:cubicBezTo>
                      <a:pt x="71" y="203"/>
                      <a:pt x="71" y="201"/>
                      <a:pt x="71" y="201"/>
                    </a:cubicBezTo>
                    <a:close/>
                    <a:moveTo>
                      <a:pt x="82" y="79"/>
                    </a:moveTo>
                    <a:cubicBezTo>
                      <a:pt x="83" y="79"/>
                      <a:pt x="83" y="79"/>
                      <a:pt x="83" y="79"/>
                    </a:cubicBezTo>
                    <a:cubicBezTo>
                      <a:pt x="84" y="78"/>
                      <a:pt x="84" y="78"/>
                      <a:pt x="85" y="77"/>
                    </a:cubicBezTo>
                    <a:cubicBezTo>
                      <a:pt x="86" y="76"/>
                      <a:pt x="85" y="75"/>
                      <a:pt x="85" y="74"/>
                    </a:cubicBezTo>
                    <a:cubicBezTo>
                      <a:pt x="85" y="74"/>
                      <a:pt x="84" y="74"/>
                      <a:pt x="83" y="75"/>
                    </a:cubicBezTo>
                    <a:cubicBezTo>
                      <a:pt x="82" y="75"/>
                      <a:pt x="82" y="76"/>
                      <a:pt x="82" y="76"/>
                    </a:cubicBezTo>
                    <a:cubicBezTo>
                      <a:pt x="81" y="77"/>
                      <a:pt x="80" y="78"/>
                      <a:pt x="79" y="77"/>
                    </a:cubicBezTo>
                    <a:cubicBezTo>
                      <a:pt x="78" y="76"/>
                      <a:pt x="77" y="78"/>
                      <a:pt x="76" y="77"/>
                    </a:cubicBezTo>
                    <a:cubicBezTo>
                      <a:pt x="75" y="77"/>
                      <a:pt x="75" y="76"/>
                      <a:pt x="76" y="75"/>
                    </a:cubicBezTo>
                    <a:cubicBezTo>
                      <a:pt x="76" y="75"/>
                      <a:pt x="75" y="75"/>
                      <a:pt x="75" y="75"/>
                    </a:cubicBezTo>
                    <a:cubicBezTo>
                      <a:pt x="74" y="75"/>
                      <a:pt x="74" y="74"/>
                      <a:pt x="73" y="74"/>
                    </a:cubicBezTo>
                    <a:cubicBezTo>
                      <a:pt x="73" y="73"/>
                      <a:pt x="74" y="72"/>
                      <a:pt x="74" y="72"/>
                    </a:cubicBezTo>
                    <a:cubicBezTo>
                      <a:pt x="74" y="71"/>
                      <a:pt x="73" y="71"/>
                      <a:pt x="73" y="71"/>
                    </a:cubicBezTo>
                    <a:cubicBezTo>
                      <a:pt x="73" y="71"/>
                      <a:pt x="72" y="71"/>
                      <a:pt x="72" y="71"/>
                    </a:cubicBezTo>
                    <a:cubicBezTo>
                      <a:pt x="72" y="71"/>
                      <a:pt x="71" y="71"/>
                      <a:pt x="71" y="71"/>
                    </a:cubicBezTo>
                    <a:cubicBezTo>
                      <a:pt x="71" y="71"/>
                      <a:pt x="71" y="71"/>
                      <a:pt x="71" y="71"/>
                    </a:cubicBezTo>
                    <a:cubicBezTo>
                      <a:pt x="70" y="70"/>
                      <a:pt x="69" y="70"/>
                      <a:pt x="69" y="70"/>
                    </a:cubicBezTo>
                    <a:cubicBezTo>
                      <a:pt x="68" y="70"/>
                      <a:pt x="68" y="70"/>
                      <a:pt x="68" y="70"/>
                    </a:cubicBezTo>
                    <a:cubicBezTo>
                      <a:pt x="68" y="70"/>
                      <a:pt x="67" y="70"/>
                      <a:pt x="67" y="70"/>
                    </a:cubicBezTo>
                    <a:cubicBezTo>
                      <a:pt x="67" y="70"/>
                      <a:pt x="65" y="70"/>
                      <a:pt x="66" y="70"/>
                    </a:cubicBezTo>
                    <a:cubicBezTo>
                      <a:pt x="66" y="69"/>
                      <a:pt x="66" y="68"/>
                      <a:pt x="66" y="67"/>
                    </a:cubicBezTo>
                    <a:cubicBezTo>
                      <a:pt x="66" y="67"/>
                      <a:pt x="67" y="66"/>
                      <a:pt x="67" y="66"/>
                    </a:cubicBezTo>
                    <a:cubicBezTo>
                      <a:pt x="67" y="65"/>
                      <a:pt x="67" y="64"/>
                      <a:pt x="66" y="64"/>
                    </a:cubicBezTo>
                    <a:cubicBezTo>
                      <a:pt x="66" y="63"/>
                      <a:pt x="66" y="63"/>
                      <a:pt x="67" y="62"/>
                    </a:cubicBezTo>
                    <a:cubicBezTo>
                      <a:pt x="67" y="62"/>
                      <a:pt x="67" y="61"/>
                      <a:pt x="67" y="61"/>
                    </a:cubicBezTo>
                    <a:cubicBezTo>
                      <a:pt x="67" y="61"/>
                      <a:pt x="68" y="62"/>
                      <a:pt x="68" y="61"/>
                    </a:cubicBezTo>
                    <a:cubicBezTo>
                      <a:pt x="68" y="61"/>
                      <a:pt x="67" y="60"/>
                      <a:pt x="67" y="60"/>
                    </a:cubicBezTo>
                    <a:cubicBezTo>
                      <a:pt x="67" y="60"/>
                      <a:pt x="67" y="60"/>
                      <a:pt x="66" y="60"/>
                    </a:cubicBezTo>
                    <a:cubicBezTo>
                      <a:pt x="66" y="59"/>
                      <a:pt x="66" y="59"/>
                      <a:pt x="66" y="59"/>
                    </a:cubicBezTo>
                    <a:cubicBezTo>
                      <a:pt x="65" y="59"/>
                      <a:pt x="65" y="60"/>
                      <a:pt x="65" y="60"/>
                    </a:cubicBezTo>
                    <a:cubicBezTo>
                      <a:pt x="65" y="60"/>
                      <a:pt x="65" y="59"/>
                      <a:pt x="64" y="59"/>
                    </a:cubicBezTo>
                    <a:cubicBezTo>
                      <a:pt x="64" y="59"/>
                      <a:pt x="64" y="59"/>
                      <a:pt x="63" y="59"/>
                    </a:cubicBezTo>
                    <a:cubicBezTo>
                      <a:pt x="63" y="59"/>
                      <a:pt x="63" y="59"/>
                      <a:pt x="62" y="59"/>
                    </a:cubicBezTo>
                    <a:cubicBezTo>
                      <a:pt x="62" y="59"/>
                      <a:pt x="61" y="59"/>
                      <a:pt x="61" y="58"/>
                    </a:cubicBezTo>
                    <a:cubicBezTo>
                      <a:pt x="61" y="58"/>
                      <a:pt x="62" y="57"/>
                      <a:pt x="61" y="57"/>
                    </a:cubicBezTo>
                    <a:cubicBezTo>
                      <a:pt x="61" y="57"/>
                      <a:pt x="61" y="57"/>
                      <a:pt x="61" y="57"/>
                    </a:cubicBezTo>
                    <a:cubicBezTo>
                      <a:pt x="61" y="56"/>
                      <a:pt x="61" y="56"/>
                      <a:pt x="61" y="55"/>
                    </a:cubicBezTo>
                    <a:cubicBezTo>
                      <a:pt x="61" y="55"/>
                      <a:pt x="60" y="55"/>
                      <a:pt x="60" y="55"/>
                    </a:cubicBezTo>
                    <a:cubicBezTo>
                      <a:pt x="60" y="54"/>
                      <a:pt x="61" y="54"/>
                      <a:pt x="60" y="53"/>
                    </a:cubicBezTo>
                    <a:cubicBezTo>
                      <a:pt x="60" y="53"/>
                      <a:pt x="60" y="52"/>
                      <a:pt x="59" y="52"/>
                    </a:cubicBezTo>
                    <a:cubicBezTo>
                      <a:pt x="59" y="52"/>
                      <a:pt x="58" y="52"/>
                      <a:pt x="58" y="52"/>
                    </a:cubicBezTo>
                    <a:cubicBezTo>
                      <a:pt x="58" y="51"/>
                      <a:pt x="58" y="51"/>
                      <a:pt x="58" y="51"/>
                    </a:cubicBezTo>
                    <a:cubicBezTo>
                      <a:pt x="58" y="50"/>
                      <a:pt x="58" y="50"/>
                      <a:pt x="58" y="50"/>
                    </a:cubicBezTo>
                    <a:cubicBezTo>
                      <a:pt x="59" y="50"/>
                      <a:pt x="60" y="48"/>
                      <a:pt x="60" y="48"/>
                    </a:cubicBezTo>
                    <a:cubicBezTo>
                      <a:pt x="59" y="48"/>
                      <a:pt x="59" y="48"/>
                      <a:pt x="58" y="48"/>
                    </a:cubicBezTo>
                    <a:cubicBezTo>
                      <a:pt x="58" y="48"/>
                      <a:pt x="57" y="49"/>
                      <a:pt x="57" y="49"/>
                    </a:cubicBezTo>
                    <a:cubicBezTo>
                      <a:pt x="56" y="49"/>
                      <a:pt x="56" y="48"/>
                      <a:pt x="56" y="48"/>
                    </a:cubicBezTo>
                    <a:cubicBezTo>
                      <a:pt x="55" y="48"/>
                      <a:pt x="54" y="48"/>
                      <a:pt x="54" y="48"/>
                    </a:cubicBezTo>
                    <a:cubicBezTo>
                      <a:pt x="53" y="48"/>
                      <a:pt x="51" y="49"/>
                      <a:pt x="50" y="50"/>
                    </a:cubicBezTo>
                    <a:cubicBezTo>
                      <a:pt x="50" y="50"/>
                      <a:pt x="49" y="50"/>
                      <a:pt x="49" y="50"/>
                    </a:cubicBezTo>
                    <a:cubicBezTo>
                      <a:pt x="49" y="51"/>
                      <a:pt x="49" y="51"/>
                      <a:pt x="48" y="51"/>
                    </a:cubicBezTo>
                    <a:cubicBezTo>
                      <a:pt x="48" y="51"/>
                      <a:pt x="47" y="51"/>
                      <a:pt x="47" y="50"/>
                    </a:cubicBezTo>
                    <a:cubicBezTo>
                      <a:pt x="47" y="50"/>
                      <a:pt x="48" y="49"/>
                      <a:pt x="48" y="49"/>
                    </a:cubicBezTo>
                    <a:cubicBezTo>
                      <a:pt x="49" y="48"/>
                      <a:pt x="49" y="48"/>
                      <a:pt x="49" y="48"/>
                    </a:cubicBezTo>
                    <a:cubicBezTo>
                      <a:pt x="49" y="47"/>
                      <a:pt x="48" y="47"/>
                      <a:pt x="49" y="47"/>
                    </a:cubicBezTo>
                    <a:cubicBezTo>
                      <a:pt x="49" y="46"/>
                      <a:pt x="48" y="46"/>
                      <a:pt x="48" y="46"/>
                    </a:cubicBezTo>
                    <a:cubicBezTo>
                      <a:pt x="47" y="46"/>
                      <a:pt x="48" y="45"/>
                      <a:pt x="48" y="45"/>
                    </a:cubicBezTo>
                    <a:cubicBezTo>
                      <a:pt x="48" y="45"/>
                      <a:pt x="47" y="45"/>
                      <a:pt x="47" y="45"/>
                    </a:cubicBezTo>
                    <a:cubicBezTo>
                      <a:pt x="46" y="45"/>
                      <a:pt x="46" y="43"/>
                      <a:pt x="46" y="43"/>
                    </a:cubicBezTo>
                    <a:cubicBezTo>
                      <a:pt x="46" y="42"/>
                      <a:pt x="46" y="42"/>
                      <a:pt x="46" y="41"/>
                    </a:cubicBezTo>
                    <a:cubicBezTo>
                      <a:pt x="46" y="41"/>
                      <a:pt x="48" y="40"/>
                      <a:pt x="48" y="40"/>
                    </a:cubicBezTo>
                    <a:cubicBezTo>
                      <a:pt x="48" y="40"/>
                      <a:pt x="47" y="39"/>
                      <a:pt x="47" y="39"/>
                    </a:cubicBezTo>
                    <a:cubicBezTo>
                      <a:pt x="47" y="38"/>
                      <a:pt x="47" y="38"/>
                      <a:pt x="47" y="37"/>
                    </a:cubicBezTo>
                    <a:cubicBezTo>
                      <a:pt x="48" y="37"/>
                      <a:pt x="47" y="36"/>
                      <a:pt x="48" y="36"/>
                    </a:cubicBezTo>
                    <a:cubicBezTo>
                      <a:pt x="48" y="35"/>
                      <a:pt x="48" y="36"/>
                      <a:pt x="49" y="36"/>
                    </a:cubicBezTo>
                    <a:cubicBezTo>
                      <a:pt x="49" y="36"/>
                      <a:pt x="49" y="36"/>
                      <a:pt x="49" y="35"/>
                    </a:cubicBezTo>
                    <a:cubicBezTo>
                      <a:pt x="50" y="35"/>
                      <a:pt x="50" y="35"/>
                      <a:pt x="50" y="35"/>
                    </a:cubicBezTo>
                    <a:cubicBezTo>
                      <a:pt x="50" y="34"/>
                      <a:pt x="50" y="33"/>
                      <a:pt x="50" y="33"/>
                    </a:cubicBezTo>
                    <a:cubicBezTo>
                      <a:pt x="50" y="33"/>
                      <a:pt x="50" y="32"/>
                      <a:pt x="50" y="32"/>
                    </a:cubicBezTo>
                    <a:cubicBezTo>
                      <a:pt x="50" y="32"/>
                      <a:pt x="52" y="33"/>
                      <a:pt x="52" y="32"/>
                    </a:cubicBezTo>
                    <a:cubicBezTo>
                      <a:pt x="52" y="32"/>
                      <a:pt x="52" y="32"/>
                      <a:pt x="52" y="31"/>
                    </a:cubicBezTo>
                    <a:cubicBezTo>
                      <a:pt x="52" y="31"/>
                      <a:pt x="52" y="31"/>
                      <a:pt x="53" y="31"/>
                    </a:cubicBezTo>
                    <a:cubicBezTo>
                      <a:pt x="53" y="30"/>
                      <a:pt x="53" y="29"/>
                      <a:pt x="54" y="29"/>
                    </a:cubicBezTo>
                    <a:cubicBezTo>
                      <a:pt x="54" y="30"/>
                      <a:pt x="55" y="30"/>
                      <a:pt x="55" y="29"/>
                    </a:cubicBezTo>
                    <a:cubicBezTo>
                      <a:pt x="55" y="28"/>
                      <a:pt x="53" y="28"/>
                      <a:pt x="53" y="26"/>
                    </a:cubicBezTo>
                    <a:cubicBezTo>
                      <a:pt x="53" y="25"/>
                      <a:pt x="54" y="26"/>
                      <a:pt x="54" y="26"/>
                    </a:cubicBezTo>
                    <a:cubicBezTo>
                      <a:pt x="54" y="27"/>
                      <a:pt x="54" y="25"/>
                      <a:pt x="54" y="25"/>
                    </a:cubicBezTo>
                    <a:cubicBezTo>
                      <a:pt x="54" y="25"/>
                      <a:pt x="53" y="25"/>
                      <a:pt x="54" y="24"/>
                    </a:cubicBezTo>
                    <a:cubicBezTo>
                      <a:pt x="54" y="23"/>
                      <a:pt x="54" y="23"/>
                      <a:pt x="54" y="22"/>
                    </a:cubicBezTo>
                    <a:cubicBezTo>
                      <a:pt x="54" y="21"/>
                      <a:pt x="54" y="20"/>
                      <a:pt x="53" y="19"/>
                    </a:cubicBezTo>
                    <a:cubicBezTo>
                      <a:pt x="53" y="19"/>
                      <a:pt x="53" y="18"/>
                      <a:pt x="53" y="18"/>
                    </a:cubicBezTo>
                    <a:cubicBezTo>
                      <a:pt x="53" y="17"/>
                      <a:pt x="53" y="17"/>
                      <a:pt x="53" y="16"/>
                    </a:cubicBezTo>
                    <a:cubicBezTo>
                      <a:pt x="53" y="16"/>
                      <a:pt x="53" y="16"/>
                      <a:pt x="52" y="16"/>
                    </a:cubicBezTo>
                    <a:cubicBezTo>
                      <a:pt x="52" y="15"/>
                      <a:pt x="52" y="15"/>
                      <a:pt x="52" y="15"/>
                    </a:cubicBezTo>
                    <a:cubicBezTo>
                      <a:pt x="52" y="14"/>
                      <a:pt x="52" y="14"/>
                      <a:pt x="52" y="14"/>
                    </a:cubicBezTo>
                    <a:cubicBezTo>
                      <a:pt x="52" y="13"/>
                      <a:pt x="52" y="13"/>
                      <a:pt x="52" y="12"/>
                    </a:cubicBezTo>
                    <a:cubicBezTo>
                      <a:pt x="51" y="12"/>
                      <a:pt x="51" y="11"/>
                      <a:pt x="51" y="11"/>
                    </a:cubicBezTo>
                    <a:cubicBezTo>
                      <a:pt x="51" y="10"/>
                      <a:pt x="51" y="10"/>
                      <a:pt x="51" y="10"/>
                    </a:cubicBezTo>
                    <a:cubicBezTo>
                      <a:pt x="50" y="10"/>
                      <a:pt x="50" y="10"/>
                      <a:pt x="50" y="10"/>
                    </a:cubicBezTo>
                    <a:cubicBezTo>
                      <a:pt x="50" y="10"/>
                      <a:pt x="50" y="9"/>
                      <a:pt x="49" y="9"/>
                    </a:cubicBezTo>
                    <a:cubicBezTo>
                      <a:pt x="48" y="9"/>
                      <a:pt x="48" y="9"/>
                      <a:pt x="48" y="10"/>
                    </a:cubicBezTo>
                    <a:cubicBezTo>
                      <a:pt x="49" y="10"/>
                      <a:pt x="48" y="11"/>
                      <a:pt x="47" y="11"/>
                    </a:cubicBezTo>
                    <a:cubicBezTo>
                      <a:pt x="47" y="10"/>
                      <a:pt x="47" y="9"/>
                      <a:pt x="47" y="9"/>
                    </a:cubicBezTo>
                    <a:cubicBezTo>
                      <a:pt x="46" y="8"/>
                      <a:pt x="46" y="8"/>
                      <a:pt x="46" y="7"/>
                    </a:cubicBezTo>
                    <a:cubicBezTo>
                      <a:pt x="46" y="7"/>
                      <a:pt x="45" y="7"/>
                      <a:pt x="45" y="7"/>
                    </a:cubicBezTo>
                    <a:cubicBezTo>
                      <a:pt x="45" y="7"/>
                      <a:pt x="46" y="6"/>
                      <a:pt x="45" y="6"/>
                    </a:cubicBezTo>
                    <a:cubicBezTo>
                      <a:pt x="45" y="6"/>
                      <a:pt x="45" y="6"/>
                      <a:pt x="45" y="6"/>
                    </a:cubicBezTo>
                    <a:cubicBezTo>
                      <a:pt x="45" y="6"/>
                      <a:pt x="45" y="5"/>
                      <a:pt x="45" y="5"/>
                    </a:cubicBezTo>
                    <a:cubicBezTo>
                      <a:pt x="45" y="4"/>
                      <a:pt x="45" y="4"/>
                      <a:pt x="44" y="4"/>
                    </a:cubicBezTo>
                    <a:cubicBezTo>
                      <a:pt x="44" y="3"/>
                      <a:pt x="44" y="3"/>
                      <a:pt x="43" y="3"/>
                    </a:cubicBezTo>
                    <a:cubicBezTo>
                      <a:pt x="43" y="3"/>
                      <a:pt x="43" y="3"/>
                      <a:pt x="43" y="3"/>
                    </a:cubicBezTo>
                    <a:cubicBezTo>
                      <a:pt x="43" y="2"/>
                      <a:pt x="42" y="2"/>
                      <a:pt x="42" y="1"/>
                    </a:cubicBezTo>
                    <a:cubicBezTo>
                      <a:pt x="41" y="1"/>
                      <a:pt x="41" y="2"/>
                      <a:pt x="41" y="2"/>
                    </a:cubicBezTo>
                    <a:cubicBezTo>
                      <a:pt x="40" y="1"/>
                      <a:pt x="40" y="0"/>
                      <a:pt x="39" y="0"/>
                    </a:cubicBezTo>
                    <a:cubicBezTo>
                      <a:pt x="39" y="0"/>
                      <a:pt x="39" y="0"/>
                      <a:pt x="39" y="0"/>
                    </a:cubicBezTo>
                    <a:cubicBezTo>
                      <a:pt x="38" y="0"/>
                      <a:pt x="39" y="0"/>
                      <a:pt x="38" y="0"/>
                    </a:cubicBezTo>
                    <a:cubicBezTo>
                      <a:pt x="38" y="0"/>
                      <a:pt x="38" y="1"/>
                      <a:pt x="38" y="1"/>
                    </a:cubicBezTo>
                    <a:cubicBezTo>
                      <a:pt x="38" y="1"/>
                      <a:pt x="38" y="2"/>
                      <a:pt x="38" y="2"/>
                    </a:cubicBezTo>
                    <a:cubicBezTo>
                      <a:pt x="37" y="2"/>
                      <a:pt x="37" y="3"/>
                      <a:pt x="37" y="3"/>
                    </a:cubicBezTo>
                    <a:cubicBezTo>
                      <a:pt x="37" y="3"/>
                      <a:pt x="37" y="4"/>
                      <a:pt x="37" y="5"/>
                    </a:cubicBezTo>
                    <a:cubicBezTo>
                      <a:pt x="37" y="5"/>
                      <a:pt x="38" y="5"/>
                      <a:pt x="38" y="5"/>
                    </a:cubicBezTo>
                    <a:cubicBezTo>
                      <a:pt x="38" y="6"/>
                      <a:pt x="38" y="7"/>
                      <a:pt x="37" y="7"/>
                    </a:cubicBezTo>
                    <a:cubicBezTo>
                      <a:pt x="37" y="7"/>
                      <a:pt x="37" y="7"/>
                      <a:pt x="37" y="7"/>
                    </a:cubicBezTo>
                    <a:cubicBezTo>
                      <a:pt x="37" y="6"/>
                      <a:pt x="36" y="7"/>
                      <a:pt x="36" y="7"/>
                    </a:cubicBezTo>
                    <a:cubicBezTo>
                      <a:pt x="36" y="8"/>
                      <a:pt x="35" y="8"/>
                      <a:pt x="35" y="9"/>
                    </a:cubicBezTo>
                    <a:cubicBezTo>
                      <a:pt x="34" y="9"/>
                      <a:pt x="34" y="9"/>
                      <a:pt x="34" y="10"/>
                    </a:cubicBezTo>
                    <a:cubicBezTo>
                      <a:pt x="34" y="10"/>
                      <a:pt x="34" y="11"/>
                      <a:pt x="34" y="11"/>
                    </a:cubicBezTo>
                    <a:cubicBezTo>
                      <a:pt x="35" y="12"/>
                      <a:pt x="35" y="13"/>
                      <a:pt x="36" y="13"/>
                    </a:cubicBezTo>
                    <a:cubicBezTo>
                      <a:pt x="36" y="14"/>
                      <a:pt x="38" y="15"/>
                      <a:pt x="37" y="16"/>
                    </a:cubicBezTo>
                    <a:cubicBezTo>
                      <a:pt x="37" y="16"/>
                      <a:pt x="36" y="15"/>
                      <a:pt x="35" y="15"/>
                    </a:cubicBezTo>
                    <a:cubicBezTo>
                      <a:pt x="35" y="15"/>
                      <a:pt x="35" y="14"/>
                      <a:pt x="35" y="14"/>
                    </a:cubicBezTo>
                    <a:cubicBezTo>
                      <a:pt x="35" y="14"/>
                      <a:pt x="34" y="13"/>
                      <a:pt x="34" y="13"/>
                    </a:cubicBezTo>
                    <a:cubicBezTo>
                      <a:pt x="34" y="13"/>
                      <a:pt x="33" y="13"/>
                      <a:pt x="33" y="13"/>
                    </a:cubicBezTo>
                    <a:cubicBezTo>
                      <a:pt x="33" y="12"/>
                      <a:pt x="33" y="13"/>
                      <a:pt x="32" y="13"/>
                    </a:cubicBezTo>
                    <a:cubicBezTo>
                      <a:pt x="32" y="13"/>
                      <a:pt x="32" y="12"/>
                      <a:pt x="32" y="13"/>
                    </a:cubicBezTo>
                    <a:cubicBezTo>
                      <a:pt x="32" y="13"/>
                      <a:pt x="32" y="13"/>
                      <a:pt x="31" y="13"/>
                    </a:cubicBezTo>
                    <a:cubicBezTo>
                      <a:pt x="31" y="13"/>
                      <a:pt x="30" y="13"/>
                      <a:pt x="29" y="13"/>
                    </a:cubicBezTo>
                    <a:cubicBezTo>
                      <a:pt x="28" y="13"/>
                      <a:pt x="27" y="14"/>
                      <a:pt x="27" y="14"/>
                    </a:cubicBezTo>
                    <a:cubicBezTo>
                      <a:pt x="27" y="15"/>
                      <a:pt x="26" y="16"/>
                      <a:pt x="26" y="16"/>
                    </a:cubicBezTo>
                    <a:cubicBezTo>
                      <a:pt x="26" y="17"/>
                      <a:pt x="25" y="16"/>
                      <a:pt x="25" y="17"/>
                    </a:cubicBezTo>
                    <a:cubicBezTo>
                      <a:pt x="25" y="17"/>
                      <a:pt x="24" y="18"/>
                      <a:pt x="24" y="18"/>
                    </a:cubicBezTo>
                    <a:cubicBezTo>
                      <a:pt x="24" y="18"/>
                      <a:pt x="24" y="18"/>
                      <a:pt x="23" y="19"/>
                    </a:cubicBezTo>
                    <a:cubicBezTo>
                      <a:pt x="22" y="19"/>
                      <a:pt x="23" y="19"/>
                      <a:pt x="22" y="20"/>
                    </a:cubicBezTo>
                    <a:cubicBezTo>
                      <a:pt x="22" y="20"/>
                      <a:pt x="22" y="20"/>
                      <a:pt x="21" y="20"/>
                    </a:cubicBezTo>
                    <a:cubicBezTo>
                      <a:pt x="21" y="20"/>
                      <a:pt x="20" y="20"/>
                      <a:pt x="20" y="20"/>
                    </a:cubicBezTo>
                    <a:cubicBezTo>
                      <a:pt x="20" y="20"/>
                      <a:pt x="20" y="20"/>
                      <a:pt x="20" y="21"/>
                    </a:cubicBezTo>
                    <a:cubicBezTo>
                      <a:pt x="20" y="21"/>
                      <a:pt x="20" y="21"/>
                      <a:pt x="19" y="22"/>
                    </a:cubicBezTo>
                    <a:cubicBezTo>
                      <a:pt x="19" y="22"/>
                      <a:pt x="20" y="23"/>
                      <a:pt x="20" y="23"/>
                    </a:cubicBezTo>
                    <a:cubicBezTo>
                      <a:pt x="19" y="24"/>
                      <a:pt x="20" y="25"/>
                      <a:pt x="20" y="25"/>
                    </a:cubicBezTo>
                    <a:cubicBezTo>
                      <a:pt x="20" y="26"/>
                      <a:pt x="20" y="26"/>
                      <a:pt x="21" y="27"/>
                    </a:cubicBezTo>
                    <a:cubicBezTo>
                      <a:pt x="21" y="27"/>
                      <a:pt x="21" y="27"/>
                      <a:pt x="21" y="28"/>
                    </a:cubicBezTo>
                    <a:cubicBezTo>
                      <a:pt x="20" y="28"/>
                      <a:pt x="20" y="28"/>
                      <a:pt x="20" y="29"/>
                    </a:cubicBezTo>
                    <a:cubicBezTo>
                      <a:pt x="20" y="29"/>
                      <a:pt x="21" y="30"/>
                      <a:pt x="20" y="30"/>
                    </a:cubicBezTo>
                    <a:cubicBezTo>
                      <a:pt x="20" y="31"/>
                      <a:pt x="19" y="32"/>
                      <a:pt x="19" y="33"/>
                    </a:cubicBezTo>
                    <a:cubicBezTo>
                      <a:pt x="18" y="33"/>
                      <a:pt x="18" y="33"/>
                      <a:pt x="17" y="34"/>
                    </a:cubicBezTo>
                    <a:cubicBezTo>
                      <a:pt x="17" y="34"/>
                      <a:pt x="16" y="36"/>
                      <a:pt x="17" y="37"/>
                    </a:cubicBezTo>
                    <a:cubicBezTo>
                      <a:pt x="18" y="37"/>
                      <a:pt x="18" y="37"/>
                      <a:pt x="19" y="37"/>
                    </a:cubicBezTo>
                    <a:cubicBezTo>
                      <a:pt x="19" y="38"/>
                      <a:pt x="19" y="39"/>
                      <a:pt x="18" y="40"/>
                    </a:cubicBezTo>
                    <a:cubicBezTo>
                      <a:pt x="18" y="40"/>
                      <a:pt x="18" y="41"/>
                      <a:pt x="18" y="42"/>
                    </a:cubicBezTo>
                    <a:cubicBezTo>
                      <a:pt x="17" y="42"/>
                      <a:pt x="17" y="42"/>
                      <a:pt x="17" y="42"/>
                    </a:cubicBezTo>
                    <a:cubicBezTo>
                      <a:pt x="17" y="43"/>
                      <a:pt x="17" y="43"/>
                      <a:pt x="17" y="43"/>
                    </a:cubicBezTo>
                    <a:cubicBezTo>
                      <a:pt x="16" y="44"/>
                      <a:pt x="17" y="45"/>
                      <a:pt x="16" y="45"/>
                    </a:cubicBezTo>
                    <a:cubicBezTo>
                      <a:pt x="16" y="46"/>
                      <a:pt x="16" y="47"/>
                      <a:pt x="16" y="47"/>
                    </a:cubicBezTo>
                    <a:cubicBezTo>
                      <a:pt x="16" y="48"/>
                      <a:pt x="16" y="49"/>
                      <a:pt x="16" y="49"/>
                    </a:cubicBezTo>
                    <a:cubicBezTo>
                      <a:pt x="15" y="50"/>
                      <a:pt x="15" y="51"/>
                      <a:pt x="15" y="51"/>
                    </a:cubicBezTo>
                    <a:cubicBezTo>
                      <a:pt x="15" y="51"/>
                      <a:pt x="14" y="50"/>
                      <a:pt x="13" y="50"/>
                    </a:cubicBezTo>
                    <a:cubicBezTo>
                      <a:pt x="13" y="50"/>
                      <a:pt x="12" y="50"/>
                      <a:pt x="12" y="50"/>
                    </a:cubicBezTo>
                    <a:cubicBezTo>
                      <a:pt x="12" y="50"/>
                      <a:pt x="11" y="50"/>
                      <a:pt x="11" y="49"/>
                    </a:cubicBezTo>
                    <a:cubicBezTo>
                      <a:pt x="11" y="49"/>
                      <a:pt x="10" y="50"/>
                      <a:pt x="10" y="50"/>
                    </a:cubicBezTo>
                    <a:cubicBezTo>
                      <a:pt x="9" y="50"/>
                      <a:pt x="9" y="49"/>
                      <a:pt x="8" y="49"/>
                    </a:cubicBezTo>
                    <a:cubicBezTo>
                      <a:pt x="7" y="48"/>
                      <a:pt x="7" y="49"/>
                      <a:pt x="7" y="50"/>
                    </a:cubicBezTo>
                    <a:cubicBezTo>
                      <a:pt x="8" y="51"/>
                      <a:pt x="8" y="51"/>
                      <a:pt x="8" y="52"/>
                    </a:cubicBezTo>
                    <a:cubicBezTo>
                      <a:pt x="9" y="53"/>
                      <a:pt x="9" y="54"/>
                      <a:pt x="9" y="55"/>
                    </a:cubicBezTo>
                    <a:cubicBezTo>
                      <a:pt x="9" y="55"/>
                      <a:pt x="9" y="56"/>
                      <a:pt x="9" y="57"/>
                    </a:cubicBezTo>
                    <a:cubicBezTo>
                      <a:pt x="8" y="57"/>
                      <a:pt x="9" y="58"/>
                      <a:pt x="9" y="59"/>
                    </a:cubicBezTo>
                    <a:cubicBezTo>
                      <a:pt x="9" y="59"/>
                      <a:pt x="9" y="60"/>
                      <a:pt x="9" y="60"/>
                    </a:cubicBezTo>
                    <a:cubicBezTo>
                      <a:pt x="8" y="61"/>
                      <a:pt x="8" y="60"/>
                      <a:pt x="7" y="60"/>
                    </a:cubicBezTo>
                    <a:cubicBezTo>
                      <a:pt x="7" y="59"/>
                      <a:pt x="7" y="61"/>
                      <a:pt x="7" y="61"/>
                    </a:cubicBezTo>
                    <a:cubicBezTo>
                      <a:pt x="7" y="62"/>
                      <a:pt x="7" y="62"/>
                      <a:pt x="7" y="62"/>
                    </a:cubicBezTo>
                    <a:cubicBezTo>
                      <a:pt x="7" y="63"/>
                      <a:pt x="7" y="63"/>
                      <a:pt x="7" y="64"/>
                    </a:cubicBezTo>
                    <a:cubicBezTo>
                      <a:pt x="7" y="64"/>
                      <a:pt x="7" y="65"/>
                      <a:pt x="8" y="66"/>
                    </a:cubicBezTo>
                    <a:cubicBezTo>
                      <a:pt x="8" y="67"/>
                      <a:pt x="8" y="67"/>
                      <a:pt x="9" y="68"/>
                    </a:cubicBezTo>
                    <a:cubicBezTo>
                      <a:pt x="9" y="69"/>
                      <a:pt x="8" y="69"/>
                      <a:pt x="8" y="69"/>
                    </a:cubicBezTo>
                    <a:cubicBezTo>
                      <a:pt x="8" y="70"/>
                      <a:pt x="8" y="69"/>
                      <a:pt x="7" y="69"/>
                    </a:cubicBezTo>
                    <a:cubicBezTo>
                      <a:pt x="7" y="70"/>
                      <a:pt x="7" y="70"/>
                      <a:pt x="7" y="70"/>
                    </a:cubicBezTo>
                    <a:cubicBezTo>
                      <a:pt x="7" y="70"/>
                      <a:pt x="7" y="71"/>
                      <a:pt x="7" y="71"/>
                    </a:cubicBezTo>
                    <a:cubicBezTo>
                      <a:pt x="7" y="71"/>
                      <a:pt x="7" y="72"/>
                      <a:pt x="7" y="71"/>
                    </a:cubicBezTo>
                    <a:cubicBezTo>
                      <a:pt x="6" y="71"/>
                      <a:pt x="6" y="72"/>
                      <a:pt x="6" y="72"/>
                    </a:cubicBezTo>
                    <a:cubicBezTo>
                      <a:pt x="6" y="72"/>
                      <a:pt x="4" y="69"/>
                      <a:pt x="4" y="70"/>
                    </a:cubicBezTo>
                    <a:cubicBezTo>
                      <a:pt x="4" y="71"/>
                      <a:pt x="4" y="71"/>
                      <a:pt x="4" y="71"/>
                    </a:cubicBezTo>
                    <a:cubicBezTo>
                      <a:pt x="3" y="72"/>
                      <a:pt x="4" y="73"/>
                      <a:pt x="4" y="74"/>
                    </a:cubicBezTo>
                    <a:cubicBezTo>
                      <a:pt x="4" y="74"/>
                      <a:pt x="4" y="75"/>
                      <a:pt x="4" y="76"/>
                    </a:cubicBezTo>
                    <a:cubicBezTo>
                      <a:pt x="4" y="77"/>
                      <a:pt x="5" y="78"/>
                      <a:pt x="5" y="79"/>
                    </a:cubicBezTo>
                    <a:cubicBezTo>
                      <a:pt x="5" y="79"/>
                      <a:pt x="5" y="80"/>
                      <a:pt x="4" y="79"/>
                    </a:cubicBezTo>
                    <a:cubicBezTo>
                      <a:pt x="4" y="79"/>
                      <a:pt x="4" y="78"/>
                      <a:pt x="3" y="78"/>
                    </a:cubicBezTo>
                    <a:cubicBezTo>
                      <a:pt x="3" y="79"/>
                      <a:pt x="2" y="78"/>
                      <a:pt x="2" y="78"/>
                    </a:cubicBezTo>
                    <a:cubicBezTo>
                      <a:pt x="2" y="77"/>
                      <a:pt x="1" y="78"/>
                      <a:pt x="1" y="78"/>
                    </a:cubicBezTo>
                    <a:cubicBezTo>
                      <a:pt x="0" y="79"/>
                      <a:pt x="0" y="80"/>
                      <a:pt x="1" y="81"/>
                    </a:cubicBezTo>
                    <a:cubicBezTo>
                      <a:pt x="1" y="82"/>
                      <a:pt x="1" y="83"/>
                      <a:pt x="2" y="83"/>
                    </a:cubicBezTo>
                    <a:cubicBezTo>
                      <a:pt x="2" y="84"/>
                      <a:pt x="3" y="85"/>
                      <a:pt x="3" y="86"/>
                    </a:cubicBezTo>
                    <a:cubicBezTo>
                      <a:pt x="3" y="86"/>
                      <a:pt x="4" y="86"/>
                      <a:pt x="4" y="87"/>
                    </a:cubicBezTo>
                    <a:cubicBezTo>
                      <a:pt x="4" y="87"/>
                      <a:pt x="5" y="87"/>
                      <a:pt x="5" y="88"/>
                    </a:cubicBezTo>
                    <a:cubicBezTo>
                      <a:pt x="5" y="88"/>
                      <a:pt x="6" y="89"/>
                      <a:pt x="6" y="89"/>
                    </a:cubicBezTo>
                    <a:cubicBezTo>
                      <a:pt x="6" y="90"/>
                      <a:pt x="7" y="91"/>
                      <a:pt x="7" y="91"/>
                    </a:cubicBezTo>
                    <a:cubicBezTo>
                      <a:pt x="7" y="91"/>
                      <a:pt x="7" y="89"/>
                      <a:pt x="7" y="89"/>
                    </a:cubicBezTo>
                    <a:cubicBezTo>
                      <a:pt x="7" y="88"/>
                      <a:pt x="7" y="87"/>
                      <a:pt x="6" y="87"/>
                    </a:cubicBezTo>
                    <a:cubicBezTo>
                      <a:pt x="6" y="87"/>
                      <a:pt x="6" y="86"/>
                      <a:pt x="6" y="86"/>
                    </a:cubicBezTo>
                    <a:cubicBezTo>
                      <a:pt x="6" y="87"/>
                      <a:pt x="7" y="88"/>
                      <a:pt x="7" y="89"/>
                    </a:cubicBezTo>
                    <a:cubicBezTo>
                      <a:pt x="7" y="88"/>
                      <a:pt x="7" y="88"/>
                      <a:pt x="7" y="88"/>
                    </a:cubicBezTo>
                    <a:cubicBezTo>
                      <a:pt x="8" y="88"/>
                      <a:pt x="8" y="90"/>
                      <a:pt x="9" y="90"/>
                    </a:cubicBezTo>
                    <a:cubicBezTo>
                      <a:pt x="8" y="90"/>
                      <a:pt x="7" y="91"/>
                      <a:pt x="8" y="92"/>
                    </a:cubicBezTo>
                    <a:cubicBezTo>
                      <a:pt x="8" y="92"/>
                      <a:pt x="9" y="92"/>
                      <a:pt x="9" y="92"/>
                    </a:cubicBezTo>
                    <a:cubicBezTo>
                      <a:pt x="9" y="91"/>
                      <a:pt x="9" y="91"/>
                      <a:pt x="10" y="90"/>
                    </a:cubicBezTo>
                    <a:cubicBezTo>
                      <a:pt x="10" y="89"/>
                      <a:pt x="9" y="88"/>
                      <a:pt x="10" y="87"/>
                    </a:cubicBezTo>
                    <a:cubicBezTo>
                      <a:pt x="10" y="88"/>
                      <a:pt x="10" y="89"/>
                      <a:pt x="10" y="89"/>
                    </a:cubicBezTo>
                    <a:cubicBezTo>
                      <a:pt x="10" y="90"/>
                      <a:pt x="10" y="89"/>
                      <a:pt x="10" y="89"/>
                    </a:cubicBezTo>
                    <a:cubicBezTo>
                      <a:pt x="10" y="90"/>
                      <a:pt x="9" y="90"/>
                      <a:pt x="9" y="91"/>
                    </a:cubicBezTo>
                    <a:cubicBezTo>
                      <a:pt x="10" y="92"/>
                      <a:pt x="10" y="91"/>
                      <a:pt x="10" y="91"/>
                    </a:cubicBezTo>
                    <a:cubicBezTo>
                      <a:pt x="11" y="91"/>
                      <a:pt x="11" y="92"/>
                      <a:pt x="10" y="92"/>
                    </a:cubicBezTo>
                    <a:cubicBezTo>
                      <a:pt x="10" y="92"/>
                      <a:pt x="10" y="92"/>
                      <a:pt x="9" y="92"/>
                    </a:cubicBezTo>
                    <a:cubicBezTo>
                      <a:pt x="10" y="93"/>
                      <a:pt x="11" y="95"/>
                      <a:pt x="12" y="96"/>
                    </a:cubicBezTo>
                    <a:cubicBezTo>
                      <a:pt x="11" y="95"/>
                      <a:pt x="11" y="95"/>
                      <a:pt x="11" y="94"/>
                    </a:cubicBezTo>
                    <a:cubicBezTo>
                      <a:pt x="11" y="94"/>
                      <a:pt x="11" y="93"/>
                      <a:pt x="11" y="94"/>
                    </a:cubicBezTo>
                    <a:cubicBezTo>
                      <a:pt x="11" y="94"/>
                      <a:pt x="12" y="96"/>
                      <a:pt x="12" y="95"/>
                    </a:cubicBezTo>
                    <a:cubicBezTo>
                      <a:pt x="13" y="95"/>
                      <a:pt x="11" y="93"/>
                      <a:pt x="11" y="92"/>
                    </a:cubicBezTo>
                    <a:cubicBezTo>
                      <a:pt x="11" y="93"/>
                      <a:pt x="11" y="93"/>
                      <a:pt x="11" y="93"/>
                    </a:cubicBezTo>
                    <a:cubicBezTo>
                      <a:pt x="12" y="93"/>
                      <a:pt x="12" y="93"/>
                      <a:pt x="12" y="93"/>
                    </a:cubicBezTo>
                    <a:cubicBezTo>
                      <a:pt x="12" y="93"/>
                      <a:pt x="13" y="93"/>
                      <a:pt x="13" y="92"/>
                    </a:cubicBezTo>
                    <a:cubicBezTo>
                      <a:pt x="13" y="93"/>
                      <a:pt x="13" y="93"/>
                      <a:pt x="13" y="93"/>
                    </a:cubicBezTo>
                    <a:cubicBezTo>
                      <a:pt x="13" y="93"/>
                      <a:pt x="13" y="93"/>
                      <a:pt x="13" y="93"/>
                    </a:cubicBezTo>
                    <a:cubicBezTo>
                      <a:pt x="14" y="93"/>
                      <a:pt x="14" y="94"/>
                      <a:pt x="15" y="94"/>
                    </a:cubicBezTo>
                    <a:cubicBezTo>
                      <a:pt x="15" y="94"/>
                      <a:pt x="15" y="95"/>
                      <a:pt x="16" y="95"/>
                    </a:cubicBezTo>
                    <a:cubicBezTo>
                      <a:pt x="16" y="94"/>
                      <a:pt x="17" y="94"/>
                      <a:pt x="17" y="95"/>
                    </a:cubicBezTo>
                    <a:cubicBezTo>
                      <a:pt x="16" y="95"/>
                      <a:pt x="15" y="96"/>
                      <a:pt x="16" y="96"/>
                    </a:cubicBezTo>
                    <a:cubicBezTo>
                      <a:pt x="16" y="96"/>
                      <a:pt x="16" y="96"/>
                      <a:pt x="16" y="96"/>
                    </a:cubicBezTo>
                    <a:cubicBezTo>
                      <a:pt x="16" y="97"/>
                      <a:pt x="17" y="96"/>
                      <a:pt x="17" y="96"/>
                    </a:cubicBezTo>
                    <a:cubicBezTo>
                      <a:pt x="17" y="96"/>
                      <a:pt x="17" y="96"/>
                      <a:pt x="17" y="97"/>
                    </a:cubicBezTo>
                    <a:cubicBezTo>
                      <a:pt x="18" y="98"/>
                      <a:pt x="18" y="96"/>
                      <a:pt x="18" y="96"/>
                    </a:cubicBezTo>
                    <a:cubicBezTo>
                      <a:pt x="18" y="97"/>
                      <a:pt x="17" y="97"/>
                      <a:pt x="17" y="98"/>
                    </a:cubicBezTo>
                    <a:cubicBezTo>
                      <a:pt x="17" y="98"/>
                      <a:pt x="18" y="98"/>
                      <a:pt x="18" y="98"/>
                    </a:cubicBezTo>
                    <a:cubicBezTo>
                      <a:pt x="19" y="99"/>
                      <a:pt x="19" y="99"/>
                      <a:pt x="19" y="99"/>
                    </a:cubicBezTo>
                    <a:cubicBezTo>
                      <a:pt x="19" y="100"/>
                      <a:pt x="20" y="99"/>
                      <a:pt x="20" y="100"/>
                    </a:cubicBezTo>
                    <a:cubicBezTo>
                      <a:pt x="20" y="100"/>
                      <a:pt x="20" y="100"/>
                      <a:pt x="20" y="100"/>
                    </a:cubicBezTo>
                    <a:cubicBezTo>
                      <a:pt x="20" y="101"/>
                      <a:pt x="19" y="101"/>
                      <a:pt x="19" y="102"/>
                    </a:cubicBezTo>
                    <a:cubicBezTo>
                      <a:pt x="20" y="102"/>
                      <a:pt x="20" y="102"/>
                      <a:pt x="20" y="102"/>
                    </a:cubicBezTo>
                    <a:cubicBezTo>
                      <a:pt x="20" y="102"/>
                      <a:pt x="20" y="102"/>
                      <a:pt x="20" y="103"/>
                    </a:cubicBezTo>
                    <a:cubicBezTo>
                      <a:pt x="20" y="103"/>
                      <a:pt x="20" y="103"/>
                      <a:pt x="21" y="103"/>
                    </a:cubicBezTo>
                    <a:cubicBezTo>
                      <a:pt x="21" y="102"/>
                      <a:pt x="21" y="102"/>
                      <a:pt x="21" y="101"/>
                    </a:cubicBezTo>
                    <a:cubicBezTo>
                      <a:pt x="21" y="101"/>
                      <a:pt x="21" y="100"/>
                      <a:pt x="21" y="100"/>
                    </a:cubicBezTo>
                    <a:cubicBezTo>
                      <a:pt x="21" y="100"/>
                      <a:pt x="21" y="102"/>
                      <a:pt x="21" y="102"/>
                    </a:cubicBezTo>
                    <a:cubicBezTo>
                      <a:pt x="21" y="103"/>
                      <a:pt x="21" y="103"/>
                      <a:pt x="22" y="104"/>
                    </a:cubicBezTo>
                    <a:cubicBezTo>
                      <a:pt x="21" y="104"/>
                      <a:pt x="21" y="105"/>
                      <a:pt x="21" y="106"/>
                    </a:cubicBezTo>
                    <a:cubicBezTo>
                      <a:pt x="21" y="106"/>
                      <a:pt x="22" y="107"/>
                      <a:pt x="22" y="106"/>
                    </a:cubicBezTo>
                    <a:cubicBezTo>
                      <a:pt x="23" y="107"/>
                      <a:pt x="23" y="107"/>
                      <a:pt x="24" y="107"/>
                    </a:cubicBezTo>
                    <a:cubicBezTo>
                      <a:pt x="23" y="108"/>
                      <a:pt x="23" y="108"/>
                      <a:pt x="23" y="107"/>
                    </a:cubicBezTo>
                    <a:cubicBezTo>
                      <a:pt x="23" y="108"/>
                      <a:pt x="24" y="108"/>
                      <a:pt x="24" y="109"/>
                    </a:cubicBezTo>
                    <a:cubicBezTo>
                      <a:pt x="24" y="110"/>
                      <a:pt x="25" y="110"/>
                      <a:pt x="25" y="111"/>
                    </a:cubicBezTo>
                    <a:cubicBezTo>
                      <a:pt x="25" y="111"/>
                      <a:pt x="26" y="112"/>
                      <a:pt x="25" y="112"/>
                    </a:cubicBezTo>
                    <a:cubicBezTo>
                      <a:pt x="25" y="112"/>
                      <a:pt x="25" y="112"/>
                      <a:pt x="25" y="112"/>
                    </a:cubicBezTo>
                    <a:cubicBezTo>
                      <a:pt x="25" y="112"/>
                      <a:pt x="25" y="113"/>
                      <a:pt x="25" y="113"/>
                    </a:cubicBezTo>
                    <a:cubicBezTo>
                      <a:pt x="26" y="113"/>
                      <a:pt x="26" y="113"/>
                      <a:pt x="26" y="114"/>
                    </a:cubicBezTo>
                    <a:cubicBezTo>
                      <a:pt x="27" y="114"/>
                      <a:pt x="27" y="115"/>
                      <a:pt x="27" y="116"/>
                    </a:cubicBezTo>
                    <a:cubicBezTo>
                      <a:pt x="26" y="116"/>
                      <a:pt x="27" y="117"/>
                      <a:pt x="27" y="118"/>
                    </a:cubicBezTo>
                    <a:cubicBezTo>
                      <a:pt x="28" y="119"/>
                      <a:pt x="28" y="119"/>
                      <a:pt x="28" y="120"/>
                    </a:cubicBezTo>
                    <a:cubicBezTo>
                      <a:pt x="28" y="120"/>
                      <a:pt x="28" y="120"/>
                      <a:pt x="28" y="121"/>
                    </a:cubicBezTo>
                    <a:cubicBezTo>
                      <a:pt x="28" y="122"/>
                      <a:pt x="28" y="122"/>
                      <a:pt x="29" y="123"/>
                    </a:cubicBezTo>
                    <a:cubicBezTo>
                      <a:pt x="28" y="123"/>
                      <a:pt x="28" y="124"/>
                      <a:pt x="28" y="124"/>
                    </a:cubicBezTo>
                    <a:cubicBezTo>
                      <a:pt x="28" y="125"/>
                      <a:pt x="28" y="124"/>
                      <a:pt x="28" y="124"/>
                    </a:cubicBezTo>
                    <a:cubicBezTo>
                      <a:pt x="28" y="124"/>
                      <a:pt x="28" y="126"/>
                      <a:pt x="28" y="126"/>
                    </a:cubicBezTo>
                    <a:cubicBezTo>
                      <a:pt x="28" y="126"/>
                      <a:pt x="28" y="127"/>
                      <a:pt x="28" y="127"/>
                    </a:cubicBezTo>
                    <a:cubicBezTo>
                      <a:pt x="27" y="128"/>
                      <a:pt x="28" y="128"/>
                      <a:pt x="27" y="129"/>
                    </a:cubicBezTo>
                    <a:cubicBezTo>
                      <a:pt x="27" y="130"/>
                      <a:pt x="27" y="130"/>
                      <a:pt x="27" y="131"/>
                    </a:cubicBezTo>
                    <a:cubicBezTo>
                      <a:pt x="27" y="131"/>
                      <a:pt x="27" y="131"/>
                      <a:pt x="27" y="132"/>
                    </a:cubicBezTo>
                    <a:cubicBezTo>
                      <a:pt x="27" y="132"/>
                      <a:pt x="27" y="132"/>
                      <a:pt x="27" y="132"/>
                    </a:cubicBezTo>
                    <a:cubicBezTo>
                      <a:pt x="26" y="132"/>
                      <a:pt x="27" y="133"/>
                      <a:pt x="27" y="133"/>
                    </a:cubicBezTo>
                    <a:cubicBezTo>
                      <a:pt x="26" y="134"/>
                      <a:pt x="26" y="135"/>
                      <a:pt x="26" y="136"/>
                    </a:cubicBezTo>
                    <a:cubicBezTo>
                      <a:pt x="27" y="137"/>
                      <a:pt x="27" y="137"/>
                      <a:pt x="27" y="138"/>
                    </a:cubicBezTo>
                    <a:cubicBezTo>
                      <a:pt x="27" y="138"/>
                      <a:pt x="28" y="138"/>
                      <a:pt x="28" y="137"/>
                    </a:cubicBezTo>
                    <a:cubicBezTo>
                      <a:pt x="28" y="137"/>
                      <a:pt x="28" y="137"/>
                      <a:pt x="28" y="137"/>
                    </a:cubicBezTo>
                    <a:cubicBezTo>
                      <a:pt x="29" y="137"/>
                      <a:pt x="29" y="136"/>
                      <a:pt x="29" y="135"/>
                    </a:cubicBezTo>
                    <a:cubicBezTo>
                      <a:pt x="29" y="135"/>
                      <a:pt x="29" y="134"/>
                      <a:pt x="30" y="134"/>
                    </a:cubicBezTo>
                    <a:cubicBezTo>
                      <a:pt x="30" y="135"/>
                      <a:pt x="30" y="133"/>
                      <a:pt x="30" y="134"/>
                    </a:cubicBezTo>
                    <a:cubicBezTo>
                      <a:pt x="30" y="134"/>
                      <a:pt x="30" y="135"/>
                      <a:pt x="30" y="135"/>
                    </a:cubicBezTo>
                    <a:cubicBezTo>
                      <a:pt x="31" y="135"/>
                      <a:pt x="30" y="132"/>
                      <a:pt x="30" y="132"/>
                    </a:cubicBezTo>
                    <a:cubicBezTo>
                      <a:pt x="31" y="132"/>
                      <a:pt x="31" y="132"/>
                      <a:pt x="31" y="132"/>
                    </a:cubicBezTo>
                    <a:cubicBezTo>
                      <a:pt x="31" y="132"/>
                      <a:pt x="31" y="133"/>
                      <a:pt x="31" y="133"/>
                    </a:cubicBezTo>
                    <a:cubicBezTo>
                      <a:pt x="31" y="134"/>
                      <a:pt x="31" y="134"/>
                      <a:pt x="31" y="134"/>
                    </a:cubicBezTo>
                    <a:cubicBezTo>
                      <a:pt x="31" y="135"/>
                      <a:pt x="31" y="136"/>
                      <a:pt x="30" y="137"/>
                    </a:cubicBezTo>
                    <a:cubicBezTo>
                      <a:pt x="30" y="138"/>
                      <a:pt x="31" y="138"/>
                      <a:pt x="31" y="138"/>
                    </a:cubicBezTo>
                    <a:cubicBezTo>
                      <a:pt x="31" y="137"/>
                      <a:pt x="31" y="136"/>
                      <a:pt x="32" y="136"/>
                    </a:cubicBezTo>
                    <a:cubicBezTo>
                      <a:pt x="32" y="136"/>
                      <a:pt x="32" y="137"/>
                      <a:pt x="31" y="138"/>
                    </a:cubicBezTo>
                    <a:cubicBezTo>
                      <a:pt x="31" y="138"/>
                      <a:pt x="30" y="139"/>
                      <a:pt x="31" y="139"/>
                    </a:cubicBezTo>
                    <a:cubicBezTo>
                      <a:pt x="31" y="139"/>
                      <a:pt x="31" y="139"/>
                      <a:pt x="32" y="139"/>
                    </a:cubicBezTo>
                    <a:cubicBezTo>
                      <a:pt x="32" y="139"/>
                      <a:pt x="32" y="138"/>
                      <a:pt x="32" y="138"/>
                    </a:cubicBezTo>
                    <a:cubicBezTo>
                      <a:pt x="32" y="138"/>
                      <a:pt x="33" y="138"/>
                      <a:pt x="33" y="137"/>
                    </a:cubicBezTo>
                    <a:cubicBezTo>
                      <a:pt x="33" y="137"/>
                      <a:pt x="32" y="136"/>
                      <a:pt x="33" y="135"/>
                    </a:cubicBezTo>
                    <a:cubicBezTo>
                      <a:pt x="33" y="135"/>
                      <a:pt x="34" y="135"/>
                      <a:pt x="34" y="135"/>
                    </a:cubicBezTo>
                    <a:cubicBezTo>
                      <a:pt x="34" y="135"/>
                      <a:pt x="33" y="135"/>
                      <a:pt x="33" y="136"/>
                    </a:cubicBezTo>
                    <a:cubicBezTo>
                      <a:pt x="33" y="136"/>
                      <a:pt x="33" y="137"/>
                      <a:pt x="33" y="137"/>
                    </a:cubicBezTo>
                    <a:cubicBezTo>
                      <a:pt x="33" y="137"/>
                      <a:pt x="33" y="137"/>
                      <a:pt x="33" y="137"/>
                    </a:cubicBezTo>
                    <a:cubicBezTo>
                      <a:pt x="33" y="137"/>
                      <a:pt x="33" y="138"/>
                      <a:pt x="33" y="138"/>
                    </a:cubicBezTo>
                    <a:cubicBezTo>
                      <a:pt x="33" y="138"/>
                      <a:pt x="33" y="139"/>
                      <a:pt x="33" y="139"/>
                    </a:cubicBezTo>
                    <a:cubicBezTo>
                      <a:pt x="33" y="139"/>
                      <a:pt x="34" y="139"/>
                      <a:pt x="33" y="139"/>
                    </a:cubicBezTo>
                    <a:cubicBezTo>
                      <a:pt x="33" y="139"/>
                      <a:pt x="33" y="140"/>
                      <a:pt x="33" y="140"/>
                    </a:cubicBezTo>
                    <a:cubicBezTo>
                      <a:pt x="34" y="140"/>
                      <a:pt x="35" y="140"/>
                      <a:pt x="35" y="139"/>
                    </a:cubicBezTo>
                    <a:cubicBezTo>
                      <a:pt x="35" y="138"/>
                      <a:pt x="35" y="138"/>
                      <a:pt x="35" y="137"/>
                    </a:cubicBezTo>
                    <a:cubicBezTo>
                      <a:pt x="35" y="136"/>
                      <a:pt x="35" y="136"/>
                      <a:pt x="35" y="136"/>
                    </a:cubicBezTo>
                    <a:cubicBezTo>
                      <a:pt x="36" y="136"/>
                      <a:pt x="36" y="136"/>
                      <a:pt x="36" y="136"/>
                    </a:cubicBezTo>
                    <a:cubicBezTo>
                      <a:pt x="35" y="136"/>
                      <a:pt x="35" y="137"/>
                      <a:pt x="35" y="138"/>
                    </a:cubicBezTo>
                    <a:cubicBezTo>
                      <a:pt x="35" y="137"/>
                      <a:pt x="35" y="137"/>
                      <a:pt x="35" y="137"/>
                    </a:cubicBezTo>
                    <a:cubicBezTo>
                      <a:pt x="36" y="138"/>
                      <a:pt x="35" y="139"/>
                      <a:pt x="36" y="140"/>
                    </a:cubicBezTo>
                    <a:cubicBezTo>
                      <a:pt x="36" y="140"/>
                      <a:pt x="37" y="140"/>
                      <a:pt x="37" y="139"/>
                    </a:cubicBezTo>
                    <a:cubicBezTo>
                      <a:pt x="37" y="139"/>
                      <a:pt x="37" y="138"/>
                      <a:pt x="37" y="137"/>
                    </a:cubicBezTo>
                    <a:cubicBezTo>
                      <a:pt x="37" y="138"/>
                      <a:pt x="36" y="140"/>
                      <a:pt x="37" y="138"/>
                    </a:cubicBezTo>
                    <a:cubicBezTo>
                      <a:pt x="37" y="138"/>
                      <a:pt x="38" y="138"/>
                      <a:pt x="38" y="137"/>
                    </a:cubicBezTo>
                    <a:cubicBezTo>
                      <a:pt x="38" y="137"/>
                      <a:pt x="37" y="136"/>
                      <a:pt x="37" y="136"/>
                    </a:cubicBezTo>
                    <a:cubicBezTo>
                      <a:pt x="37" y="136"/>
                      <a:pt x="38" y="137"/>
                      <a:pt x="38" y="137"/>
                    </a:cubicBezTo>
                    <a:cubicBezTo>
                      <a:pt x="38" y="138"/>
                      <a:pt x="38" y="138"/>
                      <a:pt x="37" y="139"/>
                    </a:cubicBezTo>
                    <a:cubicBezTo>
                      <a:pt x="37" y="140"/>
                      <a:pt x="37" y="141"/>
                      <a:pt x="38" y="141"/>
                    </a:cubicBezTo>
                    <a:cubicBezTo>
                      <a:pt x="39" y="140"/>
                      <a:pt x="39" y="140"/>
                      <a:pt x="40" y="140"/>
                    </a:cubicBezTo>
                    <a:cubicBezTo>
                      <a:pt x="40" y="139"/>
                      <a:pt x="40" y="139"/>
                      <a:pt x="40" y="138"/>
                    </a:cubicBezTo>
                    <a:cubicBezTo>
                      <a:pt x="41" y="138"/>
                      <a:pt x="41" y="137"/>
                      <a:pt x="41" y="137"/>
                    </a:cubicBezTo>
                    <a:cubicBezTo>
                      <a:pt x="41" y="136"/>
                      <a:pt x="41" y="136"/>
                      <a:pt x="41" y="135"/>
                    </a:cubicBezTo>
                    <a:cubicBezTo>
                      <a:pt x="42" y="136"/>
                      <a:pt x="42" y="136"/>
                      <a:pt x="42" y="135"/>
                    </a:cubicBezTo>
                    <a:cubicBezTo>
                      <a:pt x="43" y="135"/>
                      <a:pt x="43" y="135"/>
                      <a:pt x="43" y="135"/>
                    </a:cubicBezTo>
                    <a:cubicBezTo>
                      <a:pt x="43" y="135"/>
                      <a:pt x="44" y="135"/>
                      <a:pt x="44" y="135"/>
                    </a:cubicBezTo>
                    <a:cubicBezTo>
                      <a:pt x="44" y="134"/>
                      <a:pt x="44" y="134"/>
                      <a:pt x="43" y="133"/>
                    </a:cubicBezTo>
                    <a:cubicBezTo>
                      <a:pt x="44" y="133"/>
                      <a:pt x="44" y="134"/>
                      <a:pt x="45" y="134"/>
                    </a:cubicBezTo>
                    <a:cubicBezTo>
                      <a:pt x="45" y="134"/>
                      <a:pt x="45" y="134"/>
                      <a:pt x="45" y="133"/>
                    </a:cubicBezTo>
                    <a:cubicBezTo>
                      <a:pt x="46" y="133"/>
                      <a:pt x="47" y="133"/>
                      <a:pt x="46" y="132"/>
                    </a:cubicBezTo>
                    <a:cubicBezTo>
                      <a:pt x="46" y="132"/>
                      <a:pt x="45" y="131"/>
                      <a:pt x="45" y="131"/>
                    </a:cubicBezTo>
                    <a:cubicBezTo>
                      <a:pt x="45" y="131"/>
                      <a:pt x="45" y="130"/>
                      <a:pt x="45" y="130"/>
                    </a:cubicBezTo>
                    <a:cubicBezTo>
                      <a:pt x="45" y="130"/>
                      <a:pt x="45" y="129"/>
                      <a:pt x="45" y="129"/>
                    </a:cubicBezTo>
                    <a:cubicBezTo>
                      <a:pt x="45" y="129"/>
                      <a:pt x="45" y="128"/>
                      <a:pt x="45" y="129"/>
                    </a:cubicBezTo>
                    <a:cubicBezTo>
                      <a:pt x="46" y="129"/>
                      <a:pt x="45" y="129"/>
                      <a:pt x="45" y="129"/>
                    </a:cubicBezTo>
                    <a:cubicBezTo>
                      <a:pt x="45" y="130"/>
                      <a:pt x="45" y="130"/>
                      <a:pt x="45" y="130"/>
                    </a:cubicBezTo>
                    <a:cubicBezTo>
                      <a:pt x="46" y="131"/>
                      <a:pt x="47" y="132"/>
                      <a:pt x="48" y="132"/>
                    </a:cubicBezTo>
                    <a:cubicBezTo>
                      <a:pt x="50" y="132"/>
                      <a:pt x="52" y="129"/>
                      <a:pt x="50" y="127"/>
                    </a:cubicBezTo>
                    <a:cubicBezTo>
                      <a:pt x="51" y="128"/>
                      <a:pt x="51" y="127"/>
                      <a:pt x="51" y="127"/>
                    </a:cubicBezTo>
                    <a:cubicBezTo>
                      <a:pt x="51" y="127"/>
                      <a:pt x="51" y="126"/>
                      <a:pt x="51" y="126"/>
                    </a:cubicBezTo>
                    <a:cubicBezTo>
                      <a:pt x="51" y="126"/>
                      <a:pt x="51" y="125"/>
                      <a:pt x="51" y="125"/>
                    </a:cubicBezTo>
                    <a:cubicBezTo>
                      <a:pt x="50" y="124"/>
                      <a:pt x="51" y="124"/>
                      <a:pt x="51" y="123"/>
                    </a:cubicBezTo>
                    <a:cubicBezTo>
                      <a:pt x="51" y="123"/>
                      <a:pt x="50" y="122"/>
                      <a:pt x="50" y="122"/>
                    </a:cubicBezTo>
                    <a:cubicBezTo>
                      <a:pt x="50" y="122"/>
                      <a:pt x="50" y="122"/>
                      <a:pt x="50" y="122"/>
                    </a:cubicBezTo>
                    <a:cubicBezTo>
                      <a:pt x="50" y="122"/>
                      <a:pt x="50" y="122"/>
                      <a:pt x="50" y="121"/>
                    </a:cubicBezTo>
                    <a:cubicBezTo>
                      <a:pt x="51" y="122"/>
                      <a:pt x="51" y="123"/>
                      <a:pt x="52" y="124"/>
                    </a:cubicBezTo>
                    <a:cubicBezTo>
                      <a:pt x="53" y="124"/>
                      <a:pt x="53" y="125"/>
                      <a:pt x="53" y="126"/>
                    </a:cubicBezTo>
                    <a:cubicBezTo>
                      <a:pt x="53" y="125"/>
                      <a:pt x="54" y="125"/>
                      <a:pt x="54" y="125"/>
                    </a:cubicBezTo>
                    <a:cubicBezTo>
                      <a:pt x="54" y="125"/>
                      <a:pt x="54" y="125"/>
                      <a:pt x="54" y="125"/>
                    </a:cubicBezTo>
                    <a:cubicBezTo>
                      <a:pt x="53" y="125"/>
                      <a:pt x="54" y="126"/>
                      <a:pt x="54" y="126"/>
                    </a:cubicBezTo>
                    <a:cubicBezTo>
                      <a:pt x="54" y="126"/>
                      <a:pt x="54" y="127"/>
                      <a:pt x="54" y="127"/>
                    </a:cubicBezTo>
                    <a:cubicBezTo>
                      <a:pt x="54" y="127"/>
                      <a:pt x="54" y="127"/>
                      <a:pt x="54" y="128"/>
                    </a:cubicBezTo>
                    <a:cubicBezTo>
                      <a:pt x="54" y="128"/>
                      <a:pt x="54" y="128"/>
                      <a:pt x="54" y="128"/>
                    </a:cubicBezTo>
                    <a:cubicBezTo>
                      <a:pt x="54" y="128"/>
                      <a:pt x="54" y="128"/>
                      <a:pt x="55" y="128"/>
                    </a:cubicBezTo>
                    <a:cubicBezTo>
                      <a:pt x="54" y="129"/>
                      <a:pt x="55" y="130"/>
                      <a:pt x="56" y="130"/>
                    </a:cubicBezTo>
                    <a:cubicBezTo>
                      <a:pt x="56" y="130"/>
                      <a:pt x="56" y="132"/>
                      <a:pt x="56" y="132"/>
                    </a:cubicBezTo>
                    <a:cubicBezTo>
                      <a:pt x="57" y="131"/>
                      <a:pt x="58" y="132"/>
                      <a:pt x="58" y="132"/>
                    </a:cubicBezTo>
                    <a:cubicBezTo>
                      <a:pt x="58" y="132"/>
                      <a:pt x="59" y="132"/>
                      <a:pt x="59" y="131"/>
                    </a:cubicBezTo>
                    <a:cubicBezTo>
                      <a:pt x="59" y="131"/>
                      <a:pt x="59" y="131"/>
                      <a:pt x="60" y="131"/>
                    </a:cubicBezTo>
                    <a:cubicBezTo>
                      <a:pt x="59" y="131"/>
                      <a:pt x="59" y="133"/>
                      <a:pt x="59" y="134"/>
                    </a:cubicBezTo>
                    <a:cubicBezTo>
                      <a:pt x="59" y="134"/>
                      <a:pt x="59" y="136"/>
                      <a:pt x="59" y="136"/>
                    </a:cubicBezTo>
                    <a:cubicBezTo>
                      <a:pt x="58" y="137"/>
                      <a:pt x="60" y="138"/>
                      <a:pt x="61" y="139"/>
                    </a:cubicBezTo>
                    <a:cubicBezTo>
                      <a:pt x="61" y="140"/>
                      <a:pt x="61" y="140"/>
                      <a:pt x="61" y="141"/>
                    </a:cubicBezTo>
                    <a:cubicBezTo>
                      <a:pt x="61" y="142"/>
                      <a:pt x="61" y="142"/>
                      <a:pt x="61" y="143"/>
                    </a:cubicBezTo>
                    <a:cubicBezTo>
                      <a:pt x="61" y="144"/>
                      <a:pt x="62" y="144"/>
                      <a:pt x="61" y="144"/>
                    </a:cubicBezTo>
                    <a:cubicBezTo>
                      <a:pt x="61" y="145"/>
                      <a:pt x="61" y="145"/>
                      <a:pt x="62" y="146"/>
                    </a:cubicBezTo>
                    <a:cubicBezTo>
                      <a:pt x="62" y="146"/>
                      <a:pt x="62" y="146"/>
                      <a:pt x="62" y="146"/>
                    </a:cubicBezTo>
                    <a:cubicBezTo>
                      <a:pt x="62" y="146"/>
                      <a:pt x="62" y="147"/>
                      <a:pt x="62" y="147"/>
                    </a:cubicBezTo>
                    <a:cubicBezTo>
                      <a:pt x="62" y="148"/>
                      <a:pt x="62" y="149"/>
                      <a:pt x="63" y="150"/>
                    </a:cubicBezTo>
                    <a:cubicBezTo>
                      <a:pt x="63" y="151"/>
                      <a:pt x="63" y="152"/>
                      <a:pt x="63" y="152"/>
                    </a:cubicBezTo>
                    <a:cubicBezTo>
                      <a:pt x="64" y="151"/>
                      <a:pt x="63" y="151"/>
                      <a:pt x="63" y="151"/>
                    </a:cubicBezTo>
                    <a:cubicBezTo>
                      <a:pt x="64" y="151"/>
                      <a:pt x="64" y="151"/>
                      <a:pt x="64" y="151"/>
                    </a:cubicBezTo>
                    <a:cubicBezTo>
                      <a:pt x="64" y="151"/>
                      <a:pt x="64" y="151"/>
                      <a:pt x="64" y="151"/>
                    </a:cubicBezTo>
                    <a:cubicBezTo>
                      <a:pt x="64" y="151"/>
                      <a:pt x="65" y="152"/>
                      <a:pt x="65" y="152"/>
                    </a:cubicBezTo>
                    <a:cubicBezTo>
                      <a:pt x="64" y="152"/>
                      <a:pt x="64" y="152"/>
                      <a:pt x="64" y="152"/>
                    </a:cubicBezTo>
                    <a:cubicBezTo>
                      <a:pt x="63" y="152"/>
                      <a:pt x="64" y="152"/>
                      <a:pt x="64" y="152"/>
                    </a:cubicBezTo>
                    <a:cubicBezTo>
                      <a:pt x="64" y="153"/>
                      <a:pt x="64" y="155"/>
                      <a:pt x="65" y="154"/>
                    </a:cubicBezTo>
                    <a:cubicBezTo>
                      <a:pt x="65" y="155"/>
                      <a:pt x="65" y="156"/>
                      <a:pt x="66" y="157"/>
                    </a:cubicBezTo>
                    <a:cubicBezTo>
                      <a:pt x="66" y="158"/>
                      <a:pt x="66" y="158"/>
                      <a:pt x="66" y="159"/>
                    </a:cubicBezTo>
                    <a:cubicBezTo>
                      <a:pt x="66" y="160"/>
                      <a:pt x="66" y="160"/>
                      <a:pt x="67" y="161"/>
                    </a:cubicBezTo>
                    <a:cubicBezTo>
                      <a:pt x="67" y="162"/>
                      <a:pt x="66" y="162"/>
                      <a:pt x="67" y="163"/>
                    </a:cubicBezTo>
                    <a:cubicBezTo>
                      <a:pt x="67" y="163"/>
                      <a:pt x="67" y="163"/>
                      <a:pt x="67" y="163"/>
                    </a:cubicBezTo>
                    <a:cubicBezTo>
                      <a:pt x="67" y="164"/>
                      <a:pt x="67" y="164"/>
                      <a:pt x="67" y="164"/>
                    </a:cubicBezTo>
                    <a:cubicBezTo>
                      <a:pt x="68" y="165"/>
                      <a:pt x="67" y="164"/>
                      <a:pt x="67" y="163"/>
                    </a:cubicBezTo>
                    <a:cubicBezTo>
                      <a:pt x="68" y="163"/>
                      <a:pt x="67" y="162"/>
                      <a:pt x="67" y="162"/>
                    </a:cubicBezTo>
                    <a:cubicBezTo>
                      <a:pt x="67" y="162"/>
                      <a:pt x="67" y="161"/>
                      <a:pt x="67" y="161"/>
                    </a:cubicBezTo>
                    <a:cubicBezTo>
                      <a:pt x="67" y="160"/>
                      <a:pt x="67" y="160"/>
                      <a:pt x="67" y="160"/>
                    </a:cubicBezTo>
                    <a:cubicBezTo>
                      <a:pt x="67" y="159"/>
                      <a:pt x="67" y="159"/>
                      <a:pt x="67" y="159"/>
                    </a:cubicBezTo>
                    <a:cubicBezTo>
                      <a:pt x="68" y="159"/>
                      <a:pt x="68" y="161"/>
                      <a:pt x="68" y="162"/>
                    </a:cubicBezTo>
                    <a:cubicBezTo>
                      <a:pt x="68" y="162"/>
                      <a:pt x="68" y="162"/>
                      <a:pt x="68" y="163"/>
                    </a:cubicBezTo>
                    <a:cubicBezTo>
                      <a:pt x="68" y="163"/>
                      <a:pt x="68" y="163"/>
                      <a:pt x="69" y="163"/>
                    </a:cubicBezTo>
                    <a:cubicBezTo>
                      <a:pt x="69" y="163"/>
                      <a:pt x="69" y="164"/>
                      <a:pt x="69" y="164"/>
                    </a:cubicBezTo>
                    <a:cubicBezTo>
                      <a:pt x="70" y="165"/>
                      <a:pt x="70" y="165"/>
                      <a:pt x="70" y="165"/>
                    </a:cubicBezTo>
                    <a:cubicBezTo>
                      <a:pt x="70" y="166"/>
                      <a:pt x="70" y="167"/>
                      <a:pt x="70" y="166"/>
                    </a:cubicBezTo>
                    <a:cubicBezTo>
                      <a:pt x="70" y="166"/>
                      <a:pt x="70" y="167"/>
                      <a:pt x="71" y="167"/>
                    </a:cubicBezTo>
                    <a:cubicBezTo>
                      <a:pt x="71" y="168"/>
                      <a:pt x="72" y="168"/>
                      <a:pt x="72" y="169"/>
                    </a:cubicBezTo>
                    <a:cubicBezTo>
                      <a:pt x="72" y="170"/>
                      <a:pt x="72" y="170"/>
                      <a:pt x="72" y="171"/>
                    </a:cubicBezTo>
                    <a:cubicBezTo>
                      <a:pt x="72" y="171"/>
                      <a:pt x="72" y="171"/>
                      <a:pt x="72" y="171"/>
                    </a:cubicBezTo>
                    <a:cubicBezTo>
                      <a:pt x="73" y="172"/>
                      <a:pt x="73" y="173"/>
                      <a:pt x="72" y="173"/>
                    </a:cubicBezTo>
                    <a:cubicBezTo>
                      <a:pt x="72" y="173"/>
                      <a:pt x="73" y="173"/>
                      <a:pt x="73" y="173"/>
                    </a:cubicBezTo>
                    <a:cubicBezTo>
                      <a:pt x="73" y="173"/>
                      <a:pt x="73" y="173"/>
                      <a:pt x="73" y="173"/>
                    </a:cubicBezTo>
                    <a:cubicBezTo>
                      <a:pt x="73" y="174"/>
                      <a:pt x="73" y="173"/>
                      <a:pt x="73" y="174"/>
                    </a:cubicBezTo>
                    <a:cubicBezTo>
                      <a:pt x="73" y="174"/>
                      <a:pt x="73" y="174"/>
                      <a:pt x="73" y="174"/>
                    </a:cubicBezTo>
                    <a:cubicBezTo>
                      <a:pt x="73" y="175"/>
                      <a:pt x="73" y="175"/>
                      <a:pt x="73" y="175"/>
                    </a:cubicBezTo>
                    <a:cubicBezTo>
                      <a:pt x="73" y="176"/>
                      <a:pt x="74" y="176"/>
                      <a:pt x="74" y="176"/>
                    </a:cubicBezTo>
                    <a:cubicBezTo>
                      <a:pt x="74" y="176"/>
                      <a:pt x="72" y="176"/>
                      <a:pt x="73" y="177"/>
                    </a:cubicBezTo>
                    <a:cubicBezTo>
                      <a:pt x="73" y="177"/>
                      <a:pt x="74" y="178"/>
                      <a:pt x="73" y="178"/>
                    </a:cubicBezTo>
                    <a:cubicBezTo>
                      <a:pt x="73" y="178"/>
                      <a:pt x="72" y="178"/>
                      <a:pt x="72" y="178"/>
                    </a:cubicBezTo>
                    <a:cubicBezTo>
                      <a:pt x="72" y="179"/>
                      <a:pt x="72" y="179"/>
                      <a:pt x="73" y="179"/>
                    </a:cubicBezTo>
                    <a:cubicBezTo>
                      <a:pt x="73" y="179"/>
                      <a:pt x="73" y="179"/>
                      <a:pt x="74" y="179"/>
                    </a:cubicBezTo>
                    <a:cubicBezTo>
                      <a:pt x="74" y="179"/>
                      <a:pt x="74" y="179"/>
                      <a:pt x="74" y="180"/>
                    </a:cubicBezTo>
                    <a:cubicBezTo>
                      <a:pt x="73" y="180"/>
                      <a:pt x="74" y="181"/>
                      <a:pt x="74" y="181"/>
                    </a:cubicBezTo>
                    <a:cubicBezTo>
                      <a:pt x="74" y="182"/>
                      <a:pt x="74" y="182"/>
                      <a:pt x="73" y="182"/>
                    </a:cubicBezTo>
                    <a:cubicBezTo>
                      <a:pt x="73" y="182"/>
                      <a:pt x="74" y="182"/>
                      <a:pt x="74" y="182"/>
                    </a:cubicBezTo>
                    <a:cubicBezTo>
                      <a:pt x="73" y="182"/>
                      <a:pt x="73" y="182"/>
                      <a:pt x="72" y="181"/>
                    </a:cubicBezTo>
                    <a:cubicBezTo>
                      <a:pt x="72" y="181"/>
                      <a:pt x="72" y="180"/>
                      <a:pt x="71" y="180"/>
                    </a:cubicBezTo>
                    <a:cubicBezTo>
                      <a:pt x="71" y="181"/>
                      <a:pt x="71" y="181"/>
                      <a:pt x="72" y="181"/>
                    </a:cubicBezTo>
                    <a:cubicBezTo>
                      <a:pt x="72" y="182"/>
                      <a:pt x="72" y="182"/>
                      <a:pt x="72" y="183"/>
                    </a:cubicBezTo>
                    <a:cubicBezTo>
                      <a:pt x="72" y="183"/>
                      <a:pt x="73" y="182"/>
                      <a:pt x="73" y="182"/>
                    </a:cubicBezTo>
                    <a:cubicBezTo>
                      <a:pt x="73" y="182"/>
                      <a:pt x="73" y="182"/>
                      <a:pt x="73" y="183"/>
                    </a:cubicBezTo>
                    <a:cubicBezTo>
                      <a:pt x="73" y="183"/>
                      <a:pt x="74" y="183"/>
                      <a:pt x="74" y="183"/>
                    </a:cubicBezTo>
                    <a:cubicBezTo>
                      <a:pt x="74" y="183"/>
                      <a:pt x="74" y="183"/>
                      <a:pt x="73" y="183"/>
                    </a:cubicBezTo>
                    <a:cubicBezTo>
                      <a:pt x="73" y="183"/>
                      <a:pt x="73" y="184"/>
                      <a:pt x="73" y="184"/>
                    </a:cubicBezTo>
                    <a:cubicBezTo>
                      <a:pt x="73" y="184"/>
                      <a:pt x="73" y="184"/>
                      <a:pt x="73" y="184"/>
                    </a:cubicBezTo>
                    <a:cubicBezTo>
                      <a:pt x="74" y="186"/>
                      <a:pt x="75" y="184"/>
                      <a:pt x="75" y="183"/>
                    </a:cubicBezTo>
                    <a:cubicBezTo>
                      <a:pt x="75" y="184"/>
                      <a:pt x="75" y="184"/>
                      <a:pt x="75" y="184"/>
                    </a:cubicBezTo>
                    <a:cubicBezTo>
                      <a:pt x="75" y="185"/>
                      <a:pt x="76" y="184"/>
                      <a:pt x="76" y="185"/>
                    </a:cubicBezTo>
                    <a:cubicBezTo>
                      <a:pt x="76" y="185"/>
                      <a:pt x="76" y="184"/>
                      <a:pt x="75" y="185"/>
                    </a:cubicBezTo>
                    <a:cubicBezTo>
                      <a:pt x="75" y="185"/>
                      <a:pt x="75" y="185"/>
                      <a:pt x="75" y="185"/>
                    </a:cubicBezTo>
                    <a:cubicBezTo>
                      <a:pt x="75" y="185"/>
                      <a:pt x="75" y="187"/>
                      <a:pt x="75" y="187"/>
                    </a:cubicBezTo>
                    <a:cubicBezTo>
                      <a:pt x="75" y="187"/>
                      <a:pt x="75" y="187"/>
                      <a:pt x="75" y="187"/>
                    </a:cubicBezTo>
                    <a:cubicBezTo>
                      <a:pt x="75" y="187"/>
                      <a:pt x="74" y="188"/>
                      <a:pt x="74" y="188"/>
                    </a:cubicBezTo>
                    <a:cubicBezTo>
                      <a:pt x="74" y="188"/>
                      <a:pt x="75" y="188"/>
                      <a:pt x="75" y="188"/>
                    </a:cubicBezTo>
                    <a:cubicBezTo>
                      <a:pt x="75" y="189"/>
                      <a:pt x="75" y="189"/>
                      <a:pt x="75" y="190"/>
                    </a:cubicBezTo>
                    <a:cubicBezTo>
                      <a:pt x="75" y="190"/>
                      <a:pt x="74" y="191"/>
                      <a:pt x="74" y="191"/>
                    </a:cubicBezTo>
                    <a:cubicBezTo>
                      <a:pt x="74" y="191"/>
                      <a:pt x="75" y="191"/>
                      <a:pt x="75" y="192"/>
                    </a:cubicBezTo>
                    <a:cubicBezTo>
                      <a:pt x="75" y="192"/>
                      <a:pt x="75" y="192"/>
                      <a:pt x="75" y="192"/>
                    </a:cubicBezTo>
                    <a:cubicBezTo>
                      <a:pt x="75" y="193"/>
                      <a:pt x="75" y="193"/>
                      <a:pt x="74" y="194"/>
                    </a:cubicBezTo>
                    <a:cubicBezTo>
                      <a:pt x="74" y="194"/>
                      <a:pt x="74" y="194"/>
                      <a:pt x="74" y="194"/>
                    </a:cubicBezTo>
                    <a:cubicBezTo>
                      <a:pt x="74" y="194"/>
                      <a:pt x="74" y="195"/>
                      <a:pt x="74" y="195"/>
                    </a:cubicBezTo>
                    <a:cubicBezTo>
                      <a:pt x="74" y="195"/>
                      <a:pt x="73" y="195"/>
                      <a:pt x="73" y="195"/>
                    </a:cubicBezTo>
                    <a:cubicBezTo>
                      <a:pt x="73" y="195"/>
                      <a:pt x="73" y="196"/>
                      <a:pt x="73" y="196"/>
                    </a:cubicBezTo>
                    <a:cubicBezTo>
                      <a:pt x="73" y="196"/>
                      <a:pt x="73" y="195"/>
                      <a:pt x="73" y="195"/>
                    </a:cubicBezTo>
                    <a:cubicBezTo>
                      <a:pt x="73" y="196"/>
                      <a:pt x="73" y="196"/>
                      <a:pt x="73" y="196"/>
                    </a:cubicBezTo>
                    <a:cubicBezTo>
                      <a:pt x="73" y="197"/>
                      <a:pt x="74" y="198"/>
                      <a:pt x="74" y="199"/>
                    </a:cubicBezTo>
                    <a:cubicBezTo>
                      <a:pt x="74" y="200"/>
                      <a:pt x="73" y="201"/>
                      <a:pt x="73" y="202"/>
                    </a:cubicBezTo>
                    <a:cubicBezTo>
                      <a:pt x="74" y="202"/>
                      <a:pt x="74" y="203"/>
                      <a:pt x="74" y="203"/>
                    </a:cubicBezTo>
                    <a:cubicBezTo>
                      <a:pt x="74" y="204"/>
                      <a:pt x="76" y="199"/>
                      <a:pt x="76" y="199"/>
                    </a:cubicBezTo>
                    <a:cubicBezTo>
                      <a:pt x="76" y="198"/>
                      <a:pt x="76" y="198"/>
                      <a:pt x="76" y="197"/>
                    </a:cubicBezTo>
                    <a:cubicBezTo>
                      <a:pt x="76" y="197"/>
                      <a:pt x="76" y="197"/>
                      <a:pt x="76" y="196"/>
                    </a:cubicBezTo>
                    <a:cubicBezTo>
                      <a:pt x="76" y="196"/>
                      <a:pt x="76" y="195"/>
                      <a:pt x="76" y="195"/>
                    </a:cubicBezTo>
                    <a:cubicBezTo>
                      <a:pt x="77" y="195"/>
                      <a:pt x="77" y="195"/>
                      <a:pt x="77" y="195"/>
                    </a:cubicBezTo>
                    <a:cubicBezTo>
                      <a:pt x="77" y="194"/>
                      <a:pt x="78" y="195"/>
                      <a:pt x="78" y="193"/>
                    </a:cubicBezTo>
                    <a:cubicBezTo>
                      <a:pt x="78" y="193"/>
                      <a:pt x="78" y="193"/>
                      <a:pt x="79" y="193"/>
                    </a:cubicBezTo>
                    <a:cubicBezTo>
                      <a:pt x="79" y="192"/>
                      <a:pt x="79" y="192"/>
                      <a:pt x="80" y="191"/>
                    </a:cubicBezTo>
                    <a:cubicBezTo>
                      <a:pt x="80" y="190"/>
                      <a:pt x="81" y="190"/>
                      <a:pt x="81" y="189"/>
                    </a:cubicBezTo>
                    <a:cubicBezTo>
                      <a:pt x="81" y="188"/>
                      <a:pt x="81" y="188"/>
                      <a:pt x="81" y="188"/>
                    </a:cubicBezTo>
                    <a:cubicBezTo>
                      <a:pt x="81" y="188"/>
                      <a:pt x="81" y="187"/>
                      <a:pt x="81" y="187"/>
                    </a:cubicBezTo>
                    <a:cubicBezTo>
                      <a:pt x="82" y="187"/>
                      <a:pt x="82" y="187"/>
                      <a:pt x="82" y="187"/>
                    </a:cubicBezTo>
                    <a:cubicBezTo>
                      <a:pt x="82" y="186"/>
                      <a:pt x="82" y="186"/>
                      <a:pt x="82" y="186"/>
                    </a:cubicBezTo>
                    <a:cubicBezTo>
                      <a:pt x="82" y="185"/>
                      <a:pt x="83" y="186"/>
                      <a:pt x="83" y="185"/>
                    </a:cubicBezTo>
                    <a:cubicBezTo>
                      <a:pt x="83" y="185"/>
                      <a:pt x="84" y="184"/>
                      <a:pt x="83" y="183"/>
                    </a:cubicBezTo>
                    <a:cubicBezTo>
                      <a:pt x="83" y="183"/>
                      <a:pt x="83" y="183"/>
                      <a:pt x="83" y="182"/>
                    </a:cubicBezTo>
                    <a:cubicBezTo>
                      <a:pt x="83" y="182"/>
                      <a:pt x="83" y="182"/>
                      <a:pt x="83" y="181"/>
                    </a:cubicBezTo>
                    <a:cubicBezTo>
                      <a:pt x="82" y="181"/>
                      <a:pt x="82" y="181"/>
                      <a:pt x="82" y="181"/>
                    </a:cubicBezTo>
                    <a:cubicBezTo>
                      <a:pt x="82" y="180"/>
                      <a:pt x="82" y="180"/>
                      <a:pt x="82" y="180"/>
                    </a:cubicBezTo>
                    <a:cubicBezTo>
                      <a:pt x="82" y="180"/>
                      <a:pt x="82" y="180"/>
                      <a:pt x="81" y="180"/>
                    </a:cubicBezTo>
                    <a:cubicBezTo>
                      <a:pt x="81" y="180"/>
                      <a:pt x="81" y="179"/>
                      <a:pt x="81" y="179"/>
                    </a:cubicBezTo>
                    <a:cubicBezTo>
                      <a:pt x="81" y="178"/>
                      <a:pt x="81" y="178"/>
                      <a:pt x="81" y="177"/>
                    </a:cubicBezTo>
                    <a:cubicBezTo>
                      <a:pt x="81" y="177"/>
                      <a:pt x="81" y="177"/>
                      <a:pt x="81" y="176"/>
                    </a:cubicBezTo>
                    <a:cubicBezTo>
                      <a:pt x="80" y="176"/>
                      <a:pt x="81" y="175"/>
                      <a:pt x="80" y="175"/>
                    </a:cubicBezTo>
                    <a:cubicBezTo>
                      <a:pt x="79" y="174"/>
                      <a:pt x="79" y="174"/>
                      <a:pt x="79" y="173"/>
                    </a:cubicBezTo>
                    <a:cubicBezTo>
                      <a:pt x="78" y="173"/>
                      <a:pt x="78" y="172"/>
                      <a:pt x="78" y="172"/>
                    </a:cubicBezTo>
                    <a:cubicBezTo>
                      <a:pt x="78" y="171"/>
                      <a:pt x="78" y="171"/>
                      <a:pt x="77" y="170"/>
                    </a:cubicBezTo>
                    <a:cubicBezTo>
                      <a:pt x="77" y="170"/>
                      <a:pt x="77" y="168"/>
                      <a:pt x="77" y="168"/>
                    </a:cubicBezTo>
                    <a:cubicBezTo>
                      <a:pt x="77" y="168"/>
                      <a:pt x="78" y="168"/>
                      <a:pt x="78" y="168"/>
                    </a:cubicBezTo>
                    <a:cubicBezTo>
                      <a:pt x="78" y="168"/>
                      <a:pt x="78" y="167"/>
                      <a:pt x="78" y="167"/>
                    </a:cubicBezTo>
                    <a:cubicBezTo>
                      <a:pt x="77" y="166"/>
                      <a:pt x="78" y="166"/>
                      <a:pt x="77" y="165"/>
                    </a:cubicBezTo>
                    <a:cubicBezTo>
                      <a:pt x="77" y="164"/>
                      <a:pt x="77" y="164"/>
                      <a:pt x="77" y="163"/>
                    </a:cubicBezTo>
                    <a:cubicBezTo>
                      <a:pt x="77" y="162"/>
                      <a:pt x="76" y="162"/>
                      <a:pt x="76" y="161"/>
                    </a:cubicBezTo>
                    <a:cubicBezTo>
                      <a:pt x="76" y="160"/>
                      <a:pt x="75" y="160"/>
                      <a:pt x="75" y="160"/>
                    </a:cubicBezTo>
                    <a:cubicBezTo>
                      <a:pt x="75" y="159"/>
                      <a:pt x="75" y="159"/>
                      <a:pt x="74" y="158"/>
                    </a:cubicBezTo>
                    <a:cubicBezTo>
                      <a:pt x="74" y="158"/>
                      <a:pt x="73" y="157"/>
                      <a:pt x="72" y="157"/>
                    </a:cubicBezTo>
                    <a:cubicBezTo>
                      <a:pt x="72" y="156"/>
                      <a:pt x="72" y="157"/>
                      <a:pt x="72" y="156"/>
                    </a:cubicBezTo>
                    <a:cubicBezTo>
                      <a:pt x="71" y="156"/>
                      <a:pt x="70" y="155"/>
                      <a:pt x="70" y="155"/>
                    </a:cubicBezTo>
                    <a:cubicBezTo>
                      <a:pt x="70" y="154"/>
                      <a:pt x="69" y="154"/>
                      <a:pt x="69" y="153"/>
                    </a:cubicBezTo>
                    <a:cubicBezTo>
                      <a:pt x="69" y="152"/>
                      <a:pt x="68" y="152"/>
                      <a:pt x="68" y="151"/>
                    </a:cubicBezTo>
                    <a:cubicBezTo>
                      <a:pt x="67" y="151"/>
                      <a:pt x="67" y="150"/>
                      <a:pt x="67" y="149"/>
                    </a:cubicBezTo>
                    <a:cubicBezTo>
                      <a:pt x="67" y="149"/>
                      <a:pt x="66" y="149"/>
                      <a:pt x="66" y="148"/>
                    </a:cubicBezTo>
                    <a:cubicBezTo>
                      <a:pt x="66" y="148"/>
                      <a:pt x="66" y="148"/>
                      <a:pt x="66" y="148"/>
                    </a:cubicBezTo>
                    <a:cubicBezTo>
                      <a:pt x="66" y="147"/>
                      <a:pt x="66" y="146"/>
                      <a:pt x="66" y="146"/>
                    </a:cubicBezTo>
                    <a:cubicBezTo>
                      <a:pt x="67" y="146"/>
                      <a:pt x="67" y="145"/>
                      <a:pt x="67" y="145"/>
                    </a:cubicBezTo>
                    <a:cubicBezTo>
                      <a:pt x="67" y="145"/>
                      <a:pt x="68" y="145"/>
                      <a:pt x="68" y="145"/>
                    </a:cubicBezTo>
                    <a:cubicBezTo>
                      <a:pt x="68" y="145"/>
                      <a:pt x="68" y="144"/>
                      <a:pt x="69" y="144"/>
                    </a:cubicBezTo>
                    <a:cubicBezTo>
                      <a:pt x="69" y="144"/>
                      <a:pt x="69" y="145"/>
                      <a:pt x="69" y="144"/>
                    </a:cubicBezTo>
                    <a:cubicBezTo>
                      <a:pt x="69" y="144"/>
                      <a:pt x="69" y="143"/>
                      <a:pt x="69" y="143"/>
                    </a:cubicBezTo>
                    <a:cubicBezTo>
                      <a:pt x="69" y="141"/>
                      <a:pt x="69" y="140"/>
                      <a:pt x="69" y="139"/>
                    </a:cubicBezTo>
                    <a:cubicBezTo>
                      <a:pt x="69" y="138"/>
                      <a:pt x="69" y="138"/>
                      <a:pt x="69" y="137"/>
                    </a:cubicBezTo>
                    <a:cubicBezTo>
                      <a:pt x="69" y="137"/>
                      <a:pt x="68" y="137"/>
                      <a:pt x="69" y="137"/>
                    </a:cubicBezTo>
                    <a:cubicBezTo>
                      <a:pt x="70" y="137"/>
                      <a:pt x="69" y="136"/>
                      <a:pt x="70" y="136"/>
                    </a:cubicBezTo>
                    <a:cubicBezTo>
                      <a:pt x="70" y="136"/>
                      <a:pt x="70" y="136"/>
                      <a:pt x="71" y="136"/>
                    </a:cubicBezTo>
                    <a:cubicBezTo>
                      <a:pt x="71" y="136"/>
                      <a:pt x="71" y="135"/>
                      <a:pt x="71" y="134"/>
                    </a:cubicBezTo>
                    <a:cubicBezTo>
                      <a:pt x="71" y="134"/>
                      <a:pt x="72" y="133"/>
                      <a:pt x="71" y="133"/>
                    </a:cubicBezTo>
                    <a:cubicBezTo>
                      <a:pt x="71" y="133"/>
                      <a:pt x="71" y="133"/>
                      <a:pt x="71" y="132"/>
                    </a:cubicBezTo>
                    <a:cubicBezTo>
                      <a:pt x="70" y="133"/>
                      <a:pt x="70" y="134"/>
                      <a:pt x="70" y="134"/>
                    </a:cubicBezTo>
                    <a:cubicBezTo>
                      <a:pt x="69" y="135"/>
                      <a:pt x="69" y="133"/>
                      <a:pt x="69" y="133"/>
                    </a:cubicBezTo>
                    <a:cubicBezTo>
                      <a:pt x="69" y="132"/>
                      <a:pt x="68" y="131"/>
                      <a:pt x="68" y="131"/>
                    </a:cubicBezTo>
                    <a:cubicBezTo>
                      <a:pt x="67" y="130"/>
                      <a:pt x="67" y="130"/>
                      <a:pt x="67" y="129"/>
                    </a:cubicBezTo>
                    <a:cubicBezTo>
                      <a:pt x="67" y="129"/>
                      <a:pt x="67" y="129"/>
                      <a:pt x="67" y="128"/>
                    </a:cubicBezTo>
                    <a:cubicBezTo>
                      <a:pt x="67" y="128"/>
                      <a:pt x="67" y="128"/>
                      <a:pt x="67" y="128"/>
                    </a:cubicBezTo>
                    <a:cubicBezTo>
                      <a:pt x="67" y="128"/>
                      <a:pt x="67" y="128"/>
                      <a:pt x="67" y="128"/>
                    </a:cubicBezTo>
                    <a:cubicBezTo>
                      <a:pt x="67" y="127"/>
                      <a:pt x="66" y="126"/>
                      <a:pt x="65" y="126"/>
                    </a:cubicBezTo>
                    <a:cubicBezTo>
                      <a:pt x="65" y="126"/>
                      <a:pt x="65" y="125"/>
                      <a:pt x="64" y="124"/>
                    </a:cubicBezTo>
                    <a:cubicBezTo>
                      <a:pt x="64" y="124"/>
                      <a:pt x="63" y="124"/>
                      <a:pt x="63" y="124"/>
                    </a:cubicBezTo>
                    <a:cubicBezTo>
                      <a:pt x="63" y="123"/>
                      <a:pt x="63" y="123"/>
                      <a:pt x="62" y="123"/>
                    </a:cubicBezTo>
                    <a:cubicBezTo>
                      <a:pt x="61" y="121"/>
                      <a:pt x="59" y="120"/>
                      <a:pt x="58" y="118"/>
                    </a:cubicBezTo>
                    <a:cubicBezTo>
                      <a:pt x="58" y="117"/>
                      <a:pt x="57" y="117"/>
                      <a:pt x="58" y="116"/>
                    </a:cubicBezTo>
                    <a:cubicBezTo>
                      <a:pt x="58" y="116"/>
                      <a:pt x="57" y="115"/>
                      <a:pt x="57" y="114"/>
                    </a:cubicBezTo>
                    <a:cubicBezTo>
                      <a:pt x="57" y="114"/>
                      <a:pt x="57" y="113"/>
                      <a:pt x="56" y="113"/>
                    </a:cubicBezTo>
                    <a:cubicBezTo>
                      <a:pt x="56" y="113"/>
                      <a:pt x="57" y="112"/>
                      <a:pt x="56" y="112"/>
                    </a:cubicBezTo>
                    <a:cubicBezTo>
                      <a:pt x="56" y="111"/>
                      <a:pt x="56" y="112"/>
                      <a:pt x="55" y="112"/>
                    </a:cubicBezTo>
                    <a:cubicBezTo>
                      <a:pt x="55" y="113"/>
                      <a:pt x="54" y="111"/>
                      <a:pt x="54" y="111"/>
                    </a:cubicBezTo>
                    <a:cubicBezTo>
                      <a:pt x="54" y="110"/>
                      <a:pt x="53" y="110"/>
                      <a:pt x="53" y="109"/>
                    </a:cubicBezTo>
                    <a:cubicBezTo>
                      <a:pt x="54" y="110"/>
                      <a:pt x="55" y="110"/>
                      <a:pt x="56" y="110"/>
                    </a:cubicBezTo>
                    <a:cubicBezTo>
                      <a:pt x="56" y="109"/>
                      <a:pt x="58" y="109"/>
                      <a:pt x="57" y="108"/>
                    </a:cubicBezTo>
                    <a:cubicBezTo>
                      <a:pt x="57" y="108"/>
                      <a:pt x="57" y="107"/>
                      <a:pt x="57" y="106"/>
                    </a:cubicBezTo>
                    <a:cubicBezTo>
                      <a:pt x="57" y="106"/>
                      <a:pt x="56" y="106"/>
                      <a:pt x="56" y="105"/>
                    </a:cubicBezTo>
                    <a:cubicBezTo>
                      <a:pt x="56" y="105"/>
                      <a:pt x="57" y="104"/>
                      <a:pt x="57" y="103"/>
                    </a:cubicBezTo>
                    <a:cubicBezTo>
                      <a:pt x="57" y="103"/>
                      <a:pt x="57" y="103"/>
                      <a:pt x="57" y="102"/>
                    </a:cubicBezTo>
                    <a:cubicBezTo>
                      <a:pt x="57" y="102"/>
                      <a:pt x="56" y="102"/>
                      <a:pt x="57" y="101"/>
                    </a:cubicBezTo>
                    <a:cubicBezTo>
                      <a:pt x="57" y="101"/>
                      <a:pt x="57" y="100"/>
                      <a:pt x="57" y="100"/>
                    </a:cubicBezTo>
                    <a:cubicBezTo>
                      <a:pt x="56" y="100"/>
                      <a:pt x="57" y="100"/>
                      <a:pt x="57" y="99"/>
                    </a:cubicBezTo>
                    <a:cubicBezTo>
                      <a:pt x="57" y="99"/>
                      <a:pt x="57" y="98"/>
                      <a:pt x="57" y="98"/>
                    </a:cubicBezTo>
                    <a:cubicBezTo>
                      <a:pt x="58" y="98"/>
                      <a:pt x="58" y="98"/>
                      <a:pt x="58" y="97"/>
                    </a:cubicBezTo>
                    <a:cubicBezTo>
                      <a:pt x="58" y="97"/>
                      <a:pt x="58" y="95"/>
                      <a:pt x="59" y="96"/>
                    </a:cubicBezTo>
                    <a:cubicBezTo>
                      <a:pt x="59" y="96"/>
                      <a:pt x="60" y="96"/>
                      <a:pt x="60" y="96"/>
                    </a:cubicBezTo>
                    <a:cubicBezTo>
                      <a:pt x="60" y="97"/>
                      <a:pt x="60" y="97"/>
                      <a:pt x="61" y="97"/>
                    </a:cubicBezTo>
                    <a:cubicBezTo>
                      <a:pt x="62" y="97"/>
                      <a:pt x="62" y="96"/>
                      <a:pt x="63" y="97"/>
                    </a:cubicBezTo>
                    <a:cubicBezTo>
                      <a:pt x="64" y="97"/>
                      <a:pt x="64" y="97"/>
                      <a:pt x="64" y="96"/>
                    </a:cubicBezTo>
                    <a:cubicBezTo>
                      <a:pt x="65" y="96"/>
                      <a:pt x="65" y="96"/>
                      <a:pt x="65" y="96"/>
                    </a:cubicBezTo>
                    <a:cubicBezTo>
                      <a:pt x="66" y="95"/>
                      <a:pt x="67" y="97"/>
                      <a:pt x="67" y="96"/>
                    </a:cubicBezTo>
                    <a:cubicBezTo>
                      <a:pt x="68" y="95"/>
                      <a:pt x="67" y="94"/>
                      <a:pt x="68" y="93"/>
                    </a:cubicBezTo>
                    <a:cubicBezTo>
                      <a:pt x="68" y="92"/>
                      <a:pt x="69" y="92"/>
                      <a:pt x="70" y="93"/>
                    </a:cubicBezTo>
                    <a:cubicBezTo>
                      <a:pt x="70" y="93"/>
                      <a:pt x="72" y="92"/>
                      <a:pt x="72" y="92"/>
                    </a:cubicBezTo>
                    <a:cubicBezTo>
                      <a:pt x="72" y="91"/>
                      <a:pt x="71" y="90"/>
                      <a:pt x="71" y="89"/>
                    </a:cubicBezTo>
                    <a:cubicBezTo>
                      <a:pt x="71" y="89"/>
                      <a:pt x="72" y="90"/>
                      <a:pt x="72" y="90"/>
                    </a:cubicBezTo>
                    <a:cubicBezTo>
                      <a:pt x="72" y="90"/>
                      <a:pt x="73" y="90"/>
                      <a:pt x="73" y="90"/>
                    </a:cubicBezTo>
                    <a:cubicBezTo>
                      <a:pt x="74" y="90"/>
                      <a:pt x="74" y="90"/>
                      <a:pt x="75" y="89"/>
                    </a:cubicBezTo>
                    <a:cubicBezTo>
                      <a:pt x="75" y="89"/>
                      <a:pt x="75" y="88"/>
                      <a:pt x="76" y="89"/>
                    </a:cubicBezTo>
                    <a:cubicBezTo>
                      <a:pt x="76" y="89"/>
                      <a:pt x="77" y="90"/>
                      <a:pt x="77" y="90"/>
                    </a:cubicBezTo>
                    <a:cubicBezTo>
                      <a:pt x="78" y="90"/>
                      <a:pt x="77" y="84"/>
                      <a:pt x="79" y="84"/>
                    </a:cubicBezTo>
                    <a:cubicBezTo>
                      <a:pt x="80" y="85"/>
                      <a:pt x="81" y="85"/>
                      <a:pt x="81" y="84"/>
                    </a:cubicBezTo>
                    <a:cubicBezTo>
                      <a:pt x="82" y="84"/>
                      <a:pt x="81" y="84"/>
                      <a:pt x="81" y="84"/>
                    </a:cubicBezTo>
                    <a:cubicBezTo>
                      <a:pt x="81" y="84"/>
                      <a:pt x="80" y="84"/>
                      <a:pt x="80" y="83"/>
                    </a:cubicBezTo>
                    <a:cubicBezTo>
                      <a:pt x="80" y="83"/>
                      <a:pt x="80" y="82"/>
                      <a:pt x="81" y="82"/>
                    </a:cubicBezTo>
                    <a:cubicBezTo>
                      <a:pt x="81" y="82"/>
                      <a:pt x="81" y="81"/>
                      <a:pt x="81" y="80"/>
                    </a:cubicBezTo>
                    <a:cubicBezTo>
                      <a:pt x="82" y="80"/>
                      <a:pt x="81" y="79"/>
                      <a:pt x="82" y="79"/>
                    </a:cubicBezTo>
                    <a:close/>
                    <a:moveTo>
                      <a:pt x="69" y="171"/>
                    </a:moveTo>
                    <a:cubicBezTo>
                      <a:pt x="69" y="171"/>
                      <a:pt x="69" y="170"/>
                      <a:pt x="69" y="170"/>
                    </a:cubicBezTo>
                    <a:cubicBezTo>
                      <a:pt x="70" y="169"/>
                      <a:pt x="69" y="169"/>
                      <a:pt x="69" y="169"/>
                    </a:cubicBezTo>
                    <a:cubicBezTo>
                      <a:pt x="69" y="169"/>
                      <a:pt x="69" y="168"/>
                      <a:pt x="69" y="168"/>
                    </a:cubicBezTo>
                    <a:cubicBezTo>
                      <a:pt x="68" y="168"/>
                      <a:pt x="69" y="169"/>
                      <a:pt x="69" y="169"/>
                    </a:cubicBezTo>
                    <a:cubicBezTo>
                      <a:pt x="69" y="170"/>
                      <a:pt x="69" y="170"/>
                      <a:pt x="69" y="171"/>
                    </a:cubicBezTo>
                    <a:cubicBezTo>
                      <a:pt x="69" y="171"/>
                      <a:pt x="69" y="171"/>
                      <a:pt x="69" y="171"/>
                    </a:cubicBezTo>
                    <a:close/>
                    <a:moveTo>
                      <a:pt x="68" y="184"/>
                    </a:moveTo>
                    <a:cubicBezTo>
                      <a:pt x="68" y="184"/>
                      <a:pt x="67" y="183"/>
                      <a:pt x="67" y="183"/>
                    </a:cubicBezTo>
                    <a:cubicBezTo>
                      <a:pt x="67" y="183"/>
                      <a:pt x="68" y="185"/>
                      <a:pt x="68" y="185"/>
                    </a:cubicBezTo>
                    <a:cubicBezTo>
                      <a:pt x="68" y="185"/>
                      <a:pt x="68" y="185"/>
                      <a:pt x="68" y="185"/>
                    </a:cubicBezTo>
                    <a:cubicBezTo>
                      <a:pt x="68" y="185"/>
                      <a:pt x="68" y="185"/>
                      <a:pt x="68" y="184"/>
                    </a:cubicBezTo>
                    <a:close/>
                    <a:moveTo>
                      <a:pt x="71" y="198"/>
                    </a:moveTo>
                    <a:cubicBezTo>
                      <a:pt x="71" y="197"/>
                      <a:pt x="70" y="198"/>
                      <a:pt x="70" y="198"/>
                    </a:cubicBezTo>
                    <a:cubicBezTo>
                      <a:pt x="71" y="198"/>
                      <a:pt x="71" y="198"/>
                      <a:pt x="71" y="198"/>
                    </a:cubicBezTo>
                    <a:close/>
                    <a:moveTo>
                      <a:pt x="73" y="194"/>
                    </a:moveTo>
                    <a:cubicBezTo>
                      <a:pt x="73" y="194"/>
                      <a:pt x="73" y="195"/>
                      <a:pt x="73" y="195"/>
                    </a:cubicBezTo>
                    <a:cubicBezTo>
                      <a:pt x="73" y="195"/>
                      <a:pt x="74" y="194"/>
                      <a:pt x="74" y="194"/>
                    </a:cubicBezTo>
                    <a:cubicBezTo>
                      <a:pt x="74" y="194"/>
                      <a:pt x="73" y="193"/>
                      <a:pt x="73" y="194"/>
                    </a:cubicBezTo>
                    <a:close/>
                    <a:moveTo>
                      <a:pt x="72" y="176"/>
                    </a:moveTo>
                    <a:cubicBezTo>
                      <a:pt x="71" y="176"/>
                      <a:pt x="71" y="177"/>
                      <a:pt x="71" y="177"/>
                    </a:cubicBezTo>
                    <a:cubicBezTo>
                      <a:pt x="72" y="178"/>
                      <a:pt x="72" y="176"/>
                      <a:pt x="72" y="176"/>
                    </a:cubicBezTo>
                    <a:close/>
                    <a:moveTo>
                      <a:pt x="70" y="183"/>
                    </a:moveTo>
                    <a:cubicBezTo>
                      <a:pt x="70" y="183"/>
                      <a:pt x="70" y="183"/>
                      <a:pt x="70" y="182"/>
                    </a:cubicBezTo>
                    <a:cubicBezTo>
                      <a:pt x="70" y="182"/>
                      <a:pt x="70" y="183"/>
                      <a:pt x="70" y="183"/>
                    </a:cubicBezTo>
                    <a:close/>
                    <a:moveTo>
                      <a:pt x="70" y="187"/>
                    </a:moveTo>
                    <a:cubicBezTo>
                      <a:pt x="70" y="187"/>
                      <a:pt x="70" y="187"/>
                      <a:pt x="70" y="187"/>
                    </a:cubicBezTo>
                    <a:cubicBezTo>
                      <a:pt x="70" y="186"/>
                      <a:pt x="71" y="185"/>
                      <a:pt x="70" y="184"/>
                    </a:cubicBezTo>
                    <a:cubicBezTo>
                      <a:pt x="70" y="183"/>
                      <a:pt x="70" y="184"/>
                      <a:pt x="70" y="185"/>
                    </a:cubicBezTo>
                    <a:cubicBezTo>
                      <a:pt x="70" y="186"/>
                      <a:pt x="70" y="187"/>
                      <a:pt x="69" y="187"/>
                    </a:cubicBezTo>
                    <a:cubicBezTo>
                      <a:pt x="70" y="188"/>
                      <a:pt x="70" y="187"/>
                      <a:pt x="70" y="187"/>
                    </a:cubicBezTo>
                    <a:close/>
                    <a:moveTo>
                      <a:pt x="71" y="196"/>
                    </a:moveTo>
                    <a:cubicBezTo>
                      <a:pt x="70" y="196"/>
                      <a:pt x="71" y="196"/>
                      <a:pt x="71" y="195"/>
                    </a:cubicBezTo>
                    <a:cubicBezTo>
                      <a:pt x="71" y="195"/>
                      <a:pt x="71" y="193"/>
                      <a:pt x="70" y="193"/>
                    </a:cubicBezTo>
                    <a:cubicBezTo>
                      <a:pt x="69" y="192"/>
                      <a:pt x="69" y="194"/>
                      <a:pt x="69" y="194"/>
                    </a:cubicBezTo>
                    <a:cubicBezTo>
                      <a:pt x="69" y="194"/>
                      <a:pt x="70" y="193"/>
                      <a:pt x="70" y="193"/>
                    </a:cubicBezTo>
                    <a:cubicBezTo>
                      <a:pt x="70" y="194"/>
                      <a:pt x="70" y="194"/>
                      <a:pt x="70" y="194"/>
                    </a:cubicBezTo>
                    <a:cubicBezTo>
                      <a:pt x="71" y="195"/>
                      <a:pt x="71" y="195"/>
                      <a:pt x="71" y="196"/>
                    </a:cubicBezTo>
                    <a:close/>
                    <a:moveTo>
                      <a:pt x="70" y="206"/>
                    </a:moveTo>
                    <a:cubicBezTo>
                      <a:pt x="70" y="204"/>
                      <a:pt x="69" y="206"/>
                      <a:pt x="70" y="206"/>
                    </a:cubicBezTo>
                    <a:close/>
                    <a:moveTo>
                      <a:pt x="69" y="175"/>
                    </a:moveTo>
                    <a:cubicBezTo>
                      <a:pt x="69" y="175"/>
                      <a:pt x="69" y="176"/>
                      <a:pt x="69" y="176"/>
                    </a:cubicBezTo>
                    <a:cubicBezTo>
                      <a:pt x="69" y="176"/>
                      <a:pt x="70" y="175"/>
                      <a:pt x="69" y="175"/>
                    </a:cubicBezTo>
                    <a:close/>
                    <a:moveTo>
                      <a:pt x="58" y="132"/>
                    </a:moveTo>
                    <a:cubicBezTo>
                      <a:pt x="57" y="132"/>
                      <a:pt x="58" y="133"/>
                      <a:pt x="58" y="134"/>
                    </a:cubicBezTo>
                    <a:cubicBezTo>
                      <a:pt x="58" y="134"/>
                      <a:pt x="58" y="135"/>
                      <a:pt x="59" y="135"/>
                    </a:cubicBezTo>
                    <a:cubicBezTo>
                      <a:pt x="59" y="134"/>
                      <a:pt x="59" y="133"/>
                      <a:pt x="59" y="133"/>
                    </a:cubicBezTo>
                    <a:cubicBezTo>
                      <a:pt x="59" y="132"/>
                      <a:pt x="59" y="132"/>
                      <a:pt x="58" y="132"/>
                    </a:cubicBezTo>
                    <a:close/>
                    <a:moveTo>
                      <a:pt x="71" y="177"/>
                    </a:moveTo>
                    <a:cubicBezTo>
                      <a:pt x="71" y="176"/>
                      <a:pt x="72" y="175"/>
                      <a:pt x="71" y="175"/>
                    </a:cubicBezTo>
                    <a:cubicBezTo>
                      <a:pt x="71" y="175"/>
                      <a:pt x="71" y="175"/>
                      <a:pt x="71" y="175"/>
                    </a:cubicBezTo>
                    <a:cubicBezTo>
                      <a:pt x="70" y="175"/>
                      <a:pt x="71" y="174"/>
                      <a:pt x="70" y="174"/>
                    </a:cubicBezTo>
                    <a:cubicBezTo>
                      <a:pt x="70" y="174"/>
                      <a:pt x="70" y="174"/>
                      <a:pt x="70" y="174"/>
                    </a:cubicBezTo>
                    <a:cubicBezTo>
                      <a:pt x="69" y="175"/>
                      <a:pt x="70" y="176"/>
                      <a:pt x="70" y="177"/>
                    </a:cubicBezTo>
                    <a:cubicBezTo>
                      <a:pt x="70" y="178"/>
                      <a:pt x="70" y="178"/>
                      <a:pt x="70" y="178"/>
                    </a:cubicBezTo>
                    <a:cubicBezTo>
                      <a:pt x="71" y="178"/>
                      <a:pt x="71" y="177"/>
                      <a:pt x="71" y="177"/>
                    </a:cubicBezTo>
                    <a:close/>
                    <a:moveTo>
                      <a:pt x="68" y="178"/>
                    </a:moveTo>
                    <a:cubicBezTo>
                      <a:pt x="68" y="178"/>
                      <a:pt x="67" y="179"/>
                      <a:pt x="68" y="179"/>
                    </a:cubicBezTo>
                    <a:cubicBezTo>
                      <a:pt x="68" y="180"/>
                      <a:pt x="68" y="180"/>
                      <a:pt x="68" y="180"/>
                    </a:cubicBezTo>
                    <a:cubicBezTo>
                      <a:pt x="68" y="179"/>
                      <a:pt x="68" y="179"/>
                      <a:pt x="68" y="179"/>
                    </a:cubicBezTo>
                    <a:cubicBezTo>
                      <a:pt x="68" y="179"/>
                      <a:pt x="68" y="179"/>
                      <a:pt x="68" y="178"/>
                    </a:cubicBezTo>
                    <a:close/>
                    <a:moveTo>
                      <a:pt x="64" y="183"/>
                    </a:moveTo>
                    <a:cubicBezTo>
                      <a:pt x="64" y="183"/>
                      <a:pt x="64" y="183"/>
                      <a:pt x="64" y="183"/>
                    </a:cubicBezTo>
                    <a:cubicBezTo>
                      <a:pt x="64" y="183"/>
                      <a:pt x="64" y="183"/>
                      <a:pt x="64" y="183"/>
                    </a:cubicBezTo>
                    <a:close/>
                    <a:moveTo>
                      <a:pt x="73" y="184"/>
                    </a:moveTo>
                    <a:cubicBezTo>
                      <a:pt x="72" y="183"/>
                      <a:pt x="71" y="184"/>
                      <a:pt x="71" y="184"/>
                    </a:cubicBezTo>
                    <a:cubicBezTo>
                      <a:pt x="71" y="184"/>
                      <a:pt x="71" y="184"/>
                      <a:pt x="71" y="185"/>
                    </a:cubicBezTo>
                    <a:cubicBezTo>
                      <a:pt x="71" y="185"/>
                      <a:pt x="71" y="185"/>
                      <a:pt x="71" y="185"/>
                    </a:cubicBezTo>
                    <a:cubicBezTo>
                      <a:pt x="71" y="185"/>
                      <a:pt x="71" y="185"/>
                      <a:pt x="71" y="185"/>
                    </a:cubicBezTo>
                    <a:cubicBezTo>
                      <a:pt x="71" y="185"/>
                      <a:pt x="72" y="185"/>
                      <a:pt x="72" y="186"/>
                    </a:cubicBezTo>
                    <a:cubicBezTo>
                      <a:pt x="72" y="186"/>
                      <a:pt x="72" y="186"/>
                      <a:pt x="72" y="186"/>
                    </a:cubicBezTo>
                    <a:cubicBezTo>
                      <a:pt x="72" y="186"/>
                      <a:pt x="73" y="187"/>
                      <a:pt x="73" y="187"/>
                    </a:cubicBezTo>
                    <a:cubicBezTo>
                      <a:pt x="73" y="186"/>
                      <a:pt x="73" y="185"/>
                      <a:pt x="73" y="184"/>
                    </a:cubicBezTo>
                    <a:close/>
                    <a:moveTo>
                      <a:pt x="73" y="191"/>
                    </a:moveTo>
                    <a:cubicBezTo>
                      <a:pt x="73" y="192"/>
                      <a:pt x="73" y="192"/>
                      <a:pt x="73" y="192"/>
                    </a:cubicBezTo>
                    <a:cubicBezTo>
                      <a:pt x="72" y="193"/>
                      <a:pt x="73" y="193"/>
                      <a:pt x="73" y="193"/>
                    </a:cubicBezTo>
                    <a:cubicBezTo>
                      <a:pt x="73" y="192"/>
                      <a:pt x="73" y="192"/>
                      <a:pt x="73" y="191"/>
                    </a:cubicBezTo>
                    <a:close/>
                    <a:moveTo>
                      <a:pt x="67" y="194"/>
                    </a:moveTo>
                    <a:cubicBezTo>
                      <a:pt x="67" y="194"/>
                      <a:pt x="67" y="194"/>
                      <a:pt x="67" y="194"/>
                    </a:cubicBezTo>
                    <a:cubicBezTo>
                      <a:pt x="68" y="194"/>
                      <a:pt x="67" y="193"/>
                      <a:pt x="67" y="194"/>
                    </a:cubicBezTo>
                    <a:close/>
                    <a:moveTo>
                      <a:pt x="17" y="106"/>
                    </a:moveTo>
                    <a:cubicBezTo>
                      <a:pt x="17" y="105"/>
                      <a:pt x="16" y="106"/>
                      <a:pt x="16" y="106"/>
                    </a:cubicBezTo>
                    <a:cubicBezTo>
                      <a:pt x="16" y="107"/>
                      <a:pt x="17" y="107"/>
                      <a:pt x="18" y="108"/>
                    </a:cubicBezTo>
                    <a:cubicBezTo>
                      <a:pt x="18" y="108"/>
                      <a:pt x="19" y="108"/>
                      <a:pt x="19" y="107"/>
                    </a:cubicBezTo>
                    <a:cubicBezTo>
                      <a:pt x="19" y="107"/>
                      <a:pt x="19" y="106"/>
                      <a:pt x="19" y="106"/>
                    </a:cubicBezTo>
                    <a:cubicBezTo>
                      <a:pt x="18" y="106"/>
                      <a:pt x="18" y="106"/>
                      <a:pt x="17" y="106"/>
                    </a:cubicBezTo>
                    <a:close/>
                    <a:moveTo>
                      <a:pt x="68" y="199"/>
                    </a:moveTo>
                    <a:cubicBezTo>
                      <a:pt x="68" y="198"/>
                      <a:pt x="68" y="198"/>
                      <a:pt x="68" y="198"/>
                    </a:cubicBezTo>
                    <a:cubicBezTo>
                      <a:pt x="67" y="198"/>
                      <a:pt x="67" y="199"/>
                      <a:pt x="68" y="199"/>
                    </a:cubicBezTo>
                    <a:close/>
                    <a:moveTo>
                      <a:pt x="68" y="177"/>
                    </a:moveTo>
                    <a:cubicBezTo>
                      <a:pt x="68" y="177"/>
                      <a:pt x="67" y="177"/>
                      <a:pt x="67" y="177"/>
                    </a:cubicBezTo>
                    <a:cubicBezTo>
                      <a:pt x="67" y="178"/>
                      <a:pt x="67" y="177"/>
                      <a:pt x="67" y="177"/>
                    </a:cubicBezTo>
                    <a:cubicBezTo>
                      <a:pt x="67" y="177"/>
                      <a:pt x="66" y="177"/>
                      <a:pt x="67" y="178"/>
                    </a:cubicBezTo>
                    <a:cubicBezTo>
                      <a:pt x="67" y="178"/>
                      <a:pt x="67" y="178"/>
                      <a:pt x="66" y="178"/>
                    </a:cubicBezTo>
                    <a:cubicBezTo>
                      <a:pt x="67" y="178"/>
                      <a:pt x="67" y="178"/>
                      <a:pt x="67" y="178"/>
                    </a:cubicBezTo>
                    <a:cubicBezTo>
                      <a:pt x="67" y="178"/>
                      <a:pt x="67" y="178"/>
                      <a:pt x="67" y="178"/>
                    </a:cubicBezTo>
                    <a:cubicBezTo>
                      <a:pt x="67" y="178"/>
                      <a:pt x="68" y="177"/>
                      <a:pt x="68" y="177"/>
                    </a:cubicBezTo>
                    <a:close/>
                    <a:moveTo>
                      <a:pt x="20" y="103"/>
                    </a:moveTo>
                    <a:cubicBezTo>
                      <a:pt x="20" y="103"/>
                      <a:pt x="20" y="103"/>
                      <a:pt x="20" y="102"/>
                    </a:cubicBezTo>
                    <a:cubicBezTo>
                      <a:pt x="19" y="101"/>
                      <a:pt x="19" y="102"/>
                      <a:pt x="18" y="102"/>
                    </a:cubicBezTo>
                    <a:cubicBezTo>
                      <a:pt x="18" y="101"/>
                      <a:pt x="17" y="101"/>
                      <a:pt x="17" y="101"/>
                    </a:cubicBezTo>
                    <a:cubicBezTo>
                      <a:pt x="16" y="101"/>
                      <a:pt x="17" y="101"/>
                      <a:pt x="17" y="101"/>
                    </a:cubicBezTo>
                    <a:cubicBezTo>
                      <a:pt x="16" y="99"/>
                      <a:pt x="15" y="100"/>
                      <a:pt x="15" y="101"/>
                    </a:cubicBezTo>
                    <a:cubicBezTo>
                      <a:pt x="16" y="102"/>
                      <a:pt x="17" y="103"/>
                      <a:pt x="17" y="103"/>
                    </a:cubicBezTo>
                    <a:cubicBezTo>
                      <a:pt x="18" y="104"/>
                      <a:pt x="17" y="104"/>
                      <a:pt x="18" y="104"/>
                    </a:cubicBezTo>
                    <a:cubicBezTo>
                      <a:pt x="18" y="104"/>
                      <a:pt x="18" y="105"/>
                      <a:pt x="18" y="105"/>
                    </a:cubicBezTo>
                    <a:cubicBezTo>
                      <a:pt x="19" y="105"/>
                      <a:pt x="20" y="105"/>
                      <a:pt x="20" y="106"/>
                    </a:cubicBezTo>
                    <a:cubicBezTo>
                      <a:pt x="20" y="106"/>
                      <a:pt x="21" y="105"/>
                      <a:pt x="21" y="105"/>
                    </a:cubicBezTo>
                    <a:cubicBezTo>
                      <a:pt x="21" y="105"/>
                      <a:pt x="20" y="104"/>
                      <a:pt x="20" y="104"/>
                    </a:cubicBezTo>
                    <a:cubicBezTo>
                      <a:pt x="20" y="104"/>
                      <a:pt x="20" y="103"/>
                      <a:pt x="20" y="103"/>
                    </a:cubicBezTo>
                    <a:close/>
                    <a:moveTo>
                      <a:pt x="9" y="93"/>
                    </a:moveTo>
                    <a:cubicBezTo>
                      <a:pt x="9" y="93"/>
                      <a:pt x="9" y="93"/>
                      <a:pt x="9" y="94"/>
                    </a:cubicBezTo>
                    <a:cubicBezTo>
                      <a:pt x="10" y="94"/>
                      <a:pt x="10" y="95"/>
                      <a:pt x="10" y="95"/>
                    </a:cubicBezTo>
                    <a:cubicBezTo>
                      <a:pt x="10" y="95"/>
                      <a:pt x="10" y="94"/>
                      <a:pt x="10" y="94"/>
                    </a:cubicBezTo>
                    <a:cubicBezTo>
                      <a:pt x="10" y="94"/>
                      <a:pt x="9" y="92"/>
                      <a:pt x="9" y="9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5" name="Mozambique">
                <a:extLst>
                  <a:ext uri="{FF2B5EF4-FFF2-40B4-BE49-F238E27FC236}">
                    <a16:creationId xmlns:a16="http://schemas.microsoft.com/office/drawing/2014/main" id="{3523DE5F-F900-6383-8888-AE9433AA89B9}"/>
                  </a:ext>
                </a:extLst>
              </p:cNvPr>
              <p:cNvSpPr>
                <a:spLocks noEditPoints="1"/>
              </p:cNvSpPr>
              <p:nvPr/>
            </p:nvSpPr>
            <p:spPr bwMode="auto">
              <a:xfrm>
                <a:off x="6727815" y="4452098"/>
                <a:ext cx="360701" cy="641027"/>
              </a:xfrm>
              <a:custGeom>
                <a:avLst/>
                <a:gdLst/>
                <a:ahLst/>
                <a:cxnLst>
                  <a:cxn ang="0">
                    <a:pos x="99" y="55"/>
                  </a:cxn>
                  <a:cxn ang="0">
                    <a:pos x="93" y="63"/>
                  </a:cxn>
                  <a:cxn ang="0">
                    <a:pos x="86" y="70"/>
                  </a:cxn>
                  <a:cxn ang="0">
                    <a:pos x="80" y="73"/>
                  </a:cxn>
                  <a:cxn ang="0">
                    <a:pos x="74" y="74"/>
                  </a:cxn>
                  <a:cxn ang="0">
                    <a:pos x="64" y="83"/>
                  </a:cxn>
                  <a:cxn ang="0">
                    <a:pos x="62" y="85"/>
                  </a:cxn>
                  <a:cxn ang="0">
                    <a:pos x="56" y="93"/>
                  </a:cxn>
                  <a:cxn ang="0">
                    <a:pos x="52" y="94"/>
                  </a:cxn>
                  <a:cxn ang="0">
                    <a:pos x="43" y="103"/>
                  </a:cxn>
                  <a:cxn ang="0">
                    <a:pos x="41" y="104"/>
                  </a:cxn>
                  <a:cxn ang="0">
                    <a:pos x="40" y="111"/>
                  </a:cxn>
                  <a:cxn ang="0">
                    <a:pos x="44" y="114"/>
                  </a:cxn>
                  <a:cxn ang="0">
                    <a:pos x="44" y="118"/>
                  </a:cxn>
                  <a:cxn ang="0">
                    <a:pos x="45" y="122"/>
                  </a:cxn>
                  <a:cxn ang="0">
                    <a:pos x="47" y="130"/>
                  </a:cxn>
                  <a:cxn ang="0">
                    <a:pos x="48" y="139"/>
                  </a:cxn>
                  <a:cxn ang="0">
                    <a:pos x="46" y="147"/>
                  </a:cxn>
                  <a:cxn ang="0">
                    <a:pos x="40" y="157"/>
                  </a:cxn>
                  <a:cxn ang="0">
                    <a:pos x="22" y="166"/>
                  </a:cxn>
                  <a:cxn ang="0">
                    <a:pos x="20" y="173"/>
                  </a:cxn>
                  <a:cxn ang="0">
                    <a:pos x="21" y="180"/>
                  </a:cxn>
                  <a:cxn ang="0">
                    <a:pos x="13" y="168"/>
                  </a:cxn>
                  <a:cxn ang="0">
                    <a:pos x="11" y="146"/>
                  </a:cxn>
                  <a:cxn ang="0">
                    <a:pos x="8" y="131"/>
                  </a:cxn>
                  <a:cxn ang="0">
                    <a:pos x="20" y="115"/>
                  </a:cxn>
                  <a:cxn ang="0">
                    <a:pos x="25" y="104"/>
                  </a:cxn>
                  <a:cxn ang="0">
                    <a:pos x="23" y="98"/>
                  </a:cxn>
                  <a:cxn ang="0">
                    <a:pos x="24" y="89"/>
                  </a:cxn>
                  <a:cxn ang="0">
                    <a:pos x="25" y="82"/>
                  </a:cxn>
                  <a:cxn ang="0">
                    <a:pos x="25" y="71"/>
                  </a:cxn>
                  <a:cxn ang="0">
                    <a:pos x="15" y="65"/>
                  </a:cxn>
                  <a:cxn ang="0">
                    <a:pos x="7" y="61"/>
                  </a:cxn>
                  <a:cxn ang="0">
                    <a:pos x="0" y="51"/>
                  </a:cxn>
                  <a:cxn ang="0">
                    <a:pos x="16" y="44"/>
                  </a:cxn>
                  <a:cxn ang="0">
                    <a:pos x="33" y="45"/>
                  </a:cxn>
                  <a:cxn ang="0">
                    <a:pos x="40" y="43"/>
                  </a:cxn>
                  <a:cxn ang="0">
                    <a:pos x="40" y="56"/>
                  </a:cxn>
                  <a:cxn ang="0">
                    <a:pos x="42" y="67"/>
                  </a:cxn>
                  <a:cxn ang="0">
                    <a:pos x="47" y="74"/>
                  </a:cxn>
                  <a:cxn ang="0">
                    <a:pos x="49" y="63"/>
                  </a:cxn>
                  <a:cxn ang="0">
                    <a:pos x="54" y="56"/>
                  </a:cxn>
                  <a:cxn ang="0">
                    <a:pos x="53" y="44"/>
                  </a:cxn>
                  <a:cxn ang="0">
                    <a:pos x="44" y="30"/>
                  </a:cxn>
                  <a:cxn ang="0">
                    <a:pos x="46" y="14"/>
                  </a:cxn>
                  <a:cxn ang="0">
                    <a:pos x="57" y="12"/>
                  </a:cxn>
                  <a:cxn ang="0">
                    <a:pos x="64" y="12"/>
                  </a:cxn>
                  <a:cxn ang="0">
                    <a:pos x="74" y="11"/>
                  </a:cxn>
                  <a:cxn ang="0">
                    <a:pos x="84" y="8"/>
                  </a:cxn>
                  <a:cxn ang="0">
                    <a:pos x="98" y="2"/>
                  </a:cxn>
                  <a:cxn ang="0">
                    <a:pos x="100" y="4"/>
                  </a:cxn>
                  <a:cxn ang="0">
                    <a:pos x="99" y="10"/>
                  </a:cxn>
                  <a:cxn ang="0">
                    <a:pos x="100" y="19"/>
                  </a:cxn>
                  <a:cxn ang="0">
                    <a:pos x="100" y="24"/>
                  </a:cxn>
                  <a:cxn ang="0">
                    <a:pos x="99" y="28"/>
                  </a:cxn>
                  <a:cxn ang="0">
                    <a:pos x="99" y="34"/>
                  </a:cxn>
                  <a:cxn ang="0">
                    <a:pos x="100" y="41"/>
                  </a:cxn>
                  <a:cxn ang="0">
                    <a:pos x="100" y="45"/>
                  </a:cxn>
                  <a:cxn ang="0">
                    <a:pos x="102" y="47"/>
                  </a:cxn>
                  <a:cxn ang="0">
                    <a:pos x="48" y="122"/>
                  </a:cxn>
                </a:cxnLst>
                <a:rect l="0" t="0" r="r" b="b"/>
                <a:pathLst>
                  <a:path w="102" h="181">
                    <a:moveTo>
                      <a:pt x="101" y="50"/>
                    </a:moveTo>
                    <a:cubicBezTo>
                      <a:pt x="101" y="50"/>
                      <a:pt x="100" y="50"/>
                      <a:pt x="100" y="50"/>
                    </a:cubicBezTo>
                    <a:cubicBezTo>
                      <a:pt x="100" y="50"/>
                      <a:pt x="100" y="51"/>
                      <a:pt x="100" y="51"/>
                    </a:cubicBezTo>
                    <a:cubicBezTo>
                      <a:pt x="100" y="51"/>
                      <a:pt x="99" y="51"/>
                      <a:pt x="99" y="52"/>
                    </a:cubicBezTo>
                    <a:cubicBezTo>
                      <a:pt x="98" y="53"/>
                      <a:pt x="100" y="52"/>
                      <a:pt x="100" y="52"/>
                    </a:cubicBezTo>
                    <a:cubicBezTo>
                      <a:pt x="101" y="53"/>
                      <a:pt x="100" y="54"/>
                      <a:pt x="99" y="55"/>
                    </a:cubicBezTo>
                    <a:cubicBezTo>
                      <a:pt x="99" y="55"/>
                      <a:pt x="99" y="55"/>
                      <a:pt x="99" y="55"/>
                    </a:cubicBezTo>
                    <a:cubicBezTo>
                      <a:pt x="99" y="56"/>
                      <a:pt x="98" y="56"/>
                      <a:pt x="98" y="56"/>
                    </a:cubicBezTo>
                    <a:cubicBezTo>
                      <a:pt x="98" y="57"/>
                      <a:pt x="97" y="58"/>
                      <a:pt x="97" y="58"/>
                    </a:cubicBezTo>
                    <a:cubicBezTo>
                      <a:pt x="96" y="59"/>
                      <a:pt x="95" y="60"/>
                      <a:pt x="94" y="61"/>
                    </a:cubicBezTo>
                    <a:cubicBezTo>
                      <a:pt x="94" y="61"/>
                      <a:pt x="95" y="61"/>
                      <a:pt x="95" y="61"/>
                    </a:cubicBezTo>
                    <a:cubicBezTo>
                      <a:pt x="94" y="62"/>
                      <a:pt x="94" y="63"/>
                      <a:pt x="93" y="63"/>
                    </a:cubicBezTo>
                    <a:cubicBezTo>
                      <a:pt x="93" y="64"/>
                      <a:pt x="92" y="64"/>
                      <a:pt x="92" y="64"/>
                    </a:cubicBezTo>
                    <a:cubicBezTo>
                      <a:pt x="91" y="64"/>
                      <a:pt x="92" y="66"/>
                      <a:pt x="92" y="66"/>
                    </a:cubicBezTo>
                    <a:cubicBezTo>
                      <a:pt x="91" y="66"/>
                      <a:pt x="91" y="66"/>
                      <a:pt x="91" y="66"/>
                    </a:cubicBezTo>
                    <a:cubicBezTo>
                      <a:pt x="91" y="66"/>
                      <a:pt x="90" y="67"/>
                      <a:pt x="90" y="67"/>
                    </a:cubicBezTo>
                    <a:cubicBezTo>
                      <a:pt x="90" y="67"/>
                      <a:pt x="89" y="68"/>
                      <a:pt x="88" y="68"/>
                    </a:cubicBezTo>
                    <a:cubicBezTo>
                      <a:pt x="88" y="69"/>
                      <a:pt x="87" y="69"/>
                      <a:pt x="86" y="70"/>
                    </a:cubicBezTo>
                    <a:cubicBezTo>
                      <a:pt x="86" y="70"/>
                      <a:pt x="85" y="70"/>
                      <a:pt x="85" y="71"/>
                    </a:cubicBezTo>
                    <a:cubicBezTo>
                      <a:pt x="85" y="71"/>
                      <a:pt x="85" y="71"/>
                      <a:pt x="85" y="71"/>
                    </a:cubicBezTo>
                    <a:cubicBezTo>
                      <a:pt x="84" y="71"/>
                      <a:pt x="85" y="71"/>
                      <a:pt x="84" y="71"/>
                    </a:cubicBezTo>
                    <a:cubicBezTo>
                      <a:pt x="85" y="71"/>
                      <a:pt x="83" y="72"/>
                      <a:pt x="83" y="72"/>
                    </a:cubicBezTo>
                    <a:cubicBezTo>
                      <a:pt x="82" y="72"/>
                      <a:pt x="81" y="73"/>
                      <a:pt x="80" y="72"/>
                    </a:cubicBezTo>
                    <a:cubicBezTo>
                      <a:pt x="80" y="73"/>
                      <a:pt x="80" y="73"/>
                      <a:pt x="80" y="73"/>
                    </a:cubicBezTo>
                    <a:cubicBezTo>
                      <a:pt x="80" y="73"/>
                      <a:pt x="80" y="73"/>
                      <a:pt x="80" y="73"/>
                    </a:cubicBezTo>
                    <a:cubicBezTo>
                      <a:pt x="79" y="73"/>
                      <a:pt x="79" y="73"/>
                      <a:pt x="79" y="73"/>
                    </a:cubicBezTo>
                    <a:cubicBezTo>
                      <a:pt x="79" y="73"/>
                      <a:pt x="78" y="74"/>
                      <a:pt x="78" y="74"/>
                    </a:cubicBezTo>
                    <a:cubicBezTo>
                      <a:pt x="77" y="74"/>
                      <a:pt x="76" y="75"/>
                      <a:pt x="76" y="75"/>
                    </a:cubicBezTo>
                    <a:cubicBezTo>
                      <a:pt x="75" y="75"/>
                      <a:pt x="75" y="74"/>
                      <a:pt x="75" y="74"/>
                    </a:cubicBezTo>
                    <a:cubicBezTo>
                      <a:pt x="75" y="74"/>
                      <a:pt x="75" y="74"/>
                      <a:pt x="74" y="74"/>
                    </a:cubicBezTo>
                    <a:cubicBezTo>
                      <a:pt x="75" y="74"/>
                      <a:pt x="75" y="75"/>
                      <a:pt x="75" y="75"/>
                    </a:cubicBezTo>
                    <a:cubicBezTo>
                      <a:pt x="74" y="76"/>
                      <a:pt x="74" y="76"/>
                      <a:pt x="73" y="76"/>
                    </a:cubicBezTo>
                    <a:cubicBezTo>
                      <a:pt x="73" y="76"/>
                      <a:pt x="72" y="76"/>
                      <a:pt x="72" y="77"/>
                    </a:cubicBezTo>
                    <a:cubicBezTo>
                      <a:pt x="71" y="77"/>
                      <a:pt x="71" y="77"/>
                      <a:pt x="70" y="78"/>
                    </a:cubicBezTo>
                    <a:cubicBezTo>
                      <a:pt x="69" y="79"/>
                      <a:pt x="67" y="79"/>
                      <a:pt x="66" y="80"/>
                    </a:cubicBezTo>
                    <a:cubicBezTo>
                      <a:pt x="65" y="81"/>
                      <a:pt x="65" y="82"/>
                      <a:pt x="64" y="83"/>
                    </a:cubicBezTo>
                    <a:cubicBezTo>
                      <a:pt x="63" y="83"/>
                      <a:pt x="62" y="81"/>
                      <a:pt x="62" y="82"/>
                    </a:cubicBezTo>
                    <a:cubicBezTo>
                      <a:pt x="63" y="82"/>
                      <a:pt x="63" y="82"/>
                      <a:pt x="63" y="83"/>
                    </a:cubicBezTo>
                    <a:cubicBezTo>
                      <a:pt x="63" y="83"/>
                      <a:pt x="63" y="83"/>
                      <a:pt x="63" y="84"/>
                    </a:cubicBezTo>
                    <a:cubicBezTo>
                      <a:pt x="63" y="84"/>
                      <a:pt x="63" y="85"/>
                      <a:pt x="63" y="85"/>
                    </a:cubicBezTo>
                    <a:cubicBezTo>
                      <a:pt x="62" y="85"/>
                      <a:pt x="62" y="85"/>
                      <a:pt x="62" y="86"/>
                    </a:cubicBezTo>
                    <a:cubicBezTo>
                      <a:pt x="62" y="86"/>
                      <a:pt x="62" y="85"/>
                      <a:pt x="62" y="85"/>
                    </a:cubicBezTo>
                    <a:cubicBezTo>
                      <a:pt x="62" y="86"/>
                      <a:pt x="61" y="88"/>
                      <a:pt x="60" y="88"/>
                    </a:cubicBezTo>
                    <a:cubicBezTo>
                      <a:pt x="59" y="89"/>
                      <a:pt x="59" y="89"/>
                      <a:pt x="59" y="89"/>
                    </a:cubicBezTo>
                    <a:cubicBezTo>
                      <a:pt x="58" y="89"/>
                      <a:pt x="58" y="91"/>
                      <a:pt x="58" y="91"/>
                    </a:cubicBezTo>
                    <a:cubicBezTo>
                      <a:pt x="57" y="91"/>
                      <a:pt x="58" y="91"/>
                      <a:pt x="58" y="92"/>
                    </a:cubicBezTo>
                    <a:cubicBezTo>
                      <a:pt x="57" y="92"/>
                      <a:pt x="56" y="91"/>
                      <a:pt x="56" y="91"/>
                    </a:cubicBezTo>
                    <a:cubicBezTo>
                      <a:pt x="56" y="91"/>
                      <a:pt x="57" y="93"/>
                      <a:pt x="56" y="93"/>
                    </a:cubicBezTo>
                    <a:cubicBezTo>
                      <a:pt x="56" y="93"/>
                      <a:pt x="55" y="93"/>
                      <a:pt x="55" y="92"/>
                    </a:cubicBezTo>
                    <a:cubicBezTo>
                      <a:pt x="55" y="91"/>
                      <a:pt x="55" y="92"/>
                      <a:pt x="54" y="93"/>
                    </a:cubicBezTo>
                    <a:cubicBezTo>
                      <a:pt x="54" y="93"/>
                      <a:pt x="54" y="93"/>
                      <a:pt x="54" y="93"/>
                    </a:cubicBezTo>
                    <a:cubicBezTo>
                      <a:pt x="54" y="93"/>
                      <a:pt x="54" y="93"/>
                      <a:pt x="54" y="93"/>
                    </a:cubicBezTo>
                    <a:cubicBezTo>
                      <a:pt x="53" y="93"/>
                      <a:pt x="53" y="94"/>
                      <a:pt x="53" y="94"/>
                    </a:cubicBezTo>
                    <a:cubicBezTo>
                      <a:pt x="53" y="94"/>
                      <a:pt x="52" y="93"/>
                      <a:pt x="52" y="94"/>
                    </a:cubicBezTo>
                    <a:cubicBezTo>
                      <a:pt x="52" y="94"/>
                      <a:pt x="53" y="94"/>
                      <a:pt x="53" y="94"/>
                    </a:cubicBezTo>
                    <a:cubicBezTo>
                      <a:pt x="52" y="94"/>
                      <a:pt x="51" y="95"/>
                      <a:pt x="51" y="95"/>
                    </a:cubicBezTo>
                    <a:cubicBezTo>
                      <a:pt x="51" y="95"/>
                      <a:pt x="50" y="96"/>
                      <a:pt x="51" y="96"/>
                    </a:cubicBezTo>
                    <a:cubicBezTo>
                      <a:pt x="50" y="97"/>
                      <a:pt x="49" y="98"/>
                      <a:pt x="48" y="99"/>
                    </a:cubicBezTo>
                    <a:cubicBezTo>
                      <a:pt x="47" y="100"/>
                      <a:pt x="46" y="101"/>
                      <a:pt x="44" y="103"/>
                    </a:cubicBezTo>
                    <a:cubicBezTo>
                      <a:pt x="44" y="103"/>
                      <a:pt x="43" y="104"/>
                      <a:pt x="43" y="103"/>
                    </a:cubicBezTo>
                    <a:cubicBezTo>
                      <a:pt x="42" y="103"/>
                      <a:pt x="42" y="103"/>
                      <a:pt x="42" y="103"/>
                    </a:cubicBezTo>
                    <a:cubicBezTo>
                      <a:pt x="42" y="102"/>
                      <a:pt x="42" y="102"/>
                      <a:pt x="41" y="102"/>
                    </a:cubicBezTo>
                    <a:cubicBezTo>
                      <a:pt x="41" y="102"/>
                      <a:pt x="40" y="100"/>
                      <a:pt x="40" y="101"/>
                    </a:cubicBezTo>
                    <a:cubicBezTo>
                      <a:pt x="41" y="100"/>
                      <a:pt x="40" y="102"/>
                      <a:pt x="41" y="102"/>
                    </a:cubicBezTo>
                    <a:cubicBezTo>
                      <a:pt x="41" y="103"/>
                      <a:pt x="42" y="103"/>
                      <a:pt x="42" y="103"/>
                    </a:cubicBezTo>
                    <a:cubicBezTo>
                      <a:pt x="42" y="104"/>
                      <a:pt x="41" y="104"/>
                      <a:pt x="41" y="104"/>
                    </a:cubicBezTo>
                    <a:cubicBezTo>
                      <a:pt x="41" y="104"/>
                      <a:pt x="42" y="103"/>
                      <a:pt x="42" y="104"/>
                    </a:cubicBezTo>
                    <a:cubicBezTo>
                      <a:pt x="41" y="105"/>
                      <a:pt x="41" y="105"/>
                      <a:pt x="42" y="106"/>
                    </a:cubicBezTo>
                    <a:cubicBezTo>
                      <a:pt x="42" y="107"/>
                      <a:pt x="41" y="107"/>
                      <a:pt x="41" y="107"/>
                    </a:cubicBezTo>
                    <a:cubicBezTo>
                      <a:pt x="41" y="107"/>
                      <a:pt x="41" y="107"/>
                      <a:pt x="41" y="108"/>
                    </a:cubicBezTo>
                    <a:cubicBezTo>
                      <a:pt x="41" y="109"/>
                      <a:pt x="41" y="110"/>
                      <a:pt x="40" y="109"/>
                    </a:cubicBezTo>
                    <a:cubicBezTo>
                      <a:pt x="40" y="110"/>
                      <a:pt x="41" y="110"/>
                      <a:pt x="40" y="111"/>
                    </a:cubicBezTo>
                    <a:cubicBezTo>
                      <a:pt x="41" y="111"/>
                      <a:pt x="41" y="111"/>
                      <a:pt x="41" y="111"/>
                    </a:cubicBezTo>
                    <a:cubicBezTo>
                      <a:pt x="42" y="111"/>
                      <a:pt x="42" y="112"/>
                      <a:pt x="42" y="112"/>
                    </a:cubicBezTo>
                    <a:cubicBezTo>
                      <a:pt x="42" y="112"/>
                      <a:pt x="42" y="112"/>
                      <a:pt x="42" y="112"/>
                    </a:cubicBezTo>
                    <a:cubicBezTo>
                      <a:pt x="42" y="112"/>
                      <a:pt x="42" y="112"/>
                      <a:pt x="42" y="112"/>
                    </a:cubicBezTo>
                    <a:cubicBezTo>
                      <a:pt x="42" y="112"/>
                      <a:pt x="42" y="113"/>
                      <a:pt x="42" y="113"/>
                    </a:cubicBezTo>
                    <a:cubicBezTo>
                      <a:pt x="43" y="112"/>
                      <a:pt x="44" y="113"/>
                      <a:pt x="44" y="114"/>
                    </a:cubicBezTo>
                    <a:cubicBezTo>
                      <a:pt x="44" y="114"/>
                      <a:pt x="44" y="115"/>
                      <a:pt x="44" y="115"/>
                    </a:cubicBezTo>
                    <a:cubicBezTo>
                      <a:pt x="44" y="115"/>
                      <a:pt x="45" y="115"/>
                      <a:pt x="45" y="116"/>
                    </a:cubicBezTo>
                    <a:cubicBezTo>
                      <a:pt x="45" y="116"/>
                      <a:pt x="44" y="116"/>
                      <a:pt x="44" y="116"/>
                    </a:cubicBezTo>
                    <a:cubicBezTo>
                      <a:pt x="44" y="116"/>
                      <a:pt x="44" y="117"/>
                      <a:pt x="44" y="117"/>
                    </a:cubicBezTo>
                    <a:cubicBezTo>
                      <a:pt x="44" y="117"/>
                      <a:pt x="44" y="117"/>
                      <a:pt x="44" y="117"/>
                    </a:cubicBezTo>
                    <a:cubicBezTo>
                      <a:pt x="43" y="117"/>
                      <a:pt x="44" y="117"/>
                      <a:pt x="44" y="118"/>
                    </a:cubicBezTo>
                    <a:cubicBezTo>
                      <a:pt x="44" y="118"/>
                      <a:pt x="44" y="118"/>
                      <a:pt x="44" y="118"/>
                    </a:cubicBezTo>
                    <a:cubicBezTo>
                      <a:pt x="44" y="119"/>
                      <a:pt x="44" y="119"/>
                      <a:pt x="44" y="119"/>
                    </a:cubicBezTo>
                    <a:cubicBezTo>
                      <a:pt x="44" y="119"/>
                      <a:pt x="44" y="119"/>
                      <a:pt x="44" y="119"/>
                    </a:cubicBezTo>
                    <a:cubicBezTo>
                      <a:pt x="44" y="120"/>
                      <a:pt x="45" y="118"/>
                      <a:pt x="45" y="118"/>
                    </a:cubicBezTo>
                    <a:cubicBezTo>
                      <a:pt x="45" y="119"/>
                      <a:pt x="44" y="119"/>
                      <a:pt x="44" y="120"/>
                    </a:cubicBezTo>
                    <a:cubicBezTo>
                      <a:pt x="44" y="120"/>
                      <a:pt x="45" y="121"/>
                      <a:pt x="45" y="122"/>
                    </a:cubicBezTo>
                    <a:cubicBezTo>
                      <a:pt x="46" y="123"/>
                      <a:pt x="46" y="124"/>
                      <a:pt x="46" y="125"/>
                    </a:cubicBezTo>
                    <a:cubicBezTo>
                      <a:pt x="46" y="127"/>
                      <a:pt x="46" y="128"/>
                      <a:pt x="46" y="130"/>
                    </a:cubicBezTo>
                    <a:cubicBezTo>
                      <a:pt x="46" y="130"/>
                      <a:pt x="46" y="131"/>
                      <a:pt x="46" y="131"/>
                    </a:cubicBezTo>
                    <a:cubicBezTo>
                      <a:pt x="46" y="132"/>
                      <a:pt x="46" y="132"/>
                      <a:pt x="47" y="132"/>
                    </a:cubicBezTo>
                    <a:cubicBezTo>
                      <a:pt x="47" y="132"/>
                      <a:pt x="47" y="131"/>
                      <a:pt x="47" y="131"/>
                    </a:cubicBezTo>
                    <a:cubicBezTo>
                      <a:pt x="47" y="131"/>
                      <a:pt x="46" y="129"/>
                      <a:pt x="47" y="130"/>
                    </a:cubicBezTo>
                    <a:cubicBezTo>
                      <a:pt x="47" y="129"/>
                      <a:pt x="47" y="128"/>
                      <a:pt x="48" y="128"/>
                    </a:cubicBezTo>
                    <a:cubicBezTo>
                      <a:pt x="48" y="129"/>
                      <a:pt x="48" y="130"/>
                      <a:pt x="48" y="130"/>
                    </a:cubicBezTo>
                    <a:cubicBezTo>
                      <a:pt x="48" y="130"/>
                      <a:pt x="48" y="129"/>
                      <a:pt x="48" y="129"/>
                    </a:cubicBezTo>
                    <a:cubicBezTo>
                      <a:pt x="48" y="132"/>
                      <a:pt x="47" y="135"/>
                      <a:pt x="48" y="137"/>
                    </a:cubicBezTo>
                    <a:cubicBezTo>
                      <a:pt x="48" y="137"/>
                      <a:pt x="48" y="137"/>
                      <a:pt x="48" y="137"/>
                    </a:cubicBezTo>
                    <a:cubicBezTo>
                      <a:pt x="49" y="137"/>
                      <a:pt x="48" y="139"/>
                      <a:pt x="48" y="139"/>
                    </a:cubicBezTo>
                    <a:cubicBezTo>
                      <a:pt x="47" y="140"/>
                      <a:pt x="47" y="141"/>
                      <a:pt x="47" y="142"/>
                    </a:cubicBezTo>
                    <a:cubicBezTo>
                      <a:pt x="47" y="143"/>
                      <a:pt x="46" y="144"/>
                      <a:pt x="46" y="145"/>
                    </a:cubicBezTo>
                    <a:cubicBezTo>
                      <a:pt x="46" y="145"/>
                      <a:pt x="46" y="146"/>
                      <a:pt x="46" y="146"/>
                    </a:cubicBezTo>
                    <a:cubicBezTo>
                      <a:pt x="46" y="146"/>
                      <a:pt x="46" y="145"/>
                      <a:pt x="46" y="146"/>
                    </a:cubicBezTo>
                    <a:cubicBezTo>
                      <a:pt x="46" y="146"/>
                      <a:pt x="45" y="149"/>
                      <a:pt x="45" y="149"/>
                    </a:cubicBezTo>
                    <a:cubicBezTo>
                      <a:pt x="46" y="149"/>
                      <a:pt x="46" y="148"/>
                      <a:pt x="46" y="147"/>
                    </a:cubicBezTo>
                    <a:cubicBezTo>
                      <a:pt x="46" y="147"/>
                      <a:pt x="46" y="148"/>
                      <a:pt x="46" y="148"/>
                    </a:cubicBezTo>
                    <a:cubicBezTo>
                      <a:pt x="47" y="148"/>
                      <a:pt x="47" y="146"/>
                      <a:pt x="47" y="147"/>
                    </a:cubicBezTo>
                    <a:cubicBezTo>
                      <a:pt x="47" y="147"/>
                      <a:pt x="47" y="148"/>
                      <a:pt x="47" y="148"/>
                    </a:cubicBezTo>
                    <a:cubicBezTo>
                      <a:pt x="47" y="149"/>
                      <a:pt x="47" y="150"/>
                      <a:pt x="47" y="151"/>
                    </a:cubicBezTo>
                    <a:cubicBezTo>
                      <a:pt x="46" y="152"/>
                      <a:pt x="45" y="153"/>
                      <a:pt x="44" y="155"/>
                    </a:cubicBezTo>
                    <a:cubicBezTo>
                      <a:pt x="43" y="156"/>
                      <a:pt x="41" y="157"/>
                      <a:pt x="40" y="157"/>
                    </a:cubicBezTo>
                    <a:cubicBezTo>
                      <a:pt x="38" y="158"/>
                      <a:pt x="37" y="159"/>
                      <a:pt x="35" y="159"/>
                    </a:cubicBezTo>
                    <a:cubicBezTo>
                      <a:pt x="33" y="160"/>
                      <a:pt x="32" y="160"/>
                      <a:pt x="30" y="161"/>
                    </a:cubicBezTo>
                    <a:cubicBezTo>
                      <a:pt x="28" y="162"/>
                      <a:pt x="27" y="163"/>
                      <a:pt x="25" y="163"/>
                    </a:cubicBezTo>
                    <a:cubicBezTo>
                      <a:pt x="25" y="163"/>
                      <a:pt x="26" y="163"/>
                      <a:pt x="26" y="163"/>
                    </a:cubicBezTo>
                    <a:cubicBezTo>
                      <a:pt x="26" y="163"/>
                      <a:pt x="24" y="163"/>
                      <a:pt x="25" y="163"/>
                    </a:cubicBezTo>
                    <a:cubicBezTo>
                      <a:pt x="24" y="164"/>
                      <a:pt x="23" y="165"/>
                      <a:pt x="22" y="166"/>
                    </a:cubicBezTo>
                    <a:cubicBezTo>
                      <a:pt x="21" y="166"/>
                      <a:pt x="20" y="168"/>
                      <a:pt x="20" y="169"/>
                    </a:cubicBezTo>
                    <a:cubicBezTo>
                      <a:pt x="20" y="169"/>
                      <a:pt x="20" y="169"/>
                      <a:pt x="20" y="169"/>
                    </a:cubicBezTo>
                    <a:cubicBezTo>
                      <a:pt x="19" y="170"/>
                      <a:pt x="19" y="170"/>
                      <a:pt x="19" y="170"/>
                    </a:cubicBezTo>
                    <a:cubicBezTo>
                      <a:pt x="19" y="171"/>
                      <a:pt x="17" y="170"/>
                      <a:pt x="17" y="171"/>
                    </a:cubicBezTo>
                    <a:cubicBezTo>
                      <a:pt x="17" y="170"/>
                      <a:pt x="18" y="171"/>
                      <a:pt x="18" y="171"/>
                    </a:cubicBezTo>
                    <a:cubicBezTo>
                      <a:pt x="19" y="172"/>
                      <a:pt x="19" y="173"/>
                      <a:pt x="20" y="173"/>
                    </a:cubicBezTo>
                    <a:cubicBezTo>
                      <a:pt x="20" y="173"/>
                      <a:pt x="21" y="175"/>
                      <a:pt x="21" y="174"/>
                    </a:cubicBezTo>
                    <a:cubicBezTo>
                      <a:pt x="21" y="173"/>
                      <a:pt x="21" y="172"/>
                      <a:pt x="22" y="172"/>
                    </a:cubicBezTo>
                    <a:cubicBezTo>
                      <a:pt x="22" y="173"/>
                      <a:pt x="22" y="173"/>
                      <a:pt x="21" y="174"/>
                    </a:cubicBezTo>
                    <a:cubicBezTo>
                      <a:pt x="21" y="175"/>
                      <a:pt x="21" y="175"/>
                      <a:pt x="21" y="176"/>
                    </a:cubicBezTo>
                    <a:cubicBezTo>
                      <a:pt x="21" y="177"/>
                      <a:pt x="21" y="178"/>
                      <a:pt x="21" y="179"/>
                    </a:cubicBezTo>
                    <a:cubicBezTo>
                      <a:pt x="21" y="179"/>
                      <a:pt x="21" y="180"/>
                      <a:pt x="21" y="180"/>
                    </a:cubicBezTo>
                    <a:cubicBezTo>
                      <a:pt x="19" y="180"/>
                      <a:pt x="17" y="181"/>
                      <a:pt x="15" y="180"/>
                    </a:cubicBezTo>
                    <a:cubicBezTo>
                      <a:pt x="15" y="180"/>
                      <a:pt x="14" y="180"/>
                      <a:pt x="14" y="180"/>
                    </a:cubicBezTo>
                    <a:cubicBezTo>
                      <a:pt x="13" y="180"/>
                      <a:pt x="14" y="179"/>
                      <a:pt x="14" y="178"/>
                    </a:cubicBezTo>
                    <a:cubicBezTo>
                      <a:pt x="14" y="177"/>
                      <a:pt x="13" y="175"/>
                      <a:pt x="13" y="174"/>
                    </a:cubicBezTo>
                    <a:cubicBezTo>
                      <a:pt x="14" y="173"/>
                      <a:pt x="14" y="171"/>
                      <a:pt x="13" y="171"/>
                    </a:cubicBezTo>
                    <a:cubicBezTo>
                      <a:pt x="12" y="171"/>
                      <a:pt x="12" y="168"/>
                      <a:pt x="13" y="168"/>
                    </a:cubicBezTo>
                    <a:cubicBezTo>
                      <a:pt x="13" y="167"/>
                      <a:pt x="13" y="167"/>
                      <a:pt x="13" y="166"/>
                    </a:cubicBezTo>
                    <a:cubicBezTo>
                      <a:pt x="13" y="165"/>
                      <a:pt x="13" y="164"/>
                      <a:pt x="13" y="163"/>
                    </a:cubicBezTo>
                    <a:cubicBezTo>
                      <a:pt x="13" y="161"/>
                      <a:pt x="13" y="159"/>
                      <a:pt x="13" y="158"/>
                    </a:cubicBezTo>
                    <a:cubicBezTo>
                      <a:pt x="13" y="156"/>
                      <a:pt x="14" y="154"/>
                      <a:pt x="13" y="152"/>
                    </a:cubicBezTo>
                    <a:cubicBezTo>
                      <a:pt x="12" y="150"/>
                      <a:pt x="13" y="149"/>
                      <a:pt x="12" y="148"/>
                    </a:cubicBezTo>
                    <a:cubicBezTo>
                      <a:pt x="11" y="147"/>
                      <a:pt x="11" y="146"/>
                      <a:pt x="11" y="146"/>
                    </a:cubicBezTo>
                    <a:cubicBezTo>
                      <a:pt x="11" y="145"/>
                      <a:pt x="10" y="144"/>
                      <a:pt x="10" y="143"/>
                    </a:cubicBezTo>
                    <a:cubicBezTo>
                      <a:pt x="9" y="143"/>
                      <a:pt x="10" y="142"/>
                      <a:pt x="10" y="141"/>
                    </a:cubicBezTo>
                    <a:cubicBezTo>
                      <a:pt x="10" y="140"/>
                      <a:pt x="10" y="139"/>
                      <a:pt x="10" y="138"/>
                    </a:cubicBezTo>
                    <a:cubicBezTo>
                      <a:pt x="9" y="137"/>
                      <a:pt x="9" y="135"/>
                      <a:pt x="8" y="134"/>
                    </a:cubicBezTo>
                    <a:cubicBezTo>
                      <a:pt x="8" y="133"/>
                      <a:pt x="8" y="133"/>
                      <a:pt x="8" y="132"/>
                    </a:cubicBezTo>
                    <a:cubicBezTo>
                      <a:pt x="8" y="131"/>
                      <a:pt x="8" y="131"/>
                      <a:pt x="8" y="131"/>
                    </a:cubicBezTo>
                    <a:cubicBezTo>
                      <a:pt x="10" y="130"/>
                      <a:pt x="11" y="128"/>
                      <a:pt x="12" y="127"/>
                    </a:cubicBezTo>
                    <a:cubicBezTo>
                      <a:pt x="14" y="125"/>
                      <a:pt x="15" y="124"/>
                      <a:pt x="16" y="122"/>
                    </a:cubicBezTo>
                    <a:cubicBezTo>
                      <a:pt x="17" y="122"/>
                      <a:pt x="18" y="119"/>
                      <a:pt x="19" y="120"/>
                    </a:cubicBezTo>
                    <a:cubicBezTo>
                      <a:pt x="19" y="120"/>
                      <a:pt x="19" y="120"/>
                      <a:pt x="19" y="120"/>
                    </a:cubicBezTo>
                    <a:cubicBezTo>
                      <a:pt x="19" y="119"/>
                      <a:pt x="18" y="118"/>
                      <a:pt x="19" y="117"/>
                    </a:cubicBezTo>
                    <a:cubicBezTo>
                      <a:pt x="19" y="116"/>
                      <a:pt x="20" y="116"/>
                      <a:pt x="20" y="115"/>
                    </a:cubicBezTo>
                    <a:cubicBezTo>
                      <a:pt x="20" y="114"/>
                      <a:pt x="20" y="114"/>
                      <a:pt x="20" y="113"/>
                    </a:cubicBezTo>
                    <a:cubicBezTo>
                      <a:pt x="20" y="111"/>
                      <a:pt x="21" y="112"/>
                      <a:pt x="22" y="111"/>
                    </a:cubicBezTo>
                    <a:cubicBezTo>
                      <a:pt x="22" y="110"/>
                      <a:pt x="22" y="109"/>
                      <a:pt x="23" y="109"/>
                    </a:cubicBezTo>
                    <a:cubicBezTo>
                      <a:pt x="23" y="108"/>
                      <a:pt x="23" y="107"/>
                      <a:pt x="24" y="107"/>
                    </a:cubicBezTo>
                    <a:cubicBezTo>
                      <a:pt x="24" y="106"/>
                      <a:pt x="25" y="105"/>
                      <a:pt x="25" y="105"/>
                    </a:cubicBezTo>
                    <a:cubicBezTo>
                      <a:pt x="25" y="105"/>
                      <a:pt x="25" y="104"/>
                      <a:pt x="25" y="104"/>
                    </a:cubicBezTo>
                    <a:cubicBezTo>
                      <a:pt x="25" y="104"/>
                      <a:pt x="25" y="103"/>
                      <a:pt x="25" y="103"/>
                    </a:cubicBezTo>
                    <a:cubicBezTo>
                      <a:pt x="25" y="102"/>
                      <a:pt x="25" y="102"/>
                      <a:pt x="25" y="101"/>
                    </a:cubicBezTo>
                    <a:cubicBezTo>
                      <a:pt x="25" y="101"/>
                      <a:pt x="23" y="103"/>
                      <a:pt x="23" y="101"/>
                    </a:cubicBezTo>
                    <a:cubicBezTo>
                      <a:pt x="23" y="100"/>
                      <a:pt x="24" y="100"/>
                      <a:pt x="23" y="99"/>
                    </a:cubicBezTo>
                    <a:cubicBezTo>
                      <a:pt x="23" y="99"/>
                      <a:pt x="23" y="99"/>
                      <a:pt x="23" y="99"/>
                    </a:cubicBezTo>
                    <a:cubicBezTo>
                      <a:pt x="23" y="99"/>
                      <a:pt x="23" y="98"/>
                      <a:pt x="23" y="98"/>
                    </a:cubicBezTo>
                    <a:cubicBezTo>
                      <a:pt x="23" y="97"/>
                      <a:pt x="24" y="96"/>
                      <a:pt x="24" y="95"/>
                    </a:cubicBezTo>
                    <a:cubicBezTo>
                      <a:pt x="23" y="94"/>
                      <a:pt x="23" y="94"/>
                      <a:pt x="23" y="94"/>
                    </a:cubicBezTo>
                    <a:cubicBezTo>
                      <a:pt x="22" y="94"/>
                      <a:pt x="22" y="94"/>
                      <a:pt x="22" y="93"/>
                    </a:cubicBezTo>
                    <a:cubicBezTo>
                      <a:pt x="23" y="93"/>
                      <a:pt x="22" y="92"/>
                      <a:pt x="24" y="92"/>
                    </a:cubicBezTo>
                    <a:cubicBezTo>
                      <a:pt x="24" y="92"/>
                      <a:pt x="25" y="92"/>
                      <a:pt x="25" y="91"/>
                    </a:cubicBezTo>
                    <a:cubicBezTo>
                      <a:pt x="25" y="90"/>
                      <a:pt x="24" y="90"/>
                      <a:pt x="24" y="89"/>
                    </a:cubicBezTo>
                    <a:cubicBezTo>
                      <a:pt x="24" y="89"/>
                      <a:pt x="25" y="89"/>
                      <a:pt x="25" y="89"/>
                    </a:cubicBezTo>
                    <a:cubicBezTo>
                      <a:pt x="26" y="88"/>
                      <a:pt x="25" y="88"/>
                      <a:pt x="26" y="87"/>
                    </a:cubicBezTo>
                    <a:cubicBezTo>
                      <a:pt x="26" y="87"/>
                      <a:pt x="26" y="86"/>
                      <a:pt x="25" y="86"/>
                    </a:cubicBezTo>
                    <a:cubicBezTo>
                      <a:pt x="25" y="86"/>
                      <a:pt x="25" y="86"/>
                      <a:pt x="25" y="85"/>
                    </a:cubicBezTo>
                    <a:cubicBezTo>
                      <a:pt x="26" y="85"/>
                      <a:pt x="25" y="85"/>
                      <a:pt x="25" y="84"/>
                    </a:cubicBezTo>
                    <a:cubicBezTo>
                      <a:pt x="25" y="83"/>
                      <a:pt x="25" y="83"/>
                      <a:pt x="25" y="82"/>
                    </a:cubicBezTo>
                    <a:cubicBezTo>
                      <a:pt x="25" y="81"/>
                      <a:pt x="26" y="81"/>
                      <a:pt x="26" y="80"/>
                    </a:cubicBezTo>
                    <a:cubicBezTo>
                      <a:pt x="26" y="80"/>
                      <a:pt x="26" y="79"/>
                      <a:pt x="26" y="79"/>
                    </a:cubicBezTo>
                    <a:cubicBezTo>
                      <a:pt x="25" y="78"/>
                      <a:pt x="25" y="78"/>
                      <a:pt x="25" y="77"/>
                    </a:cubicBezTo>
                    <a:cubicBezTo>
                      <a:pt x="26" y="77"/>
                      <a:pt x="26" y="76"/>
                      <a:pt x="26" y="76"/>
                    </a:cubicBezTo>
                    <a:cubicBezTo>
                      <a:pt x="25" y="75"/>
                      <a:pt x="26" y="74"/>
                      <a:pt x="25" y="73"/>
                    </a:cubicBezTo>
                    <a:cubicBezTo>
                      <a:pt x="25" y="73"/>
                      <a:pt x="24" y="72"/>
                      <a:pt x="25" y="71"/>
                    </a:cubicBezTo>
                    <a:cubicBezTo>
                      <a:pt x="25" y="71"/>
                      <a:pt x="26" y="69"/>
                      <a:pt x="26" y="69"/>
                    </a:cubicBezTo>
                    <a:cubicBezTo>
                      <a:pt x="25" y="69"/>
                      <a:pt x="24" y="69"/>
                      <a:pt x="24" y="69"/>
                    </a:cubicBezTo>
                    <a:cubicBezTo>
                      <a:pt x="23" y="69"/>
                      <a:pt x="23" y="68"/>
                      <a:pt x="23" y="67"/>
                    </a:cubicBezTo>
                    <a:cubicBezTo>
                      <a:pt x="21" y="66"/>
                      <a:pt x="19" y="66"/>
                      <a:pt x="17" y="66"/>
                    </a:cubicBezTo>
                    <a:cubicBezTo>
                      <a:pt x="17" y="66"/>
                      <a:pt x="16" y="66"/>
                      <a:pt x="16" y="66"/>
                    </a:cubicBezTo>
                    <a:cubicBezTo>
                      <a:pt x="15" y="65"/>
                      <a:pt x="16" y="65"/>
                      <a:pt x="15" y="65"/>
                    </a:cubicBezTo>
                    <a:cubicBezTo>
                      <a:pt x="15" y="65"/>
                      <a:pt x="15" y="64"/>
                      <a:pt x="15" y="64"/>
                    </a:cubicBezTo>
                    <a:cubicBezTo>
                      <a:pt x="14" y="63"/>
                      <a:pt x="13" y="63"/>
                      <a:pt x="12" y="63"/>
                    </a:cubicBezTo>
                    <a:cubicBezTo>
                      <a:pt x="11" y="63"/>
                      <a:pt x="11" y="63"/>
                      <a:pt x="10" y="62"/>
                    </a:cubicBezTo>
                    <a:cubicBezTo>
                      <a:pt x="10" y="61"/>
                      <a:pt x="9" y="61"/>
                      <a:pt x="9" y="61"/>
                    </a:cubicBezTo>
                    <a:cubicBezTo>
                      <a:pt x="8" y="61"/>
                      <a:pt x="8" y="62"/>
                      <a:pt x="7" y="62"/>
                    </a:cubicBezTo>
                    <a:cubicBezTo>
                      <a:pt x="7" y="62"/>
                      <a:pt x="7" y="61"/>
                      <a:pt x="7" y="61"/>
                    </a:cubicBezTo>
                    <a:cubicBezTo>
                      <a:pt x="6" y="61"/>
                      <a:pt x="6" y="61"/>
                      <a:pt x="5" y="61"/>
                    </a:cubicBezTo>
                    <a:cubicBezTo>
                      <a:pt x="4" y="61"/>
                      <a:pt x="3" y="61"/>
                      <a:pt x="1" y="61"/>
                    </a:cubicBezTo>
                    <a:cubicBezTo>
                      <a:pt x="1" y="59"/>
                      <a:pt x="1" y="58"/>
                      <a:pt x="1" y="56"/>
                    </a:cubicBezTo>
                    <a:cubicBezTo>
                      <a:pt x="1" y="56"/>
                      <a:pt x="1" y="55"/>
                      <a:pt x="1" y="55"/>
                    </a:cubicBezTo>
                    <a:cubicBezTo>
                      <a:pt x="1" y="54"/>
                      <a:pt x="1" y="54"/>
                      <a:pt x="0" y="53"/>
                    </a:cubicBezTo>
                    <a:cubicBezTo>
                      <a:pt x="0" y="52"/>
                      <a:pt x="0" y="51"/>
                      <a:pt x="0" y="51"/>
                    </a:cubicBezTo>
                    <a:cubicBezTo>
                      <a:pt x="0" y="50"/>
                      <a:pt x="0" y="50"/>
                      <a:pt x="0" y="50"/>
                    </a:cubicBezTo>
                    <a:cubicBezTo>
                      <a:pt x="1" y="50"/>
                      <a:pt x="1" y="50"/>
                      <a:pt x="1" y="49"/>
                    </a:cubicBezTo>
                    <a:cubicBezTo>
                      <a:pt x="3" y="49"/>
                      <a:pt x="5" y="48"/>
                      <a:pt x="6" y="47"/>
                    </a:cubicBezTo>
                    <a:cubicBezTo>
                      <a:pt x="8" y="47"/>
                      <a:pt x="10" y="47"/>
                      <a:pt x="11" y="46"/>
                    </a:cubicBezTo>
                    <a:cubicBezTo>
                      <a:pt x="12" y="46"/>
                      <a:pt x="13" y="45"/>
                      <a:pt x="13" y="45"/>
                    </a:cubicBezTo>
                    <a:cubicBezTo>
                      <a:pt x="14" y="45"/>
                      <a:pt x="15" y="44"/>
                      <a:pt x="16" y="44"/>
                    </a:cubicBezTo>
                    <a:cubicBezTo>
                      <a:pt x="18" y="43"/>
                      <a:pt x="20" y="43"/>
                      <a:pt x="21" y="42"/>
                    </a:cubicBezTo>
                    <a:cubicBezTo>
                      <a:pt x="23" y="42"/>
                      <a:pt x="25" y="41"/>
                      <a:pt x="27" y="40"/>
                    </a:cubicBezTo>
                    <a:cubicBezTo>
                      <a:pt x="28" y="40"/>
                      <a:pt x="30" y="39"/>
                      <a:pt x="30" y="40"/>
                    </a:cubicBezTo>
                    <a:cubicBezTo>
                      <a:pt x="30" y="41"/>
                      <a:pt x="30" y="41"/>
                      <a:pt x="31" y="42"/>
                    </a:cubicBezTo>
                    <a:cubicBezTo>
                      <a:pt x="31" y="43"/>
                      <a:pt x="31" y="43"/>
                      <a:pt x="32" y="44"/>
                    </a:cubicBezTo>
                    <a:cubicBezTo>
                      <a:pt x="32" y="44"/>
                      <a:pt x="33" y="45"/>
                      <a:pt x="33" y="45"/>
                    </a:cubicBezTo>
                    <a:cubicBezTo>
                      <a:pt x="33" y="46"/>
                      <a:pt x="33" y="45"/>
                      <a:pt x="33" y="45"/>
                    </a:cubicBezTo>
                    <a:cubicBezTo>
                      <a:pt x="34" y="44"/>
                      <a:pt x="34" y="45"/>
                      <a:pt x="35" y="45"/>
                    </a:cubicBezTo>
                    <a:cubicBezTo>
                      <a:pt x="35" y="45"/>
                      <a:pt x="35" y="45"/>
                      <a:pt x="35" y="45"/>
                    </a:cubicBezTo>
                    <a:cubicBezTo>
                      <a:pt x="36" y="44"/>
                      <a:pt x="36" y="44"/>
                      <a:pt x="36" y="45"/>
                    </a:cubicBezTo>
                    <a:cubicBezTo>
                      <a:pt x="37" y="45"/>
                      <a:pt x="37" y="44"/>
                      <a:pt x="38" y="44"/>
                    </a:cubicBezTo>
                    <a:cubicBezTo>
                      <a:pt x="39" y="44"/>
                      <a:pt x="39" y="43"/>
                      <a:pt x="40" y="43"/>
                    </a:cubicBezTo>
                    <a:cubicBezTo>
                      <a:pt x="40" y="43"/>
                      <a:pt x="41" y="44"/>
                      <a:pt x="41" y="45"/>
                    </a:cubicBezTo>
                    <a:cubicBezTo>
                      <a:pt x="41" y="46"/>
                      <a:pt x="41" y="46"/>
                      <a:pt x="41" y="47"/>
                    </a:cubicBezTo>
                    <a:cubicBezTo>
                      <a:pt x="42" y="48"/>
                      <a:pt x="42" y="49"/>
                      <a:pt x="42" y="50"/>
                    </a:cubicBezTo>
                    <a:cubicBezTo>
                      <a:pt x="42" y="51"/>
                      <a:pt x="41" y="51"/>
                      <a:pt x="42" y="52"/>
                    </a:cubicBezTo>
                    <a:cubicBezTo>
                      <a:pt x="42" y="53"/>
                      <a:pt x="42" y="53"/>
                      <a:pt x="41" y="53"/>
                    </a:cubicBezTo>
                    <a:cubicBezTo>
                      <a:pt x="41" y="54"/>
                      <a:pt x="40" y="55"/>
                      <a:pt x="40" y="56"/>
                    </a:cubicBezTo>
                    <a:cubicBezTo>
                      <a:pt x="40" y="57"/>
                      <a:pt x="40" y="57"/>
                      <a:pt x="40" y="58"/>
                    </a:cubicBezTo>
                    <a:cubicBezTo>
                      <a:pt x="39" y="58"/>
                      <a:pt x="39" y="58"/>
                      <a:pt x="38" y="59"/>
                    </a:cubicBezTo>
                    <a:cubicBezTo>
                      <a:pt x="38" y="60"/>
                      <a:pt x="39" y="60"/>
                      <a:pt x="39" y="61"/>
                    </a:cubicBezTo>
                    <a:cubicBezTo>
                      <a:pt x="40" y="61"/>
                      <a:pt x="40" y="62"/>
                      <a:pt x="40" y="63"/>
                    </a:cubicBezTo>
                    <a:cubicBezTo>
                      <a:pt x="39" y="64"/>
                      <a:pt x="41" y="64"/>
                      <a:pt x="41" y="65"/>
                    </a:cubicBezTo>
                    <a:cubicBezTo>
                      <a:pt x="41" y="66"/>
                      <a:pt x="42" y="66"/>
                      <a:pt x="42" y="67"/>
                    </a:cubicBezTo>
                    <a:cubicBezTo>
                      <a:pt x="43" y="67"/>
                      <a:pt x="43" y="67"/>
                      <a:pt x="43" y="68"/>
                    </a:cubicBezTo>
                    <a:cubicBezTo>
                      <a:pt x="43" y="68"/>
                      <a:pt x="44" y="68"/>
                      <a:pt x="44" y="69"/>
                    </a:cubicBezTo>
                    <a:cubicBezTo>
                      <a:pt x="44" y="69"/>
                      <a:pt x="45" y="69"/>
                      <a:pt x="45" y="70"/>
                    </a:cubicBezTo>
                    <a:cubicBezTo>
                      <a:pt x="45" y="70"/>
                      <a:pt x="46" y="70"/>
                      <a:pt x="46" y="70"/>
                    </a:cubicBezTo>
                    <a:cubicBezTo>
                      <a:pt x="47" y="71"/>
                      <a:pt x="45" y="72"/>
                      <a:pt x="46" y="73"/>
                    </a:cubicBezTo>
                    <a:cubicBezTo>
                      <a:pt x="46" y="73"/>
                      <a:pt x="47" y="74"/>
                      <a:pt x="47" y="74"/>
                    </a:cubicBezTo>
                    <a:cubicBezTo>
                      <a:pt x="49" y="73"/>
                      <a:pt x="48" y="72"/>
                      <a:pt x="48" y="71"/>
                    </a:cubicBezTo>
                    <a:cubicBezTo>
                      <a:pt x="48" y="70"/>
                      <a:pt x="48" y="70"/>
                      <a:pt x="48" y="69"/>
                    </a:cubicBezTo>
                    <a:cubicBezTo>
                      <a:pt x="48" y="69"/>
                      <a:pt x="47" y="68"/>
                      <a:pt x="47" y="68"/>
                    </a:cubicBezTo>
                    <a:cubicBezTo>
                      <a:pt x="46" y="67"/>
                      <a:pt x="47" y="67"/>
                      <a:pt x="47" y="66"/>
                    </a:cubicBezTo>
                    <a:cubicBezTo>
                      <a:pt x="48" y="66"/>
                      <a:pt x="48" y="65"/>
                      <a:pt x="48" y="64"/>
                    </a:cubicBezTo>
                    <a:cubicBezTo>
                      <a:pt x="48" y="63"/>
                      <a:pt x="49" y="63"/>
                      <a:pt x="49" y="63"/>
                    </a:cubicBezTo>
                    <a:cubicBezTo>
                      <a:pt x="49" y="63"/>
                      <a:pt x="50" y="62"/>
                      <a:pt x="50" y="63"/>
                    </a:cubicBezTo>
                    <a:cubicBezTo>
                      <a:pt x="50" y="63"/>
                      <a:pt x="50" y="63"/>
                      <a:pt x="50" y="63"/>
                    </a:cubicBezTo>
                    <a:cubicBezTo>
                      <a:pt x="51" y="63"/>
                      <a:pt x="51" y="63"/>
                      <a:pt x="51" y="63"/>
                    </a:cubicBezTo>
                    <a:cubicBezTo>
                      <a:pt x="51" y="62"/>
                      <a:pt x="52" y="62"/>
                      <a:pt x="52" y="62"/>
                    </a:cubicBezTo>
                    <a:cubicBezTo>
                      <a:pt x="53" y="62"/>
                      <a:pt x="53" y="62"/>
                      <a:pt x="53" y="61"/>
                    </a:cubicBezTo>
                    <a:cubicBezTo>
                      <a:pt x="53" y="59"/>
                      <a:pt x="54" y="57"/>
                      <a:pt x="54" y="56"/>
                    </a:cubicBezTo>
                    <a:cubicBezTo>
                      <a:pt x="54" y="55"/>
                      <a:pt x="54" y="54"/>
                      <a:pt x="54" y="53"/>
                    </a:cubicBezTo>
                    <a:cubicBezTo>
                      <a:pt x="53" y="52"/>
                      <a:pt x="54" y="51"/>
                      <a:pt x="54" y="50"/>
                    </a:cubicBezTo>
                    <a:cubicBezTo>
                      <a:pt x="54" y="50"/>
                      <a:pt x="55" y="49"/>
                      <a:pt x="55" y="49"/>
                    </a:cubicBezTo>
                    <a:cubicBezTo>
                      <a:pt x="55" y="49"/>
                      <a:pt x="54" y="48"/>
                      <a:pt x="54" y="48"/>
                    </a:cubicBezTo>
                    <a:cubicBezTo>
                      <a:pt x="54" y="48"/>
                      <a:pt x="54" y="47"/>
                      <a:pt x="54" y="46"/>
                    </a:cubicBezTo>
                    <a:cubicBezTo>
                      <a:pt x="54" y="46"/>
                      <a:pt x="53" y="45"/>
                      <a:pt x="53" y="44"/>
                    </a:cubicBezTo>
                    <a:cubicBezTo>
                      <a:pt x="52" y="43"/>
                      <a:pt x="51" y="42"/>
                      <a:pt x="51" y="41"/>
                    </a:cubicBezTo>
                    <a:cubicBezTo>
                      <a:pt x="50" y="40"/>
                      <a:pt x="49" y="39"/>
                      <a:pt x="48" y="37"/>
                    </a:cubicBezTo>
                    <a:cubicBezTo>
                      <a:pt x="48" y="36"/>
                      <a:pt x="47" y="36"/>
                      <a:pt x="47" y="35"/>
                    </a:cubicBezTo>
                    <a:cubicBezTo>
                      <a:pt x="46" y="35"/>
                      <a:pt x="45" y="34"/>
                      <a:pt x="45" y="33"/>
                    </a:cubicBezTo>
                    <a:cubicBezTo>
                      <a:pt x="45" y="33"/>
                      <a:pt x="45" y="32"/>
                      <a:pt x="45" y="32"/>
                    </a:cubicBezTo>
                    <a:cubicBezTo>
                      <a:pt x="44" y="31"/>
                      <a:pt x="44" y="31"/>
                      <a:pt x="44" y="30"/>
                    </a:cubicBezTo>
                    <a:cubicBezTo>
                      <a:pt x="45" y="29"/>
                      <a:pt x="44" y="29"/>
                      <a:pt x="44" y="28"/>
                    </a:cubicBezTo>
                    <a:cubicBezTo>
                      <a:pt x="44" y="27"/>
                      <a:pt x="45" y="26"/>
                      <a:pt x="45" y="25"/>
                    </a:cubicBezTo>
                    <a:cubicBezTo>
                      <a:pt x="45" y="24"/>
                      <a:pt x="43" y="23"/>
                      <a:pt x="44" y="21"/>
                    </a:cubicBezTo>
                    <a:cubicBezTo>
                      <a:pt x="44" y="21"/>
                      <a:pt x="44" y="20"/>
                      <a:pt x="44" y="19"/>
                    </a:cubicBezTo>
                    <a:cubicBezTo>
                      <a:pt x="44" y="19"/>
                      <a:pt x="45" y="18"/>
                      <a:pt x="45" y="18"/>
                    </a:cubicBezTo>
                    <a:cubicBezTo>
                      <a:pt x="46" y="17"/>
                      <a:pt x="46" y="15"/>
                      <a:pt x="46" y="14"/>
                    </a:cubicBezTo>
                    <a:cubicBezTo>
                      <a:pt x="46" y="13"/>
                      <a:pt x="46" y="12"/>
                      <a:pt x="47" y="12"/>
                    </a:cubicBezTo>
                    <a:cubicBezTo>
                      <a:pt x="48" y="12"/>
                      <a:pt x="49" y="12"/>
                      <a:pt x="50" y="13"/>
                    </a:cubicBezTo>
                    <a:cubicBezTo>
                      <a:pt x="50" y="13"/>
                      <a:pt x="52" y="13"/>
                      <a:pt x="52" y="13"/>
                    </a:cubicBezTo>
                    <a:cubicBezTo>
                      <a:pt x="52" y="13"/>
                      <a:pt x="53" y="13"/>
                      <a:pt x="53" y="12"/>
                    </a:cubicBezTo>
                    <a:cubicBezTo>
                      <a:pt x="54" y="12"/>
                      <a:pt x="55" y="10"/>
                      <a:pt x="56" y="11"/>
                    </a:cubicBezTo>
                    <a:cubicBezTo>
                      <a:pt x="56" y="11"/>
                      <a:pt x="56" y="12"/>
                      <a:pt x="57" y="12"/>
                    </a:cubicBezTo>
                    <a:cubicBezTo>
                      <a:pt x="57" y="12"/>
                      <a:pt x="58" y="12"/>
                      <a:pt x="58" y="13"/>
                    </a:cubicBezTo>
                    <a:cubicBezTo>
                      <a:pt x="58" y="13"/>
                      <a:pt x="58" y="14"/>
                      <a:pt x="58" y="14"/>
                    </a:cubicBezTo>
                    <a:cubicBezTo>
                      <a:pt x="59" y="14"/>
                      <a:pt x="60" y="14"/>
                      <a:pt x="61" y="14"/>
                    </a:cubicBezTo>
                    <a:cubicBezTo>
                      <a:pt x="61" y="14"/>
                      <a:pt x="61" y="14"/>
                      <a:pt x="62" y="14"/>
                    </a:cubicBezTo>
                    <a:cubicBezTo>
                      <a:pt x="63" y="14"/>
                      <a:pt x="63" y="14"/>
                      <a:pt x="63" y="13"/>
                    </a:cubicBezTo>
                    <a:cubicBezTo>
                      <a:pt x="64" y="13"/>
                      <a:pt x="64" y="13"/>
                      <a:pt x="64" y="12"/>
                    </a:cubicBezTo>
                    <a:cubicBezTo>
                      <a:pt x="65" y="12"/>
                      <a:pt x="65" y="13"/>
                      <a:pt x="66" y="13"/>
                    </a:cubicBezTo>
                    <a:cubicBezTo>
                      <a:pt x="67" y="12"/>
                      <a:pt x="67" y="13"/>
                      <a:pt x="67" y="13"/>
                    </a:cubicBezTo>
                    <a:cubicBezTo>
                      <a:pt x="67" y="14"/>
                      <a:pt x="68" y="14"/>
                      <a:pt x="69" y="14"/>
                    </a:cubicBezTo>
                    <a:cubicBezTo>
                      <a:pt x="69" y="14"/>
                      <a:pt x="70" y="14"/>
                      <a:pt x="70" y="14"/>
                    </a:cubicBezTo>
                    <a:cubicBezTo>
                      <a:pt x="71" y="14"/>
                      <a:pt x="71" y="13"/>
                      <a:pt x="72" y="13"/>
                    </a:cubicBezTo>
                    <a:cubicBezTo>
                      <a:pt x="73" y="13"/>
                      <a:pt x="74" y="12"/>
                      <a:pt x="74" y="11"/>
                    </a:cubicBezTo>
                    <a:cubicBezTo>
                      <a:pt x="74" y="10"/>
                      <a:pt x="75" y="9"/>
                      <a:pt x="77" y="9"/>
                    </a:cubicBezTo>
                    <a:cubicBezTo>
                      <a:pt x="77" y="9"/>
                      <a:pt x="78" y="9"/>
                      <a:pt x="78" y="9"/>
                    </a:cubicBezTo>
                    <a:cubicBezTo>
                      <a:pt x="79" y="10"/>
                      <a:pt x="79" y="10"/>
                      <a:pt x="80" y="11"/>
                    </a:cubicBezTo>
                    <a:cubicBezTo>
                      <a:pt x="81" y="11"/>
                      <a:pt x="81" y="10"/>
                      <a:pt x="82" y="9"/>
                    </a:cubicBezTo>
                    <a:cubicBezTo>
                      <a:pt x="82" y="9"/>
                      <a:pt x="82" y="9"/>
                      <a:pt x="83" y="9"/>
                    </a:cubicBezTo>
                    <a:cubicBezTo>
                      <a:pt x="83" y="9"/>
                      <a:pt x="84" y="9"/>
                      <a:pt x="84" y="8"/>
                    </a:cubicBezTo>
                    <a:cubicBezTo>
                      <a:pt x="85" y="8"/>
                      <a:pt x="85" y="8"/>
                      <a:pt x="86" y="8"/>
                    </a:cubicBezTo>
                    <a:cubicBezTo>
                      <a:pt x="87" y="8"/>
                      <a:pt x="87" y="8"/>
                      <a:pt x="88" y="8"/>
                    </a:cubicBezTo>
                    <a:cubicBezTo>
                      <a:pt x="89" y="8"/>
                      <a:pt x="89" y="7"/>
                      <a:pt x="90" y="7"/>
                    </a:cubicBezTo>
                    <a:cubicBezTo>
                      <a:pt x="90" y="6"/>
                      <a:pt x="91" y="6"/>
                      <a:pt x="92" y="6"/>
                    </a:cubicBezTo>
                    <a:cubicBezTo>
                      <a:pt x="93" y="5"/>
                      <a:pt x="95" y="4"/>
                      <a:pt x="96" y="3"/>
                    </a:cubicBezTo>
                    <a:cubicBezTo>
                      <a:pt x="97" y="3"/>
                      <a:pt x="97" y="2"/>
                      <a:pt x="98" y="2"/>
                    </a:cubicBezTo>
                    <a:cubicBezTo>
                      <a:pt x="99" y="1"/>
                      <a:pt x="99" y="1"/>
                      <a:pt x="99" y="0"/>
                    </a:cubicBezTo>
                    <a:cubicBezTo>
                      <a:pt x="100" y="0"/>
                      <a:pt x="100" y="1"/>
                      <a:pt x="100" y="1"/>
                    </a:cubicBezTo>
                    <a:cubicBezTo>
                      <a:pt x="100" y="1"/>
                      <a:pt x="100" y="1"/>
                      <a:pt x="100" y="1"/>
                    </a:cubicBezTo>
                    <a:cubicBezTo>
                      <a:pt x="100" y="2"/>
                      <a:pt x="101" y="1"/>
                      <a:pt x="101" y="2"/>
                    </a:cubicBezTo>
                    <a:cubicBezTo>
                      <a:pt x="101" y="2"/>
                      <a:pt x="101" y="2"/>
                      <a:pt x="101" y="3"/>
                    </a:cubicBezTo>
                    <a:cubicBezTo>
                      <a:pt x="101" y="3"/>
                      <a:pt x="100" y="3"/>
                      <a:pt x="100" y="4"/>
                    </a:cubicBezTo>
                    <a:cubicBezTo>
                      <a:pt x="100" y="3"/>
                      <a:pt x="101" y="4"/>
                      <a:pt x="101" y="5"/>
                    </a:cubicBezTo>
                    <a:cubicBezTo>
                      <a:pt x="100" y="5"/>
                      <a:pt x="100" y="5"/>
                      <a:pt x="100" y="6"/>
                    </a:cubicBezTo>
                    <a:cubicBezTo>
                      <a:pt x="100" y="6"/>
                      <a:pt x="100" y="6"/>
                      <a:pt x="101" y="7"/>
                    </a:cubicBezTo>
                    <a:cubicBezTo>
                      <a:pt x="101" y="7"/>
                      <a:pt x="100" y="8"/>
                      <a:pt x="100" y="9"/>
                    </a:cubicBezTo>
                    <a:cubicBezTo>
                      <a:pt x="99" y="9"/>
                      <a:pt x="99" y="9"/>
                      <a:pt x="99" y="10"/>
                    </a:cubicBezTo>
                    <a:cubicBezTo>
                      <a:pt x="99" y="10"/>
                      <a:pt x="98" y="10"/>
                      <a:pt x="99" y="10"/>
                    </a:cubicBezTo>
                    <a:cubicBezTo>
                      <a:pt x="99" y="10"/>
                      <a:pt x="99" y="10"/>
                      <a:pt x="100" y="11"/>
                    </a:cubicBezTo>
                    <a:cubicBezTo>
                      <a:pt x="100" y="11"/>
                      <a:pt x="99" y="12"/>
                      <a:pt x="99" y="12"/>
                    </a:cubicBezTo>
                    <a:cubicBezTo>
                      <a:pt x="99" y="13"/>
                      <a:pt x="99" y="14"/>
                      <a:pt x="100" y="15"/>
                    </a:cubicBezTo>
                    <a:cubicBezTo>
                      <a:pt x="100" y="15"/>
                      <a:pt x="99" y="16"/>
                      <a:pt x="100" y="16"/>
                    </a:cubicBezTo>
                    <a:cubicBezTo>
                      <a:pt x="100" y="17"/>
                      <a:pt x="100" y="17"/>
                      <a:pt x="100" y="18"/>
                    </a:cubicBezTo>
                    <a:cubicBezTo>
                      <a:pt x="100" y="18"/>
                      <a:pt x="100" y="19"/>
                      <a:pt x="100" y="19"/>
                    </a:cubicBezTo>
                    <a:cubicBezTo>
                      <a:pt x="100" y="20"/>
                      <a:pt x="100" y="20"/>
                      <a:pt x="99" y="20"/>
                    </a:cubicBezTo>
                    <a:cubicBezTo>
                      <a:pt x="100" y="20"/>
                      <a:pt x="100" y="21"/>
                      <a:pt x="100" y="21"/>
                    </a:cubicBezTo>
                    <a:cubicBezTo>
                      <a:pt x="100" y="21"/>
                      <a:pt x="100" y="22"/>
                      <a:pt x="100" y="22"/>
                    </a:cubicBezTo>
                    <a:cubicBezTo>
                      <a:pt x="100" y="22"/>
                      <a:pt x="99" y="23"/>
                      <a:pt x="100" y="23"/>
                    </a:cubicBezTo>
                    <a:cubicBezTo>
                      <a:pt x="100" y="23"/>
                      <a:pt x="100" y="23"/>
                      <a:pt x="100" y="23"/>
                    </a:cubicBezTo>
                    <a:cubicBezTo>
                      <a:pt x="100" y="24"/>
                      <a:pt x="100" y="24"/>
                      <a:pt x="100" y="24"/>
                    </a:cubicBezTo>
                    <a:cubicBezTo>
                      <a:pt x="100" y="25"/>
                      <a:pt x="100" y="25"/>
                      <a:pt x="100" y="25"/>
                    </a:cubicBezTo>
                    <a:cubicBezTo>
                      <a:pt x="101" y="25"/>
                      <a:pt x="101" y="26"/>
                      <a:pt x="100" y="26"/>
                    </a:cubicBezTo>
                    <a:cubicBezTo>
                      <a:pt x="100" y="26"/>
                      <a:pt x="100" y="26"/>
                      <a:pt x="100" y="26"/>
                    </a:cubicBezTo>
                    <a:cubicBezTo>
                      <a:pt x="100" y="26"/>
                      <a:pt x="100" y="27"/>
                      <a:pt x="100" y="27"/>
                    </a:cubicBezTo>
                    <a:cubicBezTo>
                      <a:pt x="99" y="27"/>
                      <a:pt x="99" y="27"/>
                      <a:pt x="99" y="27"/>
                    </a:cubicBezTo>
                    <a:cubicBezTo>
                      <a:pt x="98" y="28"/>
                      <a:pt x="100" y="29"/>
                      <a:pt x="99" y="28"/>
                    </a:cubicBezTo>
                    <a:cubicBezTo>
                      <a:pt x="99" y="28"/>
                      <a:pt x="100" y="28"/>
                      <a:pt x="100" y="28"/>
                    </a:cubicBezTo>
                    <a:cubicBezTo>
                      <a:pt x="100" y="28"/>
                      <a:pt x="100" y="28"/>
                      <a:pt x="100" y="29"/>
                    </a:cubicBezTo>
                    <a:cubicBezTo>
                      <a:pt x="100" y="29"/>
                      <a:pt x="100" y="30"/>
                      <a:pt x="100" y="30"/>
                    </a:cubicBezTo>
                    <a:cubicBezTo>
                      <a:pt x="100" y="31"/>
                      <a:pt x="100" y="31"/>
                      <a:pt x="100" y="31"/>
                    </a:cubicBezTo>
                    <a:cubicBezTo>
                      <a:pt x="100" y="31"/>
                      <a:pt x="100" y="33"/>
                      <a:pt x="100" y="33"/>
                    </a:cubicBezTo>
                    <a:cubicBezTo>
                      <a:pt x="100" y="33"/>
                      <a:pt x="99" y="33"/>
                      <a:pt x="99" y="34"/>
                    </a:cubicBezTo>
                    <a:cubicBezTo>
                      <a:pt x="100" y="34"/>
                      <a:pt x="100" y="34"/>
                      <a:pt x="100" y="34"/>
                    </a:cubicBezTo>
                    <a:cubicBezTo>
                      <a:pt x="100" y="35"/>
                      <a:pt x="99" y="35"/>
                      <a:pt x="100" y="36"/>
                    </a:cubicBezTo>
                    <a:cubicBezTo>
                      <a:pt x="100" y="36"/>
                      <a:pt x="100" y="37"/>
                      <a:pt x="100" y="37"/>
                    </a:cubicBezTo>
                    <a:cubicBezTo>
                      <a:pt x="100" y="38"/>
                      <a:pt x="100" y="38"/>
                      <a:pt x="100" y="39"/>
                    </a:cubicBezTo>
                    <a:cubicBezTo>
                      <a:pt x="100" y="39"/>
                      <a:pt x="100" y="40"/>
                      <a:pt x="100" y="40"/>
                    </a:cubicBezTo>
                    <a:cubicBezTo>
                      <a:pt x="100" y="40"/>
                      <a:pt x="100" y="41"/>
                      <a:pt x="100" y="41"/>
                    </a:cubicBezTo>
                    <a:cubicBezTo>
                      <a:pt x="99" y="41"/>
                      <a:pt x="99" y="41"/>
                      <a:pt x="99" y="41"/>
                    </a:cubicBezTo>
                    <a:cubicBezTo>
                      <a:pt x="100" y="42"/>
                      <a:pt x="99" y="41"/>
                      <a:pt x="100" y="42"/>
                    </a:cubicBezTo>
                    <a:cubicBezTo>
                      <a:pt x="100" y="42"/>
                      <a:pt x="100" y="42"/>
                      <a:pt x="100" y="42"/>
                    </a:cubicBezTo>
                    <a:cubicBezTo>
                      <a:pt x="100" y="42"/>
                      <a:pt x="101" y="40"/>
                      <a:pt x="101" y="42"/>
                    </a:cubicBezTo>
                    <a:cubicBezTo>
                      <a:pt x="101" y="42"/>
                      <a:pt x="101" y="44"/>
                      <a:pt x="100" y="43"/>
                    </a:cubicBezTo>
                    <a:cubicBezTo>
                      <a:pt x="100" y="44"/>
                      <a:pt x="100" y="44"/>
                      <a:pt x="100" y="45"/>
                    </a:cubicBezTo>
                    <a:cubicBezTo>
                      <a:pt x="101" y="45"/>
                      <a:pt x="100" y="44"/>
                      <a:pt x="101" y="44"/>
                    </a:cubicBezTo>
                    <a:cubicBezTo>
                      <a:pt x="102" y="43"/>
                      <a:pt x="102" y="44"/>
                      <a:pt x="102" y="44"/>
                    </a:cubicBezTo>
                    <a:cubicBezTo>
                      <a:pt x="102" y="45"/>
                      <a:pt x="101" y="45"/>
                      <a:pt x="101" y="45"/>
                    </a:cubicBezTo>
                    <a:cubicBezTo>
                      <a:pt x="101" y="45"/>
                      <a:pt x="102" y="45"/>
                      <a:pt x="102" y="45"/>
                    </a:cubicBezTo>
                    <a:cubicBezTo>
                      <a:pt x="102" y="45"/>
                      <a:pt x="102" y="46"/>
                      <a:pt x="102" y="46"/>
                    </a:cubicBezTo>
                    <a:cubicBezTo>
                      <a:pt x="102" y="46"/>
                      <a:pt x="102" y="47"/>
                      <a:pt x="102" y="47"/>
                    </a:cubicBezTo>
                    <a:cubicBezTo>
                      <a:pt x="102" y="48"/>
                      <a:pt x="100" y="50"/>
                      <a:pt x="100" y="49"/>
                    </a:cubicBezTo>
                    <a:cubicBezTo>
                      <a:pt x="100" y="49"/>
                      <a:pt x="100" y="49"/>
                      <a:pt x="101" y="49"/>
                    </a:cubicBezTo>
                    <a:cubicBezTo>
                      <a:pt x="101" y="49"/>
                      <a:pt x="102" y="50"/>
                      <a:pt x="101" y="50"/>
                    </a:cubicBezTo>
                    <a:close/>
                    <a:moveTo>
                      <a:pt x="47" y="125"/>
                    </a:moveTo>
                    <a:cubicBezTo>
                      <a:pt x="48" y="124"/>
                      <a:pt x="48" y="124"/>
                      <a:pt x="48" y="123"/>
                    </a:cubicBezTo>
                    <a:cubicBezTo>
                      <a:pt x="48" y="123"/>
                      <a:pt x="48" y="122"/>
                      <a:pt x="48" y="122"/>
                    </a:cubicBezTo>
                    <a:cubicBezTo>
                      <a:pt x="47" y="122"/>
                      <a:pt x="47" y="125"/>
                      <a:pt x="47" y="125"/>
                    </a:cubicBezTo>
                    <a:close/>
                    <a:moveTo>
                      <a:pt x="21" y="172"/>
                    </a:moveTo>
                    <a:cubicBezTo>
                      <a:pt x="21" y="171"/>
                      <a:pt x="22" y="171"/>
                      <a:pt x="22" y="172"/>
                    </a:cubicBezTo>
                    <a:cubicBezTo>
                      <a:pt x="22" y="171"/>
                      <a:pt x="22" y="171"/>
                      <a:pt x="22" y="171"/>
                    </a:cubicBezTo>
                    <a:cubicBezTo>
                      <a:pt x="22" y="171"/>
                      <a:pt x="21" y="171"/>
                      <a:pt x="21" y="17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6" name="Morocco">
                <a:extLst>
                  <a:ext uri="{FF2B5EF4-FFF2-40B4-BE49-F238E27FC236}">
                    <a16:creationId xmlns:a16="http://schemas.microsoft.com/office/drawing/2014/main" id="{51BC70CF-71B1-76D6-69B8-962968C8BC82}"/>
                  </a:ext>
                </a:extLst>
              </p:cNvPr>
              <p:cNvSpPr>
                <a:spLocks/>
              </p:cNvSpPr>
              <p:nvPr/>
            </p:nvSpPr>
            <p:spPr bwMode="auto">
              <a:xfrm>
                <a:off x="5268351" y="2643694"/>
                <a:ext cx="410691" cy="322475"/>
              </a:xfrm>
              <a:custGeom>
                <a:avLst/>
                <a:gdLst/>
                <a:ahLst/>
                <a:cxnLst>
                  <a:cxn ang="0">
                    <a:pos x="114" y="36"/>
                  </a:cxn>
                  <a:cxn ang="0">
                    <a:pos x="111" y="33"/>
                  </a:cxn>
                  <a:cxn ang="0">
                    <a:pos x="110" y="29"/>
                  </a:cxn>
                  <a:cxn ang="0">
                    <a:pos x="110" y="25"/>
                  </a:cxn>
                  <a:cxn ang="0">
                    <a:pos x="110" y="22"/>
                  </a:cxn>
                  <a:cxn ang="0">
                    <a:pos x="110" y="17"/>
                  </a:cxn>
                  <a:cxn ang="0">
                    <a:pos x="109" y="14"/>
                  </a:cxn>
                  <a:cxn ang="0">
                    <a:pos x="108" y="12"/>
                  </a:cxn>
                  <a:cxn ang="0">
                    <a:pos x="106" y="10"/>
                  </a:cxn>
                  <a:cxn ang="0">
                    <a:pos x="101" y="9"/>
                  </a:cxn>
                  <a:cxn ang="0">
                    <a:pos x="101" y="9"/>
                  </a:cxn>
                  <a:cxn ang="0">
                    <a:pos x="99" y="8"/>
                  </a:cxn>
                  <a:cxn ang="0">
                    <a:pos x="99" y="6"/>
                  </a:cxn>
                  <a:cxn ang="0">
                    <a:pos x="96" y="8"/>
                  </a:cxn>
                  <a:cxn ang="0">
                    <a:pos x="91" y="8"/>
                  </a:cxn>
                  <a:cxn ang="0">
                    <a:pos x="87" y="9"/>
                  </a:cxn>
                  <a:cxn ang="0">
                    <a:pos x="81" y="7"/>
                  </a:cxn>
                  <a:cxn ang="0">
                    <a:pos x="78" y="3"/>
                  </a:cxn>
                  <a:cxn ang="0">
                    <a:pos x="76" y="1"/>
                  </a:cxn>
                  <a:cxn ang="0">
                    <a:pos x="72" y="2"/>
                  </a:cxn>
                  <a:cxn ang="0">
                    <a:pos x="69" y="10"/>
                  </a:cxn>
                  <a:cxn ang="0">
                    <a:pos x="61" y="23"/>
                  </a:cxn>
                  <a:cxn ang="0">
                    <a:pos x="56" y="26"/>
                  </a:cxn>
                  <a:cxn ang="0">
                    <a:pos x="51" y="28"/>
                  </a:cxn>
                  <a:cxn ang="0">
                    <a:pos x="46" y="31"/>
                  </a:cxn>
                  <a:cxn ang="0">
                    <a:pos x="41" y="36"/>
                  </a:cxn>
                  <a:cxn ang="0">
                    <a:pos x="39" y="39"/>
                  </a:cxn>
                  <a:cxn ang="0">
                    <a:pos x="39" y="42"/>
                  </a:cxn>
                  <a:cxn ang="0">
                    <a:pos x="35" y="48"/>
                  </a:cxn>
                  <a:cxn ang="0">
                    <a:pos x="34" y="51"/>
                  </a:cxn>
                  <a:cxn ang="0">
                    <a:pos x="33" y="54"/>
                  </a:cxn>
                  <a:cxn ang="0">
                    <a:pos x="33" y="59"/>
                  </a:cxn>
                  <a:cxn ang="0">
                    <a:pos x="34" y="60"/>
                  </a:cxn>
                  <a:cxn ang="0">
                    <a:pos x="33" y="67"/>
                  </a:cxn>
                  <a:cxn ang="0">
                    <a:pos x="23" y="78"/>
                  </a:cxn>
                  <a:cxn ang="0">
                    <a:pos x="17" y="82"/>
                  </a:cxn>
                  <a:cxn ang="0">
                    <a:pos x="11" y="86"/>
                  </a:cxn>
                  <a:cxn ang="0">
                    <a:pos x="2" y="89"/>
                  </a:cxn>
                  <a:cxn ang="0">
                    <a:pos x="0" y="91"/>
                  </a:cxn>
                  <a:cxn ang="0">
                    <a:pos x="36" y="91"/>
                  </a:cxn>
                  <a:cxn ang="0">
                    <a:pos x="42" y="90"/>
                  </a:cxn>
                  <a:cxn ang="0">
                    <a:pos x="43" y="79"/>
                  </a:cxn>
                  <a:cxn ang="0">
                    <a:pos x="46" y="77"/>
                  </a:cxn>
                  <a:cxn ang="0">
                    <a:pos x="49" y="75"/>
                  </a:cxn>
                  <a:cxn ang="0">
                    <a:pos x="53" y="73"/>
                  </a:cxn>
                  <a:cxn ang="0">
                    <a:pos x="57" y="70"/>
                  </a:cxn>
                  <a:cxn ang="0">
                    <a:pos x="64" y="68"/>
                  </a:cxn>
                  <a:cxn ang="0">
                    <a:pos x="67" y="67"/>
                  </a:cxn>
                  <a:cxn ang="0">
                    <a:pos x="75" y="65"/>
                  </a:cxn>
                  <a:cxn ang="0">
                    <a:pos x="81" y="59"/>
                  </a:cxn>
                  <a:cxn ang="0">
                    <a:pos x="83" y="59"/>
                  </a:cxn>
                  <a:cxn ang="0">
                    <a:pos x="89" y="55"/>
                  </a:cxn>
                  <a:cxn ang="0">
                    <a:pos x="91" y="53"/>
                  </a:cxn>
                  <a:cxn ang="0">
                    <a:pos x="89" y="52"/>
                  </a:cxn>
                  <a:cxn ang="0">
                    <a:pos x="90" y="50"/>
                  </a:cxn>
                  <a:cxn ang="0">
                    <a:pos x="89" y="47"/>
                  </a:cxn>
                  <a:cxn ang="0">
                    <a:pos x="93" y="47"/>
                  </a:cxn>
                  <a:cxn ang="0">
                    <a:pos x="98" y="43"/>
                  </a:cxn>
                  <a:cxn ang="0">
                    <a:pos x="103" y="42"/>
                  </a:cxn>
                  <a:cxn ang="0">
                    <a:pos x="112" y="42"/>
                  </a:cxn>
                  <a:cxn ang="0">
                    <a:pos x="113" y="42"/>
                  </a:cxn>
                  <a:cxn ang="0">
                    <a:pos x="115" y="39"/>
                  </a:cxn>
                </a:cxnLst>
                <a:rect l="0" t="0" r="r" b="b"/>
                <a:pathLst>
                  <a:path w="116" h="91">
                    <a:moveTo>
                      <a:pt x="115" y="38"/>
                    </a:moveTo>
                    <a:cubicBezTo>
                      <a:pt x="115" y="37"/>
                      <a:pt x="114" y="37"/>
                      <a:pt x="114" y="36"/>
                    </a:cubicBezTo>
                    <a:cubicBezTo>
                      <a:pt x="113" y="36"/>
                      <a:pt x="112" y="36"/>
                      <a:pt x="112" y="35"/>
                    </a:cubicBezTo>
                    <a:cubicBezTo>
                      <a:pt x="112" y="35"/>
                      <a:pt x="111" y="34"/>
                      <a:pt x="111" y="33"/>
                    </a:cubicBezTo>
                    <a:cubicBezTo>
                      <a:pt x="112" y="32"/>
                      <a:pt x="112" y="32"/>
                      <a:pt x="111" y="31"/>
                    </a:cubicBezTo>
                    <a:cubicBezTo>
                      <a:pt x="111" y="31"/>
                      <a:pt x="110" y="30"/>
                      <a:pt x="110" y="29"/>
                    </a:cubicBezTo>
                    <a:cubicBezTo>
                      <a:pt x="110" y="29"/>
                      <a:pt x="110" y="28"/>
                      <a:pt x="111" y="27"/>
                    </a:cubicBezTo>
                    <a:cubicBezTo>
                      <a:pt x="111" y="27"/>
                      <a:pt x="111" y="26"/>
                      <a:pt x="110" y="25"/>
                    </a:cubicBezTo>
                    <a:cubicBezTo>
                      <a:pt x="109" y="25"/>
                      <a:pt x="110" y="25"/>
                      <a:pt x="110" y="24"/>
                    </a:cubicBezTo>
                    <a:cubicBezTo>
                      <a:pt x="110" y="23"/>
                      <a:pt x="110" y="23"/>
                      <a:pt x="110" y="22"/>
                    </a:cubicBezTo>
                    <a:cubicBezTo>
                      <a:pt x="110" y="21"/>
                      <a:pt x="110" y="20"/>
                      <a:pt x="110" y="20"/>
                    </a:cubicBezTo>
                    <a:cubicBezTo>
                      <a:pt x="110" y="19"/>
                      <a:pt x="109" y="18"/>
                      <a:pt x="110" y="17"/>
                    </a:cubicBezTo>
                    <a:cubicBezTo>
                      <a:pt x="110" y="17"/>
                      <a:pt x="110" y="16"/>
                      <a:pt x="110" y="16"/>
                    </a:cubicBezTo>
                    <a:cubicBezTo>
                      <a:pt x="109" y="16"/>
                      <a:pt x="109" y="15"/>
                      <a:pt x="109" y="14"/>
                    </a:cubicBezTo>
                    <a:cubicBezTo>
                      <a:pt x="110" y="13"/>
                      <a:pt x="109" y="13"/>
                      <a:pt x="108" y="12"/>
                    </a:cubicBezTo>
                    <a:cubicBezTo>
                      <a:pt x="108" y="12"/>
                      <a:pt x="108" y="12"/>
                      <a:pt x="108" y="12"/>
                    </a:cubicBezTo>
                    <a:cubicBezTo>
                      <a:pt x="108" y="11"/>
                      <a:pt x="107" y="11"/>
                      <a:pt x="107" y="11"/>
                    </a:cubicBezTo>
                    <a:cubicBezTo>
                      <a:pt x="107" y="11"/>
                      <a:pt x="106" y="10"/>
                      <a:pt x="106" y="10"/>
                    </a:cubicBezTo>
                    <a:cubicBezTo>
                      <a:pt x="105" y="9"/>
                      <a:pt x="104" y="9"/>
                      <a:pt x="103" y="9"/>
                    </a:cubicBezTo>
                    <a:cubicBezTo>
                      <a:pt x="103" y="10"/>
                      <a:pt x="102" y="10"/>
                      <a:pt x="101" y="9"/>
                    </a:cubicBezTo>
                    <a:cubicBezTo>
                      <a:pt x="101" y="9"/>
                      <a:pt x="100" y="8"/>
                      <a:pt x="100" y="8"/>
                    </a:cubicBezTo>
                    <a:cubicBezTo>
                      <a:pt x="100" y="9"/>
                      <a:pt x="100" y="9"/>
                      <a:pt x="101" y="9"/>
                    </a:cubicBezTo>
                    <a:cubicBezTo>
                      <a:pt x="100" y="10"/>
                      <a:pt x="100" y="9"/>
                      <a:pt x="99" y="8"/>
                    </a:cubicBezTo>
                    <a:cubicBezTo>
                      <a:pt x="99" y="8"/>
                      <a:pt x="100" y="8"/>
                      <a:pt x="99" y="8"/>
                    </a:cubicBezTo>
                    <a:cubicBezTo>
                      <a:pt x="99" y="8"/>
                      <a:pt x="99" y="7"/>
                      <a:pt x="99" y="7"/>
                    </a:cubicBezTo>
                    <a:cubicBezTo>
                      <a:pt x="99" y="7"/>
                      <a:pt x="99" y="6"/>
                      <a:pt x="99" y="6"/>
                    </a:cubicBezTo>
                    <a:cubicBezTo>
                      <a:pt x="99" y="6"/>
                      <a:pt x="99" y="7"/>
                      <a:pt x="98" y="7"/>
                    </a:cubicBezTo>
                    <a:cubicBezTo>
                      <a:pt x="98" y="8"/>
                      <a:pt x="97" y="8"/>
                      <a:pt x="96" y="8"/>
                    </a:cubicBezTo>
                    <a:cubicBezTo>
                      <a:pt x="95" y="9"/>
                      <a:pt x="94" y="8"/>
                      <a:pt x="92" y="8"/>
                    </a:cubicBezTo>
                    <a:cubicBezTo>
                      <a:pt x="92" y="7"/>
                      <a:pt x="92" y="8"/>
                      <a:pt x="91" y="8"/>
                    </a:cubicBezTo>
                    <a:cubicBezTo>
                      <a:pt x="91" y="9"/>
                      <a:pt x="91" y="8"/>
                      <a:pt x="90" y="8"/>
                    </a:cubicBezTo>
                    <a:cubicBezTo>
                      <a:pt x="89" y="8"/>
                      <a:pt x="88" y="8"/>
                      <a:pt x="87" y="9"/>
                    </a:cubicBezTo>
                    <a:cubicBezTo>
                      <a:pt x="86" y="9"/>
                      <a:pt x="84" y="9"/>
                      <a:pt x="83" y="8"/>
                    </a:cubicBezTo>
                    <a:cubicBezTo>
                      <a:pt x="82" y="8"/>
                      <a:pt x="82" y="7"/>
                      <a:pt x="81" y="7"/>
                    </a:cubicBezTo>
                    <a:cubicBezTo>
                      <a:pt x="81" y="6"/>
                      <a:pt x="80" y="6"/>
                      <a:pt x="80" y="6"/>
                    </a:cubicBezTo>
                    <a:cubicBezTo>
                      <a:pt x="79" y="5"/>
                      <a:pt x="78" y="4"/>
                      <a:pt x="78" y="3"/>
                    </a:cubicBezTo>
                    <a:cubicBezTo>
                      <a:pt x="78" y="2"/>
                      <a:pt x="78" y="1"/>
                      <a:pt x="77" y="1"/>
                    </a:cubicBezTo>
                    <a:cubicBezTo>
                      <a:pt x="77" y="0"/>
                      <a:pt x="76" y="1"/>
                      <a:pt x="76" y="1"/>
                    </a:cubicBezTo>
                    <a:cubicBezTo>
                      <a:pt x="76" y="2"/>
                      <a:pt x="74" y="2"/>
                      <a:pt x="74" y="2"/>
                    </a:cubicBezTo>
                    <a:cubicBezTo>
                      <a:pt x="73" y="2"/>
                      <a:pt x="73" y="2"/>
                      <a:pt x="72" y="2"/>
                    </a:cubicBezTo>
                    <a:cubicBezTo>
                      <a:pt x="72" y="2"/>
                      <a:pt x="72" y="3"/>
                      <a:pt x="72" y="3"/>
                    </a:cubicBezTo>
                    <a:cubicBezTo>
                      <a:pt x="71" y="6"/>
                      <a:pt x="70" y="8"/>
                      <a:pt x="69" y="10"/>
                    </a:cubicBezTo>
                    <a:cubicBezTo>
                      <a:pt x="68" y="13"/>
                      <a:pt x="67" y="15"/>
                      <a:pt x="65" y="18"/>
                    </a:cubicBezTo>
                    <a:cubicBezTo>
                      <a:pt x="64" y="20"/>
                      <a:pt x="63" y="22"/>
                      <a:pt x="61" y="23"/>
                    </a:cubicBezTo>
                    <a:cubicBezTo>
                      <a:pt x="60" y="24"/>
                      <a:pt x="59" y="24"/>
                      <a:pt x="58" y="25"/>
                    </a:cubicBezTo>
                    <a:cubicBezTo>
                      <a:pt x="57" y="25"/>
                      <a:pt x="57" y="25"/>
                      <a:pt x="56" y="26"/>
                    </a:cubicBezTo>
                    <a:cubicBezTo>
                      <a:pt x="56" y="26"/>
                      <a:pt x="55" y="26"/>
                      <a:pt x="55" y="26"/>
                    </a:cubicBezTo>
                    <a:cubicBezTo>
                      <a:pt x="54" y="26"/>
                      <a:pt x="53" y="27"/>
                      <a:pt x="51" y="28"/>
                    </a:cubicBezTo>
                    <a:cubicBezTo>
                      <a:pt x="50" y="28"/>
                      <a:pt x="49" y="28"/>
                      <a:pt x="48" y="29"/>
                    </a:cubicBezTo>
                    <a:cubicBezTo>
                      <a:pt x="47" y="30"/>
                      <a:pt x="46" y="30"/>
                      <a:pt x="46" y="31"/>
                    </a:cubicBezTo>
                    <a:cubicBezTo>
                      <a:pt x="46" y="32"/>
                      <a:pt x="45" y="33"/>
                      <a:pt x="44" y="33"/>
                    </a:cubicBezTo>
                    <a:cubicBezTo>
                      <a:pt x="43" y="34"/>
                      <a:pt x="42" y="35"/>
                      <a:pt x="41" y="36"/>
                    </a:cubicBezTo>
                    <a:cubicBezTo>
                      <a:pt x="40" y="37"/>
                      <a:pt x="39" y="37"/>
                      <a:pt x="40" y="38"/>
                    </a:cubicBezTo>
                    <a:cubicBezTo>
                      <a:pt x="40" y="39"/>
                      <a:pt x="39" y="39"/>
                      <a:pt x="39" y="39"/>
                    </a:cubicBezTo>
                    <a:cubicBezTo>
                      <a:pt x="39" y="40"/>
                      <a:pt x="39" y="40"/>
                      <a:pt x="39" y="40"/>
                    </a:cubicBezTo>
                    <a:cubicBezTo>
                      <a:pt x="39" y="41"/>
                      <a:pt x="39" y="42"/>
                      <a:pt x="39" y="42"/>
                    </a:cubicBezTo>
                    <a:cubicBezTo>
                      <a:pt x="38" y="44"/>
                      <a:pt x="37" y="45"/>
                      <a:pt x="36" y="46"/>
                    </a:cubicBezTo>
                    <a:cubicBezTo>
                      <a:pt x="35" y="47"/>
                      <a:pt x="35" y="47"/>
                      <a:pt x="35" y="48"/>
                    </a:cubicBezTo>
                    <a:cubicBezTo>
                      <a:pt x="34" y="49"/>
                      <a:pt x="34" y="49"/>
                      <a:pt x="33" y="50"/>
                    </a:cubicBezTo>
                    <a:cubicBezTo>
                      <a:pt x="33" y="50"/>
                      <a:pt x="33" y="50"/>
                      <a:pt x="34" y="51"/>
                    </a:cubicBezTo>
                    <a:cubicBezTo>
                      <a:pt x="34" y="51"/>
                      <a:pt x="34" y="51"/>
                      <a:pt x="34" y="52"/>
                    </a:cubicBezTo>
                    <a:cubicBezTo>
                      <a:pt x="33" y="52"/>
                      <a:pt x="33" y="53"/>
                      <a:pt x="33" y="54"/>
                    </a:cubicBezTo>
                    <a:cubicBezTo>
                      <a:pt x="33" y="55"/>
                      <a:pt x="33" y="56"/>
                      <a:pt x="33" y="57"/>
                    </a:cubicBezTo>
                    <a:cubicBezTo>
                      <a:pt x="33" y="57"/>
                      <a:pt x="32" y="58"/>
                      <a:pt x="33" y="59"/>
                    </a:cubicBezTo>
                    <a:cubicBezTo>
                      <a:pt x="33" y="59"/>
                      <a:pt x="33" y="59"/>
                      <a:pt x="33" y="59"/>
                    </a:cubicBezTo>
                    <a:cubicBezTo>
                      <a:pt x="34" y="59"/>
                      <a:pt x="34" y="59"/>
                      <a:pt x="34" y="60"/>
                    </a:cubicBezTo>
                    <a:cubicBezTo>
                      <a:pt x="34" y="60"/>
                      <a:pt x="35" y="61"/>
                      <a:pt x="35" y="62"/>
                    </a:cubicBezTo>
                    <a:cubicBezTo>
                      <a:pt x="35" y="64"/>
                      <a:pt x="34" y="65"/>
                      <a:pt x="33" y="67"/>
                    </a:cubicBezTo>
                    <a:cubicBezTo>
                      <a:pt x="32" y="68"/>
                      <a:pt x="31" y="69"/>
                      <a:pt x="30" y="71"/>
                    </a:cubicBezTo>
                    <a:cubicBezTo>
                      <a:pt x="29" y="74"/>
                      <a:pt x="26" y="76"/>
                      <a:pt x="23" y="78"/>
                    </a:cubicBezTo>
                    <a:cubicBezTo>
                      <a:pt x="21" y="79"/>
                      <a:pt x="20" y="80"/>
                      <a:pt x="19" y="81"/>
                    </a:cubicBezTo>
                    <a:cubicBezTo>
                      <a:pt x="19" y="81"/>
                      <a:pt x="18" y="82"/>
                      <a:pt x="17" y="82"/>
                    </a:cubicBezTo>
                    <a:cubicBezTo>
                      <a:pt x="17" y="83"/>
                      <a:pt x="17" y="84"/>
                      <a:pt x="16" y="84"/>
                    </a:cubicBezTo>
                    <a:cubicBezTo>
                      <a:pt x="15" y="85"/>
                      <a:pt x="13" y="85"/>
                      <a:pt x="11" y="86"/>
                    </a:cubicBezTo>
                    <a:cubicBezTo>
                      <a:pt x="10" y="87"/>
                      <a:pt x="8" y="87"/>
                      <a:pt x="7" y="87"/>
                    </a:cubicBezTo>
                    <a:cubicBezTo>
                      <a:pt x="5" y="88"/>
                      <a:pt x="3" y="87"/>
                      <a:pt x="2" y="89"/>
                    </a:cubicBezTo>
                    <a:cubicBezTo>
                      <a:pt x="2" y="89"/>
                      <a:pt x="2" y="90"/>
                      <a:pt x="1" y="90"/>
                    </a:cubicBezTo>
                    <a:cubicBezTo>
                      <a:pt x="1" y="91"/>
                      <a:pt x="0" y="91"/>
                      <a:pt x="0" y="91"/>
                    </a:cubicBezTo>
                    <a:cubicBezTo>
                      <a:pt x="8" y="91"/>
                      <a:pt x="16" y="91"/>
                      <a:pt x="24" y="91"/>
                    </a:cubicBezTo>
                    <a:cubicBezTo>
                      <a:pt x="28" y="91"/>
                      <a:pt x="32" y="91"/>
                      <a:pt x="36" y="91"/>
                    </a:cubicBezTo>
                    <a:cubicBezTo>
                      <a:pt x="38" y="91"/>
                      <a:pt x="40" y="91"/>
                      <a:pt x="42" y="91"/>
                    </a:cubicBezTo>
                    <a:cubicBezTo>
                      <a:pt x="42" y="91"/>
                      <a:pt x="42" y="90"/>
                      <a:pt x="42" y="90"/>
                    </a:cubicBezTo>
                    <a:cubicBezTo>
                      <a:pt x="42" y="88"/>
                      <a:pt x="43" y="86"/>
                      <a:pt x="43" y="84"/>
                    </a:cubicBezTo>
                    <a:cubicBezTo>
                      <a:pt x="43" y="83"/>
                      <a:pt x="42" y="80"/>
                      <a:pt x="43" y="79"/>
                    </a:cubicBezTo>
                    <a:cubicBezTo>
                      <a:pt x="44" y="79"/>
                      <a:pt x="45" y="79"/>
                      <a:pt x="45" y="78"/>
                    </a:cubicBezTo>
                    <a:cubicBezTo>
                      <a:pt x="46" y="78"/>
                      <a:pt x="46" y="78"/>
                      <a:pt x="46" y="77"/>
                    </a:cubicBezTo>
                    <a:cubicBezTo>
                      <a:pt x="46" y="77"/>
                      <a:pt x="47" y="77"/>
                      <a:pt x="47" y="77"/>
                    </a:cubicBezTo>
                    <a:cubicBezTo>
                      <a:pt x="47" y="76"/>
                      <a:pt x="48" y="76"/>
                      <a:pt x="49" y="75"/>
                    </a:cubicBezTo>
                    <a:cubicBezTo>
                      <a:pt x="50" y="75"/>
                      <a:pt x="50" y="74"/>
                      <a:pt x="51" y="74"/>
                    </a:cubicBezTo>
                    <a:cubicBezTo>
                      <a:pt x="52" y="74"/>
                      <a:pt x="52" y="73"/>
                      <a:pt x="53" y="73"/>
                    </a:cubicBezTo>
                    <a:cubicBezTo>
                      <a:pt x="53" y="72"/>
                      <a:pt x="54" y="72"/>
                      <a:pt x="54" y="72"/>
                    </a:cubicBezTo>
                    <a:cubicBezTo>
                      <a:pt x="55" y="72"/>
                      <a:pt x="56" y="70"/>
                      <a:pt x="57" y="70"/>
                    </a:cubicBezTo>
                    <a:cubicBezTo>
                      <a:pt x="59" y="69"/>
                      <a:pt x="63" y="72"/>
                      <a:pt x="64" y="68"/>
                    </a:cubicBezTo>
                    <a:cubicBezTo>
                      <a:pt x="64" y="68"/>
                      <a:pt x="64" y="67"/>
                      <a:pt x="64" y="68"/>
                    </a:cubicBezTo>
                    <a:cubicBezTo>
                      <a:pt x="65" y="68"/>
                      <a:pt x="65" y="68"/>
                      <a:pt x="66" y="68"/>
                    </a:cubicBezTo>
                    <a:cubicBezTo>
                      <a:pt x="66" y="68"/>
                      <a:pt x="67" y="67"/>
                      <a:pt x="67" y="67"/>
                    </a:cubicBezTo>
                    <a:cubicBezTo>
                      <a:pt x="68" y="67"/>
                      <a:pt x="69" y="67"/>
                      <a:pt x="70" y="67"/>
                    </a:cubicBezTo>
                    <a:cubicBezTo>
                      <a:pt x="72" y="67"/>
                      <a:pt x="73" y="66"/>
                      <a:pt x="75" y="65"/>
                    </a:cubicBezTo>
                    <a:cubicBezTo>
                      <a:pt x="76" y="64"/>
                      <a:pt x="77" y="63"/>
                      <a:pt x="78" y="62"/>
                    </a:cubicBezTo>
                    <a:cubicBezTo>
                      <a:pt x="78" y="60"/>
                      <a:pt x="79" y="60"/>
                      <a:pt x="81" y="59"/>
                    </a:cubicBezTo>
                    <a:cubicBezTo>
                      <a:pt x="81" y="59"/>
                      <a:pt x="81" y="59"/>
                      <a:pt x="82" y="59"/>
                    </a:cubicBezTo>
                    <a:cubicBezTo>
                      <a:pt x="82" y="59"/>
                      <a:pt x="83" y="59"/>
                      <a:pt x="83" y="59"/>
                    </a:cubicBezTo>
                    <a:cubicBezTo>
                      <a:pt x="84" y="58"/>
                      <a:pt x="84" y="58"/>
                      <a:pt x="85" y="58"/>
                    </a:cubicBezTo>
                    <a:cubicBezTo>
                      <a:pt x="86" y="57"/>
                      <a:pt x="87" y="56"/>
                      <a:pt x="89" y="55"/>
                    </a:cubicBezTo>
                    <a:cubicBezTo>
                      <a:pt x="89" y="55"/>
                      <a:pt x="91" y="55"/>
                      <a:pt x="91" y="55"/>
                    </a:cubicBezTo>
                    <a:cubicBezTo>
                      <a:pt x="91" y="54"/>
                      <a:pt x="91" y="53"/>
                      <a:pt x="91" y="53"/>
                    </a:cubicBezTo>
                    <a:cubicBezTo>
                      <a:pt x="90" y="53"/>
                      <a:pt x="90" y="52"/>
                      <a:pt x="90" y="53"/>
                    </a:cubicBezTo>
                    <a:cubicBezTo>
                      <a:pt x="89" y="53"/>
                      <a:pt x="89" y="52"/>
                      <a:pt x="89" y="52"/>
                    </a:cubicBezTo>
                    <a:cubicBezTo>
                      <a:pt x="89" y="52"/>
                      <a:pt x="89" y="51"/>
                      <a:pt x="89" y="51"/>
                    </a:cubicBezTo>
                    <a:cubicBezTo>
                      <a:pt x="89" y="51"/>
                      <a:pt x="90" y="51"/>
                      <a:pt x="90" y="50"/>
                    </a:cubicBezTo>
                    <a:cubicBezTo>
                      <a:pt x="90" y="50"/>
                      <a:pt x="89" y="50"/>
                      <a:pt x="89" y="49"/>
                    </a:cubicBezTo>
                    <a:cubicBezTo>
                      <a:pt x="89" y="49"/>
                      <a:pt x="89" y="48"/>
                      <a:pt x="89" y="47"/>
                    </a:cubicBezTo>
                    <a:cubicBezTo>
                      <a:pt x="90" y="46"/>
                      <a:pt x="91" y="47"/>
                      <a:pt x="91" y="47"/>
                    </a:cubicBezTo>
                    <a:cubicBezTo>
                      <a:pt x="92" y="47"/>
                      <a:pt x="92" y="47"/>
                      <a:pt x="93" y="47"/>
                    </a:cubicBezTo>
                    <a:cubicBezTo>
                      <a:pt x="94" y="46"/>
                      <a:pt x="96" y="46"/>
                      <a:pt x="97" y="45"/>
                    </a:cubicBezTo>
                    <a:cubicBezTo>
                      <a:pt x="98" y="45"/>
                      <a:pt x="97" y="44"/>
                      <a:pt x="98" y="43"/>
                    </a:cubicBezTo>
                    <a:cubicBezTo>
                      <a:pt x="99" y="42"/>
                      <a:pt x="100" y="42"/>
                      <a:pt x="101" y="42"/>
                    </a:cubicBezTo>
                    <a:cubicBezTo>
                      <a:pt x="102" y="42"/>
                      <a:pt x="102" y="42"/>
                      <a:pt x="103" y="42"/>
                    </a:cubicBezTo>
                    <a:cubicBezTo>
                      <a:pt x="105" y="42"/>
                      <a:pt x="107" y="42"/>
                      <a:pt x="109" y="42"/>
                    </a:cubicBezTo>
                    <a:cubicBezTo>
                      <a:pt x="110" y="42"/>
                      <a:pt x="111" y="42"/>
                      <a:pt x="112" y="42"/>
                    </a:cubicBezTo>
                    <a:cubicBezTo>
                      <a:pt x="113" y="43"/>
                      <a:pt x="113" y="43"/>
                      <a:pt x="114" y="42"/>
                    </a:cubicBezTo>
                    <a:cubicBezTo>
                      <a:pt x="115" y="42"/>
                      <a:pt x="114" y="42"/>
                      <a:pt x="113" y="42"/>
                    </a:cubicBezTo>
                    <a:cubicBezTo>
                      <a:pt x="113" y="42"/>
                      <a:pt x="113" y="41"/>
                      <a:pt x="113" y="41"/>
                    </a:cubicBezTo>
                    <a:cubicBezTo>
                      <a:pt x="114" y="40"/>
                      <a:pt x="114" y="39"/>
                      <a:pt x="115" y="39"/>
                    </a:cubicBezTo>
                    <a:cubicBezTo>
                      <a:pt x="115" y="39"/>
                      <a:pt x="116" y="38"/>
                      <a:pt x="115" y="3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7" name="Montserrat (BOT - UK)">
                <a:extLst>
                  <a:ext uri="{FF2B5EF4-FFF2-40B4-BE49-F238E27FC236}">
                    <a16:creationId xmlns:a16="http://schemas.microsoft.com/office/drawing/2014/main" id="{2DC5FE74-1F9D-8F35-1EFB-FF023938A8DC}"/>
                  </a:ext>
                </a:extLst>
              </p:cNvPr>
              <p:cNvSpPr>
                <a:spLocks/>
              </p:cNvSpPr>
              <p:nvPr/>
            </p:nvSpPr>
            <p:spPr bwMode="auto">
              <a:xfrm>
                <a:off x="3587371" y="3388621"/>
                <a:ext cx="2941" cy="6860"/>
              </a:xfrm>
              <a:custGeom>
                <a:avLst/>
                <a:gdLst/>
                <a:ahLst/>
                <a:cxnLst>
                  <a:cxn ang="0">
                    <a:pos x="1" y="1"/>
                  </a:cxn>
                  <a:cxn ang="0">
                    <a:pos x="1" y="2"/>
                  </a:cxn>
                  <a:cxn ang="0">
                    <a:pos x="1" y="1"/>
                  </a:cxn>
                  <a:cxn ang="0">
                    <a:pos x="1" y="1"/>
                  </a:cxn>
                </a:cxnLst>
                <a:rect l="0" t="0" r="r" b="b"/>
                <a:pathLst>
                  <a:path w="1" h="2">
                    <a:moveTo>
                      <a:pt x="1" y="1"/>
                    </a:moveTo>
                    <a:cubicBezTo>
                      <a:pt x="0" y="0"/>
                      <a:pt x="0" y="2"/>
                      <a:pt x="1" y="2"/>
                    </a:cubicBezTo>
                    <a:cubicBezTo>
                      <a:pt x="1" y="2"/>
                      <a:pt x="1" y="2"/>
                      <a:pt x="1" y="1"/>
                    </a:cubicBezTo>
                    <a:cubicBezTo>
                      <a:pt x="1" y="1"/>
                      <a:pt x="1" y="1"/>
                      <a:pt x="1"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8" name="Montenegro">
                <a:extLst>
                  <a:ext uri="{FF2B5EF4-FFF2-40B4-BE49-F238E27FC236}">
                    <a16:creationId xmlns:a16="http://schemas.microsoft.com/office/drawing/2014/main" id="{4BCD6414-5BE3-638D-70BD-B89399332992}"/>
                  </a:ext>
                </a:extLst>
              </p:cNvPr>
              <p:cNvSpPr>
                <a:spLocks/>
              </p:cNvSpPr>
              <p:nvPr/>
            </p:nvSpPr>
            <p:spPr bwMode="auto">
              <a:xfrm>
                <a:off x="6302427" y="2349647"/>
                <a:ext cx="63711" cy="67631"/>
              </a:xfrm>
              <a:custGeom>
                <a:avLst/>
                <a:gdLst/>
                <a:ahLst/>
                <a:cxnLst>
                  <a:cxn ang="0">
                    <a:pos x="16" y="7"/>
                  </a:cxn>
                  <a:cxn ang="0">
                    <a:pos x="14" y="5"/>
                  </a:cxn>
                  <a:cxn ang="0">
                    <a:pos x="12" y="5"/>
                  </a:cxn>
                  <a:cxn ang="0">
                    <a:pos x="11" y="4"/>
                  </a:cxn>
                  <a:cxn ang="0">
                    <a:pos x="10" y="4"/>
                  </a:cxn>
                  <a:cxn ang="0">
                    <a:pos x="8" y="2"/>
                  </a:cxn>
                  <a:cxn ang="0">
                    <a:pos x="7" y="1"/>
                  </a:cxn>
                  <a:cxn ang="0">
                    <a:pos x="6" y="0"/>
                  </a:cxn>
                  <a:cxn ang="0">
                    <a:pos x="5" y="0"/>
                  </a:cxn>
                  <a:cxn ang="0">
                    <a:pos x="4" y="1"/>
                  </a:cxn>
                  <a:cxn ang="0">
                    <a:pos x="5" y="2"/>
                  </a:cxn>
                  <a:cxn ang="0">
                    <a:pos x="5" y="3"/>
                  </a:cxn>
                  <a:cxn ang="0">
                    <a:pos x="3" y="2"/>
                  </a:cxn>
                  <a:cxn ang="0">
                    <a:pos x="2" y="3"/>
                  </a:cxn>
                  <a:cxn ang="0">
                    <a:pos x="1" y="5"/>
                  </a:cxn>
                  <a:cxn ang="0">
                    <a:pos x="1" y="6"/>
                  </a:cxn>
                  <a:cxn ang="0">
                    <a:pos x="0" y="6"/>
                  </a:cxn>
                  <a:cxn ang="0">
                    <a:pos x="0" y="7"/>
                  </a:cxn>
                  <a:cxn ang="0">
                    <a:pos x="0" y="9"/>
                  </a:cxn>
                  <a:cxn ang="0">
                    <a:pos x="1" y="10"/>
                  </a:cxn>
                  <a:cxn ang="0">
                    <a:pos x="0" y="11"/>
                  </a:cxn>
                  <a:cxn ang="0">
                    <a:pos x="0" y="12"/>
                  </a:cxn>
                  <a:cxn ang="0">
                    <a:pos x="1" y="12"/>
                  </a:cxn>
                  <a:cxn ang="0">
                    <a:pos x="2" y="12"/>
                  </a:cxn>
                  <a:cxn ang="0">
                    <a:pos x="2" y="11"/>
                  </a:cxn>
                  <a:cxn ang="0">
                    <a:pos x="3" y="12"/>
                  </a:cxn>
                  <a:cxn ang="0">
                    <a:pos x="2" y="12"/>
                  </a:cxn>
                  <a:cxn ang="0">
                    <a:pos x="2" y="13"/>
                  </a:cxn>
                  <a:cxn ang="0">
                    <a:pos x="1" y="13"/>
                  </a:cxn>
                  <a:cxn ang="0">
                    <a:pos x="2" y="13"/>
                  </a:cxn>
                  <a:cxn ang="0">
                    <a:pos x="2" y="13"/>
                  </a:cxn>
                  <a:cxn ang="0">
                    <a:pos x="4" y="14"/>
                  </a:cxn>
                  <a:cxn ang="0">
                    <a:pos x="5" y="16"/>
                  </a:cxn>
                  <a:cxn ang="0">
                    <a:pos x="7" y="17"/>
                  </a:cxn>
                  <a:cxn ang="0">
                    <a:pos x="8" y="19"/>
                  </a:cxn>
                  <a:cxn ang="0">
                    <a:pos x="8" y="17"/>
                  </a:cxn>
                  <a:cxn ang="0">
                    <a:pos x="8" y="16"/>
                  </a:cxn>
                  <a:cxn ang="0">
                    <a:pos x="8" y="15"/>
                  </a:cxn>
                  <a:cxn ang="0">
                    <a:pos x="8" y="15"/>
                  </a:cxn>
                  <a:cxn ang="0">
                    <a:pos x="9" y="13"/>
                  </a:cxn>
                  <a:cxn ang="0">
                    <a:pos x="10" y="12"/>
                  </a:cxn>
                  <a:cxn ang="0">
                    <a:pos x="11" y="10"/>
                  </a:cxn>
                  <a:cxn ang="0">
                    <a:pos x="12" y="12"/>
                  </a:cxn>
                  <a:cxn ang="0">
                    <a:pos x="14" y="11"/>
                  </a:cxn>
                  <a:cxn ang="0">
                    <a:pos x="15" y="11"/>
                  </a:cxn>
                  <a:cxn ang="0">
                    <a:pos x="15" y="10"/>
                  </a:cxn>
                  <a:cxn ang="0">
                    <a:pos x="14" y="9"/>
                  </a:cxn>
                  <a:cxn ang="0">
                    <a:pos x="16" y="9"/>
                  </a:cxn>
                  <a:cxn ang="0">
                    <a:pos x="17" y="8"/>
                  </a:cxn>
                  <a:cxn ang="0">
                    <a:pos x="16" y="7"/>
                  </a:cxn>
                </a:cxnLst>
                <a:rect l="0" t="0" r="r" b="b"/>
                <a:pathLst>
                  <a:path w="18" h="19">
                    <a:moveTo>
                      <a:pt x="16" y="7"/>
                    </a:moveTo>
                    <a:cubicBezTo>
                      <a:pt x="15" y="6"/>
                      <a:pt x="14" y="6"/>
                      <a:pt x="14" y="5"/>
                    </a:cubicBezTo>
                    <a:cubicBezTo>
                      <a:pt x="13" y="5"/>
                      <a:pt x="13" y="5"/>
                      <a:pt x="12" y="5"/>
                    </a:cubicBezTo>
                    <a:cubicBezTo>
                      <a:pt x="12" y="5"/>
                      <a:pt x="11" y="5"/>
                      <a:pt x="11" y="4"/>
                    </a:cubicBezTo>
                    <a:cubicBezTo>
                      <a:pt x="11" y="4"/>
                      <a:pt x="10" y="4"/>
                      <a:pt x="10" y="4"/>
                    </a:cubicBezTo>
                    <a:cubicBezTo>
                      <a:pt x="9" y="4"/>
                      <a:pt x="9" y="3"/>
                      <a:pt x="8" y="2"/>
                    </a:cubicBezTo>
                    <a:cubicBezTo>
                      <a:pt x="8" y="2"/>
                      <a:pt x="7" y="2"/>
                      <a:pt x="7" y="1"/>
                    </a:cubicBezTo>
                    <a:cubicBezTo>
                      <a:pt x="6" y="1"/>
                      <a:pt x="6" y="1"/>
                      <a:pt x="6" y="0"/>
                    </a:cubicBezTo>
                    <a:cubicBezTo>
                      <a:pt x="6" y="0"/>
                      <a:pt x="5" y="1"/>
                      <a:pt x="5" y="0"/>
                    </a:cubicBezTo>
                    <a:cubicBezTo>
                      <a:pt x="5" y="0"/>
                      <a:pt x="4" y="0"/>
                      <a:pt x="4" y="1"/>
                    </a:cubicBezTo>
                    <a:cubicBezTo>
                      <a:pt x="4" y="1"/>
                      <a:pt x="5" y="1"/>
                      <a:pt x="5" y="2"/>
                    </a:cubicBezTo>
                    <a:cubicBezTo>
                      <a:pt x="5" y="3"/>
                      <a:pt x="5" y="3"/>
                      <a:pt x="5" y="3"/>
                    </a:cubicBezTo>
                    <a:cubicBezTo>
                      <a:pt x="4" y="3"/>
                      <a:pt x="4" y="2"/>
                      <a:pt x="3" y="2"/>
                    </a:cubicBezTo>
                    <a:cubicBezTo>
                      <a:pt x="3" y="2"/>
                      <a:pt x="3" y="3"/>
                      <a:pt x="2" y="3"/>
                    </a:cubicBezTo>
                    <a:cubicBezTo>
                      <a:pt x="2" y="4"/>
                      <a:pt x="2" y="4"/>
                      <a:pt x="1" y="5"/>
                    </a:cubicBezTo>
                    <a:cubicBezTo>
                      <a:pt x="1" y="5"/>
                      <a:pt x="2" y="6"/>
                      <a:pt x="1" y="6"/>
                    </a:cubicBezTo>
                    <a:cubicBezTo>
                      <a:pt x="1" y="6"/>
                      <a:pt x="0" y="6"/>
                      <a:pt x="0" y="6"/>
                    </a:cubicBezTo>
                    <a:cubicBezTo>
                      <a:pt x="0" y="7"/>
                      <a:pt x="0" y="7"/>
                      <a:pt x="0" y="7"/>
                    </a:cubicBezTo>
                    <a:cubicBezTo>
                      <a:pt x="0" y="8"/>
                      <a:pt x="0" y="8"/>
                      <a:pt x="0" y="9"/>
                    </a:cubicBezTo>
                    <a:cubicBezTo>
                      <a:pt x="1" y="9"/>
                      <a:pt x="1" y="9"/>
                      <a:pt x="1" y="10"/>
                    </a:cubicBezTo>
                    <a:cubicBezTo>
                      <a:pt x="1" y="10"/>
                      <a:pt x="1" y="11"/>
                      <a:pt x="0" y="11"/>
                    </a:cubicBezTo>
                    <a:cubicBezTo>
                      <a:pt x="0" y="11"/>
                      <a:pt x="0" y="12"/>
                      <a:pt x="0" y="12"/>
                    </a:cubicBezTo>
                    <a:cubicBezTo>
                      <a:pt x="0" y="12"/>
                      <a:pt x="1" y="12"/>
                      <a:pt x="1" y="12"/>
                    </a:cubicBezTo>
                    <a:cubicBezTo>
                      <a:pt x="1" y="12"/>
                      <a:pt x="2" y="12"/>
                      <a:pt x="2" y="12"/>
                    </a:cubicBezTo>
                    <a:cubicBezTo>
                      <a:pt x="2" y="12"/>
                      <a:pt x="2" y="11"/>
                      <a:pt x="2" y="11"/>
                    </a:cubicBezTo>
                    <a:cubicBezTo>
                      <a:pt x="3" y="12"/>
                      <a:pt x="3" y="12"/>
                      <a:pt x="3" y="12"/>
                    </a:cubicBezTo>
                    <a:cubicBezTo>
                      <a:pt x="3" y="12"/>
                      <a:pt x="2" y="11"/>
                      <a:pt x="2" y="12"/>
                    </a:cubicBezTo>
                    <a:cubicBezTo>
                      <a:pt x="2" y="13"/>
                      <a:pt x="2" y="13"/>
                      <a:pt x="2" y="13"/>
                    </a:cubicBezTo>
                    <a:cubicBezTo>
                      <a:pt x="1" y="12"/>
                      <a:pt x="1" y="13"/>
                      <a:pt x="1" y="13"/>
                    </a:cubicBezTo>
                    <a:cubicBezTo>
                      <a:pt x="2" y="13"/>
                      <a:pt x="2" y="13"/>
                      <a:pt x="2" y="13"/>
                    </a:cubicBezTo>
                    <a:cubicBezTo>
                      <a:pt x="2" y="13"/>
                      <a:pt x="2" y="13"/>
                      <a:pt x="2" y="13"/>
                    </a:cubicBezTo>
                    <a:cubicBezTo>
                      <a:pt x="3" y="14"/>
                      <a:pt x="3" y="14"/>
                      <a:pt x="4" y="14"/>
                    </a:cubicBezTo>
                    <a:cubicBezTo>
                      <a:pt x="4" y="14"/>
                      <a:pt x="5" y="15"/>
                      <a:pt x="5" y="16"/>
                    </a:cubicBezTo>
                    <a:cubicBezTo>
                      <a:pt x="6" y="16"/>
                      <a:pt x="6" y="17"/>
                      <a:pt x="7" y="17"/>
                    </a:cubicBezTo>
                    <a:cubicBezTo>
                      <a:pt x="7" y="18"/>
                      <a:pt x="8" y="18"/>
                      <a:pt x="8" y="19"/>
                    </a:cubicBezTo>
                    <a:cubicBezTo>
                      <a:pt x="9" y="18"/>
                      <a:pt x="8" y="18"/>
                      <a:pt x="8" y="17"/>
                    </a:cubicBezTo>
                    <a:cubicBezTo>
                      <a:pt x="9" y="17"/>
                      <a:pt x="8" y="17"/>
                      <a:pt x="8" y="16"/>
                    </a:cubicBezTo>
                    <a:cubicBezTo>
                      <a:pt x="9" y="16"/>
                      <a:pt x="9" y="16"/>
                      <a:pt x="8" y="15"/>
                    </a:cubicBezTo>
                    <a:cubicBezTo>
                      <a:pt x="8" y="15"/>
                      <a:pt x="8" y="15"/>
                      <a:pt x="8" y="15"/>
                    </a:cubicBezTo>
                    <a:cubicBezTo>
                      <a:pt x="8" y="14"/>
                      <a:pt x="8" y="14"/>
                      <a:pt x="9" y="13"/>
                    </a:cubicBezTo>
                    <a:cubicBezTo>
                      <a:pt x="9" y="13"/>
                      <a:pt x="9" y="12"/>
                      <a:pt x="10" y="12"/>
                    </a:cubicBezTo>
                    <a:cubicBezTo>
                      <a:pt x="10" y="11"/>
                      <a:pt x="10" y="10"/>
                      <a:pt x="11" y="10"/>
                    </a:cubicBezTo>
                    <a:cubicBezTo>
                      <a:pt x="12" y="10"/>
                      <a:pt x="11" y="11"/>
                      <a:pt x="12" y="12"/>
                    </a:cubicBezTo>
                    <a:cubicBezTo>
                      <a:pt x="12" y="12"/>
                      <a:pt x="14" y="11"/>
                      <a:pt x="14" y="11"/>
                    </a:cubicBezTo>
                    <a:cubicBezTo>
                      <a:pt x="14" y="11"/>
                      <a:pt x="14" y="11"/>
                      <a:pt x="15" y="11"/>
                    </a:cubicBezTo>
                    <a:cubicBezTo>
                      <a:pt x="15" y="11"/>
                      <a:pt x="15" y="11"/>
                      <a:pt x="15" y="10"/>
                    </a:cubicBezTo>
                    <a:cubicBezTo>
                      <a:pt x="15" y="9"/>
                      <a:pt x="14" y="9"/>
                      <a:pt x="14" y="9"/>
                    </a:cubicBezTo>
                    <a:cubicBezTo>
                      <a:pt x="14" y="8"/>
                      <a:pt x="16" y="10"/>
                      <a:pt x="16" y="9"/>
                    </a:cubicBezTo>
                    <a:cubicBezTo>
                      <a:pt x="16" y="8"/>
                      <a:pt x="16" y="8"/>
                      <a:pt x="17" y="8"/>
                    </a:cubicBezTo>
                    <a:cubicBezTo>
                      <a:pt x="18" y="8"/>
                      <a:pt x="16" y="7"/>
                      <a:pt x="16" y="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59" name="Mongolia">
                <a:extLst>
                  <a:ext uri="{FF2B5EF4-FFF2-40B4-BE49-F238E27FC236}">
                    <a16:creationId xmlns:a16="http://schemas.microsoft.com/office/drawing/2014/main" id="{CDF7E5DA-8273-F1DF-A8D8-9A6520E54297}"/>
                  </a:ext>
                </a:extLst>
              </p:cNvPr>
              <p:cNvSpPr>
                <a:spLocks/>
              </p:cNvSpPr>
              <p:nvPr/>
            </p:nvSpPr>
            <p:spPr bwMode="auto">
              <a:xfrm>
                <a:off x="8374492" y="2020312"/>
                <a:ext cx="1015450" cy="407748"/>
              </a:xfrm>
              <a:custGeom>
                <a:avLst/>
                <a:gdLst/>
                <a:ahLst/>
                <a:cxnLst>
                  <a:cxn ang="0">
                    <a:pos x="280" y="53"/>
                  </a:cxn>
                  <a:cxn ang="0">
                    <a:pos x="269" y="47"/>
                  </a:cxn>
                  <a:cxn ang="0">
                    <a:pos x="259" y="49"/>
                  </a:cxn>
                  <a:cxn ang="0">
                    <a:pos x="244" y="47"/>
                  </a:cxn>
                  <a:cxn ang="0">
                    <a:pos x="241" y="35"/>
                  </a:cxn>
                  <a:cxn ang="0">
                    <a:pos x="233" y="25"/>
                  </a:cxn>
                  <a:cxn ang="0">
                    <a:pos x="217" y="21"/>
                  </a:cxn>
                  <a:cxn ang="0">
                    <a:pos x="211" y="27"/>
                  </a:cxn>
                  <a:cxn ang="0">
                    <a:pos x="203" y="30"/>
                  </a:cxn>
                  <a:cxn ang="0">
                    <a:pos x="192" y="32"/>
                  </a:cxn>
                  <a:cxn ang="0">
                    <a:pos x="180" y="31"/>
                  </a:cxn>
                  <a:cxn ang="0">
                    <a:pos x="168" y="27"/>
                  </a:cxn>
                  <a:cxn ang="0">
                    <a:pos x="161" y="24"/>
                  </a:cxn>
                  <a:cxn ang="0">
                    <a:pos x="149" y="20"/>
                  </a:cxn>
                  <a:cxn ang="0">
                    <a:pos x="139" y="20"/>
                  </a:cxn>
                  <a:cxn ang="0">
                    <a:pos x="128" y="22"/>
                  </a:cxn>
                  <a:cxn ang="0">
                    <a:pos x="118" y="19"/>
                  </a:cxn>
                  <a:cxn ang="0">
                    <a:pos x="110" y="11"/>
                  </a:cxn>
                  <a:cxn ang="0">
                    <a:pos x="101" y="8"/>
                  </a:cxn>
                  <a:cxn ang="0">
                    <a:pos x="85" y="4"/>
                  </a:cxn>
                  <a:cxn ang="0">
                    <a:pos x="76" y="5"/>
                  </a:cxn>
                  <a:cxn ang="0">
                    <a:pos x="76" y="14"/>
                  </a:cxn>
                  <a:cxn ang="0">
                    <a:pos x="83" y="21"/>
                  </a:cxn>
                  <a:cxn ang="0">
                    <a:pos x="79" y="25"/>
                  </a:cxn>
                  <a:cxn ang="0">
                    <a:pos x="71" y="25"/>
                  </a:cxn>
                  <a:cxn ang="0">
                    <a:pos x="63" y="24"/>
                  </a:cxn>
                  <a:cxn ang="0">
                    <a:pos x="54" y="23"/>
                  </a:cxn>
                  <a:cxn ang="0">
                    <a:pos x="42" y="18"/>
                  </a:cxn>
                  <a:cxn ang="0">
                    <a:pos x="32" y="16"/>
                  </a:cxn>
                  <a:cxn ang="0">
                    <a:pos x="25" y="18"/>
                  </a:cxn>
                  <a:cxn ang="0">
                    <a:pos x="18" y="22"/>
                  </a:cxn>
                  <a:cxn ang="0">
                    <a:pos x="13" y="27"/>
                  </a:cxn>
                  <a:cxn ang="0">
                    <a:pos x="7" y="29"/>
                  </a:cxn>
                  <a:cxn ang="0">
                    <a:pos x="2" y="31"/>
                  </a:cxn>
                  <a:cxn ang="0">
                    <a:pos x="1" y="36"/>
                  </a:cxn>
                  <a:cxn ang="0">
                    <a:pos x="8" y="41"/>
                  </a:cxn>
                  <a:cxn ang="0">
                    <a:pos x="18" y="45"/>
                  </a:cxn>
                  <a:cxn ang="0">
                    <a:pos x="24" y="46"/>
                  </a:cxn>
                  <a:cxn ang="0">
                    <a:pos x="32" y="54"/>
                  </a:cxn>
                  <a:cxn ang="0">
                    <a:pos x="39" y="62"/>
                  </a:cxn>
                  <a:cxn ang="0">
                    <a:pos x="41" y="73"/>
                  </a:cxn>
                  <a:cxn ang="0">
                    <a:pos x="47" y="76"/>
                  </a:cxn>
                  <a:cxn ang="0">
                    <a:pos x="63" y="77"/>
                  </a:cxn>
                  <a:cxn ang="0">
                    <a:pos x="75" y="81"/>
                  </a:cxn>
                  <a:cxn ang="0">
                    <a:pos x="87" y="85"/>
                  </a:cxn>
                  <a:cxn ang="0">
                    <a:pos x="101" y="101"/>
                  </a:cxn>
                  <a:cxn ang="0">
                    <a:pos x="115" y="102"/>
                  </a:cxn>
                  <a:cxn ang="0">
                    <a:pos x="138" y="103"/>
                  </a:cxn>
                  <a:cxn ang="0">
                    <a:pos x="165" y="110"/>
                  </a:cxn>
                  <a:cxn ang="0">
                    <a:pos x="182" y="114"/>
                  </a:cxn>
                  <a:cxn ang="0">
                    <a:pos x="193" y="108"/>
                  </a:cxn>
                  <a:cxn ang="0">
                    <a:pos x="214" y="105"/>
                  </a:cxn>
                  <a:cxn ang="0">
                    <a:pos x="226" y="101"/>
                  </a:cxn>
                  <a:cxn ang="0">
                    <a:pos x="232" y="94"/>
                  </a:cxn>
                  <a:cxn ang="0">
                    <a:pos x="228" y="86"/>
                  </a:cxn>
                  <a:cxn ang="0">
                    <a:pos x="230" y="77"/>
                  </a:cxn>
                  <a:cxn ang="0">
                    <a:pos x="247" y="77"/>
                  </a:cxn>
                  <a:cxn ang="0">
                    <a:pos x="259" y="70"/>
                  </a:cxn>
                  <a:cxn ang="0">
                    <a:pos x="262" y="63"/>
                  </a:cxn>
                  <a:cxn ang="0">
                    <a:pos x="270" y="60"/>
                  </a:cxn>
                  <a:cxn ang="0">
                    <a:pos x="277" y="58"/>
                  </a:cxn>
                  <a:cxn ang="0">
                    <a:pos x="286" y="60"/>
                  </a:cxn>
                </a:cxnLst>
                <a:rect l="0" t="0" r="r" b="b"/>
                <a:pathLst>
                  <a:path w="287" h="115">
                    <a:moveTo>
                      <a:pt x="286" y="58"/>
                    </a:moveTo>
                    <a:cubicBezTo>
                      <a:pt x="286" y="57"/>
                      <a:pt x="285" y="56"/>
                      <a:pt x="284" y="55"/>
                    </a:cubicBezTo>
                    <a:cubicBezTo>
                      <a:pt x="283" y="55"/>
                      <a:pt x="283" y="54"/>
                      <a:pt x="282" y="54"/>
                    </a:cubicBezTo>
                    <a:cubicBezTo>
                      <a:pt x="282" y="53"/>
                      <a:pt x="281" y="53"/>
                      <a:pt x="281" y="53"/>
                    </a:cubicBezTo>
                    <a:cubicBezTo>
                      <a:pt x="280" y="53"/>
                      <a:pt x="280" y="53"/>
                      <a:pt x="280" y="53"/>
                    </a:cubicBezTo>
                    <a:cubicBezTo>
                      <a:pt x="279" y="52"/>
                      <a:pt x="279" y="52"/>
                      <a:pt x="278" y="52"/>
                    </a:cubicBezTo>
                    <a:cubicBezTo>
                      <a:pt x="277" y="51"/>
                      <a:pt x="277" y="51"/>
                      <a:pt x="277" y="51"/>
                    </a:cubicBezTo>
                    <a:cubicBezTo>
                      <a:pt x="276" y="50"/>
                      <a:pt x="275" y="50"/>
                      <a:pt x="275" y="50"/>
                    </a:cubicBezTo>
                    <a:cubicBezTo>
                      <a:pt x="274" y="49"/>
                      <a:pt x="274" y="49"/>
                      <a:pt x="273" y="49"/>
                    </a:cubicBezTo>
                    <a:cubicBezTo>
                      <a:pt x="272" y="48"/>
                      <a:pt x="271" y="48"/>
                      <a:pt x="269" y="47"/>
                    </a:cubicBezTo>
                    <a:cubicBezTo>
                      <a:pt x="268" y="46"/>
                      <a:pt x="268" y="46"/>
                      <a:pt x="267" y="45"/>
                    </a:cubicBezTo>
                    <a:cubicBezTo>
                      <a:pt x="266" y="45"/>
                      <a:pt x="265" y="45"/>
                      <a:pt x="265" y="45"/>
                    </a:cubicBezTo>
                    <a:cubicBezTo>
                      <a:pt x="264" y="45"/>
                      <a:pt x="264" y="45"/>
                      <a:pt x="263" y="45"/>
                    </a:cubicBezTo>
                    <a:cubicBezTo>
                      <a:pt x="262" y="45"/>
                      <a:pt x="262" y="45"/>
                      <a:pt x="261" y="45"/>
                    </a:cubicBezTo>
                    <a:cubicBezTo>
                      <a:pt x="260" y="46"/>
                      <a:pt x="260" y="48"/>
                      <a:pt x="259" y="49"/>
                    </a:cubicBezTo>
                    <a:cubicBezTo>
                      <a:pt x="259" y="49"/>
                      <a:pt x="257" y="47"/>
                      <a:pt x="256" y="47"/>
                    </a:cubicBezTo>
                    <a:cubicBezTo>
                      <a:pt x="254" y="46"/>
                      <a:pt x="253" y="47"/>
                      <a:pt x="251" y="47"/>
                    </a:cubicBezTo>
                    <a:cubicBezTo>
                      <a:pt x="250" y="47"/>
                      <a:pt x="248" y="46"/>
                      <a:pt x="248" y="47"/>
                    </a:cubicBezTo>
                    <a:cubicBezTo>
                      <a:pt x="247" y="48"/>
                      <a:pt x="247" y="49"/>
                      <a:pt x="247" y="48"/>
                    </a:cubicBezTo>
                    <a:cubicBezTo>
                      <a:pt x="246" y="48"/>
                      <a:pt x="245" y="47"/>
                      <a:pt x="244" y="47"/>
                    </a:cubicBezTo>
                    <a:cubicBezTo>
                      <a:pt x="243" y="46"/>
                      <a:pt x="242" y="46"/>
                      <a:pt x="241" y="45"/>
                    </a:cubicBezTo>
                    <a:cubicBezTo>
                      <a:pt x="240" y="43"/>
                      <a:pt x="242" y="44"/>
                      <a:pt x="243" y="43"/>
                    </a:cubicBezTo>
                    <a:cubicBezTo>
                      <a:pt x="243" y="42"/>
                      <a:pt x="242" y="41"/>
                      <a:pt x="241" y="40"/>
                    </a:cubicBezTo>
                    <a:cubicBezTo>
                      <a:pt x="241" y="39"/>
                      <a:pt x="242" y="37"/>
                      <a:pt x="241" y="36"/>
                    </a:cubicBezTo>
                    <a:cubicBezTo>
                      <a:pt x="241" y="36"/>
                      <a:pt x="241" y="35"/>
                      <a:pt x="241" y="35"/>
                    </a:cubicBezTo>
                    <a:cubicBezTo>
                      <a:pt x="241" y="34"/>
                      <a:pt x="241" y="33"/>
                      <a:pt x="241" y="32"/>
                    </a:cubicBezTo>
                    <a:cubicBezTo>
                      <a:pt x="241" y="30"/>
                      <a:pt x="241" y="28"/>
                      <a:pt x="241" y="26"/>
                    </a:cubicBezTo>
                    <a:cubicBezTo>
                      <a:pt x="241" y="25"/>
                      <a:pt x="238" y="24"/>
                      <a:pt x="238" y="24"/>
                    </a:cubicBezTo>
                    <a:cubicBezTo>
                      <a:pt x="237" y="24"/>
                      <a:pt x="236" y="23"/>
                      <a:pt x="235" y="24"/>
                    </a:cubicBezTo>
                    <a:cubicBezTo>
                      <a:pt x="234" y="24"/>
                      <a:pt x="233" y="24"/>
                      <a:pt x="233" y="25"/>
                    </a:cubicBezTo>
                    <a:cubicBezTo>
                      <a:pt x="232" y="25"/>
                      <a:pt x="232" y="25"/>
                      <a:pt x="231" y="25"/>
                    </a:cubicBezTo>
                    <a:cubicBezTo>
                      <a:pt x="230" y="25"/>
                      <a:pt x="230" y="25"/>
                      <a:pt x="229" y="25"/>
                    </a:cubicBezTo>
                    <a:cubicBezTo>
                      <a:pt x="226" y="24"/>
                      <a:pt x="226" y="22"/>
                      <a:pt x="222" y="21"/>
                    </a:cubicBezTo>
                    <a:cubicBezTo>
                      <a:pt x="222" y="21"/>
                      <a:pt x="221" y="21"/>
                      <a:pt x="220" y="21"/>
                    </a:cubicBezTo>
                    <a:cubicBezTo>
                      <a:pt x="219" y="21"/>
                      <a:pt x="218" y="21"/>
                      <a:pt x="217" y="21"/>
                    </a:cubicBezTo>
                    <a:cubicBezTo>
                      <a:pt x="217" y="21"/>
                      <a:pt x="216" y="22"/>
                      <a:pt x="215" y="22"/>
                    </a:cubicBezTo>
                    <a:cubicBezTo>
                      <a:pt x="215" y="23"/>
                      <a:pt x="215" y="23"/>
                      <a:pt x="215" y="23"/>
                    </a:cubicBezTo>
                    <a:cubicBezTo>
                      <a:pt x="215" y="23"/>
                      <a:pt x="214" y="23"/>
                      <a:pt x="214" y="23"/>
                    </a:cubicBezTo>
                    <a:cubicBezTo>
                      <a:pt x="213" y="23"/>
                      <a:pt x="213" y="24"/>
                      <a:pt x="213" y="25"/>
                    </a:cubicBezTo>
                    <a:cubicBezTo>
                      <a:pt x="212" y="25"/>
                      <a:pt x="211" y="26"/>
                      <a:pt x="211" y="27"/>
                    </a:cubicBezTo>
                    <a:cubicBezTo>
                      <a:pt x="211" y="27"/>
                      <a:pt x="212" y="28"/>
                      <a:pt x="211" y="28"/>
                    </a:cubicBezTo>
                    <a:cubicBezTo>
                      <a:pt x="211" y="28"/>
                      <a:pt x="211" y="28"/>
                      <a:pt x="211" y="28"/>
                    </a:cubicBezTo>
                    <a:cubicBezTo>
                      <a:pt x="211" y="28"/>
                      <a:pt x="210" y="29"/>
                      <a:pt x="210" y="29"/>
                    </a:cubicBezTo>
                    <a:cubicBezTo>
                      <a:pt x="209" y="29"/>
                      <a:pt x="209" y="29"/>
                      <a:pt x="208" y="29"/>
                    </a:cubicBezTo>
                    <a:cubicBezTo>
                      <a:pt x="206" y="29"/>
                      <a:pt x="205" y="30"/>
                      <a:pt x="203" y="30"/>
                    </a:cubicBezTo>
                    <a:cubicBezTo>
                      <a:pt x="202" y="30"/>
                      <a:pt x="201" y="30"/>
                      <a:pt x="201" y="30"/>
                    </a:cubicBezTo>
                    <a:cubicBezTo>
                      <a:pt x="200" y="30"/>
                      <a:pt x="200" y="31"/>
                      <a:pt x="199" y="31"/>
                    </a:cubicBezTo>
                    <a:cubicBezTo>
                      <a:pt x="198" y="31"/>
                      <a:pt x="198" y="31"/>
                      <a:pt x="197" y="31"/>
                    </a:cubicBezTo>
                    <a:cubicBezTo>
                      <a:pt x="196" y="31"/>
                      <a:pt x="196" y="32"/>
                      <a:pt x="196" y="33"/>
                    </a:cubicBezTo>
                    <a:cubicBezTo>
                      <a:pt x="194" y="33"/>
                      <a:pt x="193" y="33"/>
                      <a:pt x="192" y="32"/>
                    </a:cubicBezTo>
                    <a:cubicBezTo>
                      <a:pt x="191" y="32"/>
                      <a:pt x="191" y="32"/>
                      <a:pt x="191" y="32"/>
                    </a:cubicBezTo>
                    <a:cubicBezTo>
                      <a:pt x="190" y="33"/>
                      <a:pt x="190" y="33"/>
                      <a:pt x="189" y="33"/>
                    </a:cubicBezTo>
                    <a:cubicBezTo>
                      <a:pt x="188" y="32"/>
                      <a:pt x="187" y="32"/>
                      <a:pt x="187" y="32"/>
                    </a:cubicBezTo>
                    <a:cubicBezTo>
                      <a:pt x="186" y="33"/>
                      <a:pt x="185" y="32"/>
                      <a:pt x="185" y="32"/>
                    </a:cubicBezTo>
                    <a:cubicBezTo>
                      <a:pt x="183" y="32"/>
                      <a:pt x="182" y="31"/>
                      <a:pt x="180" y="31"/>
                    </a:cubicBezTo>
                    <a:cubicBezTo>
                      <a:pt x="179" y="31"/>
                      <a:pt x="179" y="31"/>
                      <a:pt x="178" y="31"/>
                    </a:cubicBezTo>
                    <a:cubicBezTo>
                      <a:pt x="177" y="31"/>
                      <a:pt x="176" y="31"/>
                      <a:pt x="175" y="31"/>
                    </a:cubicBezTo>
                    <a:cubicBezTo>
                      <a:pt x="174" y="31"/>
                      <a:pt x="173" y="29"/>
                      <a:pt x="171" y="29"/>
                    </a:cubicBezTo>
                    <a:cubicBezTo>
                      <a:pt x="170" y="29"/>
                      <a:pt x="169" y="28"/>
                      <a:pt x="169" y="28"/>
                    </a:cubicBezTo>
                    <a:cubicBezTo>
                      <a:pt x="169" y="28"/>
                      <a:pt x="168" y="27"/>
                      <a:pt x="168" y="27"/>
                    </a:cubicBezTo>
                    <a:cubicBezTo>
                      <a:pt x="168" y="27"/>
                      <a:pt x="168" y="28"/>
                      <a:pt x="168" y="27"/>
                    </a:cubicBezTo>
                    <a:cubicBezTo>
                      <a:pt x="167" y="27"/>
                      <a:pt x="167" y="26"/>
                      <a:pt x="167" y="25"/>
                    </a:cubicBezTo>
                    <a:cubicBezTo>
                      <a:pt x="166" y="24"/>
                      <a:pt x="166" y="24"/>
                      <a:pt x="165" y="24"/>
                    </a:cubicBezTo>
                    <a:cubicBezTo>
                      <a:pt x="164" y="24"/>
                      <a:pt x="164" y="24"/>
                      <a:pt x="163" y="24"/>
                    </a:cubicBezTo>
                    <a:cubicBezTo>
                      <a:pt x="162" y="24"/>
                      <a:pt x="161" y="24"/>
                      <a:pt x="161" y="24"/>
                    </a:cubicBezTo>
                    <a:cubicBezTo>
                      <a:pt x="160" y="24"/>
                      <a:pt x="160" y="24"/>
                      <a:pt x="160" y="24"/>
                    </a:cubicBezTo>
                    <a:cubicBezTo>
                      <a:pt x="159" y="24"/>
                      <a:pt x="159" y="24"/>
                      <a:pt x="159" y="23"/>
                    </a:cubicBezTo>
                    <a:cubicBezTo>
                      <a:pt x="158" y="23"/>
                      <a:pt x="158" y="23"/>
                      <a:pt x="157" y="22"/>
                    </a:cubicBezTo>
                    <a:cubicBezTo>
                      <a:pt x="156" y="21"/>
                      <a:pt x="154" y="20"/>
                      <a:pt x="153" y="20"/>
                    </a:cubicBezTo>
                    <a:cubicBezTo>
                      <a:pt x="151" y="20"/>
                      <a:pt x="150" y="21"/>
                      <a:pt x="149" y="20"/>
                    </a:cubicBezTo>
                    <a:cubicBezTo>
                      <a:pt x="148" y="20"/>
                      <a:pt x="148" y="20"/>
                      <a:pt x="147" y="20"/>
                    </a:cubicBezTo>
                    <a:cubicBezTo>
                      <a:pt x="147" y="19"/>
                      <a:pt x="146" y="19"/>
                      <a:pt x="145" y="19"/>
                    </a:cubicBezTo>
                    <a:cubicBezTo>
                      <a:pt x="144" y="19"/>
                      <a:pt x="144" y="19"/>
                      <a:pt x="143" y="19"/>
                    </a:cubicBezTo>
                    <a:cubicBezTo>
                      <a:pt x="142" y="19"/>
                      <a:pt x="141" y="19"/>
                      <a:pt x="141" y="19"/>
                    </a:cubicBezTo>
                    <a:cubicBezTo>
                      <a:pt x="140" y="19"/>
                      <a:pt x="140" y="20"/>
                      <a:pt x="139" y="20"/>
                    </a:cubicBezTo>
                    <a:cubicBezTo>
                      <a:pt x="138" y="19"/>
                      <a:pt x="137" y="20"/>
                      <a:pt x="137" y="20"/>
                    </a:cubicBezTo>
                    <a:cubicBezTo>
                      <a:pt x="136" y="20"/>
                      <a:pt x="136" y="20"/>
                      <a:pt x="135" y="20"/>
                    </a:cubicBezTo>
                    <a:cubicBezTo>
                      <a:pt x="134" y="21"/>
                      <a:pt x="134" y="21"/>
                      <a:pt x="134" y="22"/>
                    </a:cubicBezTo>
                    <a:cubicBezTo>
                      <a:pt x="133" y="23"/>
                      <a:pt x="131" y="22"/>
                      <a:pt x="130" y="22"/>
                    </a:cubicBezTo>
                    <a:cubicBezTo>
                      <a:pt x="129" y="22"/>
                      <a:pt x="129" y="23"/>
                      <a:pt x="128" y="22"/>
                    </a:cubicBezTo>
                    <a:cubicBezTo>
                      <a:pt x="128" y="22"/>
                      <a:pt x="127" y="22"/>
                      <a:pt x="126" y="22"/>
                    </a:cubicBezTo>
                    <a:cubicBezTo>
                      <a:pt x="125" y="22"/>
                      <a:pt x="125" y="21"/>
                      <a:pt x="125" y="21"/>
                    </a:cubicBezTo>
                    <a:cubicBezTo>
                      <a:pt x="124" y="21"/>
                      <a:pt x="124" y="21"/>
                      <a:pt x="123" y="21"/>
                    </a:cubicBezTo>
                    <a:cubicBezTo>
                      <a:pt x="122" y="21"/>
                      <a:pt x="121" y="20"/>
                      <a:pt x="120" y="20"/>
                    </a:cubicBezTo>
                    <a:cubicBezTo>
                      <a:pt x="120" y="20"/>
                      <a:pt x="119" y="20"/>
                      <a:pt x="118" y="19"/>
                    </a:cubicBezTo>
                    <a:cubicBezTo>
                      <a:pt x="118" y="19"/>
                      <a:pt x="117" y="18"/>
                      <a:pt x="116" y="18"/>
                    </a:cubicBezTo>
                    <a:cubicBezTo>
                      <a:pt x="116" y="18"/>
                      <a:pt x="115" y="18"/>
                      <a:pt x="115" y="17"/>
                    </a:cubicBezTo>
                    <a:cubicBezTo>
                      <a:pt x="115" y="16"/>
                      <a:pt x="114" y="16"/>
                      <a:pt x="114" y="16"/>
                    </a:cubicBezTo>
                    <a:cubicBezTo>
                      <a:pt x="113" y="15"/>
                      <a:pt x="113" y="15"/>
                      <a:pt x="113" y="14"/>
                    </a:cubicBezTo>
                    <a:cubicBezTo>
                      <a:pt x="112" y="13"/>
                      <a:pt x="111" y="12"/>
                      <a:pt x="110" y="11"/>
                    </a:cubicBezTo>
                    <a:cubicBezTo>
                      <a:pt x="110" y="10"/>
                      <a:pt x="110" y="10"/>
                      <a:pt x="109" y="9"/>
                    </a:cubicBezTo>
                    <a:cubicBezTo>
                      <a:pt x="109" y="9"/>
                      <a:pt x="108" y="9"/>
                      <a:pt x="107" y="9"/>
                    </a:cubicBezTo>
                    <a:cubicBezTo>
                      <a:pt x="106" y="9"/>
                      <a:pt x="106" y="8"/>
                      <a:pt x="105" y="8"/>
                    </a:cubicBezTo>
                    <a:cubicBezTo>
                      <a:pt x="104" y="8"/>
                      <a:pt x="104" y="8"/>
                      <a:pt x="103" y="8"/>
                    </a:cubicBezTo>
                    <a:cubicBezTo>
                      <a:pt x="102" y="9"/>
                      <a:pt x="102" y="8"/>
                      <a:pt x="101" y="8"/>
                    </a:cubicBezTo>
                    <a:cubicBezTo>
                      <a:pt x="100" y="8"/>
                      <a:pt x="100" y="8"/>
                      <a:pt x="99" y="7"/>
                    </a:cubicBezTo>
                    <a:cubicBezTo>
                      <a:pt x="97" y="7"/>
                      <a:pt x="95" y="6"/>
                      <a:pt x="94" y="6"/>
                    </a:cubicBezTo>
                    <a:cubicBezTo>
                      <a:pt x="92" y="5"/>
                      <a:pt x="90" y="6"/>
                      <a:pt x="88" y="5"/>
                    </a:cubicBezTo>
                    <a:cubicBezTo>
                      <a:pt x="88" y="5"/>
                      <a:pt x="87" y="4"/>
                      <a:pt x="87" y="4"/>
                    </a:cubicBezTo>
                    <a:cubicBezTo>
                      <a:pt x="86" y="4"/>
                      <a:pt x="85" y="4"/>
                      <a:pt x="85" y="4"/>
                    </a:cubicBezTo>
                    <a:cubicBezTo>
                      <a:pt x="83" y="4"/>
                      <a:pt x="83" y="3"/>
                      <a:pt x="82" y="3"/>
                    </a:cubicBezTo>
                    <a:cubicBezTo>
                      <a:pt x="81" y="2"/>
                      <a:pt x="80" y="2"/>
                      <a:pt x="80" y="2"/>
                    </a:cubicBezTo>
                    <a:cubicBezTo>
                      <a:pt x="79" y="2"/>
                      <a:pt x="78" y="0"/>
                      <a:pt x="78" y="2"/>
                    </a:cubicBezTo>
                    <a:cubicBezTo>
                      <a:pt x="78" y="3"/>
                      <a:pt x="78" y="4"/>
                      <a:pt x="78" y="5"/>
                    </a:cubicBezTo>
                    <a:cubicBezTo>
                      <a:pt x="78" y="5"/>
                      <a:pt x="77" y="5"/>
                      <a:pt x="76" y="5"/>
                    </a:cubicBezTo>
                    <a:cubicBezTo>
                      <a:pt x="75" y="6"/>
                      <a:pt x="76" y="7"/>
                      <a:pt x="76" y="8"/>
                    </a:cubicBezTo>
                    <a:cubicBezTo>
                      <a:pt x="76" y="9"/>
                      <a:pt x="75" y="8"/>
                      <a:pt x="75" y="9"/>
                    </a:cubicBezTo>
                    <a:cubicBezTo>
                      <a:pt x="74" y="9"/>
                      <a:pt x="75" y="10"/>
                      <a:pt x="75" y="11"/>
                    </a:cubicBezTo>
                    <a:cubicBezTo>
                      <a:pt x="75" y="12"/>
                      <a:pt x="75" y="12"/>
                      <a:pt x="75" y="13"/>
                    </a:cubicBezTo>
                    <a:cubicBezTo>
                      <a:pt x="75" y="14"/>
                      <a:pt x="76" y="14"/>
                      <a:pt x="76" y="14"/>
                    </a:cubicBezTo>
                    <a:cubicBezTo>
                      <a:pt x="77" y="14"/>
                      <a:pt x="78" y="15"/>
                      <a:pt x="77" y="15"/>
                    </a:cubicBezTo>
                    <a:cubicBezTo>
                      <a:pt x="77" y="16"/>
                      <a:pt x="78" y="16"/>
                      <a:pt x="78" y="17"/>
                    </a:cubicBezTo>
                    <a:cubicBezTo>
                      <a:pt x="79" y="17"/>
                      <a:pt x="80" y="18"/>
                      <a:pt x="81" y="18"/>
                    </a:cubicBezTo>
                    <a:cubicBezTo>
                      <a:pt x="81" y="18"/>
                      <a:pt x="82" y="18"/>
                      <a:pt x="82" y="19"/>
                    </a:cubicBezTo>
                    <a:cubicBezTo>
                      <a:pt x="82" y="19"/>
                      <a:pt x="83" y="20"/>
                      <a:pt x="83" y="21"/>
                    </a:cubicBezTo>
                    <a:cubicBezTo>
                      <a:pt x="83" y="21"/>
                      <a:pt x="83" y="22"/>
                      <a:pt x="83" y="23"/>
                    </a:cubicBezTo>
                    <a:cubicBezTo>
                      <a:pt x="82" y="23"/>
                      <a:pt x="82" y="24"/>
                      <a:pt x="82" y="24"/>
                    </a:cubicBezTo>
                    <a:cubicBezTo>
                      <a:pt x="82" y="24"/>
                      <a:pt x="81" y="24"/>
                      <a:pt x="81" y="25"/>
                    </a:cubicBezTo>
                    <a:cubicBezTo>
                      <a:pt x="81" y="25"/>
                      <a:pt x="81" y="24"/>
                      <a:pt x="80" y="24"/>
                    </a:cubicBezTo>
                    <a:cubicBezTo>
                      <a:pt x="80" y="24"/>
                      <a:pt x="79" y="25"/>
                      <a:pt x="79" y="25"/>
                    </a:cubicBezTo>
                    <a:cubicBezTo>
                      <a:pt x="79" y="25"/>
                      <a:pt x="79" y="25"/>
                      <a:pt x="79" y="26"/>
                    </a:cubicBezTo>
                    <a:cubicBezTo>
                      <a:pt x="79" y="26"/>
                      <a:pt x="78" y="27"/>
                      <a:pt x="77" y="27"/>
                    </a:cubicBezTo>
                    <a:cubicBezTo>
                      <a:pt x="77" y="27"/>
                      <a:pt x="76" y="26"/>
                      <a:pt x="75" y="26"/>
                    </a:cubicBezTo>
                    <a:cubicBezTo>
                      <a:pt x="75" y="26"/>
                      <a:pt x="74" y="25"/>
                      <a:pt x="74" y="25"/>
                    </a:cubicBezTo>
                    <a:cubicBezTo>
                      <a:pt x="73" y="25"/>
                      <a:pt x="72" y="24"/>
                      <a:pt x="71" y="25"/>
                    </a:cubicBezTo>
                    <a:cubicBezTo>
                      <a:pt x="71" y="25"/>
                      <a:pt x="71" y="25"/>
                      <a:pt x="70" y="25"/>
                    </a:cubicBezTo>
                    <a:cubicBezTo>
                      <a:pt x="70" y="24"/>
                      <a:pt x="70" y="25"/>
                      <a:pt x="69" y="25"/>
                    </a:cubicBezTo>
                    <a:cubicBezTo>
                      <a:pt x="68" y="25"/>
                      <a:pt x="66" y="23"/>
                      <a:pt x="65" y="24"/>
                    </a:cubicBezTo>
                    <a:cubicBezTo>
                      <a:pt x="65" y="24"/>
                      <a:pt x="65" y="25"/>
                      <a:pt x="64" y="24"/>
                    </a:cubicBezTo>
                    <a:cubicBezTo>
                      <a:pt x="64" y="24"/>
                      <a:pt x="63" y="23"/>
                      <a:pt x="63" y="24"/>
                    </a:cubicBezTo>
                    <a:cubicBezTo>
                      <a:pt x="63" y="25"/>
                      <a:pt x="62" y="24"/>
                      <a:pt x="62" y="25"/>
                    </a:cubicBezTo>
                    <a:cubicBezTo>
                      <a:pt x="62" y="25"/>
                      <a:pt x="61" y="25"/>
                      <a:pt x="61" y="24"/>
                    </a:cubicBezTo>
                    <a:cubicBezTo>
                      <a:pt x="60" y="24"/>
                      <a:pt x="59" y="24"/>
                      <a:pt x="58" y="24"/>
                    </a:cubicBezTo>
                    <a:cubicBezTo>
                      <a:pt x="57" y="24"/>
                      <a:pt x="57" y="24"/>
                      <a:pt x="56" y="23"/>
                    </a:cubicBezTo>
                    <a:cubicBezTo>
                      <a:pt x="55" y="23"/>
                      <a:pt x="55" y="23"/>
                      <a:pt x="54" y="23"/>
                    </a:cubicBezTo>
                    <a:cubicBezTo>
                      <a:pt x="53" y="24"/>
                      <a:pt x="53" y="23"/>
                      <a:pt x="53" y="23"/>
                    </a:cubicBezTo>
                    <a:cubicBezTo>
                      <a:pt x="52" y="22"/>
                      <a:pt x="51" y="22"/>
                      <a:pt x="51" y="22"/>
                    </a:cubicBezTo>
                    <a:cubicBezTo>
                      <a:pt x="50" y="21"/>
                      <a:pt x="50" y="20"/>
                      <a:pt x="49" y="20"/>
                    </a:cubicBezTo>
                    <a:cubicBezTo>
                      <a:pt x="49" y="19"/>
                      <a:pt x="48" y="18"/>
                      <a:pt x="47" y="18"/>
                    </a:cubicBezTo>
                    <a:cubicBezTo>
                      <a:pt x="45" y="18"/>
                      <a:pt x="43" y="18"/>
                      <a:pt x="42" y="18"/>
                    </a:cubicBezTo>
                    <a:cubicBezTo>
                      <a:pt x="41" y="17"/>
                      <a:pt x="40" y="17"/>
                      <a:pt x="39" y="17"/>
                    </a:cubicBezTo>
                    <a:cubicBezTo>
                      <a:pt x="39" y="18"/>
                      <a:pt x="38" y="18"/>
                      <a:pt x="37" y="17"/>
                    </a:cubicBezTo>
                    <a:cubicBezTo>
                      <a:pt x="36" y="17"/>
                      <a:pt x="36" y="14"/>
                      <a:pt x="34" y="16"/>
                    </a:cubicBezTo>
                    <a:cubicBezTo>
                      <a:pt x="34" y="16"/>
                      <a:pt x="34" y="16"/>
                      <a:pt x="34" y="17"/>
                    </a:cubicBezTo>
                    <a:cubicBezTo>
                      <a:pt x="33" y="17"/>
                      <a:pt x="33" y="16"/>
                      <a:pt x="32" y="16"/>
                    </a:cubicBezTo>
                    <a:cubicBezTo>
                      <a:pt x="32" y="15"/>
                      <a:pt x="31" y="15"/>
                      <a:pt x="30" y="15"/>
                    </a:cubicBezTo>
                    <a:cubicBezTo>
                      <a:pt x="30" y="14"/>
                      <a:pt x="30" y="15"/>
                      <a:pt x="30" y="16"/>
                    </a:cubicBezTo>
                    <a:cubicBezTo>
                      <a:pt x="30" y="17"/>
                      <a:pt x="27" y="16"/>
                      <a:pt x="27" y="16"/>
                    </a:cubicBezTo>
                    <a:cubicBezTo>
                      <a:pt x="26" y="16"/>
                      <a:pt x="26" y="17"/>
                      <a:pt x="26" y="17"/>
                    </a:cubicBezTo>
                    <a:cubicBezTo>
                      <a:pt x="25" y="17"/>
                      <a:pt x="25" y="18"/>
                      <a:pt x="25" y="18"/>
                    </a:cubicBezTo>
                    <a:cubicBezTo>
                      <a:pt x="25" y="18"/>
                      <a:pt x="24" y="18"/>
                      <a:pt x="24" y="19"/>
                    </a:cubicBezTo>
                    <a:cubicBezTo>
                      <a:pt x="24" y="19"/>
                      <a:pt x="22" y="19"/>
                      <a:pt x="22" y="19"/>
                    </a:cubicBezTo>
                    <a:cubicBezTo>
                      <a:pt x="21" y="19"/>
                      <a:pt x="21" y="20"/>
                      <a:pt x="20" y="21"/>
                    </a:cubicBezTo>
                    <a:cubicBezTo>
                      <a:pt x="19" y="21"/>
                      <a:pt x="20" y="21"/>
                      <a:pt x="19" y="21"/>
                    </a:cubicBezTo>
                    <a:cubicBezTo>
                      <a:pt x="19" y="22"/>
                      <a:pt x="18" y="22"/>
                      <a:pt x="18" y="22"/>
                    </a:cubicBezTo>
                    <a:cubicBezTo>
                      <a:pt x="17" y="22"/>
                      <a:pt x="17" y="22"/>
                      <a:pt x="16" y="23"/>
                    </a:cubicBezTo>
                    <a:cubicBezTo>
                      <a:pt x="16" y="23"/>
                      <a:pt x="15" y="23"/>
                      <a:pt x="14" y="23"/>
                    </a:cubicBezTo>
                    <a:cubicBezTo>
                      <a:pt x="14" y="24"/>
                      <a:pt x="15" y="24"/>
                      <a:pt x="14" y="24"/>
                    </a:cubicBezTo>
                    <a:cubicBezTo>
                      <a:pt x="14" y="25"/>
                      <a:pt x="11" y="24"/>
                      <a:pt x="13" y="26"/>
                    </a:cubicBezTo>
                    <a:cubicBezTo>
                      <a:pt x="13" y="26"/>
                      <a:pt x="14" y="27"/>
                      <a:pt x="13" y="27"/>
                    </a:cubicBezTo>
                    <a:cubicBezTo>
                      <a:pt x="12" y="27"/>
                      <a:pt x="12" y="27"/>
                      <a:pt x="12" y="28"/>
                    </a:cubicBezTo>
                    <a:cubicBezTo>
                      <a:pt x="11" y="28"/>
                      <a:pt x="11" y="28"/>
                      <a:pt x="10" y="28"/>
                    </a:cubicBezTo>
                    <a:cubicBezTo>
                      <a:pt x="10" y="28"/>
                      <a:pt x="10" y="28"/>
                      <a:pt x="10" y="28"/>
                    </a:cubicBezTo>
                    <a:cubicBezTo>
                      <a:pt x="11" y="29"/>
                      <a:pt x="9" y="30"/>
                      <a:pt x="8" y="29"/>
                    </a:cubicBezTo>
                    <a:cubicBezTo>
                      <a:pt x="8" y="29"/>
                      <a:pt x="8" y="28"/>
                      <a:pt x="7" y="29"/>
                    </a:cubicBezTo>
                    <a:cubicBezTo>
                      <a:pt x="7" y="29"/>
                      <a:pt x="8" y="30"/>
                      <a:pt x="8" y="30"/>
                    </a:cubicBezTo>
                    <a:cubicBezTo>
                      <a:pt x="7" y="30"/>
                      <a:pt x="7" y="30"/>
                      <a:pt x="6" y="30"/>
                    </a:cubicBezTo>
                    <a:cubicBezTo>
                      <a:pt x="6" y="30"/>
                      <a:pt x="6" y="29"/>
                      <a:pt x="5" y="29"/>
                    </a:cubicBezTo>
                    <a:cubicBezTo>
                      <a:pt x="4" y="30"/>
                      <a:pt x="3" y="29"/>
                      <a:pt x="2" y="30"/>
                    </a:cubicBezTo>
                    <a:cubicBezTo>
                      <a:pt x="1" y="30"/>
                      <a:pt x="2" y="31"/>
                      <a:pt x="2" y="31"/>
                    </a:cubicBezTo>
                    <a:cubicBezTo>
                      <a:pt x="2" y="32"/>
                      <a:pt x="1" y="33"/>
                      <a:pt x="0" y="33"/>
                    </a:cubicBezTo>
                    <a:cubicBezTo>
                      <a:pt x="0" y="33"/>
                      <a:pt x="1" y="33"/>
                      <a:pt x="1" y="34"/>
                    </a:cubicBezTo>
                    <a:cubicBezTo>
                      <a:pt x="1" y="34"/>
                      <a:pt x="1" y="34"/>
                      <a:pt x="1" y="35"/>
                    </a:cubicBezTo>
                    <a:cubicBezTo>
                      <a:pt x="2" y="35"/>
                      <a:pt x="0" y="35"/>
                      <a:pt x="1" y="36"/>
                    </a:cubicBezTo>
                    <a:cubicBezTo>
                      <a:pt x="1" y="36"/>
                      <a:pt x="1" y="36"/>
                      <a:pt x="1" y="36"/>
                    </a:cubicBezTo>
                    <a:cubicBezTo>
                      <a:pt x="1" y="36"/>
                      <a:pt x="2" y="37"/>
                      <a:pt x="2" y="37"/>
                    </a:cubicBezTo>
                    <a:cubicBezTo>
                      <a:pt x="2" y="37"/>
                      <a:pt x="3" y="37"/>
                      <a:pt x="3" y="37"/>
                    </a:cubicBezTo>
                    <a:cubicBezTo>
                      <a:pt x="4" y="37"/>
                      <a:pt x="5" y="38"/>
                      <a:pt x="4" y="38"/>
                    </a:cubicBezTo>
                    <a:cubicBezTo>
                      <a:pt x="3" y="39"/>
                      <a:pt x="5" y="39"/>
                      <a:pt x="5" y="40"/>
                    </a:cubicBezTo>
                    <a:cubicBezTo>
                      <a:pt x="6" y="40"/>
                      <a:pt x="7" y="40"/>
                      <a:pt x="8" y="41"/>
                    </a:cubicBezTo>
                    <a:cubicBezTo>
                      <a:pt x="9" y="41"/>
                      <a:pt x="10" y="41"/>
                      <a:pt x="10" y="42"/>
                    </a:cubicBezTo>
                    <a:cubicBezTo>
                      <a:pt x="11" y="43"/>
                      <a:pt x="11" y="43"/>
                      <a:pt x="13" y="44"/>
                    </a:cubicBezTo>
                    <a:cubicBezTo>
                      <a:pt x="13" y="44"/>
                      <a:pt x="14" y="44"/>
                      <a:pt x="15" y="45"/>
                    </a:cubicBezTo>
                    <a:cubicBezTo>
                      <a:pt x="16" y="45"/>
                      <a:pt x="16" y="45"/>
                      <a:pt x="17" y="45"/>
                    </a:cubicBezTo>
                    <a:cubicBezTo>
                      <a:pt x="18" y="45"/>
                      <a:pt x="18" y="45"/>
                      <a:pt x="18" y="45"/>
                    </a:cubicBezTo>
                    <a:cubicBezTo>
                      <a:pt x="19" y="45"/>
                      <a:pt x="20" y="45"/>
                      <a:pt x="20" y="45"/>
                    </a:cubicBezTo>
                    <a:cubicBezTo>
                      <a:pt x="20" y="45"/>
                      <a:pt x="20" y="46"/>
                      <a:pt x="21" y="46"/>
                    </a:cubicBezTo>
                    <a:cubicBezTo>
                      <a:pt x="21" y="46"/>
                      <a:pt x="21" y="46"/>
                      <a:pt x="22" y="46"/>
                    </a:cubicBezTo>
                    <a:cubicBezTo>
                      <a:pt x="22" y="47"/>
                      <a:pt x="23" y="47"/>
                      <a:pt x="23" y="47"/>
                    </a:cubicBezTo>
                    <a:cubicBezTo>
                      <a:pt x="24" y="47"/>
                      <a:pt x="24" y="47"/>
                      <a:pt x="24" y="46"/>
                    </a:cubicBezTo>
                    <a:cubicBezTo>
                      <a:pt x="24" y="46"/>
                      <a:pt x="25" y="47"/>
                      <a:pt x="25" y="47"/>
                    </a:cubicBezTo>
                    <a:cubicBezTo>
                      <a:pt x="26" y="48"/>
                      <a:pt x="27" y="48"/>
                      <a:pt x="28" y="49"/>
                    </a:cubicBezTo>
                    <a:cubicBezTo>
                      <a:pt x="29" y="49"/>
                      <a:pt x="28" y="49"/>
                      <a:pt x="28" y="49"/>
                    </a:cubicBezTo>
                    <a:cubicBezTo>
                      <a:pt x="29" y="50"/>
                      <a:pt x="29" y="50"/>
                      <a:pt x="30" y="51"/>
                    </a:cubicBezTo>
                    <a:cubicBezTo>
                      <a:pt x="31" y="52"/>
                      <a:pt x="31" y="53"/>
                      <a:pt x="32" y="54"/>
                    </a:cubicBezTo>
                    <a:cubicBezTo>
                      <a:pt x="33" y="54"/>
                      <a:pt x="34" y="56"/>
                      <a:pt x="35" y="56"/>
                    </a:cubicBezTo>
                    <a:cubicBezTo>
                      <a:pt x="36" y="56"/>
                      <a:pt x="37" y="57"/>
                      <a:pt x="37" y="58"/>
                    </a:cubicBezTo>
                    <a:cubicBezTo>
                      <a:pt x="37" y="58"/>
                      <a:pt x="38" y="58"/>
                      <a:pt x="38" y="59"/>
                    </a:cubicBezTo>
                    <a:cubicBezTo>
                      <a:pt x="38" y="59"/>
                      <a:pt x="38" y="60"/>
                      <a:pt x="39" y="60"/>
                    </a:cubicBezTo>
                    <a:cubicBezTo>
                      <a:pt x="39" y="61"/>
                      <a:pt x="39" y="61"/>
                      <a:pt x="39" y="62"/>
                    </a:cubicBezTo>
                    <a:cubicBezTo>
                      <a:pt x="39" y="62"/>
                      <a:pt x="39" y="63"/>
                      <a:pt x="39" y="64"/>
                    </a:cubicBezTo>
                    <a:cubicBezTo>
                      <a:pt x="39" y="64"/>
                      <a:pt x="40" y="65"/>
                      <a:pt x="40" y="65"/>
                    </a:cubicBezTo>
                    <a:cubicBezTo>
                      <a:pt x="42" y="67"/>
                      <a:pt x="40" y="67"/>
                      <a:pt x="40" y="69"/>
                    </a:cubicBezTo>
                    <a:cubicBezTo>
                      <a:pt x="40" y="69"/>
                      <a:pt x="40" y="70"/>
                      <a:pt x="40" y="71"/>
                    </a:cubicBezTo>
                    <a:cubicBezTo>
                      <a:pt x="40" y="72"/>
                      <a:pt x="41" y="72"/>
                      <a:pt x="41" y="73"/>
                    </a:cubicBezTo>
                    <a:cubicBezTo>
                      <a:pt x="42" y="73"/>
                      <a:pt x="42" y="74"/>
                      <a:pt x="43" y="74"/>
                    </a:cubicBezTo>
                    <a:cubicBezTo>
                      <a:pt x="43" y="74"/>
                      <a:pt x="43" y="75"/>
                      <a:pt x="43" y="75"/>
                    </a:cubicBezTo>
                    <a:cubicBezTo>
                      <a:pt x="43" y="75"/>
                      <a:pt x="43" y="75"/>
                      <a:pt x="44" y="75"/>
                    </a:cubicBezTo>
                    <a:cubicBezTo>
                      <a:pt x="44" y="75"/>
                      <a:pt x="45" y="75"/>
                      <a:pt x="46" y="75"/>
                    </a:cubicBezTo>
                    <a:cubicBezTo>
                      <a:pt x="46" y="76"/>
                      <a:pt x="47" y="76"/>
                      <a:pt x="47" y="76"/>
                    </a:cubicBezTo>
                    <a:cubicBezTo>
                      <a:pt x="48" y="76"/>
                      <a:pt x="48" y="76"/>
                      <a:pt x="49" y="76"/>
                    </a:cubicBezTo>
                    <a:cubicBezTo>
                      <a:pt x="49" y="76"/>
                      <a:pt x="50" y="77"/>
                      <a:pt x="50" y="77"/>
                    </a:cubicBezTo>
                    <a:cubicBezTo>
                      <a:pt x="52" y="77"/>
                      <a:pt x="54" y="76"/>
                      <a:pt x="55" y="77"/>
                    </a:cubicBezTo>
                    <a:cubicBezTo>
                      <a:pt x="57" y="78"/>
                      <a:pt x="59" y="77"/>
                      <a:pt x="61" y="77"/>
                    </a:cubicBezTo>
                    <a:cubicBezTo>
                      <a:pt x="62" y="77"/>
                      <a:pt x="62" y="77"/>
                      <a:pt x="63" y="77"/>
                    </a:cubicBezTo>
                    <a:cubicBezTo>
                      <a:pt x="64" y="77"/>
                      <a:pt x="65" y="77"/>
                      <a:pt x="66" y="78"/>
                    </a:cubicBezTo>
                    <a:cubicBezTo>
                      <a:pt x="67" y="78"/>
                      <a:pt x="67" y="78"/>
                      <a:pt x="68" y="78"/>
                    </a:cubicBezTo>
                    <a:cubicBezTo>
                      <a:pt x="69" y="78"/>
                      <a:pt x="70" y="79"/>
                      <a:pt x="70" y="79"/>
                    </a:cubicBezTo>
                    <a:cubicBezTo>
                      <a:pt x="71" y="80"/>
                      <a:pt x="72" y="81"/>
                      <a:pt x="73" y="81"/>
                    </a:cubicBezTo>
                    <a:cubicBezTo>
                      <a:pt x="73" y="81"/>
                      <a:pt x="74" y="81"/>
                      <a:pt x="75" y="81"/>
                    </a:cubicBezTo>
                    <a:cubicBezTo>
                      <a:pt x="75" y="81"/>
                      <a:pt x="76" y="82"/>
                      <a:pt x="76" y="82"/>
                    </a:cubicBezTo>
                    <a:cubicBezTo>
                      <a:pt x="77" y="83"/>
                      <a:pt x="77" y="83"/>
                      <a:pt x="78" y="83"/>
                    </a:cubicBezTo>
                    <a:cubicBezTo>
                      <a:pt x="79" y="83"/>
                      <a:pt x="80" y="84"/>
                      <a:pt x="80" y="84"/>
                    </a:cubicBezTo>
                    <a:cubicBezTo>
                      <a:pt x="81" y="85"/>
                      <a:pt x="82" y="85"/>
                      <a:pt x="83" y="85"/>
                    </a:cubicBezTo>
                    <a:cubicBezTo>
                      <a:pt x="83" y="86"/>
                      <a:pt x="87" y="85"/>
                      <a:pt x="87" y="85"/>
                    </a:cubicBezTo>
                    <a:cubicBezTo>
                      <a:pt x="87" y="86"/>
                      <a:pt x="87" y="88"/>
                      <a:pt x="88" y="88"/>
                    </a:cubicBezTo>
                    <a:cubicBezTo>
                      <a:pt x="90" y="89"/>
                      <a:pt x="90" y="90"/>
                      <a:pt x="91" y="91"/>
                    </a:cubicBezTo>
                    <a:cubicBezTo>
                      <a:pt x="92" y="92"/>
                      <a:pt x="94" y="94"/>
                      <a:pt x="95" y="95"/>
                    </a:cubicBezTo>
                    <a:cubicBezTo>
                      <a:pt x="96" y="97"/>
                      <a:pt x="97" y="97"/>
                      <a:pt x="98" y="98"/>
                    </a:cubicBezTo>
                    <a:cubicBezTo>
                      <a:pt x="99" y="99"/>
                      <a:pt x="101" y="100"/>
                      <a:pt x="101" y="101"/>
                    </a:cubicBezTo>
                    <a:cubicBezTo>
                      <a:pt x="102" y="101"/>
                      <a:pt x="102" y="102"/>
                      <a:pt x="102" y="102"/>
                    </a:cubicBezTo>
                    <a:cubicBezTo>
                      <a:pt x="102" y="102"/>
                      <a:pt x="104" y="102"/>
                      <a:pt x="104" y="102"/>
                    </a:cubicBezTo>
                    <a:cubicBezTo>
                      <a:pt x="105" y="102"/>
                      <a:pt x="106" y="102"/>
                      <a:pt x="107" y="102"/>
                    </a:cubicBezTo>
                    <a:cubicBezTo>
                      <a:pt x="108" y="101"/>
                      <a:pt x="109" y="101"/>
                      <a:pt x="109" y="101"/>
                    </a:cubicBezTo>
                    <a:cubicBezTo>
                      <a:pt x="111" y="102"/>
                      <a:pt x="113" y="102"/>
                      <a:pt x="115" y="102"/>
                    </a:cubicBezTo>
                    <a:cubicBezTo>
                      <a:pt x="117" y="103"/>
                      <a:pt x="119" y="103"/>
                      <a:pt x="121" y="103"/>
                    </a:cubicBezTo>
                    <a:cubicBezTo>
                      <a:pt x="123" y="103"/>
                      <a:pt x="125" y="103"/>
                      <a:pt x="127" y="104"/>
                    </a:cubicBezTo>
                    <a:cubicBezTo>
                      <a:pt x="128" y="104"/>
                      <a:pt x="129" y="104"/>
                      <a:pt x="130" y="104"/>
                    </a:cubicBezTo>
                    <a:cubicBezTo>
                      <a:pt x="131" y="104"/>
                      <a:pt x="132" y="103"/>
                      <a:pt x="132" y="103"/>
                    </a:cubicBezTo>
                    <a:cubicBezTo>
                      <a:pt x="134" y="102"/>
                      <a:pt x="136" y="103"/>
                      <a:pt x="138" y="103"/>
                    </a:cubicBezTo>
                    <a:cubicBezTo>
                      <a:pt x="140" y="103"/>
                      <a:pt x="142" y="104"/>
                      <a:pt x="144" y="104"/>
                    </a:cubicBezTo>
                    <a:cubicBezTo>
                      <a:pt x="146" y="104"/>
                      <a:pt x="148" y="104"/>
                      <a:pt x="149" y="104"/>
                    </a:cubicBezTo>
                    <a:cubicBezTo>
                      <a:pt x="151" y="105"/>
                      <a:pt x="152" y="106"/>
                      <a:pt x="154" y="107"/>
                    </a:cubicBezTo>
                    <a:cubicBezTo>
                      <a:pt x="155" y="108"/>
                      <a:pt x="157" y="109"/>
                      <a:pt x="159" y="109"/>
                    </a:cubicBezTo>
                    <a:cubicBezTo>
                      <a:pt x="161" y="109"/>
                      <a:pt x="163" y="109"/>
                      <a:pt x="165" y="110"/>
                    </a:cubicBezTo>
                    <a:cubicBezTo>
                      <a:pt x="166" y="110"/>
                      <a:pt x="168" y="111"/>
                      <a:pt x="170" y="112"/>
                    </a:cubicBezTo>
                    <a:cubicBezTo>
                      <a:pt x="171" y="113"/>
                      <a:pt x="173" y="112"/>
                      <a:pt x="175" y="112"/>
                    </a:cubicBezTo>
                    <a:cubicBezTo>
                      <a:pt x="176" y="112"/>
                      <a:pt x="177" y="111"/>
                      <a:pt x="178" y="111"/>
                    </a:cubicBezTo>
                    <a:cubicBezTo>
                      <a:pt x="178" y="111"/>
                      <a:pt x="178" y="113"/>
                      <a:pt x="179" y="113"/>
                    </a:cubicBezTo>
                    <a:cubicBezTo>
                      <a:pt x="179" y="114"/>
                      <a:pt x="181" y="114"/>
                      <a:pt x="182" y="114"/>
                    </a:cubicBezTo>
                    <a:cubicBezTo>
                      <a:pt x="183" y="114"/>
                      <a:pt x="183" y="114"/>
                      <a:pt x="183" y="114"/>
                    </a:cubicBezTo>
                    <a:cubicBezTo>
                      <a:pt x="184" y="115"/>
                      <a:pt x="184" y="114"/>
                      <a:pt x="184" y="113"/>
                    </a:cubicBezTo>
                    <a:cubicBezTo>
                      <a:pt x="185" y="113"/>
                      <a:pt x="186" y="112"/>
                      <a:pt x="186" y="112"/>
                    </a:cubicBezTo>
                    <a:cubicBezTo>
                      <a:pt x="187" y="111"/>
                      <a:pt x="188" y="111"/>
                      <a:pt x="189" y="110"/>
                    </a:cubicBezTo>
                    <a:cubicBezTo>
                      <a:pt x="190" y="110"/>
                      <a:pt x="192" y="109"/>
                      <a:pt x="193" y="108"/>
                    </a:cubicBezTo>
                    <a:cubicBezTo>
                      <a:pt x="197" y="106"/>
                      <a:pt x="200" y="106"/>
                      <a:pt x="204" y="106"/>
                    </a:cubicBezTo>
                    <a:cubicBezTo>
                      <a:pt x="205" y="106"/>
                      <a:pt x="206" y="105"/>
                      <a:pt x="207" y="105"/>
                    </a:cubicBezTo>
                    <a:cubicBezTo>
                      <a:pt x="208" y="105"/>
                      <a:pt x="209" y="105"/>
                      <a:pt x="209" y="105"/>
                    </a:cubicBezTo>
                    <a:cubicBezTo>
                      <a:pt x="210" y="105"/>
                      <a:pt x="211" y="105"/>
                      <a:pt x="211" y="105"/>
                    </a:cubicBezTo>
                    <a:cubicBezTo>
                      <a:pt x="212" y="105"/>
                      <a:pt x="213" y="106"/>
                      <a:pt x="214" y="105"/>
                    </a:cubicBezTo>
                    <a:cubicBezTo>
                      <a:pt x="215" y="105"/>
                      <a:pt x="215" y="105"/>
                      <a:pt x="216" y="105"/>
                    </a:cubicBezTo>
                    <a:cubicBezTo>
                      <a:pt x="217" y="105"/>
                      <a:pt x="218" y="105"/>
                      <a:pt x="219" y="105"/>
                    </a:cubicBezTo>
                    <a:cubicBezTo>
                      <a:pt x="219" y="105"/>
                      <a:pt x="220" y="104"/>
                      <a:pt x="220" y="104"/>
                    </a:cubicBezTo>
                    <a:cubicBezTo>
                      <a:pt x="221" y="104"/>
                      <a:pt x="222" y="103"/>
                      <a:pt x="222" y="103"/>
                    </a:cubicBezTo>
                    <a:cubicBezTo>
                      <a:pt x="224" y="103"/>
                      <a:pt x="225" y="103"/>
                      <a:pt x="226" y="101"/>
                    </a:cubicBezTo>
                    <a:cubicBezTo>
                      <a:pt x="226" y="100"/>
                      <a:pt x="227" y="100"/>
                      <a:pt x="227" y="99"/>
                    </a:cubicBezTo>
                    <a:cubicBezTo>
                      <a:pt x="227" y="99"/>
                      <a:pt x="227" y="98"/>
                      <a:pt x="227" y="97"/>
                    </a:cubicBezTo>
                    <a:cubicBezTo>
                      <a:pt x="227" y="97"/>
                      <a:pt x="228" y="96"/>
                      <a:pt x="228" y="95"/>
                    </a:cubicBezTo>
                    <a:cubicBezTo>
                      <a:pt x="229" y="95"/>
                      <a:pt x="230" y="95"/>
                      <a:pt x="230" y="94"/>
                    </a:cubicBezTo>
                    <a:cubicBezTo>
                      <a:pt x="231" y="94"/>
                      <a:pt x="231" y="94"/>
                      <a:pt x="232" y="94"/>
                    </a:cubicBezTo>
                    <a:cubicBezTo>
                      <a:pt x="232" y="94"/>
                      <a:pt x="232" y="93"/>
                      <a:pt x="233" y="92"/>
                    </a:cubicBezTo>
                    <a:cubicBezTo>
                      <a:pt x="233" y="92"/>
                      <a:pt x="234" y="92"/>
                      <a:pt x="234" y="92"/>
                    </a:cubicBezTo>
                    <a:cubicBezTo>
                      <a:pt x="235" y="91"/>
                      <a:pt x="234" y="91"/>
                      <a:pt x="234" y="90"/>
                    </a:cubicBezTo>
                    <a:cubicBezTo>
                      <a:pt x="233" y="89"/>
                      <a:pt x="231" y="88"/>
                      <a:pt x="230" y="88"/>
                    </a:cubicBezTo>
                    <a:cubicBezTo>
                      <a:pt x="229" y="87"/>
                      <a:pt x="228" y="86"/>
                      <a:pt x="228" y="86"/>
                    </a:cubicBezTo>
                    <a:cubicBezTo>
                      <a:pt x="227" y="85"/>
                      <a:pt x="227" y="85"/>
                      <a:pt x="226" y="85"/>
                    </a:cubicBezTo>
                    <a:cubicBezTo>
                      <a:pt x="226" y="84"/>
                      <a:pt x="226" y="83"/>
                      <a:pt x="226" y="83"/>
                    </a:cubicBezTo>
                    <a:cubicBezTo>
                      <a:pt x="226" y="82"/>
                      <a:pt x="226" y="82"/>
                      <a:pt x="226" y="81"/>
                    </a:cubicBezTo>
                    <a:cubicBezTo>
                      <a:pt x="226" y="80"/>
                      <a:pt x="226" y="78"/>
                      <a:pt x="227" y="77"/>
                    </a:cubicBezTo>
                    <a:cubicBezTo>
                      <a:pt x="227" y="76"/>
                      <a:pt x="229" y="77"/>
                      <a:pt x="230" y="77"/>
                    </a:cubicBezTo>
                    <a:cubicBezTo>
                      <a:pt x="232" y="77"/>
                      <a:pt x="233" y="78"/>
                      <a:pt x="235" y="79"/>
                    </a:cubicBezTo>
                    <a:cubicBezTo>
                      <a:pt x="236" y="79"/>
                      <a:pt x="238" y="80"/>
                      <a:pt x="240" y="80"/>
                    </a:cubicBezTo>
                    <a:cubicBezTo>
                      <a:pt x="241" y="80"/>
                      <a:pt x="243" y="81"/>
                      <a:pt x="244" y="79"/>
                    </a:cubicBezTo>
                    <a:cubicBezTo>
                      <a:pt x="245" y="79"/>
                      <a:pt x="245" y="78"/>
                      <a:pt x="245" y="78"/>
                    </a:cubicBezTo>
                    <a:cubicBezTo>
                      <a:pt x="246" y="78"/>
                      <a:pt x="247" y="78"/>
                      <a:pt x="247" y="77"/>
                    </a:cubicBezTo>
                    <a:cubicBezTo>
                      <a:pt x="246" y="77"/>
                      <a:pt x="248" y="76"/>
                      <a:pt x="248" y="76"/>
                    </a:cubicBezTo>
                    <a:cubicBezTo>
                      <a:pt x="248" y="75"/>
                      <a:pt x="248" y="74"/>
                      <a:pt x="248" y="74"/>
                    </a:cubicBezTo>
                    <a:cubicBezTo>
                      <a:pt x="248" y="72"/>
                      <a:pt x="251" y="73"/>
                      <a:pt x="252" y="73"/>
                    </a:cubicBezTo>
                    <a:cubicBezTo>
                      <a:pt x="253" y="73"/>
                      <a:pt x="255" y="73"/>
                      <a:pt x="257" y="73"/>
                    </a:cubicBezTo>
                    <a:cubicBezTo>
                      <a:pt x="258" y="72"/>
                      <a:pt x="258" y="71"/>
                      <a:pt x="259" y="70"/>
                    </a:cubicBezTo>
                    <a:cubicBezTo>
                      <a:pt x="259" y="70"/>
                      <a:pt x="260" y="70"/>
                      <a:pt x="261" y="70"/>
                    </a:cubicBezTo>
                    <a:cubicBezTo>
                      <a:pt x="261" y="69"/>
                      <a:pt x="260" y="68"/>
                      <a:pt x="260" y="68"/>
                    </a:cubicBezTo>
                    <a:cubicBezTo>
                      <a:pt x="259" y="67"/>
                      <a:pt x="260" y="65"/>
                      <a:pt x="260" y="65"/>
                    </a:cubicBezTo>
                    <a:cubicBezTo>
                      <a:pt x="261" y="64"/>
                      <a:pt x="260" y="64"/>
                      <a:pt x="261" y="63"/>
                    </a:cubicBezTo>
                    <a:cubicBezTo>
                      <a:pt x="261" y="63"/>
                      <a:pt x="261" y="63"/>
                      <a:pt x="262" y="63"/>
                    </a:cubicBezTo>
                    <a:cubicBezTo>
                      <a:pt x="262" y="63"/>
                      <a:pt x="262" y="62"/>
                      <a:pt x="263" y="63"/>
                    </a:cubicBezTo>
                    <a:cubicBezTo>
                      <a:pt x="264" y="63"/>
                      <a:pt x="267" y="63"/>
                      <a:pt x="267" y="62"/>
                    </a:cubicBezTo>
                    <a:cubicBezTo>
                      <a:pt x="267" y="62"/>
                      <a:pt x="267" y="61"/>
                      <a:pt x="266" y="61"/>
                    </a:cubicBezTo>
                    <a:cubicBezTo>
                      <a:pt x="266" y="60"/>
                      <a:pt x="267" y="60"/>
                      <a:pt x="267" y="60"/>
                    </a:cubicBezTo>
                    <a:cubicBezTo>
                      <a:pt x="268" y="60"/>
                      <a:pt x="270" y="62"/>
                      <a:pt x="270" y="60"/>
                    </a:cubicBezTo>
                    <a:cubicBezTo>
                      <a:pt x="270" y="60"/>
                      <a:pt x="271" y="60"/>
                      <a:pt x="272" y="59"/>
                    </a:cubicBezTo>
                    <a:cubicBezTo>
                      <a:pt x="272" y="59"/>
                      <a:pt x="273" y="59"/>
                      <a:pt x="273" y="59"/>
                    </a:cubicBezTo>
                    <a:cubicBezTo>
                      <a:pt x="274" y="59"/>
                      <a:pt x="274" y="59"/>
                      <a:pt x="275" y="59"/>
                    </a:cubicBezTo>
                    <a:cubicBezTo>
                      <a:pt x="275" y="59"/>
                      <a:pt x="277" y="59"/>
                      <a:pt x="277" y="59"/>
                    </a:cubicBezTo>
                    <a:cubicBezTo>
                      <a:pt x="277" y="59"/>
                      <a:pt x="277" y="59"/>
                      <a:pt x="277" y="58"/>
                    </a:cubicBezTo>
                    <a:cubicBezTo>
                      <a:pt x="278" y="58"/>
                      <a:pt x="278" y="59"/>
                      <a:pt x="278" y="59"/>
                    </a:cubicBezTo>
                    <a:cubicBezTo>
                      <a:pt x="279" y="59"/>
                      <a:pt x="279" y="58"/>
                      <a:pt x="279" y="59"/>
                    </a:cubicBezTo>
                    <a:cubicBezTo>
                      <a:pt x="279" y="59"/>
                      <a:pt x="280" y="59"/>
                      <a:pt x="280" y="59"/>
                    </a:cubicBezTo>
                    <a:cubicBezTo>
                      <a:pt x="281" y="60"/>
                      <a:pt x="282" y="60"/>
                      <a:pt x="283" y="60"/>
                    </a:cubicBezTo>
                    <a:cubicBezTo>
                      <a:pt x="284" y="60"/>
                      <a:pt x="285" y="61"/>
                      <a:pt x="286" y="60"/>
                    </a:cubicBezTo>
                    <a:cubicBezTo>
                      <a:pt x="286" y="60"/>
                      <a:pt x="286" y="59"/>
                      <a:pt x="286" y="59"/>
                    </a:cubicBezTo>
                    <a:cubicBezTo>
                      <a:pt x="287" y="60"/>
                      <a:pt x="287" y="60"/>
                      <a:pt x="287" y="59"/>
                    </a:cubicBezTo>
                    <a:cubicBezTo>
                      <a:pt x="287" y="59"/>
                      <a:pt x="287" y="58"/>
                      <a:pt x="286" y="5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0" name="Monaco">
                <a:extLst>
                  <a:ext uri="{FF2B5EF4-FFF2-40B4-BE49-F238E27FC236}">
                    <a16:creationId xmlns:a16="http://schemas.microsoft.com/office/drawing/2014/main" id="{B1FFC5E7-799D-8089-A6B6-B9D7012906DF}"/>
                  </a:ext>
                </a:extLst>
              </p:cNvPr>
              <p:cNvSpPr>
                <a:spLocks/>
              </p:cNvSpPr>
              <p:nvPr/>
            </p:nvSpPr>
            <p:spPr bwMode="auto">
              <a:xfrm>
                <a:off x="5955447" y="2342785"/>
                <a:ext cx="3921" cy="980"/>
              </a:xfrm>
              <a:custGeom>
                <a:avLst/>
                <a:gdLst/>
                <a:ahLst/>
                <a:cxnLst>
                  <a:cxn ang="0">
                    <a:pos x="0" y="0"/>
                  </a:cxn>
                  <a:cxn ang="0">
                    <a:pos x="1" y="0"/>
                  </a:cxn>
                  <a:cxn ang="0">
                    <a:pos x="1" y="0"/>
                  </a:cxn>
                  <a:cxn ang="0">
                    <a:pos x="0" y="0"/>
                  </a:cxn>
                </a:cxnLst>
                <a:rect l="0" t="0" r="r" b="b"/>
                <a:pathLst>
                  <a:path w="1">
                    <a:moveTo>
                      <a:pt x="0" y="0"/>
                    </a:moveTo>
                    <a:cubicBezTo>
                      <a:pt x="0" y="0"/>
                      <a:pt x="0" y="0"/>
                      <a:pt x="1" y="0"/>
                    </a:cubicBezTo>
                    <a:cubicBezTo>
                      <a:pt x="1" y="0"/>
                      <a:pt x="1" y="0"/>
                      <a:pt x="1" y="0"/>
                    </a:cubicBezTo>
                    <a:cubicBezTo>
                      <a:pt x="1" y="0"/>
                      <a:pt x="0" y="0"/>
                      <a:pt x="0"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1" name="Moldova">
                <a:extLst>
                  <a:ext uri="{FF2B5EF4-FFF2-40B4-BE49-F238E27FC236}">
                    <a16:creationId xmlns:a16="http://schemas.microsoft.com/office/drawing/2014/main" id="{C20453A4-89F7-F057-A387-692C7B4976BB}"/>
                  </a:ext>
                </a:extLst>
              </p:cNvPr>
              <p:cNvSpPr>
                <a:spLocks/>
              </p:cNvSpPr>
              <p:nvPr/>
            </p:nvSpPr>
            <p:spPr bwMode="auto">
              <a:xfrm>
                <a:off x="6539625" y="2161453"/>
                <a:ext cx="113700" cy="117619"/>
              </a:xfrm>
              <a:custGeom>
                <a:avLst/>
                <a:gdLst/>
                <a:ahLst/>
                <a:cxnLst>
                  <a:cxn ang="0">
                    <a:pos x="30" y="21"/>
                  </a:cxn>
                  <a:cxn ang="0">
                    <a:pos x="30" y="18"/>
                  </a:cxn>
                  <a:cxn ang="0">
                    <a:pos x="27" y="17"/>
                  </a:cxn>
                  <a:cxn ang="0">
                    <a:pos x="27" y="15"/>
                  </a:cxn>
                  <a:cxn ang="0">
                    <a:pos x="26" y="15"/>
                  </a:cxn>
                  <a:cxn ang="0">
                    <a:pos x="26" y="12"/>
                  </a:cxn>
                  <a:cxn ang="0">
                    <a:pos x="24" y="12"/>
                  </a:cxn>
                  <a:cxn ang="0">
                    <a:pos x="23" y="11"/>
                  </a:cxn>
                  <a:cxn ang="0">
                    <a:pos x="23" y="9"/>
                  </a:cxn>
                  <a:cxn ang="0">
                    <a:pos x="23" y="7"/>
                  </a:cxn>
                  <a:cxn ang="0">
                    <a:pos x="22" y="6"/>
                  </a:cxn>
                  <a:cxn ang="0">
                    <a:pos x="21" y="6"/>
                  </a:cxn>
                  <a:cxn ang="0">
                    <a:pos x="18" y="4"/>
                  </a:cxn>
                  <a:cxn ang="0">
                    <a:pos x="16" y="3"/>
                  </a:cxn>
                  <a:cxn ang="0">
                    <a:pos x="15" y="3"/>
                  </a:cxn>
                  <a:cxn ang="0">
                    <a:pos x="13" y="3"/>
                  </a:cxn>
                  <a:cxn ang="0">
                    <a:pos x="13" y="2"/>
                  </a:cxn>
                  <a:cxn ang="0">
                    <a:pos x="10" y="1"/>
                  </a:cxn>
                  <a:cxn ang="0">
                    <a:pos x="8" y="0"/>
                  </a:cxn>
                  <a:cxn ang="0">
                    <a:pos x="6" y="1"/>
                  </a:cxn>
                  <a:cxn ang="0">
                    <a:pos x="4" y="1"/>
                  </a:cxn>
                  <a:cxn ang="0">
                    <a:pos x="2" y="1"/>
                  </a:cxn>
                  <a:cxn ang="0">
                    <a:pos x="1" y="2"/>
                  </a:cxn>
                  <a:cxn ang="0">
                    <a:pos x="2" y="3"/>
                  </a:cxn>
                  <a:cxn ang="0">
                    <a:pos x="4" y="4"/>
                  </a:cxn>
                  <a:cxn ang="0">
                    <a:pos x="5" y="6"/>
                  </a:cxn>
                  <a:cxn ang="0">
                    <a:pos x="6" y="8"/>
                  </a:cxn>
                  <a:cxn ang="0">
                    <a:pos x="8" y="10"/>
                  </a:cxn>
                  <a:cxn ang="0">
                    <a:pos x="9" y="12"/>
                  </a:cxn>
                  <a:cxn ang="0">
                    <a:pos x="12" y="15"/>
                  </a:cxn>
                  <a:cxn ang="0">
                    <a:pos x="14" y="17"/>
                  </a:cxn>
                  <a:cxn ang="0">
                    <a:pos x="16" y="20"/>
                  </a:cxn>
                  <a:cxn ang="0">
                    <a:pos x="15" y="23"/>
                  </a:cxn>
                  <a:cxn ang="0">
                    <a:pos x="15" y="25"/>
                  </a:cxn>
                  <a:cxn ang="0">
                    <a:pos x="15" y="28"/>
                  </a:cxn>
                  <a:cxn ang="0">
                    <a:pos x="16" y="31"/>
                  </a:cxn>
                  <a:cxn ang="0">
                    <a:pos x="17" y="33"/>
                  </a:cxn>
                  <a:cxn ang="0">
                    <a:pos x="19" y="30"/>
                  </a:cxn>
                  <a:cxn ang="0">
                    <a:pos x="20" y="29"/>
                  </a:cxn>
                  <a:cxn ang="0">
                    <a:pos x="21" y="28"/>
                  </a:cxn>
                  <a:cxn ang="0">
                    <a:pos x="22" y="27"/>
                  </a:cxn>
                  <a:cxn ang="0">
                    <a:pos x="23" y="24"/>
                  </a:cxn>
                  <a:cxn ang="0">
                    <a:pos x="22" y="22"/>
                  </a:cxn>
                  <a:cxn ang="0">
                    <a:pos x="24" y="22"/>
                  </a:cxn>
                  <a:cxn ang="0">
                    <a:pos x="25" y="22"/>
                  </a:cxn>
                  <a:cxn ang="0">
                    <a:pos x="26" y="21"/>
                  </a:cxn>
                  <a:cxn ang="0">
                    <a:pos x="28" y="23"/>
                  </a:cxn>
                  <a:cxn ang="0">
                    <a:pos x="29" y="22"/>
                  </a:cxn>
                  <a:cxn ang="0">
                    <a:pos x="30" y="23"/>
                  </a:cxn>
                  <a:cxn ang="0">
                    <a:pos x="32" y="22"/>
                  </a:cxn>
                </a:cxnLst>
                <a:rect l="0" t="0" r="r" b="b"/>
                <a:pathLst>
                  <a:path w="32" h="33">
                    <a:moveTo>
                      <a:pt x="31" y="21"/>
                    </a:moveTo>
                    <a:cubicBezTo>
                      <a:pt x="31" y="21"/>
                      <a:pt x="30" y="21"/>
                      <a:pt x="30" y="21"/>
                    </a:cubicBezTo>
                    <a:cubicBezTo>
                      <a:pt x="30" y="21"/>
                      <a:pt x="30" y="21"/>
                      <a:pt x="30" y="20"/>
                    </a:cubicBezTo>
                    <a:cubicBezTo>
                      <a:pt x="31" y="20"/>
                      <a:pt x="30" y="19"/>
                      <a:pt x="30" y="18"/>
                    </a:cubicBezTo>
                    <a:cubicBezTo>
                      <a:pt x="30" y="18"/>
                      <a:pt x="29" y="17"/>
                      <a:pt x="29" y="17"/>
                    </a:cubicBezTo>
                    <a:cubicBezTo>
                      <a:pt x="28" y="17"/>
                      <a:pt x="28" y="17"/>
                      <a:pt x="27" y="17"/>
                    </a:cubicBezTo>
                    <a:cubicBezTo>
                      <a:pt x="27" y="17"/>
                      <a:pt x="27" y="17"/>
                      <a:pt x="27" y="16"/>
                    </a:cubicBezTo>
                    <a:cubicBezTo>
                      <a:pt x="27" y="16"/>
                      <a:pt x="27" y="16"/>
                      <a:pt x="27" y="15"/>
                    </a:cubicBezTo>
                    <a:cubicBezTo>
                      <a:pt x="27" y="15"/>
                      <a:pt x="26" y="15"/>
                      <a:pt x="26" y="15"/>
                    </a:cubicBezTo>
                    <a:cubicBezTo>
                      <a:pt x="26" y="15"/>
                      <a:pt x="26" y="15"/>
                      <a:pt x="26" y="15"/>
                    </a:cubicBezTo>
                    <a:cubicBezTo>
                      <a:pt x="27" y="14"/>
                      <a:pt x="26" y="14"/>
                      <a:pt x="26" y="13"/>
                    </a:cubicBezTo>
                    <a:cubicBezTo>
                      <a:pt x="27" y="13"/>
                      <a:pt x="27" y="12"/>
                      <a:pt x="26" y="12"/>
                    </a:cubicBezTo>
                    <a:cubicBezTo>
                      <a:pt x="26" y="12"/>
                      <a:pt x="25" y="13"/>
                      <a:pt x="25" y="13"/>
                    </a:cubicBezTo>
                    <a:cubicBezTo>
                      <a:pt x="25" y="12"/>
                      <a:pt x="25" y="12"/>
                      <a:pt x="24" y="12"/>
                    </a:cubicBezTo>
                    <a:cubicBezTo>
                      <a:pt x="24" y="12"/>
                      <a:pt x="24" y="11"/>
                      <a:pt x="24" y="11"/>
                    </a:cubicBezTo>
                    <a:cubicBezTo>
                      <a:pt x="23" y="11"/>
                      <a:pt x="23" y="11"/>
                      <a:pt x="23" y="11"/>
                    </a:cubicBezTo>
                    <a:cubicBezTo>
                      <a:pt x="22" y="10"/>
                      <a:pt x="23" y="10"/>
                      <a:pt x="23" y="9"/>
                    </a:cubicBezTo>
                    <a:cubicBezTo>
                      <a:pt x="23" y="9"/>
                      <a:pt x="23" y="9"/>
                      <a:pt x="23" y="9"/>
                    </a:cubicBezTo>
                    <a:cubicBezTo>
                      <a:pt x="23" y="8"/>
                      <a:pt x="23" y="8"/>
                      <a:pt x="23" y="8"/>
                    </a:cubicBezTo>
                    <a:cubicBezTo>
                      <a:pt x="23" y="8"/>
                      <a:pt x="23" y="7"/>
                      <a:pt x="23" y="7"/>
                    </a:cubicBezTo>
                    <a:cubicBezTo>
                      <a:pt x="23" y="7"/>
                      <a:pt x="23" y="7"/>
                      <a:pt x="23" y="7"/>
                    </a:cubicBezTo>
                    <a:cubicBezTo>
                      <a:pt x="23" y="6"/>
                      <a:pt x="22" y="6"/>
                      <a:pt x="22" y="6"/>
                    </a:cubicBezTo>
                    <a:cubicBezTo>
                      <a:pt x="22" y="6"/>
                      <a:pt x="22" y="6"/>
                      <a:pt x="22" y="5"/>
                    </a:cubicBezTo>
                    <a:cubicBezTo>
                      <a:pt x="22" y="5"/>
                      <a:pt x="21" y="6"/>
                      <a:pt x="21" y="6"/>
                    </a:cubicBezTo>
                    <a:cubicBezTo>
                      <a:pt x="20" y="6"/>
                      <a:pt x="20" y="5"/>
                      <a:pt x="19" y="5"/>
                    </a:cubicBezTo>
                    <a:cubicBezTo>
                      <a:pt x="19" y="4"/>
                      <a:pt x="19" y="4"/>
                      <a:pt x="18" y="4"/>
                    </a:cubicBezTo>
                    <a:cubicBezTo>
                      <a:pt x="17" y="3"/>
                      <a:pt x="16" y="4"/>
                      <a:pt x="16" y="4"/>
                    </a:cubicBezTo>
                    <a:cubicBezTo>
                      <a:pt x="16" y="5"/>
                      <a:pt x="16" y="4"/>
                      <a:pt x="16" y="3"/>
                    </a:cubicBezTo>
                    <a:cubicBezTo>
                      <a:pt x="15" y="3"/>
                      <a:pt x="15" y="4"/>
                      <a:pt x="15" y="4"/>
                    </a:cubicBezTo>
                    <a:cubicBezTo>
                      <a:pt x="15" y="4"/>
                      <a:pt x="15" y="3"/>
                      <a:pt x="15" y="3"/>
                    </a:cubicBezTo>
                    <a:cubicBezTo>
                      <a:pt x="15" y="3"/>
                      <a:pt x="14" y="3"/>
                      <a:pt x="14" y="3"/>
                    </a:cubicBezTo>
                    <a:cubicBezTo>
                      <a:pt x="14" y="3"/>
                      <a:pt x="14" y="3"/>
                      <a:pt x="13" y="3"/>
                    </a:cubicBezTo>
                    <a:cubicBezTo>
                      <a:pt x="13" y="2"/>
                      <a:pt x="13" y="3"/>
                      <a:pt x="13" y="3"/>
                    </a:cubicBezTo>
                    <a:cubicBezTo>
                      <a:pt x="12" y="3"/>
                      <a:pt x="13" y="2"/>
                      <a:pt x="13" y="2"/>
                    </a:cubicBezTo>
                    <a:cubicBezTo>
                      <a:pt x="13" y="2"/>
                      <a:pt x="12" y="2"/>
                      <a:pt x="12" y="2"/>
                    </a:cubicBezTo>
                    <a:cubicBezTo>
                      <a:pt x="11" y="2"/>
                      <a:pt x="11" y="1"/>
                      <a:pt x="10" y="1"/>
                    </a:cubicBezTo>
                    <a:cubicBezTo>
                      <a:pt x="10" y="0"/>
                      <a:pt x="9" y="1"/>
                      <a:pt x="9" y="1"/>
                    </a:cubicBezTo>
                    <a:cubicBezTo>
                      <a:pt x="8" y="0"/>
                      <a:pt x="8" y="0"/>
                      <a:pt x="8" y="0"/>
                    </a:cubicBezTo>
                    <a:cubicBezTo>
                      <a:pt x="7" y="1"/>
                      <a:pt x="7" y="1"/>
                      <a:pt x="6" y="0"/>
                    </a:cubicBezTo>
                    <a:cubicBezTo>
                      <a:pt x="6" y="0"/>
                      <a:pt x="6" y="1"/>
                      <a:pt x="6" y="1"/>
                    </a:cubicBezTo>
                    <a:cubicBezTo>
                      <a:pt x="5" y="2"/>
                      <a:pt x="5" y="1"/>
                      <a:pt x="4" y="1"/>
                    </a:cubicBezTo>
                    <a:cubicBezTo>
                      <a:pt x="3" y="1"/>
                      <a:pt x="4" y="1"/>
                      <a:pt x="4" y="1"/>
                    </a:cubicBezTo>
                    <a:cubicBezTo>
                      <a:pt x="3" y="1"/>
                      <a:pt x="3" y="1"/>
                      <a:pt x="3" y="1"/>
                    </a:cubicBezTo>
                    <a:cubicBezTo>
                      <a:pt x="3" y="1"/>
                      <a:pt x="2" y="1"/>
                      <a:pt x="2" y="1"/>
                    </a:cubicBezTo>
                    <a:cubicBezTo>
                      <a:pt x="1" y="2"/>
                      <a:pt x="2" y="2"/>
                      <a:pt x="1" y="2"/>
                    </a:cubicBezTo>
                    <a:cubicBezTo>
                      <a:pt x="1" y="2"/>
                      <a:pt x="1" y="1"/>
                      <a:pt x="1" y="2"/>
                    </a:cubicBezTo>
                    <a:cubicBezTo>
                      <a:pt x="1" y="2"/>
                      <a:pt x="0" y="2"/>
                      <a:pt x="0" y="2"/>
                    </a:cubicBezTo>
                    <a:cubicBezTo>
                      <a:pt x="1" y="3"/>
                      <a:pt x="2" y="2"/>
                      <a:pt x="2" y="3"/>
                    </a:cubicBezTo>
                    <a:cubicBezTo>
                      <a:pt x="2" y="3"/>
                      <a:pt x="4" y="4"/>
                      <a:pt x="3" y="4"/>
                    </a:cubicBezTo>
                    <a:cubicBezTo>
                      <a:pt x="3" y="4"/>
                      <a:pt x="4" y="4"/>
                      <a:pt x="4" y="4"/>
                    </a:cubicBezTo>
                    <a:cubicBezTo>
                      <a:pt x="4" y="4"/>
                      <a:pt x="4" y="4"/>
                      <a:pt x="4" y="5"/>
                    </a:cubicBezTo>
                    <a:cubicBezTo>
                      <a:pt x="5" y="5"/>
                      <a:pt x="5" y="6"/>
                      <a:pt x="5" y="6"/>
                    </a:cubicBezTo>
                    <a:cubicBezTo>
                      <a:pt x="6" y="7"/>
                      <a:pt x="6" y="7"/>
                      <a:pt x="6" y="8"/>
                    </a:cubicBezTo>
                    <a:cubicBezTo>
                      <a:pt x="7" y="8"/>
                      <a:pt x="6" y="8"/>
                      <a:pt x="6" y="8"/>
                    </a:cubicBezTo>
                    <a:cubicBezTo>
                      <a:pt x="6" y="9"/>
                      <a:pt x="7" y="9"/>
                      <a:pt x="7" y="9"/>
                    </a:cubicBezTo>
                    <a:cubicBezTo>
                      <a:pt x="8" y="10"/>
                      <a:pt x="8" y="10"/>
                      <a:pt x="8" y="10"/>
                    </a:cubicBezTo>
                    <a:cubicBezTo>
                      <a:pt x="8" y="11"/>
                      <a:pt x="9" y="11"/>
                      <a:pt x="9" y="11"/>
                    </a:cubicBezTo>
                    <a:cubicBezTo>
                      <a:pt x="9" y="11"/>
                      <a:pt x="9" y="12"/>
                      <a:pt x="9" y="12"/>
                    </a:cubicBezTo>
                    <a:cubicBezTo>
                      <a:pt x="9" y="12"/>
                      <a:pt x="10" y="13"/>
                      <a:pt x="10" y="13"/>
                    </a:cubicBezTo>
                    <a:cubicBezTo>
                      <a:pt x="11" y="13"/>
                      <a:pt x="11" y="14"/>
                      <a:pt x="12" y="15"/>
                    </a:cubicBezTo>
                    <a:cubicBezTo>
                      <a:pt x="12" y="15"/>
                      <a:pt x="13" y="15"/>
                      <a:pt x="14" y="16"/>
                    </a:cubicBezTo>
                    <a:cubicBezTo>
                      <a:pt x="14" y="16"/>
                      <a:pt x="14" y="17"/>
                      <a:pt x="14" y="17"/>
                    </a:cubicBezTo>
                    <a:cubicBezTo>
                      <a:pt x="15" y="18"/>
                      <a:pt x="15" y="18"/>
                      <a:pt x="15" y="19"/>
                    </a:cubicBezTo>
                    <a:cubicBezTo>
                      <a:pt x="15" y="19"/>
                      <a:pt x="16" y="19"/>
                      <a:pt x="16" y="20"/>
                    </a:cubicBezTo>
                    <a:cubicBezTo>
                      <a:pt x="16" y="20"/>
                      <a:pt x="15" y="21"/>
                      <a:pt x="16" y="21"/>
                    </a:cubicBezTo>
                    <a:cubicBezTo>
                      <a:pt x="16" y="22"/>
                      <a:pt x="15" y="23"/>
                      <a:pt x="15" y="23"/>
                    </a:cubicBezTo>
                    <a:cubicBezTo>
                      <a:pt x="15" y="24"/>
                      <a:pt x="15" y="24"/>
                      <a:pt x="15" y="24"/>
                    </a:cubicBezTo>
                    <a:cubicBezTo>
                      <a:pt x="15" y="25"/>
                      <a:pt x="15" y="25"/>
                      <a:pt x="15" y="25"/>
                    </a:cubicBezTo>
                    <a:cubicBezTo>
                      <a:pt x="15" y="26"/>
                      <a:pt x="15" y="26"/>
                      <a:pt x="15" y="27"/>
                    </a:cubicBezTo>
                    <a:cubicBezTo>
                      <a:pt x="15" y="27"/>
                      <a:pt x="15" y="27"/>
                      <a:pt x="15" y="28"/>
                    </a:cubicBezTo>
                    <a:cubicBezTo>
                      <a:pt x="15" y="29"/>
                      <a:pt x="16" y="29"/>
                      <a:pt x="16" y="30"/>
                    </a:cubicBezTo>
                    <a:cubicBezTo>
                      <a:pt x="16" y="31"/>
                      <a:pt x="16" y="31"/>
                      <a:pt x="16" y="31"/>
                    </a:cubicBezTo>
                    <a:cubicBezTo>
                      <a:pt x="15" y="31"/>
                      <a:pt x="15" y="31"/>
                      <a:pt x="15" y="31"/>
                    </a:cubicBezTo>
                    <a:cubicBezTo>
                      <a:pt x="16" y="31"/>
                      <a:pt x="16" y="32"/>
                      <a:pt x="17" y="33"/>
                    </a:cubicBezTo>
                    <a:cubicBezTo>
                      <a:pt x="16" y="31"/>
                      <a:pt x="18" y="32"/>
                      <a:pt x="19" y="32"/>
                    </a:cubicBezTo>
                    <a:cubicBezTo>
                      <a:pt x="19" y="32"/>
                      <a:pt x="19" y="31"/>
                      <a:pt x="19" y="30"/>
                    </a:cubicBezTo>
                    <a:cubicBezTo>
                      <a:pt x="18" y="30"/>
                      <a:pt x="19" y="30"/>
                      <a:pt x="19" y="30"/>
                    </a:cubicBezTo>
                    <a:cubicBezTo>
                      <a:pt x="19" y="30"/>
                      <a:pt x="19" y="29"/>
                      <a:pt x="20" y="29"/>
                    </a:cubicBezTo>
                    <a:cubicBezTo>
                      <a:pt x="20" y="29"/>
                      <a:pt x="20" y="29"/>
                      <a:pt x="20" y="29"/>
                    </a:cubicBezTo>
                    <a:cubicBezTo>
                      <a:pt x="20" y="29"/>
                      <a:pt x="21" y="29"/>
                      <a:pt x="21" y="28"/>
                    </a:cubicBezTo>
                    <a:cubicBezTo>
                      <a:pt x="21" y="28"/>
                      <a:pt x="21" y="27"/>
                      <a:pt x="21" y="27"/>
                    </a:cubicBezTo>
                    <a:cubicBezTo>
                      <a:pt x="21" y="27"/>
                      <a:pt x="22" y="27"/>
                      <a:pt x="22" y="27"/>
                    </a:cubicBezTo>
                    <a:cubicBezTo>
                      <a:pt x="23" y="27"/>
                      <a:pt x="22" y="26"/>
                      <a:pt x="22" y="25"/>
                    </a:cubicBezTo>
                    <a:cubicBezTo>
                      <a:pt x="22" y="25"/>
                      <a:pt x="23" y="25"/>
                      <a:pt x="23" y="24"/>
                    </a:cubicBezTo>
                    <a:cubicBezTo>
                      <a:pt x="22" y="24"/>
                      <a:pt x="22" y="24"/>
                      <a:pt x="22" y="23"/>
                    </a:cubicBezTo>
                    <a:cubicBezTo>
                      <a:pt x="22" y="23"/>
                      <a:pt x="22" y="22"/>
                      <a:pt x="22" y="22"/>
                    </a:cubicBezTo>
                    <a:cubicBezTo>
                      <a:pt x="23" y="21"/>
                      <a:pt x="23" y="21"/>
                      <a:pt x="23" y="21"/>
                    </a:cubicBezTo>
                    <a:cubicBezTo>
                      <a:pt x="24" y="21"/>
                      <a:pt x="24" y="21"/>
                      <a:pt x="24" y="22"/>
                    </a:cubicBezTo>
                    <a:cubicBezTo>
                      <a:pt x="24" y="22"/>
                      <a:pt x="24" y="23"/>
                      <a:pt x="24" y="23"/>
                    </a:cubicBezTo>
                    <a:cubicBezTo>
                      <a:pt x="24" y="23"/>
                      <a:pt x="25" y="22"/>
                      <a:pt x="25" y="22"/>
                    </a:cubicBezTo>
                    <a:cubicBezTo>
                      <a:pt x="25" y="22"/>
                      <a:pt x="25" y="21"/>
                      <a:pt x="25" y="22"/>
                    </a:cubicBezTo>
                    <a:cubicBezTo>
                      <a:pt x="26" y="23"/>
                      <a:pt x="26" y="21"/>
                      <a:pt x="26" y="21"/>
                    </a:cubicBezTo>
                    <a:cubicBezTo>
                      <a:pt x="27" y="22"/>
                      <a:pt x="26" y="22"/>
                      <a:pt x="27" y="22"/>
                    </a:cubicBezTo>
                    <a:cubicBezTo>
                      <a:pt x="27" y="22"/>
                      <a:pt x="28" y="23"/>
                      <a:pt x="28" y="23"/>
                    </a:cubicBezTo>
                    <a:cubicBezTo>
                      <a:pt x="28" y="23"/>
                      <a:pt x="28" y="22"/>
                      <a:pt x="28" y="22"/>
                    </a:cubicBezTo>
                    <a:cubicBezTo>
                      <a:pt x="28" y="22"/>
                      <a:pt x="29" y="22"/>
                      <a:pt x="29" y="22"/>
                    </a:cubicBezTo>
                    <a:cubicBezTo>
                      <a:pt x="29" y="22"/>
                      <a:pt x="29" y="22"/>
                      <a:pt x="29" y="23"/>
                    </a:cubicBezTo>
                    <a:cubicBezTo>
                      <a:pt x="30" y="23"/>
                      <a:pt x="30" y="23"/>
                      <a:pt x="30" y="23"/>
                    </a:cubicBezTo>
                    <a:cubicBezTo>
                      <a:pt x="30" y="23"/>
                      <a:pt x="31" y="23"/>
                      <a:pt x="31" y="23"/>
                    </a:cubicBezTo>
                    <a:cubicBezTo>
                      <a:pt x="32" y="23"/>
                      <a:pt x="32" y="23"/>
                      <a:pt x="32" y="22"/>
                    </a:cubicBezTo>
                    <a:cubicBezTo>
                      <a:pt x="32" y="22"/>
                      <a:pt x="31" y="21"/>
                      <a:pt x="31" y="2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2" name="Micronesia">
                <a:extLst>
                  <a:ext uri="{FF2B5EF4-FFF2-40B4-BE49-F238E27FC236}">
                    <a16:creationId xmlns:a16="http://schemas.microsoft.com/office/drawing/2014/main" id="{24D7D5EC-FD47-830A-1157-7D086760300C}"/>
                  </a:ext>
                </a:extLst>
              </p:cNvPr>
              <p:cNvSpPr>
                <a:spLocks noEditPoints="1"/>
              </p:cNvSpPr>
              <p:nvPr/>
            </p:nvSpPr>
            <p:spPr bwMode="auto">
              <a:xfrm>
                <a:off x="10420094" y="3671888"/>
                <a:ext cx="871366" cy="166628"/>
              </a:xfrm>
              <a:custGeom>
                <a:avLst/>
                <a:gdLst/>
                <a:ahLst/>
                <a:cxnLst>
                  <a:cxn ang="0">
                    <a:pos x="134" y="25"/>
                  </a:cxn>
                  <a:cxn ang="0">
                    <a:pos x="133" y="25"/>
                  </a:cxn>
                  <a:cxn ang="0">
                    <a:pos x="133" y="24"/>
                  </a:cxn>
                  <a:cxn ang="0">
                    <a:pos x="134" y="25"/>
                  </a:cxn>
                  <a:cxn ang="0">
                    <a:pos x="196" y="31"/>
                  </a:cxn>
                  <a:cxn ang="0">
                    <a:pos x="196" y="31"/>
                  </a:cxn>
                  <a:cxn ang="0">
                    <a:pos x="196" y="31"/>
                  </a:cxn>
                  <a:cxn ang="0">
                    <a:pos x="112" y="31"/>
                  </a:cxn>
                  <a:cxn ang="0">
                    <a:pos x="112" y="32"/>
                  </a:cxn>
                  <a:cxn ang="0">
                    <a:pos x="112" y="31"/>
                  </a:cxn>
                  <a:cxn ang="0">
                    <a:pos x="156" y="47"/>
                  </a:cxn>
                  <a:cxn ang="0">
                    <a:pos x="155" y="47"/>
                  </a:cxn>
                  <a:cxn ang="0">
                    <a:pos x="156" y="47"/>
                  </a:cxn>
                  <a:cxn ang="0">
                    <a:pos x="1" y="2"/>
                  </a:cxn>
                  <a:cxn ang="0">
                    <a:pos x="1" y="0"/>
                  </a:cxn>
                  <a:cxn ang="0">
                    <a:pos x="1" y="0"/>
                  </a:cxn>
                  <a:cxn ang="0">
                    <a:pos x="1" y="2"/>
                  </a:cxn>
                  <a:cxn ang="0">
                    <a:pos x="168" y="21"/>
                  </a:cxn>
                  <a:cxn ang="0">
                    <a:pos x="168" y="21"/>
                  </a:cxn>
                  <a:cxn ang="0">
                    <a:pos x="168" y="21"/>
                  </a:cxn>
                  <a:cxn ang="0">
                    <a:pos x="121" y="11"/>
                  </a:cxn>
                  <a:cxn ang="0">
                    <a:pos x="121" y="11"/>
                  </a:cxn>
                  <a:cxn ang="0">
                    <a:pos x="121" y="11"/>
                  </a:cxn>
                  <a:cxn ang="0">
                    <a:pos x="114" y="11"/>
                  </a:cxn>
                  <a:cxn ang="0">
                    <a:pos x="114" y="11"/>
                  </a:cxn>
                  <a:cxn ang="0">
                    <a:pos x="136" y="24"/>
                  </a:cxn>
                  <a:cxn ang="0">
                    <a:pos x="136" y="23"/>
                  </a:cxn>
                  <a:cxn ang="0">
                    <a:pos x="136" y="24"/>
                  </a:cxn>
                  <a:cxn ang="0">
                    <a:pos x="58" y="24"/>
                  </a:cxn>
                  <a:cxn ang="0">
                    <a:pos x="58" y="24"/>
                  </a:cxn>
                  <a:cxn ang="0">
                    <a:pos x="58" y="24"/>
                  </a:cxn>
                  <a:cxn ang="0">
                    <a:pos x="110" y="24"/>
                  </a:cxn>
                  <a:cxn ang="0">
                    <a:pos x="110" y="24"/>
                  </a:cxn>
                  <a:cxn ang="0">
                    <a:pos x="110" y="24"/>
                  </a:cxn>
                  <a:cxn ang="0">
                    <a:pos x="110" y="24"/>
                  </a:cxn>
                  <a:cxn ang="0">
                    <a:pos x="110" y="25"/>
                  </a:cxn>
                  <a:cxn ang="0">
                    <a:pos x="110" y="24"/>
                  </a:cxn>
                  <a:cxn ang="0">
                    <a:pos x="1" y="0"/>
                  </a:cxn>
                  <a:cxn ang="0">
                    <a:pos x="1" y="0"/>
                  </a:cxn>
                  <a:cxn ang="0">
                    <a:pos x="189" y="42"/>
                  </a:cxn>
                  <a:cxn ang="0">
                    <a:pos x="189" y="42"/>
                  </a:cxn>
                  <a:cxn ang="0">
                    <a:pos x="189" y="42"/>
                  </a:cxn>
                  <a:cxn ang="0">
                    <a:pos x="118" y="7"/>
                  </a:cxn>
                  <a:cxn ang="0">
                    <a:pos x="118" y="7"/>
                  </a:cxn>
                  <a:cxn ang="0">
                    <a:pos x="118" y="7"/>
                  </a:cxn>
                  <a:cxn ang="0">
                    <a:pos x="245" y="46"/>
                  </a:cxn>
                  <a:cxn ang="0">
                    <a:pos x="246" y="47"/>
                  </a:cxn>
                  <a:cxn ang="0">
                    <a:pos x="245" y="46"/>
                  </a:cxn>
                  <a:cxn ang="0">
                    <a:pos x="1" y="1"/>
                  </a:cxn>
                  <a:cxn ang="0">
                    <a:pos x="1" y="1"/>
                  </a:cxn>
                  <a:cxn ang="0">
                    <a:pos x="199" y="29"/>
                  </a:cxn>
                  <a:cxn ang="0">
                    <a:pos x="197" y="29"/>
                  </a:cxn>
                  <a:cxn ang="0">
                    <a:pos x="197" y="30"/>
                  </a:cxn>
                  <a:cxn ang="0">
                    <a:pos x="198" y="31"/>
                  </a:cxn>
                  <a:cxn ang="0">
                    <a:pos x="199" y="31"/>
                  </a:cxn>
                  <a:cxn ang="0">
                    <a:pos x="199" y="30"/>
                  </a:cxn>
                  <a:cxn ang="0">
                    <a:pos x="199" y="29"/>
                  </a:cxn>
                  <a:cxn ang="0">
                    <a:pos x="136" y="25"/>
                  </a:cxn>
                  <a:cxn ang="0">
                    <a:pos x="136" y="24"/>
                  </a:cxn>
                  <a:cxn ang="0">
                    <a:pos x="136" y="25"/>
                  </a:cxn>
                </a:cxnLst>
                <a:rect l="0" t="0" r="r" b="b"/>
                <a:pathLst>
                  <a:path w="246" h="47">
                    <a:moveTo>
                      <a:pt x="134" y="25"/>
                    </a:moveTo>
                    <a:cubicBezTo>
                      <a:pt x="134" y="25"/>
                      <a:pt x="133" y="25"/>
                      <a:pt x="133" y="25"/>
                    </a:cubicBezTo>
                    <a:cubicBezTo>
                      <a:pt x="133" y="24"/>
                      <a:pt x="134" y="24"/>
                      <a:pt x="133" y="24"/>
                    </a:cubicBezTo>
                    <a:cubicBezTo>
                      <a:pt x="134" y="24"/>
                      <a:pt x="134" y="24"/>
                      <a:pt x="134" y="25"/>
                    </a:cubicBezTo>
                    <a:close/>
                    <a:moveTo>
                      <a:pt x="196" y="31"/>
                    </a:moveTo>
                    <a:cubicBezTo>
                      <a:pt x="196" y="31"/>
                      <a:pt x="196" y="31"/>
                      <a:pt x="196" y="31"/>
                    </a:cubicBezTo>
                    <a:cubicBezTo>
                      <a:pt x="196" y="31"/>
                      <a:pt x="196" y="31"/>
                      <a:pt x="196" y="31"/>
                    </a:cubicBezTo>
                    <a:close/>
                    <a:moveTo>
                      <a:pt x="112" y="31"/>
                    </a:moveTo>
                    <a:cubicBezTo>
                      <a:pt x="112" y="31"/>
                      <a:pt x="112" y="32"/>
                      <a:pt x="112" y="32"/>
                    </a:cubicBezTo>
                    <a:cubicBezTo>
                      <a:pt x="112" y="32"/>
                      <a:pt x="112" y="32"/>
                      <a:pt x="112" y="31"/>
                    </a:cubicBezTo>
                    <a:close/>
                    <a:moveTo>
                      <a:pt x="156" y="47"/>
                    </a:moveTo>
                    <a:cubicBezTo>
                      <a:pt x="155" y="47"/>
                      <a:pt x="155" y="47"/>
                      <a:pt x="155" y="47"/>
                    </a:cubicBezTo>
                    <a:cubicBezTo>
                      <a:pt x="155" y="47"/>
                      <a:pt x="155" y="47"/>
                      <a:pt x="156" y="47"/>
                    </a:cubicBezTo>
                    <a:close/>
                    <a:moveTo>
                      <a:pt x="1" y="2"/>
                    </a:moveTo>
                    <a:cubicBezTo>
                      <a:pt x="1" y="2"/>
                      <a:pt x="1" y="1"/>
                      <a:pt x="1" y="0"/>
                    </a:cubicBezTo>
                    <a:cubicBezTo>
                      <a:pt x="1" y="0"/>
                      <a:pt x="1" y="0"/>
                      <a:pt x="1" y="0"/>
                    </a:cubicBezTo>
                    <a:cubicBezTo>
                      <a:pt x="1" y="0"/>
                      <a:pt x="0" y="2"/>
                      <a:pt x="1" y="2"/>
                    </a:cubicBezTo>
                    <a:close/>
                    <a:moveTo>
                      <a:pt x="168" y="21"/>
                    </a:moveTo>
                    <a:cubicBezTo>
                      <a:pt x="168" y="21"/>
                      <a:pt x="168" y="21"/>
                      <a:pt x="168" y="21"/>
                    </a:cubicBezTo>
                    <a:cubicBezTo>
                      <a:pt x="168" y="21"/>
                      <a:pt x="168" y="21"/>
                      <a:pt x="168" y="21"/>
                    </a:cubicBezTo>
                    <a:close/>
                    <a:moveTo>
                      <a:pt x="121" y="11"/>
                    </a:moveTo>
                    <a:cubicBezTo>
                      <a:pt x="121" y="11"/>
                      <a:pt x="121" y="11"/>
                      <a:pt x="121" y="11"/>
                    </a:cubicBezTo>
                    <a:cubicBezTo>
                      <a:pt x="121" y="11"/>
                      <a:pt x="121" y="11"/>
                      <a:pt x="121" y="11"/>
                    </a:cubicBezTo>
                    <a:close/>
                    <a:moveTo>
                      <a:pt x="114" y="11"/>
                    </a:moveTo>
                    <a:cubicBezTo>
                      <a:pt x="114" y="10"/>
                      <a:pt x="113" y="10"/>
                      <a:pt x="114" y="11"/>
                    </a:cubicBezTo>
                    <a:close/>
                    <a:moveTo>
                      <a:pt x="136" y="24"/>
                    </a:moveTo>
                    <a:cubicBezTo>
                      <a:pt x="136" y="24"/>
                      <a:pt x="136" y="23"/>
                      <a:pt x="136" y="23"/>
                    </a:cubicBezTo>
                    <a:cubicBezTo>
                      <a:pt x="136" y="23"/>
                      <a:pt x="136" y="23"/>
                      <a:pt x="136" y="24"/>
                    </a:cubicBezTo>
                    <a:close/>
                    <a:moveTo>
                      <a:pt x="58" y="24"/>
                    </a:moveTo>
                    <a:cubicBezTo>
                      <a:pt x="58" y="24"/>
                      <a:pt x="58" y="24"/>
                      <a:pt x="58" y="24"/>
                    </a:cubicBezTo>
                    <a:cubicBezTo>
                      <a:pt x="58" y="24"/>
                      <a:pt x="58" y="24"/>
                      <a:pt x="58" y="24"/>
                    </a:cubicBezTo>
                    <a:close/>
                    <a:moveTo>
                      <a:pt x="110" y="24"/>
                    </a:moveTo>
                    <a:cubicBezTo>
                      <a:pt x="110" y="24"/>
                      <a:pt x="110" y="24"/>
                      <a:pt x="110" y="24"/>
                    </a:cubicBezTo>
                    <a:cubicBezTo>
                      <a:pt x="110" y="24"/>
                      <a:pt x="110" y="24"/>
                      <a:pt x="110" y="24"/>
                    </a:cubicBezTo>
                    <a:close/>
                    <a:moveTo>
                      <a:pt x="110" y="24"/>
                    </a:moveTo>
                    <a:cubicBezTo>
                      <a:pt x="110" y="24"/>
                      <a:pt x="110" y="24"/>
                      <a:pt x="110" y="25"/>
                    </a:cubicBezTo>
                    <a:cubicBezTo>
                      <a:pt x="110" y="25"/>
                      <a:pt x="110" y="24"/>
                      <a:pt x="110" y="24"/>
                    </a:cubicBezTo>
                    <a:close/>
                    <a:moveTo>
                      <a:pt x="1" y="0"/>
                    </a:moveTo>
                    <a:cubicBezTo>
                      <a:pt x="2" y="0"/>
                      <a:pt x="1" y="0"/>
                      <a:pt x="1" y="0"/>
                    </a:cubicBezTo>
                    <a:close/>
                    <a:moveTo>
                      <a:pt x="189" y="42"/>
                    </a:moveTo>
                    <a:cubicBezTo>
                      <a:pt x="189" y="42"/>
                      <a:pt x="189" y="42"/>
                      <a:pt x="189" y="42"/>
                    </a:cubicBezTo>
                    <a:cubicBezTo>
                      <a:pt x="189" y="42"/>
                      <a:pt x="189" y="42"/>
                      <a:pt x="189" y="42"/>
                    </a:cubicBezTo>
                    <a:close/>
                    <a:moveTo>
                      <a:pt x="118" y="7"/>
                    </a:moveTo>
                    <a:cubicBezTo>
                      <a:pt x="118" y="7"/>
                      <a:pt x="118" y="7"/>
                      <a:pt x="118" y="7"/>
                    </a:cubicBezTo>
                    <a:cubicBezTo>
                      <a:pt x="118" y="7"/>
                      <a:pt x="118" y="7"/>
                      <a:pt x="118" y="7"/>
                    </a:cubicBezTo>
                    <a:close/>
                    <a:moveTo>
                      <a:pt x="245" y="46"/>
                    </a:moveTo>
                    <a:cubicBezTo>
                      <a:pt x="244" y="47"/>
                      <a:pt x="245" y="47"/>
                      <a:pt x="246" y="47"/>
                    </a:cubicBezTo>
                    <a:cubicBezTo>
                      <a:pt x="246" y="47"/>
                      <a:pt x="246" y="46"/>
                      <a:pt x="245" y="46"/>
                    </a:cubicBezTo>
                    <a:close/>
                    <a:moveTo>
                      <a:pt x="1" y="1"/>
                    </a:moveTo>
                    <a:cubicBezTo>
                      <a:pt x="1" y="1"/>
                      <a:pt x="2" y="0"/>
                      <a:pt x="1" y="1"/>
                    </a:cubicBezTo>
                    <a:close/>
                    <a:moveTo>
                      <a:pt x="199" y="29"/>
                    </a:moveTo>
                    <a:cubicBezTo>
                      <a:pt x="198" y="29"/>
                      <a:pt x="198" y="29"/>
                      <a:pt x="197" y="29"/>
                    </a:cubicBezTo>
                    <a:cubicBezTo>
                      <a:pt x="197" y="29"/>
                      <a:pt x="197" y="29"/>
                      <a:pt x="197" y="30"/>
                    </a:cubicBezTo>
                    <a:cubicBezTo>
                      <a:pt x="197" y="30"/>
                      <a:pt x="198" y="30"/>
                      <a:pt x="198" y="31"/>
                    </a:cubicBezTo>
                    <a:cubicBezTo>
                      <a:pt x="198" y="31"/>
                      <a:pt x="199" y="31"/>
                      <a:pt x="199" y="31"/>
                    </a:cubicBezTo>
                    <a:cubicBezTo>
                      <a:pt x="199" y="30"/>
                      <a:pt x="199" y="30"/>
                      <a:pt x="199" y="30"/>
                    </a:cubicBezTo>
                    <a:cubicBezTo>
                      <a:pt x="199" y="29"/>
                      <a:pt x="199" y="30"/>
                      <a:pt x="199" y="29"/>
                    </a:cubicBezTo>
                    <a:close/>
                    <a:moveTo>
                      <a:pt x="136" y="25"/>
                    </a:moveTo>
                    <a:cubicBezTo>
                      <a:pt x="136" y="25"/>
                      <a:pt x="136" y="24"/>
                      <a:pt x="136" y="24"/>
                    </a:cubicBezTo>
                    <a:cubicBezTo>
                      <a:pt x="136" y="24"/>
                      <a:pt x="136" y="25"/>
                      <a:pt x="136" y="2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3" name="Mexico">
                <a:extLst>
                  <a:ext uri="{FF2B5EF4-FFF2-40B4-BE49-F238E27FC236}">
                    <a16:creationId xmlns:a16="http://schemas.microsoft.com/office/drawing/2014/main" id="{EB26E259-B15B-9669-E6CC-4E0BAD1F4F14}"/>
                  </a:ext>
                </a:extLst>
              </p:cNvPr>
              <p:cNvSpPr>
                <a:spLocks noEditPoints="1"/>
              </p:cNvSpPr>
              <p:nvPr/>
            </p:nvSpPr>
            <p:spPr bwMode="auto">
              <a:xfrm>
                <a:off x="1791709" y="2771117"/>
                <a:ext cx="988007" cy="709638"/>
              </a:xfrm>
              <a:custGeom>
                <a:avLst/>
                <a:gdLst/>
                <a:ahLst/>
                <a:cxnLst>
                  <a:cxn ang="0">
                    <a:pos x="257" y="124"/>
                  </a:cxn>
                  <a:cxn ang="0">
                    <a:pos x="234" y="150"/>
                  </a:cxn>
                  <a:cxn ang="0">
                    <a:pos x="226" y="157"/>
                  </a:cxn>
                  <a:cxn ang="0">
                    <a:pos x="218" y="155"/>
                  </a:cxn>
                  <a:cxn ang="0">
                    <a:pos x="206" y="158"/>
                  </a:cxn>
                  <a:cxn ang="0">
                    <a:pos x="188" y="153"/>
                  </a:cxn>
                  <a:cxn ang="0">
                    <a:pos x="178" y="127"/>
                  </a:cxn>
                  <a:cxn ang="0">
                    <a:pos x="176" y="110"/>
                  </a:cxn>
                  <a:cxn ang="0">
                    <a:pos x="187" y="80"/>
                  </a:cxn>
                  <a:cxn ang="0">
                    <a:pos x="175" y="70"/>
                  </a:cxn>
                  <a:cxn ang="0">
                    <a:pos x="169" y="54"/>
                  </a:cxn>
                  <a:cxn ang="0">
                    <a:pos x="161" y="34"/>
                  </a:cxn>
                  <a:cxn ang="0">
                    <a:pos x="147" y="34"/>
                  </a:cxn>
                  <a:cxn ang="0">
                    <a:pos x="132" y="34"/>
                  </a:cxn>
                  <a:cxn ang="0">
                    <a:pos x="119" y="10"/>
                  </a:cxn>
                  <a:cxn ang="0">
                    <a:pos x="48" y="0"/>
                  </a:cxn>
                  <a:cxn ang="0">
                    <a:pos x="27" y="20"/>
                  </a:cxn>
                  <a:cxn ang="0">
                    <a:pos x="32" y="36"/>
                  </a:cxn>
                  <a:cxn ang="0">
                    <a:pos x="35" y="52"/>
                  </a:cxn>
                  <a:cxn ang="0">
                    <a:pos x="36" y="57"/>
                  </a:cxn>
                  <a:cxn ang="0">
                    <a:pos x="30" y="58"/>
                  </a:cxn>
                  <a:cxn ang="0">
                    <a:pos x="42" y="68"/>
                  </a:cxn>
                  <a:cxn ang="0">
                    <a:pos x="46" y="86"/>
                  </a:cxn>
                  <a:cxn ang="0">
                    <a:pos x="56" y="97"/>
                  </a:cxn>
                  <a:cxn ang="0">
                    <a:pos x="64" y="95"/>
                  </a:cxn>
                  <a:cxn ang="0">
                    <a:pos x="58" y="84"/>
                  </a:cxn>
                  <a:cxn ang="0">
                    <a:pos x="53" y="65"/>
                  </a:cxn>
                  <a:cxn ang="0">
                    <a:pos x="47" y="45"/>
                  </a:cxn>
                  <a:cxn ang="0">
                    <a:pos x="40" y="21"/>
                  </a:cxn>
                  <a:cxn ang="0">
                    <a:pos x="50" y="13"/>
                  </a:cxn>
                  <a:cxn ang="0">
                    <a:pos x="55" y="30"/>
                  </a:cxn>
                  <a:cxn ang="0">
                    <a:pos x="60" y="46"/>
                  </a:cxn>
                  <a:cxn ang="0">
                    <a:pos x="68" y="54"/>
                  </a:cxn>
                  <a:cxn ang="0">
                    <a:pos x="76" y="66"/>
                  </a:cxn>
                  <a:cxn ang="0">
                    <a:pos x="74" y="73"/>
                  </a:cxn>
                  <a:cxn ang="0">
                    <a:pos x="77" y="78"/>
                  </a:cxn>
                  <a:cxn ang="0">
                    <a:pos x="79" y="81"/>
                  </a:cxn>
                  <a:cxn ang="0">
                    <a:pos x="85" y="89"/>
                  </a:cxn>
                  <a:cxn ang="0">
                    <a:pos x="96" y="105"/>
                  </a:cxn>
                  <a:cxn ang="0">
                    <a:pos x="102" y="132"/>
                  </a:cxn>
                  <a:cxn ang="0">
                    <a:pos x="112" y="153"/>
                  </a:cxn>
                  <a:cxn ang="0">
                    <a:pos x="143" y="172"/>
                  </a:cxn>
                  <a:cxn ang="0">
                    <a:pos x="165" y="184"/>
                  </a:cxn>
                  <a:cxn ang="0">
                    <a:pos x="194" y="181"/>
                  </a:cxn>
                  <a:cxn ang="0">
                    <a:pos x="201" y="181"/>
                  </a:cxn>
                  <a:cxn ang="0">
                    <a:pos x="217" y="196"/>
                  </a:cxn>
                  <a:cxn ang="0">
                    <a:pos x="236" y="179"/>
                  </a:cxn>
                  <a:cxn ang="0">
                    <a:pos x="233" y="164"/>
                  </a:cxn>
                  <a:cxn ang="0">
                    <a:pos x="261" y="154"/>
                  </a:cxn>
                  <a:cxn ang="0">
                    <a:pos x="267" y="147"/>
                  </a:cxn>
                  <a:cxn ang="0">
                    <a:pos x="271" y="138"/>
                  </a:cxn>
                  <a:cxn ang="0">
                    <a:pos x="182" y="85"/>
                  </a:cxn>
                  <a:cxn ang="0">
                    <a:pos x="186" y="80"/>
                  </a:cxn>
                  <a:cxn ang="0">
                    <a:pos x="269" y="123"/>
                  </a:cxn>
                  <a:cxn ang="0">
                    <a:pos x="60" y="86"/>
                  </a:cxn>
                  <a:cxn ang="0">
                    <a:pos x="49" y="38"/>
                  </a:cxn>
                  <a:cxn ang="0">
                    <a:pos x="91" y="124"/>
                  </a:cxn>
                  <a:cxn ang="0">
                    <a:pos x="57" y="75"/>
                  </a:cxn>
                  <a:cxn ang="0">
                    <a:pos x="228" y="154"/>
                  </a:cxn>
                  <a:cxn ang="0">
                    <a:pos x="57" y="39"/>
                  </a:cxn>
                </a:cxnLst>
                <a:rect l="0" t="0" r="r" b="b"/>
                <a:pathLst>
                  <a:path w="279" h="200">
                    <a:moveTo>
                      <a:pt x="278" y="125"/>
                    </a:moveTo>
                    <a:cubicBezTo>
                      <a:pt x="278" y="125"/>
                      <a:pt x="279" y="124"/>
                      <a:pt x="279" y="124"/>
                    </a:cubicBezTo>
                    <a:cubicBezTo>
                      <a:pt x="278" y="124"/>
                      <a:pt x="278" y="123"/>
                      <a:pt x="278" y="124"/>
                    </a:cubicBezTo>
                    <a:cubicBezTo>
                      <a:pt x="277" y="122"/>
                      <a:pt x="277" y="122"/>
                      <a:pt x="275" y="122"/>
                    </a:cubicBezTo>
                    <a:cubicBezTo>
                      <a:pt x="274" y="123"/>
                      <a:pt x="274" y="122"/>
                      <a:pt x="274" y="122"/>
                    </a:cubicBezTo>
                    <a:cubicBezTo>
                      <a:pt x="273" y="122"/>
                      <a:pt x="272" y="123"/>
                      <a:pt x="272" y="123"/>
                    </a:cubicBezTo>
                    <a:cubicBezTo>
                      <a:pt x="273" y="124"/>
                      <a:pt x="274" y="123"/>
                      <a:pt x="275" y="124"/>
                    </a:cubicBezTo>
                    <a:cubicBezTo>
                      <a:pt x="274" y="124"/>
                      <a:pt x="273" y="123"/>
                      <a:pt x="272" y="123"/>
                    </a:cubicBezTo>
                    <a:cubicBezTo>
                      <a:pt x="271" y="123"/>
                      <a:pt x="270" y="123"/>
                      <a:pt x="269" y="122"/>
                    </a:cubicBezTo>
                    <a:cubicBezTo>
                      <a:pt x="269" y="123"/>
                      <a:pt x="269" y="123"/>
                      <a:pt x="269" y="123"/>
                    </a:cubicBezTo>
                    <a:cubicBezTo>
                      <a:pt x="269" y="123"/>
                      <a:pt x="268" y="122"/>
                      <a:pt x="268" y="122"/>
                    </a:cubicBezTo>
                    <a:cubicBezTo>
                      <a:pt x="267" y="122"/>
                      <a:pt x="267" y="122"/>
                      <a:pt x="266" y="122"/>
                    </a:cubicBezTo>
                    <a:cubicBezTo>
                      <a:pt x="266" y="122"/>
                      <a:pt x="265" y="122"/>
                      <a:pt x="264" y="122"/>
                    </a:cubicBezTo>
                    <a:cubicBezTo>
                      <a:pt x="263" y="122"/>
                      <a:pt x="262" y="122"/>
                      <a:pt x="261" y="123"/>
                    </a:cubicBezTo>
                    <a:cubicBezTo>
                      <a:pt x="260" y="124"/>
                      <a:pt x="259" y="124"/>
                      <a:pt x="257" y="124"/>
                    </a:cubicBezTo>
                    <a:cubicBezTo>
                      <a:pt x="257" y="124"/>
                      <a:pt x="256" y="125"/>
                      <a:pt x="255" y="125"/>
                    </a:cubicBezTo>
                    <a:cubicBezTo>
                      <a:pt x="254" y="125"/>
                      <a:pt x="253" y="125"/>
                      <a:pt x="253" y="125"/>
                    </a:cubicBezTo>
                    <a:cubicBezTo>
                      <a:pt x="251" y="125"/>
                      <a:pt x="250" y="125"/>
                      <a:pt x="249" y="126"/>
                    </a:cubicBezTo>
                    <a:cubicBezTo>
                      <a:pt x="247" y="126"/>
                      <a:pt x="246" y="127"/>
                      <a:pt x="245" y="128"/>
                    </a:cubicBezTo>
                    <a:cubicBezTo>
                      <a:pt x="244" y="129"/>
                      <a:pt x="244" y="130"/>
                      <a:pt x="243" y="131"/>
                    </a:cubicBezTo>
                    <a:cubicBezTo>
                      <a:pt x="244" y="131"/>
                      <a:pt x="244" y="129"/>
                      <a:pt x="244" y="129"/>
                    </a:cubicBezTo>
                    <a:cubicBezTo>
                      <a:pt x="244" y="130"/>
                      <a:pt x="244" y="130"/>
                      <a:pt x="243" y="131"/>
                    </a:cubicBezTo>
                    <a:cubicBezTo>
                      <a:pt x="243" y="131"/>
                      <a:pt x="243" y="132"/>
                      <a:pt x="243" y="133"/>
                    </a:cubicBezTo>
                    <a:cubicBezTo>
                      <a:pt x="242" y="134"/>
                      <a:pt x="242" y="134"/>
                      <a:pt x="242" y="135"/>
                    </a:cubicBezTo>
                    <a:cubicBezTo>
                      <a:pt x="242" y="136"/>
                      <a:pt x="242" y="137"/>
                      <a:pt x="242" y="138"/>
                    </a:cubicBezTo>
                    <a:cubicBezTo>
                      <a:pt x="241" y="138"/>
                      <a:pt x="242" y="139"/>
                      <a:pt x="241" y="140"/>
                    </a:cubicBezTo>
                    <a:cubicBezTo>
                      <a:pt x="241" y="141"/>
                      <a:pt x="241" y="141"/>
                      <a:pt x="240" y="141"/>
                    </a:cubicBezTo>
                    <a:cubicBezTo>
                      <a:pt x="239" y="142"/>
                      <a:pt x="239" y="144"/>
                      <a:pt x="238" y="145"/>
                    </a:cubicBezTo>
                    <a:cubicBezTo>
                      <a:pt x="238" y="147"/>
                      <a:pt x="237" y="147"/>
                      <a:pt x="236" y="148"/>
                    </a:cubicBezTo>
                    <a:cubicBezTo>
                      <a:pt x="235" y="149"/>
                      <a:pt x="235" y="149"/>
                      <a:pt x="234" y="150"/>
                    </a:cubicBezTo>
                    <a:cubicBezTo>
                      <a:pt x="233" y="150"/>
                      <a:pt x="233" y="151"/>
                      <a:pt x="232" y="151"/>
                    </a:cubicBezTo>
                    <a:cubicBezTo>
                      <a:pt x="232" y="151"/>
                      <a:pt x="229" y="152"/>
                      <a:pt x="230" y="153"/>
                    </a:cubicBezTo>
                    <a:cubicBezTo>
                      <a:pt x="230" y="153"/>
                      <a:pt x="232" y="151"/>
                      <a:pt x="232" y="151"/>
                    </a:cubicBezTo>
                    <a:cubicBezTo>
                      <a:pt x="232" y="152"/>
                      <a:pt x="231" y="152"/>
                      <a:pt x="231" y="153"/>
                    </a:cubicBezTo>
                    <a:cubicBezTo>
                      <a:pt x="231" y="153"/>
                      <a:pt x="231" y="153"/>
                      <a:pt x="232" y="153"/>
                    </a:cubicBezTo>
                    <a:cubicBezTo>
                      <a:pt x="232" y="153"/>
                      <a:pt x="232" y="154"/>
                      <a:pt x="231" y="155"/>
                    </a:cubicBezTo>
                    <a:cubicBezTo>
                      <a:pt x="232" y="154"/>
                      <a:pt x="232" y="154"/>
                      <a:pt x="232" y="154"/>
                    </a:cubicBezTo>
                    <a:cubicBezTo>
                      <a:pt x="232" y="155"/>
                      <a:pt x="232" y="155"/>
                      <a:pt x="231" y="155"/>
                    </a:cubicBezTo>
                    <a:cubicBezTo>
                      <a:pt x="231" y="155"/>
                      <a:pt x="231" y="155"/>
                      <a:pt x="230" y="155"/>
                    </a:cubicBezTo>
                    <a:cubicBezTo>
                      <a:pt x="230" y="155"/>
                      <a:pt x="229" y="156"/>
                      <a:pt x="229" y="156"/>
                    </a:cubicBezTo>
                    <a:cubicBezTo>
                      <a:pt x="229" y="156"/>
                      <a:pt x="229" y="156"/>
                      <a:pt x="229" y="156"/>
                    </a:cubicBezTo>
                    <a:cubicBezTo>
                      <a:pt x="230" y="157"/>
                      <a:pt x="228" y="157"/>
                      <a:pt x="228" y="156"/>
                    </a:cubicBezTo>
                    <a:cubicBezTo>
                      <a:pt x="227" y="156"/>
                      <a:pt x="227" y="156"/>
                      <a:pt x="227" y="156"/>
                    </a:cubicBezTo>
                    <a:cubicBezTo>
                      <a:pt x="226" y="156"/>
                      <a:pt x="227" y="157"/>
                      <a:pt x="226" y="157"/>
                    </a:cubicBezTo>
                    <a:cubicBezTo>
                      <a:pt x="226" y="157"/>
                      <a:pt x="226" y="158"/>
                      <a:pt x="226" y="157"/>
                    </a:cubicBezTo>
                    <a:cubicBezTo>
                      <a:pt x="226" y="157"/>
                      <a:pt x="226" y="157"/>
                      <a:pt x="226" y="156"/>
                    </a:cubicBezTo>
                    <a:cubicBezTo>
                      <a:pt x="226" y="156"/>
                      <a:pt x="226" y="156"/>
                      <a:pt x="226" y="156"/>
                    </a:cubicBezTo>
                    <a:cubicBezTo>
                      <a:pt x="226" y="155"/>
                      <a:pt x="225" y="155"/>
                      <a:pt x="225" y="155"/>
                    </a:cubicBezTo>
                    <a:cubicBezTo>
                      <a:pt x="225" y="155"/>
                      <a:pt x="225" y="155"/>
                      <a:pt x="225" y="155"/>
                    </a:cubicBezTo>
                    <a:cubicBezTo>
                      <a:pt x="225" y="155"/>
                      <a:pt x="225" y="156"/>
                      <a:pt x="225" y="156"/>
                    </a:cubicBezTo>
                    <a:cubicBezTo>
                      <a:pt x="225" y="156"/>
                      <a:pt x="225" y="155"/>
                      <a:pt x="224" y="155"/>
                    </a:cubicBezTo>
                    <a:cubicBezTo>
                      <a:pt x="224" y="155"/>
                      <a:pt x="224" y="155"/>
                      <a:pt x="225" y="155"/>
                    </a:cubicBezTo>
                    <a:cubicBezTo>
                      <a:pt x="225" y="155"/>
                      <a:pt x="225" y="154"/>
                      <a:pt x="225" y="155"/>
                    </a:cubicBezTo>
                    <a:cubicBezTo>
                      <a:pt x="225" y="155"/>
                      <a:pt x="225" y="155"/>
                      <a:pt x="225" y="155"/>
                    </a:cubicBezTo>
                    <a:cubicBezTo>
                      <a:pt x="225" y="155"/>
                      <a:pt x="226" y="155"/>
                      <a:pt x="226" y="155"/>
                    </a:cubicBezTo>
                    <a:cubicBezTo>
                      <a:pt x="226" y="155"/>
                      <a:pt x="225" y="153"/>
                      <a:pt x="225" y="153"/>
                    </a:cubicBezTo>
                    <a:cubicBezTo>
                      <a:pt x="224" y="154"/>
                      <a:pt x="223" y="154"/>
                      <a:pt x="223" y="154"/>
                    </a:cubicBezTo>
                    <a:cubicBezTo>
                      <a:pt x="222" y="154"/>
                      <a:pt x="221" y="154"/>
                      <a:pt x="221" y="154"/>
                    </a:cubicBezTo>
                    <a:cubicBezTo>
                      <a:pt x="220" y="154"/>
                      <a:pt x="220" y="154"/>
                      <a:pt x="219" y="155"/>
                    </a:cubicBezTo>
                    <a:cubicBezTo>
                      <a:pt x="219" y="155"/>
                      <a:pt x="218" y="155"/>
                      <a:pt x="218" y="155"/>
                    </a:cubicBezTo>
                    <a:cubicBezTo>
                      <a:pt x="218" y="155"/>
                      <a:pt x="218" y="156"/>
                      <a:pt x="218" y="156"/>
                    </a:cubicBezTo>
                    <a:cubicBezTo>
                      <a:pt x="218" y="156"/>
                      <a:pt x="218" y="155"/>
                      <a:pt x="218" y="155"/>
                    </a:cubicBezTo>
                    <a:cubicBezTo>
                      <a:pt x="217" y="156"/>
                      <a:pt x="217" y="156"/>
                      <a:pt x="216" y="156"/>
                    </a:cubicBezTo>
                    <a:cubicBezTo>
                      <a:pt x="215" y="156"/>
                      <a:pt x="214" y="156"/>
                      <a:pt x="213" y="157"/>
                    </a:cubicBezTo>
                    <a:cubicBezTo>
                      <a:pt x="214" y="157"/>
                      <a:pt x="214" y="157"/>
                      <a:pt x="213" y="158"/>
                    </a:cubicBezTo>
                    <a:cubicBezTo>
                      <a:pt x="213" y="157"/>
                      <a:pt x="213" y="157"/>
                      <a:pt x="214" y="157"/>
                    </a:cubicBezTo>
                    <a:cubicBezTo>
                      <a:pt x="213" y="158"/>
                      <a:pt x="213" y="157"/>
                      <a:pt x="213" y="157"/>
                    </a:cubicBezTo>
                    <a:cubicBezTo>
                      <a:pt x="212" y="156"/>
                      <a:pt x="211" y="156"/>
                      <a:pt x="209" y="157"/>
                    </a:cubicBezTo>
                    <a:cubicBezTo>
                      <a:pt x="209" y="157"/>
                      <a:pt x="207" y="157"/>
                      <a:pt x="207" y="158"/>
                    </a:cubicBezTo>
                    <a:cubicBezTo>
                      <a:pt x="207" y="158"/>
                      <a:pt x="208" y="157"/>
                      <a:pt x="208" y="157"/>
                    </a:cubicBezTo>
                    <a:cubicBezTo>
                      <a:pt x="209" y="157"/>
                      <a:pt x="209" y="157"/>
                      <a:pt x="210" y="157"/>
                    </a:cubicBezTo>
                    <a:cubicBezTo>
                      <a:pt x="209" y="157"/>
                      <a:pt x="209" y="158"/>
                      <a:pt x="209" y="158"/>
                    </a:cubicBezTo>
                    <a:cubicBezTo>
                      <a:pt x="208" y="158"/>
                      <a:pt x="208" y="157"/>
                      <a:pt x="207" y="158"/>
                    </a:cubicBezTo>
                    <a:cubicBezTo>
                      <a:pt x="207" y="158"/>
                      <a:pt x="207" y="159"/>
                      <a:pt x="206" y="159"/>
                    </a:cubicBezTo>
                    <a:cubicBezTo>
                      <a:pt x="206" y="159"/>
                      <a:pt x="206" y="159"/>
                      <a:pt x="206" y="158"/>
                    </a:cubicBezTo>
                    <a:cubicBezTo>
                      <a:pt x="204" y="159"/>
                      <a:pt x="202" y="160"/>
                      <a:pt x="200" y="160"/>
                    </a:cubicBezTo>
                    <a:cubicBezTo>
                      <a:pt x="199" y="160"/>
                      <a:pt x="199" y="158"/>
                      <a:pt x="199" y="158"/>
                    </a:cubicBezTo>
                    <a:cubicBezTo>
                      <a:pt x="198" y="157"/>
                      <a:pt x="198" y="156"/>
                      <a:pt x="198" y="156"/>
                    </a:cubicBezTo>
                    <a:cubicBezTo>
                      <a:pt x="197" y="155"/>
                      <a:pt x="196" y="156"/>
                      <a:pt x="196" y="155"/>
                    </a:cubicBezTo>
                    <a:cubicBezTo>
                      <a:pt x="195" y="154"/>
                      <a:pt x="194" y="153"/>
                      <a:pt x="193" y="154"/>
                    </a:cubicBezTo>
                    <a:cubicBezTo>
                      <a:pt x="192" y="154"/>
                      <a:pt x="189" y="154"/>
                      <a:pt x="189" y="153"/>
                    </a:cubicBezTo>
                    <a:cubicBezTo>
                      <a:pt x="189" y="153"/>
                      <a:pt x="189" y="153"/>
                      <a:pt x="189" y="153"/>
                    </a:cubicBezTo>
                    <a:cubicBezTo>
                      <a:pt x="188" y="153"/>
                      <a:pt x="188" y="153"/>
                      <a:pt x="188" y="154"/>
                    </a:cubicBezTo>
                    <a:cubicBezTo>
                      <a:pt x="188" y="154"/>
                      <a:pt x="188" y="154"/>
                      <a:pt x="187" y="154"/>
                    </a:cubicBezTo>
                    <a:cubicBezTo>
                      <a:pt x="187" y="154"/>
                      <a:pt x="187" y="155"/>
                      <a:pt x="187" y="155"/>
                    </a:cubicBezTo>
                    <a:cubicBezTo>
                      <a:pt x="187" y="155"/>
                      <a:pt x="187" y="156"/>
                      <a:pt x="186" y="156"/>
                    </a:cubicBezTo>
                    <a:cubicBezTo>
                      <a:pt x="186" y="156"/>
                      <a:pt x="186" y="156"/>
                      <a:pt x="186" y="156"/>
                    </a:cubicBezTo>
                    <a:cubicBezTo>
                      <a:pt x="186" y="156"/>
                      <a:pt x="186" y="156"/>
                      <a:pt x="186" y="156"/>
                    </a:cubicBezTo>
                    <a:cubicBezTo>
                      <a:pt x="186" y="156"/>
                      <a:pt x="187" y="155"/>
                      <a:pt x="187" y="155"/>
                    </a:cubicBezTo>
                    <a:cubicBezTo>
                      <a:pt x="187" y="154"/>
                      <a:pt x="187" y="153"/>
                      <a:pt x="188" y="153"/>
                    </a:cubicBezTo>
                    <a:cubicBezTo>
                      <a:pt x="188" y="153"/>
                      <a:pt x="188" y="153"/>
                      <a:pt x="188" y="153"/>
                    </a:cubicBezTo>
                    <a:cubicBezTo>
                      <a:pt x="189" y="154"/>
                      <a:pt x="187" y="152"/>
                      <a:pt x="187" y="152"/>
                    </a:cubicBezTo>
                    <a:cubicBezTo>
                      <a:pt x="187" y="152"/>
                      <a:pt x="188" y="153"/>
                      <a:pt x="189" y="153"/>
                    </a:cubicBezTo>
                    <a:cubicBezTo>
                      <a:pt x="189" y="153"/>
                      <a:pt x="188" y="152"/>
                      <a:pt x="188" y="152"/>
                    </a:cubicBezTo>
                    <a:cubicBezTo>
                      <a:pt x="187" y="152"/>
                      <a:pt x="188" y="151"/>
                      <a:pt x="187" y="150"/>
                    </a:cubicBezTo>
                    <a:cubicBezTo>
                      <a:pt x="187" y="150"/>
                      <a:pt x="186" y="150"/>
                      <a:pt x="186" y="149"/>
                    </a:cubicBezTo>
                    <a:cubicBezTo>
                      <a:pt x="186" y="149"/>
                      <a:pt x="186" y="148"/>
                      <a:pt x="186" y="148"/>
                    </a:cubicBezTo>
                    <a:cubicBezTo>
                      <a:pt x="186" y="148"/>
                      <a:pt x="185" y="147"/>
                      <a:pt x="185" y="147"/>
                    </a:cubicBezTo>
                    <a:cubicBezTo>
                      <a:pt x="185" y="147"/>
                      <a:pt x="185" y="146"/>
                      <a:pt x="185" y="146"/>
                    </a:cubicBezTo>
                    <a:cubicBezTo>
                      <a:pt x="185" y="145"/>
                      <a:pt x="185" y="145"/>
                      <a:pt x="184" y="145"/>
                    </a:cubicBezTo>
                    <a:cubicBezTo>
                      <a:pt x="184" y="144"/>
                      <a:pt x="185" y="142"/>
                      <a:pt x="184" y="141"/>
                    </a:cubicBezTo>
                    <a:cubicBezTo>
                      <a:pt x="184" y="139"/>
                      <a:pt x="182" y="138"/>
                      <a:pt x="181" y="136"/>
                    </a:cubicBezTo>
                    <a:cubicBezTo>
                      <a:pt x="181" y="135"/>
                      <a:pt x="180" y="134"/>
                      <a:pt x="179" y="133"/>
                    </a:cubicBezTo>
                    <a:cubicBezTo>
                      <a:pt x="179" y="132"/>
                      <a:pt x="179" y="131"/>
                      <a:pt x="179" y="130"/>
                    </a:cubicBezTo>
                    <a:cubicBezTo>
                      <a:pt x="178" y="129"/>
                      <a:pt x="178" y="129"/>
                      <a:pt x="178" y="127"/>
                    </a:cubicBezTo>
                    <a:cubicBezTo>
                      <a:pt x="178" y="127"/>
                      <a:pt x="178" y="126"/>
                      <a:pt x="177" y="125"/>
                    </a:cubicBezTo>
                    <a:cubicBezTo>
                      <a:pt x="177" y="125"/>
                      <a:pt x="177" y="123"/>
                      <a:pt x="177" y="123"/>
                    </a:cubicBezTo>
                    <a:cubicBezTo>
                      <a:pt x="176" y="123"/>
                      <a:pt x="176" y="123"/>
                      <a:pt x="176" y="122"/>
                    </a:cubicBezTo>
                    <a:cubicBezTo>
                      <a:pt x="176" y="121"/>
                      <a:pt x="176" y="120"/>
                      <a:pt x="176" y="119"/>
                    </a:cubicBezTo>
                    <a:cubicBezTo>
                      <a:pt x="176" y="118"/>
                      <a:pt x="176" y="118"/>
                      <a:pt x="176" y="117"/>
                    </a:cubicBezTo>
                    <a:cubicBezTo>
                      <a:pt x="176" y="117"/>
                      <a:pt x="176" y="118"/>
                      <a:pt x="176" y="119"/>
                    </a:cubicBezTo>
                    <a:cubicBezTo>
                      <a:pt x="177" y="120"/>
                      <a:pt x="177" y="121"/>
                      <a:pt x="178" y="121"/>
                    </a:cubicBezTo>
                    <a:cubicBezTo>
                      <a:pt x="178" y="122"/>
                      <a:pt x="179" y="123"/>
                      <a:pt x="178" y="123"/>
                    </a:cubicBezTo>
                    <a:cubicBezTo>
                      <a:pt x="178" y="124"/>
                      <a:pt x="177" y="125"/>
                      <a:pt x="178" y="125"/>
                    </a:cubicBezTo>
                    <a:cubicBezTo>
                      <a:pt x="178" y="125"/>
                      <a:pt x="179" y="123"/>
                      <a:pt x="179" y="122"/>
                    </a:cubicBezTo>
                    <a:cubicBezTo>
                      <a:pt x="178" y="121"/>
                      <a:pt x="178" y="121"/>
                      <a:pt x="177" y="120"/>
                    </a:cubicBezTo>
                    <a:cubicBezTo>
                      <a:pt x="177" y="119"/>
                      <a:pt x="176" y="119"/>
                      <a:pt x="176" y="118"/>
                    </a:cubicBezTo>
                    <a:cubicBezTo>
                      <a:pt x="176" y="117"/>
                      <a:pt x="176" y="116"/>
                      <a:pt x="176" y="114"/>
                    </a:cubicBezTo>
                    <a:cubicBezTo>
                      <a:pt x="176" y="113"/>
                      <a:pt x="176" y="113"/>
                      <a:pt x="176" y="112"/>
                    </a:cubicBezTo>
                    <a:cubicBezTo>
                      <a:pt x="176" y="111"/>
                      <a:pt x="176" y="111"/>
                      <a:pt x="176" y="110"/>
                    </a:cubicBezTo>
                    <a:cubicBezTo>
                      <a:pt x="176" y="110"/>
                      <a:pt x="176" y="111"/>
                      <a:pt x="176" y="111"/>
                    </a:cubicBezTo>
                    <a:cubicBezTo>
                      <a:pt x="175" y="111"/>
                      <a:pt x="176" y="110"/>
                      <a:pt x="176" y="109"/>
                    </a:cubicBezTo>
                    <a:cubicBezTo>
                      <a:pt x="177" y="109"/>
                      <a:pt x="177" y="108"/>
                      <a:pt x="177" y="108"/>
                    </a:cubicBezTo>
                    <a:cubicBezTo>
                      <a:pt x="177" y="108"/>
                      <a:pt x="177" y="107"/>
                      <a:pt x="177" y="107"/>
                    </a:cubicBezTo>
                    <a:cubicBezTo>
                      <a:pt x="177" y="108"/>
                      <a:pt x="177" y="108"/>
                      <a:pt x="177" y="108"/>
                    </a:cubicBezTo>
                    <a:cubicBezTo>
                      <a:pt x="178" y="107"/>
                      <a:pt x="178" y="106"/>
                      <a:pt x="178" y="104"/>
                    </a:cubicBezTo>
                    <a:cubicBezTo>
                      <a:pt x="178" y="104"/>
                      <a:pt x="178" y="104"/>
                      <a:pt x="178" y="103"/>
                    </a:cubicBezTo>
                    <a:cubicBezTo>
                      <a:pt x="178" y="102"/>
                      <a:pt x="179" y="100"/>
                      <a:pt x="179" y="98"/>
                    </a:cubicBezTo>
                    <a:cubicBezTo>
                      <a:pt x="179" y="98"/>
                      <a:pt x="179" y="99"/>
                      <a:pt x="179" y="99"/>
                    </a:cubicBezTo>
                    <a:cubicBezTo>
                      <a:pt x="179" y="99"/>
                      <a:pt x="179" y="98"/>
                      <a:pt x="178" y="98"/>
                    </a:cubicBezTo>
                    <a:cubicBezTo>
                      <a:pt x="179" y="98"/>
                      <a:pt x="179" y="98"/>
                      <a:pt x="179" y="97"/>
                    </a:cubicBezTo>
                    <a:cubicBezTo>
                      <a:pt x="180" y="97"/>
                      <a:pt x="180" y="97"/>
                      <a:pt x="180" y="96"/>
                    </a:cubicBezTo>
                    <a:cubicBezTo>
                      <a:pt x="180" y="95"/>
                      <a:pt x="180" y="94"/>
                      <a:pt x="180" y="93"/>
                    </a:cubicBezTo>
                    <a:cubicBezTo>
                      <a:pt x="181" y="91"/>
                      <a:pt x="182" y="88"/>
                      <a:pt x="183" y="86"/>
                    </a:cubicBezTo>
                    <a:cubicBezTo>
                      <a:pt x="184" y="84"/>
                      <a:pt x="185" y="82"/>
                      <a:pt x="187" y="80"/>
                    </a:cubicBezTo>
                    <a:cubicBezTo>
                      <a:pt x="188" y="78"/>
                      <a:pt x="189" y="76"/>
                      <a:pt x="190" y="74"/>
                    </a:cubicBezTo>
                    <a:cubicBezTo>
                      <a:pt x="189" y="74"/>
                      <a:pt x="189" y="74"/>
                      <a:pt x="189" y="74"/>
                    </a:cubicBezTo>
                    <a:cubicBezTo>
                      <a:pt x="188" y="74"/>
                      <a:pt x="188" y="74"/>
                      <a:pt x="188" y="74"/>
                    </a:cubicBezTo>
                    <a:cubicBezTo>
                      <a:pt x="188" y="74"/>
                      <a:pt x="187" y="75"/>
                      <a:pt x="187" y="75"/>
                    </a:cubicBezTo>
                    <a:cubicBezTo>
                      <a:pt x="187" y="75"/>
                      <a:pt x="187" y="75"/>
                      <a:pt x="187" y="75"/>
                    </a:cubicBezTo>
                    <a:cubicBezTo>
                      <a:pt x="186" y="75"/>
                      <a:pt x="187" y="75"/>
                      <a:pt x="187" y="75"/>
                    </a:cubicBezTo>
                    <a:cubicBezTo>
                      <a:pt x="186" y="75"/>
                      <a:pt x="186" y="75"/>
                      <a:pt x="186" y="74"/>
                    </a:cubicBezTo>
                    <a:cubicBezTo>
                      <a:pt x="186" y="74"/>
                      <a:pt x="186" y="74"/>
                      <a:pt x="185" y="74"/>
                    </a:cubicBezTo>
                    <a:cubicBezTo>
                      <a:pt x="185" y="73"/>
                      <a:pt x="183" y="73"/>
                      <a:pt x="182" y="73"/>
                    </a:cubicBezTo>
                    <a:cubicBezTo>
                      <a:pt x="182" y="73"/>
                      <a:pt x="182" y="73"/>
                      <a:pt x="181" y="73"/>
                    </a:cubicBezTo>
                    <a:cubicBezTo>
                      <a:pt x="181" y="73"/>
                      <a:pt x="181" y="73"/>
                      <a:pt x="181" y="73"/>
                    </a:cubicBezTo>
                    <a:cubicBezTo>
                      <a:pt x="180" y="73"/>
                      <a:pt x="180" y="73"/>
                      <a:pt x="179" y="72"/>
                    </a:cubicBezTo>
                    <a:cubicBezTo>
                      <a:pt x="179" y="72"/>
                      <a:pt x="178" y="71"/>
                      <a:pt x="178" y="71"/>
                    </a:cubicBezTo>
                    <a:cubicBezTo>
                      <a:pt x="177" y="71"/>
                      <a:pt x="177" y="71"/>
                      <a:pt x="177" y="71"/>
                    </a:cubicBezTo>
                    <a:cubicBezTo>
                      <a:pt x="176" y="71"/>
                      <a:pt x="176" y="71"/>
                      <a:pt x="175" y="70"/>
                    </a:cubicBezTo>
                    <a:cubicBezTo>
                      <a:pt x="175" y="69"/>
                      <a:pt x="175" y="70"/>
                      <a:pt x="174" y="69"/>
                    </a:cubicBezTo>
                    <a:cubicBezTo>
                      <a:pt x="174" y="69"/>
                      <a:pt x="173" y="69"/>
                      <a:pt x="173" y="69"/>
                    </a:cubicBezTo>
                    <a:cubicBezTo>
                      <a:pt x="172" y="69"/>
                      <a:pt x="173" y="68"/>
                      <a:pt x="173" y="68"/>
                    </a:cubicBezTo>
                    <a:cubicBezTo>
                      <a:pt x="173" y="68"/>
                      <a:pt x="172" y="68"/>
                      <a:pt x="172" y="67"/>
                    </a:cubicBezTo>
                    <a:cubicBezTo>
                      <a:pt x="172" y="67"/>
                      <a:pt x="172" y="67"/>
                      <a:pt x="172" y="66"/>
                    </a:cubicBezTo>
                    <a:cubicBezTo>
                      <a:pt x="172" y="66"/>
                      <a:pt x="172" y="65"/>
                      <a:pt x="172" y="64"/>
                    </a:cubicBezTo>
                    <a:cubicBezTo>
                      <a:pt x="172" y="63"/>
                      <a:pt x="171" y="63"/>
                      <a:pt x="171" y="62"/>
                    </a:cubicBezTo>
                    <a:cubicBezTo>
                      <a:pt x="171" y="61"/>
                      <a:pt x="171" y="61"/>
                      <a:pt x="171" y="60"/>
                    </a:cubicBezTo>
                    <a:cubicBezTo>
                      <a:pt x="171" y="60"/>
                      <a:pt x="171" y="59"/>
                      <a:pt x="171" y="59"/>
                    </a:cubicBezTo>
                    <a:cubicBezTo>
                      <a:pt x="171" y="59"/>
                      <a:pt x="171" y="59"/>
                      <a:pt x="171" y="58"/>
                    </a:cubicBezTo>
                    <a:cubicBezTo>
                      <a:pt x="171" y="58"/>
                      <a:pt x="172" y="58"/>
                      <a:pt x="172" y="57"/>
                    </a:cubicBezTo>
                    <a:cubicBezTo>
                      <a:pt x="172" y="57"/>
                      <a:pt x="171" y="57"/>
                      <a:pt x="171" y="57"/>
                    </a:cubicBezTo>
                    <a:cubicBezTo>
                      <a:pt x="172" y="56"/>
                      <a:pt x="171" y="56"/>
                      <a:pt x="171" y="56"/>
                    </a:cubicBezTo>
                    <a:cubicBezTo>
                      <a:pt x="171" y="55"/>
                      <a:pt x="170" y="55"/>
                      <a:pt x="170" y="55"/>
                    </a:cubicBezTo>
                    <a:cubicBezTo>
                      <a:pt x="170" y="55"/>
                      <a:pt x="170" y="54"/>
                      <a:pt x="169" y="54"/>
                    </a:cubicBezTo>
                    <a:cubicBezTo>
                      <a:pt x="169" y="54"/>
                      <a:pt x="169" y="53"/>
                      <a:pt x="169" y="53"/>
                    </a:cubicBezTo>
                    <a:cubicBezTo>
                      <a:pt x="169" y="53"/>
                      <a:pt x="169" y="52"/>
                      <a:pt x="169" y="52"/>
                    </a:cubicBezTo>
                    <a:cubicBezTo>
                      <a:pt x="168" y="51"/>
                      <a:pt x="168" y="51"/>
                      <a:pt x="168" y="50"/>
                    </a:cubicBezTo>
                    <a:cubicBezTo>
                      <a:pt x="168" y="50"/>
                      <a:pt x="168" y="50"/>
                      <a:pt x="167" y="49"/>
                    </a:cubicBezTo>
                    <a:cubicBezTo>
                      <a:pt x="167" y="49"/>
                      <a:pt x="167" y="49"/>
                      <a:pt x="167" y="49"/>
                    </a:cubicBezTo>
                    <a:cubicBezTo>
                      <a:pt x="166" y="48"/>
                      <a:pt x="166" y="48"/>
                      <a:pt x="166" y="47"/>
                    </a:cubicBezTo>
                    <a:cubicBezTo>
                      <a:pt x="166" y="47"/>
                      <a:pt x="167" y="46"/>
                      <a:pt x="166" y="46"/>
                    </a:cubicBezTo>
                    <a:cubicBezTo>
                      <a:pt x="166" y="45"/>
                      <a:pt x="166" y="45"/>
                      <a:pt x="166" y="45"/>
                    </a:cubicBezTo>
                    <a:cubicBezTo>
                      <a:pt x="166" y="44"/>
                      <a:pt x="166" y="44"/>
                      <a:pt x="166" y="43"/>
                    </a:cubicBezTo>
                    <a:cubicBezTo>
                      <a:pt x="166" y="42"/>
                      <a:pt x="165" y="42"/>
                      <a:pt x="165" y="41"/>
                    </a:cubicBezTo>
                    <a:cubicBezTo>
                      <a:pt x="165" y="41"/>
                      <a:pt x="166" y="40"/>
                      <a:pt x="165" y="39"/>
                    </a:cubicBezTo>
                    <a:cubicBezTo>
                      <a:pt x="164" y="39"/>
                      <a:pt x="165" y="38"/>
                      <a:pt x="164" y="38"/>
                    </a:cubicBezTo>
                    <a:cubicBezTo>
                      <a:pt x="164" y="37"/>
                      <a:pt x="164" y="37"/>
                      <a:pt x="163" y="37"/>
                    </a:cubicBezTo>
                    <a:cubicBezTo>
                      <a:pt x="163" y="36"/>
                      <a:pt x="163" y="35"/>
                      <a:pt x="163" y="35"/>
                    </a:cubicBezTo>
                    <a:cubicBezTo>
                      <a:pt x="162" y="35"/>
                      <a:pt x="161" y="35"/>
                      <a:pt x="161" y="34"/>
                    </a:cubicBezTo>
                    <a:cubicBezTo>
                      <a:pt x="162" y="34"/>
                      <a:pt x="161" y="34"/>
                      <a:pt x="161" y="34"/>
                    </a:cubicBezTo>
                    <a:cubicBezTo>
                      <a:pt x="161" y="34"/>
                      <a:pt x="161" y="34"/>
                      <a:pt x="161" y="33"/>
                    </a:cubicBezTo>
                    <a:cubicBezTo>
                      <a:pt x="161" y="33"/>
                      <a:pt x="161" y="33"/>
                      <a:pt x="161" y="33"/>
                    </a:cubicBezTo>
                    <a:cubicBezTo>
                      <a:pt x="160" y="33"/>
                      <a:pt x="160" y="32"/>
                      <a:pt x="160" y="32"/>
                    </a:cubicBezTo>
                    <a:cubicBezTo>
                      <a:pt x="160" y="32"/>
                      <a:pt x="160" y="32"/>
                      <a:pt x="160" y="32"/>
                    </a:cubicBezTo>
                    <a:cubicBezTo>
                      <a:pt x="159" y="32"/>
                      <a:pt x="159" y="32"/>
                      <a:pt x="159" y="32"/>
                    </a:cubicBezTo>
                    <a:cubicBezTo>
                      <a:pt x="159" y="32"/>
                      <a:pt x="159" y="32"/>
                      <a:pt x="159" y="32"/>
                    </a:cubicBezTo>
                    <a:cubicBezTo>
                      <a:pt x="159" y="32"/>
                      <a:pt x="158" y="32"/>
                      <a:pt x="158" y="32"/>
                    </a:cubicBezTo>
                    <a:cubicBezTo>
                      <a:pt x="157" y="32"/>
                      <a:pt x="156" y="32"/>
                      <a:pt x="155" y="32"/>
                    </a:cubicBezTo>
                    <a:cubicBezTo>
                      <a:pt x="155" y="32"/>
                      <a:pt x="154" y="32"/>
                      <a:pt x="153" y="31"/>
                    </a:cubicBezTo>
                    <a:cubicBezTo>
                      <a:pt x="153" y="31"/>
                      <a:pt x="152" y="31"/>
                      <a:pt x="152" y="31"/>
                    </a:cubicBezTo>
                    <a:cubicBezTo>
                      <a:pt x="152" y="31"/>
                      <a:pt x="152" y="32"/>
                      <a:pt x="151" y="32"/>
                    </a:cubicBezTo>
                    <a:cubicBezTo>
                      <a:pt x="151" y="32"/>
                      <a:pt x="151" y="32"/>
                      <a:pt x="150" y="32"/>
                    </a:cubicBezTo>
                    <a:cubicBezTo>
                      <a:pt x="149" y="32"/>
                      <a:pt x="149" y="32"/>
                      <a:pt x="148" y="33"/>
                    </a:cubicBezTo>
                    <a:cubicBezTo>
                      <a:pt x="148" y="33"/>
                      <a:pt x="148" y="33"/>
                      <a:pt x="147" y="34"/>
                    </a:cubicBezTo>
                    <a:cubicBezTo>
                      <a:pt x="147" y="35"/>
                      <a:pt x="147" y="35"/>
                      <a:pt x="146" y="36"/>
                    </a:cubicBezTo>
                    <a:cubicBezTo>
                      <a:pt x="146" y="37"/>
                      <a:pt x="145" y="37"/>
                      <a:pt x="145" y="38"/>
                    </a:cubicBezTo>
                    <a:cubicBezTo>
                      <a:pt x="145" y="38"/>
                      <a:pt x="145" y="38"/>
                      <a:pt x="145" y="38"/>
                    </a:cubicBezTo>
                    <a:cubicBezTo>
                      <a:pt x="145" y="38"/>
                      <a:pt x="144" y="38"/>
                      <a:pt x="144" y="38"/>
                    </a:cubicBezTo>
                    <a:cubicBezTo>
                      <a:pt x="144" y="39"/>
                      <a:pt x="143" y="39"/>
                      <a:pt x="143" y="39"/>
                    </a:cubicBezTo>
                    <a:cubicBezTo>
                      <a:pt x="143" y="40"/>
                      <a:pt x="143" y="40"/>
                      <a:pt x="142" y="40"/>
                    </a:cubicBezTo>
                    <a:cubicBezTo>
                      <a:pt x="142" y="40"/>
                      <a:pt x="142" y="40"/>
                      <a:pt x="142" y="41"/>
                    </a:cubicBezTo>
                    <a:cubicBezTo>
                      <a:pt x="141" y="41"/>
                      <a:pt x="141" y="41"/>
                      <a:pt x="141" y="41"/>
                    </a:cubicBezTo>
                    <a:cubicBezTo>
                      <a:pt x="141" y="41"/>
                      <a:pt x="140" y="40"/>
                      <a:pt x="140" y="40"/>
                    </a:cubicBezTo>
                    <a:cubicBezTo>
                      <a:pt x="140" y="40"/>
                      <a:pt x="140" y="40"/>
                      <a:pt x="140" y="40"/>
                    </a:cubicBezTo>
                    <a:cubicBezTo>
                      <a:pt x="139" y="40"/>
                      <a:pt x="139" y="39"/>
                      <a:pt x="139" y="39"/>
                    </a:cubicBezTo>
                    <a:cubicBezTo>
                      <a:pt x="138" y="39"/>
                      <a:pt x="137" y="39"/>
                      <a:pt x="137" y="38"/>
                    </a:cubicBezTo>
                    <a:cubicBezTo>
                      <a:pt x="137" y="38"/>
                      <a:pt x="137" y="38"/>
                      <a:pt x="136" y="37"/>
                    </a:cubicBezTo>
                    <a:cubicBezTo>
                      <a:pt x="135" y="37"/>
                      <a:pt x="134" y="37"/>
                      <a:pt x="133" y="36"/>
                    </a:cubicBezTo>
                    <a:cubicBezTo>
                      <a:pt x="133" y="35"/>
                      <a:pt x="132" y="35"/>
                      <a:pt x="132" y="34"/>
                    </a:cubicBezTo>
                    <a:cubicBezTo>
                      <a:pt x="131" y="34"/>
                      <a:pt x="131" y="33"/>
                      <a:pt x="131" y="33"/>
                    </a:cubicBezTo>
                    <a:cubicBezTo>
                      <a:pt x="131" y="31"/>
                      <a:pt x="130" y="30"/>
                      <a:pt x="131" y="28"/>
                    </a:cubicBezTo>
                    <a:cubicBezTo>
                      <a:pt x="132" y="27"/>
                      <a:pt x="130" y="26"/>
                      <a:pt x="131" y="24"/>
                    </a:cubicBezTo>
                    <a:cubicBezTo>
                      <a:pt x="131" y="24"/>
                      <a:pt x="131" y="23"/>
                      <a:pt x="130" y="23"/>
                    </a:cubicBezTo>
                    <a:cubicBezTo>
                      <a:pt x="130" y="23"/>
                      <a:pt x="130" y="22"/>
                      <a:pt x="130" y="22"/>
                    </a:cubicBezTo>
                    <a:cubicBezTo>
                      <a:pt x="129" y="22"/>
                      <a:pt x="129" y="21"/>
                      <a:pt x="128" y="21"/>
                    </a:cubicBezTo>
                    <a:cubicBezTo>
                      <a:pt x="128" y="20"/>
                      <a:pt x="127" y="20"/>
                      <a:pt x="127" y="20"/>
                    </a:cubicBezTo>
                    <a:cubicBezTo>
                      <a:pt x="126" y="19"/>
                      <a:pt x="126" y="18"/>
                      <a:pt x="126" y="18"/>
                    </a:cubicBezTo>
                    <a:cubicBezTo>
                      <a:pt x="126" y="17"/>
                      <a:pt x="125" y="17"/>
                      <a:pt x="125" y="16"/>
                    </a:cubicBezTo>
                    <a:cubicBezTo>
                      <a:pt x="124" y="16"/>
                      <a:pt x="124" y="15"/>
                      <a:pt x="123" y="14"/>
                    </a:cubicBezTo>
                    <a:cubicBezTo>
                      <a:pt x="122" y="14"/>
                      <a:pt x="122" y="14"/>
                      <a:pt x="122" y="13"/>
                    </a:cubicBezTo>
                    <a:cubicBezTo>
                      <a:pt x="121" y="12"/>
                      <a:pt x="121" y="12"/>
                      <a:pt x="121" y="11"/>
                    </a:cubicBezTo>
                    <a:cubicBezTo>
                      <a:pt x="121" y="10"/>
                      <a:pt x="121" y="10"/>
                      <a:pt x="120" y="10"/>
                    </a:cubicBezTo>
                    <a:cubicBezTo>
                      <a:pt x="120" y="10"/>
                      <a:pt x="120" y="10"/>
                      <a:pt x="120" y="10"/>
                    </a:cubicBezTo>
                    <a:cubicBezTo>
                      <a:pt x="120" y="10"/>
                      <a:pt x="119" y="10"/>
                      <a:pt x="119" y="10"/>
                    </a:cubicBezTo>
                    <a:cubicBezTo>
                      <a:pt x="119" y="10"/>
                      <a:pt x="118" y="10"/>
                      <a:pt x="118" y="10"/>
                    </a:cubicBezTo>
                    <a:cubicBezTo>
                      <a:pt x="117" y="10"/>
                      <a:pt x="116" y="10"/>
                      <a:pt x="115" y="10"/>
                    </a:cubicBezTo>
                    <a:cubicBezTo>
                      <a:pt x="113" y="10"/>
                      <a:pt x="111" y="10"/>
                      <a:pt x="109" y="10"/>
                    </a:cubicBezTo>
                    <a:cubicBezTo>
                      <a:pt x="107" y="10"/>
                      <a:pt x="106" y="10"/>
                      <a:pt x="105" y="10"/>
                    </a:cubicBezTo>
                    <a:cubicBezTo>
                      <a:pt x="104" y="10"/>
                      <a:pt x="104" y="10"/>
                      <a:pt x="104" y="11"/>
                    </a:cubicBezTo>
                    <a:cubicBezTo>
                      <a:pt x="104" y="12"/>
                      <a:pt x="104" y="12"/>
                      <a:pt x="103" y="13"/>
                    </a:cubicBezTo>
                    <a:cubicBezTo>
                      <a:pt x="103" y="14"/>
                      <a:pt x="103" y="15"/>
                      <a:pt x="102" y="15"/>
                    </a:cubicBezTo>
                    <a:cubicBezTo>
                      <a:pt x="101" y="15"/>
                      <a:pt x="100" y="15"/>
                      <a:pt x="98" y="15"/>
                    </a:cubicBezTo>
                    <a:cubicBezTo>
                      <a:pt x="96" y="15"/>
                      <a:pt x="95" y="15"/>
                      <a:pt x="93" y="15"/>
                    </a:cubicBezTo>
                    <a:cubicBezTo>
                      <a:pt x="89" y="15"/>
                      <a:pt x="85" y="15"/>
                      <a:pt x="80" y="15"/>
                    </a:cubicBezTo>
                    <a:cubicBezTo>
                      <a:pt x="78" y="15"/>
                      <a:pt x="76" y="15"/>
                      <a:pt x="74" y="14"/>
                    </a:cubicBezTo>
                    <a:cubicBezTo>
                      <a:pt x="73" y="13"/>
                      <a:pt x="71" y="12"/>
                      <a:pt x="69" y="12"/>
                    </a:cubicBezTo>
                    <a:cubicBezTo>
                      <a:pt x="61" y="8"/>
                      <a:pt x="54" y="5"/>
                      <a:pt x="46" y="2"/>
                    </a:cubicBezTo>
                    <a:cubicBezTo>
                      <a:pt x="46" y="2"/>
                      <a:pt x="47" y="1"/>
                      <a:pt x="47" y="1"/>
                    </a:cubicBezTo>
                    <a:cubicBezTo>
                      <a:pt x="47" y="0"/>
                      <a:pt x="48" y="0"/>
                      <a:pt x="48" y="0"/>
                    </a:cubicBezTo>
                    <a:cubicBezTo>
                      <a:pt x="42" y="0"/>
                      <a:pt x="36" y="1"/>
                      <a:pt x="30" y="1"/>
                    </a:cubicBezTo>
                    <a:cubicBezTo>
                      <a:pt x="29" y="1"/>
                      <a:pt x="28" y="1"/>
                      <a:pt x="27" y="1"/>
                    </a:cubicBezTo>
                    <a:cubicBezTo>
                      <a:pt x="26" y="1"/>
                      <a:pt x="25" y="1"/>
                      <a:pt x="25" y="2"/>
                    </a:cubicBezTo>
                    <a:cubicBezTo>
                      <a:pt x="25" y="3"/>
                      <a:pt x="25" y="4"/>
                      <a:pt x="25" y="4"/>
                    </a:cubicBezTo>
                    <a:cubicBezTo>
                      <a:pt x="25" y="5"/>
                      <a:pt x="25" y="5"/>
                      <a:pt x="26" y="5"/>
                    </a:cubicBezTo>
                    <a:cubicBezTo>
                      <a:pt x="26" y="6"/>
                      <a:pt x="25" y="7"/>
                      <a:pt x="25" y="8"/>
                    </a:cubicBezTo>
                    <a:cubicBezTo>
                      <a:pt x="26" y="8"/>
                      <a:pt x="26" y="8"/>
                      <a:pt x="26" y="8"/>
                    </a:cubicBezTo>
                    <a:cubicBezTo>
                      <a:pt x="26" y="8"/>
                      <a:pt x="27" y="9"/>
                      <a:pt x="27" y="9"/>
                    </a:cubicBezTo>
                    <a:cubicBezTo>
                      <a:pt x="27" y="10"/>
                      <a:pt x="26" y="11"/>
                      <a:pt x="25" y="10"/>
                    </a:cubicBezTo>
                    <a:cubicBezTo>
                      <a:pt x="26" y="11"/>
                      <a:pt x="26" y="11"/>
                      <a:pt x="25" y="12"/>
                    </a:cubicBezTo>
                    <a:cubicBezTo>
                      <a:pt x="25" y="12"/>
                      <a:pt x="25" y="12"/>
                      <a:pt x="25" y="13"/>
                    </a:cubicBezTo>
                    <a:cubicBezTo>
                      <a:pt x="25" y="14"/>
                      <a:pt x="26" y="14"/>
                      <a:pt x="26" y="15"/>
                    </a:cubicBezTo>
                    <a:cubicBezTo>
                      <a:pt x="27" y="16"/>
                      <a:pt x="27" y="17"/>
                      <a:pt x="26" y="18"/>
                    </a:cubicBezTo>
                    <a:cubicBezTo>
                      <a:pt x="26" y="18"/>
                      <a:pt x="26" y="19"/>
                      <a:pt x="26" y="19"/>
                    </a:cubicBezTo>
                    <a:cubicBezTo>
                      <a:pt x="27" y="19"/>
                      <a:pt x="27" y="20"/>
                      <a:pt x="27" y="20"/>
                    </a:cubicBezTo>
                    <a:cubicBezTo>
                      <a:pt x="27" y="20"/>
                      <a:pt x="28" y="20"/>
                      <a:pt x="28" y="21"/>
                    </a:cubicBezTo>
                    <a:cubicBezTo>
                      <a:pt x="28" y="22"/>
                      <a:pt x="27" y="22"/>
                      <a:pt x="27" y="23"/>
                    </a:cubicBezTo>
                    <a:cubicBezTo>
                      <a:pt x="27" y="23"/>
                      <a:pt x="26" y="25"/>
                      <a:pt x="27" y="25"/>
                    </a:cubicBezTo>
                    <a:cubicBezTo>
                      <a:pt x="26" y="25"/>
                      <a:pt x="27" y="24"/>
                      <a:pt x="27" y="24"/>
                    </a:cubicBezTo>
                    <a:cubicBezTo>
                      <a:pt x="28" y="25"/>
                      <a:pt x="27" y="25"/>
                      <a:pt x="27" y="25"/>
                    </a:cubicBezTo>
                    <a:cubicBezTo>
                      <a:pt x="28" y="25"/>
                      <a:pt x="28" y="27"/>
                      <a:pt x="28" y="28"/>
                    </a:cubicBezTo>
                    <a:cubicBezTo>
                      <a:pt x="27" y="29"/>
                      <a:pt x="27" y="29"/>
                      <a:pt x="27" y="30"/>
                    </a:cubicBezTo>
                    <a:cubicBezTo>
                      <a:pt x="27" y="30"/>
                      <a:pt x="27" y="30"/>
                      <a:pt x="27" y="30"/>
                    </a:cubicBezTo>
                    <a:cubicBezTo>
                      <a:pt x="28" y="31"/>
                      <a:pt x="28" y="31"/>
                      <a:pt x="27" y="31"/>
                    </a:cubicBezTo>
                    <a:cubicBezTo>
                      <a:pt x="27" y="32"/>
                      <a:pt x="27" y="32"/>
                      <a:pt x="28" y="33"/>
                    </a:cubicBezTo>
                    <a:cubicBezTo>
                      <a:pt x="28" y="33"/>
                      <a:pt x="28" y="33"/>
                      <a:pt x="28" y="33"/>
                    </a:cubicBezTo>
                    <a:cubicBezTo>
                      <a:pt x="28" y="34"/>
                      <a:pt x="29" y="34"/>
                      <a:pt x="29" y="34"/>
                    </a:cubicBezTo>
                    <a:cubicBezTo>
                      <a:pt x="29" y="34"/>
                      <a:pt x="29" y="34"/>
                      <a:pt x="29" y="34"/>
                    </a:cubicBezTo>
                    <a:cubicBezTo>
                      <a:pt x="30" y="35"/>
                      <a:pt x="30" y="35"/>
                      <a:pt x="30" y="35"/>
                    </a:cubicBezTo>
                    <a:cubicBezTo>
                      <a:pt x="31" y="36"/>
                      <a:pt x="31" y="36"/>
                      <a:pt x="32" y="36"/>
                    </a:cubicBezTo>
                    <a:cubicBezTo>
                      <a:pt x="32" y="36"/>
                      <a:pt x="33" y="36"/>
                      <a:pt x="33" y="37"/>
                    </a:cubicBezTo>
                    <a:cubicBezTo>
                      <a:pt x="33" y="37"/>
                      <a:pt x="33" y="38"/>
                      <a:pt x="34" y="38"/>
                    </a:cubicBezTo>
                    <a:cubicBezTo>
                      <a:pt x="34" y="39"/>
                      <a:pt x="34" y="39"/>
                      <a:pt x="34" y="39"/>
                    </a:cubicBezTo>
                    <a:cubicBezTo>
                      <a:pt x="35" y="40"/>
                      <a:pt x="35" y="39"/>
                      <a:pt x="35" y="40"/>
                    </a:cubicBezTo>
                    <a:cubicBezTo>
                      <a:pt x="35" y="40"/>
                      <a:pt x="35" y="40"/>
                      <a:pt x="35" y="40"/>
                    </a:cubicBezTo>
                    <a:cubicBezTo>
                      <a:pt x="35" y="41"/>
                      <a:pt x="35" y="41"/>
                      <a:pt x="35" y="41"/>
                    </a:cubicBezTo>
                    <a:cubicBezTo>
                      <a:pt x="35" y="41"/>
                      <a:pt x="36" y="42"/>
                      <a:pt x="36" y="42"/>
                    </a:cubicBezTo>
                    <a:cubicBezTo>
                      <a:pt x="36" y="42"/>
                      <a:pt x="36" y="43"/>
                      <a:pt x="36" y="43"/>
                    </a:cubicBezTo>
                    <a:cubicBezTo>
                      <a:pt x="36" y="44"/>
                      <a:pt x="37" y="44"/>
                      <a:pt x="37" y="44"/>
                    </a:cubicBezTo>
                    <a:cubicBezTo>
                      <a:pt x="37" y="44"/>
                      <a:pt x="38" y="45"/>
                      <a:pt x="38" y="45"/>
                    </a:cubicBezTo>
                    <a:cubicBezTo>
                      <a:pt x="37" y="46"/>
                      <a:pt x="38" y="45"/>
                      <a:pt x="38" y="46"/>
                    </a:cubicBezTo>
                    <a:cubicBezTo>
                      <a:pt x="38" y="46"/>
                      <a:pt x="38" y="47"/>
                      <a:pt x="38" y="47"/>
                    </a:cubicBezTo>
                    <a:cubicBezTo>
                      <a:pt x="37" y="48"/>
                      <a:pt x="37" y="48"/>
                      <a:pt x="37" y="49"/>
                    </a:cubicBezTo>
                    <a:cubicBezTo>
                      <a:pt x="37" y="49"/>
                      <a:pt x="37" y="49"/>
                      <a:pt x="37" y="49"/>
                    </a:cubicBezTo>
                    <a:cubicBezTo>
                      <a:pt x="37" y="50"/>
                      <a:pt x="35" y="51"/>
                      <a:pt x="35" y="52"/>
                    </a:cubicBezTo>
                    <a:cubicBezTo>
                      <a:pt x="33" y="53"/>
                      <a:pt x="35" y="52"/>
                      <a:pt x="35" y="52"/>
                    </a:cubicBezTo>
                    <a:cubicBezTo>
                      <a:pt x="35" y="53"/>
                      <a:pt x="35" y="54"/>
                      <a:pt x="35" y="55"/>
                    </a:cubicBezTo>
                    <a:cubicBezTo>
                      <a:pt x="35" y="55"/>
                      <a:pt x="35" y="55"/>
                      <a:pt x="36" y="55"/>
                    </a:cubicBezTo>
                    <a:cubicBezTo>
                      <a:pt x="36" y="54"/>
                      <a:pt x="36" y="54"/>
                      <a:pt x="36" y="54"/>
                    </a:cubicBezTo>
                    <a:cubicBezTo>
                      <a:pt x="36" y="54"/>
                      <a:pt x="36" y="54"/>
                      <a:pt x="36" y="54"/>
                    </a:cubicBezTo>
                    <a:cubicBezTo>
                      <a:pt x="37" y="53"/>
                      <a:pt x="37" y="53"/>
                      <a:pt x="37" y="53"/>
                    </a:cubicBezTo>
                    <a:cubicBezTo>
                      <a:pt x="36" y="53"/>
                      <a:pt x="36" y="53"/>
                      <a:pt x="36" y="53"/>
                    </a:cubicBezTo>
                    <a:cubicBezTo>
                      <a:pt x="36" y="53"/>
                      <a:pt x="36" y="52"/>
                      <a:pt x="36" y="52"/>
                    </a:cubicBezTo>
                    <a:cubicBezTo>
                      <a:pt x="37" y="53"/>
                      <a:pt x="36" y="53"/>
                      <a:pt x="37" y="53"/>
                    </a:cubicBezTo>
                    <a:cubicBezTo>
                      <a:pt x="37" y="53"/>
                      <a:pt x="37" y="53"/>
                      <a:pt x="37" y="54"/>
                    </a:cubicBezTo>
                    <a:cubicBezTo>
                      <a:pt x="38" y="54"/>
                      <a:pt x="37" y="55"/>
                      <a:pt x="37" y="55"/>
                    </a:cubicBezTo>
                    <a:cubicBezTo>
                      <a:pt x="37" y="56"/>
                      <a:pt x="37" y="56"/>
                      <a:pt x="37" y="56"/>
                    </a:cubicBezTo>
                    <a:cubicBezTo>
                      <a:pt x="37" y="57"/>
                      <a:pt x="37" y="56"/>
                      <a:pt x="37" y="56"/>
                    </a:cubicBezTo>
                    <a:cubicBezTo>
                      <a:pt x="37" y="57"/>
                      <a:pt x="37" y="57"/>
                      <a:pt x="36" y="57"/>
                    </a:cubicBezTo>
                    <a:cubicBezTo>
                      <a:pt x="36" y="57"/>
                      <a:pt x="36" y="57"/>
                      <a:pt x="36" y="57"/>
                    </a:cubicBezTo>
                    <a:cubicBezTo>
                      <a:pt x="36" y="57"/>
                      <a:pt x="37" y="57"/>
                      <a:pt x="37" y="57"/>
                    </a:cubicBezTo>
                    <a:cubicBezTo>
                      <a:pt x="36" y="56"/>
                      <a:pt x="36" y="56"/>
                      <a:pt x="36" y="56"/>
                    </a:cubicBezTo>
                    <a:cubicBezTo>
                      <a:pt x="36" y="56"/>
                      <a:pt x="36" y="56"/>
                      <a:pt x="36" y="56"/>
                    </a:cubicBezTo>
                    <a:cubicBezTo>
                      <a:pt x="36" y="55"/>
                      <a:pt x="36" y="55"/>
                      <a:pt x="35" y="55"/>
                    </a:cubicBezTo>
                    <a:cubicBezTo>
                      <a:pt x="35" y="55"/>
                      <a:pt x="35" y="56"/>
                      <a:pt x="35" y="55"/>
                    </a:cubicBezTo>
                    <a:cubicBezTo>
                      <a:pt x="34" y="55"/>
                      <a:pt x="33" y="55"/>
                      <a:pt x="34" y="54"/>
                    </a:cubicBezTo>
                    <a:cubicBezTo>
                      <a:pt x="34" y="53"/>
                      <a:pt x="32" y="54"/>
                      <a:pt x="32" y="54"/>
                    </a:cubicBezTo>
                    <a:cubicBezTo>
                      <a:pt x="31" y="54"/>
                      <a:pt x="30" y="54"/>
                      <a:pt x="29" y="54"/>
                    </a:cubicBezTo>
                    <a:cubicBezTo>
                      <a:pt x="28" y="54"/>
                      <a:pt x="27" y="54"/>
                      <a:pt x="27" y="53"/>
                    </a:cubicBezTo>
                    <a:cubicBezTo>
                      <a:pt x="26" y="53"/>
                      <a:pt x="27" y="55"/>
                      <a:pt x="27" y="55"/>
                    </a:cubicBezTo>
                    <a:cubicBezTo>
                      <a:pt x="27" y="55"/>
                      <a:pt x="27" y="55"/>
                      <a:pt x="27" y="55"/>
                    </a:cubicBezTo>
                    <a:cubicBezTo>
                      <a:pt x="27" y="55"/>
                      <a:pt x="28" y="55"/>
                      <a:pt x="28" y="55"/>
                    </a:cubicBezTo>
                    <a:cubicBezTo>
                      <a:pt x="28" y="55"/>
                      <a:pt x="27" y="56"/>
                      <a:pt x="28" y="56"/>
                    </a:cubicBezTo>
                    <a:cubicBezTo>
                      <a:pt x="28" y="56"/>
                      <a:pt x="28" y="56"/>
                      <a:pt x="28" y="56"/>
                    </a:cubicBezTo>
                    <a:cubicBezTo>
                      <a:pt x="29" y="57"/>
                      <a:pt x="30" y="57"/>
                      <a:pt x="30" y="58"/>
                    </a:cubicBezTo>
                    <a:cubicBezTo>
                      <a:pt x="31" y="59"/>
                      <a:pt x="30" y="59"/>
                      <a:pt x="30" y="60"/>
                    </a:cubicBezTo>
                    <a:cubicBezTo>
                      <a:pt x="30" y="60"/>
                      <a:pt x="30" y="60"/>
                      <a:pt x="30" y="60"/>
                    </a:cubicBezTo>
                    <a:cubicBezTo>
                      <a:pt x="30" y="60"/>
                      <a:pt x="30" y="60"/>
                      <a:pt x="30" y="60"/>
                    </a:cubicBezTo>
                    <a:cubicBezTo>
                      <a:pt x="31" y="61"/>
                      <a:pt x="33" y="60"/>
                      <a:pt x="33" y="62"/>
                    </a:cubicBezTo>
                    <a:cubicBezTo>
                      <a:pt x="33" y="62"/>
                      <a:pt x="33" y="63"/>
                      <a:pt x="34" y="63"/>
                    </a:cubicBezTo>
                    <a:cubicBezTo>
                      <a:pt x="34" y="63"/>
                      <a:pt x="35" y="63"/>
                      <a:pt x="35" y="63"/>
                    </a:cubicBezTo>
                    <a:cubicBezTo>
                      <a:pt x="36" y="64"/>
                      <a:pt x="36" y="66"/>
                      <a:pt x="37" y="66"/>
                    </a:cubicBezTo>
                    <a:cubicBezTo>
                      <a:pt x="37" y="66"/>
                      <a:pt x="38" y="65"/>
                      <a:pt x="38" y="65"/>
                    </a:cubicBezTo>
                    <a:cubicBezTo>
                      <a:pt x="39" y="65"/>
                      <a:pt x="39" y="65"/>
                      <a:pt x="40" y="65"/>
                    </a:cubicBezTo>
                    <a:cubicBezTo>
                      <a:pt x="40" y="65"/>
                      <a:pt x="41" y="63"/>
                      <a:pt x="42" y="63"/>
                    </a:cubicBezTo>
                    <a:cubicBezTo>
                      <a:pt x="42" y="63"/>
                      <a:pt x="41" y="64"/>
                      <a:pt x="41" y="65"/>
                    </a:cubicBezTo>
                    <a:cubicBezTo>
                      <a:pt x="41" y="65"/>
                      <a:pt x="40" y="65"/>
                      <a:pt x="41" y="65"/>
                    </a:cubicBezTo>
                    <a:cubicBezTo>
                      <a:pt x="41" y="65"/>
                      <a:pt x="41" y="65"/>
                      <a:pt x="41" y="65"/>
                    </a:cubicBezTo>
                    <a:cubicBezTo>
                      <a:pt x="41" y="65"/>
                      <a:pt x="41" y="66"/>
                      <a:pt x="41" y="66"/>
                    </a:cubicBezTo>
                    <a:cubicBezTo>
                      <a:pt x="42" y="67"/>
                      <a:pt x="41" y="67"/>
                      <a:pt x="42" y="68"/>
                    </a:cubicBezTo>
                    <a:cubicBezTo>
                      <a:pt x="43" y="68"/>
                      <a:pt x="43" y="69"/>
                      <a:pt x="44" y="70"/>
                    </a:cubicBezTo>
                    <a:cubicBezTo>
                      <a:pt x="44" y="70"/>
                      <a:pt x="45" y="70"/>
                      <a:pt x="45" y="71"/>
                    </a:cubicBezTo>
                    <a:cubicBezTo>
                      <a:pt x="46" y="71"/>
                      <a:pt x="46" y="70"/>
                      <a:pt x="46" y="71"/>
                    </a:cubicBezTo>
                    <a:cubicBezTo>
                      <a:pt x="47" y="71"/>
                      <a:pt x="47" y="72"/>
                      <a:pt x="47" y="72"/>
                    </a:cubicBezTo>
                    <a:cubicBezTo>
                      <a:pt x="47" y="73"/>
                      <a:pt x="48" y="74"/>
                      <a:pt x="48" y="75"/>
                    </a:cubicBezTo>
                    <a:cubicBezTo>
                      <a:pt x="48" y="75"/>
                      <a:pt x="48" y="76"/>
                      <a:pt x="48" y="77"/>
                    </a:cubicBezTo>
                    <a:cubicBezTo>
                      <a:pt x="48" y="77"/>
                      <a:pt x="48" y="76"/>
                      <a:pt x="48" y="76"/>
                    </a:cubicBezTo>
                    <a:cubicBezTo>
                      <a:pt x="48" y="77"/>
                      <a:pt x="48" y="78"/>
                      <a:pt x="48" y="79"/>
                    </a:cubicBezTo>
                    <a:cubicBezTo>
                      <a:pt x="47" y="80"/>
                      <a:pt x="47" y="81"/>
                      <a:pt x="47" y="82"/>
                    </a:cubicBezTo>
                    <a:cubicBezTo>
                      <a:pt x="47" y="82"/>
                      <a:pt x="46" y="83"/>
                      <a:pt x="46" y="83"/>
                    </a:cubicBezTo>
                    <a:cubicBezTo>
                      <a:pt x="46" y="83"/>
                      <a:pt x="46" y="84"/>
                      <a:pt x="46" y="84"/>
                    </a:cubicBezTo>
                    <a:cubicBezTo>
                      <a:pt x="46" y="85"/>
                      <a:pt x="45" y="86"/>
                      <a:pt x="45" y="86"/>
                    </a:cubicBezTo>
                    <a:cubicBezTo>
                      <a:pt x="45" y="86"/>
                      <a:pt x="45" y="86"/>
                      <a:pt x="45" y="86"/>
                    </a:cubicBezTo>
                    <a:cubicBezTo>
                      <a:pt x="46" y="86"/>
                      <a:pt x="46" y="85"/>
                      <a:pt x="46" y="84"/>
                    </a:cubicBezTo>
                    <a:cubicBezTo>
                      <a:pt x="46" y="85"/>
                      <a:pt x="46" y="85"/>
                      <a:pt x="46" y="86"/>
                    </a:cubicBezTo>
                    <a:cubicBezTo>
                      <a:pt x="46" y="86"/>
                      <a:pt x="46" y="86"/>
                      <a:pt x="46" y="86"/>
                    </a:cubicBezTo>
                    <a:cubicBezTo>
                      <a:pt x="46" y="87"/>
                      <a:pt x="46" y="87"/>
                      <a:pt x="46" y="87"/>
                    </a:cubicBezTo>
                    <a:cubicBezTo>
                      <a:pt x="46" y="87"/>
                      <a:pt x="46" y="87"/>
                      <a:pt x="46" y="86"/>
                    </a:cubicBezTo>
                    <a:cubicBezTo>
                      <a:pt x="46" y="87"/>
                      <a:pt x="46" y="87"/>
                      <a:pt x="46" y="87"/>
                    </a:cubicBezTo>
                    <a:cubicBezTo>
                      <a:pt x="47" y="87"/>
                      <a:pt x="47" y="87"/>
                      <a:pt x="47" y="87"/>
                    </a:cubicBezTo>
                    <a:cubicBezTo>
                      <a:pt x="47" y="87"/>
                      <a:pt x="47" y="88"/>
                      <a:pt x="47" y="88"/>
                    </a:cubicBezTo>
                    <a:cubicBezTo>
                      <a:pt x="48" y="88"/>
                      <a:pt x="48" y="89"/>
                      <a:pt x="48" y="89"/>
                    </a:cubicBezTo>
                    <a:cubicBezTo>
                      <a:pt x="48" y="89"/>
                      <a:pt x="48" y="89"/>
                      <a:pt x="49" y="89"/>
                    </a:cubicBezTo>
                    <a:cubicBezTo>
                      <a:pt x="49" y="89"/>
                      <a:pt x="49" y="89"/>
                      <a:pt x="49" y="89"/>
                    </a:cubicBezTo>
                    <a:cubicBezTo>
                      <a:pt x="50" y="89"/>
                      <a:pt x="49" y="90"/>
                      <a:pt x="49" y="90"/>
                    </a:cubicBezTo>
                    <a:cubicBezTo>
                      <a:pt x="50" y="91"/>
                      <a:pt x="50" y="91"/>
                      <a:pt x="50" y="91"/>
                    </a:cubicBezTo>
                    <a:cubicBezTo>
                      <a:pt x="51" y="92"/>
                      <a:pt x="51" y="92"/>
                      <a:pt x="51" y="92"/>
                    </a:cubicBezTo>
                    <a:cubicBezTo>
                      <a:pt x="51" y="92"/>
                      <a:pt x="51" y="92"/>
                      <a:pt x="50" y="92"/>
                    </a:cubicBezTo>
                    <a:cubicBezTo>
                      <a:pt x="51" y="93"/>
                      <a:pt x="53" y="93"/>
                      <a:pt x="53" y="94"/>
                    </a:cubicBezTo>
                    <a:cubicBezTo>
                      <a:pt x="54" y="95"/>
                      <a:pt x="55" y="96"/>
                      <a:pt x="56" y="97"/>
                    </a:cubicBezTo>
                    <a:cubicBezTo>
                      <a:pt x="57" y="97"/>
                      <a:pt x="57" y="98"/>
                      <a:pt x="58" y="99"/>
                    </a:cubicBezTo>
                    <a:cubicBezTo>
                      <a:pt x="59" y="100"/>
                      <a:pt x="60" y="100"/>
                      <a:pt x="60" y="101"/>
                    </a:cubicBezTo>
                    <a:cubicBezTo>
                      <a:pt x="60" y="102"/>
                      <a:pt x="61" y="103"/>
                      <a:pt x="61" y="104"/>
                    </a:cubicBezTo>
                    <a:cubicBezTo>
                      <a:pt x="60" y="105"/>
                      <a:pt x="60" y="108"/>
                      <a:pt x="62" y="108"/>
                    </a:cubicBezTo>
                    <a:cubicBezTo>
                      <a:pt x="62" y="108"/>
                      <a:pt x="64" y="106"/>
                      <a:pt x="64" y="106"/>
                    </a:cubicBezTo>
                    <a:cubicBezTo>
                      <a:pt x="65" y="106"/>
                      <a:pt x="65" y="106"/>
                      <a:pt x="66" y="105"/>
                    </a:cubicBezTo>
                    <a:cubicBezTo>
                      <a:pt x="66" y="105"/>
                      <a:pt x="67" y="105"/>
                      <a:pt x="67" y="104"/>
                    </a:cubicBezTo>
                    <a:cubicBezTo>
                      <a:pt x="68" y="103"/>
                      <a:pt x="68" y="102"/>
                      <a:pt x="67" y="101"/>
                    </a:cubicBezTo>
                    <a:cubicBezTo>
                      <a:pt x="67" y="101"/>
                      <a:pt x="67" y="100"/>
                      <a:pt x="67" y="100"/>
                    </a:cubicBezTo>
                    <a:cubicBezTo>
                      <a:pt x="67" y="100"/>
                      <a:pt x="66" y="99"/>
                      <a:pt x="66" y="99"/>
                    </a:cubicBezTo>
                    <a:cubicBezTo>
                      <a:pt x="66" y="99"/>
                      <a:pt x="66" y="99"/>
                      <a:pt x="66" y="98"/>
                    </a:cubicBezTo>
                    <a:cubicBezTo>
                      <a:pt x="66" y="98"/>
                      <a:pt x="66" y="97"/>
                      <a:pt x="66" y="97"/>
                    </a:cubicBezTo>
                    <a:cubicBezTo>
                      <a:pt x="65" y="97"/>
                      <a:pt x="65" y="96"/>
                      <a:pt x="65" y="96"/>
                    </a:cubicBezTo>
                    <a:cubicBezTo>
                      <a:pt x="65" y="96"/>
                      <a:pt x="66" y="95"/>
                      <a:pt x="65" y="95"/>
                    </a:cubicBezTo>
                    <a:cubicBezTo>
                      <a:pt x="65" y="95"/>
                      <a:pt x="64" y="95"/>
                      <a:pt x="64" y="95"/>
                    </a:cubicBezTo>
                    <a:cubicBezTo>
                      <a:pt x="64" y="95"/>
                      <a:pt x="64" y="94"/>
                      <a:pt x="64" y="94"/>
                    </a:cubicBezTo>
                    <a:cubicBezTo>
                      <a:pt x="64" y="93"/>
                      <a:pt x="63" y="93"/>
                      <a:pt x="63" y="93"/>
                    </a:cubicBezTo>
                    <a:cubicBezTo>
                      <a:pt x="62" y="92"/>
                      <a:pt x="62" y="92"/>
                      <a:pt x="62" y="92"/>
                    </a:cubicBezTo>
                    <a:cubicBezTo>
                      <a:pt x="62" y="91"/>
                      <a:pt x="61" y="92"/>
                      <a:pt x="61" y="92"/>
                    </a:cubicBezTo>
                    <a:cubicBezTo>
                      <a:pt x="61" y="93"/>
                      <a:pt x="61" y="93"/>
                      <a:pt x="61" y="94"/>
                    </a:cubicBezTo>
                    <a:cubicBezTo>
                      <a:pt x="61" y="94"/>
                      <a:pt x="60" y="94"/>
                      <a:pt x="60" y="94"/>
                    </a:cubicBezTo>
                    <a:cubicBezTo>
                      <a:pt x="60" y="94"/>
                      <a:pt x="60" y="94"/>
                      <a:pt x="60" y="94"/>
                    </a:cubicBezTo>
                    <a:cubicBezTo>
                      <a:pt x="60" y="94"/>
                      <a:pt x="61" y="94"/>
                      <a:pt x="61" y="93"/>
                    </a:cubicBezTo>
                    <a:cubicBezTo>
                      <a:pt x="61" y="93"/>
                      <a:pt x="60" y="93"/>
                      <a:pt x="60" y="93"/>
                    </a:cubicBezTo>
                    <a:cubicBezTo>
                      <a:pt x="59" y="93"/>
                      <a:pt x="59" y="93"/>
                      <a:pt x="58" y="93"/>
                    </a:cubicBezTo>
                    <a:cubicBezTo>
                      <a:pt x="58" y="92"/>
                      <a:pt x="58" y="91"/>
                      <a:pt x="58" y="91"/>
                    </a:cubicBezTo>
                    <a:cubicBezTo>
                      <a:pt x="58" y="90"/>
                      <a:pt x="58" y="89"/>
                      <a:pt x="58" y="88"/>
                    </a:cubicBezTo>
                    <a:cubicBezTo>
                      <a:pt x="58" y="88"/>
                      <a:pt x="59" y="87"/>
                      <a:pt x="59" y="86"/>
                    </a:cubicBezTo>
                    <a:cubicBezTo>
                      <a:pt x="59" y="86"/>
                      <a:pt x="59" y="85"/>
                      <a:pt x="59" y="85"/>
                    </a:cubicBezTo>
                    <a:cubicBezTo>
                      <a:pt x="59" y="84"/>
                      <a:pt x="58" y="84"/>
                      <a:pt x="58" y="84"/>
                    </a:cubicBezTo>
                    <a:cubicBezTo>
                      <a:pt x="58" y="83"/>
                      <a:pt x="58" y="82"/>
                      <a:pt x="58" y="82"/>
                    </a:cubicBezTo>
                    <a:cubicBezTo>
                      <a:pt x="58" y="81"/>
                      <a:pt x="58" y="79"/>
                      <a:pt x="57" y="79"/>
                    </a:cubicBezTo>
                    <a:cubicBezTo>
                      <a:pt x="56" y="78"/>
                      <a:pt x="56" y="77"/>
                      <a:pt x="56" y="76"/>
                    </a:cubicBezTo>
                    <a:cubicBezTo>
                      <a:pt x="56" y="75"/>
                      <a:pt x="56" y="75"/>
                      <a:pt x="56" y="74"/>
                    </a:cubicBezTo>
                    <a:cubicBezTo>
                      <a:pt x="56" y="73"/>
                      <a:pt x="56" y="73"/>
                      <a:pt x="56" y="72"/>
                    </a:cubicBezTo>
                    <a:cubicBezTo>
                      <a:pt x="56" y="71"/>
                      <a:pt x="56" y="71"/>
                      <a:pt x="56" y="71"/>
                    </a:cubicBezTo>
                    <a:cubicBezTo>
                      <a:pt x="56" y="70"/>
                      <a:pt x="56" y="70"/>
                      <a:pt x="56" y="70"/>
                    </a:cubicBezTo>
                    <a:cubicBezTo>
                      <a:pt x="57" y="69"/>
                      <a:pt x="56" y="69"/>
                      <a:pt x="56" y="68"/>
                    </a:cubicBezTo>
                    <a:cubicBezTo>
                      <a:pt x="57" y="68"/>
                      <a:pt x="56" y="67"/>
                      <a:pt x="56" y="67"/>
                    </a:cubicBezTo>
                    <a:cubicBezTo>
                      <a:pt x="55" y="67"/>
                      <a:pt x="56" y="66"/>
                      <a:pt x="56" y="65"/>
                    </a:cubicBezTo>
                    <a:cubicBezTo>
                      <a:pt x="55" y="65"/>
                      <a:pt x="54" y="63"/>
                      <a:pt x="54" y="64"/>
                    </a:cubicBezTo>
                    <a:cubicBezTo>
                      <a:pt x="53" y="65"/>
                      <a:pt x="54" y="66"/>
                      <a:pt x="54" y="66"/>
                    </a:cubicBezTo>
                    <a:cubicBezTo>
                      <a:pt x="54" y="67"/>
                      <a:pt x="54" y="67"/>
                      <a:pt x="54" y="67"/>
                    </a:cubicBezTo>
                    <a:cubicBezTo>
                      <a:pt x="53" y="68"/>
                      <a:pt x="53" y="67"/>
                      <a:pt x="53" y="66"/>
                    </a:cubicBezTo>
                    <a:cubicBezTo>
                      <a:pt x="52" y="66"/>
                      <a:pt x="53" y="65"/>
                      <a:pt x="53" y="65"/>
                    </a:cubicBezTo>
                    <a:cubicBezTo>
                      <a:pt x="53" y="64"/>
                      <a:pt x="53" y="64"/>
                      <a:pt x="53" y="63"/>
                    </a:cubicBezTo>
                    <a:cubicBezTo>
                      <a:pt x="52" y="62"/>
                      <a:pt x="53" y="62"/>
                      <a:pt x="53" y="62"/>
                    </a:cubicBezTo>
                    <a:cubicBezTo>
                      <a:pt x="54" y="61"/>
                      <a:pt x="53" y="61"/>
                      <a:pt x="52" y="61"/>
                    </a:cubicBezTo>
                    <a:cubicBezTo>
                      <a:pt x="52" y="61"/>
                      <a:pt x="51" y="61"/>
                      <a:pt x="51" y="60"/>
                    </a:cubicBezTo>
                    <a:cubicBezTo>
                      <a:pt x="51" y="60"/>
                      <a:pt x="51" y="60"/>
                      <a:pt x="51" y="60"/>
                    </a:cubicBezTo>
                    <a:cubicBezTo>
                      <a:pt x="52" y="60"/>
                      <a:pt x="51" y="59"/>
                      <a:pt x="51" y="59"/>
                    </a:cubicBezTo>
                    <a:cubicBezTo>
                      <a:pt x="51" y="59"/>
                      <a:pt x="51" y="59"/>
                      <a:pt x="51" y="58"/>
                    </a:cubicBezTo>
                    <a:cubicBezTo>
                      <a:pt x="51" y="58"/>
                      <a:pt x="51" y="58"/>
                      <a:pt x="51" y="57"/>
                    </a:cubicBezTo>
                    <a:cubicBezTo>
                      <a:pt x="51" y="57"/>
                      <a:pt x="50" y="56"/>
                      <a:pt x="50" y="56"/>
                    </a:cubicBezTo>
                    <a:cubicBezTo>
                      <a:pt x="49" y="55"/>
                      <a:pt x="48" y="54"/>
                      <a:pt x="49" y="52"/>
                    </a:cubicBezTo>
                    <a:cubicBezTo>
                      <a:pt x="49" y="51"/>
                      <a:pt x="48" y="51"/>
                      <a:pt x="49" y="50"/>
                    </a:cubicBezTo>
                    <a:cubicBezTo>
                      <a:pt x="49" y="50"/>
                      <a:pt x="49" y="49"/>
                      <a:pt x="49" y="49"/>
                    </a:cubicBezTo>
                    <a:cubicBezTo>
                      <a:pt x="48" y="48"/>
                      <a:pt x="49" y="47"/>
                      <a:pt x="49" y="47"/>
                    </a:cubicBezTo>
                    <a:cubicBezTo>
                      <a:pt x="49" y="46"/>
                      <a:pt x="48" y="47"/>
                      <a:pt x="48" y="46"/>
                    </a:cubicBezTo>
                    <a:cubicBezTo>
                      <a:pt x="47" y="46"/>
                      <a:pt x="47" y="46"/>
                      <a:pt x="47" y="45"/>
                    </a:cubicBezTo>
                    <a:cubicBezTo>
                      <a:pt x="47" y="44"/>
                      <a:pt x="47" y="44"/>
                      <a:pt x="47" y="43"/>
                    </a:cubicBezTo>
                    <a:cubicBezTo>
                      <a:pt x="47" y="41"/>
                      <a:pt x="46" y="44"/>
                      <a:pt x="46" y="42"/>
                    </a:cubicBezTo>
                    <a:cubicBezTo>
                      <a:pt x="46" y="42"/>
                      <a:pt x="46" y="41"/>
                      <a:pt x="45" y="41"/>
                    </a:cubicBezTo>
                    <a:cubicBezTo>
                      <a:pt x="45" y="41"/>
                      <a:pt x="45" y="42"/>
                      <a:pt x="45" y="42"/>
                    </a:cubicBezTo>
                    <a:cubicBezTo>
                      <a:pt x="44" y="41"/>
                      <a:pt x="45" y="40"/>
                      <a:pt x="45" y="39"/>
                    </a:cubicBezTo>
                    <a:cubicBezTo>
                      <a:pt x="45" y="39"/>
                      <a:pt x="44" y="39"/>
                      <a:pt x="45" y="38"/>
                    </a:cubicBezTo>
                    <a:cubicBezTo>
                      <a:pt x="45" y="37"/>
                      <a:pt x="43" y="35"/>
                      <a:pt x="42" y="34"/>
                    </a:cubicBezTo>
                    <a:cubicBezTo>
                      <a:pt x="42" y="34"/>
                      <a:pt x="41" y="32"/>
                      <a:pt x="41" y="32"/>
                    </a:cubicBezTo>
                    <a:cubicBezTo>
                      <a:pt x="40" y="32"/>
                      <a:pt x="40" y="32"/>
                      <a:pt x="40" y="32"/>
                    </a:cubicBezTo>
                    <a:cubicBezTo>
                      <a:pt x="39" y="31"/>
                      <a:pt x="40" y="31"/>
                      <a:pt x="39" y="30"/>
                    </a:cubicBezTo>
                    <a:cubicBezTo>
                      <a:pt x="39" y="30"/>
                      <a:pt x="39" y="30"/>
                      <a:pt x="39" y="29"/>
                    </a:cubicBezTo>
                    <a:cubicBezTo>
                      <a:pt x="39" y="29"/>
                      <a:pt x="38" y="28"/>
                      <a:pt x="39" y="27"/>
                    </a:cubicBezTo>
                    <a:cubicBezTo>
                      <a:pt x="39" y="26"/>
                      <a:pt x="39" y="26"/>
                      <a:pt x="40" y="25"/>
                    </a:cubicBezTo>
                    <a:cubicBezTo>
                      <a:pt x="40" y="24"/>
                      <a:pt x="40" y="23"/>
                      <a:pt x="40" y="22"/>
                    </a:cubicBezTo>
                    <a:cubicBezTo>
                      <a:pt x="40" y="22"/>
                      <a:pt x="40" y="21"/>
                      <a:pt x="40" y="21"/>
                    </a:cubicBezTo>
                    <a:cubicBezTo>
                      <a:pt x="41" y="21"/>
                      <a:pt x="41" y="20"/>
                      <a:pt x="41" y="19"/>
                    </a:cubicBezTo>
                    <a:cubicBezTo>
                      <a:pt x="40" y="19"/>
                      <a:pt x="40" y="19"/>
                      <a:pt x="40" y="18"/>
                    </a:cubicBezTo>
                    <a:cubicBezTo>
                      <a:pt x="40" y="18"/>
                      <a:pt x="40" y="17"/>
                      <a:pt x="40" y="16"/>
                    </a:cubicBezTo>
                    <a:cubicBezTo>
                      <a:pt x="41" y="16"/>
                      <a:pt x="41" y="15"/>
                      <a:pt x="41" y="14"/>
                    </a:cubicBezTo>
                    <a:cubicBezTo>
                      <a:pt x="42" y="13"/>
                      <a:pt x="42" y="12"/>
                      <a:pt x="43" y="12"/>
                    </a:cubicBezTo>
                    <a:cubicBezTo>
                      <a:pt x="43" y="11"/>
                      <a:pt x="43" y="10"/>
                      <a:pt x="43" y="10"/>
                    </a:cubicBezTo>
                    <a:cubicBezTo>
                      <a:pt x="43" y="10"/>
                      <a:pt x="43" y="9"/>
                      <a:pt x="42" y="9"/>
                    </a:cubicBezTo>
                    <a:cubicBezTo>
                      <a:pt x="42" y="8"/>
                      <a:pt x="42" y="9"/>
                      <a:pt x="42" y="8"/>
                    </a:cubicBezTo>
                    <a:cubicBezTo>
                      <a:pt x="42" y="8"/>
                      <a:pt x="43" y="9"/>
                      <a:pt x="43" y="9"/>
                    </a:cubicBezTo>
                    <a:cubicBezTo>
                      <a:pt x="43" y="9"/>
                      <a:pt x="44" y="10"/>
                      <a:pt x="44" y="10"/>
                    </a:cubicBezTo>
                    <a:cubicBezTo>
                      <a:pt x="44" y="10"/>
                      <a:pt x="45" y="10"/>
                      <a:pt x="45" y="10"/>
                    </a:cubicBezTo>
                    <a:cubicBezTo>
                      <a:pt x="46" y="11"/>
                      <a:pt x="46" y="11"/>
                      <a:pt x="46" y="12"/>
                    </a:cubicBezTo>
                    <a:cubicBezTo>
                      <a:pt x="46" y="12"/>
                      <a:pt x="47" y="12"/>
                      <a:pt x="47" y="12"/>
                    </a:cubicBezTo>
                    <a:cubicBezTo>
                      <a:pt x="47" y="13"/>
                      <a:pt x="48" y="13"/>
                      <a:pt x="49" y="13"/>
                    </a:cubicBezTo>
                    <a:cubicBezTo>
                      <a:pt x="49" y="13"/>
                      <a:pt x="50" y="13"/>
                      <a:pt x="50" y="13"/>
                    </a:cubicBezTo>
                    <a:cubicBezTo>
                      <a:pt x="50" y="13"/>
                      <a:pt x="51" y="12"/>
                      <a:pt x="50" y="12"/>
                    </a:cubicBezTo>
                    <a:cubicBezTo>
                      <a:pt x="50" y="12"/>
                      <a:pt x="50" y="12"/>
                      <a:pt x="51" y="11"/>
                    </a:cubicBezTo>
                    <a:cubicBezTo>
                      <a:pt x="51" y="12"/>
                      <a:pt x="52" y="12"/>
                      <a:pt x="53" y="13"/>
                    </a:cubicBezTo>
                    <a:cubicBezTo>
                      <a:pt x="53" y="13"/>
                      <a:pt x="53" y="15"/>
                      <a:pt x="52" y="15"/>
                    </a:cubicBezTo>
                    <a:cubicBezTo>
                      <a:pt x="53" y="15"/>
                      <a:pt x="54" y="15"/>
                      <a:pt x="54" y="15"/>
                    </a:cubicBezTo>
                    <a:cubicBezTo>
                      <a:pt x="55" y="16"/>
                      <a:pt x="55" y="16"/>
                      <a:pt x="56" y="16"/>
                    </a:cubicBezTo>
                    <a:cubicBezTo>
                      <a:pt x="56" y="16"/>
                      <a:pt x="55" y="16"/>
                      <a:pt x="56" y="15"/>
                    </a:cubicBezTo>
                    <a:cubicBezTo>
                      <a:pt x="56" y="16"/>
                      <a:pt x="57" y="17"/>
                      <a:pt x="57" y="16"/>
                    </a:cubicBezTo>
                    <a:cubicBezTo>
                      <a:pt x="57" y="16"/>
                      <a:pt x="57" y="17"/>
                      <a:pt x="57" y="17"/>
                    </a:cubicBezTo>
                    <a:cubicBezTo>
                      <a:pt x="57" y="17"/>
                      <a:pt x="57" y="19"/>
                      <a:pt x="56" y="19"/>
                    </a:cubicBezTo>
                    <a:cubicBezTo>
                      <a:pt x="56" y="19"/>
                      <a:pt x="56" y="18"/>
                      <a:pt x="56" y="18"/>
                    </a:cubicBezTo>
                    <a:cubicBezTo>
                      <a:pt x="56" y="18"/>
                      <a:pt x="56" y="19"/>
                      <a:pt x="56" y="20"/>
                    </a:cubicBezTo>
                    <a:cubicBezTo>
                      <a:pt x="55" y="20"/>
                      <a:pt x="55" y="21"/>
                      <a:pt x="55" y="22"/>
                    </a:cubicBezTo>
                    <a:cubicBezTo>
                      <a:pt x="55" y="23"/>
                      <a:pt x="57" y="25"/>
                      <a:pt x="56" y="26"/>
                    </a:cubicBezTo>
                    <a:cubicBezTo>
                      <a:pt x="57" y="26"/>
                      <a:pt x="55" y="30"/>
                      <a:pt x="55" y="30"/>
                    </a:cubicBezTo>
                    <a:cubicBezTo>
                      <a:pt x="55" y="30"/>
                      <a:pt x="56" y="30"/>
                      <a:pt x="56" y="30"/>
                    </a:cubicBezTo>
                    <a:cubicBezTo>
                      <a:pt x="56" y="31"/>
                      <a:pt x="56" y="31"/>
                      <a:pt x="56" y="31"/>
                    </a:cubicBezTo>
                    <a:cubicBezTo>
                      <a:pt x="56" y="32"/>
                      <a:pt x="56" y="32"/>
                      <a:pt x="56" y="33"/>
                    </a:cubicBezTo>
                    <a:cubicBezTo>
                      <a:pt x="57" y="34"/>
                      <a:pt x="57" y="35"/>
                      <a:pt x="57" y="36"/>
                    </a:cubicBezTo>
                    <a:cubicBezTo>
                      <a:pt x="57" y="36"/>
                      <a:pt x="56" y="37"/>
                      <a:pt x="56" y="37"/>
                    </a:cubicBezTo>
                    <a:cubicBezTo>
                      <a:pt x="57" y="38"/>
                      <a:pt x="57" y="37"/>
                      <a:pt x="57" y="37"/>
                    </a:cubicBezTo>
                    <a:cubicBezTo>
                      <a:pt x="58" y="37"/>
                      <a:pt x="58" y="38"/>
                      <a:pt x="58" y="38"/>
                    </a:cubicBezTo>
                    <a:cubicBezTo>
                      <a:pt x="58" y="39"/>
                      <a:pt x="58" y="39"/>
                      <a:pt x="58" y="39"/>
                    </a:cubicBezTo>
                    <a:cubicBezTo>
                      <a:pt x="58" y="40"/>
                      <a:pt x="57" y="40"/>
                      <a:pt x="57" y="41"/>
                    </a:cubicBezTo>
                    <a:cubicBezTo>
                      <a:pt x="57" y="41"/>
                      <a:pt x="58" y="41"/>
                      <a:pt x="58" y="41"/>
                    </a:cubicBezTo>
                    <a:cubicBezTo>
                      <a:pt x="58" y="41"/>
                      <a:pt x="58" y="42"/>
                      <a:pt x="58" y="42"/>
                    </a:cubicBezTo>
                    <a:cubicBezTo>
                      <a:pt x="59" y="42"/>
                      <a:pt x="59" y="42"/>
                      <a:pt x="60" y="43"/>
                    </a:cubicBezTo>
                    <a:cubicBezTo>
                      <a:pt x="60" y="43"/>
                      <a:pt x="59" y="43"/>
                      <a:pt x="59" y="43"/>
                    </a:cubicBezTo>
                    <a:cubicBezTo>
                      <a:pt x="59" y="43"/>
                      <a:pt x="59" y="44"/>
                      <a:pt x="59" y="44"/>
                    </a:cubicBezTo>
                    <a:cubicBezTo>
                      <a:pt x="59" y="45"/>
                      <a:pt x="60" y="45"/>
                      <a:pt x="60" y="46"/>
                    </a:cubicBezTo>
                    <a:cubicBezTo>
                      <a:pt x="60" y="46"/>
                      <a:pt x="60" y="46"/>
                      <a:pt x="61" y="47"/>
                    </a:cubicBezTo>
                    <a:cubicBezTo>
                      <a:pt x="61" y="47"/>
                      <a:pt x="62" y="47"/>
                      <a:pt x="62" y="47"/>
                    </a:cubicBezTo>
                    <a:cubicBezTo>
                      <a:pt x="62" y="47"/>
                      <a:pt x="62" y="48"/>
                      <a:pt x="62" y="48"/>
                    </a:cubicBezTo>
                    <a:cubicBezTo>
                      <a:pt x="62" y="48"/>
                      <a:pt x="62" y="49"/>
                      <a:pt x="62" y="49"/>
                    </a:cubicBezTo>
                    <a:cubicBezTo>
                      <a:pt x="63" y="50"/>
                      <a:pt x="63" y="51"/>
                      <a:pt x="64" y="52"/>
                    </a:cubicBezTo>
                    <a:cubicBezTo>
                      <a:pt x="64" y="52"/>
                      <a:pt x="64" y="52"/>
                      <a:pt x="65" y="52"/>
                    </a:cubicBezTo>
                    <a:cubicBezTo>
                      <a:pt x="65" y="52"/>
                      <a:pt x="65" y="52"/>
                      <a:pt x="65" y="53"/>
                    </a:cubicBezTo>
                    <a:cubicBezTo>
                      <a:pt x="66" y="54"/>
                      <a:pt x="66" y="53"/>
                      <a:pt x="66" y="53"/>
                    </a:cubicBezTo>
                    <a:cubicBezTo>
                      <a:pt x="66" y="53"/>
                      <a:pt x="66" y="52"/>
                      <a:pt x="66" y="52"/>
                    </a:cubicBezTo>
                    <a:cubicBezTo>
                      <a:pt x="67" y="52"/>
                      <a:pt x="66" y="52"/>
                      <a:pt x="66" y="53"/>
                    </a:cubicBezTo>
                    <a:cubicBezTo>
                      <a:pt x="67" y="53"/>
                      <a:pt x="67" y="52"/>
                      <a:pt x="67" y="53"/>
                    </a:cubicBezTo>
                    <a:cubicBezTo>
                      <a:pt x="68" y="53"/>
                      <a:pt x="68" y="53"/>
                      <a:pt x="68" y="53"/>
                    </a:cubicBezTo>
                    <a:cubicBezTo>
                      <a:pt x="68" y="53"/>
                      <a:pt x="68" y="53"/>
                      <a:pt x="69" y="53"/>
                    </a:cubicBezTo>
                    <a:cubicBezTo>
                      <a:pt x="69" y="53"/>
                      <a:pt x="69" y="53"/>
                      <a:pt x="69" y="53"/>
                    </a:cubicBezTo>
                    <a:cubicBezTo>
                      <a:pt x="69" y="54"/>
                      <a:pt x="68" y="53"/>
                      <a:pt x="68" y="54"/>
                    </a:cubicBezTo>
                    <a:cubicBezTo>
                      <a:pt x="68" y="54"/>
                      <a:pt x="68" y="54"/>
                      <a:pt x="68" y="54"/>
                    </a:cubicBezTo>
                    <a:cubicBezTo>
                      <a:pt x="68" y="55"/>
                      <a:pt x="67" y="55"/>
                      <a:pt x="67" y="56"/>
                    </a:cubicBezTo>
                    <a:cubicBezTo>
                      <a:pt x="67" y="57"/>
                      <a:pt x="67" y="58"/>
                      <a:pt x="67" y="58"/>
                    </a:cubicBezTo>
                    <a:cubicBezTo>
                      <a:pt x="67" y="59"/>
                      <a:pt x="68" y="58"/>
                      <a:pt x="68" y="59"/>
                    </a:cubicBezTo>
                    <a:cubicBezTo>
                      <a:pt x="68" y="59"/>
                      <a:pt x="68" y="59"/>
                      <a:pt x="68" y="59"/>
                    </a:cubicBezTo>
                    <a:cubicBezTo>
                      <a:pt x="68" y="59"/>
                      <a:pt x="69" y="60"/>
                      <a:pt x="69" y="60"/>
                    </a:cubicBezTo>
                    <a:cubicBezTo>
                      <a:pt x="69" y="61"/>
                      <a:pt x="70" y="61"/>
                      <a:pt x="70" y="61"/>
                    </a:cubicBezTo>
                    <a:cubicBezTo>
                      <a:pt x="71" y="61"/>
                      <a:pt x="71" y="62"/>
                      <a:pt x="71" y="61"/>
                    </a:cubicBezTo>
                    <a:cubicBezTo>
                      <a:pt x="72" y="61"/>
                      <a:pt x="72" y="61"/>
                      <a:pt x="72" y="61"/>
                    </a:cubicBezTo>
                    <a:cubicBezTo>
                      <a:pt x="72" y="62"/>
                      <a:pt x="73" y="63"/>
                      <a:pt x="72" y="63"/>
                    </a:cubicBezTo>
                    <a:cubicBezTo>
                      <a:pt x="72" y="63"/>
                      <a:pt x="72" y="63"/>
                      <a:pt x="72" y="63"/>
                    </a:cubicBezTo>
                    <a:cubicBezTo>
                      <a:pt x="72" y="63"/>
                      <a:pt x="72" y="66"/>
                      <a:pt x="73" y="66"/>
                    </a:cubicBezTo>
                    <a:cubicBezTo>
                      <a:pt x="73" y="66"/>
                      <a:pt x="75" y="66"/>
                      <a:pt x="75" y="66"/>
                    </a:cubicBezTo>
                    <a:cubicBezTo>
                      <a:pt x="75" y="66"/>
                      <a:pt x="74" y="65"/>
                      <a:pt x="75" y="65"/>
                    </a:cubicBezTo>
                    <a:cubicBezTo>
                      <a:pt x="75" y="65"/>
                      <a:pt x="76" y="66"/>
                      <a:pt x="76" y="66"/>
                    </a:cubicBezTo>
                    <a:cubicBezTo>
                      <a:pt x="76" y="66"/>
                      <a:pt x="76" y="66"/>
                      <a:pt x="76" y="66"/>
                    </a:cubicBezTo>
                    <a:cubicBezTo>
                      <a:pt x="76" y="66"/>
                      <a:pt x="76" y="66"/>
                      <a:pt x="76" y="66"/>
                    </a:cubicBezTo>
                    <a:cubicBezTo>
                      <a:pt x="76" y="67"/>
                      <a:pt x="76" y="67"/>
                      <a:pt x="77" y="67"/>
                    </a:cubicBezTo>
                    <a:cubicBezTo>
                      <a:pt x="77" y="68"/>
                      <a:pt x="77" y="69"/>
                      <a:pt x="77" y="70"/>
                    </a:cubicBezTo>
                    <a:cubicBezTo>
                      <a:pt x="77" y="70"/>
                      <a:pt x="77" y="69"/>
                      <a:pt x="77" y="69"/>
                    </a:cubicBezTo>
                    <a:cubicBezTo>
                      <a:pt x="77" y="69"/>
                      <a:pt x="78" y="70"/>
                      <a:pt x="77" y="69"/>
                    </a:cubicBezTo>
                    <a:cubicBezTo>
                      <a:pt x="78" y="69"/>
                      <a:pt x="78" y="71"/>
                      <a:pt x="78" y="71"/>
                    </a:cubicBezTo>
                    <a:cubicBezTo>
                      <a:pt x="77" y="71"/>
                      <a:pt x="77" y="71"/>
                      <a:pt x="77" y="70"/>
                    </a:cubicBezTo>
                    <a:cubicBezTo>
                      <a:pt x="78" y="70"/>
                      <a:pt x="77" y="70"/>
                      <a:pt x="77" y="70"/>
                    </a:cubicBezTo>
                    <a:cubicBezTo>
                      <a:pt x="76" y="70"/>
                      <a:pt x="76" y="72"/>
                      <a:pt x="76" y="72"/>
                    </a:cubicBezTo>
                    <a:cubicBezTo>
                      <a:pt x="76" y="71"/>
                      <a:pt x="76" y="71"/>
                      <a:pt x="76" y="71"/>
                    </a:cubicBezTo>
                    <a:cubicBezTo>
                      <a:pt x="76" y="71"/>
                      <a:pt x="77" y="70"/>
                      <a:pt x="77" y="70"/>
                    </a:cubicBezTo>
                    <a:cubicBezTo>
                      <a:pt x="77" y="70"/>
                      <a:pt x="76" y="71"/>
                      <a:pt x="76" y="71"/>
                    </a:cubicBezTo>
                    <a:cubicBezTo>
                      <a:pt x="76" y="71"/>
                      <a:pt x="76" y="71"/>
                      <a:pt x="75" y="72"/>
                    </a:cubicBezTo>
                    <a:cubicBezTo>
                      <a:pt x="75" y="72"/>
                      <a:pt x="74" y="73"/>
                      <a:pt x="74" y="73"/>
                    </a:cubicBezTo>
                    <a:cubicBezTo>
                      <a:pt x="74" y="74"/>
                      <a:pt x="74" y="75"/>
                      <a:pt x="73" y="76"/>
                    </a:cubicBezTo>
                    <a:cubicBezTo>
                      <a:pt x="73" y="76"/>
                      <a:pt x="73" y="76"/>
                      <a:pt x="73" y="76"/>
                    </a:cubicBezTo>
                    <a:cubicBezTo>
                      <a:pt x="73" y="76"/>
                      <a:pt x="73" y="77"/>
                      <a:pt x="73" y="77"/>
                    </a:cubicBezTo>
                    <a:cubicBezTo>
                      <a:pt x="74" y="77"/>
                      <a:pt x="74" y="76"/>
                      <a:pt x="74" y="76"/>
                    </a:cubicBezTo>
                    <a:cubicBezTo>
                      <a:pt x="74" y="76"/>
                      <a:pt x="75" y="76"/>
                      <a:pt x="75" y="77"/>
                    </a:cubicBezTo>
                    <a:cubicBezTo>
                      <a:pt x="75" y="77"/>
                      <a:pt x="73" y="77"/>
                      <a:pt x="73" y="77"/>
                    </a:cubicBezTo>
                    <a:cubicBezTo>
                      <a:pt x="73" y="78"/>
                      <a:pt x="74" y="77"/>
                      <a:pt x="74" y="77"/>
                    </a:cubicBezTo>
                    <a:cubicBezTo>
                      <a:pt x="75" y="78"/>
                      <a:pt x="75" y="78"/>
                      <a:pt x="76" y="78"/>
                    </a:cubicBezTo>
                    <a:cubicBezTo>
                      <a:pt x="75" y="78"/>
                      <a:pt x="75" y="78"/>
                      <a:pt x="75" y="78"/>
                    </a:cubicBezTo>
                    <a:cubicBezTo>
                      <a:pt x="75" y="77"/>
                      <a:pt x="75" y="77"/>
                      <a:pt x="75" y="77"/>
                    </a:cubicBezTo>
                    <a:cubicBezTo>
                      <a:pt x="75" y="77"/>
                      <a:pt x="75" y="77"/>
                      <a:pt x="75" y="77"/>
                    </a:cubicBezTo>
                    <a:cubicBezTo>
                      <a:pt x="75" y="77"/>
                      <a:pt x="76" y="78"/>
                      <a:pt x="76" y="78"/>
                    </a:cubicBezTo>
                    <a:cubicBezTo>
                      <a:pt x="76" y="78"/>
                      <a:pt x="76" y="78"/>
                      <a:pt x="76" y="78"/>
                    </a:cubicBezTo>
                    <a:cubicBezTo>
                      <a:pt x="76" y="78"/>
                      <a:pt x="76" y="78"/>
                      <a:pt x="76" y="78"/>
                    </a:cubicBezTo>
                    <a:cubicBezTo>
                      <a:pt x="76" y="78"/>
                      <a:pt x="77" y="78"/>
                      <a:pt x="77" y="78"/>
                    </a:cubicBezTo>
                    <a:cubicBezTo>
                      <a:pt x="77" y="78"/>
                      <a:pt x="77" y="77"/>
                      <a:pt x="77" y="77"/>
                    </a:cubicBezTo>
                    <a:cubicBezTo>
                      <a:pt x="78" y="77"/>
                      <a:pt x="78" y="78"/>
                      <a:pt x="78" y="78"/>
                    </a:cubicBezTo>
                    <a:cubicBezTo>
                      <a:pt x="78" y="78"/>
                      <a:pt x="78" y="78"/>
                      <a:pt x="77" y="78"/>
                    </a:cubicBezTo>
                    <a:cubicBezTo>
                      <a:pt x="77" y="78"/>
                      <a:pt x="77" y="78"/>
                      <a:pt x="77" y="78"/>
                    </a:cubicBezTo>
                    <a:cubicBezTo>
                      <a:pt x="77" y="78"/>
                      <a:pt x="77" y="78"/>
                      <a:pt x="77" y="78"/>
                    </a:cubicBezTo>
                    <a:cubicBezTo>
                      <a:pt x="77" y="78"/>
                      <a:pt x="77" y="78"/>
                      <a:pt x="77" y="78"/>
                    </a:cubicBezTo>
                    <a:cubicBezTo>
                      <a:pt x="77" y="78"/>
                      <a:pt x="76" y="78"/>
                      <a:pt x="76" y="79"/>
                    </a:cubicBezTo>
                    <a:cubicBezTo>
                      <a:pt x="76" y="79"/>
                      <a:pt x="77" y="80"/>
                      <a:pt x="77" y="79"/>
                    </a:cubicBezTo>
                    <a:cubicBezTo>
                      <a:pt x="77" y="79"/>
                      <a:pt x="77" y="79"/>
                      <a:pt x="77" y="79"/>
                    </a:cubicBezTo>
                    <a:cubicBezTo>
                      <a:pt x="78" y="79"/>
                      <a:pt x="77" y="79"/>
                      <a:pt x="77" y="79"/>
                    </a:cubicBezTo>
                    <a:cubicBezTo>
                      <a:pt x="77" y="79"/>
                      <a:pt x="78" y="79"/>
                      <a:pt x="78" y="79"/>
                    </a:cubicBezTo>
                    <a:cubicBezTo>
                      <a:pt x="78" y="78"/>
                      <a:pt x="78" y="78"/>
                      <a:pt x="79" y="79"/>
                    </a:cubicBezTo>
                    <a:cubicBezTo>
                      <a:pt x="79" y="78"/>
                      <a:pt x="79" y="79"/>
                      <a:pt x="79" y="80"/>
                    </a:cubicBezTo>
                    <a:cubicBezTo>
                      <a:pt x="79" y="80"/>
                      <a:pt x="79" y="80"/>
                      <a:pt x="79" y="80"/>
                    </a:cubicBezTo>
                    <a:cubicBezTo>
                      <a:pt x="81" y="81"/>
                      <a:pt x="79" y="81"/>
                      <a:pt x="79" y="81"/>
                    </a:cubicBezTo>
                    <a:cubicBezTo>
                      <a:pt x="79" y="81"/>
                      <a:pt x="80" y="81"/>
                      <a:pt x="80" y="81"/>
                    </a:cubicBezTo>
                    <a:cubicBezTo>
                      <a:pt x="80" y="81"/>
                      <a:pt x="81" y="81"/>
                      <a:pt x="81" y="82"/>
                    </a:cubicBezTo>
                    <a:cubicBezTo>
                      <a:pt x="81" y="82"/>
                      <a:pt x="82" y="83"/>
                      <a:pt x="82" y="83"/>
                    </a:cubicBezTo>
                    <a:cubicBezTo>
                      <a:pt x="82" y="82"/>
                      <a:pt x="82" y="82"/>
                      <a:pt x="82" y="82"/>
                    </a:cubicBezTo>
                    <a:cubicBezTo>
                      <a:pt x="82" y="82"/>
                      <a:pt x="83" y="82"/>
                      <a:pt x="82" y="82"/>
                    </a:cubicBezTo>
                    <a:cubicBezTo>
                      <a:pt x="82" y="82"/>
                      <a:pt x="82" y="82"/>
                      <a:pt x="82" y="82"/>
                    </a:cubicBezTo>
                    <a:cubicBezTo>
                      <a:pt x="82" y="83"/>
                      <a:pt x="82" y="83"/>
                      <a:pt x="83" y="83"/>
                    </a:cubicBezTo>
                    <a:cubicBezTo>
                      <a:pt x="82" y="83"/>
                      <a:pt x="83" y="82"/>
                      <a:pt x="83" y="83"/>
                    </a:cubicBezTo>
                    <a:cubicBezTo>
                      <a:pt x="83" y="82"/>
                      <a:pt x="83" y="83"/>
                      <a:pt x="83" y="83"/>
                    </a:cubicBezTo>
                    <a:cubicBezTo>
                      <a:pt x="83" y="83"/>
                      <a:pt x="84" y="83"/>
                      <a:pt x="84" y="83"/>
                    </a:cubicBezTo>
                    <a:cubicBezTo>
                      <a:pt x="84" y="84"/>
                      <a:pt x="85" y="85"/>
                      <a:pt x="85" y="84"/>
                    </a:cubicBezTo>
                    <a:cubicBezTo>
                      <a:pt x="85" y="85"/>
                      <a:pt x="84" y="86"/>
                      <a:pt x="84" y="87"/>
                    </a:cubicBezTo>
                    <a:cubicBezTo>
                      <a:pt x="85" y="88"/>
                      <a:pt x="84" y="87"/>
                      <a:pt x="84" y="87"/>
                    </a:cubicBezTo>
                    <a:cubicBezTo>
                      <a:pt x="84" y="88"/>
                      <a:pt x="84" y="90"/>
                      <a:pt x="86" y="90"/>
                    </a:cubicBezTo>
                    <a:cubicBezTo>
                      <a:pt x="85" y="89"/>
                      <a:pt x="85" y="89"/>
                      <a:pt x="85" y="89"/>
                    </a:cubicBezTo>
                    <a:cubicBezTo>
                      <a:pt x="85" y="89"/>
                      <a:pt x="85" y="89"/>
                      <a:pt x="86" y="89"/>
                    </a:cubicBezTo>
                    <a:cubicBezTo>
                      <a:pt x="86" y="89"/>
                      <a:pt x="86" y="90"/>
                      <a:pt x="86" y="90"/>
                    </a:cubicBezTo>
                    <a:cubicBezTo>
                      <a:pt x="87" y="90"/>
                      <a:pt x="88" y="91"/>
                      <a:pt x="88" y="90"/>
                    </a:cubicBezTo>
                    <a:cubicBezTo>
                      <a:pt x="88" y="90"/>
                      <a:pt x="88" y="90"/>
                      <a:pt x="87" y="90"/>
                    </a:cubicBezTo>
                    <a:cubicBezTo>
                      <a:pt x="88" y="89"/>
                      <a:pt x="88" y="90"/>
                      <a:pt x="88" y="90"/>
                    </a:cubicBezTo>
                    <a:cubicBezTo>
                      <a:pt x="88" y="91"/>
                      <a:pt x="89" y="91"/>
                      <a:pt x="88" y="91"/>
                    </a:cubicBezTo>
                    <a:cubicBezTo>
                      <a:pt x="88" y="91"/>
                      <a:pt x="88" y="91"/>
                      <a:pt x="88" y="92"/>
                    </a:cubicBezTo>
                    <a:cubicBezTo>
                      <a:pt x="88" y="91"/>
                      <a:pt x="88" y="91"/>
                      <a:pt x="88" y="91"/>
                    </a:cubicBezTo>
                    <a:cubicBezTo>
                      <a:pt x="88" y="91"/>
                      <a:pt x="88" y="92"/>
                      <a:pt x="88" y="92"/>
                    </a:cubicBezTo>
                    <a:cubicBezTo>
                      <a:pt x="88" y="92"/>
                      <a:pt x="86" y="90"/>
                      <a:pt x="86" y="90"/>
                    </a:cubicBezTo>
                    <a:cubicBezTo>
                      <a:pt x="86" y="90"/>
                      <a:pt x="87" y="92"/>
                      <a:pt x="89" y="93"/>
                    </a:cubicBezTo>
                    <a:cubicBezTo>
                      <a:pt x="91" y="95"/>
                      <a:pt x="92" y="97"/>
                      <a:pt x="92" y="97"/>
                    </a:cubicBezTo>
                    <a:cubicBezTo>
                      <a:pt x="93" y="98"/>
                      <a:pt x="93" y="98"/>
                      <a:pt x="93" y="99"/>
                    </a:cubicBezTo>
                    <a:cubicBezTo>
                      <a:pt x="93" y="100"/>
                      <a:pt x="94" y="100"/>
                      <a:pt x="94" y="100"/>
                    </a:cubicBezTo>
                    <a:cubicBezTo>
                      <a:pt x="95" y="101"/>
                      <a:pt x="96" y="103"/>
                      <a:pt x="96" y="105"/>
                    </a:cubicBezTo>
                    <a:cubicBezTo>
                      <a:pt x="96" y="104"/>
                      <a:pt x="97" y="106"/>
                      <a:pt x="98" y="107"/>
                    </a:cubicBezTo>
                    <a:cubicBezTo>
                      <a:pt x="98" y="107"/>
                      <a:pt x="98" y="109"/>
                      <a:pt x="99" y="108"/>
                    </a:cubicBezTo>
                    <a:cubicBezTo>
                      <a:pt x="99" y="109"/>
                      <a:pt x="101" y="111"/>
                      <a:pt x="101" y="112"/>
                    </a:cubicBezTo>
                    <a:cubicBezTo>
                      <a:pt x="101" y="112"/>
                      <a:pt x="101" y="112"/>
                      <a:pt x="101" y="112"/>
                    </a:cubicBezTo>
                    <a:cubicBezTo>
                      <a:pt x="101" y="113"/>
                      <a:pt x="101" y="114"/>
                      <a:pt x="101" y="115"/>
                    </a:cubicBezTo>
                    <a:cubicBezTo>
                      <a:pt x="101" y="116"/>
                      <a:pt x="101" y="116"/>
                      <a:pt x="101" y="116"/>
                    </a:cubicBezTo>
                    <a:cubicBezTo>
                      <a:pt x="101" y="117"/>
                      <a:pt x="101" y="118"/>
                      <a:pt x="101" y="118"/>
                    </a:cubicBezTo>
                    <a:cubicBezTo>
                      <a:pt x="102" y="119"/>
                      <a:pt x="102" y="120"/>
                      <a:pt x="102" y="122"/>
                    </a:cubicBezTo>
                    <a:cubicBezTo>
                      <a:pt x="102" y="122"/>
                      <a:pt x="103" y="123"/>
                      <a:pt x="103" y="123"/>
                    </a:cubicBezTo>
                    <a:cubicBezTo>
                      <a:pt x="104" y="123"/>
                      <a:pt x="103" y="124"/>
                      <a:pt x="103" y="125"/>
                    </a:cubicBezTo>
                    <a:cubicBezTo>
                      <a:pt x="103" y="126"/>
                      <a:pt x="103" y="127"/>
                      <a:pt x="103" y="128"/>
                    </a:cubicBezTo>
                    <a:cubicBezTo>
                      <a:pt x="102" y="128"/>
                      <a:pt x="101" y="129"/>
                      <a:pt x="101" y="130"/>
                    </a:cubicBezTo>
                    <a:cubicBezTo>
                      <a:pt x="101" y="130"/>
                      <a:pt x="100" y="131"/>
                      <a:pt x="99" y="131"/>
                    </a:cubicBezTo>
                    <a:cubicBezTo>
                      <a:pt x="100" y="131"/>
                      <a:pt x="101" y="131"/>
                      <a:pt x="101" y="131"/>
                    </a:cubicBezTo>
                    <a:cubicBezTo>
                      <a:pt x="102" y="131"/>
                      <a:pt x="102" y="132"/>
                      <a:pt x="102" y="132"/>
                    </a:cubicBezTo>
                    <a:cubicBezTo>
                      <a:pt x="102" y="133"/>
                      <a:pt x="101" y="134"/>
                      <a:pt x="100" y="134"/>
                    </a:cubicBezTo>
                    <a:cubicBezTo>
                      <a:pt x="99" y="134"/>
                      <a:pt x="97" y="134"/>
                      <a:pt x="97" y="136"/>
                    </a:cubicBezTo>
                    <a:cubicBezTo>
                      <a:pt x="98" y="136"/>
                      <a:pt x="98" y="137"/>
                      <a:pt x="98" y="137"/>
                    </a:cubicBezTo>
                    <a:cubicBezTo>
                      <a:pt x="98" y="138"/>
                      <a:pt x="98" y="138"/>
                      <a:pt x="98" y="139"/>
                    </a:cubicBezTo>
                    <a:cubicBezTo>
                      <a:pt x="98" y="140"/>
                      <a:pt x="99" y="142"/>
                      <a:pt x="100" y="143"/>
                    </a:cubicBezTo>
                    <a:cubicBezTo>
                      <a:pt x="100" y="144"/>
                      <a:pt x="101" y="144"/>
                      <a:pt x="101" y="145"/>
                    </a:cubicBezTo>
                    <a:cubicBezTo>
                      <a:pt x="101" y="145"/>
                      <a:pt x="101" y="146"/>
                      <a:pt x="102" y="147"/>
                    </a:cubicBezTo>
                    <a:cubicBezTo>
                      <a:pt x="102" y="147"/>
                      <a:pt x="102" y="147"/>
                      <a:pt x="103" y="147"/>
                    </a:cubicBezTo>
                    <a:cubicBezTo>
                      <a:pt x="103" y="147"/>
                      <a:pt x="103" y="147"/>
                      <a:pt x="103" y="147"/>
                    </a:cubicBezTo>
                    <a:cubicBezTo>
                      <a:pt x="104" y="147"/>
                      <a:pt x="103" y="148"/>
                      <a:pt x="104" y="148"/>
                    </a:cubicBezTo>
                    <a:cubicBezTo>
                      <a:pt x="104" y="148"/>
                      <a:pt x="105" y="149"/>
                      <a:pt x="105" y="149"/>
                    </a:cubicBezTo>
                    <a:cubicBezTo>
                      <a:pt x="106" y="149"/>
                      <a:pt x="106" y="149"/>
                      <a:pt x="107" y="149"/>
                    </a:cubicBezTo>
                    <a:cubicBezTo>
                      <a:pt x="108" y="149"/>
                      <a:pt x="107" y="150"/>
                      <a:pt x="108" y="150"/>
                    </a:cubicBezTo>
                    <a:cubicBezTo>
                      <a:pt x="108" y="151"/>
                      <a:pt x="109" y="151"/>
                      <a:pt x="109" y="151"/>
                    </a:cubicBezTo>
                    <a:cubicBezTo>
                      <a:pt x="110" y="152"/>
                      <a:pt x="111" y="152"/>
                      <a:pt x="112" y="153"/>
                    </a:cubicBezTo>
                    <a:cubicBezTo>
                      <a:pt x="112" y="154"/>
                      <a:pt x="113" y="154"/>
                      <a:pt x="113" y="155"/>
                    </a:cubicBezTo>
                    <a:cubicBezTo>
                      <a:pt x="113" y="155"/>
                      <a:pt x="113" y="155"/>
                      <a:pt x="113" y="155"/>
                    </a:cubicBezTo>
                    <a:cubicBezTo>
                      <a:pt x="113" y="156"/>
                      <a:pt x="114" y="156"/>
                      <a:pt x="114" y="157"/>
                    </a:cubicBezTo>
                    <a:cubicBezTo>
                      <a:pt x="114" y="158"/>
                      <a:pt x="115" y="158"/>
                      <a:pt x="116" y="159"/>
                    </a:cubicBezTo>
                    <a:cubicBezTo>
                      <a:pt x="118" y="159"/>
                      <a:pt x="119" y="160"/>
                      <a:pt x="120" y="160"/>
                    </a:cubicBezTo>
                    <a:cubicBezTo>
                      <a:pt x="122" y="161"/>
                      <a:pt x="123" y="161"/>
                      <a:pt x="125" y="162"/>
                    </a:cubicBezTo>
                    <a:cubicBezTo>
                      <a:pt x="126" y="162"/>
                      <a:pt x="126" y="163"/>
                      <a:pt x="127" y="162"/>
                    </a:cubicBezTo>
                    <a:cubicBezTo>
                      <a:pt x="127" y="162"/>
                      <a:pt x="128" y="161"/>
                      <a:pt x="128" y="162"/>
                    </a:cubicBezTo>
                    <a:cubicBezTo>
                      <a:pt x="130" y="162"/>
                      <a:pt x="130" y="164"/>
                      <a:pt x="131" y="165"/>
                    </a:cubicBezTo>
                    <a:cubicBezTo>
                      <a:pt x="131" y="166"/>
                      <a:pt x="132" y="165"/>
                      <a:pt x="132" y="166"/>
                    </a:cubicBezTo>
                    <a:cubicBezTo>
                      <a:pt x="133" y="167"/>
                      <a:pt x="133" y="167"/>
                      <a:pt x="134" y="167"/>
                    </a:cubicBezTo>
                    <a:cubicBezTo>
                      <a:pt x="134" y="168"/>
                      <a:pt x="135" y="168"/>
                      <a:pt x="136" y="169"/>
                    </a:cubicBezTo>
                    <a:cubicBezTo>
                      <a:pt x="136" y="169"/>
                      <a:pt x="136" y="170"/>
                      <a:pt x="137" y="170"/>
                    </a:cubicBezTo>
                    <a:cubicBezTo>
                      <a:pt x="138" y="171"/>
                      <a:pt x="139" y="171"/>
                      <a:pt x="141" y="172"/>
                    </a:cubicBezTo>
                    <a:cubicBezTo>
                      <a:pt x="141" y="172"/>
                      <a:pt x="142" y="172"/>
                      <a:pt x="143" y="172"/>
                    </a:cubicBezTo>
                    <a:cubicBezTo>
                      <a:pt x="143" y="173"/>
                      <a:pt x="144" y="173"/>
                      <a:pt x="145" y="173"/>
                    </a:cubicBezTo>
                    <a:cubicBezTo>
                      <a:pt x="145" y="173"/>
                      <a:pt x="146" y="174"/>
                      <a:pt x="146" y="174"/>
                    </a:cubicBezTo>
                    <a:cubicBezTo>
                      <a:pt x="146" y="174"/>
                      <a:pt x="146" y="174"/>
                      <a:pt x="146" y="174"/>
                    </a:cubicBezTo>
                    <a:cubicBezTo>
                      <a:pt x="146" y="174"/>
                      <a:pt x="147" y="174"/>
                      <a:pt x="147" y="174"/>
                    </a:cubicBezTo>
                    <a:cubicBezTo>
                      <a:pt x="146" y="175"/>
                      <a:pt x="147" y="175"/>
                      <a:pt x="148" y="176"/>
                    </a:cubicBezTo>
                    <a:cubicBezTo>
                      <a:pt x="150" y="176"/>
                      <a:pt x="153" y="176"/>
                      <a:pt x="155" y="177"/>
                    </a:cubicBezTo>
                    <a:cubicBezTo>
                      <a:pt x="155" y="177"/>
                      <a:pt x="155" y="178"/>
                      <a:pt x="156" y="177"/>
                    </a:cubicBezTo>
                    <a:cubicBezTo>
                      <a:pt x="156" y="177"/>
                      <a:pt x="156" y="177"/>
                      <a:pt x="157" y="177"/>
                    </a:cubicBezTo>
                    <a:cubicBezTo>
                      <a:pt x="157" y="178"/>
                      <a:pt x="157" y="179"/>
                      <a:pt x="158" y="179"/>
                    </a:cubicBezTo>
                    <a:cubicBezTo>
                      <a:pt x="159" y="180"/>
                      <a:pt x="160" y="180"/>
                      <a:pt x="161" y="181"/>
                    </a:cubicBezTo>
                    <a:cubicBezTo>
                      <a:pt x="161" y="181"/>
                      <a:pt x="162" y="181"/>
                      <a:pt x="163" y="181"/>
                    </a:cubicBezTo>
                    <a:cubicBezTo>
                      <a:pt x="162" y="181"/>
                      <a:pt x="162" y="181"/>
                      <a:pt x="162" y="181"/>
                    </a:cubicBezTo>
                    <a:cubicBezTo>
                      <a:pt x="162" y="182"/>
                      <a:pt x="163" y="182"/>
                      <a:pt x="163" y="182"/>
                    </a:cubicBezTo>
                    <a:cubicBezTo>
                      <a:pt x="163" y="182"/>
                      <a:pt x="164" y="183"/>
                      <a:pt x="164" y="183"/>
                    </a:cubicBezTo>
                    <a:cubicBezTo>
                      <a:pt x="165" y="183"/>
                      <a:pt x="165" y="184"/>
                      <a:pt x="165" y="184"/>
                    </a:cubicBezTo>
                    <a:cubicBezTo>
                      <a:pt x="167" y="184"/>
                      <a:pt x="169" y="184"/>
                      <a:pt x="170" y="184"/>
                    </a:cubicBezTo>
                    <a:cubicBezTo>
                      <a:pt x="171" y="185"/>
                      <a:pt x="172" y="185"/>
                      <a:pt x="173" y="186"/>
                    </a:cubicBezTo>
                    <a:cubicBezTo>
                      <a:pt x="174" y="187"/>
                      <a:pt x="175" y="187"/>
                      <a:pt x="176" y="187"/>
                    </a:cubicBezTo>
                    <a:cubicBezTo>
                      <a:pt x="176" y="187"/>
                      <a:pt x="177" y="187"/>
                      <a:pt x="177" y="187"/>
                    </a:cubicBezTo>
                    <a:cubicBezTo>
                      <a:pt x="178" y="187"/>
                      <a:pt x="178" y="187"/>
                      <a:pt x="178" y="187"/>
                    </a:cubicBezTo>
                    <a:cubicBezTo>
                      <a:pt x="179" y="187"/>
                      <a:pt x="180" y="187"/>
                      <a:pt x="180" y="187"/>
                    </a:cubicBezTo>
                    <a:cubicBezTo>
                      <a:pt x="182" y="186"/>
                      <a:pt x="184" y="185"/>
                      <a:pt x="186" y="184"/>
                    </a:cubicBezTo>
                    <a:cubicBezTo>
                      <a:pt x="187" y="184"/>
                      <a:pt x="188" y="184"/>
                      <a:pt x="188" y="183"/>
                    </a:cubicBezTo>
                    <a:cubicBezTo>
                      <a:pt x="188" y="183"/>
                      <a:pt x="190" y="182"/>
                      <a:pt x="190" y="182"/>
                    </a:cubicBezTo>
                    <a:cubicBezTo>
                      <a:pt x="190" y="182"/>
                      <a:pt x="191" y="182"/>
                      <a:pt x="191" y="181"/>
                    </a:cubicBezTo>
                    <a:cubicBezTo>
                      <a:pt x="191" y="181"/>
                      <a:pt x="191" y="181"/>
                      <a:pt x="191" y="181"/>
                    </a:cubicBezTo>
                    <a:cubicBezTo>
                      <a:pt x="192" y="181"/>
                      <a:pt x="193" y="181"/>
                      <a:pt x="194" y="181"/>
                    </a:cubicBezTo>
                    <a:cubicBezTo>
                      <a:pt x="194" y="181"/>
                      <a:pt x="195" y="181"/>
                      <a:pt x="194" y="181"/>
                    </a:cubicBezTo>
                    <a:cubicBezTo>
                      <a:pt x="194" y="181"/>
                      <a:pt x="193" y="181"/>
                      <a:pt x="193" y="181"/>
                    </a:cubicBezTo>
                    <a:cubicBezTo>
                      <a:pt x="193" y="181"/>
                      <a:pt x="194" y="181"/>
                      <a:pt x="194" y="181"/>
                    </a:cubicBezTo>
                    <a:cubicBezTo>
                      <a:pt x="193" y="181"/>
                      <a:pt x="191" y="181"/>
                      <a:pt x="192" y="180"/>
                    </a:cubicBezTo>
                    <a:cubicBezTo>
                      <a:pt x="192" y="180"/>
                      <a:pt x="192" y="180"/>
                      <a:pt x="193" y="180"/>
                    </a:cubicBezTo>
                    <a:cubicBezTo>
                      <a:pt x="193" y="179"/>
                      <a:pt x="193" y="179"/>
                      <a:pt x="193" y="179"/>
                    </a:cubicBezTo>
                    <a:cubicBezTo>
                      <a:pt x="194" y="178"/>
                      <a:pt x="194" y="179"/>
                      <a:pt x="194" y="180"/>
                    </a:cubicBezTo>
                    <a:cubicBezTo>
                      <a:pt x="194" y="180"/>
                      <a:pt x="194" y="180"/>
                      <a:pt x="194" y="180"/>
                    </a:cubicBezTo>
                    <a:cubicBezTo>
                      <a:pt x="194" y="181"/>
                      <a:pt x="195" y="180"/>
                      <a:pt x="195" y="180"/>
                    </a:cubicBezTo>
                    <a:cubicBezTo>
                      <a:pt x="195" y="180"/>
                      <a:pt x="196" y="179"/>
                      <a:pt x="196" y="180"/>
                    </a:cubicBezTo>
                    <a:cubicBezTo>
                      <a:pt x="197" y="181"/>
                      <a:pt x="195" y="181"/>
                      <a:pt x="195" y="181"/>
                    </a:cubicBezTo>
                    <a:cubicBezTo>
                      <a:pt x="195" y="181"/>
                      <a:pt x="197" y="181"/>
                      <a:pt x="198" y="182"/>
                    </a:cubicBezTo>
                    <a:cubicBezTo>
                      <a:pt x="199" y="182"/>
                      <a:pt x="200" y="183"/>
                      <a:pt x="202" y="183"/>
                    </a:cubicBezTo>
                    <a:cubicBezTo>
                      <a:pt x="201" y="183"/>
                      <a:pt x="200" y="181"/>
                      <a:pt x="198" y="181"/>
                    </a:cubicBezTo>
                    <a:cubicBezTo>
                      <a:pt x="199" y="182"/>
                      <a:pt x="199" y="182"/>
                      <a:pt x="199" y="182"/>
                    </a:cubicBezTo>
                    <a:cubicBezTo>
                      <a:pt x="198" y="182"/>
                      <a:pt x="197" y="181"/>
                      <a:pt x="198" y="180"/>
                    </a:cubicBezTo>
                    <a:cubicBezTo>
                      <a:pt x="198" y="180"/>
                      <a:pt x="199" y="181"/>
                      <a:pt x="200" y="181"/>
                    </a:cubicBezTo>
                    <a:cubicBezTo>
                      <a:pt x="200" y="181"/>
                      <a:pt x="200" y="181"/>
                      <a:pt x="201" y="181"/>
                    </a:cubicBezTo>
                    <a:cubicBezTo>
                      <a:pt x="201" y="182"/>
                      <a:pt x="201" y="182"/>
                      <a:pt x="202" y="182"/>
                    </a:cubicBezTo>
                    <a:cubicBezTo>
                      <a:pt x="202" y="182"/>
                      <a:pt x="203" y="182"/>
                      <a:pt x="203" y="183"/>
                    </a:cubicBezTo>
                    <a:cubicBezTo>
                      <a:pt x="203" y="184"/>
                      <a:pt x="202" y="183"/>
                      <a:pt x="202" y="183"/>
                    </a:cubicBezTo>
                    <a:cubicBezTo>
                      <a:pt x="202" y="183"/>
                      <a:pt x="204" y="185"/>
                      <a:pt x="204" y="185"/>
                    </a:cubicBezTo>
                    <a:cubicBezTo>
                      <a:pt x="205" y="186"/>
                      <a:pt x="206" y="187"/>
                      <a:pt x="207" y="188"/>
                    </a:cubicBezTo>
                    <a:cubicBezTo>
                      <a:pt x="208" y="189"/>
                      <a:pt x="209" y="190"/>
                      <a:pt x="209" y="191"/>
                    </a:cubicBezTo>
                    <a:cubicBezTo>
                      <a:pt x="210" y="191"/>
                      <a:pt x="210" y="192"/>
                      <a:pt x="211" y="192"/>
                    </a:cubicBezTo>
                    <a:cubicBezTo>
                      <a:pt x="211" y="192"/>
                      <a:pt x="212" y="192"/>
                      <a:pt x="212" y="192"/>
                    </a:cubicBezTo>
                    <a:cubicBezTo>
                      <a:pt x="212" y="193"/>
                      <a:pt x="212" y="193"/>
                      <a:pt x="212" y="193"/>
                    </a:cubicBezTo>
                    <a:cubicBezTo>
                      <a:pt x="212" y="193"/>
                      <a:pt x="212" y="193"/>
                      <a:pt x="211" y="193"/>
                    </a:cubicBezTo>
                    <a:cubicBezTo>
                      <a:pt x="212" y="194"/>
                      <a:pt x="213" y="195"/>
                      <a:pt x="213" y="196"/>
                    </a:cubicBezTo>
                    <a:cubicBezTo>
                      <a:pt x="214" y="197"/>
                      <a:pt x="215" y="197"/>
                      <a:pt x="215" y="198"/>
                    </a:cubicBezTo>
                    <a:cubicBezTo>
                      <a:pt x="216" y="199"/>
                      <a:pt x="216" y="200"/>
                      <a:pt x="217" y="199"/>
                    </a:cubicBezTo>
                    <a:cubicBezTo>
                      <a:pt x="217" y="198"/>
                      <a:pt x="217" y="198"/>
                      <a:pt x="217" y="197"/>
                    </a:cubicBezTo>
                    <a:cubicBezTo>
                      <a:pt x="217" y="197"/>
                      <a:pt x="217" y="196"/>
                      <a:pt x="217" y="196"/>
                    </a:cubicBezTo>
                    <a:cubicBezTo>
                      <a:pt x="218" y="195"/>
                      <a:pt x="218" y="195"/>
                      <a:pt x="218" y="195"/>
                    </a:cubicBezTo>
                    <a:cubicBezTo>
                      <a:pt x="218" y="194"/>
                      <a:pt x="219" y="194"/>
                      <a:pt x="219" y="193"/>
                    </a:cubicBezTo>
                    <a:cubicBezTo>
                      <a:pt x="218" y="192"/>
                      <a:pt x="217" y="192"/>
                      <a:pt x="218" y="191"/>
                    </a:cubicBezTo>
                    <a:cubicBezTo>
                      <a:pt x="220" y="188"/>
                      <a:pt x="221" y="186"/>
                      <a:pt x="222" y="184"/>
                    </a:cubicBezTo>
                    <a:cubicBezTo>
                      <a:pt x="223" y="183"/>
                      <a:pt x="223" y="183"/>
                      <a:pt x="225" y="183"/>
                    </a:cubicBezTo>
                    <a:cubicBezTo>
                      <a:pt x="226" y="183"/>
                      <a:pt x="227" y="183"/>
                      <a:pt x="228" y="183"/>
                    </a:cubicBezTo>
                    <a:cubicBezTo>
                      <a:pt x="230" y="183"/>
                      <a:pt x="231" y="183"/>
                      <a:pt x="233" y="183"/>
                    </a:cubicBezTo>
                    <a:cubicBezTo>
                      <a:pt x="233" y="183"/>
                      <a:pt x="234" y="183"/>
                      <a:pt x="235" y="183"/>
                    </a:cubicBezTo>
                    <a:cubicBezTo>
                      <a:pt x="235" y="183"/>
                      <a:pt x="236" y="182"/>
                      <a:pt x="236" y="182"/>
                    </a:cubicBezTo>
                    <a:cubicBezTo>
                      <a:pt x="236" y="182"/>
                      <a:pt x="236" y="182"/>
                      <a:pt x="236" y="181"/>
                    </a:cubicBezTo>
                    <a:cubicBezTo>
                      <a:pt x="236" y="181"/>
                      <a:pt x="236" y="181"/>
                      <a:pt x="236" y="181"/>
                    </a:cubicBezTo>
                    <a:cubicBezTo>
                      <a:pt x="236" y="181"/>
                      <a:pt x="236" y="181"/>
                      <a:pt x="236" y="181"/>
                    </a:cubicBezTo>
                    <a:cubicBezTo>
                      <a:pt x="236" y="180"/>
                      <a:pt x="237" y="180"/>
                      <a:pt x="236" y="179"/>
                    </a:cubicBezTo>
                    <a:cubicBezTo>
                      <a:pt x="237" y="179"/>
                      <a:pt x="237" y="179"/>
                      <a:pt x="237" y="179"/>
                    </a:cubicBezTo>
                    <a:cubicBezTo>
                      <a:pt x="236" y="179"/>
                      <a:pt x="236" y="179"/>
                      <a:pt x="236" y="179"/>
                    </a:cubicBezTo>
                    <a:cubicBezTo>
                      <a:pt x="236" y="179"/>
                      <a:pt x="236" y="178"/>
                      <a:pt x="235" y="178"/>
                    </a:cubicBezTo>
                    <a:cubicBezTo>
                      <a:pt x="235" y="178"/>
                      <a:pt x="235" y="178"/>
                      <a:pt x="234" y="178"/>
                    </a:cubicBezTo>
                    <a:cubicBezTo>
                      <a:pt x="235" y="178"/>
                      <a:pt x="235" y="177"/>
                      <a:pt x="234" y="177"/>
                    </a:cubicBezTo>
                    <a:cubicBezTo>
                      <a:pt x="235" y="176"/>
                      <a:pt x="234" y="175"/>
                      <a:pt x="233" y="175"/>
                    </a:cubicBezTo>
                    <a:cubicBezTo>
                      <a:pt x="233" y="174"/>
                      <a:pt x="232" y="174"/>
                      <a:pt x="232" y="174"/>
                    </a:cubicBezTo>
                    <a:cubicBezTo>
                      <a:pt x="232" y="173"/>
                      <a:pt x="232" y="174"/>
                      <a:pt x="232" y="174"/>
                    </a:cubicBezTo>
                    <a:cubicBezTo>
                      <a:pt x="231" y="173"/>
                      <a:pt x="231" y="173"/>
                      <a:pt x="231" y="173"/>
                    </a:cubicBezTo>
                    <a:cubicBezTo>
                      <a:pt x="230" y="172"/>
                      <a:pt x="230" y="172"/>
                      <a:pt x="230" y="172"/>
                    </a:cubicBezTo>
                    <a:cubicBezTo>
                      <a:pt x="230" y="171"/>
                      <a:pt x="229" y="171"/>
                      <a:pt x="229" y="171"/>
                    </a:cubicBezTo>
                    <a:cubicBezTo>
                      <a:pt x="229" y="170"/>
                      <a:pt x="229" y="170"/>
                      <a:pt x="228" y="170"/>
                    </a:cubicBezTo>
                    <a:cubicBezTo>
                      <a:pt x="228" y="170"/>
                      <a:pt x="228" y="170"/>
                      <a:pt x="228" y="170"/>
                    </a:cubicBezTo>
                    <a:cubicBezTo>
                      <a:pt x="229" y="169"/>
                      <a:pt x="230" y="170"/>
                      <a:pt x="231" y="170"/>
                    </a:cubicBezTo>
                    <a:cubicBezTo>
                      <a:pt x="231" y="170"/>
                      <a:pt x="232" y="170"/>
                      <a:pt x="232" y="169"/>
                    </a:cubicBezTo>
                    <a:cubicBezTo>
                      <a:pt x="232" y="169"/>
                      <a:pt x="232" y="169"/>
                      <a:pt x="232" y="168"/>
                    </a:cubicBezTo>
                    <a:cubicBezTo>
                      <a:pt x="233" y="167"/>
                      <a:pt x="233" y="165"/>
                      <a:pt x="233" y="164"/>
                    </a:cubicBezTo>
                    <a:cubicBezTo>
                      <a:pt x="233" y="163"/>
                      <a:pt x="235" y="163"/>
                      <a:pt x="236" y="163"/>
                    </a:cubicBezTo>
                    <a:cubicBezTo>
                      <a:pt x="237" y="163"/>
                      <a:pt x="239" y="163"/>
                      <a:pt x="240" y="163"/>
                    </a:cubicBezTo>
                    <a:cubicBezTo>
                      <a:pt x="243" y="163"/>
                      <a:pt x="247" y="163"/>
                      <a:pt x="250" y="163"/>
                    </a:cubicBezTo>
                    <a:cubicBezTo>
                      <a:pt x="251" y="163"/>
                      <a:pt x="251" y="162"/>
                      <a:pt x="252" y="162"/>
                    </a:cubicBezTo>
                    <a:cubicBezTo>
                      <a:pt x="252" y="161"/>
                      <a:pt x="253" y="163"/>
                      <a:pt x="254" y="162"/>
                    </a:cubicBezTo>
                    <a:cubicBezTo>
                      <a:pt x="254" y="162"/>
                      <a:pt x="255" y="161"/>
                      <a:pt x="255" y="160"/>
                    </a:cubicBezTo>
                    <a:cubicBezTo>
                      <a:pt x="256" y="160"/>
                      <a:pt x="256" y="159"/>
                      <a:pt x="256" y="159"/>
                    </a:cubicBezTo>
                    <a:cubicBezTo>
                      <a:pt x="257" y="159"/>
                      <a:pt x="257" y="158"/>
                      <a:pt x="257" y="157"/>
                    </a:cubicBezTo>
                    <a:cubicBezTo>
                      <a:pt x="258" y="156"/>
                      <a:pt x="258" y="156"/>
                      <a:pt x="259" y="156"/>
                    </a:cubicBezTo>
                    <a:cubicBezTo>
                      <a:pt x="260" y="156"/>
                      <a:pt x="260" y="156"/>
                      <a:pt x="261" y="155"/>
                    </a:cubicBezTo>
                    <a:cubicBezTo>
                      <a:pt x="261" y="155"/>
                      <a:pt x="261" y="154"/>
                      <a:pt x="261" y="154"/>
                    </a:cubicBezTo>
                    <a:cubicBezTo>
                      <a:pt x="261" y="154"/>
                      <a:pt x="261" y="154"/>
                      <a:pt x="261" y="154"/>
                    </a:cubicBezTo>
                    <a:cubicBezTo>
                      <a:pt x="261" y="154"/>
                      <a:pt x="261" y="154"/>
                      <a:pt x="261" y="154"/>
                    </a:cubicBezTo>
                    <a:cubicBezTo>
                      <a:pt x="261" y="154"/>
                      <a:pt x="261" y="154"/>
                      <a:pt x="260" y="154"/>
                    </a:cubicBezTo>
                    <a:cubicBezTo>
                      <a:pt x="261" y="154"/>
                      <a:pt x="261" y="153"/>
                      <a:pt x="261" y="154"/>
                    </a:cubicBezTo>
                    <a:cubicBezTo>
                      <a:pt x="262" y="154"/>
                      <a:pt x="262" y="152"/>
                      <a:pt x="263" y="152"/>
                    </a:cubicBezTo>
                    <a:cubicBezTo>
                      <a:pt x="263" y="153"/>
                      <a:pt x="263" y="154"/>
                      <a:pt x="262" y="155"/>
                    </a:cubicBezTo>
                    <a:cubicBezTo>
                      <a:pt x="262" y="155"/>
                      <a:pt x="262" y="156"/>
                      <a:pt x="262" y="156"/>
                    </a:cubicBezTo>
                    <a:cubicBezTo>
                      <a:pt x="263" y="157"/>
                      <a:pt x="263" y="157"/>
                      <a:pt x="263" y="158"/>
                    </a:cubicBezTo>
                    <a:cubicBezTo>
                      <a:pt x="263" y="158"/>
                      <a:pt x="263" y="159"/>
                      <a:pt x="263" y="159"/>
                    </a:cubicBezTo>
                    <a:cubicBezTo>
                      <a:pt x="263" y="159"/>
                      <a:pt x="263" y="159"/>
                      <a:pt x="264" y="159"/>
                    </a:cubicBezTo>
                    <a:cubicBezTo>
                      <a:pt x="264" y="159"/>
                      <a:pt x="264" y="158"/>
                      <a:pt x="264" y="158"/>
                    </a:cubicBezTo>
                    <a:cubicBezTo>
                      <a:pt x="265" y="157"/>
                      <a:pt x="265" y="157"/>
                      <a:pt x="265" y="156"/>
                    </a:cubicBezTo>
                    <a:cubicBezTo>
                      <a:pt x="265" y="156"/>
                      <a:pt x="265" y="155"/>
                      <a:pt x="265" y="154"/>
                    </a:cubicBezTo>
                    <a:cubicBezTo>
                      <a:pt x="266" y="154"/>
                      <a:pt x="266" y="154"/>
                      <a:pt x="266" y="153"/>
                    </a:cubicBezTo>
                    <a:cubicBezTo>
                      <a:pt x="267" y="151"/>
                      <a:pt x="267" y="148"/>
                      <a:pt x="269" y="147"/>
                    </a:cubicBezTo>
                    <a:cubicBezTo>
                      <a:pt x="269" y="147"/>
                      <a:pt x="269" y="147"/>
                      <a:pt x="269" y="147"/>
                    </a:cubicBezTo>
                    <a:cubicBezTo>
                      <a:pt x="269" y="147"/>
                      <a:pt x="268" y="147"/>
                      <a:pt x="268" y="147"/>
                    </a:cubicBezTo>
                    <a:cubicBezTo>
                      <a:pt x="268" y="147"/>
                      <a:pt x="268" y="148"/>
                      <a:pt x="267" y="148"/>
                    </a:cubicBezTo>
                    <a:cubicBezTo>
                      <a:pt x="267" y="148"/>
                      <a:pt x="267" y="147"/>
                      <a:pt x="267" y="147"/>
                    </a:cubicBezTo>
                    <a:cubicBezTo>
                      <a:pt x="267" y="147"/>
                      <a:pt x="268" y="146"/>
                      <a:pt x="269" y="146"/>
                    </a:cubicBezTo>
                    <a:cubicBezTo>
                      <a:pt x="268" y="146"/>
                      <a:pt x="268" y="146"/>
                      <a:pt x="268" y="146"/>
                    </a:cubicBezTo>
                    <a:cubicBezTo>
                      <a:pt x="269" y="146"/>
                      <a:pt x="270" y="144"/>
                      <a:pt x="270" y="144"/>
                    </a:cubicBezTo>
                    <a:cubicBezTo>
                      <a:pt x="270" y="144"/>
                      <a:pt x="269" y="144"/>
                      <a:pt x="269" y="144"/>
                    </a:cubicBezTo>
                    <a:cubicBezTo>
                      <a:pt x="269" y="144"/>
                      <a:pt x="270" y="144"/>
                      <a:pt x="270" y="144"/>
                    </a:cubicBezTo>
                    <a:cubicBezTo>
                      <a:pt x="270" y="144"/>
                      <a:pt x="269" y="144"/>
                      <a:pt x="269" y="144"/>
                    </a:cubicBezTo>
                    <a:cubicBezTo>
                      <a:pt x="268" y="144"/>
                      <a:pt x="268" y="145"/>
                      <a:pt x="268" y="145"/>
                    </a:cubicBezTo>
                    <a:cubicBezTo>
                      <a:pt x="268" y="145"/>
                      <a:pt x="267" y="144"/>
                      <a:pt x="267" y="144"/>
                    </a:cubicBezTo>
                    <a:cubicBezTo>
                      <a:pt x="267" y="144"/>
                      <a:pt x="267" y="143"/>
                      <a:pt x="267" y="143"/>
                    </a:cubicBezTo>
                    <a:cubicBezTo>
                      <a:pt x="267" y="143"/>
                      <a:pt x="268" y="143"/>
                      <a:pt x="268" y="144"/>
                    </a:cubicBezTo>
                    <a:cubicBezTo>
                      <a:pt x="268" y="143"/>
                      <a:pt x="268" y="142"/>
                      <a:pt x="269" y="142"/>
                    </a:cubicBezTo>
                    <a:cubicBezTo>
                      <a:pt x="270" y="141"/>
                      <a:pt x="270" y="141"/>
                      <a:pt x="270" y="140"/>
                    </a:cubicBezTo>
                    <a:cubicBezTo>
                      <a:pt x="270" y="141"/>
                      <a:pt x="270" y="141"/>
                      <a:pt x="270" y="142"/>
                    </a:cubicBezTo>
                    <a:cubicBezTo>
                      <a:pt x="270" y="141"/>
                      <a:pt x="270" y="141"/>
                      <a:pt x="270" y="140"/>
                    </a:cubicBezTo>
                    <a:cubicBezTo>
                      <a:pt x="270" y="139"/>
                      <a:pt x="270" y="138"/>
                      <a:pt x="271" y="138"/>
                    </a:cubicBezTo>
                    <a:cubicBezTo>
                      <a:pt x="271" y="136"/>
                      <a:pt x="272" y="135"/>
                      <a:pt x="273" y="134"/>
                    </a:cubicBezTo>
                    <a:cubicBezTo>
                      <a:pt x="274" y="133"/>
                      <a:pt x="276" y="132"/>
                      <a:pt x="277" y="131"/>
                    </a:cubicBezTo>
                    <a:cubicBezTo>
                      <a:pt x="277" y="130"/>
                      <a:pt x="277" y="129"/>
                      <a:pt x="278" y="129"/>
                    </a:cubicBezTo>
                    <a:cubicBezTo>
                      <a:pt x="278" y="128"/>
                      <a:pt x="278" y="128"/>
                      <a:pt x="278" y="128"/>
                    </a:cubicBezTo>
                    <a:cubicBezTo>
                      <a:pt x="278" y="128"/>
                      <a:pt x="278" y="127"/>
                      <a:pt x="279" y="127"/>
                    </a:cubicBezTo>
                    <a:cubicBezTo>
                      <a:pt x="278" y="127"/>
                      <a:pt x="278" y="126"/>
                      <a:pt x="278" y="125"/>
                    </a:cubicBezTo>
                    <a:close/>
                    <a:moveTo>
                      <a:pt x="180" y="91"/>
                    </a:moveTo>
                    <a:cubicBezTo>
                      <a:pt x="179" y="91"/>
                      <a:pt x="179" y="91"/>
                      <a:pt x="180" y="90"/>
                    </a:cubicBezTo>
                    <a:cubicBezTo>
                      <a:pt x="180" y="90"/>
                      <a:pt x="180" y="90"/>
                      <a:pt x="180" y="90"/>
                    </a:cubicBezTo>
                    <a:cubicBezTo>
                      <a:pt x="180" y="90"/>
                      <a:pt x="180" y="90"/>
                      <a:pt x="180" y="89"/>
                    </a:cubicBezTo>
                    <a:cubicBezTo>
                      <a:pt x="180" y="89"/>
                      <a:pt x="181" y="90"/>
                      <a:pt x="181" y="90"/>
                    </a:cubicBezTo>
                    <a:cubicBezTo>
                      <a:pt x="181" y="90"/>
                      <a:pt x="181" y="88"/>
                      <a:pt x="181" y="88"/>
                    </a:cubicBezTo>
                    <a:cubicBezTo>
                      <a:pt x="181" y="88"/>
                      <a:pt x="181" y="88"/>
                      <a:pt x="181" y="87"/>
                    </a:cubicBezTo>
                    <a:cubicBezTo>
                      <a:pt x="181" y="87"/>
                      <a:pt x="182" y="87"/>
                      <a:pt x="182" y="86"/>
                    </a:cubicBezTo>
                    <a:cubicBezTo>
                      <a:pt x="182" y="86"/>
                      <a:pt x="182" y="86"/>
                      <a:pt x="182" y="85"/>
                    </a:cubicBezTo>
                    <a:cubicBezTo>
                      <a:pt x="182" y="85"/>
                      <a:pt x="182" y="85"/>
                      <a:pt x="182" y="85"/>
                    </a:cubicBezTo>
                    <a:cubicBezTo>
                      <a:pt x="182" y="85"/>
                      <a:pt x="183" y="83"/>
                      <a:pt x="182" y="83"/>
                    </a:cubicBezTo>
                    <a:cubicBezTo>
                      <a:pt x="182" y="83"/>
                      <a:pt x="182" y="82"/>
                      <a:pt x="182" y="82"/>
                    </a:cubicBezTo>
                    <a:cubicBezTo>
                      <a:pt x="182" y="83"/>
                      <a:pt x="183" y="83"/>
                      <a:pt x="183" y="82"/>
                    </a:cubicBezTo>
                    <a:cubicBezTo>
                      <a:pt x="183" y="82"/>
                      <a:pt x="182" y="82"/>
                      <a:pt x="182" y="82"/>
                    </a:cubicBezTo>
                    <a:cubicBezTo>
                      <a:pt x="182" y="81"/>
                      <a:pt x="183" y="82"/>
                      <a:pt x="183" y="81"/>
                    </a:cubicBezTo>
                    <a:cubicBezTo>
                      <a:pt x="183" y="81"/>
                      <a:pt x="183" y="81"/>
                      <a:pt x="183" y="80"/>
                    </a:cubicBezTo>
                    <a:cubicBezTo>
                      <a:pt x="183" y="80"/>
                      <a:pt x="183" y="80"/>
                      <a:pt x="183" y="80"/>
                    </a:cubicBezTo>
                    <a:cubicBezTo>
                      <a:pt x="183" y="80"/>
                      <a:pt x="184" y="80"/>
                      <a:pt x="184" y="81"/>
                    </a:cubicBezTo>
                    <a:cubicBezTo>
                      <a:pt x="184" y="81"/>
                      <a:pt x="184" y="81"/>
                      <a:pt x="184" y="81"/>
                    </a:cubicBezTo>
                    <a:cubicBezTo>
                      <a:pt x="184" y="81"/>
                      <a:pt x="184" y="81"/>
                      <a:pt x="184" y="81"/>
                    </a:cubicBezTo>
                    <a:cubicBezTo>
                      <a:pt x="185" y="81"/>
                      <a:pt x="184" y="81"/>
                      <a:pt x="185" y="81"/>
                    </a:cubicBezTo>
                    <a:cubicBezTo>
                      <a:pt x="185" y="80"/>
                      <a:pt x="185" y="81"/>
                      <a:pt x="185" y="80"/>
                    </a:cubicBezTo>
                    <a:cubicBezTo>
                      <a:pt x="185" y="80"/>
                      <a:pt x="184" y="79"/>
                      <a:pt x="185" y="80"/>
                    </a:cubicBezTo>
                    <a:cubicBezTo>
                      <a:pt x="185" y="80"/>
                      <a:pt x="186" y="80"/>
                      <a:pt x="186" y="80"/>
                    </a:cubicBezTo>
                    <a:cubicBezTo>
                      <a:pt x="186" y="80"/>
                      <a:pt x="185" y="81"/>
                      <a:pt x="186" y="81"/>
                    </a:cubicBezTo>
                    <a:cubicBezTo>
                      <a:pt x="186" y="81"/>
                      <a:pt x="185" y="81"/>
                      <a:pt x="185" y="82"/>
                    </a:cubicBezTo>
                    <a:cubicBezTo>
                      <a:pt x="185" y="82"/>
                      <a:pt x="184" y="83"/>
                      <a:pt x="184" y="84"/>
                    </a:cubicBezTo>
                    <a:cubicBezTo>
                      <a:pt x="183" y="86"/>
                      <a:pt x="182" y="87"/>
                      <a:pt x="182" y="89"/>
                    </a:cubicBezTo>
                    <a:cubicBezTo>
                      <a:pt x="181" y="90"/>
                      <a:pt x="181" y="92"/>
                      <a:pt x="180" y="93"/>
                    </a:cubicBezTo>
                    <a:cubicBezTo>
                      <a:pt x="180" y="95"/>
                      <a:pt x="180" y="96"/>
                      <a:pt x="179" y="98"/>
                    </a:cubicBezTo>
                    <a:cubicBezTo>
                      <a:pt x="179" y="97"/>
                      <a:pt x="179" y="95"/>
                      <a:pt x="179" y="94"/>
                    </a:cubicBezTo>
                    <a:cubicBezTo>
                      <a:pt x="180" y="94"/>
                      <a:pt x="180" y="92"/>
                      <a:pt x="180" y="91"/>
                    </a:cubicBezTo>
                    <a:cubicBezTo>
                      <a:pt x="180" y="91"/>
                      <a:pt x="180" y="91"/>
                      <a:pt x="180" y="91"/>
                    </a:cubicBezTo>
                    <a:close/>
                    <a:moveTo>
                      <a:pt x="179" y="73"/>
                    </a:moveTo>
                    <a:cubicBezTo>
                      <a:pt x="179" y="73"/>
                      <a:pt x="179" y="73"/>
                      <a:pt x="179" y="73"/>
                    </a:cubicBezTo>
                    <a:cubicBezTo>
                      <a:pt x="179" y="73"/>
                      <a:pt x="179" y="73"/>
                      <a:pt x="179" y="73"/>
                    </a:cubicBezTo>
                    <a:close/>
                    <a:moveTo>
                      <a:pt x="269" y="123"/>
                    </a:moveTo>
                    <a:cubicBezTo>
                      <a:pt x="270" y="123"/>
                      <a:pt x="271" y="123"/>
                      <a:pt x="271" y="123"/>
                    </a:cubicBezTo>
                    <a:cubicBezTo>
                      <a:pt x="270" y="123"/>
                      <a:pt x="270" y="123"/>
                      <a:pt x="269" y="123"/>
                    </a:cubicBezTo>
                    <a:close/>
                    <a:moveTo>
                      <a:pt x="194" y="180"/>
                    </a:moveTo>
                    <a:cubicBezTo>
                      <a:pt x="194" y="180"/>
                      <a:pt x="194" y="181"/>
                      <a:pt x="194" y="181"/>
                    </a:cubicBezTo>
                    <a:cubicBezTo>
                      <a:pt x="194" y="181"/>
                      <a:pt x="194" y="180"/>
                      <a:pt x="194" y="180"/>
                    </a:cubicBezTo>
                    <a:close/>
                    <a:moveTo>
                      <a:pt x="53" y="43"/>
                    </a:moveTo>
                    <a:cubicBezTo>
                      <a:pt x="53" y="44"/>
                      <a:pt x="53" y="44"/>
                      <a:pt x="52" y="44"/>
                    </a:cubicBezTo>
                    <a:cubicBezTo>
                      <a:pt x="52" y="44"/>
                      <a:pt x="52" y="43"/>
                      <a:pt x="53" y="43"/>
                    </a:cubicBezTo>
                    <a:close/>
                    <a:moveTo>
                      <a:pt x="27" y="50"/>
                    </a:moveTo>
                    <a:cubicBezTo>
                      <a:pt x="26" y="50"/>
                      <a:pt x="26" y="51"/>
                      <a:pt x="26" y="51"/>
                    </a:cubicBezTo>
                    <a:cubicBezTo>
                      <a:pt x="26" y="51"/>
                      <a:pt x="25" y="51"/>
                      <a:pt x="25" y="51"/>
                    </a:cubicBezTo>
                    <a:cubicBezTo>
                      <a:pt x="25" y="50"/>
                      <a:pt x="25" y="51"/>
                      <a:pt x="25" y="51"/>
                    </a:cubicBezTo>
                    <a:cubicBezTo>
                      <a:pt x="25" y="51"/>
                      <a:pt x="25" y="50"/>
                      <a:pt x="25" y="50"/>
                    </a:cubicBezTo>
                    <a:cubicBezTo>
                      <a:pt x="25" y="50"/>
                      <a:pt x="26" y="50"/>
                      <a:pt x="26" y="49"/>
                    </a:cubicBezTo>
                    <a:cubicBezTo>
                      <a:pt x="26" y="49"/>
                      <a:pt x="26" y="48"/>
                      <a:pt x="27" y="47"/>
                    </a:cubicBezTo>
                    <a:cubicBezTo>
                      <a:pt x="27" y="48"/>
                      <a:pt x="27" y="49"/>
                      <a:pt x="27" y="50"/>
                    </a:cubicBezTo>
                    <a:close/>
                    <a:moveTo>
                      <a:pt x="60" y="86"/>
                    </a:moveTo>
                    <a:cubicBezTo>
                      <a:pt x="60" y="86"/>
                      <a:pt x="60" y="85"/>
                      <a:pt x="60" y="85"/>
                    </a:cubicBezTo>
                    <a:cubicBezTo>
                      <a:pt x="59" y="84"/>
                      <a:pt x="59" y="84"/>
                      <a:pt x="60" y="83"/>
                    </a:cubicBezTo>
                    <a:cubicBezTo>
                      <a:pt x="60" y="84"/>
                      <a:pt x="61" y="84"/>
                      <a:pt x="61" y="85"/>
                    </a:cubicBezTo>
                    <a:cubicBezTo>
                      <a:pt x="61" y="85"/>
                      <a:pt x="61" y="86"/>
                      <a:pt x="60" y="86"/>
                    </a:cubicBezTo>
                    <a:close/>
                    <a:moveTo>
                      <a:pt x="49" y="38"/>
                    </a:moveTo>
                    <a:cubicBezTo>
                      <a:pt x="49" y="38"/>
                      <a:pt x="48" y="39"/>
                      <a:pt x="48" y="39"/>
                    </a:cubicBezTo>
                    <a:cubicBezTo>
                      <a:pt x="48" y="40"/>
                      <a:pt x="49" y="40"/>
                      <a:pt x="48" y="40"/>
                    </a:cubicBezTo>
                    <a:cubicBezTo>
                      <a:pt x="47" y="39"/>
                      <a:pt x="47" y="38"/>
                      <a:pt x="46" y="37"/>
                    </a:cubicBezTo>
                    <a:cubicBezTo>
                      <a:pt x="46" y="37"/>
                      <a:pt x="46" y="36"/>
                      <a:pt x="46" y="36"/>
                    </a:cubicBezTo>
                    <a:cubicBezTo>
                      <a:pt x="45" y="36"/>
                      <a:pt x="46" y="35"/>
                      <a:pt x="46" y="35"/>
                    </a:cubicBezTo>
                    <a:cubicBezTo>
                      <a:pt x="46" y="35"/>
                      <a:pt x="46" y="34"/>
                      <a:pt x="46" y="34"/>
                    </a:cubicBezTo>
                    <a:cubicBezTo>
                      <a:pt x="46" y="34"/>
                      <a:pt x="47" y="35"/>
                      <a:pt x="47" y="35"/>
                    </a:cubicBezTo>
                    <a:cubicBezTo>
                      <a:pt x="48" y="35"/>
                      <a:pt x="48" y="36"/>
                      <a:pt x="48" y="36"/>
                    </a:cubicBezTo>
                    <a:cubicBezTo>
                      <a:pt x="47" y="36"/>
                      <a:pt x="47" y="37"/>
                      <a:pt x="47" y="37"/>
                    </a:cubicBezTo>
                    <a:cubicBezTo>
                      <a:pt x="48" y="38"/>
                      <a:pt x="49" y="37"/>
                      <a:pt x="49" y="38"/>
                    </a:cubicBezTo>
                    <a:close/>
                    <a:moveTo>
                      <a:pt x="91" y="122"/>
                    </a:moveTo>
                    <a:cubicBezTo>
                      <a:pt x="91" y="123"/>
                      <a:pt x="90" y="121"/>
                      <a:pt x="90" y="121"/>
                    </a:cubicBezTo>
                    <a:cubicBezTo>
                      <a:pt x="91" y="121"/>
                      <a:pt x="92" y="122"/>
                      <a:pt x="91" y="122"/>
                    </a:cubicBezTo>
                    <a:close/>
                    <a:moveTo>
                      <a:pt x="1" y="39"/>
                    </a:moveTo>
                    <a:cubicBezTo>
                      <a:pt x="1" y="39"/>
                      <a:pt x="1" y="40"/>
                      <a:pt x="1" y="40"/>
                    </a:cubicBezTo>
                    <a:cubicBezTo>
                      <a:pt x="1" y="40"/>
                      <a:pt x="0" y="42"/>
                      <a:pt x="0" y="42"/>
                    </a:cubicBezTo>
                    <a:cubicBezTo>
                      <a:pt x="0" y="42"/>
                      <a:pt x="0" y="40"/>
                      <a:pt x="0" y="40"/>
                    </a:cubicBezTo>
                    <a:cubicBezTo>
                      <a:pt x="0" y="39"/>
                      <a:pt x="0" y="39"/>
                      <a:pt x="1" y="38"/>
                    </a:cubicBezTo>
                    <a:cubicBezTo>
                      <a:pt x="1" y="39"/>
                      <a:pt x="1" y="39"/>
                      <a:pt x="1" y="39"/>
                    </a:cubicBezTo>
                    <a:close/>
                    <a:moveTo>
                      <a:pt x="276" y="134"/>
                    </a:moveTo>
                    <a:cubicBezTo>
                      <a:pt x="276" y="133"/>
                      <a:pt x="277" y="133"/>
                      <a:pt x="278" y="133"/>
                    </a:cubicBezTo>
                    <a:cubicBezTo>
                      <a:pt x="277" y="134"/>
                      <a:pt x="276" y="136"/>
                      <a:pt x="275" y="137"/>
                    </a:cubicBezTo>
                    <a:cubicBezTo>
                      <a:pt x="275" y="136"/>
                      <a:pt x="275" y="135"/>
                      <a:pt x="276" y="134"/>
                    </a:cubicBezTo>
                    <a:close/>
                    <a:moveTo>
                      <a:pt x="92" y="124"/>
                    </a:moveTo>
                    <a:cubicBezTo>
                      <a:pt x="92" y="124"/>
                      <a:pt x="91" y="124"/>
                      <a:pt x="91" y="124"/>
                    </a:cubicBezTo>
                    <a:cubicBezTo>
                      <a:pt x="91" y="123"/>
                      <a:pt x="92" y="123"/>
                      <a:pt x="92" y="123"/>
                    </a:cubicBezTo>
                    <a:cubicBezTo>
                      <a:pt x="93" y="123"/>
                      <a:pt x="93" y="124"/>
                      <a:pt x="92" y="124"/>
                    </a:cubicBezTo>
                    <a:close/>
                    <a:moveTo>
                      <a:pt x="65" y="91"/>
                    </a:moveTo>
                    <a:cubicBezTo>
                      <a:pt x="66" y="92"/>
                      <a:pt x="66" y="93"/>
                      <a:pt x="66" y="94"/>
                    </a:cubicBezTo>
                    <a:cubicBezTo>
                      <a:pt x="65" y="94"/>
                      <a:pt x="65" y="92"/>
                      <a:pt x="65" y="91"/>
                    </a:cubicBezTo>
                    <a:close/>
                    <a:moveTo>
                      <a:pt x="61" y="90"/>
                    </a:moveTo>
                    <a:cubicBezTo>
                      <a:pt x="62" y="89"/>
                      <a:pt x="62" y="91"/>
                      <a:pt x="61" y="91"/>
                    </a:cubicBezTo>
                    <a:cubicBezTo>
                      <a:pt x="61" y="91"/>
                      <a:pt x="61" y="90"/>
                      <a:pt x="61" y="90"/>
                    </a:cubicBezTo>
                    <a:close/>
                    <a:moveTo>
                      <a:pt x="50" y="45"/>
                    </a:moveTo>
                    <a:cubicBezTo>
                      <a:pt x="50" y="45"/>
                      <a:pt x="50" y="44"/>
                      <a:pt x="50" y="44"/>
                    </a:cubicBezTo>
                    <a:cubicBezTo>
                      <a:pt x="50" y="44"/>
                      <a:pt x="51" y="45"/>
                      <a:pt x="50" y="45"/>
                    </a:cubicBezTo>
                    <a:close/>
                    <a:moveTo>
                      <a:pt x="59" y="73"/>
                    </a:moveTo>
                    <a:cubicBezTo>
                      <a:pt x="58" y="73"/>
                      <a:pt x="59" y="73"/>
                      <a:pt x="59" y="74"/>
                    </a:cubicBezTo>
                    <a:cubicBezTo>
                      <a:pt x="59" y="74"/>
                      <a:pt x="58" y="74"/>
                      <a:pt x="58" y="74"/>
                    </a:cubicBezTo>
                    <a:cubicBezTo>
                      <a:pt x="57" y="74"/>
                      <a:pt x="57" y="75"/>
                      <a:pt x="57" y="75"/>
                    </a:cubicBezTo>
                    <a:cubicBezTo>
                      <a:pt x="56" y="76"/>
                      <a:pt x="57" y="75"/>
                      <a:pt x="57" y="74"/>
                    </a:cubicBezTo>
                    <a:cubicBezTo>
                      <a:pt x="57" y="73"/>
                      <a:pt x="58" y="73"/>
                      <a:pt x="59" y="73"/>
                    </a:cubicBezTo>
                    <a:close/>
                    <a:moveTo>
                      <a:pt x="45" y="89"/>
                    </a:moveTo>
                    <a:cubicBezTo>
                      <a:pt x="46" y="89"/>
                      <a:pt x="45" y="90"/>
                      <a:pt x="45" y="89"/>
                    </a:cubicBezTo>
                    <a:cubicBezTo>
                      <a:pt x="45" y="88"/>
                      <a:pt x="45" y="88"/>
                      <a:pt x="45" y="88"/>
                    </a:cubicBezTo>
                    <a:cubicBezTo>
                      <a:pt x="45" y="87"/>
                      <a:pt x="44" y="86"/>
                      <a:pt x="44" y="87"/>
                    </a:cubicBezTo>
                    <a:cubicBezTo>
                      <a:pt x="44" y="87"/>
                      <a:pt x="44" y="87"/>
                      <a:pt x="44" y="86"/>
                    </a:cubicBezTo>
                    <a:cubicBezTo>
                      <a:pt x="45" y="85"/>
                      <a:pt x="45" y="85"/>
                      <a:pt x="45" y="84"/>
                    </a:cubicBezTo>
                    <a:cubicBezTo>
                      <a:pt x="46" y="83"/>
                      <a:pt x="46" y="82"/>
                      <a:pt x="46" y="81"/>
                    </a:cubicBezTo>
                    <a:cubicBezTo>
                      <a:pt x="47" y="81"/>
                      <a:pt x="46" y="82"/>
                      <a:pt x="46" y="82"/>
                    </a:cubicBezTo>
                    <a:cubicBezTo>
                      <a:pt x="46" y="83"/>
                      <a:pt x="46" y="84"/>
                      <a:pt x="45" y="85"/>
                    </a:cubicBezTo>
                    <a:cubicBezTo>
                      <a:pt x="45" y="85"/>
                      <a:pt x="45" y="85"/>
                      <a:pt x="45" y="86"/>
                    </a:cubicBezTo>
                    <a:cubicBezTo>
                      <a:pt x="44" y="86"/>
                      <a:pt x="45" y="86"/>
                      <a:pt x="45" y="87"/>
                    </a:cubicBezTo>
                    <a:cubicBezTo>
                      <a:pt x="45" y="87"/>
                      <a:pt x="45" y="88"/>
                      <a:pt x="45" y="89"/>
                    </a:cubicBezTo>
                    <a:close/>
                    <a:moveTo>
                      <a:pt x="228" y="154"/>
                    </a:moveTo>
                    <a:cubicBezTo>
                      <a:pt x="227" y="154"/>
                      <a:pt x="227" y="154"/>
                      <a:pt x="226" y="154"/>
                    </a:cubicBezTo>
                    <a:cubicBezTo>
                      <a:pt x="226" y="154"/>
                      <a:pt x="228" y="153"/>
                      <a:pt x="228" y="153"/>
                    </a:cubicBezTo>
                    <a:cubicBezTo>
                      <a:pt x="228" y="153"/>
                      <a:pt x="229" y="153"/>
                      <a:pt x="229" y="153"/>
                    </a:cubicBezTo>
                    <a:cubicBezTo>
                      <a:pt x="230" y="153"/>
                      <a:pt x="229" y="154"/>
                      <a:pt x="229" y="153"/>
                    </a:cubicBezTo>
                    <a:cubicBezTo>
                      <a:pt x="228" y="153"/>
                      <a:pt x="228" y="154"/>
                      <a:pt x="227" y="154"/>
                    </a:cubicBezTo>
                    <a:cubicBezTo>
                      <a:pt x="227" y="154"/>
                      <a:pt x="227" y="154"/>
                      <a:pt x="228" y="154"/>
                    </a:cubicBezTo>
                    <a:close/>
                    <a:moveTo>
                      <a:pt x="57" y="41"/>
                    </a:moveTo>
                    <a:cubicBezTo>
                      <a:pt x="57" y="41"/>
                      <a:pt x="57" y="42"/>
                      <a:pt x="56" y="42"/>
                    </a:cubicBezTo>
                    <a:cubicBezTo>
                      <a:pt x="56" y="42"/>
                      <a:pt x="56" y="43"/>
                      <a:pt x="55" y="43"/>
                    </a:cubicBezTo>
                    <a:cubicBezTo>
                      <a:pt x="55" y="43"/>
                      <a:pt x="53" y="42"/>
                      <a:pt x="53" y="42"/>
                    </a:cubicBezTo>
                    <a:cubicBezTo>
                      <a:pt x="54" y="42"/>
                      <a:pt x="54" y="41"/>
                      <a:pt x="54" y="41"/>
                    </a:cubicBezTo>
                    <a:cubicBezTo>
                      <a:pt x="54" y="41"/>
                      <a:pt x="54" y="40"/>
                      <a:pt x="55" y="40"/>
                    </a:cubicBezTo>
                    <a:cubicBezTo>
                      <a:pt x="55" y="40"/>
                      <a:pt x="55" y="38"/>
                      <a:pt x="56" y="38"/>
                    </a:cubicBezTo>
                    <a:cubicBezTo>
                      <a:pt x="56" y="38"/>
                      <a:pt x="57" y="38"/>
                      <a:pt x="57" y="38"/>
                    </a:cubicBezTo>
                    <a:cubicBezTo>
                      <a:pt x="57" y="38"/>
                      <a:pt x="57" y="39"/>
                      <a:pt x="57" y="39"/>
                    </a:cubicBezTo>
                    <a:cubicBezTo>
                      <a:pt x="57" y="39"/>
                      <a:pt x="57" y="40"/>
                      <a:pt x="57" y="41"/>
                    </a:cubicBezTo>
                    <a:close/>
                    <a:moveTo>
                      <a:pt x="44" y="152"/>
                    </a:moveTo>
                    <a:cubicBezTo>
                      <a:pt x="44" y="152"/>
                      <a:pt x="44" y="154"/>
                      <a:pt x="44" y="153"/>
                    </a:cubicBezTo>
                    <a:cubicBezTo>
                      <a:pt x="43" y="153"/>
                      <a:pt x="43" y="152"/>
                      <a:pt x="44" y="152"/>
                    </a:cubicBezTo>
                    <a:close/>
                    <a:moveTo>
                      <a:pt x="44" y="11"/>
                    </a:moveTo>
                    <a:cubicBezTo>
                      <a:pt x="44" y="11"/>
                      <a:pt x="43" y="11"/>
                      <a:pt x="43" y="10"/>
                    </a:cubicBezTo>
                    <a:cubicBezTo>
                      <a:pt x="44" y="9"/>
                      <a:pt x="44" y="11"/>
                      <a:pt x="44" y="11"/>
                    </a:cubicBezTo>
                    <a:close/>
                    <a:moveTo>
                      <a:pt x="6" y="158"/>
                    </a:moveTo>
                    <a:cubicBezTo>
                      <a:pt x="6" y="157"/>
                      <a:pt x="8" y="158"/>
                      <a:pt x="6" y="15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4" name="Mauritania">
                <a:extLst>
                  <a:ext uri="{FF2B5EF4-FFF2-40B4-BE49-F238E27FC236}">
                    <a16:creationId xmlns:a16="http://schemas.microsoft.com/office/drawing/2014/main" id="{21FEDDA5-CB7E-5244-0C23-ACE8B88DD1C9}"/>
                  </a:ext>
                </a:extLst>
              </p:cNvPr>
              <p:cNvSpPr>
                <a:spLocks noEditPoints="1"/>
              </p:cNvSpPr>
              <p:nvPr/>
            </p:nvSpPr>
            <p:spPr bwMode="auto">
              <a:xfrm>
                <a:off x="5127208" y="2980872"/>
                <a:ext cx="417550" cy="489102"/>
              </a:xfrm>
              <a:custGeom>
                <a:avLst/>
                <a:gdLst/>
                <a:ahLst/>
                <a:cxnLst>
                  <a:cxn ang="0">
                    <a:pos x="109" y="126"/>
                  </a:cxn>
                  <a:cxn ang="0">
                    <a:pos x="96" y="130"/>
                  </a:cxn>
                  <a:cxn ang="0">
                    <a:pos x="71" y="129"/>
                  </a:cxn>
                  <a:cxn ang="0">
                    <a:pos x="68" y="131"/>
                  </a:cxn>
                  <a:cxn ang="0">
                    <a:pos x="60" y="131"/>
                  </a:cxn>
                  <a:cxn ang="0">
                    <a:pos x="57" y="134"/>
                  </a:cxn>
                  <a:cxn ang="0">
                    <a:pos x="52" y="129"/>
                  </a:cxn>
                  <a:cxn ang="0">
                    <a:pos x="49" y="129"/>
                  </a:cxn>
                  <a:cxn ang="0">
                    <a:pos x="46" y="138"/>
                  </a:cxn>
                  <a:cxn ang="0">
                    <a:pos x="44" y="138"/>
                  </a:cxn>
                  <a:cxn ang="0">
                    <a:pos x="40" y="134"/>
                  </a:cxn>
                  <a:cxn ang="0">
                    <a:pos x="38" y="133"/>
                  </a:cxn>
                  <a:cxn ang="0">
                    <a:pos x="37" y="130"/>
                  </a:cxn>
                  <a:cxn ang="0">
                    <a:pos x="34" y="127"/>
                  </a:cxn>
                  <a:cxn ang="0">
                    <a:pos x="33" y="124"/>
                  </a:cxn>
                  <a:cxn ang="0">
                    <a:pos x="30" y="123"/>
                  </a:cxn>
                  <a:cxn ang="0">
                    <a:pos x="28" y="122"/>
                  </a:cxn>
                  <a:cxn ang="0">
                    <a:pos x="25" y="118"/>
                  </a:cxn>
                  <a:cxn ang="0">
                    <a:pos x="23" y="117"/>
                  </a:cxn>
                  <a:cxn ang="0">
                    <a:pos x="18" y="117"/>
                  </a:cxn>
                  <a:cxn ang="0">
                    <a:pos x="13" y="118"/>
                  </a:cxn>
                  <a:cxn ang="0">
                    <a:pos x="10" y="119"/>
                  </a:cxn>
                  <a:cxn ang="0">
                    <a:pos x="7" y="119"/>
                  </a:cxn>
                  <a:cxn ang="0">
                    <a:pos x="4" y="122"/>
                  </a:cxn>
                  <a:cxn ang="0">
                    <a:pos x="3" y="124"/>
                  </a:cxn>
                  <a:cxn ang="0">
                    <a:pos x="8" y="100"/>
                  </a:cxn>
                  <a:cxn ang="0">
                    <a:pos x="7" y="91"/>
                  </a:cxn>
                  <a:cxn ang="0">
                    <a:pos x="6" y="87"/>
                  </a:cxn>
                  <a:cxn ang="0">
                    <a:pos x="6" y="86"/>
                  </a:cxn>
                  <a:cxn ang="0">
                    <a:pos x="7" y="84"/>
                  </a:cxn>
                  <a:cxn ang="0">
                    <a:pos x="7" y="82"/>
                  </a:cxn>
                  <a:cxn ang="0">
                    <a:pos x="7" y="81"/>
                  </a:cxn>
                  <a:cxn ang="0">
                    <a:pos x="7" y="76"/>
                  </a:cxn>
                  <a:cxn ang="0">
                    <a:pos x="6" y="73"/>
                  </a:cxn>
                  <a:cxn ang="0">
                    <a:pos x="5" y="74"/>
                  </a:cxn>
                  <a:cxn ang="0">
                    <a:pos x="3" y="72"/>
                  </a:cxn>
                  <a:cxn ang="0">
                    <a:pos x="2" y="70"/>
                  </a:cxn>
                  <a:cxn ang="0">
                    <a:pos x="0" y="71"/>
                  </a:cxn>
                  <a:cxn ang="0">
                    <a:pos x="3" y="66"/>
                  </a:cxn>
                  <a:cxn ang="0">
                    <a:pos x="38" y="54"/>
                  </a:cxn>
                  <a:cxn ang="0">
                    <a:pos x="43" y="44"/>
                  </a:cxn>
                  <a:cxn ang="0">
                    <a:pos x="49" y="42"/>
                  </a:cxn>
                  <a:cxn ang="0">
                    <a:pos x="50" y="18"/>
                  </a:cxn>
                  <a:cxn ang="0">
                    <a:pos x="69" y="15"/>
                  </a:cxn>
                  <a:cxn ang="0">
                    <a:pos x="82" y="10"/>
                  </a:cxn>
                  <a:cxn ang="0">
                    <a:pos x="101" y="26"/>
                  </a:cxn>
                  <a:cxn ang="0">
                    <a:pos x="108" y="113"/>
                  </a:cxn>
                  <a:cxn ang="0">
                    <a:pos x="6" y="82"/>
                  </a:cxn>
                </a:cxnLst>
                <a:rect l="0" t="0" r="r" b="b"/>
                <a:pathLst>
                  <a:path w="118" h="138">
                    <a:moveTo>
                      <a:pt x="109" y="120"/>
                    </a:moveTo>
                    <a:cubicBezTo>
                      <a:pt x="110" y="120"/>
                      <a:pt x="110" y="121"/>
                      <a:pt x="110" y="122"/>
                    </a:cubicBezTo>
                    <a:cubicBezTo>
                      <a:pt x="110" y="123"/>
                      <a:pt x="110" y="125"/>
                      <a:pt x="109" y="126"/>
                    </a:cubicBezTo>
                    <a:cubicBezTo>
                      <a:pt x="109" y="127"/>
                      <a:pt x="109" y="128"/>
                      <a:pt x="109" y="129"/>
                    </a:cubicBezTo>
                    <a:cubicBezTo>
                      <a:pt x="109" y="130"/>
                      <a:pt x="108" y="130"/>
                      <a:pt x="108" y="130"/>
                    </a:cubicBezTo>
                    <a:cubicBezTo>
                      <a:pt x="104" y="130"/>
                      <a:pt x="100" y="130"/>
                      <a:pt x="96" y="130"/>
                    </a:cubicBezTo>
                    <a:cubicBezTo>
                      <a:pt x="88" y="130"/>
                      <a:pt x="80" y="130"/>
                      <a:pt x="72" y="130"/>
                    </a:cubicBezTo>
                    <a:cubicBezTo>
                      <a:pt x="72" y="129"/>
                      <a:pt x="72" y="129"/>
                      <a:pt x="72" y="128"/>
                    </a:cubicBezTo>
                    <a:cubicBezTo>
                      <a:pt x="72" y="127"/>
                      <a:pt x="71" y="129"/>
                      <a:pt x="71" y="129"/>
                    </a:cubicBezTo>
                    <a:cubicBezTo>
                      <a:pt x="71" y="129"/>
                      <a:pt x="71" y="130"/>
                      <a:pt x="71" y="130"/>
                    </a:cubicBezTo>
                    <a:cubicBezTo>
                      <a:pt x="71" y="131"/>
                      <a:pt x="70" y="131"/>
                      <a:pt x="70" y="131"/>
                    </a:cubicBezTo>
                    <a:cubicBezTo>
                      <a:pt x="69" y="131"/>
                      <a:pt x="68" y="131"/>
                      <a:pt x="68" y="131"/>
                    </a:cubicBezTo>
                    <a:cubicBezTo>
                      <a:pt x="67" y="131"/>
                      <a:pt x="66" y="131"/>
                      <a:pt x="65" y="131"/>
                    </a:cubicBezTo>
                    <a:cubicBezTo>
                      <a:pt x="64" y="131"/>
                      <a:pt x="64" y="131"/>
                      <a:pt x="63" y="131"/>
                    </a:cubicBezTo>
                    <a:cubicBezTo>
                      <a:pt x="62" y="131"/>
                      <a:pt x="61" y="130"/>
                      <a:pt x="60" y="131"/>
                    </a:cubicBezTo>
                    <a:cubicBezTo>
                      <a:pt x="60" y="131"/>
                      <a:pt x="59" y="131"/>
                      <a:pt x="59" y="131"/>
                    </a:cubicBezTo>
                    <a:cubicBezTo>
                      <a:pt x="59" y="131"/>
                      <a:pt x="58" y="132"/>
                      <a:pt x="58" y="132"/>
                    </a:cubicBezTo>
                    <a:cubicBezTo>
                      <a:pt x="58" y="132"/>
                      <a:pt x="57" y="134"/>
                      <a:pt x="57" y="134"/>
                    </a:cubicBezTo>
                    <a:cubicBezTo>
                      <a:pt x="56" y="134"/>
                      <a:pt x="56" y="133"/>
                      <a:pt x="56" y="133"/>
                    </a:cubicBezTo>
                    <a:cubicBezTo>
                      <a:pt x="55" y="132"/>
                      <a:pt x="55" y="132"/>
                      <a:pt x="54" y="131"/>
                    </a:cubicBezTo>
                    <a:cubicBezTo>
                      <a:pt x="53" y="131"/>
                      <a:pt x="53" y="130"/>
                      <a:pt x="52" y="129"/>
                    </a:cubicBezTo>
                    <a:cubicBezTo>
                      <a:pt x="52" y="129"/>
                      <a:pt x="52" y="128"/>
                      <a:pt x="51" y="128"/>
                    </a:cubicBezTo>
                    <a:cubicBezTo>
                      <a:pt x="51" y="129"/>
                      <a:pt x="50" y="129"/>
                      <a:pt x="50" y="129"/>
                    </a:cubicBezTo>
                    <a:cubicBezTo>
                      <a:pt x="50" y="130"/>
                      <a:pt x="50" y="130"/>
                      <a:pt x="49" y="129"/>
                    </a:cubicBezTo>
                    <a:cubicBezTo>
                      <a:pt x="49" y="130"/>
                      <a:pt x="47" y="135"/>
                      <a:pt x="48" y="135"/>
                    </a:cubicBezTo>
                    <a:cubicBezTo>
                      <a:pt x="48" y="135"/>
                      <a:pt x="48" y="136"/>
                      <a:pt x="48" y="137"/>
                    </a:cubicBezTo>
                    <a:cubicBezTo>
                      <a:pt x="47" y="137"/>
                      <a:pt x="46" y="138"/>
                      <a:pt x="46" y="138"/>
                    </a:cubicBezTo>
                    <a:cubicBezTo>
                      <a:pt x="46" y="138"/>
                      <a:pt x="45" y="138"/>
                      <a:pt x="45" y="138"/>
                    </a:cubicBezTo>
                    <a:cubicBezTo>
                      <a:pt x="45" y="138"/>
                      <a:pt x="45" y="138"/>
                      <a:pt x="45" y="138"/>
                    </a:cubicBezTo>
                    <a:cubicBezTo>
                      <a:pt x="45" y="138"/>
                      <a:pt x="44" y="138"/>
                      <a:pt x="44" y="138"/>
                    </a:cubicBezTo>
                    <a:cubicBezTo>
                      <a:pt x="43" y="138"/>
                      <a:pt x="43" y="137"/>
                      <a:pt x="42" y="137"/>
                    </a:cubicBezTo>
                    <a:cubicBezTo>
                      <a:pt x="42" y="137"/>
                      <a:pt x="42" y="136"/>
                      <a:pt x="41" y="135"/>
                    </a:cubicBezTo>
                    <a:cubicBezTo>
                      <a:pt x="41" y="135"/>
                      <a:pt x="40" y="135"/>
                      <a:pt x="40" y="134"/>
                    </a:cubicBezTo>
                    <a:cubicBezTo>
                      <a:pt x="40" y="134"/>
                      <a:pt x="39" y="135"/>
                      <a:pt x="39" y="134"/>
                    </a:cubicBezTo>
                    <a:cubicBezTo>
                      <a:pt x="39" y="134"/>
                      <a:pt x="39" y="133"/>
                      <a:pt x="38" y="133"/>
                    </a:cubicBezTo>
                    <a:cubicBezTo>
                      <a:pt x="38" y="133"/>
                      <a:pt x="38" y="133"/>
                      <a:pt x="38" y="133"/>
                    </a:cubicBezTo>
                    <a:cubicBezTo>
                      <a:pt x="38" y="133"/>
                      <a:pt x="37" y="132"/>
                      <a:pt x="38" y="132"/>
                    </a:cubicBezTo>
                    <a:cubicBezTo>
                      <a:pt x="38" y="132"/>
                      <a:pt x="38" y="132"/>
                      <a:pt x="38" y="132"/>
                    </a:cubicBezTo>
                    <a:cubicBezTo>
                      <a:pt x="37" y="131"/>
                      <a:pt x="37" y="130"/>
                      <a:pt x="37" y="130"/>
                    </a:cubicBezTo>
                    <a:cubicBezTo>
                      <a:pt x="36" y="130"/>
                      <a:pt x="36" y="130"/>
                      <a:pt x="36" y="129"/>
                    </a:cubicBezTo>
                    <a:cubicBezTo>
                      <a:pt x="35" y="128"/>
                      <a:pt x="34" y="129"/>
                      <a:pt x="34" y="128"/>
                    </a:cubicBezTo>
                    <a:cubicBezTo>
                      <a:pt x="34" y="128"/>
                      <a:pt x="34" y="127"/>
                      <a:pt x="34" y="127"/>
                    </a:cubicBezTo>
                    <a:cubicBezTo>
                      <a:pt x="34" y="127"/>
                      <a:pt x="34" y="126"/>
                      <a:pt x="34" y="126"/>
                    </a:cubicBezTo>
                    <a:cubicBezTo>
                      <a:pt x="34" y="125"/>
                      <a:pt x="33" y="125"/>
                      <a:pt x="33" y="125"/>
                    </a:cubicBezTo>
                    <a:cubicBezTo>
                      <a:pt x="33" y="124"/>
                      <a:pt x="33" y="124"/>
                      <a:pt x="33" y="124"/>
                    </a:cubicBezTo>
                    <a:cubicBezTo>
                      <a:pt x="33" y="124"/>
                      <a:pt x="32" y="123"/>
                      <a:pt x="32" y="123"/>
                    </a:cubicBezTo>
                    <a:cubicBezTo>
                      <a:pt x="32" y="123"/>
                      <a:pt x="32" y="123"/>
                      <a:pt x="32" y="123"/>
                    </a:cubicBezTo>
                    <a:cubicBezTo>
                      <a:pt x="32" y="123"/>
                      <a:pt x="30" y="124"/>
                      <a:pt x="30" y="123"/>
                    </a:cubicBezTo>
                    <a:cubicBezTo>
                      <a:pt x="30" y="122"/>
                      <a:pt x="29" y="123"/>
                      <a:pt x="29" y="123"/>
                    </a:cubicBezTo>
                    <a:cubicBezTo>
                      <a:pt x="28" y="123"/>
                      <a:pt x="28" y="123"/>
                      <a:pt x="28" y="123"/>
                    </a:cubicBezTo>
                    <a:cubicBezTo>
                      <a:pt x="28" y="122"/>
                      <a:pt x="28" y="122"/>
                      <a:pt x="28" y="122"/>
                    </a:cubicBezTo>
                    <a:cubicBezTo>
                      <a:pt x="28" y="122"/>
                      <a:pt x="27" y="122"/>
                      <a:pt x="28" y="121"/>
                    </a:cubicBezTo>
                    <a:cubicBezTo>
                      <a:pt x="28" y="120"/>
                      <a:pt x="26" y="119"/>
                      <a:pt x="26" y="119"/>
                    </a:cubicBezTo>
                    <a:cubicBezTo>
                      <a:pt x="25" y="119"/>
                      <a:pt x="25" y="118"/>
                      <a:pt x="25" y="118"/>
                    </a:cubicBezTo>
                    <a:cubicBezTo>
                      <a:pt x="25" y="118"/>
                      <a:pt x="24" y="118"/>
                      <a:pt x="24" y="118"/>
                    </a:cubicBezTo>
                    <a:cubicBezTo>
                      <a:pt x="24" y="118"/>
                      <a:pt x="24" y="117"/>
                      <a:pt x="24" y="117"/>
                    </a:cubicBezTo>
                    <a:cubicBezTo>
                      <a:pt x="24" y="117"/>
                      <a:pt x="23" y="117"/>
                      <a:pt x="23" y="117"/>
                    </a:cubicBezTo>
                    <a:cubicBezTo>
                      <a:pt x="22" y="118"/>
                      <a:pt x="21" y="117"/>
                      <a:pt x="20" y="117"/>
                    </a:cubicBezTo>
                    <a:cubicBezTo>
                      <a:pt x="19" y="117"/>
                      <a:pt x="18" y="118"/>
                      <a:pt x="18" y="117"/>
                    </a:cubicBezTo>
                    <a:cubicBezTo>
                      <a:pt x="18" y="117"/>
                      <a:pt x="18" y="117"/>
                      <a:pt x="18" y="117"/>
                    </a:cubicBezTo>
                    <a:cubicBezTo>
                      <a:pt x="17" y="117"/>
                      <a:pt x="16" y="117"/>
                      <a:pt x="17" y="118"/>
                    </a:cubicBezTo>
                    <a:cubicBezTo>
                      <a:pt x="17" y="118"/>
                      <a:pt x="15" y="118"/>
                      <a:pt x="14" y="118"/>
                    </a:cubicBezTo>
                    <a:cubicBezTo>
                      <a:pt x="14" y="119"/>
                      <a:pt x="14" y="118"/>
                      <a:pt x="13" y="118"/>
                    </a:cubicBezTo>
                    <a:cubicBezTo>
                      <a:pt x="13" y="118"/>
                      <a:pt x="13" y="119"/>
                      <a:pt x="13" y="119"/>
                    </a:cubicBezTo>
                    <a:cubicBezTo>
                      <a:pt x="12" y="119"/>
                      <a:pt x="12" y="119"/>
                      <a:pt x="12" y="119"/>
                    </a:cubicBezTo>
                    <a:cubicBezTo>
                      <a:pt x="12" y="119"/>
                      <a:pt x="11" y="119"/>
                      <a:pt x="10" y="119"/>
                    </a:cubicBezTo>
                    <a:cubicBezTo>
                      <a:pt x="10" y="119"/>
                      <a:pt x="9" y="119"/>
                      <a:pt x="9" y="119"/>
                    </a:cubicBezTo>
                    <a:cubicBezTo>
                      <a:pt x="8" y="119"/>
                      <a:pt x="8" y="119"/>
                      <a:pt x="7" y="119"/>
                    </a:cubicBezTo>
                    <a:cubicBezTo>
                      <a:pt x="7" y="119"/>
                      <a:pt x="7" y="118"/>
                      <a:pt x="7" y="119"/>
                    </a:cubicBezTo>
                    <a:cubicBezTo>
                      <a:pt x="6" y="119"/>
                      <a:pt x="6" y="119"/>
                      <a:pt x="6" y="119"/>
                    </a:cubicBezTo>
                    <a:cubicBezTo>
                      <a:pt x="6" y="119"/>
                      <a:pt x="6" y="119"/>
                      <a:pt x="5" y="119"/>
                    </a:cubicBezTo>
                    <a:cubicBezTo>
                      <a:pt x="5" y="119"/>
                      <a:pt x="5" y="121"/>
                      <a:pt x="4" y="122"/>
                    </a:cubicBezTo>
                    <a:cubicBezTo>
                      <a:pt x="4" y="122"/>
                      <a:pt x="4" y="122"/>
                      <a:pt x="4" y="122"/>
                    </a:cubicBezTo>
                    <a:cubicBezTo>
                      <a:pt x="3" y="123"/>
                      <a:pt x="4" y="123"/>
                      <a:pt x="3" y="124"/>
                    </a:cubicBezTo>
                    <a:cubicBezTo>
                      <a:pt x="3" y="123"/>
                      <a:pt x="3" y="123"/>
                      <a:pt x="3" y="124"/>
                    </a:cubicBezTo>
                    <a:cubicBezTo>
                      <a:pt x="3" y="122"/>
                      <a:pt x="3" y="120"/>
                      <a:pt x="4" y="118"/>
                    </a:cubicBezTo>
                    <a:cubicBezTo>
                      <a:pt x="4" y="116"/>
                      <a:pt x="5" y="114"/>
                      <a:pt x="6" y="112"/>
                    </a:cubicBezTo>
                    <a:cubicBezTo>
                      <a:pt x="8" y="108"/>
                      <a:pt x="9" y="104"/>
                      <a:pt x="8" y="100"/>
                    </a:cubicBezTo>
                    <a:cubicBezTo>
                      <a:pt x="8" y="99"/>
                      <a:pt x="8" y="98"/>
                      <a:pt x="8" y="97"/>
                    </a:cubicBezTo>
                    <a:cubicBezTo>
                      <a:pt x="8" y="96"/>
                      <a:pt x="8" y="95"/>
                      <a:pt x="7" y="94"/>
                    </a:cubicBezTo>
                    <a:cubicBezTo>
                      <a:pt x="7" y="93"/>
                      <a:pt x="7" y="92"/>
                      <a:pt x="7" y="91"/>
                    </a:cubicBezTo>
                    <a:cubicBezTo>
                      <a:pt x="6" y="90"/>
                      <a:pt x="6" y="89"/>
                      <a:pt x="5" y="89"/>
                    </a:cubicBezTo>
                    <a:cubicBezTo>
                      <a:pt x="5" y="89"/>
                      <a:pt x="4" y="88"/>
                      <a:pt x="4" y="87"/>
                    </a:cubicBezTo>
                    <a:cubicBezTo>
                      <a:pt x="4" y="87"/>
                      <a:pt x="5" y="87"/>
                      <a:pt x="6" y="87"/>
                    </a:cubicBezTo>
                    <a:cubicBezTo>
                      <a:pt x="6" y="87"/>
                      <a:pt x="7" y="86"/>
                      <a:pt x="7" y="86"/>
                    </a:cubicBezTo>
                    <a:cubicBezTo>
                      <a:pt x="7" y="85"/>
                      <a:pt x="6" y="86"/>
                      <a:pt x="6" y="86"/>
                    </a:cubicBezTo>
                    <a:cubicBezTo>
                      <a:pt x="6" y="86"/>
                      <a:pt x="6" y="86"/>
                      <a:pt x="6" y="86"/>
                    </a:cubicBezTo>
                    <a:cubicBezTo>
                      <a:pt x="5" y="86"/>
                      <a:pt x="6" y="87"/>
                      <a:pt x="5" y="87"/>
                    </a:cubicBezTo>
                    <a:cubicBezTo>
                      <a:pt x="5" y="87"/>
                      <a:pt x="5" y="86"/>
                      <a:pt x="5" y="86"/>
                    </a:cubicBezTo>
                    <a:cubicBezTo>
                      <a:pt x="5" y="85"/>
                      <a:pt x="6" y="85"/>
                      <a:pt x="7" y="84"/>
                    </a:cubicBezTo>
                    <a:cubicBezTo>
                      <a:pt x="7" y="84"/>
                      <a:pt x="7" y="83"/>
                      <a:pt x="7" y="83"/>
                    </a:cubicBezTo>
                    <a:cubicBezTo>
                      <a:pt x="7" y="83"/>
                      <a:pt x="7" y="83"/>
                      <a:pt x="7" y="82"/>
                    </a:cubicBezTo>
                    <a:cubicBezTo>
                      <a:pt x="7" y="82"/>
                      <a:pt x="7" y="82"/>
                      <a:pt x="7" y="82"/>
                    </a:cubicBezTo>
                    <a:cubicBezTo>
                      <a:pt x="7" y="82"/>
                      <a:pt x="7" y="81"/>
                      <a:pt x="7" y="82"/>
                    </a:cubicBezTo>
                    <a:cubicBezTo>
                      <a:pt x="7" y="82"/>
                      <a:pt x="6" y="82"/>
                      <a:pt x="7" y="81"/>
                    </a:cubicBezTo>
                    <a:cubicBezTo>
                      <a:pt x="7" y="81"/>
                      <a:pt x="7" y="81"/>
                      <a:pt x="7" y="81"/>
                    </a:cubicBezTo>
                    <a:cubicBezTo>
                      <a:pt x="8" y="80"/>
                      <a:pt x="7" y="80"/>
                      <a:pt x="7" y="79"/>
                    </a:cubicBezTo>
                    <a:cubicBezTo>
                      <a:pt x="7" y="79"/>
                      <a:pt x="8" y="79"/>
                      <a:pt x="8" y="78"/>
                    </a:cubicBezTo>
                    <a:cubicBezTo>
                      <a:pt x="8" y="77"/>
                      <a:pt x="7" y="77"/>
                      <a:pt x="7" y="76"/>
                    </a:cubicBezTo>
                    <a:cubicBezTo>
                      <a:pt x="6" y="76"/>
                      <a:pt x="6" y="75"/>
                      <a:pt x="6" y="75"/>
                    </a:cubicBezTo>
                    <a:cubicBezTo>
                      <a:pt x="6" y="74"/>
                      <a:pt x="5" y="73"/>
                      <a:pt x="6" y="73"/>
                    </a:cubicBezTo>
                    <a:cubicBezTo>
                      <a:pt x="6" y="73"/>
                      <a:pt x="6" y="73"/>
                      <a:pt x="6" y="73"/>
                    </a:cubicBezTo>
                    <a:cubicBezTo>
                      <a:pt x="6" y="73"/>
                      <a:pt x="5" y="73"/>
                      <a:pt x="5" y="73"/>
                    </a:cubicBezTo>
                    <a:cubicBezTo>
                      <a:pt x="5" y="73"/>
                      <a:pt x="5" y="72"/>
                      <a:pt x="5" y="72"/>
                    </a:cubicBezTo>
                    <a:cubicBezTo>
                      <a:pt x="5" y="73"/>
                      <a:pt x="5" y="74"/>
                      <a:pt x="5" y="74"/>
                    </a:cubicBezTo>
                    <a:cubicBezTo>
                      <a:pt x="5" y="74"/>
                      <a:pt x="4" y="73"/>
                      <a:pt x="4" y="73"/>
                    </a:cubicBezTo>
                    <a:cubicBezTo>
                      <a:pt x="3" y="73"/>
                      <a:pt x="4" y="73"/>
                      <a:pt x="3" y="72"/>
                    </a:cubicBezTo>
                    <a:cubicBezTo>
                      <a:pt x="3" y="72"/>
                      <a:pt x="3" y="72"/>
                      <a:pt x="3" y="72"/>
                    </a:cubicBezTo>
                    <a:cubicBezTo>
                      <a:pt x="3" y="72"/>
                      <a:pt x="3" y="72"/>
                      <a:pt x="3" y="72"/>
                    </a:cubicBezTo>
                    <a:cubicBezTo>
                      <a:pt x="3" y="71"/>
                      <a:pt x="3" y="71"/>
                      <a:pt x="3" y="71"/>
                    </a:cubicBezTo>
                    <a:cubicBezTo>
                      <a:pt x="3" y="70"/>
                      <a:pt x="2" y="70"/>
                      <a:pt x="2" y="70"/>
                    </a:cubicBezTo>
                    <a:cubicBezTo>
                      <a:pt x="2" y="70"/>
                      <a:pt x="2" y="68"/>
                      <a:pt x="1" y="68"/>
                    </a:cubicBezTo>
                    <a:cubicBezTo>
                      <a:pt x="1" y="68"/>
                      <a:pt x="0" y="69"/>
                      <a:pt x="0" y="70"/>
                    </a:cubicBezTo>
                    <a:cubicBezTo>
                      <a:pt x="0" y="70"/>
                      <a:pt x="0" y="70"/>
                      <a:pt x="0" y="71"/>
                    </a:cubicBezTo>
                    <a:cubicBezTo>
                      <a:pt x="0" y="71"/>
                      <a:pt x="0" y="72"/>
                      <a:pt x="0" y="72"/>
                    </a:cubicBezTo>
                    <a:cubicBezTo>
                      <a:pt x="0" y="71"/>
                      <a:pt x="0" y="69"/>
                      <a:pt x="1" y="68"/>
                    </a:cubicBezTo>
                    <a:cubicBezTo>
                      <a:pt x="1" y="66"/>
                      <a:pt x="1" y="66"/>
                      <a:pt x="3" y="66"/>
                    </a:cubicBezTo>
                    <a:cubicBezTo>
                      <a:pt x="7" y="66"/>
                      <a:pt x="10" y="66"/>
                      <a:pt x="14" y="66"/>
                    </a:cubicBezTo>
                    <a:cubicBezTo>
                      <a:pt x="22" y="66"/>
                      <a:pt x="31" y="66"/>
                      <a:pt x="39" y="66"/>
                    </a:cubicBezTo>
                    <a:cubicBezTo>
                      <a:pt x="39" y="62"/>
                      <a:pt x="39" y="58"/>
                      <a:pt x="38" y="54"/>
                    </a:cubicBezTo>
                    <a:cubicBezTo>
                      <a:pt x="38" y="52"/>
                      <a:pt x="37" y="51"/>
                      <a:pt x="38" y="49"/>
                    </a:cubicBezTo>
                    <a:cubicBezTo>
                      <a:pt x="39" y="47"/>
                      <a:pt x="40" y="46"/>
                      <a:pt x="42" y="46"/>
                    </a:cubicBezTo>
                    <a:cubicBezTo>
                      <a:pt x="42" y="45"/>
                      <a:pt x="43" y="45"/>
                      <a:pt x="43" y="44"/>
                    </a:cubicBezTo>
                    <a:cubicBezTo>
                      <a:pt x="44" y="44"/>
                      <a:pt x="45" y="44"/>
                      <a:pt x="46" y="44"/>
                    </a:cubicBezTo>
                    <a:cubicBezTo>
                      <a:pt x="46" y="44"/>
                      <a:pt x="47" y="43"/>
                      <a:pt x="48" y="43"/>
                    </a:cubicBezTo>
                    <a:cubicBezTo>
                      <a:pt x="48" y="43"/>
                      <a:pt x="49" y="43"/>
                      <a:pt x="49" y="42"/>
                    </a:cubicBezTo>
                    <a:cubicBezTo>
                      <a:pt x="49" y="40"/>
                      <a:pt x="49" y="39"/>
                      <a:pt x="49" y="37"/>
                    </a:cubicBezTo>
                    <a:cubicBezTo>
                      <a:pt x="49" y="35"/>
                      <a:pt x="49" y="33"/>
                      <a:pt x="49" y="30"/>
                    </a:cubicBezTo>
                    <a:cubicBezTo>
                      <a:pt x="50" y="26"/>
                      <a:pt x="50" y="22"/>
                      <a:pt x="50" y="18"/>
                    </a:cubicBezTo>
                    <a:cubicBezTo>
                      <a:pt x="50" y="17"/>
                      <a:pt x="50" y="15"/>
                      <a:pt x="51" y="15"/>
                    </a:cubicBezTo>
                    <a:cubicBezTo>
                      <a:pt x="52" y="14"/>
                      <a:pt x="55" y="15"/>
                      <a:pt x="57" y="15"/>
                    </a:cubicBezTo>
                    <a:cubicBezTo>
                      <a:pt x="61" y="15"/>
                      <a:pt x="65" y="15"/>
                      <a:pt x="69" y="15"/>
                    </a:cubicBezTo>
                    <a:cubicBezTo>
                      <a:pt x="73" y="15"/>
                      <a:pt x="77" y="14"/>
                      <a:pt x="80" y="15"/>
                    </a:cubicBezTo>
                    <a:cubicBezTo>
                      <a:pt x="82" y="15"/>
                      <a:pt x="82" y="14"/>
                      <a:pt x="82" y="13"/>
                    </a:cubicBezTo>
                    <a:cubicBezTo>
                      <a:pt x="82" y="12"/>
                      <a:pt x="82" y="11"/>
                      <a:pt x="82" y="10"/>
                    </a:cubicBezTo>
                    <a:cubicBezTo>
                      <a:pt x="82" y="7"/>
                      <a:pt x="82" y="4"/>
                      <a:pt x="82" y="0"/>
                    </a:cubicBezTo>
                    <a:cubicBezTo>
                      <a:pt x="94" y="9"/>
                      <a:pt x="106" y="17"/>
                      <a:pt x="118" y="26"/>
                    </a:cubicBezTo>
                    <a:cubicBezTo>
                      <a:pt x="112" y="26"/>
                      <a:pt x="106" y="26"/>
                      <a:pt x="101" y="26"/>
                    </a:cubicBezTo>
                    <a:cubicBezTo>
                      <a:pt x="102" y="42"/>
                      <a:pt x="103" y="59"/>
                      <a:pt x="105" y="76"/>
                    </a:cubicBezTo>
                    <a:cubicBezTo>
                      <a:pt x="105" y="84"/>
                      <a:pt x="106" y="92"/>
                      <a:pt x="107" y="101"/>
                    </a:cubicBezTo>
                    <a:cubicBezTo>
                      <a:pt x="107" y="105"/>
                      <a:pt x="107" y="109"/>
                      <a:pt x="108" y="113"/>
                    </a:cubicBezTo>
                    <a:cubicBezTo>
                      <a:pt x="108" y="115"/>
                      <a:pt x="108" y="117"/>
                      <a:pt x="108" y="119"/>
                    </a:cubicBezTo>
                    <a:cubicBezTo>
                      <a:pt x="108" y="119"/>
                      <a:pt x="109" y="120"/>
                      <a:pt x="109" y="120"/>
                    </a:cubicBezTo>
                    <a:close/>
                    <a:moveTo>
                      <a:pt x="6" y="82"/>
                    </a:moveTo>
                    <a:cubicBezTo>
                      <a:pt x="6" y="82"/>
                      <a:pt x="5" y="84"/>
                      <a:pt x="5" y="85"/>
                    </a:cubicBezTo>
                    <a:cubicBezTo>
                      <a:pt x="6" y="85"/>
                      <a:pt x="7" y="82"/>
                      <a:pt x="6" y="8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5" name="Mauitius">
                <a:extLst>
                  <a:ext uri="{FF2B5EF4-FFF2-40B4-BE49-F238E27FC236}">
                    <a16:creationId xmlns:a16="http://schemas.microsoft.com/office/drawing/2014/main" id="{753CF6A1-0996-3909-D041-8A9E842D7D13}"/>
                  </a:ext>
                </a:extLst>
              </p:cNvPr>
              <p:cNvSpPr>
                <a:spLocks noEditPoints="1"/>
              </p:cNvSpPr>
              <p:nvPr/>
            </p:nvSpPr>
            <p:spPr bwMode="auto">
              <a:xfrm>
                <a:off x="7623293" y="4448178"/>
                <a:ext cx="215636" cy="396967"/>
              </a:xfrm>
              <a:custGeom>
                <a:avLst/>
                <a:gdLst/>
                <a:ahLst/>
                <a:cxnLst>
                  <a:cxn ang="0">
                    <a:pos x="6" y="109"/>
                  </a:cxn>
                  <a:cxn ang="0">
                    <a:pos x="5" y="110"/>
                  </a:cxn>
                  <a:cxn ang="0">
                    <a:pos x="5" y="111"/>
                  </a:cxn>
                  <a:cxn ang="0">
                    <a:pos x="3" y="112"/>
                  </a:cxn>
                  <a:cxn ang="0">
                    <a:pos x="1" y="111"/>
                  </a:cxn>
                  <a:cxn ang="0">
                    <a:pos x="2" y="111"/>
                  </a:cxn>
                  <a:cxn ang="0">
                    <a:pos x="2" y="110"/>
                  </a:cxn>
                  <a:cxn ang="0">
                    <a:pos x="3" y="108"/>
                  </a:cxn>
                  <a:cxn ang="0">
                    <a:pos x="4" y="106"/>
                  </a:cxn>
                  <a:cxn ang="0">
                    <a:pos x="6" y="109"/>
                  </a:cxn>
                  <a:cxn ang="0">
                    <a:pos x="61" y="103"/>
                  </a:cxn>
                  <a:cxn ang="0">
                    <a:pos x="59" y="103"/>
                  </a:cxn>
                  <a:cxn ang="0">
                    <a:pos x="60" y="103"/>
                  </a:cxn>
                  <a:cxn ang="0">
                    <a:pos x="61" y="103"/>
                  </a:cxn>
                  <a:cxn ang="0">
                    <a:pos x="0" y="0"/>
                  </a:cxn>
                  <a:cxn ang="0">
                    <a:pos x="0" y="1"/>
                  </a:cxn>
                  <a:cxn ang="0">
                    <a:pos x="0" y="0"/>
                  </a:cxn>
                  <a:cxn ang="0">
                    <a:pos x="0" y="0"/>
                  </a:cxn>
                </a:cxnLst>
                <a:rect l="0" t="0" r="r" b="b"/>
                <a:pathLst>
                  <a:path w="61" h="112">
                    <a:moveTo>
                      <a:pt x="6" y="109"/>
                    </a:moveTo>
                    <a:cubicBezTo>
                      <a:pt x="6" y="109"/>
                      <a:pt x="6" y="110"/>
                      <a:pt x="5" y="110"/>
                    </a:cubicBezTo>
                    <a:cubicBezTo>
                      <a:pt x="5" y="110"/>
                      <a:pt x="5" y="111"/>
                      <a:pt x="5" y="111"/>
                    </a:cubicBezTo>
                    <a:cubicBezTo>
                      <a:pt x="5" y="112"/>
                      <a:pt x="4" y="112"/>
                      <a:pt x="3" y="112"/>
                    </a:cubicBezTo>
                    <a:cubicBezTo>
                      <a:pt x="2" y="112"/>
                      <a:pt x="1" y="112"/>
                      <a:pt x="1" y="111"/>
                    </a:cubicBezTo>
                    <a:cubicBezTo>
                      <a:pt x="1" y="111"/>
                      <a:pt x="1" y="111"/>
                      <a:pt x="2" y="111"/>
                    </a:cubicBezTo>
                    <a:cubicBezTo>
                      <a:pt x="2" y="111"/>
                      <a:pt x="2" y="110"/>
                      <a:pt x="2" y="110"/>
                    </a:cubicBezTo>
                    <a:cubicBezTo>
                      <a:pt x="2" y="109"/>
                      <a:pt x="2" y="108"/>
                      <a:pt x="3" y="108"/>
                    </a:cubicBezTo>
                    <a:cubicBezTo>
                      <a:pt x="4" y="107"/>
                      <a:pt x="3" y="106"/>
                      <a:pt x="4" y="106"/>
                    </a:cubicBezTo>
                    <a:cubicBezTo>
                      <a:pt x="5" y="105"/>
                      <a:pt x="6" y="108"/>
                      <a:pt x="6" y="109"/>
                    </a:cubicBezTo>
                    <a:close/>
                    <a:moveTo>
                      <a:pt x="61" y="103"/>
                    </a:moveTo>
                    <a:cubicBezTo>
                      <a:pt x="60" y="102"/>
                      <a:pt x="59" y="103"/>
                      <a:pt x="59" y="103"/>
                    </a:cubicBezTo>
                    <a:cubicBezTo>
                      <a:pt x="59" y="103"/>
                      <a:pt x="59" y="103"/>
                      <a:pt x="60" y="103"/>
                    </a:cubicBezTo>
                    <a:cubicBezTo>
                      <a:pt x="60" y="103"/>
                      <a:pt x="61" y="103"/>
                      <a:pt x="61" y="103"/>
                    </a:cubicBezTo>
                    <a:close/>
                    <a:moveTo>
                      <a:pt x="0" y="0"/>
                    </a:moveTo>
                    <a:cubicBezTo>
                      <a:pt x="0" y="0"/>
                      <a:pt x="0" y="0"/>
                      <a:pt x="0" y="1"/>
                    </a:cubicBezTo>
                    <a:cubicBezTo>
                      <a:pt x="0" y="0"/>
                      <a:pt x="0" y="0"/>
                      <a:pt x="0" y="0"/>
                    </a:cubicBezTo>
                    <a:cubicBezTo>
                      <a:pt x="0" y="0"/>
                      <a:pt x="0" y="0"/>
                      <a:pt x="0"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6" name="Martinique (FR)">
                <a:extLst>
                  <a:ext uri="{FF2B5EF4-FFF2-40B4-BE49-F238E27FC236}">
                    <a16:creationId xmlns:a16="http://schemas.microsoft.com/office/drawing/2014/main" id="{40471970-FB38-EE37-1CBD-B1F75C9FBAC6}"/>
                  </a:ext>
                </a:extLst>
              </p:cNvPr>
              <p:cNvSpPr>
                <a:spLocks/>
              </p:cNvSpPr>
              <p:nvPr/>
            </p:nvSpPr>
            <p:spPr bwMode="auto">
              <a:xfrm>
                <a:off x="3614815" y="3466052"/>
                <a:ext cx="10781" cy="17644"/>
              </a:xfrm>
              <a:custGeom>
                <a:avLst/>
                <a:gdLst/>
                <a:ahLst/>
                <a:cxnLst>
                  <a:cxn ang="0">
                    <a:pos x="3" y="2"/>
                  </a:cxn>
                  <a:cxn ang="0">
                    <a:pos x="2" y="2"/>
                  </a:cxn>
                  <a:cxn ang="0">
                    <a:pos x="2" y="1"/>
                  </a:cxn>
                  <a:cxn ang="0">
                    <a:pos x="3" y="1"/>
                  </a:cxn>
                  <a:cxn ang="0">
                    <a:pos x="2" y="1"/>
                  </a:cxn>
                  <a:cxn ang="0">
                    <a:pos x="0" y="0"/>
                  </a:cxn>
                  <a:cxn ang="0">
                    <a:pos x="0" y="1"/>
                  </a:cxn>
                  <a:cxn ang="0">
                    <a:pos x="0" y="2"/>
                  </a:cxn>
                  <a:cxn ang="0">
                    <a:pos x="1" y="3"/>
                  </a:cxn>
                  <a:cxn ang="0">
                    <a:pos x="2" y="3"/>
                  </a:cxn>
                  <a:cxn ang="0">
                    <a:pos x="1" y="4"/>
                  </a:cxn>
                  <a:cxn ang="0">
                    <a:pos x="3" y="4"/>
                  </a:cxn>
                  <a:cxn ang="0">
                    <a:pos x="3" y="4"/>
                  </a:cxn>
                  <a:cxn ang="0">
                    <a:pos x="3" y="5"/>
                  </a:cxn>
                  <a:cxn ang="0">
                    <a:pos x="3" y="4"/>
                  </a:cxn>
                  <a:cxn ang="0">
                    <a:pos x="3" y="2"/>
                  </a:cxn>
                </a:cxnLst>
                <a:rect l="0" t="0" r="r" b="b"/>
                <a:pathLst>
                  <a:path w="3" h="5">
                    <a:moveTo>
                      <a:pt x="3" y="2"/>
                    </a:moveTo>
                    <a:cubicBezTo>
                      <a:pt x="3" y="2"/>
                      <a:pt x="3" y="2"/>
                      <a:pt x="2" y="2"/>
                    </a:cubicBezTo>
                    <a:cubicBezTo>
                      <a:pt x="3" y="2"/>
                      <a:pt x="2" y="2"/>
                      <a:pt x="2" y="1"/>
                    </a:cubicBezTo>
                    <a:cubicBezTo>
                      <a:pt x="2" y="1"/>
                      <a:pt x="3" y="1"/>
                      <a:pt x="3" y="1"/>
                    </a:cubicBezTo>
                    <a:cubicBezTo>
                      <a:pt x="2" y="1"/>
                      <a:pt x="2" y="1"/>
                      <a:pt x="2" y="1"/>
                    </a:cubicBezTo>
                    <a:cubicBezTo>
                      <a:pt x="1" y="0"/>
                      <a:pt x="1" y="0"/>
                      <a:pt x="0" y="0"/>
                    </a:cubicBezTo>
                    <a:cubicBezTo>
                      <a:pt x="0" y="0"/>
                      <a:pt x="0" y="0"/>
                      <a:pt x="0" y="1"/>
                    </a:cubicBezTo>
                    <a:cubicBezTo>
                      <a:pt x="0" y="1"/>
                      <a:pt x="0" y="2"/>
                      <a:pt x="0" y="2"/>
                    </a:cubicBezTo>
                    <a:cubicBezTo>
                      <a:pt x="0" y="2"/>
                      <a:pt x="1" y="3"/>
                      <a:pt x="1" y="3"/>
                    </a:cubicBezTo>
                    <a:cubicBezTo>
                      <a:pt x="2" y="3"/>
                      <a:pt x="2" y="3"/>
                      <a:pt x="2" y="3"/>
                    </a:cubicBezTo>
                    <a:cubicBezTo>
                      <a:pt x="1" y="3"/>
                      <a:pt x="0" y="4"/>
                      <a:pt x="1" y="4"/>
                    </a:cubicBezTo>
                    <a:cubicBezTo>
                      <a:pt x="1" y="5"/>
                      <a:pt x="2" y="4"/>
                      <a:pt x="3" y="4"/>
                    </a:cubicBezTo>
                    <a:cubicBezTo>
                      <a:pt x="3" y="4"/>
                      <a:pt x="3" y="4"/>
                      <a:pt x="3" y="4"/>
                    </a:cubicBezTo>
                    <a:cubicBezTo>
                      <a:pt x="3" y="4"/>
                      <a:pt x="2" y="5"/>
                      <a:pt x="3" y="5"/>
                    </a:cubicBezTo>
                    <a:cubicBezTo>
                      <a:pt x="3" y="5"/>
                      <a:pt x="3" y="4"/>
                      <a:pt x="3" y="4"/>
                    </a:cubicBezTo>
                    <a:cubicBezTo>
                      <a:pt x="3" y="4"/>
                      <a:pt x="3" y="3"/>
                      <a:pt x="3"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7" name="Mathew and Hunter Islands (FR, disputed)">
                <a:extLst>
                  <a:ext uri="{FF2B5EF4-FFF2-40B4-BE49-F238E27FC236}">
                    <a16:creationId xmlns:a16="http://schemas.microsoft.com/office/drawing/2014/main" id="{1DFA3B63-303A-CD2E-6EEC-DC843DFA1873}"/>
                  </a:ext>
                </a:extLst>
              </p:cNvPr>
              <p:cNvSpPr>
                <a:spLocks/>
              </p:cNvSpPr>
              <p:nvPr/>
            </p:nvSpPr>
            <p:spPr bwMode="auto">
              <a:xfrm>
                <a:off x="11464951" y="4912774"/>
                <a:ext cx="980" cy="2941"/>
              </a:xfrm>
              <a:custGeom>
                <a:avLst/>
                <a:gdLst/>
                <a:ahLst/>
                <a:cxnLst>
                  <a:cxn ang="0">
                    <a:pos x="0" y="1"/>
                  </a:cxn>
                  <a:cxn ang="0">
                    <a:pos x="0" y="1"/>
                  </a:cxn>
                  <a:cxn ang="0">
                    <a:pos x="0" y="1"/>
                  </a:cxn>
                </a:cxnLst>
                <a:rect l="0" t="0" r="r" b="b"/>
                <a:pathLst>
                  <a:path h="1">
                    <a:moveTo>
                      <a:pt x="0" y="1"/>
                    </a:moveTo>
                    <a:cubicBezTo>
                      <a:pt x="0" y="1"/>
                      <a:pt x="0" y="1"/>
                      <a:pt x="0" y="1"/>
                    </a:cubicBezTo>
                    <a:cubicBezTo>
                      <a:pt x="0" y="0"/>
                      <a:pt x="0" y="1"/>
                      <a:pt x="0"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68" name="Marshall Islands">
                <a:extLst>
                  <a:ext uri="{FF2B5EF4-FFF2-40B4-BE49-F238E27FC236}">
                    <a16:creationId xmlns:a16="http://schemas.microsoft.com/office/drawing/2014/main" id="{4CA3DD33-F628-2C24-0E28-54F569CB949E}"/>
                  </a:ext>
                </a:extLst>
              </p:cNvPr>
              <p:cNvSpPr>
                <a:spLocks noEditPoints="1"/>
              </p:cNvSpPr>
              <p:nvPr/>
            </p:nvSpPr>
            <p:spPr bwMode="auto">
              <a:xfrm>
                <a:off x="11222360" y="3492249"/>
                <a:ext cx="357760" cy="346978"/>
              </a:xfrm>
              <a:custGeom>
                <a:avLst/>
                <a:gdLst/>
                <a:ahLst/>
                <a:cxnLst>
                  <a:cxn ang="0">
                    <a:pos x="98" y="92"/>
                  </a:cxn>
                  <a:cxn ang="0">
                    <a:pos x="99" y="92"/>
                  </a:cxn>
                  <a:cxn ang="0">
                    <a:pos x="98" y="92"/>
                  </a:cxn>
                  <a:cxn ang="0">
                    <a:pos x="52" y="34"/>
                  </a:cxn>
                  <a:cxn ang="0">
                    <a:pos x="52" y="34"/>
                  </a:cxn>
                  <a:cxn ang="0">
                    <a:pos x="52" y="34"/>
                  </a:cxn>
                  <a:cxn ang="0">
                    <a:pos x="0" y="34"/>
                  </a:cxn>
                  <a:cxn ang="0">
                    <a:pos x="0" y="34"/>
                  </a:cxn>
                  <a:cxn ang="0">
                    <a:pos x="0" y="34"/>
                  </a:cxn>
                  <a:cxn ang="0">
                    <a:pos x="54" y="56"/>
                  </a:cxn>
                  <a:cxn ang="0">
                    <a:pos x="54" y="56"/>
                  </a:cxn>
                  <a:cxn ang="0">
                    <a:pos x="54" y="56"/>
                  </a:cxn>
                  <a:cxn ang="0">
                    <a:pos x="48" y="56"/>
                  </a:cxn>
                  <a:cxn ang="0">
                    <a:pos x="48" y="57"/>
                  </a:cxn>
                  <a:cxn ang="0">
                    <a:pos x="48" y="56"/>
                  </a:cxn>
                  <a:cxn ang="0">
                    <a:pos x="36" y="58"/>
                  </a:cxn>
                  <a:cxn ang="0">
                    <a:pos x="37" y="58"/>
                  </a:cxn>
                  <a:cxn ang="0">
                    <a:pos x="36" y="58"/>
                  </a:cxn>
                  <a:cxn ang="0">
                    <a:pos x="63" y="74"/>
                  </a:cxn>
                  <a:cxn ang="0">
                    <a:pos x="63" y="74"/>
                  </a:cxn>
                  <a:cxn ang="0">
                    <a:pos x="63" y="74"/>
                  </a:cxn>
                  <a:cxn ang="0">
                    <a:pos x="70" y="76"/>
                  </a:cxn>
                  <a:cxn ang="0">
                    <a:pos x="70" y="76"/>
                  </a:cxn>
                  <a:cxn ang="0">
                    <a:pos x="70" y="76"/>
                  </a:cxn>
                  <a:cxn ang="0">
                    <a:pos x="46" y="37"/>
                  </a:cxn>
                  <a:cxn ang="0">
                    <a:pos x="46" y="37"/>
                  </a:cxn>
                  <a:cxn ang="0">
                    <a:pos x="45" y="37"/>
                  </a:cxn>
                  <a:cxn ang="0">
                    <a:pos x="46" y="37"/>
                  </a:cxn>
                  <a:cxn ang="0">
                    <a:pos x="30" y="31"/>
                  </a:cxn>
                  <a:cxn ang="0">
                    <a:pos x="30" y="31"/>
                  </a:cxn>
                  <a:cxn ang="0">
                    <a:pos x="30" y="31"/>
                  </a:cxn>
                  <a:cxn ang="0">
                    <a:pos x="32" y="31"/>
                  </a:cxn>
                  <a:cxn ang="0">
                    <a:pos x="32" y="32"/>
                  </a:cxn>
                  <a:cxn ang="0">
                    <a:pos x="32" y="31"/>
                  </a:cxn>
                  <a:cxn ang="0">
                    <a:pos x="81" y="54"/>
                  </a:cxn>
                  <a:cxn ang="0">
                    <a:pos x="81" y="55"/>
                  </a:cxn>
                  <a:cxn ang="0">
                    <a:pos x="81" y="54"/>
                  </a:cxn>
                  <a:cxn ang="0">
                    <a:pos x="101" y="81"/>
                  </a:cxn>
                  <a:cxn ang="0">
                    <a:pos x="101" y="81"/>
                  </a:cxn>
                  <a:cxn ang="0">
                    <a:pos x="101" y="81"/>
                  </a:cxn>
                  <a:cxn ang="0">
                    <a:pos x="87" y="62"/>
                  </a:cxn>
                  <a:cxn ang="0">
                    <a:pos x="87" y="61"/>
                  </a:cxn>
                  <a:cxn ang="0">
                    <a:pos x="87" y="62"/>
                  </a:cxn>
                  <a:cxn ang="0">
                    <a:pos x="59" y="63"/>
                  </a:cxn>
                  <a:cxn ang="0">
                    <a:pos x="59" y="63"/>
                  </a:cxn>
                  <a:cxn ang="0">
                    <a:pos x="59" y="63"/>
                  </a:cxn>
                  <a:cxn ang="0">
                    <a:pos x="75" y="45"/>
                  </a:cxn>
                  <a:cxn ang="0">
                    <a:pos x="75" y="45"/>
                  </a:cxn>
                  <a:cxn ang="0">
                    <a:pos x="75" y="45"/>
                  </a:cxn>
                  <a:cxn ang="0">
                    <a:pos x="60" y="0"/>
                  </a:cxn>
                  <a:cxn ang="0">
                    <a:pos x="60" y="0"/>
                  </a:cxn>
                  <a:cxn ang="0">
                    <a:pos x="60" y="0"/>
                  </a:cxn>
                  <a:cxn ang="0">
                    <a:pos x="64" y="98"/>
                  </a:cxn>
                  <a:cxn ang="0">
                    <a:pos x="64" y="97"/>
                  </a:cxn>
                  <a:cxn ang="0">
                    <a:pos x="64" y="98"/>
                  </a:cxn>
                  <a:cxn ang="0">
                    <a:pos x="69" y="79"/>
                  </a:cxn>
                  <a:cxn ang="0">
                    <a:pos x="69" y="79"/>
                  </a:cxn>
                  <a:cxn ang="0">
                    <a:pos x="68" y="79"/>
                  </a:cxn>
                  <a:cxn ang="0">
                    <a:pos x="69" y="79"/>
                  </a:cxn>
                  <a:cxn ang="0">
                    <a:pos x="67" y="78"/>
                  </a:cxn>
                  <a:cxn ang="0">
                    <a:pos x="66" y="77"/>
                  </a:cxn>
                  <a:cxn ang="0">
                    <a:pos x="67" y="78"/>
                  </a:cxn>
                </a:cxnLst>
                <a:rect l="0" t="0" r="r" b="b"/>
                <a:pathLst>
                  <a:path w="101" h="98">
                    <a:moveTo>
                      <a:pt x="98" y="92"/>
                    </a:moveTo>
                    <a:cubicBezTo>
                      <a:pt x="99" y="92"/>
                      <a:pt x="99" y="92"/>
                      <a:pt x="99" y="92"/>
                    </a:cubicBezTo>
                    <a:cubicBezTo>
                      <a:pt x="99" y="92"/>
                      <a:pt x="98" y="92"/>
                      <a:pt x="98" y="92"/>
                    </a:cubicBezTo>
                    <a:close/>
                    <a:moveTo>
                      <a:pt x="52" y="34"/>
                    </a:moveTo>
                    <a:cubicBezTo>
                      <a:pt x="52" y="34"/>
                      <a:pt x="52" y="34"/>
                      <a:pt x="52" y="34"/>
                    </a:cubicBezTo>
                    <a:cubicBezTo>
                      <a:pt x="52" y="34"/>
                      <a:pt x="52" y="34"/>
                      <a:pt x="52" y="34"/>
                    </a:cubicBezTo>
                    <a:close/>
                    <a:moveTo>
                      <a:pt x="0" y="34"/>
                    </a:moveTo>
                    <a:cubicBezTo>
                      <a:pt x="0" y="34"/>
                      <a:pt x="0" y="34"/>
                      <a:pt x="0" y="34"/>
                    </a:cubicBezTo>
                    <a:cubicBezTo>
                      <a:pt x="0" y="34"/>
                      <a:pt x="0" y="34"/>
                      <a:pt x="0" y="34"/>
                    </a:cubicBezTo>
                    <a:close/>
                    <a:moveTo>
                      <a:pt x="54" y="56"/>
                    </a:moveTo>
                    <a:cubicBezTo>
                      <a:pt x="54" y="56"/>
                      <a:pt x="54" y="56"/>
                      <a:pt x="54" y="56"/>
                    </a:cubicBezTo>
                    <a:cubicBezTo>
                      <a:pt x="54" y="56"/>
                      <a:pt x="54" y="56"/>
                      <a:pt x="54" y="56"/>
                    </a:cubicBezTo>
                    <a:close/>
                    <a:moveTo>
                      <a:pt x="48" y="56"/>
                    </a:moveTo>
                    <a:cubicBezTo>
                      <a:pt x="48" y="57"/>
                      <a:pt x="48" y="57"/>
                      <a:pt x="48" y="57"/>
                    </a:cubicBezTo>
                    <a:cubicBezTo>
                      <a:pt x="48" y="56"/>
                      <a:pt x="48" y="56"/>
                      <a:pt x="48" y="56"/>
                    </a:cubicBezTo>
                    <a:close/>
                    <a:moveTo>
                      <a:pt x="36" y="58"/>
                    </a:moveTo>
                    <a:cubicBezTo>
                      <a:pt x="36" y="58"/>
                      <a:pt x="36" y="58"/>
                      <a:pt x="37" y="58"/>
                    </a:cubicBezTo>
                    <a:cubicBezTo>
                      <a:pt x="37" y="58"/>
                      <a:pt x="37" y="58"/>
                      <a:pt x="36" y="58"/>
                    </a:cubicBezTo>
                    <a:close/>
                    <a:moveTo>
                      <a:pt x="63" y="74"/>
                    </a:moveTo>
                    <a:cubicBezTo>
                      <a:pt x="63" y="74"/>
                      <a:pt x="63" y="74"/>
                      <a:pt x="63" y="74"/>
                    </a:cubicBezTo>
                    <a:cubicBezTo>
                      <a:pt x="63" y="74"/>
                      <a:pt x="63" y="74"/>
                      <a:pt x="63" y="74"/>
                    </a:cubicBezTo>
                    <a:close/>
                    <a:moveTo>
                      <a:pt x="70" y="76"/>
                    </a:moveTo>
                    <a:cubicBezTo>
                      <a:pt x="70" y="76"/>
                      <a:pt x="70" y="76"/>
                      <a:pt x="70" y="76"/>
                    </a:cubicBezTo>
                    <a:cubicBezTo>
                      <a:pt x="70" y="76"/>
                      <a:pt x="70" y="76"/>
                      <a:pt x="70" y="76"/>
                    </a:cubicBezTo>
                    <a:close/>
                    <a:moveTo>
                      <a:pt x="46" y="37"/>
                    </a:moveTo>
                    <a:cubicBezTo>
                      <a:pt x="46" y="37"/>
                      <a:pt x="46" y="37"/>
                      <a:pt x="46" y="37"/>
                    </a:cubicBezTo>
                    <a:cubicBezTo>
                      <a:pt x="46" y="37"/>
                      <a:pt x="46" y="37"/>
                      <a:pt x="45" y="37"/>
                    </a:cubicBezTo>
                    <a:cubicBezTo>
                      <a:pt x="46" y="37"/>
                      <a:pt x="46" y="37"/>
                      <a:pt x="46" y="37"/>
                    </a:cubicBezTo>
                    <a:close/>
                    <a:moveTo>
                      <a:pt x="30" y="31"/>
                    </a:moveTo>
                    <a:cubicBezTo>
                      <a:pt x="30" y="31"/>
                      <a:pt x="30" y="31"/>
                      <a:pt x="30" y="31"/>
                    </a:cubicBezTo>
                    <a:cubicBezTo>
                      <a:pt x="30" y="31"/>
                      <a:pt x="30" y="31"/>
                      <a:pt x="30" y="31"/>
                    </a:cubicBezTo>
                    <a:close/>
                    <a:moveTo>
                      <a:pt x="32" y="31"/>
                    </a:moveTo>
                    <a:cubicBezTo>
                      <a:pt x="32" y="31"/>
                      <a:pt x="32" y="32"/>
                      <a:pt x="32" y="32"/>
                    </a:cubicBezTo>
                    <a:cubicBezTo>
                      <a:pt x="32" y="31"/>
                      <a:pt x="32" y="31"/>
                      <a:pt x="32" y="31"/>
                    </a:cubicBezTo>
                    <a:close/>
                    <a:moveTo>
                      <a:pt x="81" y="54"/>
                    </a:moveTo>
                    <a:cubicBezTo>
                      <a:pt x="81" y="54"/>
                      <a:pt x="81" y="54"/>
                      <a:pt x="81" y="55"/>
                    </a:cubicBezTo>
                    <a:cubicBezTo>
                      <a:pt x="81" y="54"/>
                      <a:pt x="81" y="54"/>
                      <a:pt x="81" y="54"/>
                    </a:cubicBezTo>
                    <a:close/>
                    <a:moveTo>
                      <a:pt x="101" y="81"/>
                    </a:moveTo>
                    <a:cubicBezTo>
                      <a:pt x="101" y="81"/>
                      <a:pt x="101" y="81"/>
                      <a:pt x="101" y="81"/>
                    </a:cubicBezTo>
                    <a:cubicBezTo>
                      <a:pt x="101" y="81"/>
                      <a:pt x="101" y="81"/>
                      <a:pt x="101" y="81"/>
                    </a:cubicBezTo>
                    <a:close/>
                    <a:moveTo>
                      <a:pt x="87" y="62"/>
                    </a:moveTo>
                    <a:cubicBezTo>
                      <a:pt x="87" y="61"/>
                      <a:pt x="87" y="61"/>
                      <a:pt x="87" y="61"/>
                    </a:cubicBezTo>
                    <a:cubicBezTo>
                      <a:pt x="87" y="61"/>
                      <a:pt x="87" y="61"/>
                      <a:pt x="87" y="62"/>
                    </a:cubicBezTo>
                    <a:close/>
                    <a:moveTo>
                      <a:pt x="59" y="63"/>
                    </a:moveTo>
                    <a:cubicBezTo>
                      <a:pt x="59" y="63"/>
                      <a:pt x="59" y="63"/>
                      <a:pt x="59" y="63"/>
                    </a:cubicBezTo>
                    <a:cubicBezTo>
                      <a:pt x="59" y="63"/>
                      <a:pt x="60" y="63"/>
                      <a:pt x="59" y="63"/>
                    </a:cubicBezTo>
                    <a:close/>
                    <a:moveTo>
                      <a:pt x="75" y="45"/>
                    </a:moveTo>
                    <a:cubicBezTo>
                      <a:pt x="75" y="45"/>
                      <a:pt x="75" y="45"/>
                      <a:pt x="75" y="45"/>
                    </a:cubicBezTo>
                    <a:cubicBezTo>
                      <a:pt x="75" y="45"/>
                      <a:pt x="75" y="45"/>
                      <a:pt x="75" y="45"/>
                    </a:cubicBezTo>
                    <a:close/>
                    <a:moveTo>
                      <a:pt x="60" y="0"/>
                    </a:moveTo>
                    <a:cubicBezTo>
                      <a:pt x="60" y="0"/>
                      <a:pt x="60" y="0"/>
                      <a:pt x="60" y="0"/>
                    </a:cubicBezTo>
                    <a:cubicBezTo>
                      <a:pt x="60" y="0"/>
                      <a:pt x="60" y="0"/>
                      <a:pt x="60" y="0"/>
                    </a:cubicBezTo>
                    <a:close/>
                    <a:moveTo>
                      <a:pt x="64" y="98"/>
                    </a:moveTo>
                    <a:cubicBezTo>
                      <a:pt x="64" y="98"/>
                      <a:pt x="64" y="97"/>
                      <a:pt x="64" y="97"/>
                    </a:cubicBezTo>
                    <a:cubicBezTo>
                      <a:pt x="64" y="97"/>
                      <a:pt x="64" y="98"/>
                      <a:pt x="64" y="98"/>
                    </a:cubicBezTo>
                    <a:close/>
                    <a:moveTo>
                      <a:pt x="69" y="79"/>
                    </a:moveTo>
                    <a:cubicBezTo>
                      <a:pt x="69" y="79"/>
                      <a:pt x="69" y="79"/>
                      <a:pt x="69" y="79"/>
                    </a:cubicBezTo>
                    <a:cubicBezTo>
                      <a:pt x="69" y="79"/>
                      <a:pt x="68" y="79"/>
                      <a:pt x="68" y="79"/>
                    </a:cubicBezTo>
                    <a:cubicBezTo>
                      <a:pt x="68" y="79"/>
                      <a:pt x="68" y="79"/>
                      <a:pt x="69" y="79"/>
                    </a:cubicBezTo>
                    <a:close/>
                    <a:moveTo>
                      <a:pt x="67" y="78"/>
                    </a:moveTo>
                    <a:cubicBezTo>
                      <a:pt x="67" y="78"/>
                      <a:pt x="67" y="77"/>
                      <a:pt x="66" y="77"/>
                    </a:cubicBezTo>
                    <a:cubicBezTo>
                      <a:pt x="66" y="77"/>
                      <a:pt x="66" y="78"/>
                      <a:pt x="67" y="7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901" kern="0">
                  <a:solidFill>
                    <a:srgbClr val="FFFFFF"/>
                  </a:solidFill>
                </a:endParaRPr>
              </a:p>
            </p:txBody>
          </p:sp>
          <p:sp>
            <p:nvSpPr>
              <p:cNvPr id="1569" name="Malta">
                <a:extLst>
                  <a:ext uri="{FF2B5EF4-FFF2-40B4-BE49-F238E27FC236}">
                    <a16:creationId xmlns:a16="http://schemas.microsoft.com/office/drawing/2014/main" id="{29E0B90E-1F8E-1378-315A-9CEC6F19DC32}"/>
                  </a:ext>
                </a:extLst>
              </p:cNvPr>
              <p:cNvSpPr>
                <a:spLocks noEditPoints="1"/>
              </p:cNvSpPr>
              <p:nvPr/>
            </p:nvSpPr>
            <p:spPr bwMode="auto">
              <a:xfrm>
                <a:off x="6175005" y="2640755"/>
                <a:ext cx="10781" cy="9801"/>
              </a:xfrm>
              <a:custGeom>
                <a:avLst/>
                <a:gdLst/>
                <a:ahLst/>
                <a:cxnLst>
                  <a:cxn ang="0">
                    <a:pos x="1" y="0"/>
                  </a:cxn>
                  <a:cxn ang="0">
                    <a:pos x="0" y="1"/>
                  </a:cxn>
                  <a:cxn ang="0">
                    <a:pos x="0" y="0"/>
                  </a:cxn>
                  <a:cxn ang="0">
                    <a:pos x="0" y="0"/>
                  </a:cxn>
                  <a:cxn ang="0">
                    <a:pos x="0" y="0"/>
                  </a:cxn>
                  <a:cxn ang="0">
                    <a:pos x="1" y="0"/>
                  </a:cxn>
                  <a:cxn ang="0">
                    <a:pos x="3" y="2"/>
                  </a:cxn>
                  <a:cxn ang="0">
                    <a:pos x="2" y="1"/>
                  </a:cxn>
                  <a:cxn ang="0">
                    <a:pos x="1" y="1"/>
                  </a:cxn>
                  <a:cxn ang="0">
                    <a:pos x="1" y="1"/>
                  </a:cxn>
                  <a:cxn ang="0">
                    <a:pos x="1" y="2"/>
                  </a:cxn>
                  <a:cxn ang="0">
                    <a:pos x="2" y="2"/>
                  </a:cxn>
                  <a:cxn ang="0">
                    <a:pos x="3" y="3"/>
                  </a:cxn>
                  <a:cxn ang="0">
                    <a:pos x="3" y="2"/>
                  </a:cxn>
                  <a:cxn ang="0">
                    <a:pos x="3" y="2"/>
                  </a:cxn>
                </a:cxnLst>
                <a:rect l="0" t="0" r="r" b="b"/>
                <a:pathLst>
                  <a:path w="3" h="3">
                    <a:moveTo>
                      <a:pt x="1" y="0"/>
                    </a:moveTo>
                    <a:cubicBezTo>
                      <a:pt x="1" y="0"/>
                      <a:pt x="1" y="0"/>
                      <a:pt x="0" y="1"/>
                    </a:cubicBezTo>
                    <a:cubicBezTo>
                      <a:pt x="0" y="0"/>
                      <a:pt x="0" y="0"/>
                      <a:pt x="0" y="0"/>
                    </a:cubicBezTo>
                    <a:cubicBezTo>
                      <a:pt x="0" y="0"/>
                      <a:pt x="0" y="0"/>
                      <a:pt x="0" y="0"/>
                    </a:cubicBezTo>
                    <a:cubicBezTo>
                      <a:pt x="0" y="0"/>
                      <a:pt x="0" y="0"/>
                      <a:pt x="0" y="0"/>
                    </a:cubicBezTo>
                    <a:cubicBezTo>
                      <a:pt x="0" y="0"/>
                      <a:pt x="1" y="0"/>
                      <a:pt x="1" y="0"/>
                    </a:cubicBezTo>
                    <a:close/>
                    <a:moveTo>
                      <a:pt x="3" y="2"/>
                    </a:moveTo>
                    <a:cubicBezTo>
                      <a:pt x="2" y="2"/>
                      <a:pt x="2" y="1"/>
                      <a:pt x="2" y="1"/>
                    </a:cubicBezTo>
                    <a:cubicBezTo>
                      <a:pt x="2" y="1"/>
                      <a:pt x="2" y="1"/>
                      <a:pt x="1" y="1"/>
                    </a:cubicBezTo>
                    <a:cubicBezTo>
                      <a:pt x="1" y="1"/>
                      <a:pt x="1" y="1"/>
                      <a:pt x="1" y="1"/>
                    </a:cubicBezTo>
                    <a:cubicBezTo>
                      <a:pt x="1" y="1"/>
                      <a:pt x="1" y="1"/>
                      <a:pt x="1" y="2"/>
                    </a:cubicBezTo>
                    <a:cubicBezTo>
                      <a:pt x="1" y="2"/>
                      <a:pt x="1" y="2"/>
                      <a:pt x="2" y="2"/>
                    </a:cubicBezTo>
                    <a:cubicBezTo>
                      <a:pt x="2" y="3"/>
                      <a:pt x="2" y="3"/>
                      <a:pt x="3" y="3"/>
                    </a:cubicBezTo>
                    <a:cubicBezTo>
                      <a:pt x="3" y="2"/>
                      <a:pt x="3" y="3"/>
                      <a:pt x="3" y="2"/>
                    </a:cubicBezTo>
                    <a:cubicBezTo>
                      <a:pt x="3" y="2"/>
                      <a:pt x="3" y="2"/>
                      <a:pt x="3"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0" name="Mali">
                <a:extLst>
                  <a:ext uri="{FF2B5EF4-FFF2-40B4-BE49-F238E27FC236}">
                    <a16:creationId xmlns:a16="http://schemas.microsoft.com/office/drawing/2014/main" id="{146EBA1F-930E-6E44-D2DC-8B54044F31F4}"/>
                  </a:ext>
                </a:extLst>
              </p:cNvPr>
              <p:cNvSpPr>
                <a:spLocks/>
              </p:cNvSpPr>
              <p:nvPr/>
            </p:nvSpPr>
            <p:spPr bwMode="auto">
              <a:xfrm>
                <a:off x="5283055" y="3073006"/>
                <a:ext cx="562615" cy="577317"/>
              </a:xfrm>
              <a:custGeom>
                <a:avLst/>
                <a:gdLst/>
                <a:ahLst/>
                <a:cxnLst>
                  <a:cxn ang="0">
                    <a:pos x="152" y="65"/>
                  </a:cxn>
                  <a:cxn ang="0">
                    <a:pos x="148" y="63"/>
                  </a:cxn>
                  <a:cxn ang="0">
                    <a:pos x="149" y="58"/>
                  </a:cxn>
                  <a:cxn ang="0">
                    <a:pos x="141" y="53"/>
                  </a:cxn>
                  <a:cxn ang="0">
                    <a:pos x="136" y="51"/>
                  </a:cxn>
                  <a:cxn ang="0">
                    <a:pos x="133" y="48"/>
                  </a:cxn>
                  <a:cxn ang="0">
                    <a:pos x="127" y="41"/>
                  </a:cxn>
                  <a:cxn ang="0">
                    <a:pos x="57" y="0"/>
                  </a:cxn>
                  <a:cxn ang="0">
                    <a:pos x="64" y="92"/>
                  </a:cxn>
                  <a:cxn ang="0">
                    <a:pos x="65" y="101"/>
                  </a:cxn>
                  <a:cxn ang="0">
                    <a:pos x="53" y="104"/>
                  </a:cxn>
                  <a:cxn ang="0">
                    <a:pos x="27" y="104"/>
                  </a:cxn>
                  <a:cxn ang="0">
                    <a:pos x="19" y="105"/>
                  </a:cxn>
                  <a:cxn ang="0">
                    <a:pos x="13" y="107"/>
                  </a:cxn>
                  <a:cxn ang="0">
                    <a:pos x="7" y="102"/>
                  </a:cxn>
                  <a:cxn ang="0">
                    <a:pos x="4" y="107"/>
                  </a:cxn>
                  <a:cxn ang="0">
                    <a:pos x="2" y="112"/>
                  </a:cxn>
                  <a:cxn ang="0">
                    <a:pos x="0" y="114"/>
                  </a:cxn>
                  <a:cxn ang="0">
                    <a:pos x="2" y="120"/>
                  </a:cxn>
                  <a:cxn ang="0">
                    <a:pos x="3" y="128"/>
                  </a:cxn>
                  <a:cxn ang="0">
                    <a:pos x="6" y="128"/>
                  </a:cxn>
                  <a:cxn ang="0">
                    <a:pos x="7" y="131"/>
                  </a:cxn>
                  <a:cxn ang="0">
                    <a:pos x="7" y="134"/>
                  </a:cxn>
                  <a:cxn ang="0">
                    <a:pos x="7" y="137"/>
                  </a:cxn>
                  <a:cxn ang="0">
                    <a:pos x="7" y="141"/>
                  </a:cxn>
                  <a:cxn ang="0">
                    <a:pos x="13" y="141"/>
                  </a:cxn>
                  <a:cxn ang="0">
                    <a:pos x="16" y="141"/>
                  </a:cxn>
                  <a:cxn ang="0">
                    <a:pos x="18" y="140"/>
                  </a:cxn>
                  <a:cxn ang="0">
                    <a:pos x="24" y="141"/>
                  </a:cxn>
                  <a:cxn ang="0">
                    <a:pos x="27" y="137"/>
                  </a:cxn>
                  <a:cxn ang="0">
                    <a:pos x="31" y="141"/>
                  </a:cxn>
                  <a:cxn ang="0">
                    <a:pos x="33" y="146"/>
                  </a:cxn>
                  <a:cxn ang="0">
                    <a:pos x="35" y="151"/>
                  </a:cxn>
                  <a:cxn ang="0">
                    <a:pos x="33" y="154"/>
                  </a:cxn>
                  <a:cxn ang="0">
                    <a:pos x="37" y="155"/>
                  </a:cxn>
                  <a:cxn ang="0">
                    <a:pos x="39" y="160"/>
                  </a:cxn>
                  <a:cxn ang="0">
                    <a:pos x="42" y="161"/>
                  </a:cxn>
                  <a:cxn ang="0">
                    <a:pos x="45" y="160"/>
                  </a:cxn>
                  <a:cxn ang="0">
                    <a:pos x="49" y="163"/>
                  </a:cxn>
                  <a:cxn ang="0">
                    <a:pos x="52" y="159"/>
                  </a:cxn>
                  <a:cxn ang="0">
                    <a:pos x="56" y="157"/>
                  </a:cxn>
                  <a:cxn ang="0">
                    <a:pos x="57" y="160"/>
                  </a:cxn>
                  <a:cxn ang="0">
                    <a:pos x="60" y="161"/>
                  </a:cxn>
                  <a:cxn ang="0">
                    <a:pos x="64" y="156"/>
                  </a:cxn>
                  <a:cxn ang="0">
                    <a:pos x="64" y="152"/>
                  </a:cxn>
                  <a:cxn ang="0">
                    <a:pos x="67" y="148"/>
                  </a:cxn>
                  <a:cxn ang="0">
                    <a:pos x="67" y="143"/>
                  </a:cxn>
                  <a:cxn ang="0">
                    <a:pos x="73" y="141"/>
                  </a:cxn>
                  <a:cxn ang="0">
                    <a:pos x="75" y="136"/>
                  </a:cxn>
                  <a:cxn ang="0">
                    <a:pos x="76" y="130"/>
                  </a:cxn>
                  <a:cxn ang="0">
                    <a:pos x="78" y="127"/>
                  </a:cxn>
                  <a:cxn ang="0">
                    <a:pos x="80" y="127"/>
                  </a:cxn>
                  <a:cxn ang="0">
                    <a:pos x="86" y="128"/>
                  </a:cxn>
                  <a:cxn ang="0">
                    <a:pos x="88" y="125"/>
                  </a:cxn>
                  <a:cxn ang="0">
                    <a:pos x="93" y="118"/>
                  </a:cxn>
                  <a:cxn ang="0">
                    <a:pos x="102" y="114"/>
                  </a:cxn>
                  <a:cxn ang="0">
                    <a:pos x="113" y="109"/>
                  </a:cxn>
                  <a:cxn ang="0">
                    <a:pos x="121" y="110"/>
                  </a:cxn>
                  <a:cxn ang="0">
                    <a:pos x="132" y="106"/>
                  </a:cxn>
                  <a:cxn ang="0">
                    <a:pos x="146" y="106"/>
                  </a:cxn>
                  <a:cxn ang="0">
                    <a:pos x="152" y="104"/>
                  </a:cxn>
                  <a:cxn ang="0">
                    <a:pos x="156" y="98"/>
                  </a:cxn>
                  <a:cxn ang="0">
                    <a:pos x="158" y="88"/>
                  </a:cxn>
                </a:cxnLst>
                <a:rect l="0" t="0" r="r" b="b"/>
                <a:pathLst>
                  <a:path w="159" h="163">
                    <a:moveTo>
                      <a:pt x="158" y="82"/>
                    </a:moveTo>
                    <a:cubicBezTo>
                      <a:pt x="158" y="80"/>
                      <a:pt x="158" y="78"/>
                      <a:pt x="158" y="76"/>
                    </a:cubicBezTo>
                    <a:cubicBezTo>
                      <a:pt x="158" y="72"/>
                      <a:pt x="158" y="68"/>
                      <a:pt x="159" y="64"/>
                    </a:cubicBezTo>
                    <a:cubicBezTo>
                      <a:pt x="156" y="64"/>
                      <a:pt x="154" y="65"/>
                      <a:pt x="152" y="65"/>
                    </a:cubicBezTo>
                    <a:cubicBezTo>
                      <a:pt x="152" y="65"/>
                      <a:pt x="151" y="66"/>
                      <a:pt x="150" y="66"/>
                    </a:cubicBezTo>
                    <a:cubicBezTo>
                      <a:pt x="149" y="66"/>
                      <a:pt x="149" y="65"/>
                      <a:pt x="149" y="65"/>
                    </a:cubicBezTo>
                    <a:cubicBezTo>
                      <a:pt x="148" y="64"/>
                      <a:pt x="147" y="64"/>
                      <a:pt x="148" y="63"/>
                    </a:cubicBezTo>
                    <a:cubicBezTo>
                      <a:pt x="148" y="63"/>
                      <a:pt x="148" y="63"/>
                      <a:pt x="148" y="63"/>
                    </a:cubicBezTo>
                    <a:cubicBezTo>
                      <a:pt x="149" y="62"/>
                      <a:pt x="148" y="62"/>
                      <a:pt x="149" y="62"/>
                    </a:cubicBezTo>
                    <a:cubicBezTo>
                      <a:pt x="149" y="61"/>
                      <a:pt x="149" y="62"/>
                      <a:pt x="149" y="61"/>
                    </a:cubicBezTo>
                    <a:cubicBezTo>
                      <a:pt x="149" y="61"/>
                      <a:pt x="149" y="60"/>
                      <a:pt x="149" y="60"/>
                    </a:cubicBezTo>
                    <a:cubicBezTo>
                      <a:pt x="149" y="59"/>
                      <a:pt x="149" y="59"/>
                      <a:pt x="149" y="58"/>
                    </a:cubicBezTo>
                    <a:cubicBezTo>
                      <a:pt x="149" y="58"/>
                      <a:pt x="149" y="57"/>
                      <a:pt x="149" y="56"/>
                    </a:cubicBezTo>
                    <a:cubicBezTo>
                      <a:pt x="148" y="56"/>
                      <a:pt x="147" y="56"/>
                      <a:pt x="147" y="55"/>
                    </a:cubicBezTo>
                    <a:cubicBezTo>
                      <a:pt x="145" y="54"/>
                      <a:pt x="144" y="55"/>
                      <a:pt x="142" y="54"/>
                    </a:cubicBezTo>
                    <a:cubicBezTo>
                      <a:pt x="142" y="54"/>
                      <a:pt x="141" y="54"/>
                      <a:pt x="141" y="53"/>
                    </a:cubicBezTo>
                    <a:cubicBezTo>
                      <a:pt x="141" y="53"/>
                      <a:pt x="140" y="52"/>
                      <a:pt x="140" y="52"/>
                    </a:cubicBezTo>
                    <a:cubicBezTo>
                      <a:pt x="139" y="51"/>
                      <a:pt x="139" y="51"/>
                      <a:pt x="138" y="52"/>
                    </a:cubicBezTo>
                    <a:cubicBezTo>
                      <a:pt x="138" y="52"/>
                      <a:pt x="138" y="52"/>
                      <a:pt x="137" y="52"/>
                    </a:cubicBezTo>
                    <a:cubicBezTo>
                      <a:pt x="136" y="51"/>
                      <a:pt x="137" y="52"/>
                      <a:pt x="136" y="51"/>
                    </a:cubicBezTo>
                    <a:cubicBezTo>
                      <a:pt x="136" y="51"/>
                      <a:pt x="136" y="51"/>
                      <a:pt x="135" y="51"/>
                    </a:cubicBezTo>
                    <a:cubicBezTo>
                      <a:pt x="135" y="51"/>
                      <a:pt x="135" y="51"/>
                      <a:pt x="135" y="51"/>
                    </a:cubicBezTo>
                    <a:cubicBezTo>
                      <a:pt x="134" y="50"/>
                      <a:pt x="134" y="50"/>
                      <a:pt x="134" y="49"/>
                    </a:cubicBezTo>
                    <a:cubicBezTo>
                      <a:pt x="134" y="48"/>
                      <a:pt x="134" y="48"/>
                      <a:pt x="133" y="48"/>
                    </a:cubicBezTo>
                    <a:cubicBezTo>
                      <a:pt x="132" y="48"/>
                      <a:pt x="132" y="48"/>
                      <a:pt x="131" y="47"/>
                    </a:cubicBezTo>
                    <a:cubicBezTo>
                      <a:pt x="131" y="47"/>
                      <a:pt x="131" y="46"/>
                      <a:pt x="130" y="46"/>
                    </a:cubicBezTo>
                    <a:cubicBezTo>
                      <a:pt x="129" y="47"/>
                      <a:pt x="130" y="44"/>
                      <a:pt x="130" y="43"/>
                    </a:cubicBezTo>
                    <a:cubicBezTo>
                      <a:pt x="130" y="42"/>
                      <a:pt x="128" y="41"/>
                      <a:pt x="127" y="41"/>
                    </a:cubicBezTo>
                    <a:cubicBezTo>
                      <a:pt x="125" y="40"/>
                      <a:pt x="124" y="38"/>
                      <a:pt x="122" y="37"/>
                    </a:cubicBezTo>
                    <a:cubicBezTo>
                      <a:pt x="119" y="35"/>
                      <a:pt x="116" y="32"/>
                      <a:pt x="113" y="30"/>
                    </a:cubicBezTo>
                    <a:cubicBezTo>
                      <a:pt x="100" y="19"/>
                      <a:pt x="87" y="9"/>
                      <a:pt x="74" y="0"/>
                    </a:cubicBezTo>
                    <a:cubicBezTo>
                      <a:pt x="68" y="0"/>
                      <a:pt x="62" y="0"/>
                      <a:pt x="57" y="0"/>
                    </a:cubicBezTo>
                    <a:cubicBezTo>
                      <a:pt x="58" y="17"/>
                      <a:pt x="59" y="34"/>
                      <a:pt x="61" y="52"/>
                    </a:cubicBezTo>
                    <a:cubicBezTo>
                      <a:pt x="61" y="60"/>
                      <a:pt x="62" y="68"/>
                      <a:pt x="63" y="77"/>
                    </a:cubicBezTo>
                    <a:cubicBezTo>
                      <a:pt x="63" y="81"/>
                      <a:pt x="63" y="85"/>
                      <a:pt x="64" y="89"/>
                    </a:cubicBezTo>
                    <a:cubicBezTo>
                      <a:pt x="64" y="90"/>
                      <a:pt x="64" y="91"/>
                      <a:pt x="64" y="92"/>
                    </a:cubicBezTo>
                    <a:cubicBezTo>
                      <a:pt x="64" y="93"/>
                      <a:pt x="64" y="93"/>
                      <a:pt x="65" y="94"/>
                    </a:cubicBezTo>
                    <a:cubicBezTo>
                      <a:pt x="65" y="94"/>
                      <a:pt x="66" y="94"/>
                      <a:pt x="66" y="95"/>
                    </a:cubicBezTo>
                    <a:cubicBezTo>
                      <a:pt x="66" y="96"/>
                      <a:pt x="66" y="97"/>
                      <a:pt x="66" y="97"/>
                    </a:cubicBezTo>
                    <a:cubicBezTo>
                      <a:pt x="66" y="99"/>
                      <a:pt x="65" y="100"/>
                      <a:pt x="65" y="101"/>
                    </a:cubicBezTo>
                    <a:cubicBezTo>
                      <a:pt x="65" y="102"/>
                      <a:pt x="65" y="103"/>
                      <a:pt x="65" y="104"/>
                    </a:cubicBezTo>
                    <a:cubicBezTo>
                      <a:pt x="64" y="104"/>
                      <a:pt x="62" y="104"/>
                      <a:pt x="62" y="104"/>
                    </a:cubicBezTo>
                    <a:cubicBezTo>
                      <a:pt x="61" y="104"/>
                      <a:pt x="60" y="104"/>
                      <a:pt x="59" y="104"/>
                    </a:cubicBezTo>
                    <a:cubicBezTo>
                      <a:pt x="57" y="104"/>
                      <a:pt x="55" y="104"/>
                      <a:pt x="53" y="104"/>
                    </a:cubicBezTo>
                    <a:cubicBezTo>
                      <a:pt x="45" y="104"/>
                      <a:pt x="36" y="104"/>
                      <a:pt x="28" y="104"/>
                    </a:cubicBezTo>
                    <a:cubicBezTo>
                      <a:pt x="28" y="104"/>
                      <a:pt x="28" y="102"/>
                      <a:pt x="28" y="102"/>
                    </a:cubicBezTo>
                    <a:cubicBezTo>
                      <a:pt x="27" y="102"/>
                      <a:pt x="27" y="102"/>
                      <a:pt x="27" y="103"/>
                    </a:cubicBezTo>
                    <a:cubicBezTo>
                      <a:pt x="27" y="103"/>
                      <a:pt x="27" y="104"/>
                      <a:pt x="27" y="104"/>
                    </a:cubicBezTo>
                    <a:cubicBezTo>
                      <a:pt x="27" y="105"/>
                      <a:pt x="26" y="105"/>
                      <a:pt x="26" y="105"/>
                    </a:cubicBezTo>
                    <a:cubicBezTo>
                      <a:pt x="25" y="105"/>
                      <a:pt x="24" y="105"/>
                      <a:pt x="23" y="105"/>
                    </a:cubicBezTo>
                    <a:cubicBezTo>
                      <a:pt x="23" y="105"/>
                      <a:pt x="22" y="105"/>
                      <a:pt x="21" y="105"/>
                    </a:cubicBezTo>
                    <a:cubicBezTo>
                      <a:pt x="21" y="105"/>
                      <a:pt x="20" y="105"/>
                      <a:pt x="19" y="105"/>
                    </a:cubicBezTo>
                    <a:cubicBezTo>
                      <a:pt x="18" y="105"/>
                      <a:pt x="18" y="105"/>
                      <a:pt x="17" y="105"/>
                    </a:cubicBezTo>
                    <a:cubicBezTo>
                      <a:pt x="16" y="105"/>
                      <a:pt x="15" y="105"/>
                      <a:pt x="15" y="105"/>
                    </a:cubicBezTo>
                    <a:cubicBezTo>
                      <a:pt x="14" y="105"/>
                      <a:pt x="14" y="105"/>
                      <a:pt x="14" y="106"/>
                    </a:cubicBezTo>
                    <a:cubicBezTo>
                      <a:pt x="14" y="106"/>
                      <a:pt x="13" y="106"/>
                      <a:pt x="13" y="107"/>
                    </a:cubicBezTo>
                    <a:cubicBezTo>
                      <a:pt x="13" y="107"/>
                      <a:pt x="13" y="108"/>
                      <a:pt x="12" y="108"/>
                    </a:cubicBezTo>
                    <a:cubicBezTo>
                      <a:pt x="12" y="107"/>
                      <a:pt x="12" y="107"/>
                      <a:pt x="11" y="106"/>
                    </a:cubicBezTo>
                    <a:cubicBezTo>
                      <a:pt x="11" y="106"/>
                      <a:pt x="10" y="105"/>
                      <a:pt x="9" y="105"/>
                    </a:cubicBezTo>
                    <a:cubicBezTo>
                      <a:pt x="9" y="104"/>
                      <a:pt x="8" y="102"/>
                      <a:pt x="7" y="102"/>
                    </a:cubicBezTo>
                    <a:cubicBezTo>
                      <a:pt x="7" y="103"/>
                      <a:pt x="7" y="103"/>
                      <a:pt x="6" y="103"/>
                    </a:cubicBezTo>
                    <a:cubicBezTo>
                      <a:pt x="6" y="103"/>
                      <a:pt x="6" y="104"/>
                      <a:pt x="5" y="103"/>
                    </a:cubicBezTo>
                    <a:cubicBezTo>
                      <a:pt x="5" y="104"/>
                      <a:pt x="4" y="105"/>
                      <a:pt x="4" y="105"/>
                    </a:cubicBezTo>
                    <a:cubicBezTo>
                      <a:pt x="4" y="106"/>
                      <a:pt x="4" y="107"/>
                      <a:pt x="4" y="107"/>
                    </a:cubicBezTo>
                    <a:cubicBezTo>
                      <a:pt x="4" y="108"/>
                      <a:pt x="3" y="108"/>
                      <a:pt x="4" y="109"/>
                    </a:cubicBezTo>
                    <a:cubicBezTo>
                      <a:pt x="4" y="109"/>
                      <a:pt x="4" y="109"/>
                      <a:pt x="4" y="110"/>
                    </a:cubicBezTo>
                    <a:cubicBezTo>
                      <a:pt x="4" y="111"/>
                      <a:pt x="4" y="111"/>
                      <a:pt x="3" y="111"/>
                    </a:cubicBezTo>
                    <a:cubicBezTo>
                      <a:pt x="3" y="111"/>
                      <a:pt x="3" y="112"/>
                      <a:pt x="2" y="112"/>
                    </a:cubicBezTo>
                    <a:cubicBezTo>
                      <a:pt x="2" y="112"/>
                      <a:pt x="2" y="112"/>
                      <a:pt x="2" y="112"/>
                    </a:cubicBezTo>
                    <a:cubicBezTo>
                      <a:pt x="1" y="112"/>
                      <a:pt x="1" y="112"/>
                      <a:pt x="1" y="112"/>
                    </a:cubicBezTo>
                    <a:cubicBezTo>
                      <a:pt x="0" y="112"/>
                      <a:pt x="0" y="112"/>
                      <a:pt x="0" y="112"/>
                    </a:cubicBezTo>
                    <a:cubicBezTo>
                      <a:pt x="0" y="112"/>
                      <a:pt x="1" y="113"/>
                      <a:pt x="0" y="114"/>
                    </a:cubicBezTo>
                    <a:cubicBezTo>
                      <a:pt x="0" y="114"/>
                      <a:pt x="0" y="115"/>
                      <a:pt x="0" y="116"/>
                    </a:cubicBezTo>
                    <a:cubicBezTo>
                      <a:pt x="0" y="116"/>
                      <a:pt x="1" y="116"/>
                      <a:pt x="1" y="117"/>
                    </a:cubicBezTo>
                    <a:cubicBezTo>
                      <a:pt x="1" y="117"/>
                      <a:pt x="1" y="117"/>
                      <a:pt x="1" y="117"/>
                    </a:cubicBezTo>
                    <a:cubicBezTo>
                      <a:pt x="2" y="118"/>
                      <a:pt x="2" y="120"/>
                      <a:pt x="2" y="120"/>
                    </a:cubicBezTo>
                    <a:cubicBezTo>
                      <a:pt x="2" y="121"/>
                      <a:pt x="3" y="122"/>
                      <a:pt x="2" y="123"/>
                    </a:cubicBezTo>
                    <a:cubicBezTo>
                      <a:pt x="1" y="124"/>
                      <a:pt x="1" y="123"/>
                      <a:pt x="1" y="124"/>
                    </a:cubicBezTo>
                    <a:cubicBezTo>
                      <a:pt x="2" y="125"/>
                      <a:pt x="3" y="126"/>
                      <a:pt x="3" y="126"/>
                    </a:cubicBezTo>
                    <a:cubicBezTo>
                      <a:pt x="3" y="127"/>
                      <a:pt x="3" y="127"/>
                      <a:pt x="3" y="128"/>
                    </a:cubicBezTo>
                    <a:cubicBezTo>
                      <a:pt x="3" y="128"/>
                      <a:pt x="4" y="127"/>
                      <a:pt x="4" y="127"/>
                    </a:cubicBezTo>
                    <a:cubicBezTo>
                      <a:pt x="4" y="127"/>
                      <a:pt x="4" y="127"/>
                      <a:pt x="5" y="127"/>
                    </a:cubicBezTo>
                    <a:cubicBezTo>
                      <a:pt x="5" y="127"/>
                      <a:pt x="5" y="127"/>
                      <a:pt x="5" y="127"/>
                    </a:cubicBezTo>
                    <a:cubicBezTo>
                      <a:pt x="6" y="128"/>
                      <a:pt x="6" y="128"/>
                      <a:pt x="6" y="128"/>
                    </a:cubicBezTo>
                    <a:cubicBezTo>
                      <a:pt x="6" y="129"/>
                      <a:pt x="6" y="129"/>
                      <a:pt x="6" y="129"/>
                    </a:cubicBezTo>
                    <a:cubicBezTo>
                      <a:pt x="6" y="129"/>
                      <a:pt x="6" y="129"/>
                      <a:pt x="6" y="129"/>
                    </a:cubicBezTo>
                    <a:cubicBezTo>
                      <a:pt x="6" y="130"/>
                      <a:pt x="6" y="130"/>
                      <a:pt x="6" y="130"/>
                    </a:cubicBezTo>
                    <a:cubicBezTo>
                      <a:pt x="7" y="131"/>
                      <a:pt x="7" y="131"/>
                      <a:pt x="7" y="131"/>
                    </a:cubicBezTo>
                    <a:cubicBezTo>
                      <a:pt x="7" y="131"/>
                      <a:pt x="7" y="132"/>
                      <a:pt x="7" y="132"/>
                    </a:cubicBezTo>
                    <a:cubicBezTo>
                      <a:pt x="7" y="132"/>
                      <a:pt x="7" y="132"/>
                      <a:pt x="7" y="131"/>
                    </a:cubicBezTo>
                    <a:cubicBezTo>
                      <a:pt x="8" y="132"/>
                      <a:pt x="7" y="132"/>
                      <a:pt x="7" y="132"/>
                    </a:cubicBezTo>
                    <a:cubicBezTo>
                      <a:pt x="7" y="133"/>
                      <a:pt x="7" y="133"/>
                      <a:pt x="7" y="134"/>
                    </a:cubicBezTo>
                    <a:cubicBezTo>
                      <a:pt x="7" y="134"/>
                      <a:pt x="7" y="134"/>
                      <a:pt x="7" y="135"/>
                    </a:cubicBezTo>
                    <a:cubicBezTo>
                      <a:pt x="7" y="135"/>
                      <a:pt x="7" y="135"/>
                      <a:pt x="7" y="135"/>
                    </a:cubicBezTo>
                    <a:cubicBezTo>
                      <a:pt x="7" y="136"/>
                      <a:pt x="7" y="137"/>
                      <a:pt x="7" y="137"/>
                    </a:cubicBezTo>
                    <a:cubicBezTo>
                      <a:pt x="7" y="137"/>
                      <a:pt x="8" y="137"/>
                      <a:pt x="7" y="137"/>
                    </a:cubicBezTo>
                    <a:cubicBezTo>
                      <a:pt x="7" y="138"/>
                      <a:pt x="7" y="138"/>
                      <a:pt x="7" y="138"/>
                    </a:cubicBezTo>
                    <a:cubicBezTo>
                      <a:pt x="7" y="138"/>
                      <a:pt x="7" y="139"/>
                      <a:pt x="7" y="140"/>
                    </a:cubicBezTo>
                    <a:cubicBezTo>
                      <a:pt x="6" y="140"/>
                      <a:pt x="6" y="141"/>
                      <a:pt x="7" y="141"/>
                    </a:cubicBezTo>
                    <a:cubicBezTo>
                      <a:pt x="7" y="141"/>
                      <a:pt x="7" y="141"/>
                      <a:pt x="7" y="141"/>
                    </a:cubicBezTo>
                    <a:cubicBezTo>
                      <a:pt x="8" y="142"/>
                      <a:pt x="8" y="142"/>
                      <a:pt x="8" y="142"/>
                    </a:cubicBezTo>
                    <a:cubicBezTo>
                      <a:pt x="8" y="142"/>
                      <a:pt x="8" y="143"/>
                      <a:pt x="9" y="142"/>
                    </a:cubicBezTo>
                    <a:cubicBezTo>
                      <a:pt x="10" y="142"/>
                      <a:pt x="10" y="141"/>
                      <a:pt x="11" y="140"/>
                    </a:cubicBezTo>
                    <a:cubicBezTo>
                      <a:pt x="11" y="139"/>
                      <a:pt x="12" y="141"/>
                      <a:pt x="13" y="141"/>
                    </a:cubicBezTo>
                    <a:cubicBezTo>
                      <a:pt x="13" y="141"/>
                      <a:pt x="13" y="144"/>
                      <a:pt x="14" y="143"/>
                    </a:cubicBezTo>
                    <a:cubicBezTo>
                      <a:pt x="15" y="143"/>
                      <a:pt x="15" y="143"/>
                      <a:pt x="15" y="142"/>
                    </a:cubicBezTo>
                    <a:cubicBezTo>
                      <a:pt x="15" y="142"/>
                      <a:pt x="16" y="142"/>
                      <a:pt x="16" y="142"/>
                    </a:cubicBezTo>
                    <a:cubicBezTo>
                      <a:pt x="16" y="141"/>
                      <a:pt x="16" y="141"/>
                      <a:pt x="16" y="141"/>
                    </a:cubicBezTo>
                    <a:cubicBezTo>
                      <a:pt x="16" y="141"/>
                      <a:pt x="16" y="141"/>
                      <a:pt x="17" y="141"/>
                    </a:cubicBezTo>
                    <a:cubicBezTo>
                      <a:pt x="17" y="140"/>
                      <a:pt x="17" y="141"/>
                      <a:pt x="17" y="140"/>
                    </a:cubicBezTo>
                    <a:cubicBezTo>
                      <a:pt x="17" y="140"/>
                      <a:pt x="17" y="140"/>
                      <a:pt x="18" y="140"/>
                    </a:cubicBezTo>
                    <a:cubicBezTo>
                      <a:pt x="18" y="140"/>
                      <a:pt x="18" y="140"/>
                      <a:pt x="18" y="140"/>
                    </a:cubicBezTo>
                    <a:cubicBezTo>
                      <a:pt x="18" y="140"/>
                      <a:pt x="18" y="140"/>
                      <a:pt x="19" y="140"/>
                    </a:cubicBezTo>
                    <a:cubicBezTo>
                      <a:pt x="19" y="140"/>
                      <a:pt x="20" y="140"/>
                      <a:pt x="20" y="141"/>
                    </a:cubicBezTo>
                    <a:cubicBezTo>
                      <a:pt x="21" y="141"/>
                      <a:pt x="22" y="142"/>
                      <a:pt x="23" y="142"/>
                    </a:cubicBezTo>
                    <a:cubicBezTo>
                      <a:pt x="24" y="142"/>
                      <a:pt x="23" y="141"/>
                      <a:pt x="24" y="141"/>
                    </a:cubicBezTo>
                    <a:cubicBezTo>
                      <a:pt x="25" y="140"/>
                      <a:pt x="25" y="140"/>
                      <a:pt x="25" y="140"/>
                    </a:cubicBezTo>
                    <a:cubicBezTo>
                      <a:pt x="26" y="140"/>
                      <a:pt x="26" y="140"/>
                      <a:pt x="26" y="140"/>
                    </a:cubicBezTo>
                    <a:cubicBezTo>
                      <a:pt x="27" y="140"/>
                      <a:pt x="28" y="139"/>
                      <a:pt x="27" y="138"/>
                    </a:cubicBezTo>
                    <a:cubicBezTo>
                      <a:pt x="27" y="138"/>
                      <a:pt x="26" y="137"/>
                      <a:pt x="27" y="137"/>
                    </a:cubicBezTo>
                    <a:cubicBezTo>
                      <a:pt x="28" y="137"/>
                      <a:pt x="30" y="137"/>
                      <a:pt x="30" y="138"/>
                    </a:cubicBezTo>
                    <a:cubicBezTo>
                      <a:pt x="31" y="139"/>
                      <a:pt x="30" y="139"/>
                      <a:pt x="30" y="140"/>
                    </a:cubicBezTo>
                    <a:cubicBezTo>
                      <a:pt x="30" y="140"/>
                      <a:pt x="31" y="140"/>
                      <a:pt x="31" y="140"/>
                    </a:cubicBezTo>
                    <a:cubicBezTo>
                      <a:pt x="31" y="141"/>
                      <a:pt x="31" y="141"/>
                      <a:pt x="31" y="141"/>
                    </a:cubicBezTo>
                    <a:cubicBezTo>
                      <a:pt x="31" y="142"/>
                      <a:pt x="32" y="142"/>
                      <a:pt x="32" y="142"/>
                    </a:cubicBezTo>
                    <a:cubicBezTo>
                      <a:pt x="32" y="143"/>
                      <a:pt x="32" y="144"/>
                      <a:pt x="32" y="144"/>
                    </a:cubicBezTo>
                    <a:cubicBezTo>
                      <a:pt x="32" y="145"/>
                      <a:pt x="31" y="146"/>
                      <a:pt x="32" y="146"/>
                    </a:cubicBezTo>
                    <a:cubicBezTo>
                      <a:pt x="33" y="146"/>
                      <a:pt x="33" y="146"/>
                      <a:pt x="33" y="146"/>
                    </a:cubicBezTo>
                    <a:cubicBezTo>
                      <a:pt x="33" y="147"/>
                      <a:pt x="34" y="149"/>
                      <a:pt x="35" y="148"/>
                    </a:cubicBezTo>
                    <a:cubicBezTo>
                      <a:pt x="35" y="149"/>
                      <a:pt x="36" y="149"/>
                      <a:pt x="36" y="149"/>
                    </a:cubicBezTo>
                    <a:cubicBezTo>
                      <a:pt x="35" y="149"/>
                      <a:pt x="37" y="150"/>
                      <a:pt x="35" y="150"/>
                    </a:cubicBezTo>
                    <a:cubicBezTo>
                      <a:pt x="35" y="150"/>
                      <a:pt x="35" y="150"/>
                      <a:pt x="35" y="151"/>
                    </a:cubicBezTo>
                    <a:cubicBezTo>
                      <a:pt x="35" y="151"/>
                      <a:pt x="35" y="151"/>
                      <a:pt x="35" y="151"/>
                    </a:cubicBezTo>
                    <a:cubicBezTo>
                      <a:pt x="34" y="151"/>
                      <a:pt x="34" y="152"/>
                      <a:pt x="34" y="152"/>
                    </a:cubicBezTo>
                    <a:cubicBezTo>
                      <a:pt x="34" y="152"/>
                      <a:pt x="34" y="152"/>
                      <a:pt x="34" y="152"/>
                    </a:cubicBezTo>
                    <a:cubicBezTo>
                      <a:pt x="34" y="153"/>
                      <a:pt x="33" y="154"/>
                      <a:pt x="33" y="154"/>
                    </a:cubicBezTo>
                    <a:cubicBezTo>
                      <a:pt x="33" y="154"/>
                      <a:pt x="34" y="154"/>
                      <a:pt x="35" y="154"/>
                    </a:cubicBezTo>
                    <a:cubicBezTo>
                      <a:pt x="35" y="153"/>
                      <a:pt x="35" y="153"/>
                      <a:pt x="35" y="153"/>
                    </a:cubicBezTo>
                    <a:cubicBezTo>
                      <a:pt x="36" y="153"/>
                      <a:pt x="37" y="153"/>
                      <a:pt x="37" y="153"/>
                    </a:cubicBezTo>
                    <a:cubicBezTo>
                      <a:pt x="37" y="154"/>
                      <a:pt x="37" y="155"/>
                      <a:pt x="37" y="155"/>
                    </a:cubicBezTo>
                    <a:cubicBezTo>
                      <a:pt x="37" y="156"/>
                      <a:pt x="37" y="156"/>
                      <a:pt x="37" y="156"/>
                    </a:cubicBezTo>
                    <a:cubicBezTo>
                      <a:pt x="37" y="156"/>
                      <a:pt x="37" y="157"/>
                      <a:pt x="37" y="157"/>
                    </a:cubicBezTo>
                    <a:cubicBezTo>
                      <a:pt x="37" y="158"/>
                      <a:pt x="37" y="159"/>
                      <a:pt x="38" y="160"/>
                    </a:cubicBezTo>
                    <a:cubicBezTo>
                      <a:pt x="38" y="160"/>
                      <a:pt x="38" y="159"/>
                      <a:pt x="39" y="160"/>
                    </a:cubicBezTo>
                    <a:cubicBezTo>
                      <a:pt x="39" y="161"/>
                      <a:pt x="39" y="160"/>
                      <a:pt x="40" y="161"/>
                    </a:cubicBezTo>
                    <a:cubicBezTo>
                      <a:pt x="40" y="161"/>
                      <a:pt x="40" y="162"/>
                      <a:pt x="40" y="162"/>
                    </a:cubicBezTo>
                    <a:cubicBezTo>
                      <a:pt x="40" y="163"/>
                      <a:pt x="41" y="162"/>
                      <a:pt x="41" y="162"/>
                    </a:cubicBezTo>
                    <a:cubicBezTo>
                      <a:pt x="41" y="162"/>
                      <a:pt x="42" y="162"/>
                      <a:pt x="42" y="161"/>
                    </a:cubicBezTo>
                    <a:cubicBezTo>
                      <a:pt x="42" y="161"/>
                      <a:pt x="42" y="161"/>
                      <a:pt x="42" y="161"/>
                    </a:cubicBezTo>
                    <a:cubicBezTo>
                      <a:pt x="42" y="160"/>
                      <a:pt x="42" y="160"/>
                      <a:pt x="43" y="160"/>
                    </a:cubicBezTo>
                    <a:cubicBezTo>
                      <a:pt x="43" y="160"/>
                      <a:pt x="43" y="160"/>
                      <a:pt x="43" y="160"/>
                    </a:cubicBezTo>
                    <a:cubicBezTo>
                      <a:pt x="44" y="160"/>
                      <a:pt x="45" y="159"/>
                      <a:pt x="45" y="160"/>
                    </a:cubicBezTo>
                    <a:cubicBezTo>
                      <a:pt x="45" y="161"/>
                      <a:pt x="46" y="160"/>
                      <a:pt x="46" y="161"/>
                    </a:cubicBezTo>
                    <a:cubicBezTo>
                      <a:pt x="46" y="161"/>
                      <a:pt x="46" y="161"/>
                      <a:pt x="46" y="161"/>
                    </a:cubicBezTo>
                    <a:cubicBezTo>
                      <a:pt x="46" y="162"/>
                      <a:pt x="47" y="162"/>
                      <a:pt x="47" y="162"/>
                    </a:cubicBezTo>
                    <a:cubicBezTo>
                      <a:pt x="48" y="162"/>
                      <a:pt x="48" y="162"/>
                      <a:pt x="49" y="163"/>
                    </a:cubicBezTo>
                    <a:cubicBezTo>
                      <a:pt x="50" y="163"/>
                      <a:pt x="49" y="161"/>
                      <a:pt x="50" y="161"/>
                    </a:cubicBezTo>
                    <a:cubicBezTo>
                      <a:pt x="50" y="160"/>
                      <a:pt x="51" y="160"/>
                      <a:pt x="52" y="160"/>
                    </a:cubicBezTo>
                    <a:cubicBezTo>
                      <a:pt x="52" y="161"/>
                      <a:pt x="53" y="161"/>
                      <a:pt x="53" y="160"/>
                    </a:cubicBezTo>
                    <a:cubicBezTo>
                      <a:pt x="53" y="159"/>
                      <a:pt x="52" y="159"/>
                      <a:pt x="52" y="159"/>
                    </a:cubicBezTo>
                    <a:cubicBezTo>
                      <a:pt x="52" y="159"/>
                      <a:pt x="53" y="156"/>
                      <a:pt x="53" y="157"/>
                    </a:cubicBezTo>
                    <a:cubicBezTo>
                      <a:pt x="53" y="158"/>
                      <a:pt x="55" y="159"/>
                      <a:pt x="55" y="158"/>
                    </a:cubicBezTo>
                    <a:cubicBezTo>
                      <a:pt x="55" y="158"/>
                      <a:pt x="55" y="157"/>
                      <a:pt x="55" y="157"/>
                    </a:cubicBezTo>
                    <a:cubicBezTo>
                      <a:pt x="55" y="157"/>
                      <a:pt x="56" y="157"/>
                      <a:pt x="56" y="157"/>
                    </a:cubicBezTo>
                    <a:cubicBezTo>
                      <a:pt x="56" y="156"/>
                      <a:pt x="57" y="156"/>
                      <a:pt x="57" y="157"/>
                    </a:cubicBezTo>
                    <a:cubicBezTo>
                      <a:pt x="57" y="157"/>
                      <a:pt x="57" y="157"/>
                      <a:pt x="57" y="158"/>
                    </a:cubicBezTo>
                    <a:cubicBezTo>
                      <a:pt x="57" y="158"/>
                      <a:pt x="57" y="159"/>
                      <a:pt x="57" y="159"/>
                    </a:cubicBezTo>
                    <a:cubicBezTo>
                      <a:pt x="58" y="159"/>
                      <a:pt x="57" y="159"/>
                      <a:pt x="57" y="160"/>
                    </a:cubicBezTo>
                    <a:cubicBezTo>
                      <a:pt x="58" y="160"/>
                      <a:pt x="56" y="161"/>
                      <a:pt x="57" y="162"/>
                    </a:cubicBezTo>
                    <a:cubicBezTo>
                      <a:pt x="58" y="162"/>
                      <a:pt x="58" y="162"/>
                      <a:pt x="59" y="162"/>
                    </a:cubicBezTo>
                    <a:cubicBezTo>
                      <a:pt x="59" y="162"/>
                      <a:pt x="59" y="162"/>
                      <a:pt x="59" y="161"/>
                    </a:cubicBezTo>
                    <a:cubicBezTo>
                      <a:pt x="60" y="161"/>
                      <a:pt x="60" y="162"/>
                      <a:pt x="60" y="161"/>
                    </a:cubicBezTo>
                    <a:cubicBezTo>
                      <a:pt x="60" y="161"/>
                      <a:pt x="60" y="160"/>
                      <a:pt x="60" y="160"/>
                    </a:cubicBezTo>
                    <a:cubicBezTo>
                      <a:pt x="61" y="160"/>
                      <a:pt x="63" y="159"/>
                      <a:pt x="64" y="160"/>
                    </a:cubicBezTo>
                    <a:cubicBezTo>
                      <a:pt x="64" y="159"/>
                      <a:pt x="64" y="159"/>
                      <a:pt x="64" y="158"/>
                    </a:cubicBezTo>
                    <a:cubicBezTo>
                      <a:pt x="64" y="157"/>
                      <a:pt x="64" y="157"/>
                      <a:pt x="64" y="156"/>
                    </a:cubicBezTo>
                    <a:cubicBezTo>
                      <a:pt x="64" y="155"/>
                      <a:pt x="65" y="155"/>
                      <a:pt x="64" y="154"/>
                    </a:cubicBezTo>
                    <a:cubicBezTo>
                      <a:pt x="64" y="154"/>
                      <a:pt x="64" y="154"/>
                      <a:pt x="64" y="154"/>
                    </a:cubicBezTo>
                    <a:cubicBezTo>
                      <a:pt x="64" y="153"/>
                      <a:pt x="64" y="153"/>
                      <a:pt x="64" y="153"/>
                    </a:cubicBezTo>
                    <a:cubicBezTo>
                      <a:pt x="64" y="153"/>
                      <a:pt x="64" y="153"/>
                      <a:pt x="64" y="152"/>
                    </a:cubicBezTo>
                    <a:cubicBezTo>
                      <a:pt x="65" y="152"/>
                      <a:pt x="66" y="152"/>
                      <a:pt x="66" y="151"/>
                    </a:cubicBezTo>
                    <a:cubicBezTo>
                      <a:pt x="66" y="151"/>
                      <a:pt x="66" y="151"/>
                      <a:pt x="66" y="150"/>
                    </a:cubicBezTo>
                    <a:cubicBezTo>
                      <a:pt x="66" y="150"/>
                      <a:pt x="66" y="149"/>
                      <a:pt x="66" y="149"/>
                    </a:cubicBezTo>
                    <a:cubicBezTo>
                      <a:pt x="67" y="149"/>
                      <a:pt x="67" y="148"/>
                      <a:pt x="67" y="148"/>
                    </a:cubicBezTo>
                    <a:cubicBezTo>
                      <a:pt x="67" y="147"/>
                      <a:pt x="66" y="147"/>
                      <a:pt x="66" y="146"/>
                    </a:cubicBezTo>
                    <a:cubicBezTo>
                      <a:pt x="66" y="146"/>
                      <a:pt x="66" y="145"/>
                      <a:pt x="66" y="145"/>
                    </a:cubicBezTo>
                    <a:cubicBezTo>
                      <a:pt x="66" y="144"/>
                      <a:pt x="65" y="145"/>
                      <a:pt x="65" y="144"/>
                    </a:cubicBezTo>
                    <a:cubicBezTo>
                      <a:pt x="66" y="144"/>
                      <a:pt x="67" y="144"/>
                      <a:pt x="67" y="143"/>
                    </a:cubicBezTo>
                    <a:cubicBezTo>
                      <a:pt x="68" y="143"/>
                      <a:pt x="69" y="142"/>
                      <a:pt x="70" y="142"/>
                    </a:cubicBezTo>
                    <a:cubicBezTo>
                      <a:pt x="71" y="142"/>
                      <a:pt x="71" y="142"/>
                      <a:pt x="72" y="142"/>
                    </a:cubicBezTo>
                    <a:cubicBezTo>
                      <a:pt x="72" y="142"/>
                      <a:pt x="72" y="142"/>
                      <a:pt x="72" y="142"/>
                    </a:cubicBezTo>
                    <a:cubicBezTo>
                      <a:pt x="72" y="141"/>
                      <a:pt x="72" y="141"/>
                      <a:pt x="73" y="141"/>
                    </a:cubicBezTo>
                    <a:cubicBezTo>
                      <a:pt x="73" y="141"/>
                      <a:pt x="73" y="140"/>
                      <a:pt x="74" y="140"/>
                    </a:cubicBezTo>
                    <a:cubicBezTo>
                      <a:pt x="74" y="139"/>
                      <a:pt x="74" y="138"/>
                      <a:pt x="74" y="139"/>
                    </a:cubicBezTo>
                    <a:cubicBezTo>
                      <a:pt x="75" y="140"/>
                      <a:pt x="75" y="138"/>
                      <a:pt x="75" y="138"/>
                    </a:cubicBezTo>
                    <a:cubicBezTo>
                      <a:pt x="74" y="137"/>
                      <a:pt x="75" y="137"/>
                      <a:pt x="75" y="136"/>
                    </a:cubicBezTo>
                    <a:cubicBezTo>
                      <a:pt x="75" y="136"/>
                      <a:pt x="74" y="135"/>
                      <a:pt x="74" y="134"/>
                    </a:cubicBezTo>
                    <a:cubicBezTo>
                      <a:pt x="74" y="135"/>
                      <a:pt x="75" y="134"/>
                      <a:pt x="75" y="134"/>
                    </a:cubicBezTo>
                    <a:cubicBezTo>
                      <a:pt x="76" y="134"/>
                      <a:pt x="76" y="135"/>
                      <a:pt x="76" y="134"/>
                    </a:cubicBezTo>
                    <a:cubicBezTo>
                      <a:pt x="78" y="134"/>
                      <a:pt x="76" y="131"/>
                      <a:pt x="76" y="130"/>
                    </a:cubicBezTo>
                    <a:cubicBezTo>
                      <a:pt x="75" y="129"/>
                      <a:pt x="76" y="130"/>
                      <a:pt x="77" y="129"/>
                    </a:cubicBezTo>
                    <a:cubicBezTo>
                      <a:pt x="77" y="129"/>
                      <a:pt x="76" y="129"/>
                      <a:pt x="76" y="129"/>
                    </a:cubicBezTo>
                    <a:cubicBezTo>
                      <a:pt x="77" y="128"/>
                      <a:pt x="77" y="128"/>
                      <a:pt x="77" y="128"/>
                    </a:cubicBezTo>
                    <a:cubicBezTo>
                      <a:pt x="78" y="128"/>
                      <a:pt x="78" y="127"/>
                      <a:pt x="78" y="127"/>
                    </a:cubicBezTo>
                    <a:cubicBezTo>
                      <a:pt x="79" y="126"/>
                      <a:pt x="79" y="126"/>
                      <a:pt x="79" y="126"/>
                    </a:cubicBezTo>
                    <a:cubicBezTo>
                      <a:pt x="79" y="126"/>
                      <a:pt x="80" y="127"/>
                      <a:pt x="80" y="126"/>
                    </a:cubicBezTo>
                    <a:cubicBezTo>
                      <a:pt x="79" y="127"/>
                      <a:pt x="79" y="127"/>
                      <a:pt x="79" y="127"/>
                    </a:cubicBezTo>
                    <a:cubicBezTo>
                      <a:pt x="79" y="127"/>
                      <a:pt x="80" y="127"/>
                      <a:pt x="80" y="127"/>
                    </a:cubicBezTo>
                    <a:cubicBezTo>
                      <a:pt x="81" y="128"/>
                      <a:pt x="82" y="128"/>
                      <a:pt x="83" y="129"/>
                    </a:cubicBezTo>
                    <a:cubicBezTo>
                      <a:pt x="83" y="129"/>
                      <a:pt x="84" y="130"/>
                      <a:pt x="84" y="130"/>
                    </a:cubicBezTo>
                    <a:cubicBezTo>
                      <a:pt x="84" y="129"/>
                      <a:pt x="84" y="129"/>
                      <a:pt x="84" y="129"/>
                    </a:cubicBezTo>
                    <a:cubicBezTo>
                      <a:pt x="84" y="128"/>
                      <a:pt x="86" y="128"/>
                      <a:pt x="86" y="128"/>
                    </a:cubicBezTo>
                    <a:cubicBezTo>
                      <a:pt x="86" y="127"/>
                      <a:pt x="86" y="125"/>
                      <a:pt x="86" y="124"/>
                    </a:cubicBezTo>
                    <a:cubicBezTo>
                      <a:pt x="86" y="124"/>
                      <a:pt x="86" y="123"/>
                      <a:pt x="86" y="124"/>
                    </a:cubicBezTo>
                    <a:cubicBezTo>
                      <a:pt x="87" y="124"/>
                      <a:pt x="87" y="124"/>
                      <a:pt x="87" y="124"/>
                    </a:cubicBezTo>
                    <a:cubicBezTo>
                      <a:pt x="88" y="124"/>
                      <a:pt x="88" y="125"/>
                      <a:pt x="88" y="125"/>
                    </a:cubicBezTo>
                    <a:cubicBezTo>
                      <a:pt x="88" y="125"/>
                      <a:pt x="88" y="124"/>
                      <a:pt x="89" y="124"/>
                    </a:cubicBezTo>
                    <a:cubicBezTo>
                      <a:pt x="90" y="125"/>
                      <a:pt x="89" y="123"/>
                      <a:pt x="89" y="123"/>
                    </a:cubicBezTo>
                    <a:cubicBezTo>
                      <a:pt x="89" y="122"/>
                      <a:pt x="90" y="120"/>
                      <a:pt x="90" y="120"/>
                    </a:cubicBezTo>
                    <a:cubicBezTo>
                      <a:pt x="91" y="119"/>
                      <a:pt x="92" y="118"/>
                      <a:pt x="93" y="118"/>
                    </a:cubicBezTo>
                    <a:cubicBezTo>
                      <a:pt x="94" y="117"/>
                      <a:pt x="95" y="118"/>
                      <a:pt x="96" y="118"/>
                    </a:cubicBezTo>
                    <a:cubicBezTo>
                      <a:pt x="96" y="118"/>
                      <a:pt x="97" y="119"/>
                      <a:pt x="98" y="118"/>
                    </a:cubicBezTo>
                    <a:cubicBezTo>
                      <a:pt x="98" y="117"/>
                      <a:pt x="98" y="116"/>
                      <a:pt x="99" y="115"/>
                    </a:cubicBezTo>
                    <a:cubicBezTo>
                      <a:pt x="100" y="115"/>
                      <a:pt x="101" y="115"/>
                      <a:pt x="102" y="114"/>
                    </a:cubicBezTo>
                    <a:cubicBezTo>
                      <a:pt x="103" y="113"/>
                      <a:pt x="105" y="112"/>
                      <a:pt x="106" y="112"/>
                    </a:cubicBezTo>
                    <a:cubicBezTo>
                      <a:pt x="107" y="112"/>
                      <a:pt x="108" y="111"/>
                      <a:pt x="109" y="110"/>
                    </a:cubicBezTo>
                    <a:cubicBezTo>
                      <a:pt x="110" y="109"/>
                      <a:pt x="110" y="109"/>
                      <a:pt x="111" y="108"/>
                    </a:cubicBezTo>
                    <a:cubicBezTo>
                      <a:pt x="112" y="108"/>
                      <a:pt x="113" y="108"/>
                      <a:pt x="113" y="109"/>
                    </a:cubicBezTo>
                    <a:cubicBezTo>
                      <a:pt x="114" y="110"/>
                      <a:pt x="115" y="109"/>
                      <a:pt x="116" y="109"/>
                    </a:cubicBezTo>
                    <a:cubicBezTo>
                      <a:pt x="117" y="109"/>
                      <a:pt x="118" y="110"/>
                      <a:pt x="120" y="110"/>
                    </a:cubicBezTo>
                    <a:cubicBezTo>
                      <a:pt x="120" y="110"/>
                      <a:pt x="120" y="110"/>
                      <a:pt x="120" y="109"/>
                    </a:cubicBezTo>
                    <a:cubicBezTo>
                      <a:pt x="120" y="110"/>
                      <a:pt x="121" y="110"/>
                      <a:pt x="121" y="110"/>
                    </a:cubicBezTo>
                    <a:cubicBezTo>
                      <a:pt x="122" y="110"/>
                      <a:pt x="122" y="109"/>
                      <a:pt x="123" y="110"/>
                    </a:cubicBezTo>
                    <a:cubicBezTo>
                      <a:pt x="124" y="110"/>
                      <a:pt x="126" y="110"/>
                      <a:pt x="127" y="109"/>
                    </a:cubicBezTo>
                    <a:cubicBezTo>
                      <a:pt x="128" y="109"/>
                      <a:pt x="129" y="107"/>
                      <a:pt x="130" y="107"/>
                    </a:cubicBezTo>
                    <a:cubicBezTo>
                      <a:pt x="131" y="106"/>
                      <a:pt x="132" y="106"/>
                      <a:pt x="132" y="106"/>
                    </a:cubicBezTo>
                    <a:cubicBezTo>
                      <a:pt x="133" y="106"/>
                      <a:pt x="134" y="106"/>
                      <a:pt x="135" y="106"/>
                    </a:cubicBezTo>
                    <a:cubicBezTo>
                      <a:pt x="137" y="106"/>
                      <a:pt x="139" y="106"/>
                      <a:pt x="141" y="106"/>
                    </a:cubicBezTo>
                    <a:cubicBezTo>
                      <a:pt x="142" y="106"/>
                      <a:pt x="143" y="106"/>
                      <a:pt x="145" y="106"/>
                    </a:cubicBezTo>
                    <a:cubicBezTo>
                      <a:pt x="145" y="106"/>
                      <a:pt x="146" y="106"/>
                      <a:pt x="146" y="106"/>
                    </a:cubicBezTo>
                    <a:cubicBezTo>
                      <a:pt x="147" y="105"/>
                      <a:pt x="146" y="105"/>
                      <a:pt x="147" y="105"/>
                    </a:cubicBezTo>
                    <a:cubicBezTo>
                      <a:pt x="148" y="105"/>
                      <a:pt x="148" y="105"/>
                      <a:pt x="149" y="105"/>
                    </a:cubicBezTo>
                    <a:cubicBezTo>
                      <a:pt x="149" y="105"/>
                      <a:pt x="151" y="106"/>
                      <a:pt x="151" y="105"/>
                    </a:cubicBezTo>
                    <a:cubicBezTo>
                      <a:pt x="152" y="105"/>
                      <a:pt x="151" y="104"/>
                      <a:pt x="152" y="104"/>
                    </a:cubicBezTo>
                    <a:cubicBezTo>
                      <a:pt x="152" y="103"/>
                      <a:pt x="153" y="103"/>
                      <a:pt x="153" y="102"/>
                    </a:cubicBezTo>
                    <a:cubicBezTo>
                      <a:pt x="154" y="102"/>
                      <a:pt x="154" y="102"/>
                      <a:pt x="155" y="102"/>
                    </a:cubicBezTo>
                    <a:cubicBezTo>
                      <a:pt x="155" y="101"/>
                      <a:pt x="155" y="100"/>
                      <a:pt x="155" y="100"/>
                    </a:cubicBezTo>
                    <a:cubicBezTo>
                      <a:pt x="155" y="99"/>
                      <a:pt x="156" y="99"/>
                      <a:pt x="156" y="98"/>
                    </a:cubicBezTo>
                    <a:cubicBezTo>
                      <a:pt x="156" y="97"/>
                      <a:pt x="156" y="95"/>
                      <a:pt x="157" y="95"/>
                    </a:cubicBezTo>
                    <a:cubicBezTo>
                      <a:pt x="158" y="94"/>
                      <a:pt x="158" y="92"/>
                      <a:pt x="158" y="91"/>
                    </a:cubicBezTo>
                    <a:cubicBezTo>
                      <a:pt x="158" y="90"/>
                      <a:pt x="158" y="90"/>
                      <a:pt x="158" y="89"/>
                    </a:cubicBezTo>
                    <a:cubicBezTo>
                      <a:pt x="158" y="89"/>
                      <a:pt x="158" y="89"/>
                      <a:pt x="158" y="88"/>
                    </a:cubicBezTo>
                    <a:cubicBezTo>
                      <a:pt x="158" y="88"/>
                      <a:pt x="158" y="88"/>
                      <a:pt x="158" y="87"/>
                    </a:cubicBezTo>
                    <a:cubicBezTo>
                      <a:pt x="159" y="87"/>
                      <a:pt x="158" y="86"/>
                      <a:pt x="158" y="85"/>
                    </a:cubicBezTo>
                    <a:cubicBezTo>
                      <a:pt x="158" y="84"/>
                      <a:pt x="158" y="83"/>
                      <a:pt x="158" y="8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1" name="Maldives">
                <a:extLst>
                  <a:ext uri="{FF2B5EF4-FFF2-40B4-BE49-F238E27FC236}">
                    <a16:creationId xmlns:a16="http://schemas.microsoft.com/office/drawing/2014/main" id="{AC0EF9D4-1BAC-438C-896F-8A6AD636E38B}"/>
                  </a:ext>
                </a:extLst>
              </p:cNvPr>
              <p:cNvSpPr>
                <a:spLocks noEditPoints="1"/>
              </p:cNvSpPr>
              <p:nvPr/>
            </p:nvSpPr>
            <p:spPr bwMode="auto">
              <a:xfrm>
                <a:off x="8190221" y="3767943"/>
                <a:ext cx="42147" cy="304832"/>
              </a:xfrm>
              <a:custGeom>
                <a:avLst/>
                <a:gdLst/>
                <a:ahLst/>
                <a:cxnLst>
                  <a:cxn ang="0">
                    <a:pos x="4" y="5"/>
                  </a:cxn>
                  <a:cxn ang="0">
                    <a:pos x="7" y="15"/>
                  </a:cxn>
                  <a:cxn ang="0">
                    <a:pos x="3" y="8"/>
                  </a:cxn>
                  <a:cxn ang="0">
                    <a:pos x="5" y="76"/>
                  </a:cxn>
                  <a:cxn ang="0">
                    <a:pos x="2" y="1"/>
                  </a:cxn>
                  <a:cxn ang="0">
                    <a:pos x="4" y="2"/>
                  </a:cxn>
                  <a:cxn ang="0">
                    <a:pos x="7" y="13"/>
                  </a:cxn>
                  <a:cxn ang="0">
                    <a:pos x="2" y="46"/>
                  </a:cxn>
                  <a:cxn ang="0">
                    <a:pos x="8" y="48"/>
                  </a:cxn>
                  <a:cxn ang="0">
                    <a:pos x="6" y="85"/>
                  </a:cxn>
                  <a:cxn ang="0">
                    <a:pos x="3" y="14"/>
                  </a:cxn>
                  <a:cxn ang="0">
                    <a:pos x="8" y="58"/>
                  </a:cxn>
                  <a:cxn ang="0">
                    <a:pos x="8" y="32"/>
                  </a:cxn>
                  <a:cxn ang="0">
                    <a:pos x="6" y="86"/>
                  </a:cxn>
                  <a:cxn ang="0">
                    <a:pos x="8" y="59"/>
                  </a:cxn>
                  <a:cxn ang="0">
                    <a:pos x="8" y="82"/>
                  </a:cxn>
                  <a:cxn ang="0">
                    <a:pos x="3" y="44"/>
                  </a:cxn>
                  <a:cxn ang="0">
                    <a:pos x="6" y="10"/>
                  </a:cxn>
                  <a:cxn ang="0">
                    <a:pos x="5" y="69"/>
                  </a:cxn>
                  <a:cxn ang="0">
                    <a:pos x="3" y="8"/>
                  </a:cxn>
                  <a:cxn ang="0">
                    <a:pos x="5" y="11"/>
                  </a:cxn>
                  <a:cxn ang="0">
                    <a:pos x="8" y="75"/>
                  </a:cxn>
                  <a:cxn ang="0">
                    <a:pos x="7" y="48"/>
                  </a:cxn>
                  <a:cxn ang="0">
                    <a:pos x="9" y="55"/>
                  </a:cxn>
                  <a:cxn ang="0">
                    <a:pos x="7" y="56"/>
                  </a:cxn>
                  <a:cxn ang="0">
                    <a:pos x="5" y="50"/>
                  </a:cxn>
                  <a:cxn ang="0">
                    <a:pos x="7" y="56"/>
                  </a:cxn>
                  <a:cxn ang="0">
                    <a:pos x="9" y="58"/>
                  </a:cxn>
                  <a:cxn ang="0">
                    <a:pos x="9" y="20"/>
                  </a:cxn>
                  <a:cxn ang="0">
                    <a:pos x="4" y="46"/>
                  </a:cxn>
                  <a:cxn ang="0">
                    <a:pos x="2" y="4"/>
                  </a:cxn>
                  <a:cxn ang="0">
                    <a:pos x="2" y="24"/>
                  </a:cxn>
                  <a:cxn ang="0">
                    <a:pos x="7" y="29"/>
                  </a:cxn>
                  <a:cxn ang="0">
                    <a:pos x="4" y="16"/>
                  </a:cxn>
                  <a:cxn ang="0">
                    <a:pos x="2" y="17"/>
                  </a:cxn>
                  <a:cxn ang="0">
                    <a:pos x="3" y="38"/>
                  </a:cxn>
                  <a:cxn ang="0">
                    <a:pos x="8" y="40"/>
                  </a:cxn>
                  <a:cxn ang="0">
                    <a:pos x="2" y="6"/>
                  </a:cxn>
                  <a:cxn ang="0">
                    <a:pos x="8" y="18"/>
                  </a:cxn>
                  <a:cxn ang="0">
                    <a:pos x="7" y="18"/>
                  </a:cxn>
                  <a:cxn ang="0">
                    <a:pos x="8" y="36"/>
                  </a:cxn>
                  <a:cxn ang="0">
                    <a:pos x="2" y="36"/>
                  </a:cxn>
                  <a:cxn ang="0">
                    <a:pos x="4" y="21"/>
                  </a:cxn>
                  <a:cxn ang="0">
                    <a:pos x="1" y="1"/>
                  </a:cxn>
                  <a:cxn ang="0">
                    <a:pos x="8" y="15"/>
                  </a:cxn>
                  <a:cxn ang="0">
                    <a:pos x="4" y="22"/>
                  </a:cxn>
                  <a:cxn ang="0">
                    <a:pos x="7" y="24"/>
                  </a:cxn>
                  <a:cxn ang="0">
                    <a:pos x="9" y="19"/>
                  </a:cxn>
                  <a:cxn ang="0">
                    <a:pos x="2" y="3"/>
                  </a:cxn>
                  <a:cxn ang="0">
                    <a:pos x="2" y="44"/>
                  </a:cxn>
                  <a:cxn ang="0">
                    <a:pos x="8" y="46"/>
                  </a:cxn>
                  <a:cxn ang="0">
                    <a:pos x="4" y="8"/>
                  </a:cxn>
                  <a:cxn ang="0">
                    <a:pos x="6" y="69"/>
                  </a:cxn>
                  <a:cxn ang="0">
                    <a:pos x="3" y="30"/>
                  </a:cxn>
                  <a:cxn ang="0">
                    <a:pos x="9" y="31"/>
                  </a:cxn>
                  <a:cxn ang="0">
                    <a:pos x="8" y="32"/>
                  </a:cxn>
                  <a:cxn ang="0">
                    <a:pos x="7" y="53"/>
                  </a:cxn>
                  <a:cxn ang="0">
                    <a:pos x="3" y="73"/>
                  </a:cxn>
                  <a:cxn ang="0">
                    <a:pos x="3" y="42"/>
                  </a:cxn>
                  <a:cxn ang="0">
                    <a:pos x="5" y="54"/>
                  </a:cxn>
                </a:cxnLst>
                <a:rect l="0" t="0" r="r" b="b"/>
                <a:pathLst>
                  <a:path w="12" h="86">
                    <a:moveTo>
                      <a:pt x="4" y="4"/>
                    </a:moveTo>
                    <a:cubicBezTo>
                      <a:pt x="4" y="4"/>
                      <a:pt x="4" y="4"/>
                      <a:pt x="4" y="4"/>
                    </a:cubicBezTo>
                    <a:cubicBezTo>
                      <a:pt x="4" y="4"/>
                      <a:pt x="4" y="4"/>
                      <a:pt x="4" y="4"/>
                    </a:cubicBezTo>
                    <a:cubicBezTo>
                      <a:pt x="4" y="4"/>
                      <a:pt x="4" y="4"/>
                      <a:pt x="4" y="4"/>
                    </a:cubicBezTo>
                    <a:cubicBezTo>
                      <a:pt x="4" y="4"/>
                      <a:pt x="4" y="4"/>
                      <a:pt x="4" y="4"/>
                    </a:cubicBezTo>
                    <a:close/>
                    <a:moveTo>
                      <a:pt x="4" y="5"/>
                    </a:moveTo>
                    <a:cubicBezTo>
                      <a:pt x="4" y="5"/>
                      <a:pt x="4" y="5"/>
                      <a:pt x="4" y="5"/>
                    </a:cubicBezTo>
                    <a:cubicBezTo>
                      <a:pt x="4" y="5"/>
                      <a:pt x="4" y="5"/>
                      <a:pt x="4" y="5"/>
                    </a:cubicBezTo>
                    <a:cubicBezTo>
                      <a:pt x="4" y="5"/>
                      <a:pt x="4" y="5"/>
                      <a:pt x="4" y="5"/>
                    </a:cubicBezTo>
                    <a:cubicBezTo>
                      <a:pt x="4" y="5"/>
                      <a:pt x="4" y="5"/>
                      <a:pt x="4" y="5"/>
                    </a:cubicBezTo>
                    <a:close/>
                    <a:moveTo>
                      <a:pt x="3" y="25"/>
                    </a:moveTo>
                    <a:cubicBezTo>
                      <a:pt x="3" y="25"/>
                      <a:pt x="3" y="25"/>
                      <a:pt x="3" y="25"/>
                    </a:cubicBezTo>
                    <a:cubicBezTo>
                      <a:pt x="3" y="24"/>
                      <a:pt x="3" y="24"/>
                      <a:pt x="3" y="24"/>
                    </a:cubicBezTo>
                    <a:cubicBezTo>
                      <a:pt x="3" y="24"/>
                      <a:pt x="3" y="24"/>
                      <a:pt x="3" y="24"/>
                    </a:cubicBezTo>
                    <a:cubicBezTo>
                      <a:pt x="3" y="24"/>
                      <a:pt x="3" y="25"/>
                      <a:pt x="3" y="25"/>
                    </a:cubicBezTo>
                    <a:close/>
                    <a:moveTo>
                      <a:pt x="7" y="15"/>
                    </a:moveTo>
                    <a:cubicBezTo>
                      <a:pt x="7" y="15"/>
                      <a:pt x="7" y="15"/>
                      <a:pt x="7" y="15"/>
                    </a:cubicBezTo>
                    <a:cubicBezTo>
                      <a:pt x="7" y="15"/>
                      <a:pt x="7" y="15"/>
                      <a:pt x="7" y="15"/>
                    </a:cubicBezTo>
                    <a:cubicBezTo>
                      <a:pt x="7" y="15"/>
                      <a:pt x="7" y="15"/>
                      <a:pt x="7" y="15"/>
                    </a:cubicBezTo>
                    <a:cubicBezTo>
                      <a:pt x="7" y="15"/>
                      <a:pt x="7" y="15"/>
                      <a:pt x="7" y="15"/>
                    </a:cubicBezTo>
                    <a:close/>
                    <a:moveTo>
                      <a:pt x="3" y="39"/>
                    </a:moveTo>
                    <a:cubicBezTo>
                      <a:pt x="3" y="39"/>
                      <a:pt x="3" y="39"/>
                      <a:pt x="3" y="39"/>
                    </a:cubicBezTo>
                    <a:cubicBezTo>
                      <a:pt x="3" y="39"/>
                      <a:pt x="3" y="39"/>
                      <a:pt x="3" y="39"/>
                    </a:cubicBezTo>
                    <a:cubicBezTo>
                      <a:pt x="3" y="39"/>
                      <a:pt x="3" y="39"/>
                      <a:pt x="3" y="39"/>
                    </a:cubicBezTo>
                    <a:cubicBezTo>
                      <a:pt x="3" y="39"/>
                      <a:pt x="3" y="39"/>
                      <a:pt x="3" y="39"/>
                    </a:cubicBezTo>
                    <a:close/>
                    <a:moveTo>
                      <a:pt x="3" y="8"/>
                    </a:moveTo>
                    <a:cubicBezTo>
                      <a:pt x="3" y="8"/>
                      <a:pt x="3" y="8"/>
                      <a:pt x="3" y="8"/>
                    </a:cubicBezTo>
                    <a:cubicBezTo>
                      <a:pt x="3" y="8"/>
                      <a:pt x="3" y="7"/>
                      <a:pt x="3" y="7"/>
                    </a:cubicBezTo>
                    <a:cubicBezTo>
                      <a:pt x="3" y="7"/>
                      <a:pt x="3" y="7"/>
                      <a:pt x="3" y="7"/>
                    </a:cubicBezTo>
                    <a:cubicBezTo>
                      <a:pt x="3" y="7"/>
                      <a:pt x="3" y="8"/>
                      <a:pt x="3" y="8"/>
                    </a:cubicBezTo>
                    <a:close/>
                    <a:moveTo>
                      <a:pt x="9" y="19"/>
                    </a:moveTo>
                    <a:cubicBezTo>
                      <a:pt x="9" y="19"/>
                      <a:pt x="9" y="19"/>
                      <a:pt x="9" y="19"/>
                    </a:cubicBezTo>
                    <a:cubicBezTo>
                      <a:pt x="9" y="19"/>
                      <a:pt x="9" y="19"/>
                      <a:pt x="9" y="19"/>
                    </a:cubicBezTo>
                    <a:cubicBezTo>
                      <a:pt x="9" y="19"/>
                      <a:pt x="9" y="19"/>
                      <a:pt x="9" y="19"/>
                    </a:cubicBezTo>
                    <a:cubicBezTo>
                      <a:pt x="9" y="19"/>
                      <a:pt x="9" y="19"/>
                      <a:pt x="9" y="19"/>
                    </a:cubicBezTo>
                    <a:close/>
                    <a:moveTo>
                      <a:pt x="5" y="76"/>
                    </a:moveTo>
                    <a:cubicBezTo>
                      <a:pt x="5" y="76"/>
                      <a:pt x="5" y="76"/>
                      <a:pt x="5" y="76"/>
                    </a:cubicBezTo>
                    <a:cubicBezTo>
                      <a:pt x="5" y="76"/>
                      <a:pt x="5" y="76"/>
                      <a:pt x="5" y="76"/>
                    </a:cubicBezTo>
                    <a:cubicBezTo>
                      <a:pt x="5" y="76"/>
                      <a:pt x="5" y="76"/>
                      <a:pt x="5" y="76"/>
                    </a:cubicBezTo>
                    <a:cubicBezTo>
                      <a:pt x="5" y="76"/>
                      <a:pt x="5" y="76"/>
                      <a:pt x="5" y="76"/>
                    </a:cubicBezTo>
                    <a:close/>
                    <a:moveTo>
                      <a:pt x="1" y="37"/>
                    </a:moveTo>
                    <a:cubicBezTo>
                      <a:pt x="1" y="37"/>
                      <a:pt x="1" y="37"/>
                      <a:pt x="1" y="37"/>
                    </a:cubicBezTo>
                    <a:cubicBezTo>
                      <a:pt x="1" y="37"/>
                      <a:pt x="1" y="37"/>
                      <a:pt x="1" y="37"/>
                    </a:cubicBezTo>
                    <a:cubicBezTo>
                      <a:pt x="1" y="37"/>
                      <a:pt x="1" y="37"/>
                      <a:pt x="1" y="37"/>
                    </a:cubicBezTo>
                    <a:cubicBezTo>
                      <a:pt x="1" y="37"/>
                      <a:pt x="1" y="37"/>
                      <a:pt x="1" y="37"/>
                    </a:cubicBezTo>
                    <a:close/>
                    <a:moveTo>
                      <a:pt x="2" y="1"/>
                    </a:moveTo>
                    <a:cubicBezTo>
                      <a:pt x="2" y="1"/>
                      <a:pt x="2" y="1"/>
                      <a:pt x="2" y="1"/>
                    </a:cubicBezTo>
                    <a:cubicBezTo>
                      <a:pt x="2" y="1"/>
                      <a:pt x="2" y="1"/>
                      <a:pt x="2" y="1"/>
                    </a:cubicBezTo>
                    <a:cubicBezTo>
                      <a:pt x="2" y="1"/>
                      <a:pt x="2" y="1"/>
                      <a:pt x="2" y="1"/>
                    </a:cubicBezTo>
                    <a:cubicBezTo>
                      <a:pt x="2" y="1"/>
                      <a:pt x="2" y="1"/>
                      <a:pt x="2" y="1"/>
                    </a:cubicBezTo>
                    <a:close/>
                    <a:moveTo>
                      <a:pt x="7" y="14"/>
                    </a:moveTo>
                    <a:cubicBezTo>
                      <a:pt x="7" y="14"/>
                      <a:pt x="7" y="14"/>
                      <a:pt x="7" y="14"/>
                    </a:cubicBezTo>
                    <a:cubicBezTo>
                      <a:pt x="7" y="14"/>
                      <a:pt x="7" y="14"/>
                      <a:pt x="7" y="14"/>
                    </a:cubicBezTo>
                    <a:cubicBezTo>
                      <a:pt x="7" y="14"/>
                      <a:pt x="7" y="14"/>
                      <a:pt x="7" y="14"/>
                    </a:cubicBezTo>
                    <a:cubicBezTo>
                      <a:pt x="7" y="14"/>
                      <a:pt x="7" y="14"/>
                      <a:pt x="7" y="14"/>
                    </a:cubicBezTo>
                    <a:close/>
                    <a:moveTo>
                      <a:pt x="4" y="2"/>
                    </a:moveTo>
                    <a:cubicBezTo>
                      <a:pt x="4" y="2"/>
                      <a:pt x="4" y="2"/>
                      <a:pt x="4" y="2"/>
                    </a:cubicBezTo>
                    <a:cubicBezTo>
                      <a:pt x="4" y="2"/>
                      <a:pt x="4" y="2"/>
                      <a:pt x="4" y="2"/>
                    </a:cubicBezTo>
                    <a:cubicBezTo>
                      <a:pt x="4" y="2"/>
                      <a:pt x="4" y="2"/>
                      <a:pt x="4" y="2"/>
                    </a:cubicBezTo>
                    <a:cubicBezTo>
                      <a:pt x="4" y="2"/>
                      <a:pt x="4" y="2"/>
                      <a:pt x="4" y="2"/>
                    </a:cubicBezTo>
                    <a:close/>
                    <a:moveTo>
                      <a:pt x="5" y="3"/>
                    </a:moveTo>
                    <a:cubicBezTo>
                      <a:pt x="5" y="3"/>
                      <a:pt x="5" y="3"/>
                      <a:pt x="5" y="2"/>
                    </a:cubicBezTo>
                    <a:cubicBezTo>
                      <a:pt x="5" y="2"/>
                      <a:pt x="5" y="2"/>
                      <a:pt x="5" y="2"/>
                    </a:cubicBezTo>
                    <a:cubicBezTo>
                      <a:pt x="5" y="2"/>
                      <a:pt x="5" y="2"/>
                      <a:pt x="5" y="2"/>
                    </a:cubicBezTo>
                    <a:cubicBezTo>
                      <a:pt x="5" y="2"/>
                      <a:pt x="5" y="3"/>
                      <a:pt x="5" y="3"/>
                    </a:cubicBezTo>
                    <a:close/>
                    <a:moveTo>
                      <a:pt x="7" y="13"/>
                    </a:moveTo>
                    <a:cubicBezTo>
                      <a:pt x="7" y="13"/>
                      <a:pt x="7" y="13"/>
                      <a:pt x="7" y="13"/>
                    </a:cubicBezTo>
                    <a:cubicBezTo>
                      <a:pt x="7" y="13"/>
                      <a:pt x="7" y="13"/>
                      <a:pt x="7" y="13"/>
                    </a:cubicBezTo>
                    <a:cubicBezTo>
                      <a:pt x="7" y="13"/>
                      <a:pt x="7" y="13"/>
                      <a:pt x="7" y="13"/>
                    </a:cubicBezTo>
                    <a:cubicBezTo>
                      <a:pt x="7" y="13"/>
                      <a:pt x="7" y="13"/>
                      <a:pt x="7" y="13"/>
                    </a:cubicBezTo>
                    <a:close/>
                    <a:moveTo>
                      <a:pt x="2" y="13"/>
                    </a:moveTo>
                    <a:cubicBezTo>
                      <a:pt x="2" y="13"/>
                      <a:pt x="2" y="13"/>
                      <a:pt x="2" y="13"/>
                    </a:cubicBezTo>
                    <a:cubicBezTo>
                      <a:pt x="2" y="13"/>
                      <a:pt x="2" y="13"/>
                      <a:pt x="2" y="13"/>
                    </a:cubicBezTo>
                    <a:cubicBezTo>
                      <a:pt x="2" y="13"/>
                      <a:pt x="2" y="13"/>
                      <a:pt x="2" y="13"/>
                    </a:cubicBezTo>
                    <a:cubicBezTo>
                      <a:pt x="2" y="13"/>
                      <a:pt x="2" y="13"/>
                      <a:pt x="2" y="13"/>
                    </a:cubicBezTo>
                    <a:close/>
                    <a:moveTo>
                      <a:pt x="2" y="46"/>
                    </a:moveTo>
                    <a:cubicBezTo>
                      <a:pt x="2" y="46"/>
                      <a:pt x="2" y="46"/>
                      <a:pt x="2" y="46"/>
                    </a:cubicBezTo>
                    <a:cubicBezTo>
                      <a:pt x="2" y="46"/>
                      <a:pt x="2" y="46"/>
                      <a:pt x="2" y="46"/>
                    </a:cubicBezTo>
                    <a:cubicBezTo>
                      <a:pt x="2" y="46"/>
                      <a:pt x="2" y="46"/>
                      <a:pt x="2" y="46"/>
                    </a:cubicBezTo>
                    <a:cubicBezTo>
                      <a:pt x="2" y="46"/>
                      <a:pt x="2" y="46"/>
                      <a:pt x="2" y="46"/>
                    </a:cubicBezTo>
                    <a:close/>
                    <a:moveTo>
                      <a:pt x="3" y="15"/>
                    </a:moveTo>
                    <a:cubicBezTo>
                      <a:pt x="3" y="15"/>
                      <a:pt x="3" y="15"/>
                      <a:pt x="3" y="15"/>
                    </a:cubicBezTo>
                    <a:cubicBezTo>
                      <a:pt x="3" y="15"/>
                      <a:pt x="3" y="15"/>
                      <a:pt x="3" y="15"/>
                    </a:cubicBezTo>
                    <a:cubicBezTo>
                      <a:pt x="3" y="15"/>
                      <a:pt x="3" y="15"/>
                      <a:pt x="3" y="15"/>
                    </a:cubicBezTo>
                    <a:cubicBezTo>
                      <a:pt x="3" y="15"/>
                      <a:pt x="3" y="15"/>
                      <a:pt x="3" y="15"/>
                    </a:cubicBezTo>
                    <a:close/>
                    <a:moveTo>
                      <a:pt x="8" y="48"/>
                    </a:moveTo>
                    <a:cubicBezTo>
                      <a:pt x="8" y="48"/>
                      <a:pt x="8" y="48"/>
                      <a:pt x="8" y="48"/>
                    </a:cubicBezTo>
                    <a:cubicBezTo>
                      <a:pt x="8" y="48"/>
                      <a:pt x="8" y="48"/>
                      <a:pt x="8" y="48"/>
                    </a:cubicBezTo>
                    <a:cubicBezTo>
                      <a:pt x="8" y="48"/>
                      <a:pt x="8" y="48"/>
                      <a:pt x="8" y="48"/>
                    </a:cubicBezTo>
                    <a:cubicBezTo>
                      <a:pt x="8" y="48"/>
                      <a:pt x="8" y="48"/>
                      <a:pt x="8" y="48"/>
                    </a:cubicBezTo>
                    <a:close/>
                    <a:moveTo>
                      <a:pt x="5" y="85"/>
                    </a:moveTo>
                    <a:cubicBezTo>
                      <a:pt x="5" y="85"/>
                      <a:pt x="5" y="85"/>
                      <a:pt x="5" y="85"/>
                    </a:cubicBezTo>
                    <a:cubicBezTo>
                      <a:pt x="5" y="85"/>
                      <a:pt x="5" y="85"/>
                      <a:pt x="5" y="85"/>
                    </a:cubicBezTo>
                    <a:cubicBezTo>
                      <a:pt x="5" y="85"/>
                      <a:pt x="5" y="85"/>
                      <a:pt x="5" y="85"/>
                    </a:cubicBezTo>
                    <a:cubicBezTo>
                      <a:pt x="5" y="85"/>
                      <a:pt x="5" y="85"/>
                      <a:pt x="5" y="85"/>
                    </a:cubicBezTo>
                    <a:cubicBezTo>
                      <a:pt x="5" y="85"/>
                      <a:pt x="5" y="85"/>
                      <a:pt x="5" y="85"/>
                    </a:cubicBezTo>
                    <a:cubicBezTo>
                      <a:pt x="5" y="85"/>
                      <a:pt x="5" y="85"/>
                      <a:pt x="5" y="85"/>
                    </a:cubicBezTo>
                    <a:close/>
                    <a:moveTo>
                      <a:pt x="6" y="85"/>
                    </a:moveTo>
                    <a:cubicBezTo>
                      <a:pt x="6" y="85"/>
                      <a:pt x="6" y="85"/>
                      <a:pt x="6" y="85"/>
                    </a:cubicBezTo>
                    <a:cubicBezTo>
                      <a:pt x="6" y="85"/>
                      <a:pt x="6" y="85"/>
                      <a:pt x="6" y="85"/>
                    </a:cubicBezTo>
                    <a:cubicBezTo>
                      <a:pt x="6" y="85"/>
                      <a:pt x="6" y="85"/>
                      <a:pt x="6" y="85"/>
                    </a:cubicBezTo>
                    <a:cubicBezTo>
                      <a:pt x="6" y="85"/>
                      <a:pt x="6" y="85"/>
                      <a:pt x="6" y="85"/>
                    </a:cubicBezTo>
                    <a:close/>
                    <a:moveTo>
                      <a:pt x="5" y="9"/>
                    </a:moveTo>
                    <a:cubicBezTo>
                      <a:pt x="5" y="9"/>
                      <a:pt x="5" y="9"/>
                      <a:pt x="5" y="9"/>
                    </a:cubicBezTo>
                    <a:cubicBezTo>
                      <a:pt x="5" y="9"/>
                      <a:pt x="5" y="9"/>
                      <a:pt x="5" y="9"/>
                    </a:cubicBezTo>
                    <a:cubicBezTo>
                      <a:pt x="5" y="9"/>
                      <a:pt x="5" y="9"/>
                      <a:pt x="5" y="9"/>
                    </a:cubicBezTo>
                    <a:cubicBezTo>
                      <a:pt x="5" y="9"/>
                      <a:pt x="5" y="9"/>
                      <a:pt x="5" y="9"/>
                    </a:cubicBezTo>
                    <a:close/>
                    <a:moveTo>
                      <a:pt x="3" y="14"/>
                    </a:moveTo>
                    <a:cubicBezTo>
                      <a:pt x="3" y="14"/>
                      <a:pt x="3" y="14"/>
                      <a:pt x="3" y="14"/>
                    </a:cubicBezTo>
                    <a:cubicBezTo>
                      <a:pt x="3" y="14"/>
                      <a:pt x="3" y="14"/>
                      <a:pt x="3" y="14"/>
                    </a:cubicBezTo>
                    <a:cubicBezTo>
                      <a:pt x="3" y="14"/>
                      <a:pt x="3" y="14"/>
                      <a:pt x="3" y="14"/>
                    </a:cubicBezTo>
                    <a:cubicBezTo>
                      <a:pt x="3" y="14"/>
                      <a:pt x="3" y="14"/>
                      <a:pt x="3" y="14"/>
                    </a:cubicBezTo>
                    <a:close/>
                    <a:moveTo>
                      <a:pt x="9" y="58"/>
                    </a:moveTo>
                    <a:cubicBezTo>
                      <a:pt x="9" y="58"/>
                      <a:pt x="9" y="58"/>
                      <a:pt x="9" y="58"/>
                    </a:cubicBezTo>
                    <a:cubicBezTo>
                      <a:pt x="9" y="58"/>
                      <a:pt x="9" y="58"/>
                      <a:pt x="9" y="58"/>
                    </a:cubicBezTo>
                    <a:cubicBezTo>
                      <a:pt x="9" y="58"/>
                      <a:pt x="9" y="58"/>
                      <a:pt x="9" y="58"/>
                    </a:cubicBezTo>
                    <a:cubicBezTo>
                      <a:pt x="9" y="58"/>
                      <a:pt x="9" y="58"/>
                      <a:pt x="9" y="58"/>
                    </a:cubicBezTo>
                    <a:close/>
                    <a:moveTo>
                      <a:pt x="8" y="58"/>
                    </a:moveTo>
                    <a:cubicBezTo>
                      <a:pt x="8" y="58"/>
                      <a:pt x="8" y="59"/>
                      <a:pt x="8" y="59"/>
                    </a:cubicBezTo>
                    <a:cubicBezTo>
                      <a:pt x="8" y="59"/>
                      <a:pt x="8" y="58"/>
                      <a:pt x="8" y="58"/>
                    </a:cubicBezTo>
                    <a:cubicBezTo>
                      <a:pt x="8" y="58"/>
                      <a:pt x="8" y="58"/>
                      <a:pt x="8" y="58"/>
                    </a:cubicBezTo>
                    <a:cubicBezTo>
                      <a:pt x="8" y="58"/>
                      <a:pt x="8" y="58"/>
                      <a:pt x="8" y="58"/>
                    </a:cubicBezTo>
                    <a:close/>
                    <a:moveTo>
                      <a:pt x="7" y="52"/>
                    </a:moveTo>
                    <a:cubicBezTo>
                      <a:pt x="7" y="52"/>
                      <a:pt x="7" y="52"/>
                      <a:pt x="7" y="52"/>
                    </a:cubicBezTo>
                    <a:cubicBezTo>
                      <a:pt x="7" y="52"/>
                      <a:pt x="7" y="52"/>
                      <a:pt x="7" y="52"/>
                    </a:cubicBezTo>
                    <a:cubicBezTo>
                      <a:pt x="7" y="52"/>
                      <a:pt x="7" y="52"/>
                      <a:pt x="7" y="51"/>
                    </a:cubicBezTo>
                    <a:cubicBezTo>
                      <a:pt x="7" y="51"/>
                      <a:pt x="7" y="52"/>
                      <a:pt x="7" y="52"/>
                    </a:cubicBezTo>
                    <a:close/>
                    <a:moveTo>
                      <a:pt x="8" y="32"/>
                    </a:moveTo>
                    <a:cubicBezTo>
                      <a:pt x="8" y="32"/>
                      <a:pt x="8" y="32"/>
                      <a:pt x="8" y="32"/>
                    </a:cubicBezTo>
                    <a:cubicBezTo>
                      <a:pt x="8" y="32"/>
                      <a:pt x="8" y="32"/>
                      <a:pt x="8" y="32"/>
                    </a:cubicBezTo>
                    <a:cubicBezTo>
                      <a:pt x="8" y="32"/>
                      <a:pt x="8" y="32"/>
                      <a:pt x="8" y="32"/>
                    </a:cubicBezTo>
                    <a:cubicBezTo>
                      <a:pt x="8" y="32"/>
                      <a:pt x="8" y="32"/>
                      <a:pt x="8" y="32"/>
                    </a:cubicBezTo>
                    <a:close/>
                    <a:moveTo>
                      <a:pt x="6" y="85"/>
                    </a:moveTo>
                    <a:cubicBezTo>
                      <a:pt x="6" y="85"/>
                      <a:pt x="6" y="85"/>
                      <a:pt x="6" y="85"/>
                    </a:cubicBezTo>
                    <a:cubicBezTo>
                      <a:pt x="6" y="85"/>
                      <a:pt x="6" y="85"/>
                      <a:pt x="6" y="85"/>
                    </a:cubicBezTo>
                    <a:cubicBezTo>
                      <a:pt x="6" y="85"/>
                      <a:pt x="6" y="85"/>
                      <a:pt x="6" y="85"/>
                    </a:cubicBezTo>
                    <a:cubicBezTo>
                      <a:pt x="6" y="85"/>
                      <a:pt x="6" y="85"/>
                      <a:pt x="6" y="85"/>
                    </a:cubicBezTo>
                    <a:close/>
                    <a:moveTo>
                      <a:pt x="6" y="86"/>
                    </a:moveTo>
                    <a:cubicBezTo>
                      <a:pt x="6" y="86"/>
                      <a:pt x="6" y="86"/>
                      <a:pt x="6" y="86"/>
                    </a:cubicBezTo>
                    <a:cubicBezTo>
                      <a:pt x="6" y="86"/>
                      <a:pt x="6" y="86"/>
                      <a:pt x="6" y="86"/>
                    </a:cubicBezTo>
                    <a:cubicBezTo>
                      <a:pt x="6" y="86"/>
                      <a:pt x="6" y="86"/>
                      <a:pt x="6" y="86"/>
                    </a:cubicBezTo>
                    <a:cubicBezTo>
                      <a:pt x="6" y="86"/>
                      <a:pt x="6" y="86"/>
                      <a:pt x="6" y="86"/>
                    </a:cubicBezTo>
                    <a:close/>
                    <a:moveTo>
                      <a:pt x="6" y="86"/>
                    </a:moveTo>
                    <a:cubicBezTo>
                      <a:pt x="6" y="86"/>
                      <a:pt x="6" y="86"/>
                      <a:pt x="6" y="86"/>
                    </a:cubicBezTo>
                    <a:cubicBezTo>
                      <a:pt x="6" y="86"/>
                      <a:pt x="6" y="86"/>
                      <a:pt x="6" y="86"/>
                    </a:cubicBezTo>
                    <a:cubicBezTo>
                      <a:pt x="6" y="86"/>
                      <a:pt x="6" y="86"/>
                      <a:pt x="6" y="86"/>
                    </a:cubicBezTo>
                    <a:cubicBezTo>
                      <a:pt x="6" y="86"/>
                      <a:pt x="6" y="86"/>
                      <a:pt x="6" y="86"/>
                    </a:cubicBezTo>
                    <a:close/>
                    <a:moveTo>
                      <a:pt x="7" y="59"/>
                    </a:moveTo>
                    <a:cubicBezTo>
                      <a:pt x="7" y="59"/>
                      <a:pt x="7" y="59"/>
                      <a:pt x="7" y="59"/>
                    </a:cubicBezTo>
                    <a:cubicBezTo>
                      <a:pt x="7" y="59"/>
                      <a:pt x="8" y="59"/>
                      <a:pt x="8" y="59"/>
                    </a:cubicBezTo>
                    <a:cubicBezTo>
                      <a:pt x="8" y="59"/>
                      <a:pt x="8" y="59"/>
                      <a:pt x="8" y="59"/>
                    </a:cubicBezTo>
                    <a:cubicBezTo>
                      <a:pt x="8" y="59"/>
                      <a:pt x="8" y="59"/>
                      <a:pt x="7" y="59"/>
                    </a:cubicBezTo>
                    <a:close/>
                    <a:moveTo>
                      <a:pt x="8" y="33"/>
                    </a:moveTo>
                    <a:cubicBezTo>
                      <a:pt x="8" y="33"/>
                      <a:pt x="8" y="33"/>
                      <a:pt x="8" y="33"/>
                    </a:cubicBezTo>
                    <a:cubicBezTo>
                      <a:pt x="8" y="33"/>
                      <a:pt x="8" y="33"/>
                      <a:pt x="8" y="33"/>
                    </a:cubicBezTo>
                    <a:cubicBezTo>
                      <a:pt x="8" y="33"/>
                      <a:pt x="8" y="33"/>
                      <a:pt x="8" y="33"/>
                    </a:cubicBezTo>
                    <a:cubicBezTo>
                      <a:pt x="8" y="33"/>
                      <a:pt x="8" y="33"/>
                      <a:pt x="8" y="33"/>
                    </a:cubicBezTo>
                    <a:close/>
                    <a:moveTo>
                      <a:pt x="8" y="81"/>
                    </a:moveTo>
                    <a:cubicBezTo>
                      <a:pt x="8" y="81"/>
                      <a:pt x="8" y="81"/>
                      <a:pt x="8" y="81"/>
                    </a:cubicBezTo>
                    <a:cubicBezTo>
                      <a:pt x="8" y="82"/>
                      <a:pt x="8" y="82"/>
                      <a:pt x="8" y="82"/>
                    </a:cubicBezTo>
                    <a:cubicBezTo>
                      <a:pt x="8" y="82"/>
                      <a:pt x="8" y="82"/>
                      <a:pt x="8" y="81"/>
                    </a:cubicBezTo>
                    <a:cubicBezTo>
                      <a:pt x="8" y="81"/>
                      <a:pt x="8" y="81"/>
                      <a:pt x="8" y="81"/>
                    </a:cubicBezTo>
                    <a:close/>
                    <a:moveTo>
                      <a:pt x="9" y="56"/>
                    </a:moveTo>
                    <a:cubicBezTo>
                      <a:pt x="9" y="57"/>
                      <a:pt x="9" y="57"/>
                      <a:pt x="9" y="57"/>
                    </a:cubicBezTo>
                    <a:cubicBezTo>
                      <a:pt x="9" y="57"/>
                      <a:pt x="9" y="57"/>
                      <a:pt x="9" y="56"/>
                    </a:cubicBezTo>
                    <a:close/>
                    <a:moveTo>
                      <a:pt x="4" y="43"/>
                    </a:moveTo>
                    <a:cubicBezTo>
                      <a:pt x="4" y="43"/>
                      <a:pt x="4" y="43"/>
                      <a:pt x="4" y="43"/>
                    </a:cubicBezTo>
                    <a:cubicBezTo>
                      <a:pt x="4" y="43"/>
                      <a:pt x="4" y="43"/>
                      <a:pt x="4" y="43"/>
                    </a:cubicBezTo>
                    <a:close/>
                    <a:moveTo>
                      <a:pt x="3" y="44"/>
                    </a:moveTo>
                    <a:cubicBezTo>
                      <a:pt x="3" y="44"/>
                      <a:pt x="3" y="44"/>
                      <a:pt x="3" y="44"/>
                    </a:cubicBezTo>
                    <a:cubicBezTo>
                      <a:pt x="3" y="44"/>
                      <a:pt x="3" y="44"/>
                      <a:pt x="3" y="44"/>
                    </a:cubicBezTo>
                    <a:close/>
                    <a:moveTo>
                      <a:pt x="5" y="10"/>
                    </a:moveTo>
                    <a:cubicBezTo>
                      <a:pt x="5" y="10"/>
                      <a:pt x="5" y="10"/>
                      <a:pt x="5" y="10"/>
                    </a:cubicBezTo>
                    <a:cubicBezTo>
                      <a:pt x="5" y="10"/>
                      <a:pt x="5" y="10"/>
                      <a:pt x="5" y="10"/>
                    </a:cubicBezTo>
                    <a:close/>
                    <a:moveTo>
                      <a:pt x="3" y="10"/>
                    </a:moveTo>
                    <a:cubicBezTo>
                      <a:pt x="3" y="10"/>
                      <a:pt x="3" y="10"/>
                      <a:pt x="3" y="10"/>
                    </a:cubicBezTo>
                    <a:cubicBezTo>
                      <a:pt x="3" y="10"/>
                      <a:pt x="3" y="10"/>
                      <a:pt x="3" y="10"/>
                    </a:cubicBezTo>
                    <a:close/>
                    <a:moveTo>
                      <a:pt x="6" y="10"/>
                    </a:moveTo>
                    <a:cubicBezTo>
                      <a:pt x="6" y="10"/>
                      <a:pt x="6" y="10"/>
                      <a:pt x="6" y="10"/>
                    </a:cubicBezTo>
                    <a:cubicBezTo>
                      <a:pt x="6" y="10"/>
                      <a:pt x="6" y="10"/>
                      <a:pt x="6" y="10"/>
                    </a:cubicBezTo>
                    <a:close/>
                    <a:moveTo>
                      <a:pt x="5" y="10"/>
                    </a:moveTo>
                    <a:cubicBezTo>
                      <a:pt x="5" y="10"/>
                      <a:pt x="5" y="10"/>
                      <a:pt x="5" y="10"/>
                    </a:cubicBezTo>
                    <a:cubicBezTo>
                      <a:pt x="5" y="10"/>
                      <a:pt x="5" y="10"/>
                      <a:pt x="5" y="10"/>
                    </a:cubicBezTo>
                    <a:close/>
                    <a:moveTo>
                      <a:pt x="6" y="11"/>
                    </a:moveTo>
                    <a:cubicBezTo>
                      <a:pt x="6" y="11"/>
                      <a:pt x="6" y="11"/>
                      <a:pt x="6" y="11"/>
                    </a:cubicBezTo>
                    <a:cubicBezTo>
                      <a:pt x="6" y="11"/>
                      <a:pt x="6" y="11"/>
                      <a:pt x="6" y="11"/>
                    </a:cubicBezTo>
                    <a:close/>
                    <a:moveTo>
                      <a:pt x="8" y="69"/>
                    </a:moveTo>
                    <a:cubicBezTo>
                      <a:pt x="8" y="69"/>
                      <a:pt x="8" y="69"/>
                      <a:pt x="8" y="69"/>
                    </a:cubicBezTo>
                    <a:cubicBezTo>
                      <a:pt x="8" y="69"/>
                      <a:pt x="8" y="69"/>
                      <a:pt x="8" y="69"/>
                    </a:cubicBezTo>
                    <a:close/>
                    <a:moveTo>
                      <a:pt x="5" y="69"/>
                    </a:moveTo>
                    <a:cubicBezTo>
                      <a:pt x="5" y="69"/>
                      <a:pt x="5" y="69"/>
                      <a:pt x="5" y="69"/>
                    </a:cubicBezTo>
                    <a:cubicBezTo>
                      <a:pt x="5" y="69"/>
                      <a:pt x="5" y="69"/>
                      <a:pt x="5" y="69"/>
                    </a:cubicBezTo>
                    <a:close/>
                    <a:moveTo>
                      <a:pt x="6" y="76"/>
                    </a:moveTo>
                    <a:cubicBezTo>
                      <a:pt x="6" y="76"/>
                      <a:pt x="6" y="76"/>
                      <a:pt x="6" y="76"/>
                    </a:cubicBezTo>
                    <a:cubicBezTo>
                      <a:pt x="6" y="76"/>
                      <a:pt x="6" y="76"/>
                      <a:pt x="6" y="76"/>
                    </a:cubicBezTo>
                    <a:close/>
                    <a:moveTo>
                      <a:pt x="0" y="8"/>
                    </a:moveTo>
                    <a:cubicBezTo>
                      <a:pt x="0" y="8"/>
                      <a:pt x="0" y="8"/>
                      <a:pt x="0" y="8"/>
                    </a:cubicBezTo>
                    <a:cubicBezTo>
                      <a:pt x="0" y="8"/>
                      <a:pt x="0" y="8"/>
                      <a:pt x="0" y="8"/>
                    </a:cubicBezTo>
                    <a:cubicBezTo>
                      <a:pt x="0" y="8"/>
                      <a:pt x="0" y="8"/>
                      <a:pt x="0" y="8"/>
                    </a:cubicBezTo>
                    <a:close/>
                    <a:moveTo>
                      <a:pt x="3" y="8"/>
                    </a:moveTo>
                    <a:cubicBezTo>
                      <a:pt x="3" y="8"/>
                      <a:pt x="3" y="8"/>
                      <a:pt x="3" y="8"/>
                    </a:cubicBezTo>
                    <a:cubicBezTo>
                      <a:pt x="3" y="8"/>
                      <a:pt x="3" y="8"/>
                      <a:pt x="3" y="8"/>
                    </a:cubicBezTo>
                    <a:close/>
                    <a:moveTo>
                      <a:pt x="2" y="9"/>
                    </a:moveTo>
                    <a:cubicBezTo>
                      <a:pt x="2" y="9"/>
                      <a:pt x="2" y="9"/>
                      <a:pt x="2" y="9"/>
                    </a:cubicBezTo>
                    <a:cubicBezTo>
                      <a:pt x="2" y="9"/>
                      <a:pt x="2" y="9"/>
                      <a:pt x="2" y="9"/>
                    </a:cubicBezTo>
                    <a:close/>
                    <a:moveTo>
                      <a:pt x="5" y="11"/>
                    </a:moveTo>
                    <a:cubicBezTo>
                      <a:pt x="5" y="11"/>
                      <a:pt x="5" y="11"/>
                      <a:pt x="5" y="11"/>
                    </a:cubicBezTo>
                    <a:cubicBezTo>
                      <a:pt x="5" y="11"/>
                      <a:pt x="5" y="11"/>
                      <a:pt x="5" y="11"/>
                    </a:cubicBezTo>
                    <a:close/>
                    <a:moveTo>
                      <a:pt x="5" y="11"/>
                    </a:moveTo>
                    <a:cubicBezTo>
                      <a:pt x="5" y="11"/>
                      <a:pt x="5" y="11"/>
                      <a:pt x="5" y="11"/>
                    </a:cubicBezTo>
                    <a:cubicBezTo>
                      <a:pt x="5" y="11"/>
                      <a:pt x="5" y="11"/>
                      <a:pt x="5" y="11"/>
                    </a:cubicBezTo>
                    <a:close/>
                    <a:moveTo>
                      <a:pt x="2" y="13"/>
                    </a:moveTo>
                    <a:cubicBezTo>
                      <a:pt x="2" y="13"/>
                      <a:pt x="2" y="13"/>
                      <a:pt x="2" y="13"/>
                    </a:cubicBezTo>
                    <a:cubicBezTo>
                      <a:pt x="2" y="13"/>
                      <a:pt x="2" y="13"/>
                      <a:pt x="2" y="13"/>
                    </a:cubicBezTo>
                    <a:close/>
                    <a:moveTo>
                      <a:pt x="4" y="75"/>
                    </a:moveTo>
                    <a:cubicBezTo>
                      <a:pt x="4" y="75"/>
                      <a:pt x="4" y="75"/>
                      <a:pt x="4" y="75"/>
                    </a:cubicBezTo>
                    <a:cubicBezTo>
                      <a:pt x="4" y="75"/>
                      <a:pt x="4" y="75"/>
                      <a:pt x="4" y="75"/>
                    </a:cubicBezTo>
                    <a:close/>
                    <a:moveTo>
                      <a:pt x="8" y="75"/>
                    </a:moveTo>
                    <a:cubicBezTo>
                      <a:pt x="8" y="75"/>
                      <a:pt x="8" y="75"/>
                      <a:pt x="8" y="75"/>
                    </a:cubicBezTo>
                    <a:cubicBezTo>
                      <a:pt x="8" y="75"/>
                      <a:pt x="8" y="75"/>
                      <a:pt x="8" y="75"/>
                    </a:cubicBezTo>
                    <a:cubicBezTo>
                      <a:pt x="8" y="75"/>
                      <a:pt x="8" y="75"/>
                      <a:pt x="8" y="75"/>
                    </a:cubicBezTo>
                    <a:cubicBezTo>
                      <a:pt x="8" y="75"/>
                      <a:pt x="8" y="75"/>
                      <a:pt x="8" y="75"/>
                    </a:cubicBezTo>
                    <a:close/>
                    <a:moveTo>
                      <a:pt x="5" y="75"/>
                    </a:moveTo>
                    <a:cubicBezTo>
                      <a:pt x="5" y="75"/>
                      <a:pt x="5" y="75"/>
                      <a:pt x="5" y="75"/>
                    </a:cubicBezTo>
                    <a:cubicBezTo>
                      <a:pt x="5" y="75"/>
                      <a:pt x="5" y="75"/>
                      <a:pt x="5" y="75"/>
                    </a:cubicBezTo>
                    <a:close/>
                    <a:moveTo>
                      <a:pt x="4" y="9"/>
                    </a:moveTo>
                    <a:cubicBezTo>
                      <a:pt x="4" y="9"/>
                      <a:pt x="4" y="9"/>
                      <a:pt x="4" y="9"/>
                    </a:cubicBezTo>
                    <a:cubicBezTo>
                      <a:pt x="4" y="9"/>
                      <a:pt x="4" y="9"/>
                      <a:pt x="4" y="9"/>
                    </a:cubicBezTo>
                    <a:close/>
                    <a:moveTo>
                      <a:pt x="7" y="48"/>
                    </a:moveTo>
                    <a:cubicBezTo>
                      <a:pt x="7" y="48"/>
                      <a:pt x="7" y="48"/>
                      <a:pt x="7" y="48"/>
                    </a:cubicBezTo>
                    <a:cubicBezTo>
                      <a:pt x="7" y="48"/>
                      <a:pt x="7" y="48"/>
                      <a:pt x="7" y="48"/>
                    </a:cubicBezTo>
                    <a:close/>
                    <a:moveTo>
                      <a:pt x="4" y="48"/>
                    </a:moveTo>
                    <a:cubicBezTo>
                      <a:pt x="4" y="48"/>
                      <a:pt x="4" y="48"/>
                      <a:pt x="4" y="48"/>
                    </a:cubicBezTo>
                    <a:cubicBezTo>
                      <a:pt x="4" y="48"/>
                      <a:pt x="4" y="48"/>
                      <a:pt x="4" y="48"/>
                    </a:cubicBezTo>
                    <a:close/>
                    <a:moveTo>
                      <a:pt x="4" y="54"/>
                    </a:moveTo>
                    <a:cubicBezTo>
                      <a:pt x="4" y="54"/>
                      <a:pt x="4" y="54"/>
                      <a:pt x="4" y="54"/>
                    </a:cubicBezTo>
                    <a:cubicBezTo>
                      <a:pt x="4" y="54"/>
                      <a:pt x="4" y="54"/>
                      <a:pt x="4" y="54"/>
                    </a:cubicBezTo>
                    <a:close/>
                    <a:moveTo>
                      <a:pt x="9" y="55"/>
                    </a:moveTo>
                    <a:cubicBezTo>
                      <a:pt x="9" y="55"/>
                      <a:pt x="9" y="55"/>
                      <a:pt x="9" y="55"/>
                    </a:cubicBezTo>
                    <a:cubicBezTo>
                      <a:pt x="9" y="55"/>
                      <a:pt x="9" y="55"/>
                      <a:pt x="9" y="55"/>
                    </a:cubicBezTo>
                    <a:cubicBezTo>
                      <a:pt x="9" y="55"/>
                      <a:pt x="9" y="55"/>
                      <a:pt x="9" y="55"/>
                    </a:cubicBezTo>
                    <a:cubicBezTo>
                      <a:pt x="9" y="55"/>
                      <a:pt x="10" y="55"/>
                      <a:pt x="10" y="55"/>
                    </a:cubicBezTo>
                    <a:cubicBezTo>
                      <a:pt x="10" y="55"/>
                      <a:pt x="10" y="55"/>
                      <a:pt x="9" y="55"/>
                    </a:cubicBezTo>
                    <a:cubicBezTo>
                      <a:pt x="9" y="55"/>
                      <a:pt x="9" y="55"/>
                      <a:pt x="9" y="55"/>
                    </a:cubicBezTo>
                    <a:close/>
                    <a:moveTo>
                      <a:pt x="9" y="55"/>
                    </a:moveTo>
                    <a:cubicBezTo>
                      <a:pt x="9" y="55"/>
                      <a:pt x="9" y="55"/>
                      <a:pt x="9" y="55"/>
                    </a:cubicBezTo>
                    <a:cubicBezTo>
                      <a:pt x="9" y="55"/>
                      <a:pt x="9" y="55"/>
                      <a:pt x="9" y="55"/>
                    </a:cubicBezTo>
                    <a:close/>
                    <a:moveTo>
                      <a:pt x="7" y="56"/>
                    </a:moveTo>
                    <a:cubicBezTo>
                      <a:pt x="7" y="56"/>
                      <a:pt x="7" y="56"/>
                      <a:pt x="7" y="56"/>
                    </a:cubicBezTo>
                    <a:cubicBezTo>
                      <a:pt x="7" y="56"/>
                      <a:pt x="7" y="56"/>
                      <a:pt x="7" y="56"/>
                    </a:cubicBezTo>
                    <a:close/>
                    <a:moveTo>
                      <a:pt x="2" y="49"/>
                    </a:moveTo>
                    <a:cubicBezTo>
                      <a:pt x="2" y="49"/>
                      <a:pt x="2" y="49"/>
                      <a:pt x="3" y="49"/>
                    </a:cubicBezTo>
                    <a:cubicBezTo>
                      <a:pt x="3" y="49"/>
                      <a:pt x="3" y="49"/>
                      <a:pt x="3" y="49"/>
                    </a:cubicBezTo>
                    <a:cubicBezTo>
                      <a:pt x="3" y="49"/>
                      <a:pt x="3" y="49"/>
                      <a:pt x="3" y="49"/>
                    </a:cubicBezTo>
                    <a:cubicBezTo>
                      <a:pt x="3" y="49"/>
                      <a:pt x="3" y="49"/>
                      <a:pt x="2" y="49"/>
                    </a:cubicBezTo>
                    <a:close/>
                    <a:moveTo>
                      <a:pt x="3" y="49"/>
                    </a:moveTo>
                    <a:cubicBezTo>
                      <a:pt x="3" y="49"/>
                      <a:pt x="3" y="49"/>
                      <a:pt x="3" y="49"/>
                    </a:cubicBezTo>
                    <a:cubicBezTo>
                      <a:pt x="3" y="49"/>
                      <a:pt x="3" y="49"/>
                      <a:pt x="3" y="49"/>
                    </a:cubicBezTo>
                    <a:close/>
                    <a:moveTo>
                      <a:pt x="5" y="50"/>
                    </a:moveTo>
                    <a:cubicBezTo>
                      <a:pt x="5" y="50"/>
                      <a:pt x="5" y="50"/>
                      <a:pt x="5" y="50"/>
                    </a:cubicBezTo>
                    <a:cubicBezTo>
                      <a:pt x="5" y="50"/>
                      <a:pt x="5" y="50"/>
                      <a:pt x="5" y="50"/>
                    </a:cubicBezTo>
                    <a:close/>
                    <a:moveTo>
                      <a:pt x="7" y="51"/>
                    </a:moveTo>
                    <a:cubicBezTo>
                      <a:pt x="7" y="51"/>
                      <a:pt x="7" y="51"/>
                      <a:pt x="7" y="51"/>
                    </a:cubicBezTo>
                    <a:cubicBezTo>
                      <a:pt x="7" y="51"/>
                      <a:pt x="7" y="51"/>
                      <a:pt x="7" y="51"/>
                    </a:cubicBezTo>
                    <a:close/>
                    <a:moveTo>
                      <a:pt x="9" y="56"/>
                    </a:moveTo>
                    <a:cubicBezTo>
                      <a:pt x="9" y="56"/>
                      <a:pt x="9" y="56"/>
                      <a:pt x="9" y="56"/>
                    </a:cubicBezTo>
                    <a:cubicBezTo>
                      <a:pt x="9" y="56"/>
                      <a:pt x="9" y="56"/>
                      <a:pt x="9" y="56"/>
                    </a:cubicBezTo>
                    <a:close/>
                    <a:moveTo>
                      <a:pt x="7" y="56"/>
                    </a:moveTo>
                    <a:cubicBezTo>
                      <a:pt x="7" y="56"/>
                      <a:pt x="7" y="56"/>
                      <a:pt x="7" y="56"/>
                    </a:cubicBezTo>
                    <a:cubicBezTo>
                      <a:pt x="7" y="56"/>
                      <a:pt x="7" y="56"/>
                      <a:pt x="7" y="56"/>
                    </a:cubicBezTo>
                    <a:close/>
                    <a:moveTo>
                      <a:pt x="9" y="57"/>
                    </a:moveTo>
                    <a:cubicBezTo>
                      <a:pt x="9" y="57"/>
                      <a:pt x="9" y="57"/>
                      <a:pt x="9" y="57"/>
                    </a:cubicBezTo>
                    <a:cubicBezTo>
                      <a:pt x="9" y="57"/>
                      <a:pt x="9" y="57"/>
                      <a:pt x="9" y="57"/>
                    </a:cubicBezTo>
                    <a:cubicBezTo>
                      <a:pt x="9" y="57"/>
                      <a:pt x="9" y="57"/>
                      <a:pt x="9" y="57"/>
                    </a:cubicBezTo>
                    <a:cubicBezTo>
                      <a:pt x="9" y="57"/>
                      <a:pt x="9" y="57"/>
                      <a:pt x="9" y="57"/>
                    </a:cubicBezTo>
                    <a:close/>
                    <a:moveTo>
                      <a:pt x="6" y="57"/>
                    </a:moveTo>
                    <a:cubicBezTo>
                      <a:pt x="6" y="57"/>
                      <a:pt x="6" y="57"/>
                      <a:pt x="6" y="57"/>
                    </a:cubicBezTo>
                    <a:cubicBezTo>
                      <a:pt x="6" y="57"/>
                      <a:pt x="6" y="57"/>
                      <a:pt x="6" y="57"/>
                    </a:cubicBezTo>
                    <a:close/>
                    <a:moveTo>
                      <a:pt x="9" y="58"/>
                    </a:moveTo>
                    <a:cubicBezTo>
                      <a:pt x="9" y="58"/>
                      <a:pt x="9" y="58"/>
                      <a:pt x="9" y="58"/>
                    </a:cubicBezTo>
                    <a:cubicBezTo>
                      <a:pt x="9" y="58"/>
                      <a:pt x="9" y="58"/>
                      <a:pt x="9" y="58"/>
                    </a:cubicBezTo>
                    <a:close/>
                    <a:moveTo>
                      <a:pt x="6" y="19"/>
                    </a:moveTo>
                    <a:cubicBezTo>
                      <a:pt x="6" y="19"/>
                      <a:pt x="6" y="19"/>
                      <a:pt x="6" y="19"/>
                    </a:cubicBezTo>
                    <a:cubicBezTo>
                      <a:pt x="6" y="19"/>
                      <a:pt x="6" y="19"/>
                      <a:pt x="6" y="19"/>
                    </a:cubicBezTo>
                    <a:close/>
                    <a:moveTo>
                      <a:pt x="7" y="19"/>
                    </a:moveTo>
                    <a:cubicBezTo>
                      <a:pt x="7" y="19"/>
                      <a:pt x="7" y="19"/>
                      <a:pt x="7" y="19"/>
                    </a:cubicBezTo>
                    <a:cubicBezTo>
                      <a:pt x="7" y="19"/>
                      <a:pt x="7" y="19"/>
                      <a:pt x="7" y="19"/>
                    </a:cubicBezTo>
                    <a:close/>
                    <a:moveTo>
                      <a:pt x="9" y="20"/>
                    </a:moveTo>
                    <a:cubicBezTo>
                      <a:pt x="9" y="20"/>
                      <a:pt x="9" y="20"/>
                      <a:pt x="9" y="20"/>
                    </a:cubicBezTo>
                    <a:cubicBezTo>
                      <a:pt x="9" y="20"/>
                      <a:pt x="9" y="20"/>
                      <a:pt x="9" y="20"/>
                    </a:cubicBezTo>
                    <a:cubicBezTo>
                      <a:pt x="9" y="20"/>
                      <a:pt x="9" y="20"/>
                      <a:pt x="9" y="20"/>
                    </a:cubicBezTo>
                    <a:cubicBezTo>
                      <a:pt x="9" y="20"/>
                      <a:pt x="9" y="20"/>
                      <a:pt x="9" y="20"/>
                    </a:cubicBezTo>
                    <a:close/>
                    <a:moveTo>
                      <a:pt x="5" y="3"/>
                    </a:moveTo>
                    <a:cubicBezTo>
                      <a:pt x="4" y="3"/>
                      <a:pt x="4" y="3"/>
                      <a:pt x="4" y="3"/>
                    </a:cubicBezTo>
                    <a:cubicBezTo>
                      <a:pt x="4" y="3"/>
                      <a:pt x="4" y="3"/>
                      <a:pt x="4" y="3"/>
                    </a:cubicBezTo>
                    <a:cubicBezTo>
                      <a:pt x="4" y="3"/>
                      <a:pt x="4" y="3"/>
                      <a:pt x="4" y="3"/>
                    </a:cubicBezTo>
                    <a:cubicBezTo>
                      <a:pt x="4" y="3"/>
                      <a:pt x="4" y="3"/>
                      <a:pt x="5" y="3"/>
                    </a:cubicBezTo>
                    <a:close/>
                    <a:moveTo>
                      <a:pt x="4" y="46"/>
                    </a:moveTo>
                    <a:cubicBezTo>
                      <a:pt x="4" y="46"/>
                      <a:pt x="4" y="46"/>
                      <a:pt x="4" y="46"/>
                    </a:cubicBezTo>
                    <a:cubicBezTo>
                      <a:pt x="4" y="46"/>
                      <a:pt x="4" y="46"/>
                      <a:pt x="4" y="46"/>
                    </a:cubicBezTo>
                    <a:close/>
                    <a:moveTo>
                      <a:pt x="9" y="46"/>
                    </a:moveTo>
                    <a:cubicBezTo>
                      <a:pt x="9" y="46"/>
                      <a:pt x="9" y="46"/>
                      <a:pt x="9" y="46"/>
                    </a:cubicBezTo>
                    <a:cubicBezTo>
                      <a:pt x="9" y="46"/>
                      <a:pt x="9" y="46"/>
                      <a:pt x="9" y="46"/>
                    </a:cubicBezTo>
                    <a:cubicBezTo>
                      <a:pt x="9" y="46"/>
                      <a:pt x="9" y="46"/>
                      <a:pt x="9" y="46"/>
                    </a:cubicBezTo>
                    <a:cubicBezTo>
                      <a:pt x="9" y="46"/>
                      <a:pt x="9" y="46"/>
                      <a:pt x="9" y="46"/>
                    </a:cubicBezTo>
                    <a:close/>
                    <a:moveTo>
                      <a:pt x="3" y="15"/>
                    </a:moveTo>
                    <a:cubicBezTo>
                      <a:pt x="3" y="15"/>
                      <a:pt x="3" y="15"/>
                      <a:pt x="3" y="15"/>
                    </a:cubicBezTo>
                    <a:cubicBezTo>
                      <a:pt x="3" y="15"/>
                      <a:pt x="3" y="15"/>
                      <a:pt x="3" y="15"/>
                    </a:cubicBezTo>
                    <a:close/>
                    <a:moveTo>
                      <a:pt x="2" y="4"/>
                    </a:moveTo>
                    <a:cubicBezTo>
                      <a:pt x="2" y="4"/>
                      <a:pt x="2" y="4"/>
                      <a:pt x="2" y="4"/>
                    </a:cubicBezTo>
                    <a:cubicBezTo>
                      <a:pt x="2" y="4"/>
                      <a:pt x="2" y="4"/>
                      <a:pt x="2" y="4"/>
                    </a:cubicBezTo>
                    <a:close/>
                    <a:moveTo>
                      <a:pt x="4" y="3"/>
                    </a:moveTo>
                    <a:cubicBezTo>
                      <a:pt x="4" y="3"/>
                      <a:pt x="4" y="3"/>
                      <a:pt x="4" y="3"/>
                    </a:cubicBezTo>
                    <a:cubicBezTo>
                      <a:pt x="4" y="3"/>
                      <a:pt x="4" y="3"/>
                      <a:pt x="4" y="3"/>
                    </a:cubicBezTo>
                    <a:close/>
                    <a:moveTo>
                      <a:pt x="4" y="5"/>
                    </a:moveTo>
                    <a:cubicBezTo>
                      <a:pt x="4" y="5"/>
                      <a:pt x="4" y="5"/>
                      <a:pt x="4" y="5"/>
                    </a:cubicBezTo>
                    <a:cubicBezTo>
                      <a:pt x="4" y="5"/>
                      <a:pt x="4" y="5"/>
                      <a:pt x="4" y="5"/>
                    </a:cubicBezTo>
                    <a:close/>
                    <a:moveTo>
                      <a:pt x="2" y="24"/>
                    </a:moveTo>
                    <a:cubicBezTo>
                      <a:pt x="2" y="24"/>
                      <a:pt x="2" y="24"/>
                      <a:pt x="2" y="24"/>
                    </a:cubicBezTo>
                    <a:cubicBezTo>
                      <a:pt x="2" y="24"/>
                      <a:pt x="2" y="24"/>
                      <a:pt x="2" y="24"/>
                    </a:cubicBezTo>
                    <a:close/>
                    <a:moveTo>
                      <a:pt x="7" y="26"/>
                    </a:moveTo>
                    <a:cubicBezTo>
                      <a:pt x="7" y="26"/>
                      <a:pt x="7" y="26"/>
                      <a:pt x="7" y="26"/>
                    </a:cubicBezTo>
                    <a:cubicBezTo>
                      <a:pt x="7" y="26"/>
                      <a:pt x="7" y="26"/>
                      <a:pt x="7" y="26"/>
                    </a:cubicBezTo>
                    <a:close/>
                    <a:moveTo>
                      <a:pt x="8" y="27"/>
                    </a:moveTo>
                    <a:cubicBezTo>
                      <a:pt x="8" y="27"/>
                      <a:pt x="8" y="27"/>
                      <a:pt x="8" y="27"/>
                    </a:cubicBezTo>
                    <a:cubicBezTo>
                      <a:pt x="8" y="27"/>
                      <a:pt x="8" y="27"/>
                      <a:pt x="8" y="27"/>
                    </a:cubicBezTo>
                    <a:close/>
                    <a:moveTo>
                      <a:pt x="9" y="27"/>
                    </a:moveTo>
                    <a:cubicBezTo>
                      <a:pt x="9" y="27"/>
                      <a:pt x="10" y="27"/>
                      <a:pt x="10" y="27"/>
                    </a:cubicBezTo>
                    <a:cubicBezTo>
                      <a:pt x="9" y="27"/>
                      <a:pt x="9" y="27"/>
                      <a:pt x="9" y="27"/>
                    </a:cubicBezTo>
                    <a:close/>
                    <a:moveTo>
                      <a:pt x="7" y="29"/>
                    </a:moveTo>
                    <a:cubicBezTo>
                      <a:pt x="7" y="29"/>
                      <a:pt x="7" y="29"/>
                      <a:pt x="7" y="29"/>
                    </a:cubicBezTo>
                    <a:cubicBezTo>
                      <a:pt x="7" y="29"/>
                      <a:pt x="7" y="29"/>
                      <a:pt x="7" y="29"/>
                    </a:cubicBezTo>
                    <a:close/>
                    <a:moveTo>
                      <a:pt x="10" y="29"/>
                    </a:moveTo>
                    <a:cubicBezTo>
                      <a:pt x="10" y="29"/>
                      <a:pt x="10" y="29"/>
                      <a:pt x="10" y="29"/>
                    </a:cubicBezTo>
                    <a:cubicBezTo>
                      <a:pt x="10" y="29"/>
                      <a:pt x="10" y="29"/>
                      <a:pt x="10" y="29"/>
                    </a:cubicBezTo>
                    <a:close/>
                    <a:moveTo>
                      <a:pt x="11" y="29"/>
                    </a:moveTo>
                    <a:cubicBezTo>
                      <a:pt x="11" y="29"/>
                      <a:pt x="12" y="29"/>
                      <a:pt x="11" y="29"/>
                    </a:cubicBezTo>
                    <a:cubicBezTo>
                      <a:pt x="11" y="29"/>
                      <a:pt x="11" y="29"/>
                      <a:pt x="11" y="29"/>
                    </a:cubicBezTo>
                    <a:close/>
                    <a:moveTo>
                      <a:pt x="4" y="16"/>
                    </a:moveTo>
                    <a:cubicBezTo>
                      <a:pt x="4" y="16"/>
                      <a:pt x="4" y="16"/>
                      <a:pt x="4" y="16"/>
                    </a:cubicBezTo>
                    <a:cubicBezTo>
                      <a:pt x="4" y="16"/>
                      <a:pt x="4" y="16"/>
                      <a:pt x="4" y="16"/>
                    </a:cubicBezTo>
                    <a:close/>
                    <a:moveTo>
                      <a:pt x="3" y="16"/>
                    </a:moveTo>
                    <a:cubicBezTo>
                      <a:pt x="3" y="16"/>
                      <a:pt x="3" y="17"/>
                      <a:pt x="3" y="17"/>
                    </a:cubicBezTo>
                    <a:cubicBezTo>
                      <a:pt x="3" y="17"/>
                      <a:pt x="3" y="16"/>
                      <a:pt x="3" y="16"/>
                    </a:cubicBezTo>
                    <a:close/>
                    <a:moveTo>
                      <a:pt x="8" y="17"/>
                    </a:moveTo>
                    <a:cubicBezTo>
                      <a:pt x="8" y="17"/>
                      <a:pt x="8" y="17"/>
                      <a:pt x="8" y="17"/>
                    </a:cubicBezTo>
                    <a:cubicBezTo>
                      <a:pt x="8" y="17"/>
                      <a:pt x="8" y="17"/>
                      <a:pt x="8" y="17"/>
                    </a:cubicBezTo>
                    <a:close/>
                    <a:moveTo>
                      <a:pt x="2" y="17"/>
                    </a:moveTo>
                    <a:cubicBezTo>
                      <a:pt x="2" y="17"/>
                      <a:pt x="2" y="17"/>
                      <a:pt x="2" y="17"/>
                    </a:cubicBezTo>
                    <a:cubicBezTo>
                      <a:pt x="2" y="17"/>
                      <a:pt x="2" y="17"/>
                      <a:pt x="2" y="17"/>
                    </a:cubicBezTo>
                    <a:close/>
                    <a:moveTo>
                      <a:pt x="4" y="18"/>
                    </a:moveTo>
                    <a:cubicBezTo>
                      <a:pt x="3" y="18"/>
                      <a:pt x="3" y="18"/>
                      <a:pt x="3" y="18"/>
                    </a:cubicBezTo>
                    <a:cubicBezTo>
                      <a:pt x="3" y="18"/>
                      <a:pt x="4" y="18"/>
                      <a:pt x="4" y="18"/>
                    </a:cubicBezTo>
                    <a:close/>
                    <a:moveTo>
                      <a:pt x="3" y="17"/>
                    </a:moveTo>
                    <a:cubicBezTo>
                      <a:pt x="3" y="17"/>
                      <a:pt x="3" y="17"/>
                      <a:pt x="3" y="17"/>
                    </a:cubicBezTo>
                    <a:cubicBezTo>
                      <a:pt x="3" y="17"/>
                      <a:pt x="3" y="17"/>
                      <a:pt x="3" y="17"/>
                    </a:cubicBezTo>
                    <a:close/>
                    <a:moveTo>
                      <a:pt x="2" y="21"/>
                    </a:moveTo>
                    <a:cubicBezTo>
                      <a:pt x="2" y="21"/>
                      <a:pt x="2" y="21"/>
                      <a:pt x="2" y="21"/>
                    </a:cubicBezTo>
                    <a:cubicBezTo>
                      <a:pt x="2" y="21"/>
                      <a:pt x="2" y="21"/>
                      <a:pt x="2" y="21"/>
                    </a:cubicBezTo>
                    <a:close/>
                    <a:moveTo>
                      <a:pt x="3" y="38"/>
                    </a:moveTo>
                    <a:cubicBezTo>
                      <a:pt x="3" y="38"/>
                      <a:pt x="3" y="39"/>
                      <a:pt x="3" y="39"/>
                    </a:cubicBezTo>
                    <a:cubicBezTo>
                      <a:pt x="3" y="39"/>
                      <a:pt x="3" y="38"/>
                      <a:pt x="3" y="38"/>
                    </a:cubicBezTo>
                    <a:close/>
                    <a:moveTo>
                      <a:pt x="1" y="40"/>
                    </a:moveTo>
                    <a:cubicBezTo>
                      <a:pt x="1" y="40"/>
                      <a:pt x="1" y="40"/>
                      <a:pt x="1" y="40"/>
                    </a:cubicBezTo>
                    <a:cubicBezTo>
                      <a:pt x="1" y="40"/>
                      <a:pt x="1" y="40"/>
                      <a:pt x="1" y="40"/>
                    </a:cubicBezTo>
                    <a:close/>
                    <a:moveTo>
                      <a:pt x="2" y="40"/>
                    </a:moveTo>
                    <a:cubicBezTo>
                      <a:pt x="2" y="40"/>
                      <a:pt x="2" y="40"/>
                      <a:pt x="2" y="40"/>
                    </a:cubicBezTo>
                    <a:cubicBezTo>
                      <a:pt x="2" y="40"/>
                      <a:pt x="2" y="40"/>
                      <a:pt x="2" y="40"/>
                    </a:cubicBezTo>
                    <a:close/>
                    <a:moveTo>
                      <a:pt x="9" y="40"/>
                    </a:moveTo>
                    <a:cubicBezTo>
                      <a:pt x="9" y="40"/>
                      <a:pt x="8" y="40"/>
                      <a:pt x="8" y="40"/>
                    </a:cubicBezTo>
                    <a:cubicBezTo>
                      <a:pt x="8" y="40"/>
                      <a:pt x="9" y="40"/>
                      <a:pt x="9" y="40"/>
                    </a:cubicBezTo>
                    <a:close/>
                    <a:moveTo>
                      <a:pt x="3" y="5"/>
                    </a:moveTo>
                    <a:cubicBezTo>
                      <a:pt x="3" y="5"/>
                      <a:pt x="3" y="5"/>
                      <a:pt x="3" y="5"/>
                    </a:cubicBezTo>
                    <a:cubicBezTo>
                      <a:pt x="3" y="5"/>
                      <a:pt x="3" y="5"/>
                      <a:pt x="3" y="5"/>
                    </a:cubicBezTo>
                    <a:close/>
                    <a:moveTo>
                      <a:pt x="9" y="41"/>
                    </a:moveTo>
                    <a:cubicBezTo>
                      <a:pt x="9" y="41"/>
                      <a:pt x="9" y="41"/>
                      <a:pt x="9" y="41"/>
                    </a:cubicBezTo>
                    <a:cubicBezTo>
                      <a:pt x="9" y="41"/>
                      <a:pt x="9" y="41"/>
                      <a:pt x="9" y="41"/>
                    </a:cubicBezTo>
                    <a:close/>
                    <a:moveTo>
                      <a:pt x="2" y="6"/>
                    </a:moveTo>
                    <a:cubicBezTo>
                      <a:pt x="2" y="6"/>
                      <a:pt x="2" y="6"/>
                      <a:pt x="2" y="6"/>
                    </a:cubicBezTo>
                    <a:cubicBezTo>
                      <a:pt x="2" y="6"/>
                      <a:pt x="2" y="6"/>
                      <a:pt x="2" y="6"/>
                    </a:cubicBezTo>
                    <a:close/>
                    <a:moveTo>
                      <a:pt x="4" y="5"/>
                    </a:moveTo>
                    <a:cubicBezTo>
                      <a:pt x="4" y="5"/>
                      <a:pt x="4" y="5"/>
                      <a:pt x="4" y="5"/>
                    </a:cubicBezTo>
                    <a:cubicBezTo>
                      <a:pt x="4" y="5"/>
                      <a:pt x="4" y="5"/>
                      <a:pt x="4" y="5"/>
                    </a:cubicBezTo>
                    <a:close/>
                    <a:moveTo>
                      <a:pt x="2" y="7"/>
                    </a:moveTo>
                    <a:cubicBezTo>
                      <a:pt x="2" y="7"/>
                      <a:pt x="2" y="7"/>
                      <a:pt x="2" y="7"/>
                    </a:cubicBezTo>
                    <a:cubicBezTo>
                      <a:pt x="2" y="7"/>
                      <a:pt x="2" y="7"/>
                      <a:pt x="2" y="7"/>
                    </a:cubicBezTo>
                    <a:close/>
                    <a:moveTo>
                      <a:pt x="2" y="8"/>
                    </a:moveTo>
                    <a:cubicBezTo>
                      <a:pt x="2" y="8"/>
                      <a:pt x="2" y="8"/>
                      <a:pt x="2" y="8"/>
                    </a:cubicBezTo>
                    <a:cubicBezTo>
                      <a:pt x="2" y="8"/>
                      <a:pt x="2" y="8"/>
                      <a:pt x="2" y="8"/>
                    </a:cubicBezTo>
                    <a:close/>
                    <a:moveTo>
                      <a:pt x="8" y="18"/>
                    </a:moveTo>
                    <a:cubicBezTo>
                      <a:pt x="8" y="18"/>
                      <a:pt x="8" y="18"/>
                      <a:pt x="8" y="18"/>
                    </a:cubicBezTo>
                    <a:cubicBezTo>
                      <a:pt x="8" y="18"/>
                      <a:pt x="8" y="18"/>
                      <a:pt x="8" y="18"/>
                    </a:cubicBezTo>
                    <a:close/>
                    <a:moveTo>
                      <a:pt x="9" y="18"/>
                    </a:moveTo>
                    <a:cubicBezTo>
                      <a:pt x="9" y="18"/>
                      <a:pt x="9" y="18"/>
                      <a:pt x="9" y="18"/>
                    </a:cubicBezTo>
                    <a:cubicBezTo>
                      <a:pt x="9" y="18"/>
                      <a:pt x="9" y="18"/>
                      <a:pt x="9" y="18"/>
                    </a:cubicBezTo>
                    <a:close/>
                    <a:moveTo>
                      <a:pt x="7" y="18"/>
                    </a:moveTo>
                    <a:cubicBezTo>
                      <a:pt x="7" y="18"/>
                      <a:pt x="7" y="18"/>
                      <a:pt x="7" y="18"/>
                    </a:cubicBezTo>
                    <a:cubicBezTo>
                      <a:pt x="7" y="18"/>
                      <a:pt x="7" y="18"/>
                      <a:pt x="7" y="18"/>
                    </a:cubicBezTo>
                    <a:cubicBezTo>
                      <a:pt x="7" y="18"/>
                      <a:pt x="7" y="18"/>
                      <a:pt x="7" y="18"/>
                    </a:cubicBezTo>
                    <a:cubicBezTo>
                      <a:pt x="7" y="18"/>
                      <a:pt x="7" y="18"/>
                      <a:pt x="7" y="18"/>
                    </a:cubicBezTo>
                    <a:close/>
                    <a:moveTo>
                      <a:pt x="7" y="34"/>
                    </a:moveTo>
                    <a:cubicBezTo>
                      <a:pt x="7" y="34"/>
                      <a:pt x="7" y="34"/>
                      <a:pt x="7" y="34"/>
                    </a:cubicBezTo>
                    <a:cubicBezTo>
                      <a:pt x="7" y="34"/>
                      <a:pt x="7" y="34"/>
                      <a:pt x="7" y="34"/>
                    </a:cubicBezTo>
                    <a:close/>
                    <a:moveTo>
                      <a:pt x="8" y="34"/>
                    </a:moveTo>
                    <a:cubicBezTo>
                      <a:pt x="8" y="34"/>
                      <a:pt x="8" y="34"/>
                      <a:pt x="8" y="34"/>
                    </a:cubicBezTo>
                    <a:cubicBezTo>
                      <a:pt x="8" y="34"/>
                      <a:pt x="8" y="34"/>
                      <a:pt x="8" y="34"/>
                    </a:cubicBezTo>
                    <a:close/>
                    <a:moveTo>
                      <a:pt x="8" y="35"/>
                    </a:moveTo>
                    <a:cubicBezTo>
                      <a:pt x="8" y="35"/>
                      <a:pt x="8" y="35"/>
                      <a:pt x="8" y="35"/>
                    </a:cubicBezTo>
                    <a:cubicBezTo>
                      <a:pt x="8" y="35"/>
                      <a:pt x="8" y="35"/>
                      <a:pt x="8" y="35"/>
                    </a:cubicBezTo>
                    <a:close/>
                    <a:moveTo>
                      <a:pt x="8" y="36"/>
                    </a:moveTo>
                    <a:cubicBezTo>
                      <a:pt x="8" y="36"/>
                      <a:pt x="8" y="36"/>
                      <a:pt x="8" y="36"/>
                    </a:cubicBezTo>
                    <a:cubicBezTo>
                      <a:pt x="8" y="36"/>
                      <a:pt x="8" y="36"/>
                      <a:pt x="8" y="36"/>
                    </a:cubicBezTo>
                    <a:close/>
                    <a:moveTo>
                      <a:pt x="5" y="86"/>
                    </a:moveTo>
                    <a:cubicBezTo>
                      <a:pt x="5" y="86"/>
                      <a:pt x="5" y="85"/>
                      <a:pt x="5" y="85"/>
                    </a:cubicBezTo>
                    <a:cubicBezTo>
                      <a:pt x="5" y="85"/>
                      <a:pt x="5" y="86"/>
                      <a:pt x="5" y="86"/>
                    </a:cubicBezTo>
                    <a:close/>
                    <a:moveTo>
                      <a:pt x="8" y="21"/>
                    </a:moveTo>
                    <a:cubicBezTo>
                      <a:pt x="8" y="21"/>
                      <a:pt x="8" y="21"/>
                      <a:pt x="8" y="21"/>
                    </a:cubicBezTo>
                    <a:cubicBezTo>
                      <a:pt x="8" y="21"/>
                      <a:pt x="8" y="21"/>
                      <a:pt x="8" y="21"/>
                    </a:cubicBezTo>
                    <a:cubicBezTo>
                      <a:pt x="8" y="21"/>
                      <a:pt x="8" y="21"/>
                      <a:pt x="8" y="21"/>
                    </a:cubicBezTo>
                    <a:close/>
                    <a:moveTo>
                      <a:pt x="2" y="36"/>
                    </a:moveTo>
                    <a:cubicBezTo>
                      <a:pt x="2" y="36"/>
                      <a:pt x="2" y="36"/>
                      <a:pt x="2" y="36"/>
                    </a:cubicBezTo>
                    <a:cubicBezTo>
                      <a:pt x="2" y="36"/>
                      <a:pt x="2" y="36"/>
                      <a:pt x="2" y="36"/>
                    </a:cubicBezTo>
                    <a:close/>
                    <a:moveTo>
                      <a:pt x="3" y="37"/>
                    </a:moveTo>
                    <a:cubicBezTo>
                      <a:pt x="3" y="37"/>
                      <a:pt x="3" y="37"/>
                      <a:pt x="3" y="37"/>
                    </a:cubicBezTo>
                    <a:cubicBezTo>
                      <a:pt x="3" y="37"/>
                      <a:pt x="3" y="37"/>
                      <a:pt x="3" y="37"/>
                    </a:cubicBezTo>
                    <a:close/>
                    <a:moveTo>
                      <a:pt x="2" y="0"/>
                    </a:moveTo>
                    <a:cubicBezTo>
                      <a:pt x="2" y="0"/>
                      <a:pt x="2" y="0"/>
                      <a:pt x="2" y="0"/>
                    </a:cubicBezTo>
                    <a:cubicBezTo>
                      <a:pt x="2" y="0"/>
                      <a:pt x="2" y="0"/>
                      <a:pt x="2" y="0"/>
                    </a:cubicBezTo>
                    <a:close/>
                    <a:moveTo>
                      <a:pt x="4" y="21"/>
                    </a:moveTo>
                    <a:cubicBezTo>
                      <a:pt x="4" y="21"/>
                      <a:pt x="4" y="21"/>
                      <a:pt x="4" y="21"/>
                    </a:cubicBezTo>
                    <a:cubicBezTo>
                      <a:pt x="4" y="21"/>
                      <a:pt x="4" y="21"/>
                      <a:pt x="4" y="21"/>
                    </a:cubicBezTo>
                    <a:close/>
                    <a:moveTo>
                      <a:pt x="3" y="37"/>
                    </a:moveTo>
                    <a:cubicBezTo>
                      <a:pt x="3" y="37"/>
                      <a:pt x="3" y="37"/>
                      <a:pt x="3" y="37"/>
                    </a:cubicBezTo>
                    <a:cubicBezTo>
                      <a:pt x="3" y="37"/>
                      <a:pt x="3" y="37"/>
                      <a:pt x="3" y="37"/>
                    </a:cubicBezTo>
                    <a:close/>
                    <a:moveTo>
                      <a:pt x="2" y="0"/>
                    </a:moveTo>
                    <a:cubicBezTo>
                      <a:pt x="2" y="0"/>
                      <a:pt x="2" y="0"/>
                      <a:pt x="2" y="0"/>
                    </a:cubicBezTo>
                    <a:cubicBezTo>
                      <a:pt x="2" y="0"/>
                      <a:pt x="2" y="0"/>
                      <a:pt x="2" y="0"/>
                    </a:cubicBezTo>
                    <a:close/>
                    <a:moveTo>
                      <a:pt x="1" y="1"/>
                    </a:moveTo>
                    <a:cubicBezTo>
                      <a:pt x="1" y="1"/>
                      <a:pt x="1" y="1"/>
                      <a:pt x="1" y="1"/>
                    </a:cubicBezTo>
                    <a:cubicBezTo>
                      <a:pt x="1" y="1"/>
                      <a:pt x="1" y="1"/>
                      <a:pt x="1" y="1"/>
                    </a:cubicBezTo>
                    <a:close/>
                    <a:moveTo>
                      <a:pt x="2" y="2"/>
                    </a:moveTo>
                    <a:cubicBezTo>
                      <a:pt x="2" y="2"/>
                      <a:pt x="2" y="1"/>
                      <a:pt x="2" y="1"/>
                    </a:cubicBezTo>
                    <a:cubicBezTo>
                      <a:pt x="2" y="2"/>
                      <a:pt x="2" y="2"/>
                      <a:pt x="2" y="2"/>
                    </a:cubicBezTo>
                    <a:close/>
                    <a:moveTo>
                      <a:pt x="1" y="2"/>
                    </a:moveTo>
                    <a:cubicBezTo>
                      <a:pt x="1" y="2"/>
                      <a:pt x="1" y="2"/>
                      <a:pt x="1" y="2"/>
                    </a:cubicBezTo>
                    <a:cubicBezTo>
                      <a:pt x="1" y="2"/>
                      <a:pt x="1" y="2"/>
                      <a:pt x="1" y="2"/>
                    </a:cubicBezTo>
                    <a:close/>
                    <a:moveTo>
                      <a:pt x="3" y="14"/>
                    </a:moveTo>
                    <a:cubicBezTo>
                      <a:pt x="2" y="14"/>
                      <a:pt x="2" y="14"/>
                      <a:pt x="2" y="14"/>
                    </a:cubicBezTo>
                    <a:cubicBezTo>
                      <a:pt x="2" y="14"/>
                      <a:pt x="3" y="14"/>
                      <a:pt x="3" y="14"/>
                    </a:cubicBezTo>
                    <a:close/>
                    <a:moveTo>
                      <a:pt x="8" y="15"/>
                    </a:moveTo>
                    <a:cubicBezTo>
                      <a:pt x="8" y="15"/>
                      <a:pt x="8" y="15"/>
                      <a:pt x="8" y="15"/>
                    </a:cubicBezTo>
                    <a:cubicBezTo>
                      <a:pt x="8" y="15"/>
                      <a:pt x="8" y="15"/>
                      <a:pt x="8" y="15"/>
                    </a:cubicBezTo>
                    <a:close/>
                    <a:moveTo>
                      <a:pt x="3" y="2"/>
                    </a:moveTo>
                    <a:cubicBezTo>
                      <a:pt x="3" y="2"/>
                      <a:pt x="3" y="2"/>
                      <a:pt x="3" y="2"/>
                    </a:cubicBezTo>
                    <a:cubicBezTo>
                      <a:pt x="3" y="2"/>
                      <a:pt x="3" y="2"/>
                      <a:pt x="3" y="2"/>
                    </a:cubicBezTo>
                    <a:close/>
                    <a:moveTo>
                      <a:pt x="2" y="2"/>
                    </a:moveTo>
                    <a:cubicBezTo>
                      <a:pt x="2" y="2"/>
                      <a:pt x="2" y="2"/>
                      <a:pt x="2" y="2"/>
                    </a:cubicBezTo>
                    <a:cubicBezTo>
                      <a:pt x="2" y="2"/>
                      <a:pt x="2" y="2"/>
                      <a:pt x="2" y="2"/>
                    </a:cubicBezTo>
                    <a:close/>
                    <a:moveTo>
                      <a:pt x="4" y="22"/>
                    </a:moveTo>
                    <a:cubicBezTo>
                      <a:pt x="4" y="22"/>
                      <a:pt x="5" y="22"/>
                      <a:pt x="4" y="22"/>
                    </a:cubicBezTo>
                    <a:cubicBezTo>
                      <a:pt x="4" y="22"/>
                      <a:pt x="4" y="22"/>
                      <a:pt x="4" y="22"/>
                    </a:cubicBezTo>
                    <a:close/>
                    <a:moveTo>
                      <a:pt x="4" y="21"/>
                    </a:moveTo>
                    <a:cubicBezTo>
                      <a:pt x="4" y="21"/>
                      <a:pt x="4" y="21"/>
                      <a:pt x="4" y="21"/>
                    </a:cubicBezTo>
                    <a:cubicBezTo>
                      <a:pt x="4" y="21"/>
                      <a:pt x="4" y="21"/>
                      <a:pt x="4" y="21"/>
                    </a:cubicBezTo>
                    <a:close/>
                    <a:moveTo>
                      <a:pt x="3" y="23"/>
                    </a:moveTo>
                    <a:cubicBezTo>
                      <a:pt x="3" y="22"/>
                      <a:pt x="3" y="23"/>
                      <a:pt x="3" y="23"/>
                    </a:cubicBezTo>
                    <a:cubicBezTo>
                      <a:pt x="3" y="23"/>
                      <a:pt x="3" y="23"/>
                      <a:pt x="3" y="23"/>
                    </a:cubicBezTo>
                    <a:close/>
                    <a:moveTo>
                      <a:pt x="7" y="24"/>
                    </a:moveTo>
                    <a:cubicBezTo>
                      <a:pt x="7" y="24"/>
                      <a:pt x="7" y="24"/>
                      <a:pt x="7" y="24"/>
                    </a:cubicBezTo>
                    <a:cubicBezTo>
                      <a:pt x="7" y="24"/>
                      <a:pt x="7" y="24"/>
                      <a:pt x="7" y="24"/>
                    </a:cubicBezTo>
                    <a:cubicBezTo>
                      <a:pt x="7" y="24"/>
                      <a:pt x="7" y="24"/>
                      <a:pt x="7" y="24"/>
                    </a:cubicBezTo>
                    <a:close/>
                    <a:moveTo>
                      <a:pt x="4" y="1"/>
                    </a:moveTo>
                    <a:cubicBezTo>
                      <a:pt x="4" y="1"/>
                      <a:pt x="4" y="1"/>
                      <a:pt x="4" y="1"/>
                    </a:cubicBezTo>
                    <a:cubicBezTo>
                      <a:pt x="4" y="1"/>
                      <a:pt x="4" y="1"/>
                      <a:pt x="4" y="1"/>
                    </a:cubicBezTo>
                    <a:close/>
                    <a:moveTo>
                      <a:pt x="3" y="20"/>
                    </a:moveTo>
                    <a:cubicBezTo>
                      <a:pt x="3" y="20"/>
                      <a:pt x="3" y="19"/>
                      <a:pt x="3" y="19"/>
                    </a:cubicBezTo>
                    <a:cubicBezTo>
                      <a:pt x="3" y="19"/>
                      <a:pt x="3" y="20"/>
                      <a:pt x="3" y="20"/>
                    </a:cubicBezTo>
                    <a:close/>
                    <a:moveTo>
                      <a:pt x="9" y="19"/>
                    </a:moveTo>
                    <a:cubicBezTo>
                      <a:pt x="9" y="19"/>
                      <a:pt x="9" y="19"/>
                      <a:pt x="9" y="19"/>
                    </a:cubicBezTo>
                    <a:cubicBezTo>
                      <a:pt x="9" y="19"/>
                      <a:pt x="9" y="19"/>
                      <a:pt x="9" y="19"/>
                    </a:cubicBezTo>
                    <a:close/>
                    <a:moveTo>
                      <a:pt x="10" y="18"/>
                    </a:moveTo>
                    <a:cubicBezTo>
                      <a:pt x="10" y="18"/>
                      <a:pt x="10" y="18"/>
                      <a:pt x="10" y="18"/>
                    </a:cubicBezTo>
                    <a:cubicBezTo>
                      <a:pt x="10" y="18"/>
                      <a:pt x="10" y="19"/>
                      <a:pt x="10" y="18"/>
                    </a:cubicBezTo>
                    <a:close/>
                    <a:moveTo>
                      <a:pt x="8" y="20"/>
                    </a:moveTo>
                    <a:cubicBezTo>
                      <a:pt x="8" y="20"/>
                      <a:pt x="8" y="20"/>
                      <a:pt x="8" y="20"/>
                    </a:cubicBezTo>
                    <a:cubicBezTo>
                      <a:pt x="8" y="20"/>
                      <a:pt x="8" y="20"/>
                      <a:pt x="8" y="20"/>
                    </a:cubicBezTo>
                    <a:close/>
                    <a:moveTo>
                      <a:pt x="4" y="20"/>
                    </a:moveTo>
                    <a:cubicBezTo>
                      <a:pt x="4" y="20"/>
                      <a:pt x="4" y="20"/>
                      <a:pt x="4" y="20"/>
                    </a:cubicBezTo>
                    <a:cubicBezTo>
                      <a:pt x="4" y="20"/>
                      <a:pt x="4" y="20"/>
                      <a:pt x="4" y="20"/>
                    </a:cubicBezTo>
                    <a:close/>
                    <a:moveTo>
                      <a:pt x="2" y="3"/>
                    </a:moveTo>
                    <a:cubicBezTo>
                      <a:pt x="2" y="3"/>
                      <a:pt x="2" y="3"/>
                      <a:pt x="2" y="3"/>
                    </a:cubicBezTo>
                    <a:cubicBezTo>
                      <a:pt x="2" y="3"/>
                      <a:pt x="2" y="3"/>
                      <a:pt x="2" y="3"/>
                    </a:cubicBezTo>
                    <a:close/>
                    <a:moveTo>
                      <a:pt x="4" y="3"/>
                    </a:moveTo>
                    <a:cubicBezTo>
                      <a:pt x="4" y="3"/>
                      <a:pt x="4" y="3"/>
                      <a:pt x="4" y="3"/>
                    </a:cubicBezTo>
                    <a:cubicBezTo>
                      <a:pt x="4" y="3"/>
                      <a:pt x="4" y="3"/>
                      <a:pt x="4" y="3"/>
                    </a:cubicBezTo>
                    <a:close/>
                    <a:moveTo>
                      <a:pt x="3" y="4"/>
                    </a:moveTo>
                    <a:cubicBezTo>
                      <a:pt x="3" y="4"/>
                      <a:pt x="3" y="4"/>
                      <a:pt x="3" y="4"/>
                    </a:cubicBezTo>
                    <a:cubicBezTo>
                      <a:pt x="3" y="4"/>
                      <a:pt x="3" y="4"/>
                      <a:pt x="3" y="4"/>
                    </a:cubicBezTo>
                    <a:close/>
                    <a:moveTo>
                      <a:pt x="3" y="44"/>
                    </a:moveTo>
                    <a:cubicBezTo>
                      <a:pt x="3" y="44"/>
                      <a:pt x="3" y="44"/>
                      <a:pt x="2" y="44"/>
                    </a:cubicBezTo>
                    <a:cubicBezTo>
                      <a:pt x="2" y="44"/>
                      <a:pt x="3" y="44"/>
                      <a:pt x="3" y="44"/>
                    </a:cubicBezTo>
                    <a:close/>
                    <a:moveTo>
                      <a:pt x="8" y="13"/>
                    </a:moveTo>
                    <a:cubicBezTo>
                      <a:pt x="8" y="13"/>
                      <a:pt x="8" y="13"/>
                      <a:pt x="8" y="13"/>
                    </a:cubicBezTo>
                    <a:cubicBezTo>
                      <a:pt x="8" y="13"/>
                      <a:pt x="8" y="13"/>
                      <a:pt x="8" y="13"/>
                    </a:cubicBezTo>
                    <a:close/>
                    <a:moveTo>
                      <a:pt x="10" y="46"/>
                    </a:moveTo>
                    <a:cubicBezTo>
                      <a:pt x="10" y="45"/>
                      <a:pt x="10" y="46"/>
                      <a:pt x="10" y="46"/>
                    </a:cubicBezTo>
                    <a:cubicBezTo>
                      <a:pt x="10" y="46"/>
                      <a:pt x="10" y="46"/>
                      <a:pt x="10" y="46"/>
                    </a:cubicBezTo>
                    <a:close/>
                    <a:moveTo>
                      <a:pt x="8" y="46"/>
                    </a:moveTo>
                    <a:cubicBezTo>
                      <a:pt x="8" y="46"/>
                      <a:pt x="8" y="46"/>
                      <a:pt x="8" y="46"/>
                    </a:cubicBezTo>
                    <a:cubicBezTo>
                      <a:pt x="8" y="46"/>
                      <a:pt x="8" y="46"/>
                      <a:pt x="8" y="46"/>
                    </a:cubicBezTo>
                    <a:close/>
                    <a:moveTo>
                      <a:pt x="10" y="46"/>
                    </a:moveTo>
                    <a:cubicBezTo>
                      <a:pt x="10" y="47"/>
                      <a:pt x="10" y="47"/>
                      <a:pt x="10" y="47"/>
                    </a:cubicBezTo>
                    <a:cubicBezTo>
                      <a:pt x="10" y="47"/>
                      <a:pt x="10" y="47"/>
                      <a:pt x="10" y="46"/>
                    </a:cubicBezTo>
                    <a:close/>
                    <a:moveTo>
                      <a:pt x="4" y="7"/>
                    </a:moveTo>
                    <a:cubicBezTo>
                      <a:pt x="4" y="7"/>
                      <a:pt x="4" y="7"/>
                      <a:pt x="4" y="7"/>
                    </a:cubicBezTo>
                    <a:cubicBezTo>
                      <a:pt x="4" y="7"/>
                      <a:pt x="4" y="7"/>
                      <a:pt x="4" y="7"/>
                    </a:cubicBezTo>
                    <a:close/>
                    <a:moveTo>
                      <a:pt x="4" y="9"/>
                    </a:moveTo>
                    <a:cubicBezTo>
                      <a:pt x="4" y="9"/>
                      <a:pt x="4" y="9"/>
                      <a:pt x="4" y="9"/>
                    </a:cubicBezTo>
                    <a:cubicBezTo>
                      <a:pt x="4" y="9"/>
                      <a:pt x="4" y="9"/>
                      <a:pt x="4" y="9"/>
                    </a:cubicBezTo>
                    <a:close/>
                    <a:moveTo>
                      <a:pt x="4" y="8"/>
                    </a:moveTo>
                    <a:cubicBezTo>
                      <a:pt x="4" y="8"/>
                      <a:pt x="4" y="8"/>
                      <a:pt x="4" y="8"/>
                    </a:cubicBezTo>
                    <a:cubicBezTo>
                      <a:pt x="4" y="8"/>
                      <a:pt x="4" y="8"/>
                      <a:pt x="4" y="8"/>
                    </a:cubicBezTo>
                    <a:close/>
                    <a:moveTo>
                      <a:pt x="4" y="9"/>
                    </a:moveTo>
                    <a:cubicBezTo>
                      <a:pt x="4" y="9"/>
                      <a:pt x="4" y="9"/>
                      <a:pt x="4" y="9"/>
                    </a:cubicBezTo>
                    <a:cubicBezTo>
                      <a:pt x="4" y="9"/>
                      <a:pt x="4" y="9"/>
                      <a:pt x="4" y="9"/>
                    </a:cubicBezTo>
                    <a:close/>
                    <a:moveTo>
                      <a:pt x="9" y="70"/>
                    </a:moveTo>
                    <a:cubicBezTo>
                      <a:pt x="9" y="70"/>
                      <a:pt x="9" y="70"/>
                      <a:pt x="9" y="70"/>
                    </a:cubicBezTo>
                    <a:cubicBezTo>
                      <a:pt x="9" y="70"/>
                      <a:pt x="9" y="70"/>
                      <a:pt x="9" y="70"/>
                    </a:cubicBezTo>
                    <a:close/>
                    <a:moveTo>
                      <a:pt x="6" y="69"/>
                    </a:moveTo>
                    <a:cubicBezTo>
                      <a:pt x="6" y="69"/>
                      <a:pt x="6" y="69"/>
                      <a:pt x="6" y="69"/>
                    </a:cubicBezTo>
                    <a:cubicBezTo>
                      <a:pt x="6" y="69"/>
                      <a:pt x="6" y="69"/>
                      <a:pt x="6" y="69"/>
                    </a:cubicBezTo>
                    <a:close/>
                    <a:moveTo>
                      <a:pt x="9" y="58"/>
                    </a:moveTo>
                    <a:cubicBezTo>
                      <a:pt x="9" y="58"/>
                      <a:pt x="9" y="58"/>
                      <a:pt x="9" y="58"/>
                    </a:cubicBezTo>
                    <a:cubicBezTo>
                      <a:pt x="9" y="58"/>
                      <a:pt x="9" y="58"/>
                      <a:pt x="9" y="58"/>
                    </a:cubicBezTo>
                    <a:close/>
                    <a:moveTo>
                      <a:pt x="9" y="71"/>
                    </a:moveTo>
                    <a:cubicBezTo>
                      <a:pt x="9" y="71"/>
                      <a:pt x="10" y="71"/>
                      <a:pt x="9" y="71"/>
                    </a:cubicBezTo>
                    <a:cubicBezTo>
                      <a:pt x="9" y="71"/>
                      <a:pt x="9" y="71"/>
                      <a:pt x="9" y="71"/>
                    </a:cubicBezTo>
                    <a:close/>
                    <a:moveTo>
                      <a:pt x="3" y="30"/>
                    </a:moveTo>
                    <a:cubicBezTo>
                      <a:pt x="3" y="30"/>
                      <a:pt x="3" y="30"/>
                      <a:pt x="3" y="30"/>
                    </a:cubicBezTo>
                    <a:cubicBezTo>
                      <a:pt x="3" y="30"/>
                      <a:pt x="3" y="30"/>
                      <a:pt x="3" y="30"/>
                    </a:cubicBezTo>
                    <a:close/>
                    <a:moveTo>
                      <a:pt x="11" y="29"/>
                    </a:moveTo>
                    <a:cubicBezTo>
                      <a:pt x="11" y="29"/>
                      <a:pt x="11" y="29"/>
                      <a:pt x="11" y="29"/>
                    </a:cubicBezTo>
                    <a:cubicBezTo>
                      <a:pt x="11" y="29"/>
                      <a:pt x="11" y="29"/>
                      <a:pt x="11" y="29"/>
                    </a:cubicBezTo>
                    <a:close/>
                    <a:moveTo>
                      <a:pt x="10" y="30"/>
                    </a:moveTo>
                    <a:cubicBezTo>
                      <a:pt x="10" y="30"/>
                      <a:pt x="10" y="30"/>
                      <a:pt x="10" y="30"/>
                    </a:cubicBezTo>
                    <a:cubicBezTo>
                      <a:pt x="10" y="30"/>
                      <a:pt x="10" y="30"/>
                      <a:pt x="10" y="30"/>
                    </a:cubicBezTo>
                    <a:close/>
                    <a:moveTo>
                      <a:pt x="9" y="30"/>
                    </a:moveTo>
                    <a:cubicBezTo>
                      <a:pt x="9" y="30"/>
                      <a:pt x="9" y="30"/>
                      <a:pt x="9" y="30"/>
                    </a:cubicBezTo>
                    <a:cubicBezTo>
                      <a:pt x="9" y="30"/>
                      <a:pt x="9" y="30"/>
                      <a:pt x="9" y="30"/>
                    </a:cubicBezTo>
                    <a:close/>
                    <a:moveTo>
                      <a:pt x="9" y="31"/>
                    </a:moveTo>
                    <a:cubicBezTo>
                      <a:pt x="9" y="31"/>
                      <a:pt x="9" y="31"/>
                      <a:pt x="9" y="31"/>
                    </a:cubicBezTo>
                    <a:cubicBezTo>
                      <a:pt x="9" y="31"/>
                      <a:pt x="9" y="31"/>
                      <a:pt x="9" y="31"/>
                    </a:cubicBezTo>
                    <a:close/>
                    <a:moveTo>
                      <a:pt x="3" y="31"/>
                    </a:moveTo>
                    <a:cubicBezTo>
                      <a:pt x="3" y="31"/>
                      <a:pt x="3" y="31"/>
                      <a:pt x="3" y="31"/>
                    </a:cubicBezTo>
                    <a:cubicBezTo>
                      <a:pt x="3" y="31"/>
                      <a:pt x="3" y="31"/>
                      <a:pt x="3" y="31"/>
                    </a:cubicBezTo>
                    <a:close/>
                    <a:moveTo>
                      <a:pt x="3" y="31"/>
                    </a:moveTo>
                    <a:cubicBezTo>
                      <a:pt x="3" y="31"/>
                      <a:pt x="3" y="31"/>
                      <a:pt x="3" y="31"/>
                    </a:cubicBezTo>
                    <a:cubicBezTo>
                      <a:pt x="3" y="31"/>
                      <a:pt x="3" y="31"/>
                      <a:pt x="3" y="31"/>
                    </a:cubicBezTo>
                    <a:cubicBezTo>
                      <a:pt x="3" y="31"/>
                      <a:pt x="3" y="31"/>
                      <a:pt x="3" y="31"/>
                    </a:cubicBezTo>
                    <a:close/>
                    <a:moveTo>
                      <a:pt x="8" y="32"/>
                    </a:moveTo>
                    <a:cubicBezTo>
                      <a:pt x="8" y="32"/>
                      <a:pt x="8" y="32"/>
                      <a:pt x="8" y="32"/>
                    </a:cubicBezTo>
                    <a:cubicBezTo>
                      <a:pt x="8" y="32"/>
                      <a:pt x="8" y="32"/>
                      <a:pt x="8" y="32"/>
                    </a:cubicBezTo>
                    <a:close/>
                    <a:moveTo>
                      <a:pt x="8" y="32"/>
                    </a:moveTo>
                    <a:cubicBezTo>
                      <a:pt x="8" y="32"/>
                      <a:pt x="8" y="32"/>
                      <a:pt x="8" y="32"/>
                    </a:cubicBezTo>
                    <a:cubicBezTo>
                      <a:pt x="8" y="32"/>
                      <a:pt x="8" y="32"/>
                      <a:pt x="8" y="32"/>
                    </a:cubicBezTo>
                    <a:close/>
                    <a:moveTo>
                      <a:pt x="8" y="33"/>
                    </a:moveTo>
                    <a:cubicBezTo>
                      <a:pt x="8" y="33"/>
                      <a:pt x="8" y="33"/>
                      <a:pt x="8" y="33"/>
                    </a:cubicBezTo>
                    <a:cubicBezTo>
                      <a:pt x="8" y="33"/>
                      <a:pt x="8" y="33"/>
                      <a:pt x="8" y="33"/>
                    </a:cubicBezTo>
                    <a:close/>
                    <a:moveTo>
                      <a:pt x="7" y="52"/>
                    </a:moveTo>
                    <a:cubicBezTo>
                      <a:pt x="7" y="53"/>
                      <a:pt x="7" y="53"/>
                      <a:pt x="7" y="53"/>
                    </a:cubicBezTo>
                    <a:cubicBezTo>
                      <a:pt x="7" y="53"/>
                      <a:pt x="7" y="53"/>
                      <a:pt x="7" y="52"/>
                    </a:cubicBezTo>
                    <a:close/>
                    <a:moveTo>
                      <a:pt x="3" y="53"/>
                    </a:moveTo>
                    <a:cubicBezTo>
                      <a:pt x="3" y="53"/>
                      <a:pt x="3" y="53"/>
                      <a:pt x="3" y="53"/>
                    </a:cubicBezTo>
                    <a:cubicBezTo>
                      <a:pt x="3" y="53"/>
                      <a:pt x="3" y="53"/>
                      <a:pt x="3" y="53"/>
                    </a:cubicBezTo>
                    <a:close/>
                    <a:moveTo>
                      <a:pt x="9" y="73"/>
                    </a:moveTo>
                    <a:cubicBezTo>
                      <a:pt x="9" y="73"/>
                      <a:pt x="9" y="73"/>
                      <a:pt x="9" y="73"/>
                    </a:cubicBezTo>
                    <a:cubicBezTo>
                      <a:pt x="9" y="73"/>
                      <a:pt x="9" y="73"/>
                      <a:pt x="9" y="73"/>
                    </a:cubicBezTo>
                    <a:close/>
                    <a:moveTo>
                      <a:pt x="3" y="73"/>
                    </a:moveTo>
                    <a:cubicBezTo>
                      <a:pt x="3" y="73"/>
                      <a:pt x="3" y="73"/>
                      <a:pt x="4" y="73"/>
                    </a:cubicBezTo>
                    <a:cubicBezTo>
                      <a:pt x="3" y="73"/>
                      <a:pt x="3" y="73"/>
                      <a:pt x="3" y="73"/>
                    </a:cubicBezTo>
                    <a:close/>
                    <a:moveTo>
                      <a:pt x="3" y="74"/>
                    </a:moveTo>
                    <a:cubicBezTo>
                      <a:pt x="3" y="74"/>
                      <a:pt x="3" y="74"/>
                      <a:pt x="3" y="74"/>
                    </a:cubicBezTo>
                    <a:cubicBezTo>
                      <a:pt x="3" y="74"/>
                      <a:pt x="3" y="74"/>
                      <a:pt x="3" y="74"/>
                    </a:cubicBezTo>
                    <a:close/>
                    <a:moveTo>
                      <a:pt x="9" y="74"/>
                    </a:moveTo>
                    <a:cubicBezTo>
                      <a:pt x="9" y="74"/>
                      <a:pt x="9" y="74"/>
                      <a:pt x="9" y="74"/>
                    </a:cubicBezTo>
                    <a:cubicBezTo>
                      <a:pt x="9" y="74"/>
                      <a:pt x="9" y="74"/>
                      <a:pt x="9" y="74"/>
                    </a:cubicBezTo>
                    <a:close/>
                    <a:moveTo>
                      <a:pt x="0" y="34"/>
                    </a:moveTo>
                    <a:cubicBezTo>
                      <a:pt x="0" y="34"/>
                      <a:pt x="0" y="34"/>
                      <a:pt x="0" y="34"/>
                    </a:cubicBezTo>
                    <a:cubicBezTo>
                      <a:pt x="0" y="34"/>
                      <a:pt x="0" y="34"/>
                      <a:pt x="0" y="34"/>
                    </a:cubicBezTo>
                    <a:close/>
                    <a:moveTo>
                      <a:pt x="3" y="42"/>
                    </a:moveTo>
                    <a:cubicBezTo>
                      <a:pt x="3" y="42"/>
                      <a:pt x="3" y="42"/>
                      <a:pt x="3" y="42"/>
                    </a:cubicBezTo>
                    <a:cubicBezTo>
                      <a:pt x="3" y="42"/>
                      <a:pt x="3" y="42"/>
                      <a:pt x="3" y="42"/>
                    </a:cubicBezTo>
                    <a:close/>
                    <a:moveTo>
                      <a:pt x="4" y="42"/>
                    </a:moveTo>
                    <a:cubicBezTo>
                      <a:pt x="4" y="42"/>
                      <a:pt x="4" y="42"/>
                      <a:pt x="4" y="42"/>
                    </a:cubicBezTo>
                    <a:cubicBezTo>
                      <a:pt x="4" y="42"/>
                      <a:pt x="4" y="42"/>
                      <a:pt x="4" y="42"/>
                    </a:cubicBezTo>
                    <a:close/>
                    <a:moveTo>
                      <a:pt x="3" y="53"/>
                    </a:moveTo>
                    <a:cubicBezTo>
                      <a:pt x="3" y="53"/>
                      <a:pt x="3" y="53"/>
                      <a:pt x="3" y="53"/>
                    </a:cubicBezTo>
                    <a:cubicBezTo>
                      <a:pt x="3" y="53"/>
                      <a:pt x="3" y="53"/>
                      <a:pt x="3" y="53"/>
                    </a:cubicBezTo>
                    <a:close/>
                    <a:moveTo>
                      <a:pt x="5" y="54"/>
                    </a:moveTo>
                    <a:cubicBezTo>
                      <a:pt x="5" y="54"/>
                      <a:pt x="5" y="54"/>
                      <a:pt x="5" y="54"/>
                    </a:cubicBezTo>
                    <a:cubicBezTo>
                      <a:pt x="5" y="54"/>
                      <a:pt x="5" y="54"/>
                      <a:pt x="5" y="54"/>
                    </a:cubicBezTo>
                    <a:close/>
                    <a:moveTo>
                      <a:pt x="5" y="54"/>
                    </a:moveTo>
                    <a:cubicBezTo>
                      <a:pt x="5" y="54"/>
                      <a:pt x="5" y="54"/>
                      <a:pt x="5" y="54"/>
                    </a:cubicBezTo>
                    <a:cubicBezTo>
                      <a:pt x="5" y="54"/>
                      <a:pt x="5" y="54"/>
                      <a:pt x="5" y="5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2" name="Malaysia">
                <a:extLst>
                  <a:ext uri="{FF2B5EF4-FFF2-40B4-BE49-F238E27FC236}">
                    <a16:creationId xmlns:a16="http://schemas.microsoft.com/office/drawing/2014/main" id="{E9170EFC-E7CC-74F9-2D6B-48B79643BEF4}"/>
                  </a:ext>
                </a:extLst>
              </p:cNvPr>
              <p:cNvSpPr>
                <a:spLocks noEditPoints="1"/>
              </p:cNvSpPr>
              <p:nvPr/>
            </p:nvSpPr>
            <p:spPr bwMode="auto">
              <a:xfrm>
                <a:off x="9114515" y="3757161"/>
                <a:ext cx="675334" cy="254844"/>
              </a:xfrm>
              <a:custGeom>
                <a:avLst/>
                <a:gdLst/>
                <a:ahLst/>
                <a:cxnLst>
                  <a:cxn ang="0">
                    <a:pos x="181" y="26"/>
                  </a:cxn>
                  <a:cxn ang="0">
                    <a:pos x="185" y="33"/>
                  </a:cxn>
                  <a:cxn ang="0">
                    <a:pos x="175" y="34"/>
                  </a:cxn>
                  <a:cxn ang="0">
                    <a:pos x="164" y="34"/>
                  </a:cxn>
                  <a:cxn ang="0">
                    <a:pos x="157" y="35"/>
                  </a:cxn>
                  <a:cxn ang="0">
                    <a:pos x="156" y="44"/>
                  </a:cxn>
                  <a:cxn ang="0">
                    <a:pos x="153" y="48"/>
                  </a:cxn>
                  <a:cxn ang="0">
                    <a:pos x="149" y="56"/>
                  </a:cxn>
                  <a:cxn ang="0">
                    <a:pos x="144" y="65"/>
                  </a:cxn>
                  <a:cxn ang="0">
                    <a:pos x="133" y="66"/>
                  </a:cxn>
                  <a:cxn ang="0">
                    <a:pos x="124" y="65"/>
                  </a:cxn>
                  <a:cxn ang="0">
                    <a:pos x="117" y="71"/>
                  </a:cxn>
                  <a:cxn ang="0">
                    <a:pos x="107" y="71"/>
                  </a:cxn>
                  <a:cxn ang="0">
                    <a:pos x="99" y="64"/>
                  </a:cxn>
                  <a:cxn ang="0">
                    <a:pos x="103" y="63"/>
                  </a:cxn>
                  <a:cxn ang="0">
                    <a:pos x="107" y="64"/>
                  </a:cxn>
                  <a:cxn ang="0">
                    <a:pos x="115" y="66"/>
                  </a:cxn>
                  <a:cxn ang="0">
                    <a:pos x="113" y="62"/>
                  </a:cxn>
                  <a:cxn ang="0">
                    <a:pos x="114" y="58"/>
                  </a:cxn>
                  <a:cxn ang="0">
                    <a:pos x="116" y="54"/>
                  </a:cxn>
                  <a:cxn ang="0">
                    <a:pos x="131" y="46"/>
                  </a:cxn>
                  <a:cxn ang="0">
                    <a:pos x="140" y="31"/>
                  </a:cxn>
                  <a:cxn ang="0">
                    <a:pos x="148" y="34"/>
                  </a:cxn>
                  <a:cxn ang="0">
                    <a:pos x="150" y="32"/>
                  </a:cxn>
                  <a:cxn ang="0">
                    <a:pos x="151" y="27"/>
                  </a:cxn>
                  <a:cxn ang="0">
                    <a:pos x="153" y="23"/>
                  </a:cxn>
                  <a:cxn ang="0">
                    <a:pos x="159" y="17"/>
                  </a:cxn>
                  <a:cxn ang="0">
                    <a:pos x="163" y="9"/>
                  </a:cxn>
                  <a:cxn ang="0">
                    <a:pos x="168" y="6"/>
                  </a:cxn>
                  <a:cxn ang="0">
                    <a:pos x="173" y="8"/>
                  </a:cxn>
                  <a:cxn ang="0">
                    <a:pos x="174" y="15"/>
                  </a:cxn>
                  <a:cxn ang="0">
                    <a:pos x="179" y="19"/>
                  </a:cxn>
                  <a:cxn ang="0">
                    <a:pos x="185" y="20"/>
                  </a:cxn>
                  <a:cxn ang="0">
                    <a:pos x="45" y="61"/>
                  </a:cxn>
                  <a:cxn ang="0">
                    <a:pos x="37" y="40"/>
                  </a:cxn>
                  <a:cxn ang="0">
                    <a:pos x="36" y="26"/>
                  </a:cxn>
                  <a:cxn ang="0">
                    <a:pos x="27" y="15"/>
                  </a:cxn>
                  <a:cxn ang="0">
                    <a:pos x="21" y="18"/>
                  </a:cxn>
                  <a:cxn ang="0">
                    <a:pos x="14" y="18"/>
                  </a:cxn>
                  <a:cxn ang="0">
                    <a:pos x="11" y="11"/>
                  </a:cxn>
                  <a:cxn ang="0">
                    <a:pos x="6" y="8"/>
                  </a:cxn>
                  <a:cxn ang="0">
                    <a:pos x="7" y="21"/>
                  </a:cxn>
                  <a:cxn ang="0">
                    <a:pos x="9" y="28"/>
                  </a:cxn>
                  <a:cxn ang="0">
                    <a:pos x="10" y="35"/>
                  </a:cxn>
                  <a:cxn ang="0">
                    <a:pos x="13" y="40"/>
                  </a:cxn>
                  <a:cxn ang="0">
                    <a:pos x="17" y="50"/>
                  </a:cxn>
                  <a:cxn ang="0">
                    <a:pos x="27" y="57"/>
                  </a:cxn>
                  <a:cxn ang="0">
                    <a:pos x="37" y="64"/>
                  </a:cxn>
                  <a:cxn ang="0">
                    <a:pos x="45" y="64"/>
                  </a:cxn>
                  <a:cxn ang="0">
                    <a:pos x="2" y="12"/>
                  </a:cxn>
                  <a:cxn ang="0">
                    <a:pos x="1" y="11"/>
                  </a:cxn>
                  <a:cxn ang="0">
                    <a:pos x="1" y="11"/>
                  </a:cxn>
                  <a:cxn ang="0">
                    <a:pos x="151" y="23"/>
                  </a:cxn>
                  <a:cxn ang="0">
                    <a:pos x="170" y="2"/>
                  </a:cxn>
                  <a:cxn ang="0">
                    <a:pos x="172" y="7"/>
                  </a:cxn>
                  <a:cxn ang="0">
                    <a:pos x="6" y="21"/>
                  </a:cxn>
                  <a:cxn ang="0">
                    <a:pos x="115" y="53"/>
                  </a:cxn>
                </a:cxnLst>
                <a:rect l="0" t="0" r="r" b="b"/>
                <a:pathLst>
                  <a:path w="191" h="72">
                    <a:moveTo>
                      <a:pt x="190" y="24"/>
                    </a:moveTo>
                    <a:cubicBezTo>
                      <a:pt x="190" y="25"/>
                      <a:pt x="190" y="25"/>
                      <a:pt x="189" y="25"/>
                    </a:cubicBezTo>
                    <a:cubicBezTo>
                      <a:pt x="188" y="26"/>
                      <a:pt x="187" y="26"/>
                      <a:pt x="187" y="26"/>
                    </a:cubicBezTo>
                    <a:cubicBezTo>
                      <a:pt x="186" y="27"/>
                      <a:pt x="185" y="27"/>
                      <a:pt x="185" y="27"/>
                    </a:cubicBezTo>
                    <a:cubicBezTo>
                      <a:pt x="184" y="27"/>
                      <a:pt x="183" y="27"/>
                      <a:pt x="183" y="27"/>
                    </a:cubicBezTo>
                    <a:cubicBezTo>
                      <a:pt x="183" y="26"/>
                      <a:pt x="183" y="26"/>
                      <a:pt x="182" y="26"/>
                    </a:cubicBezTo>
                    <a:cubicBezTo>
                      <a:pt x="182" y="26"/>
                      <a:pt x="181" y="26"/>
                      <a:pt x="181" y="26"/>
                    </a:cubicBezTo>
                    <a:cubicBezTo>
                      <a:pt x="181" y="27"/>
                      <a:pt x="181" y="26"/>
                      <a:pt x="181" y="27"/>
                    </a:cubicBezTo>
                    <a:cubicBezTo>
                      <a:pt x="180" y="27"/>
                      <a:pt x="180" y="28"/>
                      <a:pt x="180" y="28"/>
                    </a:cubicBezTo>
                    <a:cubicBezTo>
                      <a:pt x="180" y="29"/>
                      <a:pt x="181" y="29"/>
                      <a:pt x="181" y="30"/>
                    </a:cubicBezTo>
                    <a:cubicBezTo>
                      <a:pt x="182" y="30"/>
                      <a:pt x="182" y="31"/>
                      <a:pt x="183" y="31"/>
                    </a:cubicBezTo>
                    <a:cubicBezTo>
                      <a:pt x="183" y="31"/>
                      <a:pt x="183" y="31"/>
                      <a:pt x="183" y="31"/>
                    </a:cubicBezTo>
                    <a:cubicBezTo>
                      <a:pt x="183" y="32"/>
                      <a:pt x="184" y="32"/>
                      <a:pt x="184" y="32"/>
                    </a:cubicBezTo>
                    <a:cubicBezTo>
                      <a:pt x="184" y="32"/>
                      <a:pt x="185" y="32"/>
                      <a:pt x="185" y="33"/>
                    </a:cubicBezTo>
                    <a:cubicBezTo>
                      <a:pt x="185" y="33"/>
                      <a:pt x="185" y="33"/>
                      <a:pt x="185" y="33"/>
                    </a:cubicBezTo>
                    <a:cubicBezTo>
                      <a:pt x="184" y="33"/>
                      <a:pt x="184" y="33"/>
                      <a:pt x="184" y="33"/>
                    </a:cubicBezTo>
                    <a:cubicBezTo>
                      <a:pt x="183" y="34"/>
                      <a:pt x="182" y="33"/>
                      <a:pt x="181" y="34"/>
                    </a:cubicBezTo>
                    <a:cubicBezTo>
                      <a:pt x="180" y="34"/>
                      <a:pt x="179" y="35"/>
                      <a:pt x="177" y="34"/>
                    </a:cubicBezTo>
                    <a:cubicBezTo>
                      <a:pt x="177" y="34"/>
                      <a:pt x="176" y="34"/>
                      <a:pt x="176" y="33"/>
                    </a:cubicBezTo>
                    <a:cubicBezTo>
                      <a:pt x="175" y="33"/>
                      <a:pt x="175" y="32"/>
                      <a:pt x="175" y="33"/>
                    </a:cubicBezTo>
                    <a:cubicBezTo>
                      <a:pt x="175" y="34"/>
                      <a:pt x="176" y="34"/>
                      <a:pt x="175" y="34"/>
                    </a:cubicBezTo>
                    <a:cubicBezTo>
                      <a:pt x="175" y="34"/>
                      <a:pt x="175" y="35"/>
                      <a:pt x="175" y="35"/>
                    </a:cubicBezTo>
                    <a:cubicBezTo>
                      <a:pt x="174" y="36"/>
                      <a:pt x="174" y="35"/>
                      <a:pt x="173" y="35"/>
                    </a:cubicBezTo>
                    <a:cubicBezTo>
                      <a:pt x="172" y="34"/>
                      <a:pt x="171" y="33"/>
                      <a:pt x="171" y="33"/>
                    </a:cubicBezTo>
                    <a:cubicBezTo>
                      <a:pt x="170" y="34"/>
                      <a:pt x="169" y="34"/>
                      <a:pt x="168" y="34"/>
                    </a:cubicBezTo>
                    <a:cubicBezTo>
                      <a:pt x="167" y="34"/>
                      <a:pt x="167" y="33"/>
                      <a:pt x="166" y="33"/>
                    </a:cubicBezTo>
                    <a:cubicBezTo>
                      <a:pt x="166" y="33"/>
                      <a:pt x="166" y="34"/>
                      <a:pt x="165" y="33"/>
                    </a:cubicBezTo>
                    <a:cubicBezTo>
                      <a:pt x="164" y="33"/>
                      <a:pt x="165" y="34"/>
                      <a:pt x="164" y="34"/>
                    </a:cubicBezTo>
                    <a:cubicBezTo>
                      <a:pt x="163" y="34"/>
                      <a:pt x="163" y="33"/>
                      <a:pt x="163" y="33"/>
                    </a:cubicBezTo>
                    <a:cubicBezTo>
                      <a:pt x="163" y="33"/>
                      <a:pt x="162" y="33"/>
                      <a:pt x="162" y="33"/>
                    </a:cubicBezTo>
                    <a:cubicBezTo>
                      <a:pt x="161" y="33"/>
                      <a:pt x="161" y="33"/>
                      <a:pt x="160" y="34"/>
                    </a:cubicBezTo>
                    <a:cubicBezTo>
                      <a:pt x="160" y="34"/>
                      <a:pt x="160" y="34"/>
                      <a:pt x="159" y="34"/>
                    </a:cubicBezTo>
                    <a:cubicBezTo>
                      <a:pt x="159" y="34"/>
                      <a:pt x="159" y="34"/>
                      <a:pt x="158" y="33"/>
                    </a:cubicBezTo>
                    <a:cubicBezTo>
                      <a:pt x="158" y="33"/>
                      <a:pt x="158" y="34"/>
                      <a:pt x="158" y="34"/>
                    </a:cubicBezTo>
                    <a:cubicBezTo>
                      <a:pt x="157" y="35"/>
                      <a:pt x="157" y="34"/>
                      <a:pt x="157" y="35"/>
                    </a:cubicBezTo>
                    <a:cubicBezTo>
                      <a:pt x="157" y="35"/>
                      <a:pt x="156" y="36"/>
                      <a:pt x="156" y="36"/>
                    </a:cubicBezTo>
                    <a:cubicBezTo>
                      <a:pt x="156" y="36"/>
                      <a:pt x="156" y="37"/>
                      <a:pt x="156" y="37"/>
                    </a:cubicBezTo>
                    <a:cubicBezTo>
                      <a:pt x="156" y="38"/>
                      <a:pt x="155" y="38"/>
                      <a:pt x="155" y="38"/>
                    </a:cubicBezTo>
                    <a:cubicBezTo>
                      <a:pt x="156" y="39"/>
                      <a:pt x="156" y="39"/>
                      <a:pt x="156" y="39"/>
                    </a:cubicBezTo>
                    <a:cubicBezTo>
                      <a:pt x="156" y="40"/>
                      <a:pt x="156" y="40"/>
                      <a:pt x="156" y="41"/>
                    </a:cubicBezTo>
                    <a:cubicBezTo>
                      <a:pt x="156" y="41"/>
                      <a:pt x="156" y="43"/>
                      <a:pt x="156" y="44"/>
                    </a:cubicBezTo>
                    <a:cubicBezTo>
                      <a:pt x="156" y="44"/>
                      <a:pt x="156" y="44"/>
                      <a:pt x="156" y="44"/>
                    </a:cubicBezTo>
                    <a:cubicBezTo>
                      <a:pt x="156" y="44"/>
                      <a:pt x="155" y="44"/>
                      <a:pt x="155" y="44"/>
                    </a:cubicBezTo>
                    <a:cubicBezTo>
                      <a:pt x="155" y="45"/>
                      <a:pt x="155" y="45"/>
                      <a:pt x="155" y="46"/>
                    </a:cubicBezTo>
                    <a:cubicBezTo>
                      <a:pt x="155" y="46"/>
                      <a:pt x="155" y="46"/>
                      <a:pt x="155" y="46"/>
                    </a:cubicBezTo>
                    <a:cubicBezTo>
                      <a:pt x="155" y="46"/>
                      <a:pt x="155" y="46"/>
                      <a:pt x="155" y="46"/>
                    </a:cubicBezTo>
                    <a:cubicBezTo>
                      <a:pt x="155" y="47"/>
                      <a:pt x="155" y="47"/>
                      <a:pt x="155" y="48"/>
                    </a:cubicBezTo>
                    <a:cubicBezTo>
                      <a:pt x="155" y="48"/>
                      <a:pt x="154" y="48"/>
                      <a:pt x="154" y="48"/>
                    </a:cubicBezTo>
                    <a:cubicBezTo>
                      <a:pt x="154" y="48"/>
                      <a:pt x="153" y="48"/>
                      <a:pt x="153" y="48"/>
                    </a:cubicBezTo>
                    <a:cubicBezTo>
                      <a:pt x="152" y="48"/>
                      <a:pt x="152" y="50"/>
                      <a:pt x="151" y="50"/>
                    </a:cubicBezTo>
                    <a:cubicBezTo>
                      <a:pt x="152" y="51"/>
                      <a:pt x="150" y="52"/>
                      <a:pt x="151" y="53"/>
                    </a:cubicBezTo>
                    <a:cubicBezTo>
                      <a:pt x="152" y="53"/>
                      <a:pt x="152" y="53"/>
                      <a:pt x="152" y="53"/>
                    </a:cubicBezTo>
                    <a:cubicBezTo>
                      <a:pt x="152" y="53"/>
                      <a:pt x="152" y="53"/>
                      <a:pt x="153" y="53"/>
                    </a:cubicBezTo>
                    <a:cubicBezTo>
                      <a:pt x="153" y="54"/>
                      <a:pt x="151" y="54"/>
                      <a:pt x="151" y="55"/>
                    </a:cubicBezTo>
                    <a:cubicBezTo>
                      <a:pt x="151" y="55"/>
                      <a:pt x="150" y="55"/>
                      <a:pt x="150" y="55"/>
                    </a:cubicBezTo>
                    <a:cubicBezTo>
                      <a:pt x="150" y="56"/>
                      <a:pt x="150" y="56"/>
                      <a:pt x="149" y="56"/>
                    </a:cubicBezTo>
                    <a:cubicBezTo>
                      <a:pt x="149" y="56"/>
                      <a:pt x="148" y="57"/>
                      <a:pt x="148" y="57"/>
                    </a:cubicBezTo>
                    <a:cubicBezTo>
                      <a:pt x="148" y="58"/>
                      <a:pt x="148" y="59"/>
                      <a:pt x="149" y="59"/>
                    </a:cubicBezTo>
                    <a:cubicBezTo>
                      <a:pt x="150" y="58"/>
                      <a:pt x="149" y="61"/>
                      <a:pt x="148" y="61"/>
                    </a:cubicBezTo>
                    <a:cubicBezTo>
                      <a:pt x="148" y="61"/>
                      <a:pt x="148" y="61"/>
                      <a:pt x="148" y="62"/>
                    </a:cubicBezTo>
                    <a:cubicBezTo>
                      <a:pt x="148" y="63"/>
                      <a:pt x="147" y="63"/>
                      <a:pt x="147" y="64"/>
                    </a:cubicBezTo>
                    <a:cubicBezTo>
                      <a:pt x="146" y="64"/>
                      <a:pt x="147" y="66"/>
                      <a:pt x="146" y="65"/>
                    </a:cubicBezTo>
                    <a:cubicBezTo>
                      <a:pt x="145" y="65"/>
                      <a:pt x="145" y="65"/>
                      <a:pt x="144" y="65"/>
                    </a:cubicBezTo>
                    <a:cubicBezTo>
                      <a:pt x="144" y="65"/>
                      <a:pt x="143" y="66"/>
                      <a:pt x="142" y="65"/>
                    </a:cubicBezTo>
                    <a:cubicBezTo>
                      <a:pt x="142" y="65"/>
                      <a:pt x="141" y="65"/>
                      <a:pt x="141" y="65"/>
                    </a:cubicBezTo>
                    <a:cubicBezTo>
                      <a:pt x="140" y="65"/>
                      <a:pt x="140" y="66"/>
                      <a:pt x="139" y="66"/>
                    </a:cubicBezTo>
                    <a:cubicBezTo>
                      <a:pt x="139" y="67"/>
                      <a:pt x="138" y="68"/>
                      <a:pt x="138" y="68"/>
                    </a:cubicBezTo>
                    <a:cubicBezTo>
                      <a:pt x="137" y="68"/>
                      <a:pt x="137" y="67"/>
                      <a:pt x="136" y="67"/>
                    </a:cubicBezTo>
                    <a:cubicBezTo>
                      <a:pt x="136" y="67"/>
                      <a:pt x="136" y="67"/>
                      <a:pt x="135" y="67"/>
                    </a:cubicBezTo>
                    <a:cubicBezTo>
                      <a:pt x="134" y="66"/>
                      <a:pt x="134" y="66"/>
                      <a:pt x="133" y="66"/>
                    </a:cubicBezTo>
                    <a:cubicBezTo>
                      <a:pt x="133" y="66"/>
                      <a:pt x="132" y="66"/>
                      <a:pt x="132" y="66"/>
                    </a:cubicBezTo>
                    <a:cubicBezTo>
                      <a:pt x="132" y="66"/>
                      <a:pt x="131" y="66"/>
                      <a:pt x="131" y="65"/>
                    </a:cubicBezTo>
                    <a:cubicBezTo>
                      <a:pt x="132" y="65"/>
                      <a:pt x="132" y="64"/>
                      <a:pt x="131" y="64"/>
                    </a:cubicBezTo>
                    <a:cubicBezTo>
                      <a:pt x="130" y="64"/>
                      <a:pt x="130" y="64"/>
                      <a:pt x="130" y="64"/>
                    </a:cubicBezTo>
                    <a:cubicBezTo>
                      <a:pt x="129" y="64"/>
                      <a:pt x="128" y="64"/>
                      <a:pt x="128" y="64"/>
                    </a:cubicBezTo>
                    <a:cubicBezTo>
                      <a:pt x="127" y="64"/>
                      <a:pt x="126" y="64"/>
                      <a:pt x="125" y="65"/>
                    </a:cubicBezTo>
                    <a:cubicBezTo>
                      <a:pt x="125" y="65"/>
                      <a:pt x="124" y="65"/>
                      <a:pt x="124" y="65"/>
                    </a:cubicBezTo>
                    <a:cubicBezTo>
                      <a:pt x="123" y="66"/>
                      <a:pt x="124" y="66"/>
                      <a:pt x="124" y="66"/>
                    </a:cubicBezTo>
                    <a:cubicBezTo>
                      <a:pt x="124" y="67"/>
                      <a:pt x="123" y="67"/>
                      <a:pt x="123" y="67"/>
                    </a:cubicBezTo>
                    <a:cubicBezTo>
                      <a:pt x="123" y="68"/>
                      <a:pt x="123" y="68"/>
                      <a:pt x="123" y="68"/>
                    </a:cubicBezTo>
                    <a:cubicBezTo>
                      <a:pt x="123" y="69"/>
                      <a:pt x="122" y="69"/>
                      <a:pt x="121" y="69"/>
                    </a:cubicBezTo>
                    <a:cubicBezTo>
                      <a:pt x="121" y="69"/>
                      <a:pt x="121" y="70"/>
                      <a:pt x="120" y="70"/>
                    </a:cubicBezTo>
                    <a:cubicBezTo>
                      <a:pt x="119" y="71"/>
                      <a:pt x="119" y="70"/>
                      <a:pt x="118" y="70"/>
                    </a:cubicBezTo>
                    <a:cubicBezTo>
                      <a:pt x="118" y="70"/>
                      <a:pt x="117" y="70"/>
                      <a:pt x="117" y="71"/>
                    </a:cubicBezTo>
                    <a:cubicBezTo>
                      <a:pt x="117" y="71"/>
                      <a:pt x="117" y="70"/>
                      <a:pt x="117" y="70"/>
                    </a:cubicBezTo>
                    <a:cubicBezTo>
                      <a:pt x="116" y="70"/>
                      <a:pt x="115" y="70"/>
                      <a:pt x="114" y="69"/>
                    </a:cubicBezTo>
                    <a:cubicBezTo>
                      <a:pt x="113" y="69"/>
                      <a:pt x="112" y="70"/>
                      <a:pt x="112" y="70"/>
                    </a:cubicBezTo>
                    <a:cubicBezTo>
                      <a:pt x="111" y="70"/>
                      <a:pt x="111" y="71"/>
                      <a:pt x="110" y="71"/>
                    </a:cubicBezTo>
                    <a:cubicBezTo>
                      <a:pt x="110" y="71"/>
                      <a:pt x="109" y="72"/>
                      <a:pt x="109" y="72"/>
                    </a:cubicBezTo>
                    <a:cubicBezTo>
                      <a:pt x="108" y="71"/>
                      <a:pt x="108" y="72"/>
                      <a:pt x="108" y="72"/>
                    </a:cubicBezTo>
                    <a:cubicBezTo>
                      <a:pt x="108" y="72"/>
                      <a:pt x="107" y="72"/>
                      <a:pt x="107" y="71"/>
                    </a:cubicBezTo>
                    <a:cubicBezTo>
                      <a:pt x="106" y="71"/>
                      <a:pt x="106" y="70"/>
                      <a:pt x="105" y="70"/>
                    </a:cubicBezTo>
                    <a:cubicBezTo>
                      <a:pt x="105" y="70"/>
                      <a:pt x="104" y="69"/>
                      <a:pt x="104" y="68"/>
                    </a:cubicBezTo>
                    <a:cubicBezTo>
                      <a:pt x="104" y="68"/>
                      <a:pt x="104" y="68"/>
                      <a:pt x="103" y="68"/>
                    </a:cubicBezTo>
                    <a:cubicBezTo>
                      <a:pt x="103" y="68"/>
                      <a:pt x="102" y="67"/>
                      <a:pt x="102" y="67"/>
                    </a:cubicBezTo>
                    <a:cubicBezTo>
                      <a:pt x="102" y="67"/>
                      <a:pt x="102" y="66"/>
                      <a:pt x="102" y="66"/>
                    </a:cubicBezTo>
                    <a:cubicBezTo>
                      <a:pt x="101" y="66"/>
                      <a:pt x="101" y="66"/>
                      <a:pt x="101" y="66"/>
                    </a:cubicBezTo>
                    <a:cubicBezTo>
                      <a:pt x="100" y="65"/>
                      <a:pt x="100" y="65"/>
                      <a:pt x="99" y="64"/>
                    </a:cubicBezTo>
                    <a:cubicBezTo>
                      <a:pt x="99" y="63"/>
                      <a:pt x="99" y="63"/>
                      <a:pt x="99" y="62"/>
                    </a:cubicBezTo>
                    <a:cubicBezTo>
                      <a:pt x="99" y="61"/>
                      <a:pt x="98" y="62"/>
                      <a:pt x="98" y="61"/>
                    </a:cubicBezTo>
                    <a:cubicBezTo>
                      <a:pt x="98" y="60"/>
                      <a:pt x="98" y="60"/>
                      <a:pt x="98" y="60"/>
                    </a:cubicBezTo>
                    <a:cubicBezTo>
                      <a:pt x="98" y="59"/>
                      <a:pt x="98" y="59"/>
                      <a:pt x="99" y="58"/>
                    </a:cubicBezTo>
                    <a:cubicBezTo>
                      <a:pt x="99" y="59"/>
                      <a:pt x="99" y="60"/>
                      <a:pt x="99" y="60"/>
                    </a:cubicBezTo>
                    <a:cubicBezTo>
                      <a:pt x="99" y="61"/>
                      <a:pt x="100" y="61"/>
                      <a:pt x="101" y="62"/>
                    </a:cubicBezTo>
                    <a:cubicBezTo>
                      <a:pt x="101" y="63"/>
                      <a:pt x="102" y="63"/>
                      <a:pt x="103" y="63"/>
                    </a:cubicBezTo>
                    <a:cubicBezTo>
                      <a:pt x="103" y="63"/>
                      <a:pt x="104" y="63"/>
                      <a:pt x="104" y="63"/>
                    </a:cubicBezTo>
                    <a:cubicBezTo>
                      <a:pt x="104" y="63"/>
                      <a:pt x="104" y="62"/>
                      <a:pt x="105" y="63"/>
                    </a:cubicBezTo>
                    <a:cubicBezTo>
                      <a:pt x="105" y="63"/>
                      <a:pt x="105" y="63"/>
                      <a:pt x="105" y="62"/>
                    </a:cubicBezTo>
                    <a:cubicBezTo>
                      <a:pt x="105" y="62"/>
                      <a:pt x="105" y="61"/>
                      <a:pt x="106" y="62"/>
                    </a:cubicBezTo>
                    <a:cubicBezTo>
                      <a:pt x="106" y="63"/>
                      <a:pt x="106" y="62"/>
                      <a:pt x="107" y="62"/>
                    </a:cubicBezTo>
                    <a:cubicBezTo>
                      <a:pt x="107" y="62"/>
                      <a:pt x="107" y="63"/>
                      <a:pt x="107" y="63"/>
                    </a:cubicBezTo>
                    <a:cubicBezTo>
                      <a:pt x="107" y="63"/>
                      <a:pt x="107" y="63"/>
                      <a:pt x="107" y="64"/>
                    </a:cubicBezTo>
                    <a:cubicBezTo>
                      <a:pt x="107" y="64"/>
                      <a:pt x="108" y="64"/>
                      <a:pt x="108" y="64"/>
                    </a:cubicBezTo>
                    <a:cubicBezTo>
                      <a:pt x="109" y="64"/>
                      <a:pt x="109" y="64"/>
                      <a:pt x="109" y="65"/>
                    </a:cubicBezTo>
                    <a:cubicBezTo>
                      <a:pt x="110" y="66"/>
                      <a:pt x="109" y="65"/>
                      <a:pt x="110" y="64"/>
                    </a:cubicBezTo>
                    <a:cubicBezTo>
                      <a:pt x="110" y="64"/>
                      <a:pt x="111" y="65"/>
                      <a:pt x="111" y="65"/>
                    </a:cubicBezTo>
                    <a:cubicBezTo>
                      <a:pt x="112" y="65"/>
                      <a:pt x="113" y="66"/>
                      <a:pt x="113" y="66"/>
                    </a:cubicBezTo>
                    <a:cubicBezTo>
                      <a:pt x="114" y="66"/>
                      <a:pt x="114" y="66"/>
                      <a:pt x="114" y="66"/>
                    </a:cubicBezTo>
                    <a:cubicBezTo>
                      <a:pt x="115" y="66"/>
                      <a:pt x="115" y="67"/>
                      <a:pt x="115" y="66"/>
                    </a:cubicBezTo>
                    <a:cubicBezTo>
                      <a:pt x="115" y="66"/>
                      <a:pt x="115" y="65"/>
                      <a:pt x="114" y="66"/>
                    </a:cubicBezTo>
                    <a:cubicBezTo>
                      <a:pt x="113" y="66"/>
                      <a:pt x="112" y="65"/>
                      <a:pt x="112" y="65"/>
                    </a:cubicBezTo>
                    <a:cubicBezTo>
                      <a:pt x="112" y="64"/>
                      <a:pt x="112" y="63"/>
                      <a:pt x="112" y="63"/>
                    </a:cubicBezTo>
                    <a:cubicBezTo>
                      <a:pt x="113" y="63"/>
                      <a:pt x="114" y="63"/>
                      <a:pt x="114" y="63"/>
                    </a:cubicBezTo>
                    <a:cubicBezTo>
                      <a:pt x="114" y="63"/>
                      <a:pt x="113" y="63"/>
                      <a:pt x="113" y="63"/>
                    </a:cubicBezTo>
                    <a:cubicBezTo>
                      <a:pt x="113" y="62"/>
                      <a:pt x="113" y="62"/>
                      <a:pt x="113" y="62"/>
                    </a:cubicBezTo>
                    <a:cubicBezTo>
                      <a:pt x="113" y="62"/>
                      <a:pt x="113" y="62"/>
                      <a:pt x="113" y="62"/>
                    </a:cubicBezTo>
                    <a:cubicBezTo>
                      <a:pt x="113" y="61"/>
                      <a:pt x="113" y="61"/>
                      <a:pt x="113" y="61"/>
                    </a:cubicBezTo>
                    <a:cubicBezTo>
                      <a:pt x="113" y="60"/>
                      <a:pt x="113" y="60"/>
                      <a:pt x="113" y="60"/>
                    </a:cubicBezTo>
                    <a:cubicBezTo>
                      <a:pt x="114" y="59"/>
                      <a:pt x="114" y="58"/>
                      <a:pt x="114" y="59"/>
                    </a:cubicBezTo>
                    <a:cubicBezTo>
                      <a:pt x="114" y="58"/>
                      <a:pt x="114" y="58"/>
                      <a:pt x="115" y="58"/>
                    </a:cubicBezTo>
                    <a:cubicBezTo>
                      <a:pt x="115" y="58"/>
                      <a:pt x="115" y="58"/>
                      <a:pt x="115" y="57"/>
                    </a:cubicBezTo>
                    <a:cubicBezTo>
                      <a:pt x="115" y="57"/>
                      <a:pt x="115" y="58"/>
                      <a:pt x="115" y="58"/>
                    </a:cubicBezTo>
                    <a:cubicBezTo>
                      <a:pt x="115" y="58"/>
                      <a:pt x="115" y="58"/>
                      <a:pt x="114" y="58"/>
                    </a:cubicBezTo>
                    <a:cubicBezTo>
                      <a:pt x="114" y="58"/>
                      <a:pt x="114" y="58"/>
                      <a:pt x="114" y="58"/>
                    </a:cubicBezTo>
                    <a:cubicBezTo>
                      <a:pt x="113" y="58"/>
                      <a:pt x="114" y="57"/>
                      <a:pt x="114" y="57"/>
                    </a:cubicBezTo>
                    <a:cubicBezTo>
                      <a:pt x="114" y="56"/>
                      <a:pt x="113" y="57"/>
                      <a:pt x="113" y="56"/>
                    </a:cubicBezTo>
                    <a:cubicBezTo>
                      <a:pt x="114" y="56"/>
                      <a:pt x="114" y="55"/>
                      <a:pt x="114" y="55"/>
                    </a:cubicBezTo>
                    <a:cubicBezTo>
                      <a:pt x="114" y="55"/>
                      <a:pt x="115" y="55"/>
                      <a:pt x="115" y="55"/>
                    </a:cubicBezTo>
                    <a:cubicBezTo>
                      <a:pt x="115" y="56"/>
                      <a:pt x="116" y="55"/>
                      <a:pt x="116" y="55"/>
                    </a:cubicBezTo>
                    <a:cubicBezTo>
                      <a:pt x="116" y="55"/>
                      <a:pt x="116" y="55"/>
                      <a:pt x="116" y="54"/>
                    </a:cubicBezTo>
                    <a:cubicBezTo>
                      <a:pt x="116" y="54"/>
                      <a:pt x="116" y="54"/>
                      <a:pt x="117" y="54"/>
                    </a:cubicBezTo>
                    <a:cubicBezTo>
                      <a:pt x="114" y="53"/>
                      <a:pt x="117" y="50"/>
                      <a:pt x="118" y="50"/>
                    </a:cubicBezTo>
                    <a:cubicBezTo>
                      <a:pt x="119" y="49"/>
                      <a:pt x="121" y="50"/>
                      <a:pt x="122" y="49"/>
                    </a:cubicBezTo>
                    <a:cubicBezTo>
                      <a:pt x="122" y="49"/>
                      <a:pt x="123" y="49"/>
                      <a:pt x="123" y="49"/>
                    </a:cubicBezTo>
                    <a:cubicBezTo>
                      <a:pt x="124" y="49"/>
                      <a:pt x="125" y="48"/>
                      <a:pt x="127" y="48"/>
                    </a:cubicBezTo>
                    <a:cubicBezTo>
                      <a:pt x="128" y="48"/>
                      <a:pt x="129" y="47"/>
                      <a:pt x="130" y="47"/>
                    </a:cubicBezTo>
                    <a:cubicBezTo>
                      <a:pt x="130" y="47"/>
                      <a:pt x="131" y="47"/>
                      <a:pt x="131" y="46"/>
                    </a:cubicBezTo>
                    <a:cubicBezTo>
                      <a:pt x="131" y="46"/>
                      <a:pt x="131" y="46"/>
                      <a:pt x="131" y="45"/>
                    </a:cubicBezTo>
                    <a:cubicBezTo>
                      <a:pt x="132" y="45"/>
                      <a:pt x="132" y="44"/>
                      <a:pt x="133" y="44"/>
                    </a:cubicBezTo>
                    <a:cubicBezTo>
                      <a:pt x="133" y="43"/>
                      <a:pt x="133" y="43"/>
                      <a:pt x="134" y="42"/>
                    </a:cubicBezTo>
                    <a:cubicBezTo>
                      <a:pt x="134" y="41"/>
                      <a:pt x="134" y="41"/>
                      <a:pt x="135" y="40"/>
                    </a:cubicBezTo>
                    <a:cubicBezTo>
                      <a:pt x="135" y="40"/>
                      <a:pt x="135" y="39"/>
                      <a:pt x="136" y="39"/>
                    </a:cubicBezTo>
                    <a:cubicBezTo>
                      <a:pt x="137" y="37"/>
                      <a:pt x="140" y="35"/>
                      <a:pt x="140" y="33"/>
                    </a:cubicBezTo>
                    <a:cubicBezTo>
                      <a:pt x="140" y="32"/>
                      <a:pt x="139" y="31"/>
                      <a:pt x="140" y="31"/>
                    </a:cubicBezTo>
                    <a:cubicBezTo>
                      <a:pt x="141" y="31"/>
                      <a:pt x="142" y="31"/>
                      <a:pt x="142" y="32"/>
                    </a:cubicBezTo>
                    <a:cubicBezTo>
                      <a:pt x="143" y="33"/>
                      <a:pt x="143" y="33"/>
                      <a:pt x="143" y="34"/>
                    </a:cubicBezTo>
                    <a:cubicBezTo>
                      <a:pt x="143" y="34"/>
                      <a:pt x="144" y="34"/>
                      <a:pt x="144" y="34"/>
                    </a:cubicBezTo>
                    <a:cubicBezTo>
                      <a:pt x="144" y="35"/>
                      <a:pt x="145" y="35"/>
                      <a:pt x="145" y="35"/>
                    </a:cubicBezTo>
                    <a:cubicBezTo>
                      <a:pt x="145" y="36"/>
                      <a:pt x="146" y="37"/>
                      <a:pt x="147" y="37"/>
                    </a:cubicBezTo>
                    <a:cubicBezTo>
                      <a:pt x="148" y="36"/>
                      <a:pt x="148" y="35"/>
                      <a:pt x="148" y="34"/>
                    </a:cubicBezTo>
                    <a:cubicBezTo>
                      <a:pt x="148" y="34"/>
                      <a:pt x="148" y="34"/>
                      <a:pt x="148" y="34"/>
                    </a:cubicBezTo>
                    <a:cubicBezTo>
                      <a:pt x="148" y="34"/>
                      <a:pt x="149" y="33"/>
                      <a:pt x="148" y="32"/>
                    </a:cubicBezTo>
                    <a:cubicBezTo>
                      <a:pt x="148" y="31"/>
                      <a:pt x="148" y="30"/>
                      <a:pt x="147" y="29"/>
                    </a:cubicBezTo>
                    <a:cubicBezTo>
                      <a:pt x="147" y="29"/>
                      <a:pt x="148" y="29"/>
                      <a:pt x="148" y="29"/>
                    </a:cubicBezTo>
                    <a:cubicBezTo>
                      <a:pt x="148" y="28"/>
                      <a:pt x="149" y="28"/>
                      <a:pt x="149" y="28"/>
                    </a:cubicBezTo>
                    <a:cubicBezTo>
                      <a:pt x="149" y="28"/>
                      <a:pt x="149" y="28"/>
                      <a:pt x="150" y="27"/>
                    </a:cubicBezTo>
                    <a:cubicBezTo>
                      <a:pt x="150" y="28"/>
                      <a:pt x="150" y="29"/>
                      <a:pt x="150" y="30"/>
                    </a:cubicBezTo>
                    <a:cubicBezTo>
                      <a:pt x="150" y="31"/>
                      <a:pt x="150" y="31"/>
                      <a:pt x="150" y="32"/>
                    </a:cubicBezTo>
                    <a:cubicBezTo>
                      <a:pt x="150" y="33"/>
                      <a:pt x="151" y="33"/>
                      <a:pt x="152" y="33"/>
                    </a:cubicBezTo>
                    <a:cubicBezTo>
                      <a:pt x="152" y="33"/>
                      <a:pt x="152" y="34"/>
                      <a:pt x="153" y="34"/>
                    </a:cubicBezTo>
                    <a:cubicBezTo>
                      <a:pt x="154" y="34"/>
                      <a:pt x="153" y="33"/>
                      <a:pt x="153" y="33"/>
                    </a:cubicBezTo>
                    <a:cubicBezTo>
                      <a:pt x="152" y="32"/>
                      <a:pt x="152" y="32"/>
                      <a:pt x="152" y="31"/>
                    </a:cubicBezTo>
                    <a:cubicBezTo>
                      <a:pt x="152" y="30"/>
                      <a:pt x="152" y="30"/>
                      <a:pt x="152" y="29"/>
                    </a:cubicBezTo>
                    <a:cubicBezTo>
                      <a:pt x="152" y="29"/>
                      <a:pt x="151" y="28"/>
                      <a:pt x="151" y="28"/>
                    </a:cubicBezTo>
                    <a:cubicBezTo>
                      <a:pt x="151" y="28"/>
                      <a:pt x="151" y="28"/>
                      <a:pt x="151" y="27"/>
                    </a:cubicBezTo>
                    <a:cubicBezTo>
                      <a:pt x="151" y="27"/>
                      <a:pt x="151" y="27"/>
                      <a:pt x="152" y="27"/>
                    </a:cubicBezTo>
                    <a:cubicBezTo>
                      <a:pt x="152" y="27"/>
                      <a:pt x="153" y="28"/>
                      <a:pt x="153" y="27"/>
                    </a:cubicBezTo>
                    <a:cubicBezTo>
                      <a:pt x="154" y="27"/>
                      <a:pt x="154" y="26"/>
                      <a:pt x="154" y="26"/>
                    </a:cubicBezTo>
                    <a:cubicBezTo>
                      <a:pt x="155" y="26"/>
                      <a:pt x="155" y="24"/>
                      <a:pt x="155" y="24"/>
                    </a:cubicBezTo>
                    <a:cubicBezTo>
                      <a:pt x="155" y="24"/>
                      <a:pt x="154" y="24"/>
                      <a:pt x="154" y="24"/>
                    </a:cubicBezTo>
                    <a:cubicBezTo>
                      <a:pt x="154" y="24"/>
                      <a:pt x="153" y="23"/>
                      <a:pt x="153" y="23"/>
                    </a:cubicBezTo>
                    <a:cubicBezTo>
                      <a:pt x="153" y="23"/>
                      <a:pt x="153" y="23"/>
                      <a:pt x="153" y="23"/>
                    </a:cubicBezTo>
                    <a:cubicBezTo>
                      <a:pt x="153" y="22"/>
                      <a:pt x="153" y="22"/>
                      <a:pt x="153" y="21"/>
                    </a:cubicBezTo>
                    <a:cubicBezTo>
                      <a:pt x="153" y="21"/>
                      <a:pt x="155" y="20"/>
                      <a:pt x="155" y="20"/>
                    </a:cubicBezTo>
                    <a:cubicBezTo>
                      <a:pt x="155" y="20"/>
                      <a:pt x="155" y="21"/>
                      <a:pt x="155" y="21"/>
                    </a:cubicBezTo>
                    <a:cubicBezTo>
                      <a:pt x="155" y="21"/>
                      <a:pt x="155" y="20"/>
                      <a:pt x="155" y="20"/>
                    </a:cubicBezTo>
                    <a:cubicBezTo>
                      <a:pt x="156" y="20"/>
                      <a:pt x="157" y="21"/>
                      <a:pt x="158" y="20"/>
                    </a:cubicBezTo>
                    <a:cubicBezTo>
                      <a:pt x="158" y="19"/>
                      <a:pt x="158" y="19"/>
                      <a:pt x="158" y="18"/>
                    </a:cubicBezTo>
                    <a:cubicBezTo>
                      <a:pt x="158" y="17"/>
                      <a:pt x="159" y="17"/>
                      <a:pt x="159" y="17"/>
                    </a:cubicBezTo>
                    <a:cubicBezTo>
                      <a:pt x="159" y="16"/>
                      <a:pt x="160" y="15"/>
                      <a:pt x="160" y="15"/>
                    </a:cubicBezTo>
                    <a:cubicBezTo>
                      <a:pt x="160" y="14"/>
                      <a:pt x="160" y="14"/>
                      <a:pt x="159" y="14"/>
                    </a:cubicBezTo>
                    <a:cubicBezTo>
                      <a:pt x="159" y="14"/>
                      <a:pt x="160" y="14"/>
                      <a:pt x="160" y="14"/>
                    </a:cubicBezTo>
                    <a:cubicBezTo>
                      <a:pt x="160" y="13"/>
                      <a:pt x="160" y="13"/>
                      <a:pt x="161" y="13"/>
                    </a:cubicBezTo>
                    <a:cubicBezTo>
                      <a:pt x="162" y="13"/>
                      <a:pt x="161" y="12"/>
                      <a:pt x="161" y="12"/>
                    </a:cubicBezTo>
                    <a:cubicBezTo>
                      <a:pt x="161" y="12"/>
                      <a:pt x="162" y="11"/>
                      <a:pt x="162" y="11"/>
                    </a:cubicBezTo>
                    <a:cubicBezTo>
                      <a:pt x="163" y="10"/>
                      <a:pt x="163" y="10"/>
                      <a:pt x="163" y="9"/>
                    </a:cubicBezTo>
                    <a:cubicBezTo>
                      <a:pt x="164" y="8"/>
                      <a:pt x="164" y="8"/>
                      <a:pt x="164" y="7"/>
                    </a:cubicBezTo>
                    <a:cubicBezTo>
                      <a:pt x="164" y="6"/>
                      <a:pt x="165" y="5"/>
                      <a:pt x="165" y="4"/>
                    </a:cubicBezTo>
                    <a:cubicBezTo>
                      <a:pt x="166" y="4"/>
                      <a:pt x="166" y="5"/>
                      <a:pt x="166" y="6"/>
                    </a:cubicBezTo>
                    <a:cubicBezTo>
                      <a:pt x="166" y="5"/>
                      <a:pt x="166" y="7"/>
                      <a:pt x="166" y="7"/>
                    </a:cubicBezTo>
                    <a:cubicBezTo>
                      <a:pt x="166" y="7"/>
                      <a:pt x="165" y="9"/>
                      <a:pt x="166" y="9"/>
                    </a:cubicBezTo>
                    <a:cubicBezTo>
                      <a:pt x="166" y="9"/>
                      <a:pt x="167" y="8"/>
                      <a:pt x="168" y="7"/>
                    </a:cubicBezTo>
                    <a:cubicBezTo>
                      <a:pt x="168" y="7"/>
                      <a:pt x="168" y="7"/>
                      <a:pt x="168" y="6"/>
                    </a:cubicBezTo>
                    <a:cubicBezTo>
                      <a:pt x="168" y="6"/>
                      <a:pt x="168" y="6"/>
                      <a:pt x="168" y="5"/>
                    </a:cubicBezTo>
                    <a:cubicBezTo>
                      <a:pt x="168" y="5"/>
                      <a:pt x="168" y="5"/>
                      <a:pt x="168" y="5"/>
                    </a:cubicBezTo>
                    <a:cubicBezTo>
                      <a:pt x="168" y="4"/>
                      <a:pt x="169" y="4"/>
                      <a:pt x="169" y="4"/>
                    </a:cubicBezTo>
                    <a:cubicBezTo>
                      <a:pt x="170" y="4"/>
                      <a:pt x="170" y="5"/>
                      <a:pt x="170" y="6"/>
                    </a:cubicBezTo>
                    <a:cubicBezTo>
                      <a:pt x="170" y="7"/>
                      <a:pt x="171" y="8"/>
                      <a:pt x="171" y="9"/>
                    </a:cubicBezTo>
                    <a:cubicBezTo>
                      <a:pt x="172" y="9"/>
                      <a:pt x="172" y="9"/>
                      <a:pt x="172" y="9"/>
                    </a:cubicBezTo>
                    <a:cubicBezTo>
                      <a:pt x="173" y="9"/>
                      <a:pt x="173" y="9"/>
                      <a:pt x="173" y="8"/>
                    </a:cubicBezTo>
                    <a:cubicBezTo>
                      <a:pt x="173" y="9"/>
                      <a:pt x="173" y="9"/>
                      <a:pt x="174" y="10"/>
                    </a:cubicBezTo>
                    <a:cubicBezTo>
                      <a:pt x="174" y="10"/>
                      <a:pt x="175" y="10"/>
                      <a:pt x="175" y="10"/>
                    </a:cubicBezTo>
                    <a:cubicBezTo>
                      <a:pt x="175" y="10"/>
                      <a:pt x="175" y="12"/>
                      <a:pt x="175" y="12"/>
                    </a:cubicBezTo>
                    <a:cubicBezTo>
                      <a:pt x="175" y="13"/>
                      <a:pt x="175" y="12"/>
                      <a:pt x="174" y="13"/>
                    </a:cubicBezTo>
                    <a:cubicBezTo>
                      <a:pt x="174" y="13"/>
                      <a:pt x="174" y="13"/>
                      <a:pt x="174" y="14"/>
                    </a:cubicBezTo>
                    <a:cubicBezTo>
                      <a:pt x="174" y="14"/>
                      <a:pt x="175" y="14"/>
                      <a:pt x="175" y="14"/>
                    </a:cubicBezTo>
                    <a:cubicBezTo>
                      <a:pt x="174" y="15"/>
                      <a:pt x="174" y="15"/>
                      <a:pt x="174" y="15"/>
                    </a:cubicBezTo>
                    <a:cubicBezTo>
                      <a:pt x="175" y="16"/>
                      <a:pt x="173" y="16"/>
                      <a:pt x="173" y="17"/>
                    </a:cubicBezTo>
                    <a:cubicBezTo>
                      <a:pt x="173" y="17"/>
                      <a:pt x="176" y="16"/>
                      <a:pt x="176" y="16"/>
                    </a:cubicBezTo>
                    <a:cubicBezTo>
                      <a:pt x="176" y="16"/>
                      <a:pt x="176" y="16"/>
                      <a:pt x="176" y="16"/>
                    </a:cubicBezTo>
                    <a:cubicBezTo>
                      <a:pt x="177" y="16"/>
                      <a:pt x="177" y="15"/>
                      <a:pt x="177" y="15"/>
                    </a:cubicBezTo>
                    <a:cubicBezTo>
                      <a:pt x="178" y="14"/>
                      <a:pt x="179" y="16"/>
                      <a:pt x="179" y="17"/>
                    </a:cubicBezTo>
                    <a:cubicBezTo>
                      <a:pt x="180" y="18"/>
                      <a:pt x="177" y="17"/>
                      <a:pt x="177" y="18"/>
                    </a:cubicBezTo>
                    <a:cubicBezTo>
                      <a:pt x="177" y="19"/>
                      <a:pt x="178" y="19"/>
                      <a:pt x="179" y="19"/>
                    </a:cubicBezTo>
                    <a:cubicBezTo>
                      <a:pt x="179" y="18"/>
                      <a:pt x="179" y="19"/>
                      <a:pt x="180" y="18"/>
                    </a:cubicBezTo>
                    <a:cubicBezTo>
                      <a:pt x="180" y="18"/>
                      <a:pt x="179" y="18"/>
                      <a:pt x="180" y="17"/>
                    </a:cubicBezTo>
                    <a:cubicBezTo>
                      <a:pt x="181" y="17"/>
                      <a:pt x="182" y="18"/>
                      <a:pt x="183" y="18"/>
                    </a:cubicBezTo>
                    <a:cubicBezTo>
                      <a:pt x="183" y="18"/>
                      <a:pt x="184" y="18"/>
                      <a:pt x="184" y="19"/>
                    </a:cubicBezTo>
                    <a:cubicBezTo>
                      <a:pt x="184" y="19"/>
                      <a:pt x="183" y="20"/>
                      <a:pt x="184" y="21"/>
                    </a:cubicBezTo>
                    <a:cubicBezTo>
                      <a:pt x="184" y="20"/>
                      <a:pt x="184" y="19"/>
                      <a:pt x="184" y="19"/>
                    </a:cubicBezTo>
                    <a:cubicBezTo>
                      <a:pt x="185" y="20"/>
                      <a:pt x="185" y="20"/>
                      <a:pt x="185" y="20"/>
                    </a:cubicBezTo>
                    <a:cubicBezTo>
                      <a:pt x="186" y="21"/>
                      <a:pt x="186" y="21"/>
                      <a:pt x="186" y="21"/>
                    </a:cubicBezTo>
                    <a:cubicBezTo>
                      <a:pt x="186" y="21"/>
                      <a:pt x="188" y="21"/>
                      <a:pt x="187" y="22"/>
                    </a:cubicBezTo>
                    <a:cubicBezTo>
                      <a:pt x="188" y="22"/>
                      <a:pt x="187" y="21"/>
                      <a:pt x="188" y="22"/>
                    </a:cubicBezTo>
                    <a:cubicBezTo>
                      <a:pt x="189" y="22"/>
                      <a:pt x="189" y="21"/>
                      <a:pt x="190" y="21"/>
                    </a:cubicBezTo>
                    <a:cubicBezTo>
                      <a:pt x="191" y="22"/>
                      <a:pt x="191" y="23"/>
                      <a:pt x="190" y="24"/>
                    </a:cubicBezTo>
                    <a:close/>
                    <a:moveTo>
                      <a:pt x="45" y="61"/>
                    </a:moveTo>
                    <a:cubicBezTo>
                      <a:pt x="45" y="61"/>
                      <a:pt x="45" y="61"/>
                      <a:pt x="45" y="61"/>
                    </a:cubicBezTo>
                    <a:cubicBezTo>
                      <a:pt x="45" y="60"/>
                      <a:pt x="45" y="59"/>
                      <a:pt x="44" y="59"/>
                    </a:cubicBezTo>
                    <a:cubicBezTo>
                      <a:pt x="44" y="57"/>
                      <a:pt x="43" y="56"/>
                      <a:pt x="42" y="55"/>
                    </a:cubicBezTo>
                    <a:cubicBezTo>
                      <a:pt x="42" y="54"/>
                      <a:pt x="42" y="52"/>
                      <a:pt x="41" y="52"/>
                    </a:cubicBezTo>
                    <a:cubicBezTo>
                      <a:pt x="40" y="52"/>
                      <a:pt x="39" y="51"/>
                      <a:pt x="38" y="50"/>
                    </a:cubicBezTo>
                    <a:cubicBezTo>
                      <a:pt x="38" y="48"/>
                      <a:pt x="38" y="47"/>
                      <a:pt x="38" y="45"/>
                    </a:cubicBezTo>
                    <a:cubicBezTo>
                      <a:pt x="38" y="44"/>
                      <a:pt x="39" y="43"/>
                      <a:pt x="38" y="42"/>
                    </a:cubicBezTo>
                    <a:cubicBezTo>
                      <a:pt x="37" y="41"/>
                      <a:pt x="37" y="41"/>
                      <a:pt x="37" y="40"/>
                    </a:cubicBezTo>
                    <a:cubicBezTo>
                      <a:pt x="37" y="39"/>
                      <a:pt x="37" y="39"/>
                      <a:pt x="37" y="38"/>
                    </a:cubicBezTo>
                    <a:cubicBezTo>
                      <a:pt x="37" y="38"/>
                      <a:pt x="38" y="38"/>
                      <a:pt x="38" y="37"/>
                    </a:cubicBezTo>
                    <a:cubicBezTo>
                      <a:pt x="37" y="36"/>
                      <a:pt x="37" y="36"/>
                      <a:pt x="38" y="35"/>
                    </a:cubicBezTo>
                    <a:cubicBezTo>
                      <a:pt x="38" y="34"/>
                      <a:pt x="38" y="34"/>
                      <a:pt x="38" y="33"/>
                    </a:cubicBezTo>
                    <a:cubicBezTo>
                      <a:pt x="38" y="32"/>
                      <a:pt x="38" y="31"/>
                      <a:pt x="38" y="30"/>
                    </a:cubicBezTo>
                    <a:cubicBezTo>
                      <a:pt x="38" y="30"/>
                      <a:pt x="38" y="29"/>
                      <a:pt x="37" y="28"/>
                    </a:cubicBezTo>
                    <a:cubicBezTo>
                      <a:pt x="37" y="28"/>
                      <a:pt x="36" y="27"/>
                      <a:pt x="36" y="26"/>
                    </a:cubicBezTo>
                    <a:cubicBezTo>
                      <a:pt x="35" y="25"/>
                      <a:pt x="35" y="24"/>
                      <a:pt x="34" y="23"/>
                    </a:cubicBezTo>
                    <a:cubicBezTo>
                      <a:pt x="34" y="22"/>
                      <a:pt x="34" y="22"/>
                      <a:pt x="33" y="21"/>
                    </a:cubicBezTo>
                    <a:cubicBezTo>
                      <a:pt x="33" y="21"/>
                      <a:pt x="32" y="20"/>
                      <a:pt x="31" y="20"/>
                    </a:cubicBezTo>
                    <a:cubicBezTo>
                      <a:pt x="31" y="20"/>
                      <a:pt x="30" y="19"/>
                      <a:pt x="29" y="18"/>
                    </a:cubicBezTo>
                    <a:cubicBezTo>
                      <a:pt x="29" y="18"/>
                      <a:pt x="29" y="18"/>
                      <a:pt x="29" y="17"/>
                    </a:cubicBezTo>
                    <a:cubicBezTo>
                      <a:pt x="29" y="17"/>
                      <a:pt x="28" y="17"/>
                      <a:pt x="28" y="17"/>
                    </a:cubicBezTo>
                    <a:cubicBezTo>
                      <a:pt x="27" y="16"/>
                      <a:pt x="27" y="15"/>
                      <a:pt x="27" y="15"/>
                    </a:cubicBezTo>
                    <a:cubicBezTo>
                      <a:pt x="27" y="14"/>
                      <a:pt x="25" y="12"/>
                      <a:pt x="24" y="13"/>
                    </a:cubicBezTo>
                    <a:cubicBezTo>
                      <a:pt x="25" y="13"/>
                      <a:pt x="25" y="13"/>
                      <a:pt x="25" y="13"/>
                    </a:cubicBezTo>
                    <a:cubicBezTo>
                      <a:pt x="25" y="13"/>
                      <a:pt x="24" y="13"/>
                      <a:pt x="24" y="13"/>
                    </a:cubicBezTo>
                    <a:cubicBezTo>
                      <a:pt x="24" y="13"/>
                      <a:pt x="24" y="14"/>
                      <a:pt x="24" y="14"/>
                    </a:cubicBezTo>
                    <a:cubicBezTo>
                      <a:pt x="23" y="15"/>
                      <a:pt x="23" y="15"/>
                      <a:pt x="23" y="15"/>
                    </a:cubicBezTo>
                    <a:cubicBezTo>
                      <a:pt x="22" y="16"/>
                      <a:pt x="23" y="17"/>
                      <a:pt x="22" y="17"/>
                    </a:cubicBezTo>
                    <a:cubicBezTo>
                      <a:pt x="22" y="18"/>
                      <a:pt x="21" y="18"/>
                      <a:pt x="21" y="18"/>
                    </a:cubicBezTo>
                    <a:cubicBezTo>
                      <a:pt x="21" y="17"/>
                      <a:pt x="20" y="18"/>
                      <a:pt x="20" y="18"/>
                    </a:cubicBezTo>
                    <a:cubicBezTo>
                      <a:pt x="20" y="18"/>
                      <a:pt x="20" y="17"/>
                      <a:pt x="20" y="17"/>
                    </a:cubicBezTo>
                    <a:cubicBezTo>
                      <a:pt x="19" y="16"/>
                      <a:pt x="18" y="17"/>
                      <a:pt x="17" y="17"/>
                    </a:cubicBezTo>
                    <a:cubicBezTo>
                      <a:pt x="17" y="17"/>
                      <a:pt x="17" y="17"/>
                      <a:pt x="17" y="17"/>
                    </a:cubicBezTo>
                    <a:cubicBezTo>
                      <a:pt x="16" y="17"/>
                      <a:pt x="16" y="17"/>
                      <a:pt x="16" y="18"/>
                    </a:cubicBezTo>
                    <a:cubicBezTo>
                      <a:pt x="16" y="18"/>
                      <a:pt x="16" y="19"/>
                      <a:pt x="15" y="19"/>
                    </a:cubicBezTo>
                    <a:cubicBezTo>
                      <a:pt x="15" y="19"/>
                      <a:pt x="14" y="19"/>
                      <a:pt x="14" y="18"/>
                    </a:cubicBezTo>
                    <a:cubicBezTo>
                      <a:pt x="13" y="18"/>
                      <a:pt x="13" y="18"/>
                      <a:pt x="14" y="17"/>
                    </a:cubicBezTo>
                    <a:cubicBezTo>
                      <a:pt x="14" y="16"/>
                      <a:pt x="14" y="16"/>
                      <a:pt x="14" y="16"/>
                    </a:cubicBezTo>
                    <a:cubicBezTo>
                      <a:pt x="14" y="15"/>
                      <a:pt x="14" y="15"/>
                      <a:pt x="14" y="15"/>
                    </a:cubicBezTo>
                    <a:cubicBezTo>
                      <a:pt x="14" y="14"/>
                      <a:pt x="14" y="14"/>
                      <a:pt x="14" y="14"/>
                    </a:cubicBezTo>
                    <a:cubicBezTo>
                      <a:pt x="14" y="13"/>
                      <a:pt x="14" y="13"/>
                      <a:pt x="14" y="13"/>
                    </a:cubicBezTo>
                    <a:cubicBezTo>
                      <a:pt x="14" y="12"/>
                      <a:pt x="12" y="12"/>
                      <a:pt x="12" y="13"/>
                    </a:cubicBezTo>
                    <a:cubicBezTo>
                      <a:pt x="11" y="13"/>
                      <a:pt x="12" y="12"/>
                      <a:pt x="11" y="11"/>
                    </a:cubicBezTo>
                    <a:cubicBezTo>
                      <a:pt x="11" y="11"/>
                      <a:pt x="11" y="10"/>
                      <a:pt x="11" y="10"/>
                    </a:cubicBezTo>
                    <a:cubicBezTo>
                      <a:pt x="10" y="10"/>
                      <a:pt x="10" y="10"/>
                      <a:pt x="10" y="10"/>
                    </a:cubicBezTo>
                    <a:cubicBezTo>
                      <a:pt x="10" y="10"/>
                      <a:pt x="9" y="10"/>
                      <a:pt x="9" y="10"/>
                    </a:cubicBezTo>
                    <a:cubicBezTo>
                      <a:pt x="9" y="10"/>
                      <a:pt x="8" y="10"/>
                      <a:pt x="8" y="10"/>
                    </a:cubicBezTo>
                    <a:cubicBezTo>
                      <a:pt x="8" y="10"/>
                      <a:pt x="8" y="10"/>
                      <a:pt x="7" y="10"/>
                    </a:cubicBezTo>
                    <a:cubicBezTo>
                      <a:pt x="7" y="9"/>
                      <a:pt x="7" y="9"/>
                      <a:pt x="7" y="9"/>
                    </a:cubicBezTo>
                    <a:cubicBezTo>
                      <a:pt x="6" y="9"/>
                      <a:pt x="6" y="8"/>
                      <a:pt x="6" y="8"/>
                    </a:cubicBezTo>
                    <a:cubicBezTo>
                      <a:pt x="6" y="8"/>
                      <a:pt x="5" y="8"/>
                      <a:pt x="5" y="8"/>
                    </a:cubicBezTo>
                    <a:cubicBezTo>
                      <a:pt x="5" y="8"/>
                      <a:pt x="5" y="9"/>
                      <a:pt x="5" y="9"/>
                    </a:cubicBezTo>
                    <a:cubicBezTo>
                      <a:pt x="5" y="10"/>
                      <a:pt x="5" y="10"/>
                      <a:pt x="5" y="11"/>
                    </a:cubicBezTo>
                    <a:cubicBezTo>
                      <a:pt x="4" y="11"/>
                      <a:pt x="5" y="12"/>
                      <a:pt x="6" y="13"/>
                    </a:cubicBezTo>
                    <a:cubicBezTo>
                      <a:pt x="7" y="14"/>
                      <a:pt x="7" y="16"/>
                      <a:pt x="7" y="18"/>
                    </a:cubicBezTo>
                    <a:cubicBezTo>
                      <a:pt x="7" y="19"/>
                      <a:pt x="7" y="19"/>
                      <a:pt x="7" y="19"/>
                    </a:cubicBezTo>
                    <a:cubicBezTo>
                      <a:pt x="7" y="20"/>
                      <a:pt x="7" y="20"/>
                      <a:pt x="7" y="21"/>
                    </a:cubicBezTo>
                    <a:cubicBezTo>
                      <a:pt x="7" y="21"/>
                      <a:pt x="7" y="22"/>
                      <a:pt x="8" y="22"/>
                    </a:cubicBezTo>
                    <a:cubicBezTo>
                      <a:pt x="8" y="23"/>
                      <a:pt x="8" y="23"/>
                      <a:pt x="8" y="23"/>
                    </a:cubicBezTo>
                    <a:cubicBezTo>
                      <a:pt x="8" y="24"/>
                      <a:pt x="8" y="25"/>
                      <a:pt x="8" y="25"/>
                    </a:cubicBezTo>
                    <a:cubicBezTo>
                      <a:pt x="8" y="25"/>
                      <a:pt x="8" y="25"/>
                      <a:pt x="8" y="26"/>
                    </a:cubicBezTo>
                    <a:cubicBezTo>
                      <a:pt x="8" y="26"/>
                      <a:pt x="8" y="26"/>
                      <a:pt x="8" y="27"/>
                    </a:cubicBezTo>
                    <a:cubicBezTo>
                      <a:pt x="8" y="27"/>
                      <a:pt x="9" y="27"/>
                      <a:pt x="9" y="27"/>
                    </a:cubicBezTo>
                    <a:cubicBezTo>
                      <a:pt x="9" y="27"/>
                      <a:pt x="9" y="28"/>
                      <a:pt x="9" y="28"/>
                    </a:cubicBezTo>
                    <a:cubicBezTo>
                      <a:pt x="9" y="28"/>
                      <a:pt x="9" y="28"/>
                      <a:pt x="9" y="28"/>
                    </a:cubicBezTo>
                    <a:cubicBezTo>
                      <a:pt x="9" y="28"/>
                      <a:pt x="10" y="28"/>
                      <a:pt x="10" y="29"/>
                    </a:cubicBezTo>
                    <a:cubicBezTo>
                      <a:pt x="10" y="29"/>
                      <a:pt x="9" y="31"/>
                      <a:pt x="10" y="30"/>
                    </a:cubicBezTo>
                    <a:cubicBezTo>
                      <a:pt x="10" y="30"/>
                      <a:pt x="9" y="31"/>
                      <a:pt x="10" y="31"/>
                    </a:cubicBezTo>
                    <a:cubicBezTo>
                      <a:pt x="10" y="32"/>
                      <a:pt x="10" y="33"/>
                      <a:pt x="10" y="34"/>
                    </a:cubicBezTo>
                    <a:cubicBezTo>
                      <a:pt x="10" y="34"/>
                      <a:pt x="10" y="34"/>
                      <a:pt x="10" y="35"/>
                    </a:cubicBezTo>
                    <a:cubicBezTo>
                      <a:pt x="10" y="35"/>
                      <a:pt x="10" y="35"/>
                      <a:pt x="10" y="35"/>
                    </a:cubicBezTo>
                    <a:cubicBezTo>
                      <a:pt x="11" y="36"/>
                      <a:pt x="11" y="36"/>
                      <a:pt x="12" y="36"/>
                    </a:cubicBezTo>
                    <a:cubicBezTo>
                      <a:pt x="12" y="36"/>
                      <a:pt x="12" y="37"/>
                      <a:pt x="12" y="37"/>
                    </a:cubicBezTo>
                    <a:cubicBezTo>
                      <a:pt x="12" y="37"/>
                      <a:pt x="12" y="37"/>
                      <a:pt x="13" y="37"/>
                    </a:cubicBezTo>
                    <a:cubicBezTo>
                      <a:pt x="13" y="37"/>
                      <a:pt x="11" y="38"/>
                      <a:pt x="11" y="38"/>
                    </a:cubicBezTo>
                    <a:cubicBezTo>
                      <a:pt x="11" y="38"/>
                      <a:pt x="11" y="38"/>
                      <a:pt x="11" y="39"/>
                    </a:cubicBezTo>
                    <a:cubicBezTo>
                      <a:pt x="12" y="39"/>
                      <a:pt x="12" y="39"/>
                      <a:pt x="13" y="39"/>
                    </a:cubicBezTo>
                    <a:cubicBezTo>
                      <a:pt x="12" y="39"/>
                      <a:pt x="12" y="40"/>
                      <a:pt x="13" y="40"/>
                    </a:cubicBezTo>
                    <a:cubicBezTo>
                      <a:pt x="13" y="40"/>
                      <a:pt x="13" y="41"/>
                      <a:pt x="14" y="41"/>
                    </a:cubicBezTo>
                    <a:cubicBezTo>
                      <a:pt x="15" y="42"/>
                      <a:pt x="15" y="43"/>
                      <a:pt x="16" y="44"/>
                    </a:cubicBezTo>
                    <a:cubicBezTo>
                      <a:pt x="16" y="44"/>
                      <a:pt x="17" y="45"/>
                      <a:pt x="17" y="45"/>
                    </a:cubicBezTo>
                    <a:cubicBezTo>
                      <a:pt x="17" y="46"/>
                      <a:pt x="17" y="46"/>
                      <a:pt x="17" y="47"/>
                    </a:cubicBezTo>
                    <a:cubicBezTo>
                      <a:pt x="18" y="47"/>
                      <a:pt x="18" y="48"/>
                      <a:pt x="18" y="48"/>
                    </a:cubicBezTo>
                    <a:cubicBezTo>
                      <a:pt x="18" y="48"/>
                      <a:pt x="18" y="49"/>
                      <a:pt x="17" y="49"/>
                    </a:cubicBezTo>
                    <a:cubicBezTo>
                      <a:pt x="17" y="49"/>
                      <a:pt x="17" y="50"/>
                      <a:pt x="17" y="50"/>
                    </a:cubicBezTo>
                    <a:cubicBezTo>
                      <a:pt x="19" y="50"/>
                      <a:pt x="19" y="51"/>
                      <a:pt x="19" y="52"/>
                    </a:cubicBezTo>
                    <a:cubicBezTo>
                      <a:pt x="20" y="52"/>
                      <a:pt x="20" y="52"/>
                      <a:pt x="21" y="53"/>
                    </a:cubicBezTo>
                    <a:cubicBezTo>
                      <a:pt x="21" y="53"/>
                      <a:pt x="22" y="53"/>
                      <a:pt x="22" y="53"/>
                    </a:cubicBezTo>
                    <a:cubicBezTo>
                      <a:pt x="22" y="53"/>
                      <a:pt x="23" y="55"/>
                      <a:pt x="23" y="55"/>
                    </a:cubicBezTo>
                    <a:cubicBezTo>
                      <a:pt x="23" y="55"/>
                      <a:pt x="24" y="55"/>
                      <a:pt x="24" y="55"/>
                    </a:cubicBezTo>
                    <a:cubicBezTo>
                      <a:pt x="24" y="55"/>
                      <a:pt x="25" y="55"/>
                      <a:pt x="25" y="56"/>
                    </a:cubicBezTo>
                    <a:cubicBezTo>
                      <a:pt x="26" y="57"/>
                      <a:pt x="26" y="57"/>
                      <a:pt x="27" y="57"/>
                    </a:cubicBezTo>
                    <a:cubicBezTo>
                      <a:pt x="28" y="58"/>
                      <a:pt x="29" y="58"/>
                      <a:pt x="29" y="58"/>
                    </a:cubicBezTo>
                    <a:cubicBezTo>
                      <a:pt x="30" y="59"/>
                      <a:pt x="30" y="59"/>
                      <a:pt x="30" y="59"/>
                    </a:cubicBezTo>
                    <a:cubicBezTo>
                      <a:pt x="30" y="60"/>
                      <a:pt x="31" y="60"/>
                      <a:pt x="31" y="60"/>
                    </a:cubicBezTo>
                    <a:cubicBezTo>
                      <a:pt x="31" y="61"/>
                      <a:pt x="31" y="61"/>
                      <a:pt x="32" y="61"/>
                    </a:cubicBezTo>
                    <a:cubicBezTo>
                      <a:pt x="33" y="61"/>
                      <a:pt x="33" y="62"/>
                      <a:pt x="34" y="62"/>
                    </a:cubicBezTo>
                    <a:cubicBezTo>
                      <a:pt x="35" y="63"/>
                      <a:pt x="35" y="63"/>
                      <a:pt x="36" y="64"/>
                    </a:cubicBezTo>
                    <a:cubicBezTo>
                      <a:pt x="36" y="64"/>
                      <a:pt x="37" y="64"/>
                      <a:pt x="37" y="64"/>
                    </a:cubicBezTo>
                    <a:cubicBezTo>
                      <a:pt x="38" y="65"/>
                      <a:pt x="38" y="66"/>
                      <a:pt x="39" y="66"/>
                    </a:cubicBezTo>
                    <a:cubicBezTo>
                      <a:pt x="39" y="68"/>
                      <a:pt x="39" y="67"/>
                      <a:pt x="40" y="66"/>
                    </a:cubicBezTo>
                    <a:cubicBezTo>
                      <a:pt x="40" y="67"/>
                      <a:pt x="40" y="66"/>
                      <a:pt x="41" y="65"/>
                    </a:cubicBezTo>
                    <a:cubicBezTo>
                      <a:pt x="41" y="65"/>
                      <a:pt x="42" y="65"/>
                      <a:pt x="43" y="65"/>
                    </a:cubicBezTo>
                    <a:cubicBezTo>
                      <a:pt x="45" y="66"/>
                      <a:pt x="44" y="64"/>
                      <a:pt x="43" y="63"/>
                    </a:cubicBezTo>
                    <a:cubicBezTo>
                      <a:pt x="44" y="63"/>
                      <a:pt x="44" y="65"/>
                      <a:pt x="44" y="65"/>
                    </a:cubicBezTo>
                    <a:cubicBezTo>
                      <a:pt x="44" y="65"/>
                      <a:pt x="45" y="64"/>
                      <a:pt x="45" y="64"/>
                    </a:cubicBezTo>
                    <a:cubicBezTo>
                      <a:pt x="45" y="64"/>
                      <a:pt x="45" y="65"/>
                      <a:pt x="45" y="65"/>
                    </a:cubicBezTo>
                    <a:cubicBezTo>
                      <a:pt x="44" y="65"/>
                      <a:pt x="45" y="67"/>
                      <a:pt x="46" y="66"/>
                    </a:cubicBezTo>
                    <a:cubicBezTo>
                      <a:pt x="47" y="66"/>
                      <a:pt x="46" y="63"/>
                      <a:pt x="46" y="62"/>
                    </a:cubicBezTo>
                    <a:cubicBezTo>
                      <a:pt x="46" y="62"/>
                      <a:pt x="46" y="61"/>
                      <a:pt x="45" y="61"/>
                    </a:cubicBezTo>
                    <a:close/>
                    <a:moveTo>
                      <a:pt x="2" y="14"/>
                    </a:moveTo>
                    <a:cubicBezTo>
                      <a:pt x="2" y="13"/>
                      <a:pt x="2" y="13"/>
                      <a:pt x="2" y="12"/>
                    </a:cubicBezTo>
                    <a:cubicBezTo>
                      <a:pt x="2" y="12"/>
                      <a:pt x="2" y="12"/>
                      <a:pt x="2" y="12"/>
                    </a:cubicBezTo>
                    <a:cubicBezTo>
                      <a:pt x="1" y="12"/>
                      <a:pt x="1" y="14"/>
                      <a:pt x="2" y="14"/>
                    </a:cubicBezTo>
                    <a:close/>
                    <a:moveTo>
                      <a:pt x="45" y="50"/>
                    </a:moveTo>
                    <a:cubicBezTo>
                      <a:pt x="45" y="50"/>
                      <a:pt x="45" y="50"/>
                      <a:pt x="45" y="49"/>
                    </a:cubicBezTo>
                    <a:cubicBezTo>
                      <a:pt x="45" y="50"/>
                      <a:pt x="45" y="50"/>
                      <a:pt x="45" y="50"/>
                    </a:cubicBezTo>
                    <a:cubicBezTo>
                      <a:pt x="45" y="51"/>
                      <a:pt x="45" y="51"/>
                      <a:pt x="45" y="51"/>
                    </a:cubicBezTo>
                    <a:cubicBezTo>
                      <a:pt x="46" y="52"/>
                      <a:pt x="45" y="50"/>
                      <a:pt x="45" y="50"/>
                    </a:cubicBezTo>
                    <a:close/>
                    <a:moveTo>
                      <a:pt x="1" y="11"/>
                    </a:moveTo>
                    <a:cubicBezTo>
                      <a:pt x="0" y="11"/>
                      <a:pt x="0" y="11"/>
                      <a:pt x="0" y="11"/>
                    </a:cubicBezTo>
                    <a:cubicBezTo>
                      <a:pt x="0" y="11"/>
                      <a:pt x="1" y="12"/>
                      <a:pt x="1" y="12"/>
                    </a:cubicBezTo>
                    <a:cubicBezTo>
                      <a:pt x="1" y="13"/>
                      <a:pt x="1" y="13"/>
                      <a:pt x="2" y="12"/>
                    </a:cubicBezTo>
                    <a:cubicBezTo>
                      <a:pt x="2" y="12"/>
                      <a:pt x="2" y="12"/>
                      <a:pt x="2" y="12"/>
                    </a:cubicBezTo>
                    <a:cubicBezTo>
                      <a:pt x="2" y="12"/>
                      <a:pt x="3" y="12"/>
                      <a:pt x="3" y="11"/>
                    </a:cubicBezTo>
                    <a:cubicBezTo>
                      <a:pt x="3" y="11"/>
                      <a:pt x="2" y="11"/>
                      <a:pt x="2" y="10"/>
                    </a:cubicBezTo>
                    <a:cubicBezTo>
                      <a:pt x="1" y="10"/>
                      <a:pt x="1" y="11"/>
                      <a:pt x="1" y="11"/>
                    </a:cubicBezTo>
                    <a:close/>
                    <a:moveTo>
                      <a:pt x="185" y="32"/>
                    </a:moveTo>
                    <a:cubicBezTo>
                      <a:pt x="185" y="32"/>
                      <a:pt x="185" y="32"/>
                      <a:pt x="185" y="32"/>
                    </a:cubicBezTo>
                    <a:cubicBezTo>
                      <a:pt x="185" y="32"/>
                      <a:pt x="185" y="32"/>
                      <a:pt x="185" y="32"/>
                    </a:cubicBezTo>
                    <a:cubicBezTo>
                      <a:pt x="185" y="32"/>
                      <a:pt x="186" y="32"/>
                      <a:pt x="186" y="32"/>
                    </a:cubicBezTo>
                    <a:cubicBezTo>
                      <a:pt x="186" y="32"/>
                      <a:pt x="185" y="32"/>
                      <a:pt x="185" y="32"/>
                    </a:cubicBezTo>
                    <a:close/>
                    <a:moveTo>
                      <a:pt x="152" y="22"/>
                    </a:moveTo>
                    <a:cubicBezTo>
                      <a:pt x="151" y="22"/>
                      <a:pt x="151" y="23"/>
                      <a:pt x="151" y="23"/>
                    </a:cubicBezTo>
                    <a:cubicBezTo>
                      <a:pt x="151" y="23"/>
                      <a:pt x="151" y="23"/>
                      <a:pt x="151" y="24"/>
                    </a:cubicBezTo>
                    <a:cubicBezTo>
                      <a:pt x="151" y="23"/>
                      <a:pt x="152" y="23"/>
                      <a:pt x="152" y="22"/>
                    </a:cubicBezTo>
                    <a:close/>
                    <a:moveTo>
                      <a:pt x="170" y="2"/>
                    </a:moveTo>
                    <a:cubicBezTo>
                      <a:pt x="170" y="2"/>
                      <a:pt x="170" y="2"/>
                      <a:pt x="170" y="1"/>
                    </a:cubicBezTo>
                    <a:cubicBezTo>
                      <a:pt x="170" y="0"/>
                      <a:pt x="169" y="1"/>
                      <a:pt x="168" y="1"/>
                    </a:cubicBezTo>
                    <a:cubicBezTo>
                      <a:pt x="167" y="1"/>
                      <a:pt x="168" y="3"/>
                      <a:pt x="168" y="3"/>
                    </a:cubicBezTo>
                    <a:cubicBezTo>
                      <a:pt x="168" y="3"/>
                      <a:pt x="169" y="2"/>
                      <a:pt x="170" y="2"/>
                    </a:cubicBezTo>
                    <a:close/>
                    <a:moveTo>
                      <a:pt x="176" y="34"/>
                    </a:moveTo>
                    <a:cubicBezTo>
                      <a:pt x="175" y="34"/>
                      <a:pt x="175" y="35"/>
                      <a:pt x="176" y="35"/>
                    </a:cubicBezTo>
                    <a:cubicBezTo>
                      <a:pt x="177" y="36"/>
                      <a:pt x="177" y="35"/>
                      <a:pt x="178" y="35"/>
                    </a:cubicBezTo>
                    <a:cubicBezTo>
                      <a:pt x="178" y="35"/>
                      <a:pt x="177" y="35"/>
                      <a:pt x="177" y="35"/>
                    </a:cubicBezTo>
                    <a:cubicBezTo>
                      <a:pt x="177" y="35"/>
                      <a:pt x="177" y="34"/>
                      <a:pt x="176" y="34"/>
                    </a:cubicBezTo>
                    <a:close/>
                    <a:moveTo>
                      <a:pt x="173" y="7"/>
                    </a:moveTo>
                    <a:cubicBezTo>
                      <a:pt x="172" y="7"/>
                      <a:pt x="172" y="7"/>
                      <a:pt x="172" y="7"/>
                    </a:cubicBezTo>
                    <a:cubicBezTo>
                      <a:pt x="173" y="8"/>
                      <a:pt x="171" y="8"/>
                      <a:pt x="171" y="8"/>
                    </a:cubicBezTo>
                    <a:cubicBezTo>
                      <a:pt x="171" y="8"/>
                      <a:pt x="173" y="9"/>
                      <a:pt x="173" y="7"/>
                    </a:cubicBezTo>
                    <a:close/>
                    <a:moveTo>
                      <a:pt x="182" y="30"/>
                    </a:moveTo>
                    <a:cubicBezTo>
                      <a:pt x="182" y="30"/>
                      <a:pt x="184" y="30"/>
                      <a:pt x="184" y="31"/>
                    </a:cubicBezTo>
                    <a:cubicBezTo>
                      <a:pt x="184" y="30"/>
                      <a:pt x="183" y="30"/>
                      <a:pt x="182" y="30"/>
                    </a:cubicBezTo>
                    <a:cubicBezTo>
                      <a:pt x="182" y="30"/>
                      <a:pt x="182" y="30"/>
                      <a:pt x="182" y="30"/>
                    </a:cubicBezTo>
                    <a:close/>
                    <a:moveTo>
                      <a:pt x="6" y="21"/>
                    </a:moveTo>
                    <a:cubicBezTo>
                      <a:pt x="5" y="22"/>
                      <a:pt x="6" y="22"/>
                      <a:pt x="6" y="22"/>
                    </a:cubicBezTo>
                    <a:cubicBezTo>
                      <a:pt x="6" y="23"/>
                      <a:pt x="6" y="23"/>
                      <a:pt x="6" y="23"/>
                    </a:cubicBezTo>
                    <a:cubicBezTo>
                      <a:pt x="6" y="23"/>
                      <a:pt x="6" y="23"/>
                      <a:pt x="6" y="23"/>
                    </a:cubicBezTo>
                    <a:cubicBezTo>
                      <a:pt x="7" y="24"/>
                      <a:pt x="7" y="22"/>
                      <a:pt x="7" y="21"/>
                    </a:cubicBezTo>
                    <a:cubicBezTo>
                      <a:pt x="6" y="21"/>
                      <a:pt x="6" y="22"/>
                      <a:pt x="6" y="21"/>
                    </a:cubicBezTo>
                    <a:close/>
                    <a:moveTo>
                      <a:pt x="115" y="55"/>
                    </a:moveTo>
                    <a:cubicBezTo>
                      <a:pt x="116" y="55"/>
                      <a:pt x="115" y="54"/>
                      <a:pt x="115" y="53"/>
                    </a:cubicBezTo>
                    <a:cubicBezTo>
                      <a:pt x="115" y="53"/>
                      <a:pt x="115" y="51"/>
                      <a:pt x="115" y="51"/>
                    </a:cubicBezTo>
                    <a:cubicBezTo>
                      <a:pt x="114" y="50"/>
                      <a:pt x="115" y="53"/>
                      <a:pt x="115" y="54"/>
                    </a:cubicBezTo>
                    <a:cubicBezTo>
                      <a:pt x="114" y="54"/>
                      <a:pt x="115" y="55"/>
                      <a:pt x="115" y="5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3" name="Malawi">
                <a:extLst>
                  <a:ext uri="{FF2B5EF4-FFF2-40B4-BE49-F238E27FC236}">
                    <a16:creationId xmlns:a16="http://schemas.microsoft.com/office/drawing/2014/main" id="{847A25A2-1448-7C3D-5C37-71258DEB8623}"/>
                  </a:ext>
                </a:extLst>
              </p:cNvPr>
              <p:cNvSpPr>
                <a:spLocks noEditPoints="1"/>
              </p:cNvSpPr>
              <p:nvPr/>
            </p:nvSpPr>
            <p:spPr bwMode="auto">
              <a:xfrm>
                <a:off x="6812111" y="4408970"/>
                <a:ext cx="109779" cy="304832"/>
              </a:xfrm>
              <a:custGeom>
                <a:avLst/>
                <a:gdLst/>
                <a:ahLst/>
                <a:cxnLst>
                  <a:cxn ang="0">
                    <a:pos x="27" y="75"/>
                  </a:cxn>
                  <a:cxn ang="0">
                    <a:pos x="26" y="75"/>
                  </a:cxn>
                  <a:cxn ang="0">
                    <a:pos x="23" y="79"/>
                  </a:cxn>
                  <a:cxn ang="0">
                    <a:pos x="24" y="85"/>
                  </a:cxn>
                  <a:cxn ang="0">
                    <a:pos x="22" y="82"/>
                  </a:cxn>
                  <a:cxn ang="0">
                    <a:pos x="18" y="78"/>
                  </a:cxn>
                  <a:cxn ang="0">
                    <a:pos x="16" y="76"/>
                  </a:cxn>
                  <a:cxn ang="0">
                    <a:pos x="16" y="69"/>
                  </a:cxn>
                  <a:cxn ang="0">
                    <a:pos x="18" y="63"/>
                  </a:cxn>
                  <a:cxn ang="0">
                    <a:pos x="17" y="58"/>
                  </a:cxn>
                  <a:cxn ang="0">
                    <a:pos x="15" y="56"/>
                  </a:cxn>
                  <a:cxn ang="0">
                    <a:pos x="10" y="56"/>
                  </a:cxn>
                  <a:cxn ang="0">
                    <a:pos x="7" y="55"/>
                  </a:cxn>
                  <a:cxn ang="0">
                    <a:pos x="5" y="51"/>
                  </a:cxn>
                  <a:cxn ang="0">
                    <a:pos x="3" y="51"/>
                  </a:cxn>
                  <a:cxn ang="0">
                    <a:pos x="0" y="47"/>
                  </a:cxn>
                  <a:cxn ang="0">
                    <a:pos x="2" y="45"/>
                  </a:cxn>
                  <a:cxn ang="0">
                    <a:pos x="3" y="39"/>
                  </a:cxn>
                  <a:cxn ang="0">
                    <a:pos x="4" y="36"/>
                  </a:cxn>
                  <a:cxn ang="0">
                    <a:pos x="8" y="33"/>
                  </a:cxn>
                  <a:cxn ang="0">
                    <a:pos x="6" y="28"/>
                  </a:cxn>
                  <a:cxn ang="0">
                    <a:pos x="6" y="23"/>
                  </a:cxn>
                  <a:cxn ang="0">
                    <a:pos x="7" y="18"/>
                  </a:cxn>
                  <a:cxn ang="0">
                    <a:pos x="7" y="16"/>
                  </a:cxn>
                  <a:cxn ang="0">
                    <a:pos x="9" y="11"/>
                  </a:cxn>
                  <a:cxn ang="0">
                    <a:pos x="7" y="6"/>
                  </a:cxn>
                  <a:cxn ang="0">
                    <a:pos x="5" y="3"/>
                  </a:cxn>
                  <a:cxn ang="0">
                    <a:pos x="3" y="1"/>
                  </a:cxn>
                  <a:cxn ang="0">
                    <a:pos x="7" y="2"/>
                  </a:cxn>
                  <a:cxn ang="0">
                    <a:pos x="11" y="3"/>
                  </a:cxn>
                  <a:cxn ang="0">
                    <a:pos x="16" y="11"/>
                  </a:cxn>
                  <a:cxn ang="0">
                    <a:pos x="15" y="13"/>
                  </a:cxn>
                  <a:cxn ang="0">
                    <a:pos x="15" y="19"/>
                  </a:cxn>
                  <a:cxn ang="0">
                    <a:pos x="16" y="26"/>
                  </a:cxn>
                  <a:cxn ang="0">
                    <a:pos x="13" y="32"/>
                  </a:cxn>
                  <a:cxn ang="0">
                    <a:pos x="15" y="36"/>
                  </a:cxn>
                  <a:cxn ang="0">
                    <a:pos x="16" y="43"/>
                  </a:cxn>
                  <a:cxn ang="0">
                    <a:pos x="17" y="46"/>
                  </a:cxn>
                  <a:cxn ang="0">
                    <a:pos x="18" y="49"/>
                  </a:cxn>
                  <a:cxn ang="0">
                    <a:pos x="19" y="54"/>
                  </a:cxn>
                  <a:cxn ang="0">
                    <a:pos x="21" y="51"/>
                  </a:cxn>
                  <a:cxn ang="0">
                    <a:pos x="23" y="54"/>
                  </a:cxn>
                  <a:cxn ang="0">
                    <a:pos x="24" y="51"/>
                  </a:cxn>
                  <a:cxn ang="0">
                    <a:pos x="21" y="46"/>
                  </a:cxn>
                  <a:cxn ang="0">
                    <a:pos x="30" y="58"/>
                  </a:cxn>
                  <a:cxn ang="0">
                    <a:pos x="30" y="61"/>
                  </a:cxn>
                  <a:cxn ang="0">
                    <a:pos x="20" y="30"/>
                  </a:cxn>
                  <a:cxn ang="0">
                    <a:pos x="19" y="30"/>
                  </a:cxn>
                </a:cxnLst>
                <a:rect l="0" t="0" r="r" b="b"/>
                <a:pathLst>
                  <a:path w="31" h="86">
                    <a:moveTo>
                      <a:pt x="30" y="66"/>
                    </a:moveTo>
                    <a:cubicBezTo>
                      <a:pt x="30" y="68"/>
                      <a:pt x="30" y="70"/>
                      <a:pt x="29" y="72"/>
                    </a:cubicBezTo>
                    <a:cubicBezTo>
                      <a:pt x="29" y="73"/>
                      <a:pt x="29" y="74"/>
                      <a:pt x="27" y="75"/>
                    </a:cubicBezTo>
                    <a:cubicBezTo>
                      <a:pt x="27" y="75"/>
                      <a:pt x="27" y="75"/>
                      <a:pt x="27" y="75"/>
                    </a:cubicBezTo>
                    <a:cubicBezTo>
                      <a:pt x="27" y="75"/>
                      <a:pt x="26" y="75"/>
                      <a:pt x="26" y="75"/>
                    </a:cubicBezTo>
                    <a:cubicBezTo>
                      <a:pt x="26" y="75"/>
                      <a:pt x="26" y="75"/>
                      <a:pt x="26" y="75"/>
                    </a:cubicBezTo>
                    <a:cubicBezTo>
                      <a:pt x="26" y="75"/>
                      <a:pt x="25" y="75"/>
                      <a:pt x="25" y="75"/>
                    </a:cubicBezTo>
                    <a:cubicBezTo>
                      <a:pt x="24" y="76"/>
                      <a:pt x="24" y="77"/>
                      <a:pt x="24" y="78"/>
                    </a:cubicBezTo>
                    <a:cubicBezTo>
                      <a:pt x="23" y="79"/>
                      <a:pt x="22" y="79"/>
                      <a:pt x="23" y="79"/>
                    </a:cubicBezTo>
                    <a:cubicBezTo>
                      <a:pt x="23" y="80"/>
                      <a:pt x="24" y="80"/>
                      <a:pt x="24" y="81"/>
                    </a:cubicBezTo>
                    <a:cubicBezTo>
                      <a:pt x="24" y="82"/>
                      <a:pt x="24" y="82"/>
                      <a:pt x="24" y="83"/>
                    </a:cubicBezTo>
                    <a:cubicBezTo>
                      <a:pt x="24" y="84"/>
                      <a:pt x="24" y="84"/>
                      <a:pt x="24" y="85"/>
                    </a:cubicBezTo>
                    <a:cubicBezTo>
                      <a:pt x="24" y="85"/>
                      <a:pt x="24" y="86"/>
                      <a:pt x="23" y="86"/>
                    </a:cubicBezTo>
                    <a:cubicBezTo>
                      <a:pt x="23" y="85"/>
                      <a:pt x="22" y="86"/>
                      <a:pt x="22" y="85"/>
                    </a:cubicBezTo>
                    <a:cubicBezTo>
                      <a:pt x="21" y="84"/>
                      <a:pt x="23" y="84"/>
                      <a:pt x="22" y="82"/>
                    </a:cubicBezTo>
                    <a:cubicBezTo>
                      <a:pt x="22" y="82"/>
                      <a:pt x="22" y="82"/>
                      <a:pt x="21" y="82"/>
                    </a:cubicBezTo>
                    <a:cubicBezTo>
                      <a:pt x="21" y="82"/>
                      <a:pt x="20" y="81"/>
                      <a:pt x="20" y="80"/>
                    </a:cubicBezTo>
                    <a:cubicBezTo>
                      <a:pt x="19" y="80"/>
                      <a:pt x="19" y="79"/>
                      <a:pt x="18" y="78"/>
                    </a:cubicBezTo>
                    <a:cubicBezTo>
                      <a:pt x="18" y="78"/>
                      <a:pt x="18" y="78"/>
                      <a:pt x="17" y="77"/>
                    </a:cubicBezTo>
                    <a:cubicBezTo>
                      <a:pt x="17" y="77"/>
                      <a:pt x="17" y="77"/>
                      <a:pt x="17" y="76"/>
                    </a:cubicBezTo>
                    <a:cubicBezTo>
                      <a:pt x="16" y="76"/>
                      <a:pt x="16" y="76"/>
                      <a:pt x="16" y="76"/>
                    </a:cubicBezTo>
                    <a:cubicBezTo>
                      <a:pt x="16" y="75"/>
                      <a:pt x="16" y="74"/>
                      <a:pt x="16" y="74"/>
                    </a:cubicBezTo>
                    <a:cubicBezTo>
                      <a:pt x="15" y="73"/>
                      <a:pt x="13" y="72"/>
                      <a:pt x="15" y="71"/>
                    </a:cubicBezTo>
                    <a:cubicBezTo>
                      <a:pt x="15" y="70"/>
                      <a:pt x="16" y="70"/>
                      <a:pt x="16" y="69"/>
                    </a:cubicBezTo>
                    <a:cubicBezTo>
                      <a:pt x="16" y="69"/>
                      <a:pt x="16" y="68"/>
                      <a:pt x="16" y="67"/>
                    </a:cubicBezTo>
                    <a:cubicBezTo>
                      <a:pt x="17" y="67"/>
                      <a:pt x="17" y="66"/>
                      <a:pt x="17" y="66"/>
                    </a:cubicBezTo>
                    <a:cubicBezTo>
                      <a:pt x="18" y="65"/>
                      <a:pt x="17" y="64"/>
                      <a:pt x="18" y="63"/>
                    </a:cubicBezTo>
                    <a:cubicBezTo>
                      <a:pt x="18" y="63"/>
                      <a:pt x="18" y="62"/>
                      <a:pt x="18" y="61"/>
                    </a:cubicBezTo>
                    <a:cubicBezTo>
                      <a:pt x="18" y="61"/>
                      <a:pt x="18" y="60"/>
                      <a:pt x="18" y="60"/>
                    </a:cubicBezTo>
                    <a:cubicBezTo>
                      <a:pt x="18" y="59"/>
                      <a:pt x="17" y="59"/>
                      <a:pt x="17" y="58"/>
                    </a:cubicBezTo>
                    <a:cubicBezTo>
                      <a:pt x="17" y="58"/>
                      <a:pt x="17" y="58"/>
                      <a:pt x="17" y="57"/>
                    </a:cubicBezTo>
                    <a:cubicBezTo>
                      <a:pt x="17" y="57"/>
                      <a:pt x="16" y="56"/>
                      <a:pt x="16" y="55"/>
                    </a:cubicBezTo>
                    <a:cubicBezTo>
                      <a:pt x="16" y="55"/>
                      <a:pt x="15" y="56"/>
                      <a:pt x="15" y="56"/>
                    </a:cubicBezTo>
                    <a:cubicBezTo>
                      <a:pt x="14" y="56"/>
                      <a:pt x="13" y="56"/>
                      <a:pt x="13" y="56"/>
                    </a:cubicBezTo>
                    <a:cubicBezTo>
                      <a:pt x="12" y="57"/>
                      <a:pt x="12" y="56"/>
                      <a:pt x="11" y="57"/>
                    </a:cubicBezTo>
                    <a:cubicBezTo>
                      <a:pt x="10" y="57"/>
                      <a:pt x="10" y="56"/>
                      <a:pt x="10" y="56"/>
                    </a:cubicBezTo>
                    <a:cubicBezTo>
                      <a:pt x="9" y="57"/>
                      <a:pt x="9" y="57"/>
                      <a:pt x="9" y="57"/>
                    </a:cubicBezTo>
                    <a:cubicBezTo>
                      <a:pt x="9" y="58"/>
                      <a:pt x="8" y="57"/>
                      <a:pt x="8" y="57"/>
                    </a:cubicBezTo>
                    <a:cubicBezTo>
                      <a:pt x="8" y="56"/>
                      <a:pt x="8" y="56"/>
                      <a:pt x="7" y="55"/>
                    </a:cubicBezTo>
                    <a:cubicBezTo>
                      <a:pt x="7" y="55"/>
                      <a:pt x="7" y="54"/>
                      <a:pt x="6" y="53"/>
                    </a:cubicBezTo>
                    <a:cubicBezTo>
                      <a:pt x="6" y="53"/>
                      <a:pt x="6" y="52"/>
                      <a:pt x="6" y="52"/>
                    </a:cubicBezTo>
                    <a:cubicBezTo>
                      <a:pt x="5" y="52"/>
                      <a:pt x="5" y="51"/>
                      <a:pt x="5" y="51"/>
                    </a:cubicBezTo>
                    <a:cubicBezTo>
                      <a:pt x="5" y="51"/>
                      <a:pt x="5" y="51"/>
                      <a:pt x="4" y="50"/>
                    </a:cubicBezTo>
                    <a:cubicBezTo>
                      <a:pt x="4" y="50"/>
                      <a:pt x="3" y="51"/>
                      <a:pt x="3" y="51"/>
                    </a:cubicBezTo>
                    <a:cubicBezTo>
                      <a:pt x="3" y="52"/>
                      <a:pt x="3" y="52"/>
                      <a:pt x="3" y="51"/>
                    </a:cubicBezTo>
                    <a:cubicBezTo>
                      <a:pt x="2" y="50"/>
                      <a:pt x="2" y="50"/>
                      <a:pt x="2" y="49"/>
                    </a:cubicBezTo>
                    <a:cubicBezTo>
                      <a:pt x="2" y="49"/>
                      <a:pt x="1" y="49"/>
                      <a:pt x="1" y="48"/>
                    </a:cubicBezTo>
                    <a:cubicBezTo>
                      <a:pt x="2" y="47"/>
                      <a:pt x="0" y="47"/>
                      <a:pt x="0" y="47"/>
                    </a:cubicBezTo>
                    <a:cubicBezTo>
                      <a:pt x="0" y="46"/>
                      <a:pt x="1" y="46"/>
                      <a:pt x="1" y="46"/>
                    </a:cubicBezTo>
                    <a:cubicBezTo>
                      <a:pt x="1" y="46"/>
                      <a:pt x="1" y="46"/>
                      <a:pt x="1" y="46"/>
                    </a:cubicBezTo>
                    <a:cubicBezTo>
                      <a:pt x="1" y="45"/>
                      <a:pt x="2" y="45"/>
                      <a:pt x="2" y="45"/>
                    </a:cubicBezTo>
                    <a:cubicBezTo>
                      <a:pt x="2" y="44"/>
                      <a:pt x="2" y="43"/>
                      <a:pt x="3" y="43"/>
                    </a:cubicBezTo>
                    <a:cubicBezTo>
                      <a:pt x="3" y="42"/>
                      <a:pt x="3" y="42"/>
                      <a:pt x="3" y="41"/>
                    </a:cubicBezTo>
                    <a:cubicBezTo>
                      <a:pt x="3" y="41"/>
                      <a:pt x="3" y="40"/>
                      <a:pt x="3" y="39"/>
                    </a:cubicBezTo>
                    <a:cubicBezTo>
                      <a:pt x="4" y="38"/>
                      <a:pt x="2" y="38"/>
                      <a:pt x="3" y="37"/>
                    </a:cubicBezTo>
                    <a:cubicBezTo>
                      <a:pt x="3" y="37"/>
                      <a:pt x="3" y="36"/>
                      <a:pt x="4" y="36"/>
                    </a:cubicBezTo>
                    <a:cubicBezTo>
                      <a:pt x="4" y="35"/>
                      <a:pt x="4" y="36"/>
                      <a:pt x="4" y="36"/>
                    </a:cubicBezTo>
                    <a:cubicBezTo>
                      <a:pt x="5" y="35"/>
                      <a:pt x="5" y="36"/>
                      <a:pt x="5" y="36"/>
                    </a:cubicBezTo>
                    <a:cubicBezTo>
                      <a:pt x="6" y="35"/>
                      <a:pt x="6" y="35"/>
                      <a:pt x="6" y="35"/>
                    </a:cubicBezTo>
                    <a:cubicBezTo>
                      <a:pt x="7" y="35"/>
                      <a:pt x="8" y="33"/>
                      <a:pt x="8" y="33"/>
                    </a:cubicBezTo>
                    <a:cubicBezTo>
                      <a:pt x="8" y="32"/>
                      <a:pt x="7" y="33"/>
                      <a:pt x="7" y="32"/>
                    </a:cubicBezTo>
                    <a:cubicBezTo>
                      <a:pt x="6" y="32"/>
                      <a:pt x="6" y="31"/>
                      <a:pt x="6" y="30"/>
                    </a:cubicBezTo>
                    <a:cubicBezTo>
                      <a:pt x="6" y="30"/>
                      <a:pt x="6" y="29"/>
                      <a:pt x="6" y="28"/>
                    </a:cubicBezTo>
                    <a:cubicBezTo>
                      <a:pt x="6" y="28"/>
                      <a:pt x="7" y="25"/>
                      <a:pt x="6" y="25"/>
                    </a:cubicBezTo>
                    <a:cubicBezTo>
                      <a:pt x="5" y="24"/>
                      <a:pt x="6" y="24"/>
                      <a:pt x="6" y="23"/>
                    </a:cubicBezTo>
                    <a:cubicBezTo>
                      <a:pt x="6" y="23"/>
                      <a:pt x="6" y="23"/>
                      <a:pt x="6" y="23"/>
                    </a:cubicBezTo>
                    <a:cubicBezTo>
                      <a:pt x="6" y="23"/>
                      <a:pt x="6" y="23"/>
                      <a:pt x="6" y="22"/>
                    </a:cubicBezTo>
                    <a:cubicBezTo>
                      <a:pt x="6" y="22"/>
                      <a:pt x="7" y="21"/>
                      <a:pt x="7" y="20"/>
                    </a:cubicBezTo>
                    <a:cubicBezTo>
                      <a:pt x="8" y="20"/>
                      <a:pt x="7" y="19"/>
                      <a:pt x="7" y="18"/>
                    </a:cubicBezTo>
                    <a:cubicBezTo>
                      <a:pt x="7" y="18"/>
                      <a:pt x="7" y="18"/>
                      <a:pt x="6" y="17"/>
                    </a:cubicBezTo>
                    <a:cubicBezTo>
                      <a:pt x="6" y="17"/>
                      <a:pt x="6" y="17"/>
                      <a:pt x="6" y="17"/>
                    </a:cubicBezTo>
                    <a:cubicBezTo>
                      <a:pt x="6" y="17"/>
                      <a:pt x="7" y="16"/>
                      <a:pt x="7" y="16"/>
                    </a:cubicBezTo>
                    <a:cubicBezTo>
                      <a:pt x="8" y="16"/>
                      <a:pt x="8" y="16"/>
                      <a:pt x="9" y="15"/>
                    </a:cubicBezTo>
                    <a:cubicBezTo>
                      <a:pt x="9" y="15"/>
                      <a:pt x="9" y="14"/>
                      <a:pt x="10" y="14"/>
                    </a:cubicBezTo>
                    <a:cubicBezTo>
                      <a:pt x="11" y="13"/>
                      <a:pt x="9" y="12"/>
                      <a:pt x="9" y="11"/>
                    </a:cubicBezTo>
                    <a:cubicBezTo>
                      <a:pt x="9" y="10"/>
                      <a:pt x="9" y="10"/>
                      <a:pt x="9" y="9"/>
                    </a:cubicBezTo>
                    <a:cubicBezTo>
                      <a:pt x="8" y="9"/>
                      <a:pt x="8" y="9"/>
                      <a:pt x="8" y="8"/>
                    </a:cubicBezTo>
                    <a:cubicBezTo>
                      <a:pt x="6" y="7"/>
                      <a:pt x="8" y="7"/>
                      <a:pt x="7" y="6"/>
                    </a:cubicBezTo>
                    <a:cubicBezTo>
                      <a:pt x="7" y="5"/>
                      <a:pt x="6" y="5"/>
                      <a:pt x="6" y="4"/>
                    </a:cubicBezTo>
                    <a:cubicBezTo>
                      <a:pt x="6" y="4"/>
                      <a:pt x="6" y="3"/>
                      <a:pt x="6" y="3"/>
                    </a:cubicBezTo>
                    <a:cubicBezTo>
                      <a:pt x="5" y="3"/>
                      <a:pt x="5" y="3"/>
                      <a:pt x="5" y="3"/>
                    </a:cubicBezTo>
                    <a:cubicBezTo>
                      <a:pt x="5" y="4"/>
                      <a:pt x="4" y="3"/>
                      <a:pt x="4" y="3"/>
                    </a:cubicBezTo>
                    <a:cubicBezTo>
                      <a:pt x="4" y="3"/>
                      <a:pt x="4" y="2"/>
                      <a:pt x="4" y="2"/>
                    </a:cubicBezTo>
                    <a:cubicBezTo>
                      <a:pt x="4" y="2"/>
                      <a:pt x="4" y="1"/>
                      <a:pt x="3" y="1"/>
                    </a:cubicBezTo>
                    <a:cubicBezTo>
                      <a:pt x="3" y="1"/>
                      <a:pt x="3" y="1"/>
                      <a:pt x="3" y="1"/>
                    </a:cubicBezTo>
                    <a:cubicBezTo>
                      <a:pt x="4" y="0"/>
                      <a:pt x="5" y="2"/>
                      <a:pt x="6" y="2"/>
                    </a:cubicBezTo>
                    <a:cubicBezTo>
                      <a:pt x="6" y="2"/>
                      <a:pt x="7" y="1"/>
                      <a:pt x="7" y="2"/>
                    </a:cubicBezTo>
                    <a:cubicBezTo>
                      <a:pt x="8" y="2"/>
                      <a:pt x="8" y="3"/>
                      <a:pt x="8" y="3"/>
                    </a:cubicBezTo>
                    <a:cubicBezTo>
                      <a:pt x="9" y="3"/>
                      <a:pt x="9" y="3"/>
                      <a:pt x="9" y="3"/>
                    </a:cubicBezTo>
                    <a:cubicBezTo>
                      <a:pt x="10" y="3"/>
                      <a:pt x="10" y="3"/>
                      <a:pt x="11" y="3"/>
                    </a:cubicBezTo>
                    <a:cubicBezTo>
                      <a:pt x="11" y="2"/>
                      <a:pt x="13" y="3"/>
                      <a:pt x="13" y="4"/>
                    </a:cubicBezTo>
                    <a:cubicBezTo>
                      <a:pt x="13" y="6"/>
                      <a:pt x="13" y="8"/>
                      <a:pt x="15" y="10"/>
                    </a:cubicBezTo>
                    <a:cubicBezTo>
                      <a:pt x="15" y="10"/>
                      <a:pt x="16" y="11"/>
                      <a:pt x="16" y="11"/>
                    </a:cubicBezTo>
                    <a:cubicBezTo>
                      <a:pt x="16" y="11"/>
                      <a:pt x="16" y="12"/>
                      <a:pt x="16" y="12"/>
                    </a:cubicBezTo>
                    <a:cubicBezTo>
                      <a:pt x="16" y="12"/>
                      <a:pt x="16" y="12"/>
                      <a:pt x="15" y="12"/>
                    </a:cubicBezTo>
                    <a:cubicBezTo>
                      <a:pt x="15" y="13"/>
                      <a:pt x="15" y="13"/>
                      <a:pt x="15" y="13"/>
                    </a:cubicBezTo>
                    <a:cubicBezTo>
                      <a:pt x="15" y="13"/>
                      <a:pt x="15" y="13"/>
                      <a:pt x="15" y="14"/>
                    </a:cubicBezTo>
                    <a:cubicBezTo>
                      <a:pt x="15" y="14"/>
                      <a:pt x="15" y="15"/>
                      <a:pt x="15" y="15"/>
                    </a:cubicBezTo>
                    <a:cubicBezTo>
                      <a:pt x="15" y="17"/>
                      <a:pt x="16" y="18"/>
                      <a:pt x="15" y="19"/>
                    </a:cubicBezTo>
                    <a:cubicBezTo>
                      <a:pt x="15" y="20"/>
                      <a:pt x="15" y="20"/>
                      <a:pt x="15" y="21"/>
                    </a:cubicBezTo>
                    <a:cubicBezTo>
                      <a:pt x="16" y="22"/>
                      <a:pt x="16" y="22"/>
                      <a:pt x="16" y="23"/>
                    </a:cubicBezTo>
                    <a:cubicBezTo>
                      <a:pt x="16" y="24"/>
                      <a:pt x="17" y="25"/>
                      <a:pt x="16" y="26"/>
                    </a:cubicBezTo>
                    <a:cubicBezTo>
                      <a:pt x="15" y="27"/>
                      <a:pt x="15" y="27"/>
                      <a:pt x="15" y="27"/>
                    </a:cubicBezTo>
                    <a:cubicBezTo>
                      <a:pt x="15" y="28"/>
                      <a:pt x="15" y="28"/>
                      <a:pt x="14" y="29"/>
                    </a:cubicBezTo>
                    <a:cubicBezTo>
                      <a:pt x="13" y="29"/>
                      <a:pt x="13" y="31"/>
                      <a:pt x="13" y="32"/>
                    </a:cubicBezTo>
                    <a:cubicBezTo>
                      <a:pt x="13" y="32"/>
                      <a:pt x="13" y="33"/>
                      <a:pt x="14" y="33"/>
                    </a:cubicBezTo>
                    <a:cubicBezTo>
                      <a:pt x="14" y="33"/>
                      <a:pt x="15" y="34"/>
                      <a:pt x="15" y="35"/>
                    </a:cubicBezTo>
                    <a:cubicBezTo>
                      <a:pt x="15" y="35"/>
                      <a:pt x="14" y="35"/>
                      <a:pt x="15" y="36"/>
                    </a:cubicBezTo>
                    <a:cubicBezTo>
                      <a:pt x="15" y="36"/>
                      <a:pt x="15" y="37"/>
                      <a:pt x="15" y="37"/>
                    </a:cubicBezTo>
                    <a:cubicBezTo>
                      <a:pt x="15" y="38"/>
                      <a:pt x="16" y="39"/>
                      <a:pt x="16" y="39"/>
                    </a:cubicBezTo>
                    <a:cubicBezTo>
                      <a:pt x="16" y="40"/>
                      <a:pt x="16" y="41"/>
                      <a:pt x="16" y="43"/>
                    </a:cubicBezTo>
                    <a:cubicBezTo>
                      <a:pt x="16" y="43"/>
                      <a:pt x="16" y="43"/>
                      <a:pt x="16" y="44"/>
                    </a:cubicBezTo>
                    <a:cubicBezTo>
                      <a:pt x="16" y="44"/>
                      <a:pt x="16" y="45"/>
                      <a:pt x="16" y="45"/>
                    </a:cubicBezTo>
                    <a:cubicBezTo>
                      <a:pt x="16" y="46"/>
                      <a:pt x="16" y="46"/>
                      <a:pt x="17" y="46"/>
                    </a:cubicBezTo>
                    <a:cubicBezTo>
                      <a:pt x="17" y="47"/>
                      <a:pt x="17" y="46"/>
                      <a:pt x="18" y="46"/>
                    </a:cubicBezTo>
                    <a:cubicBezTo>
                      <a:pt x="18" y="47"/>
                      <a:pt x="18" y="47"/>
                      <a:pt x="18" y="48"/>
                    </a:cubicBezTo>
                    <a:cubicBezTo>
                      <a:pt x="19" y="48"/>
                      <a:pt x="18" y="49"/>
                      <a:pt x="18" y="49"/>
                    </a:cubicBezTo>
                    <a:cubicBezTo>
                      <a:pt x="18" y="50"/>
                      <a:pt x="17" y="51"/>
                      <a:pt x="18" y="52"/>
                    </a:cubicBezTo>
                    <a:cubicBezTo>
                      <a:pt x="18" y="52"/>
                      <a:pt x="18" y="52"/>
                      <a:pt x="18" y="53"/>
                    </a:cubicBezTo>
                    <a:cubicBezTo>
                      <a:pt x="18" y="53"/>
                      <a:pt x="19" y="53"/>
                      <a:pt x="19" y="54"/>
                    </a:cubicBezTo>
                    <a:cubicBezTo>
                      <a:pt x="19" y="55"/>
                      <a:pt x="20" y="54"/>
                      <a:pt x="20" y="53"/>
                    </a:cubicBezTo>
                    <a:cubicBezTo>
                      <a:pt x="20" y="53"/>
                      <a:pt x="21" y="52"/>
                      <a:pt x="21" y="52"/>
                    </a:cubicBezTo>
                    <a:cubicBezTo>
                      <a:pt x="21" y="52"/>
                      <a:pt x="20" y="51"/>
                      <a:pt x="21" y="51"/>
                    </a:cubicBezTo>
                    <a:cubicBezTo>
                      <a:pt x="21" y="51"/>
                      <a:pt x="21" y="53"/>
                      <a:pt x="22" y="53"/>
                    </a:cubicBezTo>
                    <a:cubicBezTo>
                      <a:pt x="22" y="53"/>
                      <a:pt x="22" y="53"/>
                      <a:pt x="23" y="53"/>
                    </a:cubicBezTo>
                    <a:cubicBezTo>
                      <a:pt x="23" y="53"/>
                      <a:pt x="23" y="54"/>
                      <a:pt x="23" y="54"/>
                    </a:cubicBezTo>
                    <a:cubicBezTo>
                      <a:pt x="23" y="54"/>
                      <a:pt x="24" y="56"/>
                      <a:pt x="25" y="55"/>
                    </a:cubicBezTo>
                    <a:cubicBezTo>
                      <a:pt x="25" y="55"/>
                      <a:pt x="24" y="54"/>
                      <a:pt x="24" y="54"/>
                    </a:cubicBezTo>
                    <a:cubicBezTo>
                      <a:pt x="24" y="53"/>
                      <a:pt x="24" y="52"/>
                      <a:pt x="24" y="51"/>
                    </a:cubicBezTo>
                    <a:cubicBezTo>
                      <a:pt x="23" y="50"/>
                      <a:pt x="23" y="48"/>
                      <a:pt x="23" y="48"/>
                    </a:cubicBezTo>
                    <a:cubicBezTo>
                      <a:pt x="22" y="48"/>
                      <a:pt x="22" y="48"/>
                      <a:pt x="21" y="48"/>
                    </a:cubicBezTo>
                    <a:cubicBezTo>
                      <a:pt x="20" y="48"/>
                      <a:pt x="21" y="46"/>
                      <a:pt x="21" y="46"/>
                    </a:cubicBezTo>
                    <a:cubicBezTo>
                      <a:pt x="22" y="46"/>
                      <a:pt x="23" y="48"/>
                      <a:pt x="24" y="49"/>
                    </a:cubicBezTo>
                    <a:cubicBezTo>
                      <a:pt x="25" y="50"/>
                      <a:pt x="26" y="52"/>
                      <a:pt x="27" y="53"/>
                    </a:cubicBezTo>
                    <a:cubicBezTo>
                      <a:pt x="28" y="55"/>
                      <a:pt x="29" y="56"/>
                      <a:pt x="30" y="58"/>
                    </a:cubicBezTo>
                    <a:cubicBezTo>
                      <a:pt x="30" y="58"/>
                      <a:pt x="30" y="59"/>
                      <a:pt x="30" y="59"/>
                    </a:cubicBezTo>
                    <a:cubicBezTo>
                      <a:pt x="30" y="60"/>
                      <a:pt x="30" y="60"/>
                      <a:pt x="30" y="60"/>
                    </a:cubicBezTo>
                    <a:cubicBezTo>
                      <a:pt x="30" y="61"/>
                      <a:pt x="31" y="61"/>
                      <a:pt x="30" y="61"/>
                    </a:cubicBezTo>
                    <a:cubicBezTo>
                      <a:pt x="30" y="62"/>
                      <a:pt x="30" y="63"/>
                      <a:pt x="30" y="64"/>
                    </a:cubicBezTo>
                    <a:cubicBezTo>
                      <a:pt x="29" y="64"/>
                      <a:pt x="30" y="65"/>
                      <a:pt x="30" y="66"/>
                    </a:cubicBezTo>
                    <a:close/>
                    <a:moveTo>
                      <a:pt x="20" y="30"/>
                    </a:moveTo>
                    <a:cubicBezTo>
                      <a:pt x="21" y="30"/>
                      <a:pt x="20" y="29"/>
                      <a:pt x="20" y="29"/>
                    </a:cubicBezTo>
                    <a:cubicBezTo>
                      <a:pt x="20" y="30"/>
                      <a:pt x="19" y="31"/>
                      <a:pt x="20" y="30"/>
                    </a:cubicBezTo>
                    <a:close/>
                    <a:moveTo>
                      <a:pt x="19" y="30"/>
                    </a:moveTo>
                    <a:cubicBezTo>
                      <a:pt x="20" y="29"/>
                      <a:pt x="19" y="29"/>
                      <a:pt x="19" y="29"/>
                    </a:cubicBezTo>
                    <a:cubicBezTo>
                      <a:pt x="18" y="29"/>
                      <a:pt x="19" y="30"/>
                      <a:pt x="19" y="3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4" name="Madagascar">
                <a:extLst>
                  <a:ext uri="{FF2B5EF4-FFF2-40B4-BE49-F238E27FC236}">
                    <a16:creationId xmlns:a16="http://schemas.microsoft.com/office/drawing/2014/main" id="{3FF9081B-6FEA-DC17-3100-39E20EB112A7}"/>
                  </a:ext>
                </a:extLst>
              </p:cNvPr>
              <p:cNvSpPr>
                <a:spLocks noEditPoints="1"/>
              </p:cNvSpPr>
              <p:nvPr/>
            </p:nvSpPr>
            <p:spPr bwMode="auto">
              <a:xfrm>
                <a:off x="7148893" y="4511888"/>
                <a:ext cx="261704" cy="532231"/>
              </a:xfrm>
              <a:custGeom>
                <a:avLst/>
                <a:gdLst/>
                <a:ahLst/>
                <a:cxnLst>
                  <a:cxn ang="0">
                    <a:pos x="70" y="44"/>
                  </a:cxn>
                  <a:cxn ang="0">
                    <a:pos x="67" y="38"/>
                  </a:cxn>
                  <a:cxn ang="0">
                    <a:pos x="67" y="48"/>
                  </a:cxn>
                  <a:cxn ang="0">
                    <a:pos x="64" y="55"/>
                  </a:cxn>
                  <a:cxn ang="0">
                    <a:pos x="61" y="68"/>
                  </a:cxn>
                  <a:cxn ang="0">
                    <a:pos x="56" y="83"/>
                  </a:cxn>
                  <a:cxn ang="0">
                    <a:pos x="54" y="90"/>
                  </a:cxn>
                  <a:cxn ang="0">
                    <a:pos x="50" y="99"/>
                  </a:cxn>
                  <a:cxn ang="0">
                    <a:pos x="41" y="126"/>
                  </a:cxn>
                  <a:cxn ang="0">
                    <a:pos x="40" y="131"/>
                  </a:cxn>
                  <a:cxn ang="0">
                    <a:pos x="37" y="138"/>
                  </a:cxn>
                  <a:cxn ang="0">
                    <a:pos x="35" y="142"/>
                  </a:cxn>
                  <a:cxn ang="0">
                    <a:pos x="32" y="144"/>
                  </a:cxn>
                  <a:cxn ang="0">
                    <a:pos x="22" y="148"/>
                  </a:cxn>
                  <a:cxn ang="0">
                    <a:pos x="12" y="146"/>
                  </a:cxn>
                  <a:cxn ang="0">
                    <a:pos x="8" y="144"/>
                  </a:cxn>
                  <a:cxn ang="0">
                    <a:pos x="5" y="140"/>
                  </a:cxn>
                  <a:cxn ang="0">
                    <a:pos x="3" y="128"/>
                  </a:cxn>
                  <a:cxn ang="0">
                    <a:pos x="1" y="120"/>
                  </a:cxn>
                  <a:cxn ang="0">
                    <a:pos x="1" y="112"/>
                  </a:cxn>
                  <a:cxn ang="0">
                    <a:pos x="1" y="109"/>
                  </a:cxn>
                  <a:cxn ang="0">
                    <a:pos x="4" y="102"/>
                  </a:cxn>
                  <a:cxn ang="0">
                    <a:pos x="10" y="93"/>
                  </a:cxn>
                  <a:cxn ang="0">
                    <a:pos x="13" y="88"/>
                  </a:cxn>
                  <a:cxn ang="0">
                    <a:pos x="12" y="75"/>
                  </a:cxn>
                  <a:cxn ang="0">
                    <a:pos x="10" y="65"/>
                  </a:cxn>
                  <a:cxn ang="0">
                    <a:pos x="15" y="52"/>
                  </a:cxn>
                  <a:cxn ang="0">
                    <a:pos x="16" y="46"/>
                  </a:cxn>
                  <a:cxn ang="0">
                    <a:pos x="21" y="45"/>
                  </a:cxn>
                  <a:cxn ang="0">
                    <a:pos x="24" y="44"/>
                  </a:cxn>
                  <a:cxn ang="0">
                    <a:pos x="27" y="43"/>
                  </a:cxn>
                  <a:cxn ang="0">
                    <a:pos x="30" y="43"/>
                  </a:cxn>
                  <a:cxn ang="0">
                    <a:pos x="33" y="44"/>
                  </a:cxn>
                  <a:cxn ang="0">
                    <a:pos x="33" y="42"/>
                  </a:cxn>
                  <a:cxn ang="0">
                    <a:pos x="40" y="36"/>
                  </a:cxn>
                  <a:cxn ang="0">
                    <a:pos x="40" y="39"/>
                  </a:cxn>
                  <a:cxn ang="0">
                    <a:pos x="41" y="36"/>
                  </a:cxn>
                  <a:cxn ang="0">
                    <a:pos x="44" y="32"/>
                  </a:cxn>
                  <a:cxn ang="0">
                    <a:pos x="44" y="33"/>
                  </a:cxn>
                  <a:cxn ang="0">
                    <a:pos x="49" y="30"/>
                  </a:cxn>
                  <a:cxn ang="0">
                    <a:pos x="48" y="29"/>
                  </a:cxn>
                  <a:cxn ang="0">
                    <a:pos x="47" y="26"/>
                  </a:cxn>
                  <a:cxn ang="0">
                    <a:pos x="50" y="26"/>
                  </a:cxn>
                  <a:cxn ang="0">
                    <a:pos x="50" y="21"/>
                  </a:cxn>
                  <a:cxn ang="0">
                    <a:pos x="51" y="17"/>
                  </a:cxn>
                  <a:cxn ang="0">
                    <a:pos x="53" y="20"/>
                  </a:cxn>
                  <a:cxn ang="0">
                    <a:pos x="55" y="17"/>
                  </a:cxn>
                  <a:cxn ang="0">
                    <a:pos x="59" y="14"/>
                  </a:cxn>
                  <a:cxn ang="0">
                    <a:pos x="59" y="6"/>
                  </a:cxn>
                  <a:cxn ang="0">
                    <a:pos x="60" y="5"/>
                  </a:cxn>
                  <a:cxn ang="0">
                    <a:pos x="62" y="2"/>
                  </a:cxn>
                  <a:cxn ang="0">
                    <a:pos x="63" y="1"/>
                  </a:cxn>
                  <a:cxn ang="0">
                    <a:pos x="63" y="3"/>
                  </a:cxn>
                  <a:cxn ang="0">
                    <a:pos x="64" y="3"/>
                  </a:cxn>
                  <a:cxn ang="0">
                    <a:pos x="66" y="6"/>
                  </a:cxn>
                  <a:cxn ang="0">
                    <a:pos x="67" y="8"/>
                  </a:cxn>
                  <a:cxn ang="0">
                    <a:pos x="69" y="13"/>
                  </a:cxn>
                  <a:cxn ang="0">
                    <a:pos x="71" y="18"/>
                  </a:cxn>
                  <a:cxn ang="0">
                    <a:pos x="71" y="26"/>
                  </a:cxn>
                  <a:cxn ang="0">
                    <a:pos x="73" y="40"/>
                  </a:cxn>
                  <a:cxn ang="0">
                    <a:pos x="67" y="54"/>
                  </a:cxn>
                  <a:cxn ang="0">
                    <a:pos x="54" y="14"/>
                  </a:cxn>
                  <a:cxn ang="0">
                    <a:pos x="52" y="15"/>
                  </a:cxn>
                </a:cxnLst>
                <a:rect l="0" t="0" r="r" b="b"/>
                <a:pathLst>
                  <a:path w="74" h="150">
                    <a:moveTo>
                      <a:pt x="73" y="40"/>
                    </a:moveTo>
                    <a:cubicBezTo>
                      <a:pt x="72" y="40"/>
                      <a:pt x="72" y="41"/>
                      <a:pt x="72" y="42"/>
                    </a:cubicBezTo>
                    <a:cubicBezTo>
                      <a:pt x="71" y="42"/>
                      <a:pt x="71" y="43"/>
                      <a:pt x="71" y="43"/>
                    </a:cubicBezTo>
                    <a:cubicBezTo>
                      <a:pt x="71" y="44"/>
                      <a:pt x="70" y="44"/>
                      <a:pt x="70" y="44"/>
                    </a:cubicBezTo>
                    <a:cubicBezTo>
                      <a:pt x="70" y="43"/>
                      <a:pt x="69" y="43"/>
                      <a:pt x="69" y="42"/>
                    </a:cubicBezTo>
                    <a:cubicBezTo>
                      <a:pt x="69" y="41"/>
                      <a:pt x="68" y="41"/>
                      <a:pt x="68" y="40"/>
                    </a:cubicBezTo>
                    <a:cubicBezTo>
                      <a:pt x="68" y="40"/>
                      <a:pt x="68" y="39"/>
                      <a:pt x="68" y="39"/>
                    </a:cubicBezTo>
                    <a:cubicBezTo>
                      <a:pt x="68" y="38"/>
                      <a:pt x="68" y="38"/>
                      <a:pt x="67" y="38"/>
                    </a:cubicBezTo>
                    <a:cubicBezTo>
                      <a:pt x="66" y="38"/>
                      <a:pt x="66" y="38"/>
                      <a:pt x="65" y="39"/>
                    </a:cubicBezTo>
                    <a:cubicBezTo>
                      <a:pt x="65" y="40"/>
                      <a:pt x="66" y="42"/>
                      <a:pt x="66" y="43"/>
                    </a:cubicBezTo>
                    <a:cubicBezTo>
                      <a:pt x="66" y="44"/>
                      <a:pt x="65" y="45"/>
                      <a:pt x="66" y="46"/>
                    </a:cubicBezTo>
                    <a:cubicBezTo>
                      <a:pt x="67" y="46"/>
                      <a:pt x="66" y="48"/>
                      <a:pt x="67" y="48"/>
                    </a:cubicBezTo>
                    <a:cubicBezTo>
                      <a:pt x="67" y="49"/>
                      <a:pt x="67" y="50"/>
                      <a:pt x="66" y="50"/>
                    </a:cubicBezTo>
                    <a:cubicBezTo>
                      <a:pt x="66" y="51"/>
                      <a:pt x="65" y="52"/>
                      <a:pt x="65" y="53"/>
                    </a:cubicBezTo>
                    <a:cubicBezTo>
                      <a:pt x="65" y="53"/>
                      <a:pt x="66" y="53"/>
                      <a:pt x="66" y="53"/>
                    </a:cubicBezTo>
                    <a:cubicBezTo>
                      <a:pt x="65" y="54"/>
                      <a:pt x="64" y="53"/>
                      <a:pt x="64" y="55"/>
                    </a:cubicBezTo>
                    <a:cubicBezTo>
                      <a:pt x="63" y="56"/>
                      <a:pt x="62" y="58"/>
                      <a:pt x="62" y="59"/>
                    </a:cubicBezTo>
                    <a:cubicBezTo>
                      <a:pt x="63" y="61"/>
                      <a:pt x="63" y="63"/>
                      <a:pt x="62" y="64"/>
                    </a:cubicBezTo>
                    <a:cubicBezTo>
                      <a:pt x="62" y="65"/>
                      <a:pt x="62" y="66"/>
                      <a:pt x="62" y="66"/>
                    </a:cubicBezTo>
                    <a:cubicBezTo>
                      <a:pt x="61" y="67"/>
                      <a:pt x="62" y="68"/>
                      <a:pt x="61" y="68"/>
                    </a:cubicBezTo>
                    <a:cubicBezTo>
                      <a:pt x="61" y="69"/>
                      <a:pt x="61" y="70"/>
                      <a:pt x="61" y="71"/>
                    </a:cubicBezTo>
                    <a:cubicBezTo>
                      <a:pt x="61" y="71"/>
                      <a:pt x="60" y="72"/>
                      <a:pt x="60" y="73"/>
                    </a:cubicBezTo>
                    <a:cubicBezTo>
                      <a:pt x="59" y="75"/>
                      <a:pt x="58" y="77"/>
                      <a:pt x="57" y="78"/>
                    </a:cubicBezTo>
                    <a:cubicBezTo>
                      <a:pt x="57" y="80"/>
                      <a:pt x="56" y="82"/>
                      <a:pt x="56" y="83"/>
                    </a:cubicBezTo>
                    <a:cubicBezTo>
                      <a:pt x="55" y="84"/>
                      <a:pt x="55" y="85"/>
                      <a:pt x="55" y="86"/>
                    </a:cubicBezTo>
                    <a:cubicBezTo>
                      <a:pt x="55" y="86"/>
                      <a:pt x="55" y="87"/>
                      <a:pt x="54" y="88"/>
                    </a:cubicBezTo>
                    <a:cubicBezTo>
                      <a:pt x="54" y="88"/>
                      <a:pt x="54" y="88"/>
                      <a:pt x="54" y="88"/>
                    </a:cubicBezTo>
                    <a:cubicBezTo>
                      <a:pt x="54" y="89"/>
                      <a:pt x="54" y="89"/>
                      <a:pt x="54" y="90"/>
                    </a:cubicBezTo>
                    <a:cubicBezTo>
                      <a:pt x="53" y="92"/>
                      <a:pt x="52" y="94"/>
                      <a:pt x="51" y="95"/>
                    </a:cubicBezTo>
                    <a:cubicBezTo>
                      <a:pt x="51" y="96"/>
                      <a:pt x="51" y="97"/>
                      <a:pt x="51" y="98"/>
                    </a:cubicBezTo>
                    <a:cubicBezTo>
                      <a:pt x="51" y="98"/>
                      <a:pt x="50" y="99"/>
                      <a:pt x="50" y="99"/>
                    </a:cubicBezTo>
                    <a:cubicBezTo>
                      <a:pt x="50" y="99"/>
                      <a:pt x="50" y="99"/>
                      <a:pt x="50" y="99"/>
                    </a:cubicBezTo>
                    <a:cubicBezTo>
                      <a:pt x="50" y="100"/>
                      <a:pt x="50" y="101"/>
                      <a:pt x="49" y="103"/>
                    </a:cubicBezTo>
                    <a:cubicBezTo>
                      <a:pt x="48" y="106"/>
                      <a:pt x="47" y="109"/>
                      <a:pt x="45" y="113"/>
                    </a:cubicBezTo>
                    <a:cubicBezTo>
                      <a:pt x="44" y="116"/>
                      <a:pt x="43" y="120"/>
                      <a:pt x="42" y="124"/>
                    </a:cubicBezTo>
                    <a:cubicBezTo>
                      <a:pt x="42" y="125"/>
                      <a:pt x="42" y="125"/>
                      <a:pt x="41" y="126"/>
                    </a:cubicBezTo>
                    <a:cubicBezTo>
                      <a:pt x="41" y="127"/>
                      <a:pt x="41" y="127"/>
                      <a:pt x="41" y="127"/>
                    </a:cubicBezTo>
                    <a:cubicBezTo>
                      <a:pt x="41" y="128"/>
                      <a:pt x="41" y="127"/>
                      <a:pt x="41" y="127"/>
                    </a:cubicBezTo>
                    <a:cubicBezTo>
                      <a:pt x="40" y="128"/>
                      <a:pt x="41" y="128"/>
                      <a:pt x="41" y="129"/>
                    </a:cubicBezTo>
                    <a:cubicBezTo>
                      <a:pt x="40" y="130"/>
                      <a:pt x="40" y="130"/>
                      <a:pt x="40" y="131"/>
                    </a:cubicBezTo>
                    <a:cubicBezTo>
                      <a:pt x="40" y="131"/>
                      <a:pt x="39" y="132"/>
                      <a:pt x="39" y="133"/>
                    </a:cubicBezTo>
                    <a:cubicBezTo>
                      <a:pt x="39" y="133"/>
                      <a:pt x="39" y="134"/>
                      <a:pt x="38" y="134"/>
                    </a:cubicBezTo>
                    <a:cubicBezTo>
                      <a:pt x="38" y="135"/>
                      <a:pt x="38" y="135"/>
                      <a:pt x="38" y="135"/>
                    </a:cubicBezTo>
                    <a:cubicBezTo>
                      <a:pt x="37" y="136"/>
                      <a:pt x="37" y="137"/>
                      <a:pt x="37" y="138"/>
                    </a:cubicBezTo>
                    <a:cubicBezTo>
                      <a:pt x="37" y="138"/>
                      <a:pt x="36" y="139"/>
                      <a:pt x="36" y="140"/>
                    </a:cubicBezTo>
                    <a:cubicBezTo>
                      <a:pt x="36" y="140"/>
                      <a:pt x="36" y="141"/>
                      <a:pt x="36" y="141"/>
                    </a:cubicBezTo>
                    <a:cubicBezTo>
                      <a:pt x="35" y="141"/>
                      <a:pt x="35" y="142"/>
                      <a:pt x="35" y="142"/>
                    </a:cubicBezTo>
                    <a:cubicBezTo>
                      <a:pt x="35" y="142"/>
                      <a:pt x="35" y="142"/>
                      <a:pt x="35" y="142"/>
                    </a:cubicBezTo>
                    <a:cubicBezTo>
                      <a:pt x="35" y="143"/>
                      <a:pt x="35" y="143"/>
                      <a:pt x="34" y="143"/>
                    </a:cubicBezTo>
                    <a:cubicBezTo>
                      <a:pt x="34" y="143"/>
                      <a:pt x="34" y="144"/>
                      <a:pt x="34" y="144"/>
                    </a:cubicBezTo>
                    <a:cubicBezTo>
                      <a:pt x="33" y="144"/>
                      <a:pt x="33" y="143"/>
                      <a:pt x="33" y="144"/>
                    </a:cubicBezTo>
                    <a:cubicBezTo>
                      <a:pt x="33" y="144"/>
                      <a:pt x="33" y="144"/>
                      <a:pt x="32" y="144"/>
                    </a:cubicBezTo>
                    <a:cubicBezTo>
                      <a:pt x="32" y="145"/>
                      <a:pt x="31" y="145"/>
                      <a:pt x="31" y="145"/>
                    </a:cubicBezTo>
                    <a:cubicBezTo>
                      <a:pt x="30" y="145"/>
                      <a:pt x="30" y="145"/>
                      <a:pt x="29" y="145"/>
                    </a:cubicBezTo>
                    <a:cubicBezTo>
                      <a:pt x="28" y="145"/>
                      <a:pt x="27" y="145"/>
                      <a:pt x="26" y="145"/>
                    </a:cubicBezTo>
                    <a:cubicBezTo>
                      <a:pt x="25" y="146"/>
                      <a:pt x="23" y="147"/>
                      <a:pt x="22" y="148"/>
                    </a:cubicBezTo>
                    <a:cubicBezTo>
                      <a:pt x="21" y="149"/>
                      <a:pt x="20" y="149"/>
                      <a:pt x="18" y="149"/>
                    </a:cubicBezTo>
                    <a:cubicBezTo>
                      <a:pt x="17" y="149"/>
                      <a:pt x="17" y="150"/>
                      <a:pt x="16" y="150"/>
                    </a:cubicBezTo>
                    <a:cubicBezTo>
                      <a:pt x="16" y="149"/>
                      <a:pt x="16" y="149"/>
                      <a:pt x="15" y="149"/>
                    </a:cubicBezTo>
                    <a:cubicBezTo>
                      <a:pt x="14" y="148"/>
                      <a:pt x="13" y="147"/>
                      <a:pt x="12" y="146"/>
                    </a:cubicBezTo>
                    <a:cubicBezTo>
                      <a:pt x="10" y="146"/>
                      <a:pt x="9" y="146"/>
                      <a:pt x="8" y="145"/>
                    </a:cubicBezTo>
                    <a:cubicBezTo>
                      <a:pt x="9" y="145"/>
                      <a:pt x="9" y="145"/>
                      <a:pt x="9" y="145"/>
                    </a:cubicBezTo>
                    <a:cubicBezTo>
                      <a:pt x="10" y="146"/>
                      <a:pt x="9" y="145"/>
                      <a:pt x="9" y="145"/>
                    </a:cubicBezTo>
                    <a:cubicBezTo>
                      <a:pt x="9" y="145"/>
                      <a:pt x="8" y="145"/>
                      <a:pt x="8" y="144"/>
                    </a:cubicBezTo>
                    <a:cubicBezTo>
                      <a:pt x="8" y="144"/>
                      <a:pt x="7" y="144"/>
                      <a:pt x="7" y="144"/>
                    </a:cubicBezTo>
                    <a:cubicBezTo>
                      <a:pt x="7" y="143"/>
                      <a:pt x="6" y="143"/>
                      <a:pt x="6" y="143"/>
                    </a:cubicBezTo>
                    <a:cubicBezTo>
                      <a:pt x="6" y="143"/>
                      <a:pt x="6" y="142"/>
                      <a:pt x="6" y="142"/>
                    </a:cubicBezTo>
                    <a:cubicBezTo>
                      <a:pt x="6" y="141"/>
                      <a:pt x="5" y="141"/>
                      <a:pt x="5" y="140"/>
                    </a:cubicBezTo>
                    <a:cubicBezTo>
                      <a:pt x="5" y="140"/>
                      <a:pt x="5" y="140"/>
                      <a:pt x="5" y="139"/>
                    </a:cubicBezTo>
                    <a:cubicBezTo>
                      <a:pt x="5" y="137"/>
                      <a:pt x="3" y="137"/>
                      <a:pt x="3" y="135"/>
                    </a:cubicBezTo>
                    <a:cubicBezTo>
                      <a:pt x="3" y="133"/>
                      <a:pt x="3" y="131"/>
                      <a:pt x="3" y="129"/>
                    </a:cubicBezTo>
                    <a:cubicBezTo>
                      <a:pt x="3" y="129"/>
                      <a:pt x="3" y="128"/>
                      <a:pt x="3" y="128"/>
                    </a:cubicBezTo>
                    <a:cubicBezTo>
                      <a:pt x="4" y="128"/>
                      <a:pt x="4" y="127"/>
                      <a:pt x="4" y="126"/>
                    </a:cubicBezTo>
                    <a:cubicBezTo>
                      <a:pt x="4" y="125"/>
                      <a:pt x="3" y="125"/>
                      <a:pt x="3" y="124"/>
                    </a:cubicBezTo>
                    <a:cubicBezTo>
                      <a:pt x="3" y="123"/>
                      <a:pt x="3" y="122"/>
                      <a:pt x="3" y="122"/>
                    </a:cubicBezTo>
                    <a:cubicBezTo>
                      <a:pt x="2" y="121"/>
                      <a:pt x="1" y="120"/>
                      <a:pt x="1" y="120"/>
                    </a:cubicBezTo>
                    <a:cubicBezTo>
                      <a:pt x="1" y="119"/>
                      <a:pt x="1" y="117"/>
                      <a:pt x="1" y="116"/>
                    </a:cubicBezTo>
                    <a:cubicBezTo>
                      <a:pt x="0" y="116"/>
                      <a:pt x="0" y="115"/>
                      <a:pt x="0" y="114"/>
                    </a:cubicBezTo>
                    <a:cubicBezTo>
                      <a:pt x="0" y="113"/>
                      <a:pt x="0" y="113"/>
                      <a:pt x="0" y="113"/>
                    </a:cubicBezTo>
                    <a:cubicBezTo>
                      <a:pt x="0" y="112"/>
                      <a:pt x="1" y="113"/>
                      <a:pt x="1" y="112"/>
                    </a:cubicBezTo>
                    <a:cubicBezTo>
                      <a:pt x="1" y="112"/>
                      <a:pt x="0" y="111"/>
                      <a:pt x="0" y="111"/>
                    </a:cubicBezTo>
                    <a:cubicBezTo>
                      <a:pt x="0" y="110"/>
                      <a:pt x="1" y="110"/>
                      <a:pt x="1" y="109"/>
                    </a:cubicBezTo>
                    <a:cubicBezTo>
                      <a:pt x="1" y="109"/>
                      <a:pt x="1" y="108"/>
                      <a:pt x="1" y="109"/>
                    </a:cubicBezTo>
                    <a:cubicBezTo>
                      <a:pt x="1" y="109"/>
                      <a:pt x="1" y="109"/>
                      <a:pt x="1" y="109"/>
                    </a:cubicBezTo>
                    <a:cubicBezTo>
                      <a:pt x="2" y="109"/>
                      <a:pt x="1" y="108"/>
                      <a:pt x="1" y="107"/>
                    </a:cubicBezTo>
                    <a:cubicBezTo>
                      <a:pt x="2" y="107"/>
                      <a:pt x="3" y="107"/>
                      <a:pt x="3" y="106"/>
                    </a:cubicBezTo>
                    <a:cubicBezTo>
                      <a:pt x="3" y="104"/>
                      <a:pt x="3" y="104"/>
                      <a:pt x="3" y="103"/>
                    </a:cubicBezTo>
                    <a:cubicBezTo>
                      <a:pt x="3" y="103"/>
                      <a:pt x="4" y="102"/>
                      <a:pt x="4" y="102"/>
                    </a:cubicBezTo>
                    <a:cubicBezTo>
                      <a:pt x="5" y="102"/>
                      <a:pt x="5" y="102"/>
                      <a:pt x="5" y="102"/>
                    </a:cubicBezTo>
                    <a:cubicBezTo>
                      <a:pt x="7" y="102"/>
                      <a:pt x="7" y="99"/>
                      <a:pt x="7" y="98"/>
                    </a:cubicBezTo>
                    <a:cubicBezTo>
                      <a:pt x="8" y="97"/>
                      <a:pt x="9" y="96"/>
                      <a:pt x="9" y="95"/>
                    </a:cubicBezTo>
                    <a:cubicBezTo>
                      <a:pt x="9" y="95"/>
                      <a:pt x="10" y="93"/>
                      <a:pt x="10" y="93"/>
                    </a:cubicBezTo>
                    <a:cubicBezTo>
                      <a:pt x="10" y="93"/>
                      <a:pt x="10" y="93"/>
                      <a:pt x="11" y="92"/>
                    </a:cubicBezTo>
                    <a:cubicBezTo>
                      <a:pt x="11" y="92"/>
                      <a:pt x="11" y="92"/>
                      <a:pt x="11" y="91"/>
                    </a:cubicBezTo>
                    <a:cubicBezTo>
                      <a:pt x="11" y="91"/>
                      <a:pt x="12" y="90"/>
                      <a:pt x="12" y="90"/>
                    </a:cubicBezTo>
                    <a:cubicBezTo>
                      <a:pt x="12" y="89"/>
                      <a:pt x="13" y="89"/>
                      <a:pt x="13" y="88"/>
                    </a:cubicBezTo>
                    <a:cubicBezTo>
                      <a:pt x="13" y="87"/>
                      <a:pt x="13" y="87"/>
                      <a:pt x="13" y="86"/>
                    </a:cubicBezTo>
                    <a:cubicBezTo>
                      <a:pt x="12" y="86"/>
                      <a:pt x="13" y="84"/>
                      <a:pt x="13" y="83"/>
                    </a:cubicBezTo>
                    <a:cubicBezTo>
                      <a:pt x="14" y="81"/>
                      <a:pt x="12" y="80"/>
                      <a:pt x="11" y="78"/>
                    </a:cubicBezTo>
                    <a:cubicBezTo>
                      <a:pt x="11" y="77"/>
                      <a:pt x="12" y="76"/>
                      <a:pt x="12" y="75"/>
                    </a:cubicBezTo>
                    <a:cubicBezTo>
                      <a:pt x="12" y="74"/>
                      <a:pt x="11" y="73"/>
                      <a:pt x="11" y="72"/>
                    </a:cubicBezTo>
                    <a:cubicBezTo>
                      <a:pt x="10" y="72"/>
                      <a:pt x="10" y="71"/>
                      <a:pt x="10" y="71"/>
                    </a:cubicBezTo>
                    <a:cubicBezTo>
                      <a:pt x="10" y="70"/>
                      <a:pt x="10" y="69"/>
                      <a:pt x="10" y="69"/>
                    </a:cubicBezTo>
                    <a:cubicBezTo>
                      <a:pt x="10" y="68"/>
                      <a:pt x="10" y="66"/>
                      <a:pt x="10" y="65"/>
                    </a:cubicBezTo>
                    <a:cubicBezTo>
                      <a:pt x="10" y="64"/>
                      <a:pt x="10" y="63"/>
                      <a:pt x="10" y="62"/>
                    </a:cubicBezTo>
                    <a:cubicBezTo>
                      <a:pt x="9" y="61"/>
                      <a:pt x="9" y="60"/>
                      <a:pt x="10" y="59"/>
                    </a:cubicBezTo>
                    <a:cubicBezTo>
                      <a:pt x="11" y="58"/>
                      <a:pt x="12" y="56"/>
                      <a:pt x="13" y="54"/>
                    </a:cubicBezTo>
                    <a:cubicBezTo>
                      <a:pt x="14" y="53"/>
                      <a:pt x="14" y="52"/>
                      <a:pt x="15" y="52"/>
                    </a:cubicBezTo>
                    <a:cubicBezTo>
                      <a:pt x="15" y="51"/>
                      <a:pt x="14" y="50"/>
                      <a:pt x="15" y="50"/>
                    </a:cubicBezTo>
                    <a:cubicBezTo>
                      <a:pt x="15" y="50"/>
                      <a:pt x="15" y="50"/>
                      <a:pt x="15" y="50"/>
                    </a:cubicBezTo>
                    <a:cubicBezTo>
                      <a:pt x="15" y="49"/>
                      <a:pt x="14" y="49"/>
                      <a:pt x="15" y="48"/>
                    </a:cubicBezTo>
                    <a:cubicBezTo>
                      <a:pt x="15" y="47"/>
                      <a:pt x="15" y="46"/>
                      <a:pt x="16" y="46"/>
                    </a:cubicBezTo>
                    <a:cubicBezTo>
                      <a:pt x="16" y="46"/>
                      <a:pt x="17" y="46"/>
                      <a:pt x="17" y="46"/>
                    </a:cubicBezTo>
                    <a:cubicBezTo>
                      <a:pt x="18" y="46"/>
                      <a:pt x="18" y="46"/>
                      <a:pt x="18" y="46"/>
                    </a:cubicBezTo>
                    <a:cubicBezTo>
                      <a:pt x="19" y="47"/>
                      <a:pt x="19" y="47"/>
                      <a:pt x="19" y="46"/>
                    </a:cubicBezTo>
                    <a:cubicBezTo>
                      <a:pt x="20" y="46"/>
                      <a:pt x="20" y="46"/>
                      <a:pt x="21" y="45"/>
                    </a:cubicBezTo>
                    <a:cubicBezTo>
                      <a:pt x="21" y="45"/>
                      <a:pt x="22" y="44"/>
                      <a:pt x="23" y="43"/>
                    </a:cubicBezTo>
                    <a:cubicBezTo>
                      <a:pt x="24" y="43"/>
                      <a:pt x="22" y="46"/>
                      <a:pt x="24" y="45"/>
                    </a:cubicBezTo>
                    <a:cubicBezTo>
                      <a:pt x="24" y="45"/>
                      <a:pt x="24" y="45"/>
                      <a:pt x="24" y="45"/>
                    </a:cubicBezTo>
                    <a:cubicBezTo>
                      <a:pt x="24" y="44"/>
                      <a:pt x="24" y="44"/>
                      <a:pt x="24" y="44"/>
                    </a:cubicBezTo>
                    <a:cubicBezTo>
                      <a:pt x="24" y="44"/>
                      <a:pt x="25" y="44"/>
                      <a:pt x="26" y="44"/>
                    </a:cubicBezTo>
                    <a:cubicBezTo>
                      <a:pt x="26" y="44"/>
                      <a:pt x="26" y="44"/>
                      <a:pt x="26" y="45"/>
                    </a:cubicBezTo>
                    <a:cubicBezTo>
                      <a:pt x="26" y="45"/>
                      <a:pt x="26" y="44"/>
                      <a:pt x="26" y="44"/>
                    </a:cubicBezTo>
                    <a:cubicBezTo>
                      <a:pt x="26" y="44"/>
                      <a:pt x="27" y="43"/>
                      <a:pt x="27" y="43"/>
                    </a:cubicBezTo>
                    <a:cubicBezTo>
                      <a:pt x="27" y="43"/>
                      <a:pt x="26" y="42"/>
                      <a:pt x="27" y="42"/>
                    </a:cubicBezTo>
                    <a:cubicBezTo>
                      <a:pt x="28" y="42"/>
                      <a:pt x="28" y="42"/>
                      <a:pt x="28" y="42"/>
                    </a:cubicBezTo>
                    <a:cubicBezTo>
                      <a:pt x="29" y="42"/>
                      <a:pt x="29" y="42"/>
                      <a:pt x="29" y="42"/>
                    </a:cubicBezTo>
                    <a:cubicBezTo>
                      <a:pt x="30" y="42"/>
                      <a:pt x="30" y="42"/>
                      <a:pt x="30" y="43"/>
                    </a:cubicBezTo>
                    <a:cubicBezTo>
                      <a:pt x="31" y="43"/>
                      <a:pt x="31" y="42"/>
                      <a:pt x="30" y="42"/>
                    </a:cubicBezTo>
                    <a:cubicBezTo>
                      <a:pt x="30" y="41"/>
                      <a:pt x="32" y="40"/>
                      <a:pt x="32" y="41"/>
                    </a:cubicBezTo>
                    <a:cubicBezTo>
                      <a:pt x="33" y="41"/>
                      <a:pt x="32" y="42"/>
                      <a:pt x="32" y="43"/>
                    </a:cubicBezTo>
                    <a:cubicBezTo>
                      <a:pt x="33" y="43"/>
                      <a:pt x="33" y="43"/>
                      <a:pt x="33" y="44"/>
                    </a:cubicBezTo>
                    <a:cubicBezTo>
                      <a:pt x="33" y="44"/>
                      <a:pt x="33" y="43"/>
                      <a:pt x="33" y="44"/>
                    </a:cubicBezTo>
                    <a:cubicBezTo>
                      <a:pt x="34" y="44"/>
                      <a:pt x="34" y="44"/>
                      <a:pt x="34" y="43"/>
                    </a:cubicBezTo>
                    <a:cubicBezTo>
                      <a:pt x="34" y="43"/>
                      <a:pt x="34" y="44"/>
                      <a:pt x="35" y="44"/>
                    </a:cubicBezTo>
                    <a:cubicBezTo>
                      <a:pt x="34" y="43"/>
                      <a:pt x="34" y="42"/>
                      <a:pt x="33" y="42"/>
                    </a:cubicBezTo>
                    <a:cubicBezTo>
                      <a:pt x="33" y="42"/>
                      <a:pt x="34" y="41"/>
                      <a:pt x="33" y="41"/>
                    </a:cubicBezTo>
                    <a:cubicBezTo>
                      <a:pt x="32" y="40"/>
                      <a:pt x="36" y="38"/>
                      <a:pt x="37" y="38"/>
                    </a:cubicBezTo>
                    <a:cubicBezTo>
                      <a:pt x="36" y="37"/>
                      <a:pt x="38" y="37"/>
                      <a:pt x="38" y="36"/>
                    </a:cubicBezTo>
                    <a:cubicBezTo>
                      <a:pt x="38" y="36"/>
                      <a:pt x="40" y="35"/>
                      <a:pt x="40" y="36"/>
                    </a:cubicBezTo>
                    <a:cubicBezTo>
                      <a:pt x="40" y="36"/>
                      <a:pt x="40" y="36"/>
                      <a:pt x="40" y="36"/>
                    </a:cubicBezTo>
                    <a:cubicBezTo>
                      <a:pt x="40" y="37"/>
                      <a:pt x="41" y="37"/>
                      <a:pt x="40" y="37"/>
                    </a:cubicBezTo>
                    <a:cubicBezTo>
                      <a:pt x="40" y="38"/>
                      <a:pt x="39" y="38"/>
                      <a:pt x="39" y="39"/>
                    </a:cubicBezTo>
                    <a:cubicBezTo>
                      <a:pt x="40" y="39"/>
                      <a:pt x="40" y="39"/>
                      <a:pt x="40" y="39"/>
                    </a:cubicBezTo>
                    <a:cubicBezTo>
                      <a:pt x="40" y="38"/>
                      <a:pt x="40" y="39"/>
                      <a:pt x="41" y="38"/>
                    </a:cubicBezTo>
                    <a:cubicBezTo>
                      <a:pt x="41" y="38"/>
                      <a:pt x="41" y="38"/>
                      <a:pt x="41" y="38"/>
                    </a:cubicBezTo>
                    <a:cubicBezTo>
                      <a:pt x="41" y="38"/>
                      <a:pt x="42" y="38"/>
                      <a:pt x="42" y="38"/>
                    </a:cubicBezTo>
                    <a:cubicBezTo>
                      <a:pt x="42" y="38"/>
                      <a:pt x="41" y="36"/>
                      <a:pt x="41" y="36"/>
                    </a:cubicBezTo>
                    <a:cubicBezTo>
                      <a:pt x="41" y="36"/>
                      <a:pt x="41" y="36"/>
                      <a:pt x="41" y="36"/>
                    </a:cubicBezTo>
                    <a:cubicBezTo>
                      <a:pt x="41" y="35"/>
                      <a:pt x="41" y="35"/>
                      <a:pt x="41" y="34"/>
                    </a:cubicBezTo>
                    <a:cubicBezTo>
                      <a:pt x="42" y="34"/>
                      <a:pt x="42" y="33"/>
                      <a:pt x="43" y="32"/>
                    </a:cubicBezTo>
                    <a:cubicBezTo>
                      <a:pt x="43" y="32"/>
                      <a:pt x="44" y="32"/>
                      <a:pt x="44" y="32"/>
                    </a:cubicBezTo>
                    <a:cubicBezTo>
                      <a:pt x="44" y="31"/>
                      <a:pt x="43" y="32"/>
                      <a:pt x="43" y="31"/>
                    </a:cubicBezTo>
                    <a:cubicBezTo>
                      <a:pt x="43" y="31"/>
                      <a:pt x="45" y="29"/>
                      <a:pt x="45" y="30"/>
                    </a:cubicBezTo>
                    <a:cubicBezTo>
                      <a:pt x="45" y="31"/>
                      <a:pt x="45" y="31"/>
                      <a:pt x="45" y="32"/>
                    </a:cubicBezTo>
                    <a:cubicBezTo>
                      <a:pt x="44" y="32"/>
                      <a:pt x="44" y="33"/>
                      <a:pt x="44" y="33"/>
                    </a:cubicBezTo>
                    <a:cubicBezTo>
                      <a:pt x="44" y="34"/>
                      <a:pt x="44" y="34"/>
                      <a:pt x="44" y="34"/>
                    </a:cubicBezTo>
                    <a:cubicBezTo>
                      <a:pt x="45" y="34"/>
                      <a:pt x="45" y="33"/>
                      <a:pt x="45" y="33"/>
                    </a:cubicBezTo>
                    <a:cubicBezTo>
                      <a:pt x="46" y="32"/>
                      <a:pt x="47" y="30"/>
                      <a:pt x="48" y="28"/>
                    </a:cubicBezTo>
                    <a:cubicBezTo>
                      <a:pt x="48" y="29"/>
                      <a:pt x="49" y="29"/>
                      <a:pt x="49" y="30"/>
                    </a:cubicBezTo>
                    <a:cubicBezTo>
                      <a:pt x="49" y="30"/>
                      <a:pt x="49" y="29"/>
                      <a:pt x="50" y="29"/>
                    </a:cubicBezTo>
                    <a:cubicBezTo>
                      <a:pt x="50" y="29"/>
                      <a:pt x="50" y="30"/>
                      <a:pt x="50" y="30"/>
                    </a:cubicBezTo>
                    <a:cubicBezTo>
                      <a:pt x="50" y="30"/>
                      <a:pt x="50" y="28"/>
                      <a:pt x="49" y="28"/>
                    </a:cubicBezTo>
                    <a:cubicBezTo>
                      <a:pt x="49" y="28"/>
                      <a:pt x="49" y="29"/>
                      <a:pt x="48" y="29"/>
                    </a:cubicBezTo>
                    <a:cubicBezTo>
                      <a:pt x="48" y="28"/>
                      <a:pt x="48" y="28"/>
                      <a:pt x="48" y="28"/>
                    </a:cubicBezTo>
                    <a:cubicBezTo>
                      <a:pt x="48" y="28"/>
                      <a:pt x="48" y="29"/>
                      <a:pt x="48" y="29"/>
                    </a:cubicBezTo>
                    <a:cubicBezTo>
                      <a:pt x="47" y="29"/>
                      <a:pt x="47" y="28"/>
                      <a:pt x="47" y="28"/>
                    </a:cubicBezTo>
                    <a:cubicBezTo>
                      <a:pt x="47" y="27"/>
                      <a:pt x="47" y="27"/>
                      <a:pt x="47" y="26"/>
                    </a:cubicBezTo>
                    <a:cubicBezTo>
                      <a:pt x="48" y="26"/>
                      <a:pt x="48" y="25"/>
                      <a:pt x="48" y="25"/>
                    </a:cubicBezTo>
                    <a:cubicBezTo>
                      <a:pt x="49" y="25"/>
                      <a:pt x="49" y="25"/>
                      <a:pt x="49" y="25"/>
                    </a:cubicBezTo>
                    <a:cubicBezTo>
                      <a:pt x="50" y="24"/>
                      <a:pt x="49" y="24"/>
                      <a:pt x="49" y="23"/>
                    </a:cubicBezTo>
                    <a:cubicBezTo>
                      <a:pt x="51" y="23"/>
                      <a:pt x="50" y="26"/>
                      <a:pt x="50" y="26"/>
                    </a:cubicBezTo>
                    <a:cubicBezTo>
                      <a:pt x="50" y="26"/>
                      <a:pt x="50" y="24"/>
                      <a:pt x="50" y="24"/>
                    </a:cubicBezTo>
                    <a:cubicBezTo>
                      <a:pt x="51" y="23"/>
                      <a:pt x="51" y="23"/>
                      <a:pt x="50" y="23"/>
                    </a:cubicBezTo>
                    <a:cubicBezTo>
                      <a:pt x="50" y="23"/>
                      <a:pt x="49" y="22"/>
                      <a:pt x="50" y="22"/>
                    </a:cubicBezTo>
                    <a:cubicBezTo>
                      <a:pt x="50" y="22"/>
                      <a:pt x="50" y="22"/>
                      <a:pt x="50" y="21"/>
                    </a:cubicBezTo>
                    <a:cubicBezTo>
                      <a:pt x="49" y="21"/>
                      <a:pt x="49" y="19"/>
                      <a:pt x="50" y="19"/>
                    </a:cubicBezTo>
                    <a:cubicBezTo>
                      <a:pt x="49" y="18"/>
                      <a:pt x="49" y="18"/>
                      <a:pt x="50" y="18"/>
                    </a:cubicBezTo>
                    <a:cubicBezTo>
                      <a:pt x="50" y="17"/>
                      <a:pt x="50" y="17"/>
                      <a:pt x="50" y="17"/>
                    </a:cubicBezTo>
                    <a:cubicBezTo>
                      <a:pt x="50" y="17"/>
                      <a:pt x="50" y="17"/>
                      <a:pt x="51" y="17"/>
                    </a:cubicBezTo>
                    <a:cubicBezTo>
                      <a:pt x="51" y="17"/>
                      <a:pt x="51" y="17"/>
                      <a:pt x="51" y="17"/>
                    </a:cubicBezTo>
                    <a:cubicBezTo>
                      <a:pt x="51" y="17"/>
                      <a:pt x="51" y="18"/>
                      <a:pt x="51" y="18"/>
                    </a:cubicBezTo>
                    <a:cubicBezTo>
                      <a:pt x="52" y="18"/>
                      <a:pt x="52" y="18"/>
                      <a:pt x="52" y="19"/>
                    </a:cubicBezTo>
                    <a:cubicBezTo>
                      <a:pt x="52" y="19"/>
                      <a:pt x="53" y="20"/>
                      <a:pt x="53" y="20"/>
                    </a:cubicBezTo>
                    <a:cubicBezTo>
                      <a:pt x="54" y="20"/>
                      <a:pt x="54" y="19"/>
                      <a:pt x="54" y="18"/>
                    </a:cubicBezTo>
                    <a:cubicBezTo>
                      <a:pt x="54" y="18"/>
                      <a:pt x="54" y="17"/>
                      <a:pt x="54" y="17"/>
                    </a:cubicBezTo>
                    <a:cubicBezTo>
                      <a:pt x="54" y="17"/>
                      <a:pt x="54" y="17"/>
                      <a:pt x="54" y="17"/>
                    </a:cubicBezTo>
                    <a:cubicBezTo>
                      <a:pt x="55" y="17"/>
                      <a:pt x="55" y="17"/>
                      <a:pt x="55" y="17"/>
                    </a:cubicBezTo>
                    <a:cubicBezTo>
                      <a:pt x="56" y="17"/>
                      <a:pt x="55" y="15"/>
                      <a:pt x="55" y="15"/>
                    </a:cubicBezTo>
                    <a:cubicBezTo>
                      <a:pt x="55" y="15"/>
                      <a:pt x="56" y="16"/>
                      <a:pt x="56" y="16"/>
                    </a:cubicBezTo>
                    <a:cubicBezTo>
                      <a:pt x="56" y="16"/>
                      <a:pt x="57" y="16"/>
                      <a:pt x="58" y="15"/>
                    </a:cubicBezTo>
                    <a:cubicBezTo>
                      <a:pt x="58" y="15"/>
                      <a:pt x="58" y="14"/>
                      <a:pt x="59" y="14"/>
                    </a:cubicBezTo>
                    <a:cubicBezTo>
                      <a:pt x="59" y="13"/>
                      <a:pt x="58" y="13"/>
                      <a:pt x="59" y="12"/>
                    </a:cubicBezTo>
                    <a:cubicBezTo>
                      <a:pt x="59" y="11"/>
                      <a:pt x="60" y="10"/>
                      <a:pt x="59" y="8"/>
                    </a:cubicBezTo>
                    <a:cubicBezTo>
                      <a:pt x="59" y="7"/>
                      <a:pt x="59" y="7"/>
                      <a:pt x="59" y="7"/>
                    </a:cubicBezTo>
                    <a:cubicBezTo>
                      <a:pt x="59" y="6"/>
                      <a:pt x="59" y="6"/>
                      <a:pt x="59" y="6"/>
                    </a:cubicBezTo>
                    <a:cubicBezTo>
                      <a:pt x="59" y="6"/>
                      <a:pt x="58" y="5"/>
                      <a:pt x="58" y="5"/>
                    </a:cubicBezTo>
                    <a:cubicBezTo>
                      <a:pt x="58" y="5"/>
                      <a:pt x="58" y="4"/>
                      <a:pt x="59" y="5"/>
                    </a:cubicBezTo>
                    <a:cubicBezTo>
                      <a:pt x="59" y="5"/>
                      <a:pt x="59" y="6"/>
                      <a:pt x="60" y="6"/>
                    </a:cubicBezTo>
                    <a:cubicBezTo>
                      <a:pt x="60" y="5"/>
                      <a:pt x="60" y="5"/>
                      <a:pt x="60" y="5"/>
                    </a:cubicBezTo>
                    <a:cubicBezTo>
                      <a:pt x="60" y="4"/>
                      <a:pt x="60" y="4"/>
                      <a:pt x="60" y="4"/>
                    </a:cubicBezTo>
                    <a:cubicBezTo>
                      <a:pt x="60" y="4"/>
                      <a:pt x="61" y="4"/>
                      <a:pt x="61" y="4"/>
                    </a:cubicBezTo>
                    <a:cubicBezTo>
                      <a:pt x="61" y="3"/>
                      <a:pt x="62" y="3"/>
                      <a:pt x="62" y="3"/>
                    </a:cubicBezTo>
                    <a:cubicBezTo>
                      <a:pt x="62" y="3"/>
                      <a:pt x="62" y="2"/>
                      <a:pt x="62" y="2"/>
                    </a:cubicBezTo>
                    <a:cubicBezTo>
                      <a:pt x="63" y="1"/>
                      <a:pt x="62" y="1"/>
                      <a:pt x="62" y="1"/>
                    </a:cubicBezTo>
                    <a:cubicBezTo>
                      <a:pt x="62" y="1"/>
                      <a:pt x="62" y="1"/>
                      <a:pt x="62" y="1"/>
                    </a:cubicBezTo>
                    <a:cubicBezTo>
                      <a:pt x="62" y="1"/>
                      <a:pt x="63" y="1"/>
                      <a:pt x="63" y="1"/>
                    </a:cubicBezTo>
                    <a:cubicBezTo>
                      <a:pt x="63" y="1"/>
                      <a:pt x="63" y="1"/>
                      <a:pt x="63" y="1"/>
                    </a:cubicBezTo>
                    <a:cubicBezTo>
                      <a:pt x="62" y="0"/>
                      <a:pt x="63" y="0"/>
                      <a:pt x="63" y="0"/>
                    </a:cubicBezTo>
                    <a:cubicBezTo>
                      <a:pt x="64" y="0"/>
                      <a:pt x="64" y="2"/>
                      <a:pt x="64" y="2"/>
                    </a:cubicBezTo>
                    <a:cubicBezTo>
                      <a:pt x="64" y="2"/>
                      <a:pt x="63" y="2"/>
                      <a:pt x="63" y="2"/>
                    </a:cubicBezTo>
                    <a:cubicBezTo>
                      <a:pt x="63" y="2"/>
                      <a:pt x="63" y="3"/>
                      <a:pt x="63" y="3"/>
                    </a:cubicBezTo>
                    <a:cubicBezTo>
                      <a:pt x="64" y="3"/>
                      <a:pt x="63" y="3"/>
                      <a:pt x="63" y="3"/>
                    </a:cubicBezTo>
                    <a:cubicBezTo>
                      <a:pt x="62" y="4"/>
                      <a:pt x="63" y="3"/>
                      <a:pt x="64" y="3"/>
                    </a:cubicBezTo>
                    <a:cubicBezTo>
                      <a:pt x="64" y="3"/>
                      <a:pt x="64" y="4"/>
                      <a:pt x="64" y="3"/>
                    </a:cubicBezTo>
                    <a:cubicBezTo>
                      <a:pt x="64" y="3"/>
                      <a:pt x="64" y="3"/>
                      <a:pt x="64" y="3"/>
                    </a:cubicBezTo>
                    <a:cubicBezTo>
                      <a:pt x="65" y="3"/>
                      <a:pt x="65" y="4"/>
                      <a:pt x="65" y="4"/>
                    </a:cubicBezTo>
                    <a:cubicBezTo>
                      <a:pt x="65" y="4"/>
                      <a:pt x="66" y="5"/>
                      <a:pt x="66" y="5"/>
                    </a:cubicBezTo>
                    <a:cubicBezTo>
                      <a:pt x="65" y="5"/>
                      <a:pt x="66" y="5"/>
                      <a:pt x="66" y="5"/>
                    </a:cubicBezTo>
                    <a:cubicBezTo>
                      <a:pt x="66" y="5"/>
                      <a:pt x="66" y="5"/>
                      <a:pt x="66" y="6"/>
                    </a:cubicBezTo>
                    <a:cubicBezTo>
                      <a:pt x="66" y="6"/>
                      <a:pt x="66" y="6"/>
                      <a:pt x="66" y="6"/>
                    </a:cubicBezTo>
                    <a:cubicBezTo>
                      <a:pt x="66" y="6"/>
                      <a:pt x="66" y="7"/>
                      <a:pt x="66" y="7"/>
                    </a:cubicBezTo>
                    <a:cubicBezTo>
                      <a:pt x="66" y="8"/>
                      <a:pt x="67" y="8"/>
                      <a:pt x="67" y="9"/>
                    </a:cubicBezTo>
                    <a:cubicBezTo>
                      <a:pt x="67" y="9"/>
                      <a:pt x="67" y="9"/>
                      <a:pt x="67" y="8"/>
                    </a:cubicBezTo>
                    <a:cubicBezTo>
                      <a:pt x="68" y="8"/>
                      <a:pt x="68" y="9"/>
                      <a:pt x="68" y="9"/>
                    </a:cubicBezTo>
                    <a:cubicBezTo>
                      <a:pt x="68" y="10"/>
                      <a:pt x="68" y="10"/>
                      <a:pt x="69" y="10"/>
                    </a:cubicBezTo>
                    <a:cubicBezTo>
                      <a:pt x="69" y="10"/>
                      <a:pt x="68" y="10"/>
                      <a:pt x="69" y="10"/>
                    </a:cubicBezTo>
                    <a:cubicBezTo>
                      <a:pt x="69" y="11"/>
                      <a:pt x="69" y="12"/>
                      <a:pt x="69" y="13"/>
                    </a:cubicBezTo>
                    <a:cubicBezTo>
                      <a:pt x="69" y="13"/>
                      <a:pt x="69" y="15"/>
                      <a:pt x="70" y="15"/>
                    </a:cubicBezTo>
                    <a:cubicBezTo>
                      <a:pt x="70" y="15"/>
                      <a:pt x="70" y="15"/>
                      <a:pt x="70" y="15"/>
                    </a:cubicBezTo>
                    <a:cubicBezTo>
                      <a:pt x="70" y="15"/>
                      <a:pt x="70" y="16"/>
                      <a:pt x="70" y="16"/>
                    </a:cubicBezTo>
                    <a:cubicBezTo>
                      <a:pt x="70" y="17"/>
                      <a:pt x="70" y="18"/>
                      <a:pt x="71" y="18"/>
                    </a:cubicBezTo>
                    <a:cubicBezTo>
                      <a:pt x="71" y="19"/>
                      <a:pt x="71" y="20"/>
                      <a:pt x="71" y="21"/>
                    </a:cubicBezTo>
                    <a:cubicBezTo>
                      <a:pt x="71" y="22"/>
                      <a:pt x="71" y="23"/>
                      <a:pt x="71" y="24"/>
                    </a:cubicBezTo>
                    <a:cubicBezTo>
                      <a:pt x="71" y="24"/>
                      <a:pt x="71" y="24"/>
                      <a:pt x="71" y="25"/>
                    </a:cubicBezTo>
                    <a:cubicBezTo>
                      <a:pt x="71" y="25"/>
                      <a:pt x="71" y="25"/>
                      <a:pt x="71" y="26"/>
                    </a:cubicBezTo>
                    <a:cubicBezTo>
                      <a:pt x="71" y="26"/>
                      <a:pt x="71" y="27"/>
                      <a:pt x="71" y="28"/>
                    </a:cubicBezTo>
                    <a:cubicBezTo>
                      <a:pt x="71" y="29"/>
                      <a:pt x="71" y="30"/>
                      <a:pt x="71" y="31"/>
                    </a:cubicBezTo>
                    <a:cubicBezTo>
                      <a:pt x="72" y="32"/>
                      <a:pt x="72" y="34"/>
                      <a:pt x="73" y="35"/>
                    </a:cubicBezTo>
                    <a:cubicBezTo>
                      <a:pt x="74" y="36"/>
                      <a:pt x="73" y="38"/>
                      <a:pt x="73" y="40"/>
                    </a:cubicBezTo>
                    <a:close/>
                    <a:moveTo>
                      <a:pt x="67" y="54"/>
                    </a:moveTo>
                    <a:cubicBezTo>
                      <a:pt x="66" y="54"/>
                      <a:pt x="66" y="55"/>
                      <a:pt x="66" y="56"/>
                    </a:cubicBezTo>
                    <a:cubicBezTo>
                      <a:pt x="67" y="55"/>
                      <a:pt x="68" y="53"/>
                      <a:pt x="68" y="52"/>
                    </a:cubicBezTo>
                    <a:cubicBezTo>
                      <a:pt x="67" y="52"/>
                      <a:pt x="67" y="53"/>
                      <a:pt x="67" y="54"/>
                    </a:cubicBezTo>
                    <a:close/>
                    <a:moveTo>
                      <a:pt x="54" y="16"/>
                    </a:moveTo>
                    <a:cubicBezTo>
                      <a:pt x="54" y="16"/>
                      <a:pt x="54" y="15"/>
                      <a:pt x="54" y="15"/>
                    </a:cubicBezTo>
                    <a:cubicBezTo>
                      <a:pt x="54" y="15"/>
                      <a:pt x="54" y="15"/>
                      <a:pt x="54" y="15"/>
                    </a:cubicBezTo>
                    <a:cubicBezTo>
                      <a:pt x="54" y="14"/>
                      <a:pt x="54" y="14"/>
                      <a:pt x="54" y="14"/>
                    </a:cubicBezTo>
                    <a:cubicBezTo>
                      <a:pt x="53" y="14"/>
                      <a:pt x="54" y="14"/>
                      <a:pt x="54" y="14"/>
                    </a:cubicBezTo>
                    <a:cubicBezTo>
                      <a:pt x="53" y="13"/>
                      <a:pt x="53" y="14"/>
                      <a:pt x="53" y="14"/>
                    </a:cubicBezTo>
                    <a:cubicBezTo>
                      <a:pt x="53" y="14"/>
                      <a:pt x="52" y="14"/>
                      <a:pt x="52" y="14"/>
                    </a:cubicBezTo>
                    <a:cubicBezTo>
                      <a:pt x="52" y="14"/>
                      <a:pt x="52" y="15"/>
                      <a:pt x="52" y="15"/>
                    </a:cubicBezTo>
                    <a:cubicBezTo>
                      <a:pt x="53" y="16"/>
                      <a:pt x="53" y="15"/>
                      <a:pt x="54" y="1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5" name="Luxembourg">
                <a:extLst>
                  <a:ext uri="{FF2B5EF4-FFF2-40B4-BE49-F238E27FC236}">
                    <a16:creationId xmlns:a16="http://schemas.microsoft.com/office/drawing/2014/main" id="{62297436-2924-9A3C-87F5-989AE5E77FD4}"/>
                  </a:ext>
                </a:extLst>
              </p:cNvPr>
              <p:cNvSpPr>
                <a:spLocks/>
              </p:cNvSpPr>
              <p:nvPr/>
            </p:nvSpPr>
            <p:spPr bwMode="auto">
              <a:xfrm>
                <a:off x="5909379" y="2097744"/>
                <a:ext cx="25484" cy="28425"/>
              </a:xfrm>
              <a:custGeom>
                <a:avLst/>
                <a:gdLst/>
                <a:ahLst/>
                <a:cxnLst>
                  <a:cxn ang="0">
                    <a:pos x="7" y="4"/>
                  </a:cxn>
                  <a:cxn ang="0">
                    <a:pos x="7" y="4"/>
                  </a:cxn>
                  <a:cxn ang="0">
                    <a:pos x="6" y="4"/>
                  </a:cxn>
                  <a:cxn ang="0">
                    <a:pos x="5" y="3"/>
                  </a:cxn>
                  <a:cxn ang="0">
                    <a:pos x="4" y="2"/>
                  </a:cxn>
                  <a:cxn ang="0">
                    <a:pos x="4" y="2"/>
                  </a:cxn>
                  <a:cxn ang="0">
                    <a:pos x="4" y="1"/>
                  </a:cxn>
                  <a:cxn ang="0">
                    <a:pos x="4" y="0"/>
                  </a:cxn>
                  <a:cxn ang="0">
                    <a:pos x="3" y="0"/>
                  </a:cxn>
                  <a:cxn ang="0">
                    <a:pos x="2" y="0"/>
                  </a:cxn>
                  <a:cxn ang="0">
                    <a:pos x="2" y="1"/>
                  </a:cxn>
                  <a:cxn ang="0">
                    <a:pos x="1" y="2"/>
                  </a:cxn>
                  <a:cxn ang="0">
                    <a:pos x="1" y="2"/>
                  </a:cxn>
                  <a:cxn ang="0">
                    <a:pos x="1" y="2"/>
                  </a:cxn>
                  <a:cxn ang="0">
                    <a:pos x="1" y="3"/>
                  </a:cxn>
                  <a:cxn ang="0">
                    <a:pos x="1" y="4"/>
                  </a:cxn>
                  <a:cxn ang="0">
                    <a:pos x="1" y="4"/>
                  </a:cxn>
                  <a:cxn ang="0">
                    <a:pos x="1" y="5"/>
                  </a:cxn>
                  <a:cxn ang="0">
                    <a:pos x="2" y="5"/>
                  </a:cxn>
                  <a:cxn ang="0">
                    <a:pos x="2" y="5"/>
                  </a:cxn>
                  <a:cxn ang="0">
                    <a:pos x="2" y="6"/>
                  </a:cxn>
                  <a:cxn ang="0">
                    <a:pos x="1" y="6"/>
                  </a:cxn>
                  <a:cxn ang="0">
                    <a:pos x="1" y="7"/>
                  </a:cxn>
                  <a:cxn ang="0">
                    <a:pos x="2" y="7"/>
                  </a:cxn>
                  <a:cxn ang="0">
                    <a:pos x="3" y="8"/>
                  </a:cxn>
                  <a:cxn ang="0">
                    <a:pos x="4" y="7"/>
                  </a:cxn>
                  <a:cxn ang="0">
                    <a:pos x="4" y="7"/>
                  </a:cxn>
                  <a:cxn ang="0">
                    <a:pos x="6" y="8"/>
                  </a:cxn>
                  <a:cxn ang="0">
                    <a:pos x="6" y="6"/>
                  </a:cxn>
                  <a:cxn ang="0">
                    <a:pos x="6" y="6"/>
                  </a:cxn>
                  <a:cxn ang="0">
                    <a:pos x="6" y="5"/>
                  </a:cxn>
                  <a:cxn ang="0">
                    <a:pos x="7" y="5"/>
                  </a:cxn>
                  <a:cxn ang="0">
                    <a:pos x="7" y="4"/>
                  </a:cxn>
                </a:cxnLst>
                <a:rect l="0" t="0" r="r" b="b"/>
                <a:pathLst>
                  <a:path w="7" h="8">
                    <a:moveTo>
                      <a:pt x="7" y="4"/>
                    </a:moveTo>
                    <a:cubicBezTo>
                      <a:pt x="7" y="4"/>
                      <a:pt x="7" y="4"/>
                      <a:pt x="7" y="4"/>
                    </a:cubicBezTo>
                    <a:cubicBezTo>
                      <a:pt x="7" y="4"/>
                      <a:pt x="7" y="4"/>
                      <a:pt x="6" y="4"/>
                    </a:cubicBezTo>
                    <a:cubicBezTo>
                      <a:pt x="6" y="4"/>
                      <a:pt x="6" y="3"/>
                      <a:pt x="5" y="3"/>
                    </a:cubicBezTo>
                    <a:cubicBezTo>
                      <a:pt x="5" y="3"/>
                      <a:pt x="5" y="3"/>
                      <a:pt x="4" y="2"/>
                    </a:cubicBezTo>
                    <a:cubicBezTo>
                      <a:pt x="4" y="2"/>
                      <a:pt x="4" y="2"/>
                      <a:pt x="4" y="2"/>
                    </a:cubicBezTo>
                    <a:cubicBezTo>
                      <a:pt x="4" y="2"/>
                      <a:pt x="4" y="1"/>
                      <a:pt x="4" y="1"/>
                    </a:cubicBezTo>
                    <a:cubicBezTo>
                      <a:pt x="4" y="1"/>
                      <a:pt x="4" y="0"/>
                      <a:pt x="4" y="0"/>
                    </a:cubicBezTo>
                    <a:cubicBezTo>
                      <a:pt x="3" y="0"/>
                      <a:pt x="3" y="0"/>
                      <a:pt x="3" y="0"/>
                    </a:cubicBezTo>
                    <a:cubicBezTo>
                      <a:pt x="3" y="0"/>
                      <a:pt x="3" y="0"/>
                      <a:pt x="2" y="0"/>
                    </a:cubicBezTo>
                    <a:cubicBezTo>
                      <a:pt x="2" y="0"/>
                      <a:pt x="2" y="1"/>
                      <a:pt x="2" y="1"/>
                    </a:cubicBezTo>
                    <a:cubicBezTo>
                      <a:pt x="2" y="1"/>
                      <a:pt x="1" y="1"/>
                      <a:pt x="1" y="2"/>
                    </a:cubicBezTo>
                    <a:cubicBezTo>
                      <a:pt x="1" y="2"/>
                      <a:pt x="1" y="2"/>
                      <a:pt x="1" y="2"/>
                    </a:cubicBezTo>
                    <a:cubicBezTo>
                      <a:pt x="1" y="2"/>
                      <a:pt x="1" y="2"/>
                      <a:pt x="1" y="2"/>
                    </a:cubicBezTo>
                    <a:cubicBezTo>
                      <a:pt x="1" y="3"/>
                      <a:pt x="0" y="3"/>
                      <a:pt x="1" y="3"/>
                    </a:cubicBezTo>
                    <a:cubicBezTo>
                      <a:pt x="1" y="3"/>
                      <a:pt x="1" y="3"/>
                      <a:pt x="1" y="4"/>
                    </a:cubicBezTo>
                    <a:cubicBezTo>
                      <a:pt x="0" y="4"/>
                      <a:pt x="1" y="4"/>
                      <a:pt x="1" y="4"/>
                    </a:cubicBezTo>
                    <a:cubicBezTo>
                      <a:pt x="1" y="4"/>
                      <a:pt x="1" y="5"/>
                      <a:pt x="1" y="5"/>
                    </a:cubicBezTo>
                    <a:cubicBezTo>
                      <a:pt x="1" y="5"/>
                      <a:pt x="1" y="5"/>
                      <a:pt x="2" y="5"/>
                    </a:cubicBezTo>
                    <a:cubicBezTo>
                      <a:pt x="2" y="5"/>
                      <a:pt x="2" y="6"/>
                      <a:pt x="2" y="5"/>
                    </a:cubicBezTo>
                    <a:cubicBezTo>
                      <a:pt x="2" y="6"/>
                      <a:pt x="2" y="6"/>
                      <a:pt x="2" y="6"/>
                    </a:cubicBezTo>
                    <a:cubicBezTo>
                      <a:pt x="2" y="6"/>
                      <a:pt x="2" y="6"/>
                      <a:pt x="1" y="6"/>
                    </a:cubicBezTo>
                    <a:cubicBezTo>
                      <a:pt x="1" y="7"/>
                      <a:pt x="1" y="7"/>
                      <a:pt x="1" y="7"/>
                    </a:cubicBezTo>
                    <a:cubicBezTo>
                      <a:pt x="1" y="7"/>
                      <a:pt x="1" y="7"/>
                      <a:pt x="2" y="7"/>
                    </a:cubicBezTo>
                    <a:cubicBezTo>
                      <a:pt x="3" y="7"/>
                      <a:pt x="2" y="8"/>
                      <a:pt x="3" y="8"/>
                    </a:cubicBezTo>
                    <a:cubicBezTo>
                      <a:pt x="3" y="8"/>
                      <a:pt x="3" y="8"/>
                      <a:pt x="4" y="7"/>
                    </a:cubicBezTo>
                    <a:cubicBezTo>
                      <a:pt x="4" y="7"/>
                      <a:pt x="4" y="7"/>
                      <a:pt x="4" y="7"/>
                    </a:cubicBezTo>
                    <a:cubicBezTo>
                      <a:pt x="5" y="7"/>
                      <a:pt x="5" y="7"/>
                      <a:pt x="6" y="8"/>
                    </a:cubicBezTo>
                    <a:cubicBezTo>
                      <a:pt x="6" y="7"/>
                      <a:pt x="6" y="7"/>
                      <a:pt x="6" y="6"/>
                    </a:cubicBezTo>
                    <a:cubicBezTo>
                      <a:pt x="6" y="6"/>
                      <a:pt x="6" y="6"/>
                      <a:pt x="6" y="6"/>
                    </a:cubicBezTo>
                    <a:cubicBezTo>
                      <a:pt x="6" y="6"/>
                      <a:pt x="6" y="5"/>
                      <a:pt x="6" y="5"/>
                    </a:cubicBezTo>
                    <a:cubicBezTo>
                      <a:pt x="6" y="5"/>
                      <a:pt x="7" y="5"/>
                      <a:pt x="7" y="5"/>
                    </a:cubicBezTo>
                    <a:cubicBezTo>
                      <a:pt x="7" y="5"/>
                      <a:pt x="7" y="4"/>
                      <a:pt x="7" y="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6" name="Lithuania">
                <a:extLst>
                  <a:ext uri="{FF2B5EF4-FFF2-40B4-BE49-F238E27FC236}">
                    <a16:creationId xmlns:a16="http://schemas.microsoft.com/office/drawing/2014/main" id="{02041F22-7604-A7DC-55F5-7D638C2D1A3E}"/>
                  </a:ext>
                </a:extLst>
              </p:cNvPr>
              <p:cNvSpPr>
                <a:spLocks noEditPoints="1"/>
              </p:cNvSpPr>
              <p:nvPr/>
            </p:nvSpPr>
            <p:spPr bwMode="auto">
              <a:xfrm>
                <a:off x="6352414" y="1863483"/>
                <a:ext cx="169569" cy="96056"/>
              </a:xfrm>
              <a:custGeom>
                <a:avLst/>
                <a:gdLst/>
                <a:ahLst/>
                <a:cxnLst>
                  <a:cxn ang="0">
                    <a:pos x="46" y="14"/>
                  </a:cxn>
                  <a:cxn ang="0">
                    <a:pos x="44" y="14"/>
                  </a:cxn>
                  <a:cxn ang="0">
                    <a:pos x="40" y="16"/>
                  </a:cxn>
                  <a:cxn ang="0">
                    <a:pos x="40" y="17"/>
                  </a:cxn>
                  <a:cxn ang="0">
                    <a:pos x="40" y="20"/>
                  </a:cxn>
                  <a:cxn ang="0">
                    <a:pos x="38" y="22"/>
                  </a:cxn>
                  <a:cxn ang="0">
                    <a:pos x="40" y="24"/>
                  </a:cxn>
                  <a:cxn ang="0">
                    <a:pos x="38" y="23"/>
                  </a:cxn>
                  <a:cxn ang="0">
                    <a:pos x="39" y="23"/>
                  </a:cxn>
                  <a:cxn ang="0">
                    <a:pos x="36" y="23"/>
                  </a:cxn>
                  <a:cxn ang="0">
                    <a:pos x="33" y="24"/>
                  </a:cxn>
                  <a:cxn ang="0">
                    <a:pos x="31" y="26"/>
                  </a:cxn>
                  <a:cxn ang="0">
                    <a:pos x="27" y="26"/>
                  </a:cxn>
                  <a:cxn ang="0">
                    <a:pos x="22" y="26"/>
                  </a:cxn>
                  <a:cxn ang="0">
                    <a:pos x="20" y="23"/>
                  </a:cxn>
                  <a:cxn ang="0">
                    <a:pos x="17" y="22"/>
                  </a:cxn>
                  <a:cxn ang="0">
                    <a:pos x="15" y="20"/>
                  </a:cxn>
                  <a:cxn ang="0">
                    <a:pos x="15" y="16"/>
                  </a:cxn>
                  <a:cxn ang="0">
                    <a:pos x="13" y="15"/>
                  </a:cxn>
                  <a:cxn ang="0">
                    <a:pos x="10" y="15"/>
                  </a:cxn>
                  <a:cxn ang="0">
                    <a:pos x="8" y="14"/>
                  </a:cxn>
                  <a:cxn ang="0">
                    <a:pos x="5" y="13"/>
                  </a:cxn>
                  <a:cxn ang="0">
                    <a:pos x="2" y="12"/>
                  </a:cxn>
                  <a:cxn ang="0">
                    <a:pos x="2" y="9"/>
                  </a:cxn>
                  <a:cxn ang="0">
                    <a:pos x="0" y="4"/>
                  </a:cxn>
                  <a:cxn ang="0">
                    <a:pos x="3" y="2"/>
                  </a:cxn>
                  <a:cxn ang="0">
                    <a:pos x="8" y="1"/>
                  </a:cxn>
                  <a:cxn ang="0">
                    <a:pos x="13" y="1"/>
                  </a:cxn>
                  <a:cxn ang="0">
                    <a:pos x="16" y="2"/>
                  </a:cxn>
                  <a:cxn ang="0">
                    <a:pos x="20" y="2"/>
                  </a:cxn>
                  <a:cxn ang="0">
                    <a:pos x="22" y="1"/>
                  </a:cxn>
                  <a:cxn ang="0">
                    <a:pos x="26" y="2"/>
                  </a:cxn>
                  <a:cxn ang="0">
                    <a:pos x="29" y="1"/>
                  </a:cxn>
                  <a:cxn ang="0">
                    <a:pos x="32" y="2"/>
                  </a:cxn>
                  <a:cxn ang="0">
                    <a:pos x="37" y="3"/>
                  </a:cxn>
                  <a:cxn ang="0">
                    <a:pos x="40" y="5"/>
                  </a:cxn>
                  <a:cxn ang="0">
                    <a:pos x="43" y="7"/>
                  </a:cxn>
                  <a:cxn ang="0">
                    <a:pos x="45" y="10"/>
                  </a:cxn>
                  <a:cxn ang="0">
                    <a:pos x="47" y="12"/>
                  </a:cxn>
                  <a:cxn ang="0">
                    <a:pos x="0" y="12"/>
                  </a:cxn>
                  <a:cxn ang="0">
                    <a:pos x="1" y="8"/>
                  </a:cxn>
                </a:cxnLst>
                <a:rect l="0" t="0" r="r" b="b"/>
                <a:pathLst>
                  <a:path w="48" h="27">
                    <a:moveTo>
                      <a:pt x="47" y="13"/>
                    </a:moveTo>
                    <a:cubicBezTo>
                      <a:pt x="46" y="13"/>
                      <a:pt x="46" y="13"/>
                      <a:pt x="46" y="14"/>
                    </a:cubicBezTo>
                    <a:cubicBezTo>
                      <a:pt x="46" y="14"/>
                      <a:pt x="45" y="14"/>
                      <a:pt x="45" y="14"/>
                    </a:cubicBezTo>
                    <a:cubicBezTo>
                      <a:pt x="44" y="14"/>
                      <a:pt x="44" y="14"/>
                      <a:pt x="44" y="14"/>
                    </a:cubicBezTo>
                    <a:cubicBezTo>
                      <a:pt x="43" y="14"/>
                      <a:pt x="43" y="15"/>
                      <a:pt x="43" y="15"/>
                    </a:cubicBezTo>
                    <a:cubicBezTo>
                      <a:pt x="42" y="16"/>
                      <a:pt x="41" y="15"/>
                      <a:pt x="40" y="16"/>
                    </a:cubicBezTo>
                    <a:cubicBezTo>
                      <a:pt x="40" y="16"/>
                      <a:pt x="40" y="17"/>
                      <a:pt x="40" y="17"/>
                    </a:cubicBezTo>
                    <a:cubicBezTo>
                      <a:pt x="40" y="17"/>
                      <a:pt x="40" y="17"/>
                      <a:pt x="40" y="17"/>
                    </a:cubicBezTo>
                    <a:cubicBezTo>
                      <a:pt x="39" y="18"/>
                      <a:pt x="39" y="18"/>
                      <a:pt x="39" y="18"/>
                    </a:cubicBezTo>
                    <a:cubicBezTo>
                      <a:pt x="39" y="19"/>
                      <a:pt x="40" y="19"/>
                      <a:pt x="40" y="20"/>
                    </a:cubicBezTo>
                    <a:cubicBezTo>
                      <a:pt x="39" y="20"/>
                      <a:pt x="39" y="20"/>
                      <a:pt x="39" y="21"/>
                    </a:cubicBezTo>
                    <a:cubicBezTo>
                      <a:pt x="39" y="21"/>
                      <a:pt x="38" y="22"/>
                      <a:pt x="38" y="22"/>
                    </a:cubicBezTo>
                    <a:cubicBezTo>
                      <a:pt x="38" y="23"/>
                      <a:pt x="39" y="22"/>
                      <a:pt x="39" y="22"/>
                    </a:cubicBezTo>
                    <a:cubicBezTo>
                      <a:pt x="40" y="22"/>
                      <a:pt x="40" y="23"/>
                      <a:pt x="40" y="24"/>
                    </a:cubicBezTo>
                    <a:cubicBezTo>
                      <a:pt x="40" y="24"/>
                      <a:pt x="38" y="25"/>
                      <a:pt x="38" y="24"/>
                    </a:cubicBezTo>
                    <a:cubicBezTo>
                      <a:pt x="38" y="24"/>
                      <a:pt x="38" y="24"/>
                      <a:pt x="38" y="23"/>
                    </a:cubicBezTo>
                    <a:cubicBezTo>
                      <a:pt x="38" y="24"/>
                      <a:pt x="38" y="23"/>
                      <a:pt x="38" y="23"/>
                    </a:cubicBezTo>
                    <a:cubicBezTo>
                      <a:pt x="38" y="23"/>
                      <a:pt x="39" y="23"/>
                      <a:pt x="39" y="23"/>
                    </a:cubicBezTo>
                    <a:cubicBezTo>
                      <a:pt x="39" y="23"/>
                      <a:pt x="38" y="23"/>
                      <a:pt x="38" y="23"/>
                    </a:cubicBezTo>
                    <a:cubicBezTo>
                      <a:pt x="37" y="22"/>
                      <a:pt x="37" y="23"/>
                      <a:pt x="36" y="23"/>
                    </a:cubicBezTo>
                    <a:cubicBezTo>
                      <a:pt x="35" y="23"/>
                      <a:pt x="36" y="23"/>
                      <a:pt x="35" y="24"/>
                    </a:cubicBezTo>
                    <a:cubicBezTo>
                      <a:pt x="34" y="25"/>
                      <a:pt x="34" y="24"/>
                      <a:pt x="33" y="24"/>
                    </a:cubicBezTo>
                    <a:cubicBezTo>
                      <a:pt x="31" y="24"/>
                      <a:pt x="33" y="25"/>
                      <a:pt x="33" y="26"/>
                    </a:cubicBezTo>
                    <a:cubicBezTo>
                      <a:pt x="32" y="26"/>
                      <a:pt x="32" y="26"/>
                      <a:pt x="31" y="26"/>
                    </a:cubicBezTo>
                    <a:cubicBezTo>
                      <a:pt x="30" y="26"/>
                      <a:pt x="29" y="27"/>
                      <a:pt x="28" y="27"/>
                    </a:cubicBezTo>
                    <a:cubicBezTo>
                      <a:pt x="28" y="27"/>
                      <a:pt x="28" y="26"/>
                      <a:pt x="27" y="26"/>
                    </a:cubicBezTo>
                    <a:cubicBezTo>
                      <a:pt x="26" y="27"/>
                      <a:pt x="25" y="26"/>
                      <a:pt x="25" y="26"/>
                    </a:cubicBezTo>
                    <a:cubicBezTo>
                      <a:pt x="24" y="27"/>
                      <a:pt x="23" y="27"/>
                      <a:pt x="22" y="26"/>
                    </a:cubicBezTo>
                    <a:cubicBezTo>
                      <a:pt x="21" y="26"/>
                      <a:pt x="22" y="26"/>
                      <a:pt x="22" y="25"/>
                    </a:cubicBezTo>
                    <a:cubicBezTo>
                      <a:pt x="22" y="24"/>
                      <a:pt x="21" y="24"/>
                      <a:pt x="20" y="23"/>
                    </a:cubicBezTo>
                    <a:cubicBezTo>
                      <a:pt x="20" y="23"/>
                      <a:pt x="19" y="23"/>
                      <a:pt x="18" y="22"/>
                    </a:cubicBezTo>
                    <a:cubicBezTo>
                      <a:pt x="18" y="22"/>
                      <a:pt x="18" y="22"/>
                      <a:pt x="17" y="22"/>
                    </a:cubicBezTo>
                    <a:cubicBezTo>
                      <a:pt x="17" y="21"/>
                      <a:pt x="16" y="21"/>
                      <a:pt x="16" y="22"/>
                    </a:cubicBezTo>
                    <a:cubicBezTo>
                      <a:pt x="15" y="21"/>
                      <a:pt x="15" y="21"/>
                      <a:pt x="15" y="20"/>
                    </a:cubicBezTo>
                    <a:cubicBezTo>
                      <a:pt x="15" y="19"/>
                      <a:pt x="15" y="18"/>
                      <a:pt x="16" y="18"/>
                    </a:cubicBezTo>
                    <a:cubicBezTo>
                      <a:pt x="16" y="17"/>
                      <a:pt x="15" y="16"/>
                      <a:pt x="15" y="16"/>
                    </a:cubicBezTo>
                    <a:cubicBezTo>
                      <a:pt x="15" y="16"/>
                      <a:pt x="14" y="16"/>
                      <a:pt x="14" y="15"/>
                    </a:cubicBezTo>
                    <a:cubicBezTo>
                      <a:pt x="14" y="15"/>
                      <a:pt x="14" y="15"/>
                      <a:pt x="13" y="15"/>
                    </a:cubicBezTo>
                    <a:cubicBezTo>
                      <a:pt x="13" y="15"/>
                      <a:pt x="12" y="15"/>
                      <a:pt x="11" y="15"/>
                    </a:cubicBezTo>
                    <a:cubicBezTo>
                      <a:pt x="11" y="15"/>
                      <a:pt x="10" y="15"/>
                      <a:pt x="10" y="15"/>
                    </a:cubicBezTo>
                    <a:cubicBezTo>
                      <a:pt x="10" y="15"/>
                      <a:pt x="9" y="15"/>
                      <a:pt x="9" y="15"/>
                    </a:cubicBezTo>
                    <a:cubicBezTo>
                      <a:pt x="9" y="14"/>
                      <a:pt x="8" y="15"/>
                      <a:pt x="8" y="14"/>
                    </a:cubicBezTo>
                    <a:cubicBezTo>
                      <a:pt x="7" y="14"/>
                      <a:pt x="7" y="14"/>
                      <a:pt x="6" y="14"/>
                    </a:cubicBezTo>
                    <a:cubicBezTo>
                      <a:pt x="6" y="14"/>
                      <a:pt x="5" y="13"/>
                      <a:pt x="5" y="13"/>
                    </a:cubicBezTo>
                    <a:cubicBezTo>
                      <a:pt x="4" y="13"/>
                      <a:pt x="4" y="12"/>
                      <a:pt x="3" y="13"/>
                    </a:cubicBezTo>
                    <a:cubicBezTo>
                      <a:pt x="3" y="12"/>
                      <a:pt x="3" y="11"/>
                      <a:pt x="2" y="12"/>
                    </a:cubicBezTo>
                    <a:cubicBezTo>
                      <a:pt x="2" y="12"/>
                      <a:pt x="2" y="11"/>
                      <a:pt x="2" y="11"/>
                    </a:cubicBezTo>
                    <a:cubicBezTo>
                      <a:pt x="2" y="10"/>
                      <a:pt x="2" y="9"/>
                      <a:pt x="2" y="9"/>
                    </a:cubicBezTo>
                    <a:cubicBezTo>
                      <a:pt x="1" y="8"/>
                      <a:pt x="1" y="8"/>
                      <a:pt x="0" y="7"/>
                    </a:cubicBezTo>
                    <a:cubicBezTo>
                      <a:pt x="0" y="6"/>
                      <a:pt x="1" y="5"/>
                      <a:pt x="0" y="4"/>
                    </a:cubicBezTo>
                    <a:cubicBezTo>
                      <a:pt x="1" y="4"/>
                      <a:pt x="2" y="4"/>
                      <a:pt x="2" y="3"/>
                    </a:cubicBezTo>
                    <a:cubicBezTo>
                      <a:pt x="2" y="3"/>
                      <a:pt x="3" y="2"/>
                      <a:pt x="3" y="2"/>
                    </a:cubicBezTo>
                    <a:cubicBezTo>
                      <a:pt x="4" y="2"/>
                      <a:pt x="5" y="2"/>
                      <a:pt x="6" y="2"/>
                    </a:cubicBezTo>
                    <a:cubicBezTo>
                      <a:pt x="7" y="1"/>
                      <a:pt x="7" y="1"/>
                      <a:pt x="8" y="1"/>
                    </a:cubicBezTo>
                    <a:cubicBezTo>
                      <a:pt x="9" y="1"/>
                      <a:pt x="10" y="1"/>
                      <a:pt x="11" y="1"/>
                    </a:cubicBezTo>
                    <a:cubicBezTo>
                      <a:pt x="12" y="1"/>
                      <a:pt x="13" y="1"/>
                      <a:pt x="13" y="1"/>
                    </a:cubicBezTo>
                    <a:cubicBezTo>
                      <a:pt x="14" y="1"/>
                      <a:pt x="14" y="1"/>
                      <a:pt x="15" y="1"/>
                    </a:cubicBezTo>
                    <a:cubicBezTo>
                      <a:pt x="16" y="1"/>
                      <a:pt x="16" y="2"/>
                      <a:pt x="16" y="2"/>
                    </a:cubicBezTo>
                    <a:cubicBezTo>
                      <a:pt x="17" y="2"/>
                      <a:pt x="17" y="1"/>
                      <a:pt x="18" y="1"/>
                    </a:cubicBezTo>
                    <a:cubicBezTo>
                      <a:pt x="19" y="1"/>
                      <a:pt x="19" y="1"/>
                      <a:pt x="20" y="2"/>
                    </a:cubicBezTo>
                    <a:cubicBezTo>
                      <a:pt x="20" y="2"/>
                      <a:pt x="20" y="1"/>
                      <a:pt x="21" y="1"/>
                    </a:cubicBezTo>
                    <a:cubicBezTo>
                      <a:pt x="21" y="1"/>
                      <a:pt x="21" y="1"/>
                      <a:pt x="22" y="1"/>
                    </a:cubicBezTo>
                    <a:cubicBezTo>
                      <a:pt x="22" y="2"/>
                      <a:pt x="23" y="1"/>
                      <a:pt x="24" y="2"/>
                    </a:cubicBezTo>
                    <a:cubicBezTo>
                      <a:pt x="25" y="2"/>
                      <a:pt x="25" y="2"/>
                      <a:pt x="26" y="2"/>
                    </a:cubicBezTo>
                    <a:cubicBezTo>
                      <a:pt x="27" y="2"/>
                      <a:pt x="27" y="2"/>
                      <a:pt x="28" y="2"/>
                    </a:cubicBezTo>
                    <a:cubicBezTo>
                      <a:pt x="28" y="2"/>
                      <a:pt x="29" y="1"/>
                      <a:pt x="29" y="1"/>
                    </a:cubicBezTo>
                    <a:cubicBezTo>
                      <a:pt x="29" y="1"/>
                      <a:pt x="30" y="1"/>
                      <a:pt x="31" y="0"/>
                    </a:cubicBezTo>
                    <a:cubicBezTo>
                      <a:pt x="31" y="0"/>
                      <a:pt x="32" y="2"/>
                      <a:pt x="32" y="2"/>
                    </a:cubicBezTo>
                    <a:cubicBezTo>
                      <a:pt x="33" y="3"/>
                      <a:pt x="34" y="3"/>
                      <a:pt x="35" y="3"/>
                    </a:cubicBezTo>
                    <a:cubicBezTo>
                      <a:pt x="36" y="3"/>
                      <a:pt x="37" y="3"/>
                      <a:pt x="37" y="3"/>
                    </a:cubicBezTo>
                    <a:cubicBezTo>
                      <a:pt x="38" y="4"/>
                      <a:pt x="38" y="4"/>
                      <a:pt x="38" y="4"/>
                    </a:cubicBezTo>
                    <a:cubicBezTo>
                      <a:pt x="39" y="4"/>
                      <a:pt x="39" y="5"/>
                      <a:pt x="40" y="5"/>
                    </a:cubicBezTo>
                    <a:cubicBezTo>
                      <a:pt x="40" y="6"/>
                      <a:pt x="41" y="6"/>
                      <a:pt x="42" y="6"/>
                    </a:cubicBezTo>
                    <a:cubicBezTo>
                      <a:pt x="42" y="7"/>
                      <a:pt x="42" y="7"/>
                      <a:pt x="43" y="7"/>
                    </a:cubicBezTo>
                    <a:cubicBezTo>
                      <a:pt x="43" y="8"/>
                      <a:pt x="44" y="8"/>
                      <a:pt x="45" y="8"/>
                    </a:cubicBezTo>
                    <a:cubicBezTo>
                      <a:pt x="46" y="9"/>
                      <a:pt x="45" y="9"/>
                      <a:pt x="45" y="10"/>
                    </a:cubicBezTo>
                    <a:cubicBezTo>
                      <a:pt x="45" y="11"/>
                      <a:pt x="44" y="12"/>
                      <a:pt x="45" y="12"/>
                    </a:cubicBezTo>
                    <a:cubicBezTo>
                      <a:pt x="46" y="12"/>
                      <a:pt x="46" y="12"/>
                      <a:pt x="47" y="12"/>
                    </a:cubicBezTo>
                    <a:cubicBezTo>
                      <a:pt x="48" y="12"/>
                      <a:pt x="47" y="13"/>
                      <a:pt x="47" y="13"/>
                    </a:cubicBezTo>
                    <a:close/>
                    <a:moveTo>
                      <a:pt x="0" y="12"/>
                    </a:moveTo>
                    <a:cubicBezTo>
                      <a:pt x="0" y="12"/>
                      <a:pt x="0" y="12"/>
                      <a:pt x="0" y="12"/>
                    </a:cubicBezTo>
                    <a:cubicBezTo>
                      <a:pt x="1" y="13"/>
                      <a:pt x="2" y="9"/>
                      <a:pt x="1" y="8"/>
                    </a:cubicBezTo>
                    <a:cubicBezTo>
                      <a:pt x="1" y="9"/>
                      <a:pt x="1" y="10"/>
                      <a:pt x="0" y="1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7" name="Liechtenstein">
                <a:extLst>
                  <a:ext uri="{FF2B5EF4-FFF2-40B4-BE49-F238E27FC236}">
                    <a16:creationId xmlns:a16="http://schemas.microsoft.com/office/drawing/2014/main" id="{AEF4410B-9AB0-84F0-FECB-17C0689EED97}"/>
                  </a:ext>
                </a:extLst>
              </p:cNvPr>
              <p:cNvSpPr>
                <a:spLocks/>
              </p:cNvSpPr>
              <p:nvPr/>
            </p:nvSpPr>
            <p:spPr bwMode="auto">
              <a:xfrm>
                <a:off x="6023078" y="2207522"/>
                <a:ext cx="3921" cy="10781"/>
              </a:xfrm>
              <a:custGeom>
                <a:avLst/>
                <a:gdLst/>
                <a:ahLst/>
                <a:cxnLst>
                  <a:cxn ang="0">
                    <a:pos x="1" y="1"/>
                  </a:cxn>
                  <a:cxn ang="0">
                    <a:pos x="1" y="1"/>
                  </a:cxn>
                  <a:cxn ang="0">
                    <a:pos x="0" y="0"/>
                  </a:cxn>
                  <a:cxn ang="0">
                    <a:pos x="0" y="1"/>
                  </a:cxn>
                  <a:cxn ang="0">
                    <a:pos x="0" y="2"/>
                  </a:cxn>
                  <a:cxn ang="0">
                    <a:pos x="0" y="2"/>
                  </a:cxn>
                  <a:cxn ang="0">
                    <a:pos x="1" y="2"/>
                  </a:cxn>
                  <a:cxn ang="0">
                    <a:pos x="1" y="1"/>
                  </a:cxn>
                </a:cxnLst>
                <a:rect l="0" t="0" r="r" b="b"/>
                <a:pathLst>
                  <a:path w="1" h="3">
                    <a:moveTo>
                      <a:pt x="1" y="1"/>
                    </a:moveTo>
                    <a:cubicBezTo>
                      <a:pt x="1" y="1"/>
                      <a:pt x="1" y="1"/>
                      <a:pt x="1" y="1"/>
                    </a:cubicBezTo>
                    <a:cubicBezTo>
                      <a:pt x="0" y="0"/>
                      <a:pt x="0" y="0"/>
                      <a:pt x="0" y="0"/>
                    </a:cubicBezTo>
                    <a:cubicBezTo>
                      <a:pt x="0" y="0"/>
                      <a:pt x="0" y="0"/>
                      <a:pt x="0" y="1"/>
                    </a:cubicBezTo>
                    <a:cubicBezTo>
                      <a:pt x="0" y="1"/>
                      <a:pt x="0" y="1"/>
                      <a:pt x="0" y="2"/>
                    </a:cubicBezTo>
                    <a:cubicBezTo>
                      <a:pt x="0" y="2"/>
                      <a:pt x="0" y="2"/>
                      <a:pt x="0" y="2"/>
                    </a:cubicBezTo>
                    <a:cubicBezTo>
                      <a:pt x="0" y="2"/>
                      <a:pt x="1" y="3"/>
                      <a:pt x="1" y="2"/>
                    </a:cubicBezTo>
                    <a:cubicBezTo>
                      <a:pt x="1" y="2"/>
                      <a:pt x="1" y="1"/>
                      <a:pt x="1"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8" name="Libya">
                <a:extLst>
                  <a:ext uri="{FF2B5EF4-FFF2-40B4-BE49-F238E27FC236}">
                    <a16:creationId xmlns:a16="http://schemas.microsoft.com/office/drawing/2014/main" id="{0F7D8F58-45BD-2562-5785-37A16F0AB4D2}"/>
                  </a:ext>
                </a:extLst>
              </p:cNvPr>
              <p:cNvSpPr>
                <a:spLocks/>
              </p:cNvSpPr>
              <p:nvPr/>
            </p:nvSpPr>
            <p:spPr bwMode="auto">
              <a:xfrm>
                <a:off x="6016217" y="2753474"/>
                <a:ext cx="531248" cy="532231"/>
              </a:xfrm>
              <a:custGeom>
                <a:avLst/>
                <a:gdLst/>
                <a:ahLst/>
                <a:cxnLst>
                  <a:cxn ang="0">
                    <a:pos x="145" y="39"/>
                  </a:cxn>
                  <a:cxn ang="0">
                    <a:pos x="144" y="33"/>
                  </a:cxn>
                  <a:cxn ang="0">
                    <a:pos x="145" y="22"/>
                  </a:cxn>
                  <a:cxn ang="0">
                    <a:pos x="147" y="17"/>
                  </a:cxn>
                  <a:cxn ang="0">
                    <a:pos x="144" y="13"/>
                  </a:cxn>
                  <a:cxn ang="0">
                    <a:pos x="137" y="12"/>
                  </a:cxn>
                  <a:cxn ang="0">
                    <a:pos x="132" y="11"/>
                  </a:cxn>
                  <a:cxn ang="0">
                    <a:pos x="128" y="9"/>
                  </a:cxn>
                  <a:cxn ang="0">
                    <a:pos x="128" y="6"/>
                  </a:cxn>
                  <a:cxn ang="0">
                    <a:pos x="120" y="3"/>
                  </a:cxn>
                  <a:cxn ang="0">
                    <a:pos x="117" y="3"/>
                  </a:cxn>
                  <a:cxn ang="0">
                    <a:pos x="111" y="4"/>
                  </a:cxn>
                  <a:cxn ang="0">
                    <a:pos x="98" y="14"/>
                  </a:cxn>
                  <a:cxn ang="0">
                    <a:pos x="99" y="26"/>
                  </a:cxn>
                  <a:cxn ang="0">
                    <a:pos x="88" y="31"/>
                  </a:cxn>
                  <a:cxn ang="0">
                    <a:pos x="82" y="26"/>
                  </a:cxn>
                  <a:cxn ang="0">
                    <a:pos x="78" y="24"/>
                  </a:cxn>
                  <a:cxn ang="0">
                    <a:pos x="61" y="20"/>
                  </a:cxn>
                  <a:cxn ang="0">
                    <a:pos x="54" y="8"/>
                  </a:cxn>
                  <a:cxn ang="0">
                    <a:pos x="46" y="5"/>
                  </a:cxn>
                  <a:cxn ang="0">
                    <a:pos x="39" y="3"/>
                  </a:cxn>
                  <a:cxn ang="0">
                    <a:pos x="27" y="3"/>
                  </a:cxn>
                  <a:cxn ang="0">
                    <a:pos x="22" y="0"/>
                  </a:cxn>
                  <a:cxn ang="0">
                    <a:pos x="21" y="6"/>
                  </a:cxn>
                  <a:cxn ang="0">
                    <a:pos x="15" y="11"/>
                  </a:cxn>
                  <a:cxn ang="0">
                    <a:pos x="12" y="14"/>
                  </a:cxn>
                  <a:cxn ang="0">
                    <a:pos x="9" y="17"/>
                  </a:cxn>
                  <a:cxn ang="0">
                    <a:pos x="9" y="23"/>
                  </a:cxn>
                  <a:cxn ang="0">
                    <a:pos x="2" y="32"/>
                  </a:cxn>
                  <a:cxn ang="0">
                    <a:pos x="3" y="38"/>
                  </a:cxn>
                  <a:cxn ang="0">
                    <a:pos x="6" y="58"/>
                  </a:cxn>
                  <a:cxn ang="0">
                    <a:pos x="4" y="63"/>
                  </a:cxn>
                  <a:cxn ang="0">
                    <a:pos x="5" y="69"/>
                  </a:cxn>
                  <a:cxn ang="0">
                    <a:pos x="3" y="74"/>
                  </a:cxn>
                  <a:cxn ang="0">
                    <a:pos x="4" y="82"/>
                  </a:cxn>
                  <a:cxn ang="0">
                    <a:pos x="8" y="92"/>
                  </a:cxn>
                  <a:cxn ang="0">
                    <a:pos x="14" y="95"/>
                  </a:cxn>
                  <a:cxn ang="0">
                    <a:pos x="23" y="101"/>
                  </a:cxn>
                  <a:cxn ang="0">
                    <a:pos x="34" y="108"/>
                  </a:cxn>
                  <a:cxn ang="0">
                    <a:pos x="47" y="115"/>
                  </a:cxn>
                  <a:cxn ang="0">
                    <a:pos x="66" y="108"/>
                  </a:cxn>
                  <a:cxn ang="0">
                    <a:pos x="140" y="150"/>
                  </a:cxn>
                  <a:cxn ang="0">
                    <a:pos x="145" y="144"/>
                  </a:cxn>
                </a:cxnLst>
                <a:rect l="0" t="0" r="r" b="b"/>
                <a:pathLst>
                  <a:path w="150" h="150">
                    <a:moveTo>
                      <a:pt x="148" y="70"/>
                    </a:moveTo>
                    <a:cubicBezTo>
                      <a:pt x="147" y="61"/>
                      <a:pt x="147" y="53"/>
                      <a:pt x="147" y="44"/>
                    </a:cubicBezTo>
                    <a:cubicBezTo>
                      <a:pt x="147" y="43"/>
                      <a:pt x="145" y="41"/>
                      <a:pt x="145" y="39"/>
                    </a:cubicBezTo>
                    <a:cubicBezTo>
                      <a:pt x="145" y="38"/>
                      <a:pt x="145" y="38"/>
                      <a:pt x="145" y="37"/>
                    </a:cubicBezTo>
                    <a:cubicBezTo>
                      <a:pt x="144" y="37"/>
                      <a:pt x="145" y="36"/>
                      <a:pt x="145" y="35"/>
                    </a:cubicBezTo>
                    <a:cubicBezTo>
                      <a:pt x="144" y="34"/>
                      <a:pt x="143" y="34"/>
                      <a:pt x="144" y="33"/>
                    </a:cubicBezTo>
                    <a:cubicBezTo>
                      <a:pt x="144" y="32"/>
                      <a:pt x="144" y="31"/>
                      <a:pt x="144" y="31"/>
                    </a:cubicBezTo>
                    <a:cubicBezTo>
                      <a:pt x="145" y="29"/>
                      <a:pt x="146" y="28"/>
                      <a:pt x="146" y="27"/>
                    </a:cubicBezTo>
                    <a:cubicBezTo>
                      <a:pt x="146" y="25"/>
                      <a:pt x="145" y="23"/>
                      <a:pt x="145" y="22"/>
                    </a:cubicBezTo>
                    <a:cubicBezTo>
                      <a:pt x="144" y="21"/>
                      <a:pt x="144" y="20"/>
                      <a:pt x="145" y="19"/>
                    </a:cubicBezTo>
                    <a:cubicBezTo>
                      <a:pt x="145" y="19"/>
                      <a:pt x="145" y="19"/>
                      <a:pt x="146" y="18"/>
                    </a:cubicBezTo>
                    <a:cubicBezTo>
                      <a:pt x="146" y="18"/>
                      <a:pt x="147" y="17"/>
                      <a:pt x="147" y="17"/>
                    </a:cubicBezTo>
                    <a:cubicBezTo>
                      <a:pt x="147" y="16"/>
                      <a:pt x="146" y="15"/>
                      <a:pt x="146" y="15"/>
                    </a:cubicBezTo>
                    <a:cubicBezTo>
                      <a:pt x="146" y="14"/>
                      <a:pt x="146" y="14"/>
                      <a:pt x="146" y="13"/>
                    </a:cubicBezTo>
                    <a:cubicBezTo>
                      <a:pt x="145" y="13"/>
                      <a:pt x="144" y="13"/>
                      <a:pt x="144" y="13"/>
                    </a:cubicBezTo>
                    <a:cubicBezTo>
                      <a:pt x="143" y="12"/>
                      <a:pt x="142" y="12"/>
                      <a:pt x="141" y="13"/>
                    </a:cubicBezTo>
                    <a:cubicBezTo>
                      <a:pt x="141" y="13"/>
                      <a:pt x="140" y="13"/>
                      <a:pt x="139" y="13"/>
                    </a:cubicBezTo>
                    <a:cubicBezTo>
                      <a:pt x="138" y="13"/>
                      <a:pt x="137" y="13"/>
                      <a:pt x="137" y="12"/>
                    </a:cubicBezTo>
                    <a:cubicBezTo>
                      <a:pt x="136" y="12"/>
                      <a:pt x="136" y="12"/>
                      <a:pt x="136" y="12"/>
                    </a:cubicBezTo>
                    <a:cubicBezTo>
                      <a:pt x="136" y="11"/>
                      <a:pt x="134" y="11"/>
                      <a:pt x="134" y="11"/>
                    </a:cubicBezTo>
                    <a:cubicBezTo>
                      <a:pt x="134" y="11"/>
                      <a:pt x="133" y="11"/>
                      <a:pt x="132" y="11"/>
                    </a:cubicBezTo>
                    <a:cubicBezTo>
                      <a:pt x="132" y="11"/>
                      <a:pt x="131" y="11"/>
                      <a:pt x="130" y="10"/>
                    </a:cubicBezTo>
                    <a:cubicBezTo>
                      <a:pt x="130" y="10"/>
                      <a:pt x="130" y="10"/>
                      <a:pt x="130" y="11"/>
                    </a:cubicBezTo>
                    <a:cubicBezTo>
                      <a:pt x="129" y="10"/>
                      <a:pt x="129" y="10"/>
                      <a:pt x="128" y="9"/>
                    </a:cubicBezTo>
                    <a:cubicBezTo>
                      <a:pt x="127" y="9"/>
                      <a:pt x="127" y="9"/>
                      <a:pt x="128" y="8"/>
                    </a:cubicBezTo>
                    <a:cubicBezTo>
                      <a:pt x="128" y="9"/>
                      <a:pt x="128" y="8"/>
                      <a:pt x="128" y="7"/>
                    </a:cubicBezTo>
                    <a:cubicBezTo>
                      <a:pt x="128" y="7"/>
                      <a:pt x="127" y="6"/>
                      <a:pt x="128" y="6"/>
                    </a:cubicBezTo>
                    <a:cubicBezTo>
                      <a:pt x="128" y="5"/>
                      <a:pt x="125" y="5"/>
                      <a:pt x="124" y="5"/>
                    </a:cubicBezTo>
                    <a:cubicBezTo>
                      <a:pt x="123" y="4"/>
                      <a:pt x="123" y="4"/>
                      <a:pt x="122" y="4"/>
                    </a:cubicBezTo>
                    <a:cubicBezTo>
                      <a:pt x="121" y="4"/>
                      <a:pt x="121" y="3"/>
                      <a:pt x="120" y="3"/>
                    </a:cubicBezTo>
                    <a:cubicBezTo>
                      <a:pt x="120" y="3"/>
                      <a:pt x="119" y="3"/>
                      <a:pt x="119" y="3"/>
                    </a:cubicBezTo>
                    <a:cubicBezTo>
                      <a:pt x="119" y="3"/>
                      <a:pt x="119" y="2"/>
                      <a:pt x="119" y="2"/>
                    </a:cubicBezTo>
                    <a:cubicBezTo>
                      <a:pt x="118" y="2"/>
                      <a:pt x="118" y="3"/>
                      <a:pt x="117" y="3"/>
                    </a:cubicBezTo>
                    <a:cubicBezTo>
                      <a:pt x="117" y="3"/>
                      <a:pt x="116" y="3"/>
                      <a:pt x="115" y="3"/>
                    </a:cubicBezTo>
                    <a:cubicBezTo>
                      <a:pt x="115" y="2"/>
                      <a:pt x="114" y="2"/>
                      <a:pt x="114" y="2"/>
                    </a:cubicBezTo>
                    <a:cubicBezTo>
                      <a:pt x="113" y="3"/>
                      <a:pt x="112" y="4"/>
                      <a:pt x="111" y="4"/>
                    </a:cubicBezTo>
                    <a:cubicBezTo>
                      <a:pt x="109" y="4"/>
                      <a:pt x="108" y="4"/>
                      <a:pt x="107" y="5"/>
                    </a:cubicBezTo>
                    <a:cubicBezTo>
                      <a:pt x="106" y="6"/>
                      <a:pt x="104" y="6"/>
                      <a:pt x="103" y="7"/>
                    </a:cubicBezTo>
                    <a:cubicBezTo>
                      <a:pt x="101" y="9"/>
                      <a:pt x="99" y="11"/>
                      <a:pt x="98" y="14"/>
                    </a:cubicBezTo>
                    <a:cubicBezTo>
                      <a:pt x="98" y="16"/>
                      <a:pt x="99" y="17"/>
                      <a:pt x="99" y="19"/>
                    </a:cubicBezTo>
                    <a:cubicBezTo>
                      <a:pt x="100" y="20"/>
                      <a:pt x="101" y="21"/>
                      <a:pt x="101" y="23"/>
                    </a:cubicBezTo>
                    <a:cubicBezTo>
                      <a:pt x="101" y="24"/>
                      <a:pt x="100" y="25"/>
                      <a:pt x="99" y="26"/>
                    </a:cubicBezTo>
                    <a:cubicBezTo>
                      <a:pt x="98" y="27"/>
                      <a:pt x="98" y="29"/>
                      <a:pt x="96" y="30"/>
                    </a:cubicBezTo>
                    <a:cubicBezTo>
                      <a:pt x="95" y="30"/>
                      <a:pt x="94" y="31"/>
                      <a:pt x="92" y="32"/>
                    </a:cubicBezTo>
                    <a:cubicBezTo>
                      <a:pt x="91" y="32"/>
                      <a:pt x="90" y="31"/>
                      <a:pt x="88" y="31"/>
                    </a:cubicBezTo>
                    <a:cubicBezTo>
                      <a:pt x="87" y="30"/>
                      <a:pt x="87" y="29"/>
                      <a:pt x="86" y="29"/>
                    </a:cubicBezTo>
                    <a:cubicBezTo>
                      <a:pt x="85" y="28"/>
                      <a:pt x="85" y="28"/>
                      <a:pt x="84" y="27"/>
                    </a:cubicBezTo>
                    <a:cubicBezTo>
                      <a:pt x="83" y="27"/>
                      <a:pt x="83" y="26"/>
                      <a:pt x="82" y="26"/>
                    </a:cubicBezTo>
                    <a:cubicBezTo>
                      <a:pt x="82" y="26"/>
                      <a:pt x="81" y="26"/>
                      <a:pt x="80" y="25"/>
                    </a:cubicBezTo>
                    <a:cubicBezTo>
                      <a:pt x="80" y="25"/>
                      <a:pt x="80" y="25"/>
                      <a:pt x="80" y="25"/>
                    </a:cubicBezTo>
                    <a:cubicBezTo>
                      <a:pt x="79" y="24"/>
                      <a:pt x="79" y="24"/>
                      <a:pt x="78" y="24"/>
                    </a:cubicBezTo>
                    <a:cubicBezTo>
                      <a:pt x="78" y="24"/>
                      <a:pt x="77" y="24"/>
                      <a:pt x="76" y="23"/>
                    </a:cubicBezTo>
                    <a:cubicBezTo>
                      <a:pt x="74" y="23"/>
                      <a:pt x="72" y="22"/>
                      <a:pt x="71" y="22"/>
                    </a:cubicBezTo>
                    <a:cubicBezTo>
                      <a:pt x="67" y="21"/>
                      <a:pt x="64" y="22"/>
                      <a:pt x="61" y="20"/>
                    </a:cubicBezTo>
                    <a:cubicBezTo>
                      <a:pt x="60" y="19"/>
                      <a:pt x="58" y="18"/>
                      <a:pt x="58" y="17"/>
                    </a:cubicBezTo>
                    <a:cubicBezTo>
                      <a:pt x="57" y="16"/>
                      <a:pt x="56" y="14"/>
                      <a:pt x="56" y="12"/>
                    </a:cubicBezTo>
                    <a:cubicBezTo>
                      <a:pt x="56" y="11"/>
                      <a:pt x="56" y="9"/>
                      <a:pt x="54" y="8"/>
                    </a:cubicBezTo>
                    <a:cubicBezTo>
                      <a:pt x="53" y="8"/>
                      <a:pt x="51" y="8"/>
                      <a:pt x="50" y="8"/>
                    </a:cubicBezTo>
                    <a:cubicBezTo>
                      <a:pt x="49" y="7"/>
                      <a:pt x="48" y="7"/>
                      <a:pt x="47" y="7"/>
                    </a:cubicBezTo>
                    <a:cubicBezTo>
                      <a:pt x="47" y="6"/>
                      <a:pt x="46" y="6"/>
                      <a:pt x="46" y="5"/>
                    </a:cubicBezTo>
                    <a:cubicBezTo>
                      <a:pt x="45" y="5"/>
                      <a:pt x="44" y="5"/>
                      <a:pt x="44" y="4"/>
                    </a:cubicBezTo>
                    <a:cubicBezTo>
                      <a:pt x="43" y="4"/>
                      <a:pt x="42" y="4"/>
                      <a:pt x="41" y="4"/>
                    </a:cubicBezTo>
                    <a:cubicBezTo>
                      <a:pt x="40" y="4"/>
                      <a:pt x="40" y="4"/>
                      <a:pt x="39" y="3"/>
                    </a:cubicBezTo>
                    <a:cubicBezTo>
                      <a:pt x="38" y="3"/>
                      <a:pt x="37" y="3"/>
                      <a:pt x="37" y="3"/>
                    </a:cubicBezTo>
                    <a:cubicBezTo>
                      <a:pt x="35" y="2"/>
                      <a:pt x="34" y="4"/>
                      <a:pt x="32" y="4"/>
                    </a:cubicBezTo>
                    <a:cubicBezTo>
                      <a:pt x="30" y="4"/>
                      <a:pt x="28" y="4"/>
                      <a:pt x="27" y="3"/>
                    </a:cubicBezTo>
                    <a:cubicBezTo>
                      <a:pt x="25" y="2"/>
                      <a:pt x="24" y="1"/>
                      <a:pt x="22" y="0"/>
                    </a:cubicBezTo>
                    <a:cubicBezTo>
                      <a:pt x="22" y="0"/>
                      <a:pt x="23" y="0"/>
                      <a:pt x="23" y="1"/>
                    </a:cubicBezTo>
                    <a:cubicBezTo>
                      <a:pt x="23" y="1"/>
                      <a:pt x="22" y="1"/>
                      <a:pt x="22" y="0"/>
                    </a:cubicBezTo>
                    <a:cubicBezTo>
                      <a:pt x="21" y="0"/>
                      <a:pt x="21" y="0"/>
                      <a:pt x="21" y="0"/>
                    </a:cubicBezTo>
                    <a:cubicBezTo>
                      <a:pt x="20" y="1"/>
                      <a:pt x="20" y="3"/>
                      <a:pt x="20" y="5"/>
                    </a:cubicBezTo>
                    <a:cubicBezTo>
                      <a:pt x="20" y="6"/>
                      <a:pt x="20" y="6"/>
                      <a:pt x="21" y="6"/>
                    </a:cubicBezTo>
                    <a:cubicBezTo>
                      <a:pt x="21" y="7"/>
                      <a:pt x="21" y="7"/>
                      <a:pt x="21" y="8"/>
                    </a:cubicBezTo>
                    <a:cubicBezTo>
                      <a:pt x="20" y="9"/>
                      <a:pt x="17" y="10"/>
                      <a:pt x="16" y="10"/>
                    </a:cubicBezTo>
                    <a:cubicBezTo>
                      <a:pt x="15" y="11"/>
                      <a:pt x="15" y="11"/>
                      <a:pt x="15" y="11"/>
                    </a:cubicBezTo>
                    <a:cubicBezTo>
                      <a:pt x="14" y="12"/>
                      <a:pt x="14" y="12"/>
                      <a:pt x="14" y="12"/>
                    </a:cubicBezTo>
                    <a:cubicBezTo>
                      <a:pt x="13" y="13"/>
                      <a:pt x="13" y="13"/>
                      <a:pt x="12" y="13"/>
                    </a:cubicBezTo>
                    <a:cubicBezTo>
                      <a:pt x="12" y="13"/>
                      <a:pt x="12" y="14"/>
                      <a:pt x="12" y="14"/>
                    </a:cubicBezTo>
                    <a:cubicBezTo>
                      <a:pt x="12" y="14"/>
                      <a:pt x="12" y="15"/>
                      <a:pt x="11" y="15"/>
                    </a:cubicBezTo>
                    <a:cubicBezTo>
                      <a:pt x="11" y="16"/>
                      <a:pt x="10" y="15"/>
                      <a:pt x="10" y="16"/>
                    </a:cubicBezTo>
                    <a:cubicBezTo>
                      <a:pt x="9" y="16"/>
                      <a:pt x="9" y="16"/>
                      <a:pt x="9" y="17"/>
                    </a:cubicBezTo>
                    <a:cubicBezTo>
                      <a:pt x="8" y="17"/>
                      <a:pt x="8" y="18"/>
                      <a:pt x="8" y="18"/>
                    </a:cubicBezTo>
                    <a:cubicBezTo>
                      <a:pt x="7" y="19"/>
                      <a:pt x="8" y="20"/>
                      <a:pt x="8" y="21"/>
                    </a:cubicBezTo>
                    <a:cubicBezTo>
                      <a:pt x="9" y="22"/>
                      <a:pt x="9" y="23"/>
                      <a:pt x="9" y="23"/>
                    </a:cubicBezTo>
                    <a:cubicBezTo>
                      <a:pt x="9" y="25"/>
                      <a:pt x="8" y="26"/>
                      <a:pt x="8" y="28"/>
                    </a:cubicBezTo>
                    <a:cubicBezTo>
                      <a:pt x="7" y="28"/>
                      <a:pt x="6" y="31"/>
                      <a:pt x="5" y="31"/>
                    </a:cubicBezTo>
                    <a:cubicBezTo>
                      <a:pt x="4" y="31"/>
                      <a:pt x="3" y="32"/>
                      <a:pt x="2" y="32"/>
                    </a:cubicBezTo>
                    <a:cubicBezTo>
                      <a:pt x="1" y="32"/>
                      <a:pt x="1" y="33"/>
                      <a:pt x="0" y="33"/>
                    </a:cubicBezTo>
                    <a:cubicBezTo>
                      <a:pt x="0" y="33"/>
                      <a:pt x="0" y="34"/>
                      <a:pt x="1" y="34"/>
                    </a:cubicBezTo>
                    <a:cubicBezTo>
                      <a:pt x="2" y="35"/>
                      <a:pt x="2" y="37"/>
                      <a:pt x="3" y="38"/>
                    </a:cubicBezTo>
                    <a:cubicBezTo>
                      <a:pt x="4" y="41"/>
                      <a:pt x="5" y="44"/>
                      <a:pt x="5" y="47"/>
                    </a:cubicBezTo>
                    <a:cubicBezTo>
                      <a:pt x="5" y="49"/>
                      <a:pt x="5" y="51"/>
                      <a:pt x="5" y="53"/>
                    </a:cubicBezTo>
                    <a:cubicBezTo>
                      <a:pt x="5" y="55"/>
                      <a:pt x="6" y="56"/>
                      <a:pt x="6" y="58"/>
                    </a:cubicBezTo>
                    <a:cubicBezTo>
                      <a:pt x="6" y="59"/>
                      <a:pt x="6" y="60"/>
                      <a:pt x="5" y="60"/>
                    </a:cubicBezTo>
                    <a:cubicBezTo>
                      <a:pt x="5" y="61"/>
                      <a:pt x="5" y="61"/>
                      <a:pt x="5" y="62"/>
                    </a:cubicBezTo>
                    <a:cubicBezTo>
                      <a:pt x="5" y="62"/>
                      <a:pt x="4" y="62"/>
                      <a:pt x="4" y="63"/>
                    </a:cubicBezTo>
                    <a:cubicBezTo>
                      <a:pt x="4" y="64"/>
                      <a:pt x="4" y="64"/>
                      <a:pt x="4" y="65"/>
                    </a:cubicBezTo>
                    <a:cubicBezTo>
                      <a:pt x="4" y="66"/>
                      <a:pt x="5" y="67"/>
                      <a:pt x="5" y="68"/>
                    </a:cubicBezTo>
                    <a:cubicBezTo>
                      <a:pt x="5" y="68"/>
                      <a:pt x="5" y="69"/>
                      <a:pt x="5" y="69"/>
                    </a:cubicBezTo>
                    <a:cubicBezTo>
                      <a:pt x="6" y="69"/>
                      <a:pt x="6" y="70"/>
                      <a:pt x="6" y="70"/>
                    </a:cubicBezTo>
                    <a:cubicBezTo>
                      <a:pt x="5" y="71"/>
                      <a:pt x="6" y="72"/>
                      <a:pt x="5" y="73"/>
                    </a:cubicBezTo>
                    <a:cubicBezTo>
                      <a:pt x="4" y="74"/>
                      <a:pt x="3" y="74"/>
                      <a:pt x="3" y="74"/>
                    </a:cubicBezTo>
                    <a:cubicBezTo>
                      <a:pt x="2" y="74"/>
                      <a:pt x="2" y="75"/>
                      <a:pt x="1" y="75"/>
                    </a:cubicBezTo>
                    <a:cubicBezTo>
                      <a:pt x="1" y="76"/>
                      <a:pt x="1" y="77"/>
                      <a:pt x="2" y="78"/>
                    </a:cubicBezTo>
                    <a:cubicBezTo>
                      <a:pt x="2" y="79"/>
                      <a:pt x="3" y="81"/>
                      <a:pt x="4" y="82"/>
                    </a:cubicBezTo>
                    <a:cubicBezTo>
                      <a:pt x="5" y="83"/>
                      <a:pt x="6" y="85"/>
                      <a:pt x="7" y="86"/>
                    </a:cubicBezTo>
                    <a:cubicBezTo>
                      <a:pt x="7" y="88"/>
                      <a:pt x="7" y="89"/>
                      <a:pt x="7" y="90"/>
                    </a:cubicBezTo>
                    <a:cubicBezTo>
                      <a:pt x="7" y="91"/>
                      <a:pt x="7" y="92"/>
                      <a:pt x="8" y="92"/>
                    </a:cubicBezTo>
                    <a:cubicBezTo>
                      <a:pt x="8" y="92"/>
                      <a:pt x="9" y="93"/>
                      <a:pt x="9" y="93"/>
                    </a:cubicBezTo>
                    <a:cubicBezTo>
                      <a:pt x="9" y="95"/>
                      <a:pt x="10" y="96"/>
                      <a:pt x="12" y="95"/>
                    </a:cubicBezTo>
                    <a:cubicBezTo>
                      <a:pt x="13" y="94"/>
                      <a:pt x="13" y="94"/>
                      <a:pt x="14" y="95"/>
                    </a:cubicBezTo>
                    <a:cubicBezTo>
                      <a:pt x="15" y="95"/>
                      <a:pt x="16" y="95"/>
                      <a:pt x="16" y="96"/>
                    </a:cubicBezTo>
                    <a:cubicBezTo>
                      <a:pt x="18" y="96"/>
                      <a:pt x="19" y="96"/>
                      <a:pt x="20" y="97"/>
                    </a:cubicBezTo>
                    <a:cubicBezTo>
                      <a:pt x="22" y="98"/>
                      <a:pt x="22" y="99"/>
                      <a:pt x="23" y="101"/>
                    </a:cubicBezTo>
                    <a:cubicBezTo>
                      <a:pt x="24" y="102"/>
                      <a:pt x="24" y="103"/>
                      <a:pt x="25" y="105"/>
                    </a:cubicBezTo>
                    <a:cubicBezTo>
                      <a:pt x="25" y="106"/>
                      <a:pt x="27" y="106"/>
                      <a:pt x="28" y="106"/>
                    </a:cubicBezTo>
                    <a:cubicBezTo>
                      <a:pt x="30" y="107"/>
                      <a:pt x="32" y="107"/>
                      <a:pt x="34" y="108"/>
                    </a:cubicBezTo>
                    <a:cubicBezTo>
                      <a:pt x="36" y="108"/>
                      <a:pt x="38" y="109"/>
                      <a:pt x="40" y="110"/>
                    </a:cubicBezTo>
                    <a:cubicBezTo>
                      <a:pt x="41" y="110"/>
                      <a:pt x="43" y="112"/>
                      <a:pt x="44" y="113"/>
                    </a:cubicBezTo>
                    <a:cubicBezTo>
                      <a:pt x="45" y="114"/>
                      <a:pt x="46" y="116"/>
                      <a:pt x="47" y="115"/>
                    </a:cubicBezTo>
                    <a:cubicBezTo>
                      <a:pt x="51" y="113"/>
                      <a:pt x="54" y="111"/>
                      <a:pt x="58" y="109"/>
                    </a:cubicBezTo>
                    <a:cubicBezTo>
                      <a:pt x="60" y="109"/>
                      <a:pt x="61" y="108"/>
                      <a:pt x="63" y="107"/>
                    </a:cubicBezTo>
                    <a:cubicBezTo>
                      <a:pt x="64" y="106"/>
                      <a:pt x="65" y="107"/>
                      <a:pt x="66" y="108"/>
                    </a:cubicBezTo>
                    <a:cubicBezTo>
                      <a:pt x="69" y="109"/>
                      <a:pt x="72" y="111"/>
                      <a:pt x="75" y="113"/>
                    </a:cubicBezTo>
                    <a:cubicBezTo>
                      <a:pt x="82" y="117"/>
                      <a:pt x="90" y="121"/>
                      <a:pt x="97" y="125"/>
                    </a:cubicBezTo>
                    <a:cubicBezTo>
                      <a:pt x="111" y="133"/>
                      <a:pt x="126" y="141"/>
                      <a:pt x="140" y="150"/>
                    </a:cubicBezTo>
                    <a:cubicBezTo>
                      <a:pt x="140" y="149"/>
                      <a:pt x="140" y="148"/>
                      <a:pt x="140" y="146"/>
                    </a:cubicBezTo>
                    <a:cubicBezTo>
                      <a:pt x="140" y="145"/>
                      <a:pt x="140" y="145"/>
                      <a:pt x="141" y="145"/>
                    </a:cubicBezTo>
                    <a:cubicBezTo>
                      <a:pt x="142" y="144"/>
                      <a:pt x="144" y="144"/>
                      <a:pt x="145" y="144"/>
                    </a:cubicBezTo>
                    <a:cubicBezTo>
                      <a:pt x="147" y="144"/>
                      <a:pt x="148" y="144"/>
                      <a:pt x="150" y="144"/>
                    </a:cubicBezTo>
                    <a:cubicBezTo>
                      <a:pt x="149" y="120"/>
                      <a:pt x="148" y="95"/>
                      <a:pt x="148" y="7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79" name="Liberia">
                <a:extLst>
                  <a:ext uri="{FF2B5EF4-FFF2-40B4-BE49-F238E27FC236}">
                    <a16:creationId xmlns:a16="http://schemas.microsoft.com/office/drawing/2014/main" id="{D04D48A1-13D9-50AF-54AF-CB29F1AD4F7A}"/>
                  </a:ext>
                </a:extLst>
              </p:cNvPr>
              <p:cNvSpPr>
                <a:spLocks/>
              </p:cNvSpPr>
              <p:nvPr/>
            </p:nvSpPr>
            <p:spPr bwMode="auto">
              <a:xfrm>
                <a:off x="5300695" y="3711093"/>
                <a:ext cx="141144" cy="162707"/>
              </a:xfrm>
              <a:custGeom>
                <a:avLst/>
                <a:gdLst/>
                <a:ahLst/>
                <a:cxnLst>
                  <a:cxn ang="0">
                    <a:pos x="40" y="33"/>
                  </a:cxn>
                  <a:cxn ang="0">
                    <a:pos x="39" y="30"/>
                  </a:cxn>
                  <a:cxn ang="0">
                    <a:pos x="38" y="30"/>
                  </a:cxn>
                  <a:cxn ang="0">
                    <a:pos x="36" y="27"/>
                  </a:cxn>
                  <a:cxn ang="0">
                    <a:pos x="33" y="25"/>
                  </a:cxn>
                  <a:cxn ang="0">
                    <a:pos x="30" y="24"/>
                  </a:cxn>
                  <a:cxn ang="0">
                    <a:pos x="29" y="23"/>
                  </a:cxn>
                  <a:cxn ang="0">
                    <a:pos x="29" y="22"/>
                  </a:cxn>
                  <a:cxn ang="0">
                    <a:pos x="31" y="20"/>
                  </a:cxn>
                  <a:cxn ang="0">
                    <a:pos x="31" y="17"/>
                  </a:cxn>
                  <a:cxn ang="0">
                    <a:pos x="31" y="16"/>
                  </a:cxn>
                  <a:cxn ang="0">
                    <a:pos x="31" y="14"/>
                  </a:cxn>
                  <a:cxn ang="0">
                    <a:pos x="29" y="11"/>
                  </a:cxn>
                  <a:cxn ang="0">
                    <a:pos x="27" y="11"/>
                  </a:cxn>
                  <a:cxn ang="0">
                    <a:pos x="26" y="14"/>
                  </a:cxn>
                  <a:cxn ang="0">
                    <a:pos x="23" y="15"/>
                  </a:cxn>
                  <a:cxn ang="0">
                    <a:pos x="22" y="13"/>
                  </a:cxn>
                  <a:cxn ang="0">
                    <a:pos x="21" y="13"/>
                  </a:cxn>
                  <a:cxn ang="0">
                    <a:pos x="20" y="13"/>
                  </a:cxn>
                  <a:cxn ang="0">
                    <a:pos x="21" y="7"/>
                  </a:cxn>
                  <a:cxn ang="0">
                    <a:pos x="20" y="4"/>
                  </a:cxn>
                  <a:cxn ang="0">
                    <a:pos x="19" y="2"/>
                  </a:cxn>
                  <a:cxn ang="0">
                    <a:pos x="18" y="1"/>
                  </a:cxn>
                  <a:cxn ang="0">
                    <a:pos x="17" y="0"/>
                  </a:cxn>
                  <a:cxn ang="0">
                    <a:pos x="15" y="2"/>
                  </a:cxn>
                  <a:cxn ang="0">
                    <a:pos x="13" y="1"/>
                  </a:cxn>
                  <a:cxn ang="0">
                    <a:pos x="12" y="4"/>
                  </a:cxn>
                  <a:cxn ang="0">
                    <a:pos x="9" y="8"/>
                  </a:cxn>
                  <a:cxn ang="0">
                    <a:pos x="7" y="10"/>
                  </a:cxn>
                  <a:cxn ang="0">
                    <a:pos x="3" y="15"/>
                  </a:cxn>
                  <a:cxn ang="0">
                    <a:pos x="1" y="17"/>
                  </a:cxn>
                  <a:cxn ang="0">
                    <a:pos x="2" y="20"/>
                  </a:cxn>
                  <a:cxn ang="0">
                    <a:pos x="4" y="22"/>
                  </a:cxn>
                  <a:cxn ang="0">
                    <a:pos x="7" y="24"/>
                  </a:cxn>
                  <a:cxn ang="0">
                    <a:pos x="7" y="25"/>
                  </a:cxn>
                  <a:cxn ang="0">
                    <a:pos x="10" y="26"/>
                  </a:cxn>
                  <a:cxn ang="0">
                    <a:pos x="11" y="27"/>
                  </a:cxn>
                  <a:cxn ang="0">
                    <a:pos x="14" y="29"/>
                  </a:cxn>
                  <a:cxn ang="0">
                    <a:pos x="17" y="32"/>
                  </a:cxn>
                  <a:cxn ang="0">
                    <a:pos x="19" y="35"/>
                  </a:cxn>
                  <a:cxn ang="0">
                    <a:pos x="23" y="39"/>
                  </a:cxn>
                  <a:cxn ang="0">
                    <a:pos x="27" y="41"/>
                  </a:cxn>
                  <a:cxn ang="0">
                    <a:pos x="31" y="43"/>
                  </a:cxn>
                  <a:cxn ang="0">
                    <a:pos x="36" y="45"/>
                  </a:cxn>
                  <a:cxn ang="0">
                    <a:pos x="38" y="44"/>
                  </a:cxn>
                  <a:cxn ang="0">
                    <a:pos x="38" y="40"/>
                  </a:cxn>
                  <a:cxn ang="0">
                    <a:pos x="38" y="40"/>
                  </a:cxn>
                  <a:cxn ang="0">
                    <a:pos x="40" y="36"/>
                  </a:cxn>
                  <a:cxn ang="0">
                    <a:pos x="40" y="35"/>
                  </a:cxn>
                </a:cxnLst>
                <a:rect l="0" t="0" r="r" b="b"/>
                <a:pathLst>
                  <a:path w="40" h="46">
                    <a:moveTo>
                      <a:pt x="40" y="35"/>
                    </a:moveTo>
                    <a:cubicBezTo>
                      <a:pt x="40" y="35"/>
                      <a:pt x="40" y="34"/>
                      <a:pt x="40" y="33"/>
                    </a:cubicBezTo>
                    <a:cubicBezTo>
                      <a:pt x="40" y="33"/>
                      <a:pt x="39" y="30"/>
                      <a:pt x="39" y="30"/>
                    </a:cubicBezTo>
                    <a:cubicBezTo>
                      <a:pt x="39" y="30"/>
                      <a:pt x="39" y="30"/>
                      <a:pt x="39" y="30"/>
                    </a:cubicBezTo>
                    <a:cubicBezTo>
                      <a:pt x="39" y="30"/>
                      <a:pt x="39" y="30"/>
                      <a:pt x="39" y="30"/>
                    </a:cubicBezTo>
                    <a:cubicBezTo>
                      <a:pt x="39" y="30"/>
                      <a:pt x="38" y="30"/>
                      <a:pt x="38" y="30"/>
                    </a:cubicBezTo>
                    <a:cubicBezTo>
                      <a:pt x="38" y="30"/>
                      <a:pt x="37" y="29"/>
                      <a:pt x="37" y="29"/>
                    </a:cubicBezTo>
                    <a:cubicBezTo>
                      <a:pt x="37" y="30"/>
                      <a:pt x="36" y="27"/>
                      <a:pt x="36" y="27"/>
                    </a:cubicBezTo>
                    <a:cubicBezTo>
                      <a:pt x="35" y="27"/>
                      <a:pt x="36" y="26"/>
                      <a:pt x="35" y="25"/>
                    </a:cubicBezTo>
                    <a:cubicBezTo>
                      <a:pt x="34" y="25"/>
                      <a:pt x="34" y="25"/>
                      <a:pt x="33" y="25"/>
                    </a:cubicBezTo>
                    <a:cubicBezTo>
                      <a:pt x="32" y="26"/>
                      <a:pt x="31" y="24"/>
                      <a:pt x="30" y="24"/>
                    </a:cubicBezTo>
                    <a:cubicBezTo>
                      <a:pt x="30" y="24"/>
                      <a:pt x="30" y="24"/>
                      <a:pt x="30" y="24"/>
                    </a:cubicBezTo>
                    <a:cubicBezTo>
                      <a:pt x="31" y="23"/>
                      <a:pt x="30" y="23"/>
                      <a:pt x="30" y="23"/>
                    </a:cubicBezTo>
                    <a:cubicBezTo>
                      <a:pt x="30" y="24"/>
                      <a:pt x="29" y="23"/>
                      <a:pt x="29" y="23"/>
                    </a:cubicBezTo>
                    <a:cubicBezTo>
                      <a:pt x="28" y="23"/>
                      <a:pt x="28" y="23"/>
                      <a:pt x="29" y="22"/>
                    </a:cubicBezTo>
                    <a:cubicBezTo>
                      <a:pt x="29" y="22"/>
                      <a:pt x="29" y="22"/>
                      <a:pt x="29" y="22"/>
                    </a:cubicBezTo>
                    <a:cubicBezTo>
                      <a:pt x="29" y="22"/>
                      <a:pt x="29" y="22"/>
                      <a:pt x="30" y="21"/>
                    </a:cubicBezTo>
                    <a:cubicBezTo>
                      <a:pt x="30" y="21"/>
                      <a:pt x="30" y="21"/>
                      <a:pt x="31" y="20"/>
                    </a:cubicBezTo>
                    <a:cubicBezTo>
                      <a:pt x="31" y="20"/>
                      <a:pt x="31" y="19"/>
                      <a:pt x="31" y="19"/>
                    </a:cubicBezTo>
                    <a:cubicBezTo>
                      <a:pt x="31" y="18"/>
                      <a:pt x="31" y="18"/>
                      <a:pt x="31" y="17"/>
                    </a:cubicBezTo>
                    <a:cubicBezTo>
                      <a:pt x="32" y="17"/>
                      <a:pt x="31" y="17"/>
                      <a:pt x="31" y="16"/>
                    </a:cubicBezTo>
                    <a:cubicBezTo>
                      <a:pt x="31" y="16"/>
                      <a:pt x="31" y="16"/>
                      <a:pt x="31" y="16"/>
                    </a:cubicBezTo>
                    <a:cubicBezTo>
                      <a:pt x="31" y="15"/>
                      <a:pt x="31" y="15"/>
                      <a:pt x="31" y="15"/>
                    </a:cubicBezTo>
                    <a:cubicBezTo>
                      <a:pt x="31" y="15"/>
                      <a:pt x="31" y="15"/>
                      <a:pt x="31" y="14"/>
                    </a:cubicBezTo>
                    <a:cubicBezTo>
                      <a:pt x="30" y="14"/>
                      <a:pt x="30" y="13"/>
                      <a:pt x="30" y="12"/>
                    </a:cubicBezTo>
                    <a:cubicBezTo>
                      <a:pt x="30" y="11"/>
                      <a:pt x="30" y="11"/>
                      <a:pt x="29" y="11"/>
                    </a:cubicBezTo>
                    <a:cubicBezTo>
                      <a:pt x="29" y="10"/>
                      <a:pt x="29" y="10"/>
                      <a:pt x="28" y="10"/>
                    </a:cubicBezTo>
                    <a:cubicBezTo>
                      <a:pt x="28" y="10"/>
                      <a:pt x="27" y="10"/>
                      <a:pt x="27" y="11"/>
                    </a:cubicBezTo>
                    <a:cubicBezTo>
                      <a:pt x="27" y="12"/>
                      <a:pt x="27" y="12"/>
                      <a:pt x="26" y="13"/>
                    </a:cubicBezTo>
                    <a:cubicBezTo>
                      <a:pt x="26" y="13"/>
                      <a:pt x="26" y="14"/>
                      <a:pt x="26" y="14"/>
                    </a:cubicBezTo>
                    <a:cubicBezTo>
                      <a:pt x="26" y="15"/>
                      <a:pt x="25" y="14"/>
                      <a:pt x="25" y="14"/>
                    </a:cubicBezTo>
                    <a:cubicBezTo>
                      <a:pt x="25" y="14"/>
                      <a:pt x="24" y="15"/>
                      <a:pt x="23" y="15"/>
                    </a:cubicBezTo>
                    <a:cubicBezTo>
                      <a:pt x="24" y="15"/>
                      <a:pt x="23" y="14"/>
                      <a:pt x="23" y="14"/>
                    </a:cubicBezTo>
                    <a:cubicBezTo>
                      <a:pt x="23" y="14"/>
                      <a:pt x="23" y="13"/>
                      <a:pt x="22" y="13"/>
                    </a:cubicBezTo>
                    <a:cubicBezTo>
                      <a:pt x="22" y="13"/>
                      <a:pt x="22" y="13"/>
                      <a:pt x="21" y="13"/>
                    </a:cubicBezTo>
                    <a:cubicBezTo>
                      <a:pt x="21" y="12"/>
                      <a:pt x="21" y="13"/>
                      <a:pt x="21" y="13"/>
                    </a:cubicBezTo>
                    <a:cubicBezTo>
                      <a:pt x="20" y="13"/>
                      <a:pt x="21" y="13"/>
                      <a:pt x="20" y="13"/>
                    </a:cubicBezTo>
                    <a:cubicBezTo>
                      <a:pt x="20" y="13"/>
                      <a:pt x="20" y="13"/>
                      <a:pt x="20" y="13"/>
                    </a:cubicBezTo>
                    <a:cubicBezTo>
                      <a:pt x="20" y="12"/>
                      <a:pt x="22" y="10"/>
                      <a:pt x="21" y="9"/>
                    </a:cubicBezTo>
                    <a:cubicBezTo>
                      <a:pt x="21" y="8"/>
                      <a:pt x="20" y="8"/>
                      <a:pt x="21" y="7"/>
                    </a:cubicBezTo>
                    <a:cubicBezTo>
                      <a:pt x="21" y="6"/>
                      <a:pt x="21" y="5"/>
                      <a:pt x="20" y="6"/>
                    </a:cubicBezTo>
                    <a:cubicBezTo>
                      <a:pt x="21" y="5"/>
                      <a:pt x="20" y="5"/>
                      <a:pt x="20" y="4"/>
                    </a:cubicBezTo>
                    <a:cubicBezTo>
                      <a:pt x="20" y="4"/>
                      <a:pt x="20" y="2"/>
                      <a:pt x="20" y="2"/>
                    </a:cubicBezTo>
                    <a:cubicBezTo>
                      <a:pt x="20" y="2"/>
                      <a:pt x="19" y="2"/>
                      <a:pt x="19" y="2"/>
                    </a:cubicBezTo>
                    <a:cubicBezTo>
                      <a:pt x="19" y="2"/>
                      <a:pt x="18" y="2"/>
                      <a:pt x="18" y="2"/>
                    </a:cubicBezTo>
                    <a:cubicBezTo>
                      <a:pt x="18" y="2"/>
                      <a:pt x="19" y="1"/>
                      <a:pt x="18" y="1"/>
                    </a:cubicBezTo>
                    <a:cubicBezTo>
                      <a:pt x="18" y="1"/>
                      <a:pt x="18" y="1"/>
                      <a:pt x="18" y="2"/>
                    </a:cubicBezTo>
                    <a:cubicBezTo>
                      <a:pt x="17" y="1"/>
                      <a:pt x="18" y="1"/>
                      <a:pt x="17" y="0"/>
                    </a:cubicBezTo>
                    <a:cubicBezTo>
                      <a:pt x="17" y="0"/>
                      <a:pt x="16" y="1"/>
                      <a:pt x="16" y="1"/>
                    </a:cubicBezTo>
                    <a:cubicBezTo>
                      <a:pt x="16" y="1"/>
                      <a:pt x="15" y="1"/>
                      <a:pt x="15" y="2"/>
                    </a:cubicBezTo>
                    <a:cubicBezTo>
                      <a:pt x="14" y="2"/>
                      <a:pt x="15" y="1"/>
                      <a:pt x="14" y="1"/>
                    </a:cubicBezTo>
                    <a:cubicBezTo>
                      <a:pt x="14" y="0"/>
                      <a:pt x="13" y="1"/>
                      <a:pt x="13" y="1"/>
                    </a:cubicBezTo>
                    <a:cubicBezTo>
                      <a:pt x="12" y="1"/>
                      <a:pt x="12" y="2"/>
                      <a:pt x="12" y="2"/>
                    </a:cubicBezTo>
                    <a:cubicBezTo>
                      <a:pt x="12" y="3"/>
                      <a:pt x="12" y="3"/>
                      <a:pt x="12" y="4"/>
                    </a:cubicBezTo>
                    <a:cubicBezTo>
                      <a:pt x="12" y="4"/>
                      <a:pt x="12" y="5"/>
                      <a:pt x="11" y="5"/>
                    </a:cubicBezTo>
                    <a:cubicBezTo>
                      <a:pt x="9" y="5"/>
                      <a:pt x="9" y="6"/>
                      <a:pt x="9" y="8"/>
                    </a:cubicBezTo>
                    <a:cubicBezTo>
                      <a:pt x="9" y="8"/>
                      <a:pt x="9" y="9"/>
                      <a:pt x="9" y="9"/>
                    </a:cubicBezTo>
                    <a:cubicBezTo>
                      <a:pt x="8" y="9"/>
                      <a:pt x="8" y="10"/>
                      <a:pt x="7" y="10"/>
                    </a:cubicBezTo>
                    <a:cubicBezTo>
                      <a:pt x="7" y="12"/>
                      <a:pt x="5" y="12"/>
                      <a:pt x="4" y="13"/>
                    </a:cubicBezTo>
                    <a:cubicBezTo>
                      <a:pt x="4" y="14"/>
                      <a:pt x="3" y="14"/>
                      <a:pt x="3" y="15"/>
                    </a:cubicBezTo>
                    <a:cubicBezTo>
                      <a:pt x="2" y="15"/>
                      <a:pt x="2" y="15"/>
                      <a:pt x="2" y="16"/>
                    </a:cubicBezTo>
                    <a:cubicBezTo>
                      <a:pt x="2" y="16"/>
                      <a:pt x="1" y="17"/>
                      <a:pt x="1" y="17"/>
                    </a:cubicBezTo>
                    <a:cubicBezTo>
                      <a:pt x="1" y="17"/>
                      <a:pt x="1" y="18"/>
                      <a:pt x="0" y="18"/>
                    </a:cubicBezTo>
                    <a:cubicBezTo>
                      <a:pt x="1" y="19"/>
                      <a:pt x="1" y="19"/>
                      <a:pt x="2" y="20"/>
                    </a:cubicBezTo>
                    <a:cubicBezTo>
                      <a:pt x="1" y="20"/>
                      <a:pt x="2" y="21"/>
                      <a:pt x="2" y="21"/>
                    </a:cubicBezTo>
                    <a:cubicBezTo>
                      <a:pt x="2" y="21"/>
                      <a:pt x="3" y="21"/>
                      <a:pt x="4" y="22"/>
                    </a:cubicBezTo>
                    <a:cubicBezTo>
                      <a:pt x="5" y="22"/>
                      <a:pt x="5" y="22"/>
                      <a:pt x="6" y="23"/>
                    </a:cubicBezTo>
                    <a:cubicBezTo>
                      <a:pt x="6" y="23"/>
                      <a:pt x="7" y="24"/>
                      <a:pt x="7" y="24"/>
                    </a:cubicBezTo>
                    <a:cubicBezTo>
                      <a:pt x="7" y="24"/>
                      <a:pt x="7" y="25"/>
                      <a:pt x="7" y="25"/>
                    </a:cubicBezTo>
                    <a:cubicBezTo>
                      <a:pt x="7" y="25"/>
                      <a:pt x="7" y="25"/>
                      <a:pt x="7" y="25"/>
                    </a:cubicBezTo>
                    <a:cubicBezTo>
                      <a:pt x="7" y="26"/>
                      <a:pt x="10" y="26"/>
                      <a:pt x="11" y="27"/>
                    </a:cubicBezTo>
                    <a:cubicBezTo>
                      <a:pt x="11" y="27"/>
                      <a:pt x="10" y="26"/>
                      <a:pt x="10" y="26"/>
                    </a:cubicBezTo>
                    <a:cubicBezTo>
                      <a:pt x="10" y="26"/>
                      <a:pt x="11" y="27"/>
                      <a:pt x="11" y="27"/>
                    </a:cubicBezTo>
                    <a:cubicBezTo>
                      <a:pt x="12" y="27"/>
                      <a:pt x="11" y="27"/>
                      <a:pt x="11" y="27"/>
                    </a:cubicBezTo>
                    <a:cubicBezTo>
                      <a:pt x="11" y="27"/>
                      <a:pt x="12" y="28"/>
                      <a:pt x="12" y="28"/>
                    </a:cubicBezTo>
                    <a:cubicBezTo>
                      <a:pt x="13" y="28"/>
                      <a:pt x="13" y="29"/>
                      <a:pt x="14" y="29"/>
                    </a:cubicBezTo>
                    <a:cubicBezTo>
                      <a:pt x="14" y="30"/>
                      <a:pt x="15" y="30"/>
                      <a:pt x="15" y="31"/>
                    </a:cubicBezTo>
                    <a:cubicBezTo>
                      <a:pt x="16" y="31"/>
                      <a:pt x="16" y="32"/>
                      <a:pt x="17" y="32"/>
                    </a:cubicBezTo>
                    <a:cubicBezTo>
                      <a:pt x="17" y="33"/>
                      <a:pt x="18" y="33"/>
                      <a:pt x="18" y="34"/>
                    </a:cubicBezTo>
                    <a:cubicBezTo>
                      <a:pt x="19" y="35"/>
                      <a:pt x="18" y="34"/>
                      <a:pt x="19" y="35"/>
                    </a:cubicBezTo>
                    <a:cubicBezTo>
                      <a:pt x="19" y="35"/>
                      <a:pt x="19" y="35"/>
                      <a:pt x="19" y="35"/>
                    </a:cubicBezTo>
                    <a:cubicBezTo>
                      <a:pt x="20" y="36"/>
                      <a:pt x="21" y="38"/>
                      <a:pt x="23" y="39"/>
                    </a:cubicBezTo>
                    <a:cubicBezTo>
                      <a:pt x="24" y="39"/>
                      <a:pt x="24" y="40"/>
                      <a:pt x="25" y="40"/>
                    </a:cubicBezTo>
                    <a:cubicBezTo>
                      <a:pt x="26" y="40"/>
                      <a:pt x="26" y="41"/>
                      <a:pt x="27" y="41"/>
                    </a:cubicBezTo>
                    <a:cubicBezTo>
                      <a:pt x="28" y="42"/>
                      <a:pt x="28" y="42"/>
                      <a:pt x="29" y="42"/>
                    </a:cubicBezTo>
                    <a:cubicBezTo>
                      <a:pt x="30" y="43"/>
                      <a:pt x="30" y="43"/>
                      <a:pt x="31" y="43"/>
                    </a:cubicBezTo>
                    <a:cubicBezTo>
                      <a:pt x="32" y="44"/>
                      <a:pt x="32" y="44"/>
                      <a:pt x="33" y="45"/>
                    </a:cubicBezTo>
                    <a:cubicBezTo>
                      <a:pt x="34" y="45"/>
                      <a:pt x="35" y="45"/>
                      <a:pt x="36" y="45"/>
                    </a:cubicBezTo>
                    <a:cubicBezTo>
                      <a:pt x="36" y="46"/>
                      <a:pt x="37" y="46"/>
                      <a:pt x="39" y="46"/>
                    </a:cubicBezTo>
                    <a:cubicBezTo>
                      <a:pt x="38" y="46"/>
                      <a:pt x="38" y="44"/>
                      <a:pt x="38" y="44"/>
                    </a:cubicBezTo>
                    <a:cubicBezTo>
                      <a:pt x="38" y="43"/>
                      <a:pt x="38" y="42"/>
                      <a:pt x="38" y="42"/>
                    </a:cubicBezTo>
                    <a:cubicBezTo>
                      <a:pt x="38" y="41"/>
                      <a:pt x="38" y="41"/>
                      <a:pt x="38" y="40"/>
                    </a:cubicBezTo>
                    <a:cubicBezTo>
                      <a:pt x="38" y="40"/>
                      <a:pt x="38" y="40"/>
                      <a:pt x="39" y="40"/>
                    </a:cubicBezTo>
                    <a:cubicBezTo>
                      <a:pt x="39" y="40"/>
                      <a:pt x="38" y="40"/>
                      <a:pt x="38" y="40"/>
                    </a:cubicBezTo>
                    <a:cubicBezTo>
                      <a:pt x="38" y="39"/>
                      <a:pt x="38" y="38"/>
                      <a:pt x="39" y="38"/>
                    </a:cubicBezTo>
                    <a:cubicBezTo>
                      <a:pt x="40" y="38"/>
                      <a:pt x="39" y="36"/>
                      <a:pt x="40" y="36"/>
                    </a:cubicBezTo>
                    <a:cubicBezTo>
                      <a:pt x="40" y="36"/>
                      <a:pt x="40" y="36"/>
                      <a:pt x="40" y="36"/>
                    </a:cubicBezTo>
                    <a:cubicBezTo>
                      <a:pt x="40" y="36"/>
                      <a:pt x="40" y="36"/>
                      <a:pt x="40" y="35"/>
                    </a:cubicBezTo>
                    <a:cubicBezTo>
                      <a:pt x="40" y="35"/>
                      <a:pt x="40" y="35"/>
                      <a:pt x="40" y="3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0" name="Lesotho">
                <a:extLst>
                  <a:ext uri="{FF2B5EF4-FFF2-40B4-BE49-F238E27FC236}">
                    <a16:creationId xmlns:a16="http://schemas.microsoft.com/office/drawing/2014/main" id="{6385B721-734D-871F-7081-D943EE856D1C}"/>
                  </a:ext>
                </a:extLst>
              </p:cNvPr>
              <p:cNvSpPr>
                <a:spLocks/>
              </p:cNvSpPr>
              <p:nvPr/>
            </p:nvSpPr>
            <p:spPr bwMode="auto">
              <a:xfrm>
                <a:off x="6600397" y="5156836"/>
                <a:ext cx="81353" cy="82333"/>
              </a:xfrm>
              <a:custGeom>
                <a:avLst/>
                <a:gdLst/>
                <a:ahLst/>
                <a:cxnLst>
                  <a:cxn ang="0">
                    <a:pos x="22" y="7"/>
                  </a:cxn>
                  <a:cxn ang="0">
                    <a:pos x="22" y="6"/>
                  </a:cxn>
                  <a:cxn ang="0">
                    <a:pos x="21" y="5"/>
                  </a:cxn>
                  <a:cxn ang="0">
                    <a:pos x="20" y="4"/>
                  </a:cxn>
                  <a:cxn ang="0">
                    <a:pos x="19" y="3"/>
                  </a:cxn>
                  <a:cxn ang="0">
                    <a:pos x="18" y="2"/>
                  </a:cxn>
                  <a:cxn ang="0">
                    <a:pos x="17" y="2"/>
                  </a:cxn>
                  <a:cxn ang="0">
                    <a:pos x="17" y="2"/>
                  </a:cxn>
                  <a:cxn ang="0">
                    <a:pos x="17" y="1"/>
                  </a:cxn>
                  <a:cxn ang="0">
                    <a:pos x="16" y="0"/>
                  </a:cxn>
                  <a:cxn ang="0">
                    <a:pos x="13" y="1"/>
                  </a:cxn>
                  <a:cxn ang="0">
                    <a:pos x="13" y="2"/>
                  </a:cxn>
                  <a:cxn ang="0">
                    <a:pos x="12" y="2"/>
                  </a:cxn>
                  <a:cxn ang="0">
                    <a:pos x="9" y="4"/>
                  </a:cxn>
                  <a:cxn ang="0">
                    <a:pos x="9" y="4"/>
                  </a:cxn>
                  <a:cxn ang="0">
                    <a:pos x="8" y="4"/>
                  </a:cxn>
                  <a:cxn ang="0">
                    <a:pos x="7" y="5"/>
                  </a:cxn>
                  <a:cxn ang="0">
                    <a:pos x="6" y="6"/>
                  </a:cxn>
                  <a:cxn ang="0">
                    <a:pos x="5" y="8"/>
                  </a:cxn>
                  <a:cxn ang="0">
                    <a:pos x="4" y="8"/>
                  </a:cxn>
                  <a:cxn ang="0">
                    <a:pos x="4" y="9"/>
                  </a:cxn>
                  <a:cxn ang="0">
                    <a:pos x="3" y="11"/>
                  </a:cxn>
                  <a:cxn ang="0">
                    <a:pos x="0" y="12"/>
                  </a:cxn>
                  <a:cxn ang="0">
                    <a:pos x="2" y="15"/>
                  </a:cxn>
                  <a:cxn ang="0">
                    <a:pos x="2" y="16"/>
                  </a:cxn>
                  <a:cxn ang="0">
                    <a:pos x="3" y="17"/>
                  </a:cxn>
                  <a:cxn ang="0">
                    <a:pos x="3" y="18"/>
                  </a:cxn>
                  <a:cxn ang="0">
                    <a:pos x="3" y="19"/>
                  </a:cxn>
                  <a:cxn ang="0">
                    <a:pos x="4" y="20"/>
                  </a:cxn>
                  <a:cxn ang="0">
                    <a:pos x="5" y="21"/>
                  </a:cxn>
                  <a:cxn ang="0">
                    <a:pos x="8" y="23"/>
                  </a:cxn>
                  <a:cxn ang="0">
                    <a:pos x="9" y="23"/>
                  </a:cxn>
                  <a:cxn ang="0">
                    <a:pos x="10" y="22"/>
                  </a:cxn>
                  <a:cxn ang="0">
                    <a:pos x="10" y="21"/>
                  </a:cxn>
                  <a:cxn ang="0">
                    <a:pos x="11" y="20"/>
                  </a:cxn>
                  <a:cxn ang="0">
                    <a:pos x="11" y="19"/>
                  </a:cxn>
                  <a:cxn ang="0">
                    <a:pos x="12" y="19"/>
                  </a:cxn>
                  <a:cxn ang="0">
                    <a:pos x="13" y="18"/>
                  </a:cxn>
                  <a:cxn ang="0">
                    <a:pos x="14" y="17"/>
                  </a:cxn>
                  <a:cxn ang="0">
                    <a:pos x="14" y="17"/>
                  </a:cxn>
                  <a:cxn ang="0">
                    <a:pos x="16" y="17"/>
                  </a:cxn>
                  <a:cxn ang="0">
                    <a:pos x="18" y="17"/>
                  </a:cxn>
                  <a:cxn ang="0">
                    <a:pos x="20" y="15"/>
                  </a:cxn>
                  <a:cxn ang="0">
                    <a:pos x="20" y="14"/>
                  </a:cxn>
                  <a:cxn ang="0">
                    <a:pos x="20" y="12"/>
                  </a:cxn>
                  <a:cxn ang="0">
                    <a:pos x="21" y="12"/>
                  </a:cxn>
                  <a:cxn ang="0">
                    <a:pos x="22" y="10"/>
                  </a:cxn>
                  <a:cxn ang="0">
                    <a:pos x="23" y="9"/>
                  </a:cxn>
                  <a:cxn ang="0">
                    <a:pos x="22" y="7"/>
                  </a:cxn>
                </a:cxnLst>
                <a:rect l="0" t="0" r="r" b="b"/>
                <a:pathLst>
                  <a:path w="23" h="23">
                    <a:moveTo>
                      <a:pt x="22" y="7"/>
                    </a:moveTo>
                    <a:cubicBezTo>
                      <a:pt x="22" y="7"/>
                      <a:pt x="22" y="6"/>
                      <a:pt x="22" y="6"/>
                    </a:cubicBezTo>
                    <a:cubicBezTo>
                      <a:pt x="22" y="6"/>
                      <a:pt x="21" y="6"/>
                      <a:pt x="21" y="5"/>
                    </a:cubicBezTo>
                    <a:cubicBezTo>
                      <a:pt x="21" y="5"/>
                      <a:pt x="20" y="5"/>
                      <a:pt x="20" y="4"/>
                    </a:cubicBezTo>
                    <a:cubicBezTo>
                      <a:pt x="20" y="4"/>
                      <a:pt x="19" y="4"/>
                      <a:pt x="19" y="3"/>
                    </a:cubicBezTo>
                    <a:cubicBezTo>
                      <a:pt x="18" y="3"/>
                      <a:pt x="18" y="3"/>
                      <a:pt x="18" y="2"/>
                    </a:cubicBezTo>
                    <a:cubicBezTo>
                      <a:pt x="18" y="2"/>
                      <a:pt x="17" y="2"/>
                      <a:pt x="17" y="2"/>
                    </a:cubicBezTo>
                    <a:cubicBezTo>
                      <a:pt x="17" y="2"/>
                      <a:pt x="17" y="2"/>
                      <a:pt x="17" y="2"/>
                    </a:cubicBezTo>
                    <a:cubicBezTo>
                      <a:pt x="17" y="2"/>
                      <a:pt x="17" y="1"/>
                      <a:pt x="17" y="1"/>
                    </a:cubicBezTo>
                    <a:cubicBezTo>
                      <a:pt x="17" y="1"/>
                      <a:pt x="16" y="0"/>
                      <a:pt x="16" y="0"/>
                    </a:cubicBezTo>
                    <a:cubicBezTo>
                      <a:pt x="15" y="1"/>
                      <a:pt x="14" y="1"/>
                      <a:pt x="13" y="1"/>
                    </a:cubicBezTo>
                    <a:cubicBezTo>
                      <a:pt x="13" y="1"/>
                      <a:pt x="13" y="2"/>
                      <a:pt x="13" y="2"/>
                    </a:cubicBezTo>
                    <a:cubicBezTo>
                      <a:pt x="12" y="2"/>
                      <a:pt x="12" y="2"/>
                      <a:pt x="12" y="2"/>
                    </a:cubicBezTo>
                    <a:cubicBezTo>
                      <a:pt x="11" y="2"/>
                      <a:pt x="10" y="4"/>
                      <a:pt x="9" y="4"/>
                    </a:cubicBezTo>
                    <a:cubicBezTo>
                      <a:pt x="9" y="3"/>
                      <a:pt x="9" y="4"/>
                      <a:pt x="9" y="4"/>
                    </a:cubicBezTo>
                    <a:cubicBezTo>
                      <a:pt x="8" y="4"/>
                      <a:pt x="8" y="4"/>
                      <a:pt x="8" y="4"/>
                    </a:cubicBezTo>
                    <a:cubicBezTo>
                      <a:pt x="7" y="4"/>
                      <a:pt x="7" y="5"/>
                      <a:pt x="7" y="5"/>
                    </a:cubicBezTo>
                    <a:cubicBezTo>
                      <a:pt x="6" y="5"/>
                      <a:pt x="6" y="6"/>
                      <a:pt x="6" y="6"/>
                    </a:cubicBezTo>
                    <a:cubicBezTo>
                      <a:pt x="6" y="7"/>
                      <a:pt x="5" y="7"/>
                      <a:pt x="5" y="8"/>
                    </a:cubicBezTo>
                    <a:cubicBezTo>
                      <a:pt x="5" y="8"/>
                      <a:pt x="5" y="8"/>
                      <a:pt x="4" y="8"/>
                    </a:cubicBezTo>
                    <a:cubicBezTo>
                      <a:pt x="4" y="8"/>
                      <a:pt x="4" y="9"/>
                      <a:pt x="4" y="9"/>
                    </a:cubicBezTo>
                    <a:cubicBezTo>
                      <a:pt x="4" y="10"/>
                      <a:pt x="3" y="10"/>
                      <a:pt x="3" y="11"/>
                    </a:cubicBezTo>
                    <a:cubicBezTo>
                      <a:pt x="2" y="11"/>
                      <a:pt x="0" y="12"/>
                      <a:pt x="0" y="12"/>
                    </a:cubicBezTo>
                    <a:cubicBezTo>
                      <a:pt x="1" y="13"/>
                      <a:pt x="1" y="14"/>
                      <a:pt x="2" y="15"/>
                    </a:cubicBezTo>
                    <a:cubicBezTo>
                      <a:pt x="2" y="15"/>
                      <a:pt x="2" y="16"/>
                      <a:pt x="2" y="16"/>
                    </a:cubicBezTo>
                    <a:cubicBezTo>
                      <a:pt x="3" y="17"/>
                      <a:pt x="3" y="17"/>
                      <a:pt x="3" y="17"/>
                    </a:cubicBezTo>
                    <a:cubicBezTo>
                      <a:pt x="3" y="17"/>
                      <a:pt x="4" y="17"/>
                      <a:pt x="3" y="18"/>
                    </a:cubicBezTo>
                    <a:cubicBezTo>
                      <a:pt x="3" y="18"/>
                      <a:pt x="4" y="19"/>
                      <a:pt x="3" y="19"/>
                    </a:cubicBezTo>
                    <a:cubicBezTo>
                      <a:pt x="4" y="20"/>
                      <a:pt x="4" y="19"/>
                      <a:pt x="4" y="20"/>
                    </a:cubicBezTo>
                    <a:cubicBezTo>
                      <a:pt x="5" y="20"/>
                      <a:pt x="5" y="20"/>
                      <a:pt x="5" y="21"/>
                    </a:cubicBezTo>
                    <a:cubicBezTo>
                      <a:pt x="6" y="22"/>
                      <a:pt x="7" y="22"/>
                      <a:pt x="8" y="23"/>
                    </a:cubicBezTo>
                    <a:cubicBezTo>
                      <a:pt x="8" y="23"/>
                      <a:pt x="9" y="23"/>
                      <a:pt x="9" y="23"/>
                    </a:cubicBezTo>
                    <a:cubicBezTo>
                      <a:pt x="10" y="23"/>
                      <a:pt x="10" y="23"/>
                      <a:pt x="10" y="22"/>
                    </a:cubicBezTo>
                    <a:cubicBezTo>
                      <a:pt x="10" y="22"/>
                      <a:pt x="10" y="22"/>
                      <a:pt x="10" y="21"/>
                    </a:cubicBezTo>
                    <a:cubicBezTo>
                      <a:pt x="10" y="21"/>
                      <a:pt x="11" y="21"/>
                      <a:pt x="11" y="20"/>
                    </a:cubicBezTo>
                    <a:cubicBezTo>
                      <a:pt x="12" y="20"/>
                      <a:pt x="11" y="20"/>
                      <a:pt x="11" y="19"/>
                    </a:cubicBezTo>
                    <a:cubicBezTo>
                      <a:pt x="11" y="19"/>
                      <a:pt x="12" y="19"/>
                      <a:pt x="12" y="19"/>
                    </a:cubicBezTo>
                    <a:cubicBezTo>
                      <a:pt x="12" y="18"/>
                      <a:pt x="13" y="18"/>
                      <a:pt x="13" y="18"/>
                    </a:cubicBezTo>
                    <a:cubicBezTo>
                      <a:pt x="13" y="17"/>
                      <a:pt x="14" y="18"/>
                      <a:pt x="14" y="17"/>
                    </a:cubicBezTo>
                    <a:cubicBezTo>
                      <a:pt x="14" y="17"/>
                      <a:pt x="14" y="17"/>
                      <a:pt x="14" y="17"/>
                    </a:cubicBezTo>
                    <a:cubicBezTo>
                      <a:pt x="15" y="17"/>
                      <a:pt x="15" y="17"/>
                      <a:pt x="16" y="17"/>
                    </a:cubicBezTo>
                    <a:cubicBezTo>
                      <a:pt x="17" y="17"/>
                      <a:pt x="17" y="17"/>
                      <a:pt x="18" y="17"/>
                    </a:cubicBezTo>
                    <a:cubicBezTo>
                      <a:pt x="18" y="16"/>
                      <a:pt x="19" y="16"/>
                      <a:pt x="20" y="15"/>
                    </a:cubicBezTo>
                    <a:cubicBezTo>
                      <a:pt x="20" y="15"/>
                      <a:pt x="20" y="14"/>
                      <a:pt x="20" y="14"/>
                    </a:cubicBezTo>
                    <a:cubicBezTo>
                      <a:pt x="20" y="13"/>
                      <a:pt x="20" y="13"/>
                      <a:pt x="20" y="12"/>
                    </a:cubicBezTo>
                    <a:cubicBezTo>
                      <a:pt x="21" y="12"/>
                      <a:pt x="21" y="12"/>
                      <a:pt x="21" y="12"/>
                    </a:cubicBezTo>
                    <a:cubicBezTo>
                      <a:pt x="22" y="11"/>
                      <a:pt x="22" y="11"/>
                      <a:pt x="22" y="10"/>
                    </a:cubicBezTo>
                    <a:cubicBezTo>
                      <a:pt x="22" y="10"/>
                      <a:pt x="23" y="10"/>
                      <a:pt x="23" y="9"/>
                    </a:cubicBezTo>
                    <a:cubicBezTo>
                      <a:pt x="23" y="8"/>
                      <a:pt x="23" y="7"/>
                      <a:pt x="22" y="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1" name="Lebanon">
                <a:extLst>
                  <a:ext uri="{FF2B5EF4-FFF2-40B4-BE49-F238E27FC236}">
                    <a16:creationId xmlns:a16="http://schemas.microsoft.com/office/drawing/2014/main" id="{4E3ABE37-5185-5917-2625-654269B07470}"/>
                  </a:ext>
                </a:extLst>
              </p:cNvPr>
              <p:cNvSpPr>
                <a:spLocks/>
              </p:cNvSpPr>
              <p:nvPr/>
            </p:nvSpPr>
            <p:spPr bwMode="auto">
              <a:xfrm>
                <a:off x="6858179" y="2693683"/>
                <a:ext cx="46068" cy="63711"/>
              </a:xfrm>
              <a:custGeom>
                <a:avLst/>
                <a:gdLst/>
                <a:ahLst/>
                <a:cxnLst>
                  <a:cxn ang="0">
                    <a:pos x="13" y="5"/>
                  </a:cxn>
                  <a:cxn ang="0">
                    <a:pos x="13" y="4"/>
                  </a:cxn>
                  <a:cxn ang="0">
                    <a:pos x="12" y="4"/>
                  </a:cxn>
                  <a:cxn ang="0">
                    <a:pos x="12" y="3"/>
                  </a:cxn>
                  <a:cxn ang="0">
                    <a:pos x="11" y="2"/>
                  </a:cxn>
                  <a:cxn ang="0">
                    <a:pos x="10" y="2"/>
                  </a:cxn>
                  <a:cxn ang="0">
                    <a:pos x="10" y="1"/>
                  </a:cxn>
                  <a:cxn ang="0">
                    <a:pos x="11" y="1"/>
                  </a:cxn>
                  <a:cxn ang="0">
                    <a:pos x="11" y="1"/>
                  </a:cxn>
                  <a:cxn ang="0">
                    <a:pos x="10" y="0"/>
                  </a:cxn>
                  <a:cxn ang="0">
                    <a:pos x="10" y="0"/>
                  </a:cxn>
                  <a:cxn ang="0">
                    <a:pos x="9" y="1"/>
                  </a:cxn>
                  <a:cxn ang="0">
                    <a:pos x="8" y="1"/>
                  </a:cxn>
                  <a:cxn ang="0">
                    <a:pos x="7" y="1"/>
                  </a:cxn>
                  <a:cxn ang="0">
                    <a:pos x="5" y="3"/>
                  </a:cxn>
                  <a:cxn ang="0">
                    <a:pos x="4" y="4"/>
                  </a:cxn>
                  <a:cxn ang="0">
                    <a:pos x="4" y="6"/>
                  </a:cxn>
                  <a:cxn ang="0">
                    <a:pos x="3" y="9"/>
                  </a:cxn>
                  <a:cxn ang="0">
                    <a:pos x="3" y="10"/>
                  </a:cxn>
                  <a:cxn ang="0">
                    <a:pos x="2" y="12"/>
                  </a:cxn>
                  <a:cxn ang="0">
                    <a:pos x="2" y="13"/>
                  </a:cxn>
                  <a:cxn ang="0">
                    <a:pos x="1" y="14"/>
                  </a:cxn>
                  <a:cxn ang="0">
                    <a:pos x="1" y="16"/>
                  </a:cxn>
                  <a:cxn ang="0">
                    <a:pos x="0" y="18"/>
                  </a:cxn>
                  <a:cxn ang="0">
                    <a:pos x="2" y="17"/>
                  </a:cxn>
                  <a:cxn ang="0">
                    <a:pos x="3" y="18"/>
                  </a:cxn>
                  <a:cxn ang="0">
                    <a:pos x="4" y="16"/>
                  </a:cxn>
                  <a:cxn ang="0">
                    <a:pos x="5" y="16"/>
                  </a:cxn>
                  <a:cxn ang="0">
                    <a:pos x="6" y="15"/>
                  </a:cxn>
                  <a:cxn ang="0">
                    <a:pos x="7" y="14"/>
                  </a:cxn>
                  <a:cxn ang="0">
                    <a:pos x="8" y="13"/>
                  </a:cxn>
                  <a:cxn ang="0">
                    <a:pos x="8" y="12"/>
                  </a:cxn>
                  <a:cxn ang="0">
                    <a:pos x="7" y="12"/>
                  </a:cxn>
                  <a:cxn ang="0">
                    <a:pos x="7" y="11"/>
                  </a:cxn>
                  <a:cxn ang="0">
                    <a:pos x="8" y="10"/>
                  </a:cxn>
                  <a:cxn ang="0">
                    <a:pos x="9" y="9"/>
                  </a:cxn>
                  <a:cxn ang="0">
                    <a:pos x="10" y="9"/>
                  </a:cxn>
                  <a:cxn ang="0">
                    <a:pos x="11" y="9"/>
                  </a:cxn>
                  <a:cxn ang="0">
                    <a:pos x="10" y="8"/>
                  </a:cxn>
                  <a:cxn ang="0">
                    <a:pos x="12" y="7"/>
                  </a:cxn>
                  <a:cxn ang="0">
                    <a:pos x="12" y="6"/>
                  </a:cxn>
                  <a:cxn ang="0">
                    <a:pos x="13" y="6"/>
                  </a:cxn>
                  <a:cxn ang="0">
                    <a:pos x="13" y="5"/>
                  </a:cxn>
                </a:cxnLst>
                <a:rect l="0" t="0" r="r" b="b"/>
                <a:pathLst>
                  <a:path w="13" h="18">
                    <a:moveTo>
                      <a:pt x="13" y="5"/>
                    </a:moveTo>
                    <a:cubicBezTo>
                      <a:pt x="12" y="4"/>
                      <a:pt x="13" y="4"/>
                      <a:pt x="13" y="4"/>
                    </a:cubicBezTo>
                    <a:cubicBezTo>
                      <a:pt x="13" y="4"/>
                      <a:pt x="12" y="4"/>
                      <a:pt x="12" y="4"/>
                    </a:cubicBezTo>
                    <a:cubicBezTo>
                      <a:pt x="12" y="4"/>
                      <a:pt x="12" y="3"/>
                      <a:pt x="12" y="3"/>
                    </a:cubicBezTo>
                    <a:cubicBezTo>
                      <a:pt x="12" y="3"/>
                      <a:pt x="12" y="3"/>
                      <a:pt x="11" y="2"/>
                    </a:cubicBezTo>
                    <a:cubicBezTo>
                      <a:pt x="11" y="2"/>
                      <a:pt x="11" y="2"/>
                      <a:pt x="10" y="2"/>
                    </a:cubicBezTo>
                    <a:cubicBezTo>
                      <a:pt x="10" y="2"/>
                      <a:pt x="10" y="2"/>
                      <a:pt x="10" y="1"/>
                    </a:cubicBezTo>
                    <a:cubicBezTo>
                      <a:pt x="11" y="1"/>
                      <a:pt x="11" y="1"/>
                      <a:pt x="11" y="1"/>
                    </a:cubicBezTo>
                    <a:cubicBezTo>
                      <a:pt x="11" y="1"/>
                      <a:pt x="11" y="1"/>
                      <a:pt x="11" y="1"/>
                    </a:cubicBezTo>
                    <a:cubicBezTo>
                      <a:pt x="10" y="1"/>
                      <a:pt x="10" y="1"/>
                      <a:pt x="10" y="0"/>
                    </a:cubicBezTo>
                    <a:cubicBezTo>
                      <a:pt x="10" y="0"/>
                      <a:pt x="10" y="0"/>
                      <a:pt x="10" y="0"/>
                    </a:cubicBezTo>
                    <a:cubicBezTo>
                      <a:pt x="9" y="0"/>
                      <a:pt x="10" y="1"/>
                      <a:pt x="9" y="1"/>
                    </a:cubicBezTo>
                    <a:cubicBezTo>
                      <a:pt x="9" y="1"/>
                      <a:pt x="8" y="1"/>
                      <a:pt x="8" y="1"/>
                    </a:cubicBezTo>
                    <a:cubicBezTo>
                      <a:pt x="7" y="1"/>
                      <a:pt x="6" y="0"/>
                      <a:pt x="7" y="1"/>
                    </a:cubicBezTo>
                    <a:cubicBezTo>
                      <a:pt x="7" y="2"/>
                      <a:pt x="6" y="3"/>
                      <a:pt x="5" y="3"/>
                    </a:cubicBezTo>
                    <a:cubicBezTo>
                      <a:pt x="5" y="3"/>
                      <a:pt x="4" y="4"/>
                      <a:pt x="4" y="4"/>
                    </a:cubicBezTo>
                    <a:cubicBezTo>
                      <a:pt x="4" y="4"/>
                      <a:pt x="4" y="6"/>
                      <a:pt x="4" y="6"/>
                    </a:cubicBezTo>
                    <a:cubicBezTo>
                      <a:pt x="4" y="7"/>
                      <a:pt x="4" y="9"/>
                      <a:pt x="3" y="9"/>
                    </a:cubicBezTo>
                    <a:cubicBezTo>
                      <a:pt x="2" y="9"/>
                      <a:pt x="3" y="9"/>
                      <a:pt x="3" y="10"/>
                    </a:cubicBezTo>
                    <a:cubicBezTo>
                      <a:pt x="3" y="10"/>
                      <a:pt x="2" y="11"/>
                      <a:pt x="2" y="12"/>
                    </a:cubicBezTo>
                    <a:cubicBezTo>
                      <a:pt x="2" y="12"/>
                      <a:pt x="2" y="13"/>
                      <a:pt x="2" y="13"/>
                    </a:cubicBezTo>
                    <a:cubicBezTo>
                      <a:pt x="1" y="13"/>
                      <a:pt x="1" y="14"/>
                      <a:pt x="1" y="14"/>
                    </a:cubicBezTo>
                    <a:cubicBezTo>
                      <a:pt x="1" y="14"/>
                      <a:pt x="1" y="15"/>
                      <a:pt x="1" y="16"/>
                    </a:cubicBezTo>
                    <a:cubicBezTo>
                      <a:pt x="1" y="16"/>
                      <a:pt x="0" y="17"/>
                      <a:pt x="0" y="18"/>
                    </a:cubicBezTo>
                    <a:cubicBezTo>
                      <a:pt x="0" y="18"/>
                      <a:pt x="1" y="18"/>
                      <a:pt x="2" y="17"/>
                    </a:cubicBezTo>
                    <a:cubicBezTo>
                      <a:pt x="2" y="17"/>
                      <a:pt x="2" y="18"/>
                      <a:pt x="3" y="18"/>
                    </a:cubicBezTo>
                    <a:cubicBezTo>
                      <a:pt x="4" y="17"/>
                      <a:pt x="4" y="17"/>
                      <a:pt x="4" y="16"/>
                    </a:cubicBezTo>
                    <a:cubicBezTo>
                      <a:pt x="4" y="15"/>
                      <a:pt x="4" y="16"/>
                      <a:pt x="5" y="16"/>
                    </a:cubicBezTo>
                    <a:cubicBezTo>
                      <a:pt x="4" y="15"/>
                      <a:pt x="5" y="15"/>
                      <a:pt x="6" y="15"/>
                    </a:cubicBezTo>
                    <a:cubicBezTo>
                      <a:pt x="6" y="15"/>
                      <a:pt x="6" y="14"/>
                      <a:pt x="7" y="14"/>
                    </a:cubicBezTo>
                    <a:cubicBezTo>
                      <a:pt x="7" y="13"/>
                      <a:pt x="7" y="13"/>
                      <a:pt x="8" y="13"/>
                    </a:cubicBezTo>
                    <a:cubicBezTo>
                      <a:pt x="8" y="13"/>
                      <a:pt x="9" y="12"/>
                      <a:pt x="8" y="12"/>
                    </a:cubicBezTo>
                    <a:cubicBezTo>
                      <a:pt x="8" y="12"/>
                      <a:pt x="8" y="12"/>
                      <a:pt x="7" y="12"/>
                    </a:cubicBezTo>
                    <a:cubicBezTo>
                      <a:pt x="7" y="12"/>
                      <a:pt x="7" y="12"/>
                      <a:pt x="7" y="11"/>
                    </a:cubicBezTo>
                    <a:cubicBezTo>
                      <a:pt x="7" y="11"/>
                      <a:pt x="8" y="10"/>
                      <a:pt x="8" y="10"/>
                    </a:cubicBezTo>
                    <a:cubicBezTo>
                      <a:pt x="8" y="10"/>
                      <a:pt x="8" y="9"/>
                      <a:pt x="9" y="9"/>
                    </a:cubicBezTo>
                    <a:cubicBezTo>
                      <a:pt x="9" y="9"/>
                      <a:pt x="9" y="9"/>
                      <a:pt x="10" y="9"/>
                    </a:cubicBezTo>
                    <a:cubicBezTo>
                      <a:pt x="10" y="9"/>
                      <a:pt x="11" y="10"/>
                      <a:pt x="11" y="9"/>
                    </a:cubicBezTo>
                    <a:cubicBezTo>
                      <a:pt x="11" y="9"/>
                      <a:pt x="10" y="9"/>
                      <a:pt x="10" y="8"/>
                    </a:cubicBezTo>
                    <a:cubicBezTo>
                      <a:pt x="10" y="7"/>
                      <a:pt x="11" y="7"/>
                      <a:pt x="12" y="7"/>
                    </a:cubicBezTo>
                    <a:cubicBezTo>
                      <a:pt x="12" y="7"/>
                      <a:pt x="12" y="7"/>
                      <a:pt x="12" y="6"/>
                    </a:cubicBezTo>
                    <a:cubicBezTo>
                      <a:pt x="12" y="6"/>
                      <a:pt x="13" y="6"/>
                      <a:pt x="13" y="6"/>
                    </a:cubicBezTo>
                    <a:cubicBezTo>
                      <a:pt x="13" y="5"/>
                      <a:pt x="13" y="5"/>
                      <a:pt x="13" y="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2" name="Latvia">
                <a:extLst>
                  <a:ext uri="{FF2B5EF4-FFF2-40B4-BE49-F238E27FC236}">
                    <a16:creationId xmlns:a16="http://schemas.microsoft.com/office/drawing/2014/main" id="{6656F778-519A-7C26-E32F-7AEAA1B90E95}"/>
                  </a:ext>
                </a:extLst>
              </p:cNvPr>
              <p:cNvSpPr>
                <a:spLocks/>
              </p:cNvSpPr>
              <p:nvPr/>
            </p:nvSpPr>
            <p:spPr bwMode="auto">
              <a:xfrm>
                <a:off x="6348493" y="1807615"/>
                <a:ext cx="208775" cy="84295"/>
              </a:xfrm>
              <a:custGeom>
                <a:avLst/>
                <a:gdLst/>
                <a:ahLst/>
                <a:cxnLst>
                  <a:cxn ang="0">
                    <a:pos x="57" y="15"/>
                  </a:cxn>
                  <a:cxn ang="0">
                    <a:pos x="55" y="13"/>
                  </a:cxn>
                  <a:cxn ang="0">
                    <a:pos x="53" y="12"/>
                  </a:cxn>
                  <a:cxn ang="0">
                    <a:pos x="54" y="10"/>
                  </a:cxn>
                  <a:cxn ang="0">
                    <a:pos x="54" y="8"/>
                  </a:cxn>
                  <a:cxn ang="0">
                    <a:pos x="52" y="6"/>
                  </a:cxn>
                  <a:cxn ang="0">
                    <a:pos x="50" y="5"/>
                  </a:cxn>
                  <a:cxn ang="0">
                    <a:pos x="46" y="5"/>
                  </a:cxn>
                  <a:cxn ang="0">
                    <a:pos x="42" y="5"/>
                  </a:cxn>
                  <a:cxn ang="0">
                    <a:pos x="39" y="2"/>
                  </a:cxn>
                  <a:cxn ang="0">
                    <a:pos x="37" y="1"/>
                  </a:cxn>
                  <a:cxn ang="0">
                    <a:pos x="35" y="1"/>
                  </a:cxn>
                  <a:cxn ang="0">
                    <a:pos x="33" y="0"/>
                  </a:cxn>
                  <a:cxn ang="0">
                    <a:pos x="32" y="0"/>
                  </a:cxn>
                  <a:cxn ang="0">
                    <a:pos x="30" y="1"/>
                  </a:cxn>
                  <a:cxn ang="0">
                    <a:pos x="27" y="1"/>
                  </a:cxn>
                  <a:cxn ang="0">
                    <a:pos x="26" y="2"/>
                  </a:cxn>
                  <a:cxn ang="0">
                    <a:pos x="26" y="5"/>
                  </a:cxn>
                  <a:cxn ang="0">
                    <a:pos x="26" y="9"/>
                  </a:cxn>
                  <a:cxn ang="0">
                    <a:pos x="22" y="11"/>
                  </a:cxn>
                  <a:cxn ang="0">
                    <a:pos x="18" y="10"/>
                  </a:cxn>
                  <a:cxn ang="0">
                    <a:pos x="14" y="6"/>
                  </a:cxn>
                  <a:cxn ang="0">
                    <a:pos x="12" y="3"/>
                  </a:cxn>
                  <a:cxn ang="0">
                    <a:pos x="8" y="4"/>
                  </a:cxn>
                  <a:cxn ang="0">
                    <a:pos x="4" y="7"/>
                  </a:cxn>
                  <a:cxn ang="0">
                    <a:pos x="1" y="13"/>
                  </a:cxn>
                  <a:cxn ang="0">
                    <a:pos x="1" y="16"/>
                  </a:cxn>
                  <a:cxn ang="0">
                    <a:pos x="1" y="16"/>
                  </a:cxn>
                  <a:cxn ang="0">
                    <a:pos x="1" y="19"/>
                  </a:cxn>
                  <a:cxn ang="0">
                    <a:pos x="2" y="20"/>
                  </a:cxn>
                  <a:cxn ang="0">
                    <a:pos x="5" y="18"/>
                  </a:cxn>
                  <a:cxn ang="0">
                    <a:pos x="9" y="17"/>
                  </a:cxn>
                  <a:cxn ang="0">
                    <a:pos x="14" y="17"/>
                  </a:cxn>
                  <a:cxn ang="0">
                    <a:pos x="18" y="17"/>
                  </a:cxn>
                  <a:cxn ang="0">
                    <a:pos x="22" y="17"/>
                  </a:cxn>
                  <a:cxn ang="0">
                    <a:pos x="26" y="18"/>
                  </a:cxn>
                  <a:cxn ang="0">
                    <a:pos x="29" y="18"/>
                  </a:cxn>
                  <a:cxn ang="0">
                    <a:pos x="32" y="17"/>
                  </a:cxn>
                  <a:cxn ang="0">
                    <a:pos x="38" y="20"/>
                  </a:cxn>
                  <a:cxn ang="0">
                    <a:pos x="42" y="22"/>
                  </a:cxn>
                  <a:cxn ang="0">
                    <a:pos x="46" y="24"/>
                  </a:cxn>
                  <a:cxn ang="0">
                    <a:pos x="49" y="23"/>
                  </a:cxn>
                  <a:cxn ang="0">
                    <a:pos x="52" y="23"/>
                  </a:cxn>
                  <a:cxn ang="0">
                    <a:pos x="54" y="23"/>
                  </a:cxn>
                  <a:cxn ang="0">
                    <a:pos x="55" y="21"/>
                  </a:cxn>
                  <a:cxn ang="0">
                    <a:pos x="59" y="18"/>
                  </a:cxn>
                </a:cxnLst>
                <a:rect l="0" t="0" r="r" b="b"/>
                <a:pathLst>
                  <a:path w="59" h="24">
                    <a:moveTo>
                      <a:pt x="58" y="16"/>
                    </a:moveTo>
                    <a:cubicBezTo>
                      <a:pt x="57" y="16"/>
                      <a:pt x="58" y="15"/>
                      <a:pt x="57" y="15"/>
                    </a:cubicBezTo>
                    <a:cubicBezTo>
                      <a:pt x="57" y="15"/>
                      <a:pt x="57" y="15"/>
                      <a:pt x="57" y="14"/>
                    </a:cubicBezTo>
                    <a:cubicBezTo>
                      <a:pt x="56" y="14"/>
                      <a:pt x="56" y="14"/>
                      <a:pt x="55" y="13"/>
                    </a:cubicBezTo>
                    <a:cubicBezTo>
                      <a:pt x="55" y="13"/>
                      <a:pt x="56" y="13"/>
                      <a:pt x="55" y="12"/>
                    </a:cubicBezTo>
                    <a:cubicBezTo>
                      <a:pt x="55" y="12"/>
                      <a:pt x="54" y="12"/>
                      <a:pt x="53" y="12"/>
                    </a:cubicBezTo>
                    <a:cubicBezTo>
                      <a:pt x="53" y="12"/>
                      <a:pt x="54" y="11"/>
                      <a:pt x="54" y="11"/>
                    </a:cubicBezTo>
                    <a:cubicBezTo>
                      <a:pt x="54" y="11"/>
                      <a:pt x="54" y="11"/>
                      <a:pt x="54" y="10"/>
                    </a:cubicBezTo>
                    <a:cubicBezTo>
                      <a:pt x="54" y="10"/>
                      <a:pt x="53" y="9"/>
                      <a:pt x="54" y="9"/>
                    </a:cubicBezTo>
                    <a:cubicBezTo>
                      <a:pt x="54" y="9"/>
                      <a:pt x="55" y="9"/>
                      <a:pt x="54" y="8"/>
                    </a:cubicBezTo>
                    <a:cubicBezTo>
                      <a:pt x="54" y="7"/>
                      <a:pt x="54" y="7"/>
                      <a:pt x="53" y="7"/>
                    </a:cubicBezTo>
                    <a:cubicBezTo>
                      <a:pt x="53" y="7"/>
                      <a:pt x="52" y="7"/>
                      <a:pt x="52" y="6"/>
                    </a:cubicBezTo>
                    <a:cubicBezTo>
                      <a:pt x="51" y="6"/>
                      <a:pt x="52" y="5"/>
                      <a:pt x="51" y="5"/>
                    </a:cubicBezTo>
                    <a:cubicBezTo>
                      <a:pt x="51" y="5"/>
                      <a:pt x="50" y="5"/>
                      <a:pt x="50" y="5"/>
                    </a:cubicBezTo>
                    <a:cubicBezTo>
                      <a:pt x="49" y="5"/>
                      <a:pt x="48" y="5"/>
                      <a:pt x="47" y="4"/>
                    </a:cubicBezTo>
                    <a:cubicBezTo>
                      <a:pt x="47" y="4"/>
                      <a:pt x="46" y="4"/>
                      <a:pt x="46" y="5"/>
                    </a:cubicBezTo>
                    <a:cubicBezTo>
                      <a:pt x="46" y="5"/>
                      <a:pt x="45" y="5"/>
                      <a:pt x="44" y="5"/>
                    </a:cubicBezTo>
                    <a:cubicBezTo>
                      <a:pt x="44" y="6"/>
                      <a:pt x="43" y="5"/>
                      <a:pt x="42" y="5"/>
                    </a:cubicBezTo>
                    <a:cubicBezTo>
                      <a:pt x="41" y="4"/>
                      <a:pt x="41" y="4"/>
                      <a:pt x="41" y="3"/>
                    </a:cubicBezTo>
                    <a:cubicBezTo>
                      <a:pt x="40" y="3"/>
                      <a:pt x="39" y="3"/>
                      <a:pt x="39" y="2"/>
                    </a:cubicBezTo>
                    <a:cubicBezTo>
                      <a:pt x="39" y="2"/>
                      <a:pt x="39" y="2"/>
                      <a:pt x="38" y="2"/>
                    </a:cubicBezTo>
                    <a:cubicBezTo>
                      <a:pt x="38" y="2"/>
                      <a:pt x="37" y="1"/>
                      <a:pt x="37" y="1"/>
                    </a:cubicBezTo>
                    <a:cubicBezTo>
                      <a:pt x="36" y="1"/>
                      <a:pt x="36" y="1"/>
                      <a:pt x="35" y="1"/>
                    </a:cubicBezTo>
                    <a:cubicBezTo>
                      <a:pt x="35" y="1"/>
                      <a:pt x="35" y="1"/>
                      <a:pt x="35" y="1"/>
                    </a:cubicBezTo>
                    <a:cubicBezTo>
                      <a:pt x="34" y="0"/>
                      <a:pt x="34" y="0"/>
                      <a:pt x="34" y="0"/>
                    </a:cubicBezTo>
                    <a:cubicBezTo>
                      <a:pt x="34" y="0"/>
                      <a:pt x="33" y="0"/>
                      <a:pt x="33" y="0"/>
                    </a:cubicBezTo>
                    <a:cubicBezTo>
                      <a:pt x="33" y="0"/>
                      <a:pt x="33" y="0"/>
                      <a:pt x="33" y="0"/>
                    </a:cubicBezTo>
                    <a:cubicBezTo>
                      <a:pt x="33" y="1"/>
                      <a:pt x="32" y="0"/>
                      <a:pt x="32" y="0"/>
                    </a:cubicBezTo>
                    <a:cubicBezTo>
                      <a:pt x="31" y="0"/>
                      <a:pt x="31" y="0"/>
                      <a:pt x="30" y="0"/>
                    </a:cubicBezTo>
                    <a:cubicBezTo>
                      <a:pt x="30" y="0"/>
                      <a:pt x="30" y="1"/>
                      <a:pt x="30" y="1"/>
                    </a:cubicBezTo>
                    <a:cubicBezTo>
                      <a:pt x="29" y="1"/>
                      <a:pt x="29" y="0"/>
                      <a:pt x="29" y="1"/>
                    </a:cubicBezTo>
                    <a:cubicBezTo>
                      <a:pt x="29" y="1"/>
                      <a:pt x="27" y="1"/>
                      <a:pt x="27" y="1"/>
                    </a:cubicBezTo>
                    <a:cubicBezTo>
                      <a:pt x="27" y="1"/>
                      <a:pt x="26" y="2"/>
                      <a:pt x="26" y="2"/>
                    </a:cubicBezTo>
                    <a:cubicBezTo>
                      <a:pt x="26" y="2"/>
                      <a:pt x="26" y="2"/>
                      <a:pt x="26" y="2"/>
                    </a:cubicBezTo>
                    <a:cubicBezTo>
                      <a:pt x="25" y="2"/>
                      <a:pt x="26" y="3"/>
                      <a:pt x="26" y="3"/>
                    </a:cubicBezTo>
                    <a:cubicBezTo>
                      <a:pt x="26" y="4"/>
                      <a:pt x="26" y="4"/>
                      <a:pt x="26" y="5"/>
                    </a:cubicBezTo>
                    <a:cubicBezTo>
                      <a:pt x="26" y="5"/>
                      <a:pt x="27" y="6"/>
                      <a:pt x="27" y="7"/>
                    </a:cubicBezTo>
                    <a:cubicBezTo>
                      <a:pt x="27" y="8"/>
                      <a:pt x="27" y="8"/>
                      <a:pt x="26" y="9"/>
                    </a:cubicBezTo>
                    <a:cubicBezTo>
                      <a:pt x="25" y="10"/>
                      <a:pt x="24" y="10"/>
                      <a:pt x="24" y="10"/>
                    </a:cubicBezTo>
                    <a:cubicBezTo>
                      <a:pt x="24" y="11"/>
                      <a:pt x="23" y="11"/>
                      <a:pt x="22" y="11"/>
                    </a:cubicBezTo>
                    <a:cubicBezTo>
                      <a:pt x="21" y="11"/>
                      <a:pt x="21" y="11"/>
                      <a:pt x="20" y="10"/>
                    </a:cubicBezTo>
                    <a:cubicBezTo>
                      <a:pt x="19" y="10"/>
                      <a:pt x="18" y="10"/>
                      <a:pt x="18" y="10"/>
                    </a:cubicBezTo>
                    <a:cubicBezTo>
                      <a:pt x="17" y="9"/>
                      <a:pt x="17" y="7"/>
                      <a:pt x="16" y="7"/>
                    </a:cubicBezTo>
                    <a:cubicBezTo>
                      <a:pt x="15" y="6"/>
                      <a:pt x="15" y="6"/>
                      <a:pt x="14" y="6"/>
                    </a:cubicBezTo>
                    <a:cubicBezTo>
                      <a:pt x="14" y="5"/>
                      <a:pt x="13" y="5"/>
                      <a:pt x="12" y="4"/>
                    </a:cubicBezTo>
                    <a:cubicBezTo>
                      <a:pt x="12" y="4"/>
                      <a:pt x="12" y="3"/>
                      <a:pt x="12" y="3"/>
                    </a:cubicBezTo>
                    <a:cubicBezTo>
                      <a:pt x="12" y="3"/>
                      <a:pt x="11" y="3"/>
                      <a:pt x="11" y="3"/>
                    </a:cubicBezTo>
                    <a:cubicBezTo>
                      <a:pt x="10" y="4"/>
                      <a:pt x="9" y="4"/>
                      <a:pt x="8" y="4"/>
                    </a:cubicBezTo>
                    <a:cubicBezTo>
                      <a:pt x="8" y="5"/>
                      <a:pt x="7" y="4"/>
                      <a:pt x="6" y="5"/>
                    </a:cubicBezTo>
                    <a:cubicBezTo>
                      <a:pt x="5" y="5"/>
                      <a:pt x="4" y="7"/>
                      <a:pt x="4" y="7"/>
                    </a:cubicBezTo>
                    <a:cubicBezTo>
                      <a:pt x="3" y="9"/>
                      <a:pt x="4" y="10"/>
                      <a:pt x="3" y="11"/>
                    </a:cubicBezTo>
                    <a:cubicBezTo>
                      <a:pt x="2" y="12"/>
                      <a:pt x="1" y="12"/>
                      <a:pt x="1" y="13"/>
                    </a:cubicBezTo>
                    <a:cubicBezTo>
                      <a:pt x="1" y="14"/>
                      <a:pt x="0" y="15"/>
                      <a:pt x="0" y="15"/>
                    </a:cubicBezTo>
                    <a:cubicBezTo>
                      <a:pt x="0" y="16"/>
                      <a:pt x="1" y="16"/>
                      <a:pt x="1" y="16"/>
                    </a:cubicBezTo>
                    <a:cubicBezTo>
                      <a:pt x="1" y="17"/>
                      <a:pt x="1" y="17"/>
                      <a:pt x="1" y="17"/>
                    </a:cubicBezTo>
                    <a:cubicBezTo>
                      <a:pt x="1" y="17"/>
                      <a:pt x="1" y="16"/>
                      <a:pt x="1" y="16"/>
                    </a:cubicBezTo>
                    <a:cubicBezTo>
                      <a:pt x="0" y="16"/>
                      <a:pt x="1" y="16"/>
                      <a:pt x="1" y="16"/>
                    </a:cubicBezTo>
                    <a:cubicBezTo>
                      <a:pt x="0" y="17"/>
                      <a:pt x="0" y="18"/>
                      <a:pt x="1" y="19"/>
                    </a:cubicBezTo>
                    <a:cubicBezTo>
                      <a:pt x="1" y="19"/>
                      <a:pt x="1" y="20"/>
                      <a:pt x="1" y="20"/>
                    </a:cubicBezTo>
                    <a:cubicBezTo>
                      <a:pt x="1" y="20"/>
                      <a:pt x="2" y="20"/>
                      <a:pt x="2" y="20"/>
                    </a:cubicBezTo>
                    <a:cubicBezTo>
                      <a:pt x="3" y="20"/>
                      <a:pt x="3" y="19"/>
                      <a:pt x="3" y="19"/>
                    </a:cubicBezTo>
                    <a:cubicBezTo>
                      <a:pt x="3" y="19"/>
                      <a:pt x="4" y="18"/>
                      <a:pt x="5" y="18"/>
                    </a:cubicBezTo>
                    <a:cubicBezTo>
                      <a:pt x="5" y="18"/>
                      <a:pt x="6" y="18"/>
                      <a:pt x="7" y="18"/>
                    </a:cubicBezTo>
                    <a:cubicBezTo>
                      <a:pt x="7" y="17"/>
                      <a:pt x="8" y="17"/>
                      <a:pt x="9" y="17"/>
                    </a:cubicBezTo>
                    <a:cubicBezTo>
                      <a:pt x="9" y="17"/>
                      <a:pt x="10" y="17"/>
                      <a:pt x="11" y="17"/>
                    </a:cubicBezTo>
                    <a:cubicBezTo>
                      <a:pt x="12" y="17"/>
                      <a:pt x="13" y="17"/>
                      <a:pt x="14" y="17"/>
                    </a:cubicBezTo>
                    <a:cubicBezTo>
                      <a:pt x="14" y="17"/>
                      <a:pt x="15" y="17"/>
                      <a:pt x="15" y="17"/>
                    </a:cubicBezTo>
                    <a:cubicBezTo>
                      <a:pt x="17" y="16"/>
                      <a:pt x="16" y="19"/>
                      <a:pt x="18" y="17"/>
                    </a:cubicBezTo>
                    <a:cubicBezTo>
                      <a:pt x="19" y="17"/>
                      <a:pt x="19" y="17"/>
                      <a:pt x="20" y="17"/>
                    </a:cubicBezTo>
                    <a:cubicBezTo>
                      <a:pt x="21" y="18"/>
                      <a:pt x="21" y="17"/>
                      <a:pt x="22" y="17"/>
                    </a:cubicBezTo>
                    <a:cubicBezTo>
                      <a:pt x="23" y="18"/>
                      <a:pt x="23" y="17"/>
                      <a:pt x="24" y="17"/>
                    </a:cubicBezTo>
                    <a:cubicBezTo>
                      <a:pt x="25" y="18"/>
                      <a:pt x="25" y="18"/>
                      <a:pt x="26" y="18"/>
                    </a:cubicBezTo>
                    <a:cubicBezTo>
                      <a:pt x="27" y="18"/>
                      <a:pt x="27" y="18"/>
                      <a:pt x="28" y="18"/>
                    </a:cubicBezTo>
                    <a:cubicBezTo>
                      <a:pt x="29" y="18"/>
                      <a:pt x="29" y="18"/>
                      <a:pt x="29" y="18"/>
                    </a:cubicBezTo>
                    <a:cubicBezTo>
                      <a:pt x="30" y="17"/>
                      <a:pt x="31" y="17"/>
                      <a:pt x="31" y="17"/>
                    </a:cubicBezTo>
                    <a:cubicBezTo>
                      <a:pt x="32" y="16"/>
                      <a:pt x="32" y="16"/>
                      <a:pt x="32" y="17"/>
                    </a:cubicBezTo>
                    <a:cubicBezTo>
                      <a:pt x="33" y="18"/>
                      <a:pt x="33" y="19"/>
                      <a:pt x="35" y="19"/>
                    </a:cubicBezTo>
                    <a:cubicBezTo>
                      <a:pt x="36" y="19"/>
                      <a:pt x="38" y="19"/>
                      <a:pt x="38" y="20"/>
                    </a:cubicBezTo>
                    <a:cubicBezTo>
                      <a:pt x="39" y="20"/>
                      <a:pt x="40" y="21"/>
                      <a:pt x="40" y="21"/>
                    </a:cubicBezTo>
                    <a:cubicBezTo>
                      <a:pt x="41" y="21"/>
                      <a:pt x="42" y="22"/>
                      <a:pt x="42" y="22"/>
                    </a:cubicBezTo>
                    <a:cubicBezTo>
                      <a:pt x="43" y="23"/>
                      <a:pt x="43" y="23"/>
                      <a:pt x="44" y="24"/>
                    </a:cubicBezTo>
                    <a:cubicBezTo>
                      <a:pt x="44" y="24"/>
                      <a:pt x="45" y="24"/>
                      <a:pt x="46" y="24"/>
                    </a:cubicBezTo>
                    <a:cubicBezTo>
                      <a:pt x="46" y="24"/>
                      <a:pt x="47" y="24"/>
                      <a:pt x="47" y="24"/>
                    </a:cubicBezTo>
                    <a:cubicBezTo>
                      <a:pt x="48" y="24"/>
                      <a:pt x="48" y="24"/>
                      <a:pt x="49" y="23"/>
                    </a:cubicBezTo>
                    <a:cubicBezTo>
                      <a:pt x="49" y="23"/>
                      <a:pt x="50" y="23"/>
                      <a:pt x="50" y="23"/>
                    </a:cubicBezTo>
                    <a:cubicBezTo>
                      <a:pt x="51" y="23"/>
                      <a:pt x="51" y="23"/>
                      <a:pt x="52" y="23"/>
                    </a:cubicBezTo>
                    <a:cubicBezTo>
                      <a:pt x="52" y="23"/>
                      <a:pt x="52" y="23"/>
                      <a:pt x="53" y="23"/>
                    </a:cubicBezTo>
                    <a:cubicBezTo>
                      <a:pt x="53" y="23"/>
                      <a:pt x="54" y="23"/>
                      <a:pt x="54" y="23"/>
                    </a:cubicBezTo>
                    <a:cubicBezTo>
                      <a:pt x="54" y="23"/>
                      <a:pt x="54" y="22"/>
                      <a:pt x="54" y="22"/>
                    </a:cubicBezTo>
                    <a:cubicBezTo>
                      <a:pt x="55" y="21"/>
                      <a:pt x="55" y="21"/>
                      <a:pt x="55" y="21"/>
                    </a:cubicBezTo>
                    <a:cubicBezTo>
                      <a:pt x="55" y="20"/>
                      <a:pt x="58" y="19"/>
                      <a:pt x="58" y="19"/>
                    </a:cubicBezTo>
                    <a:cubicBezTo>
                      <a:pt x="59" y="20"/>
                      <a:pt x="59" y="18"/>
                      <a:pt x="59" y="18"/>
                    </a:cubicBezTo>
                    <a:cubicBezTo>
                      <a:pt x="59" y="18"/>
                      <a:pt x="58" y="17"/>
                      <a:pt x="58" y="1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3" name="Laos">
                <a:extLst>
                  <a:ext uri="{FF2B5EF4-FFF2-40B4-BE49-F238E27FC236}">
                    <a16:creationId xmlns:a16="http://schemas.microsoft.com/office/drawing/2014/main" id="{925A5531-2085-EA0A-0727-B3FDBA8F67F8}"/>
                  </a:ext>
                </a:extLst>
              </p:cNvPr>
              <p:cNvSpPr>
                <a:spLocks/>
              </p:cNvSpPr>
              <p:nvPr/>
            </p:nvSpPr>
            <p:spPr bwMode="auto">
              <a:xfrm>
                <a:off x="9078251" y="3168081"/>
                <a:ext cx="283268" cy="333256"/>
              </a:xfrm>
              <a:custGeom>
                <a:avLst/>
                <a:gdLst/>
                <a:ahLst/>
                <a:cxnLst>
                  <a:cxn ang="0">
                    <a:pos x="77" y="77"/>
                  </a:cxn>
                  <a:cxn ang="0">
                    <a:pos x="75" y="74"/>
                  </a:cxn>
                  <a:cxn ang="0">
                    <a:pos x="75" y="71"/>
                  </a:cxn>
                  <a:cxn ang="0">
                    <a:pos x="71" y="66"/>
                  </a:cxn>
                  <a:cxn ang="0">
                    <a:pos x="67" y="64"/>
                  </a:cxn>
                  <a:cxn ang="0">
                    <a:pos x="64" y="58"/>
                  </a:cxn>
                  <a:cxn ang="0">
                    <a:pos x="58" y="52"/>
                  </a:cxn>
                  <a:cxn ang="0">
                    <a:pos x="55" y="47"/>
                  </a:cxn>
                  <a:cxn ang="0">
                    <a:pos x="52" y="46"/>
                  </a:cxn>
                  <a:cxn ang="0">
                    <a:pos x="51" y="43"/>
                  </a:cxn>
                  <a:cxn ang="0">
                    <a:pos x="44" y="39"/>
                  </a:cxn>
                  <a:cxn ang="0">
                    <a:pos x="38" y="35"/>
                  </a:cxn>
                  <a:cxn ang="0">
                    <a:pos x="39" y="31"/>
                  </a:cxn>
                  <a:cxn ang="0">
                    <a:pos x="43" y="31"/>
                  </a:cxn>
                  <a:cxn ang="0">
                    <a:pos x="46" y="28"/>
                  </a:cxn>
                  <a:cxn ang="0">
                    <a:pos x="46" y="25"/>
                  </a:cxn>
                  <a:cxn ang="0">
                    <a:pos x="41" y="23"/>
                  </a:cxn>
                  <a:cxn ang="0">
                    <a:pos x="42" y="20"/>
                  </a:cxn>
                  <a:cxn ang="0">
                    <a:pos x="37" y="17"/>
                  </a:cxn>
                  <a:cxn ang="0">
                    <a:pos x="34" y="20"/>
                  </a:cxn>
                  <a:cxn ang="0">
                    <a:pos x="28" y="18"/>
                  </a:cxn>
                  <a:cxn ang="0">
                    <a:pos x="25" y="14"/>
                  </a:cxn>
                  <a:cxn ang="0">
                    <a:pos x="26" y="10"/>
                  </a:cxn>
                  <a:cxn ang="0">
                    <a:pos x="24" y="8"/>
                  </a:cxn>
                  <a:cxn ang="0">
                    <a:pos x="19" y="4"/>
                  </a:cxn>
                  <a:cxn ang="0">
                    <a:pos x="14" y="1"/>
                  </a:cxn>
                  <a:cxn ang="0">
                    <a:pos x="11" y="3"/>
                  </a:cxn>
                  <a:cxn ang="0">
                    <a:pos x="13" y="6"/>
                  </a:cxn>
                  <a:cxn ang="0">
                    <a:pos x="14" y="12"/>
                  </a:cxn>
                  <a:cxn ang="0">
                    <a:pos x="13" y="14"/>
                  </a:cxn>
                  <a:cxn ang="0">
                    <a:pos x="9" y="11"/>
                  </a:cxn>
                  <a:cxn ang="0">
                    <a:pos x="5" y="13"/>
                  </a:cxn>
                  <a:cxn ang="0">
                    <a:pos x="4" y="18"/>
                  </a:cxn>
                  <a:cxn ang="0">
                    <a:pos x="1" y="25"/>
                  </a:cxn>
                  <a:cxn ang="0">
                    <a:pos x="4" y="26"/>
                  </a:cxn>
                  <a:cxn ang="0">
                    <a:pos x="6" y="33"/>
                  </a:cxn>
                  <a:cxn ang="0">
                    <a:pos x="12" y="33"/>
                  </a:cxn>
                  <a:cxn ang="0">
                    <a:pos x="14" y="38"/>
                  </a:cxn>
                  <a:cxn ang="0">
                    <a:pos x="13" y="43"/>
                  </a:cxn>
                  <a:cxn ang="0">
                    <a:pos x="13" y="47"/>
                  </a:cxn>
                  <a:cxn ang="0">
                    <a:pos x="13" y="50"/>
                  </a:cxn>
                  <a:cxn ang="0">
                    <a:pos x="13" y="55"/>
                  </a:cxn>
                  <a:cxn ang="0">
                    <a:pos x="16" y="52"/>
                  </a:cxn>
                  <a:cxn ang="0">
                    <a:pos x="19" y="50"/>
                  </a:cxn>
                  <a:cxn ang="0">
                    <a:pos x="25" y="49"/>
                  </a:cxn>
                  <a:cxn ang="0">
                    <a:pos x="29" y="51"/>
                  </a:cxn>
                  <a:cxn ang="0">
                    <a:pos x="33" y="47"/>
                  </a:cxn>
                  <a:cxn ang="0">
                    <a:pos x="39" y="46"/>
                  </a:cxn>
                  <a:cxn ang="0">
                    <a:pos x="44" y="51"/>
                  </a:cxn>
                  <a:cxn ang="0">
                    <a:pos x="49" y="60"/>
                  </a:cxn>
                  <a:cxn ang="0">
                    <a:pos x="53" y="68"/>
                  </a:cxn>
                  <a:cxn ang="0">
                    <a:pos x="57" y="73"/>
                  </a:cxn>
                  <a:cxn ang="0">
                    <a:pos x="60" y="79"/>
                  </a:cxn>
                  <a:cxn ang="0">
                    <a:pos x="60" y="85"/>
                  </a:cxn>
                  <a:cxn ang="0">
                    <a:pos x="61" y="92"/>
                  </a:cxn>
                  <a:cxn ang="0">
                    <a:pos x="65" y="94"/>
                  </a:cxn>
                  <a:cxn ang="0">
                    <a:pos x="65" y="89"/>
                  </a:cxn>
                  <a:cxn ang="0">
                    <a:pos x="69" y="88"/>
                  </a:cxn>
                  <a:cxn ang="0">
                    <a:pos x="72" y="89"/>
                  </a:cxn>
                  <a:cxn ang="0">
                    <a:pos x="76" y="89"/>
                  </a:cxn>
                  <a:cxn ang="0">
                    <a:pos x="79" y="85"/>
                  </a:cxn>
                  <a:cxn ang="0">
                    <a:pos x="79" y="82"/>
                  </a:cxn>
                </a:cxnLst>
                <a:rect l="0" t="0" r="r" b="b"/>
                <a:pathLst>
                  <a:path w="80" h="94">
                    <a:moveTo>
                      <a:pt x="79" y="78"/>
                    </a:moveTo>
                    <a:cubicBezTo>
                      <a:pt x="79" y="78"/>
                      <a:pt x="79" y="78"/>
                      <a:pt x="78" y="78"/>
                    </a:cubicBezTo>
                    <a:cubicBezTo>
                      <a:pt x="78" y="78"/>
                      <a:pt x="78" y="77"/>
                      <a:pt x="78" y="77"/>
                    </a:cubicBezTo>
                    <a:cubicBezTo>
                      <a:pt x="78" y="77"/>
                      <a:pt x="78" y="77"/>
                      <a:pt x="77" y="77"/>
                    </a:cubicBezTo>
                    <a:cubicBezTo>
                      <a:pt x="77" y="77"/>
                      <a:pt x="77" y="77"/>
                      <a:pt x="77" y="77"/>
                    </a:cubicBezTo>
                    <a:cubicBezTo>
                      <a:pt x="77" y="77"/>
                      <a:pt x="77" y="76"/>
                      <a:pt x="76" y="76"/>
                    </a:cubicBezTo>
                    <a:cubicBezTo>
                      <a:pt x="76" y="76"/>
                      <a:pt x="76" y="76"/>
                      <a:pt x="76" y="75"/>
                    </a:cubicBezTo>
                    <a:cubicBezTo>
                      <a:pt x="75" y="75"/>
                      <a:pt x="75" y="74"/>
                      <a:pt x="75" y="74"/>
                    </a:cubicBezTo>
                    <a:cubicBezTo>
                      <a:pt x="74" y="73"/>
                      <a:pt x="75" y="73"/>
                      <a:pt x="75" y="73"/>
                    </a:cubicBezTo>
                    <a:cubicBezTo>
                      <a:pt x="76" y="72"/>
                      <a:pt x="77" y="72"/>
                      <a:pt x="77" y="71"/>
                    </a:cubicBezTo>
                    <a:cubicBezTo>
                      <a:pt x="77" y="71"/>
                      <a:pt x="77" y="71"/>
                      <a:pt x="77" y="71"/>
                    </a:cubicBezTo>
                    <a:cubicBezTo>
                      <a:pt x="76" y="71"/>
                      <a:pt x="76" y="71"/>
                      <a:pt x="75" y="71"/>
                    </a:cubicBezTo>
                    <a:cubicBezTo>
                      <a:pt x="75" y="71"/>
                      <a:pt x="75" y="70"/>
                      <a:pt x="74" y="70"/>
                    </a:cubicBezTo>
                    <a:cubicBezTo>
                      <a:pt x="73" y="69"/>
                      <a:pt x="73" y="68"/>
                      <a:pt x="72" y="68"/>
                    </a:cubicBezTo>
                    <a:cubicBezTo>
                      <a:pt x="72" y="67"/>
                      <a:pt x="71" y="67"/>
                      <a:pt x="71" y="67"/>
                    </a:cubicBezTo>
                    <a:cubicBezTo>
                      <a:pt x="71" y="67"/>
                      <a:pt x="71" y="66"/>
                      <a:pt x="71" y="66"/>
                    </a:cubicBezTo>
                    <a:cubicBezTo>
                      <a:pt x="70" y="65"/>
                      <a:pt x="70" y="66"/>
                      <a:pt x="70" y="66"/>
                    </a:cubicBezTo>
                    <a:cubicBezTo>
                      <a:pt x="70" y="67"/>
                      <a:pt x="69" y="67"/>
                      <a:pt x="69" y="67"/>
                    </a:cubicBezTo>
                    <a:cubicBezTo>
                      <a:pt x="68" y="66"/>
                      <a:pt x="69" y="66"/>
                      <a:pt x="68" y="65"/>
                    </a:cubicBezTo>
                    <a:cubicBezTo>
                      <a:pt x="68" y="65"/>
                      <a:pt x="68" y="65"/>
                      <a:pt x="67" y="64"/>
                    </a:cubicBezTo>
                    <a:cubicBezTo>
                      <a:pt x="67" y="64"/>
                      <a:pt x="67" y="63"/>
                      <a:pt x="67" y="62"/>
                    </a:cubicBezTo>
                    <a:cubicBezTo>
                      <a:pt x="67" y="62"/>
                      <a:pt x="67" y="61"/>
                      <a:pt x="67" y="60"/>
                    </a:cubicBezTo>
                    <a:cubicBezTo>
                      <a:pt x="66" y="62"/>
                      <a:pt x="65" y="60"/>
                      <a:pt x="65" y="59"/>
                    </a:cubicBezTo>
                    <a:cubicBezTo>
                      <a:pt x="65" y="59"/>
                      <a:pt x="64" y="59"/>
                      <a:pt x="64" y="58"/>
                    </a:cubicBezTo>
                    <a:cubicBezTo>
                      <a:pt x="64" y="58"/>
                      <a:pt x="64" y="57"/>
                      <a:pt x="64" y="57"/>
                    </a:cubicBezTo>
                    <a:cubicBezTo>
                      <a:pt x="63" y="58"/>
                      <a:pt x="62" y="57"/>
                      <a:pt x="62" y="57"/>
                    </a:cubicBezTo>
                    <a:cubicBezTo>
                      <a:pt x="61" y="56"/>
                      <a:pt x="60" y="54"/>
                      <a:pt x="59" y="53"/>
                    </a:cubicBezTo>
                    <a:cubicBezTo>
                      <a:pt x="58" y="53"/>
                      <a:pt x="58" y="53"/>
                      <a:pt x="58" y="52"/>
                    </a:cubicBezTo>
                    <a:cubicBezTo>
                      <a:pt x="57" y="52"/>
                      <a:pt x="57" y="51"/>
                      <a:pt x="57" y="51"/>
                    </a:cubicBezTo>
                    <a:cubicBezTo>
                      <a:pt x="56" y="51"/>
                      <a:pt x="56" y="50"/>
                      <a:pt x="56" y="50"/>
                    </a:cubicBezTo>
                    <a:cubicBezTo>
                      <a:pt x="56" y="49"/>
                      <a:pt x="56" y="49"/>
                      <a:pt x="55" y="48"/>
                    </a:cubicBezTo>
                    <a:cubicBezTo>
                      <a:pt x="55" y="48"/>
                      <a:pt x="55" y="47"/>
                      <a:pt x="55" y="47"/>
                    </a:cubicBezTo>
                    <a:cubicBezTo>
                      <a:pt x="54" y="47"/>
                      <a:pt x="54" y="47"/>
                      <a:pt x="54" y="48"/>
                    </a:cubicBezTo>
                    <a:cubicBezTo>
                      <a:pt x="53" y="48"/>
                      <a:pt x="53" y="47"/>
                      <a:pt x="53" y="47"/>
                    </a:cubicBezTo>
                    <a:cubicBezTo>
                      <a:pt x="53" y="47"/>
                      <a:pt x="52" y="46"/>
                      <a:pt x="52" y="46"/>
                    </a:cubicBezTo>
                    <a:cubicBezTo>
                      <a:pt x="52" y="46"/>
                      <a:pt x="52" y="46"/>
                      <a:pt x="52" y="46"/>
                    </a:cubicBezTo>
                    <a:cubicBezTo>
                      <a:pt x="52" y="46"/>
                      <a:pt x="52" y="46"/>
                      <a:pt x="52" y="46"/>
                    </a:cubicBezTo>
                    <a:cubicBezTo>
                      <a:pt x="51" y="45"/>
                      <a:pt x="51" y="45"/>
                      <a:pt x="51" y="44"/>
                    </a:cubicBezTo>
                    <a:cubicBezTo>
                      <a:pt x="50" y="44"/>
                      <a:pt x="51" y="43"/>
                      <a:pt x="51" y="43"/>
                    </a:cubicBezTo>
                    <a:cubicBezTo>
                      <a:pt x="51" y="43"/>
                      <a:pt x="51" y="43"/>
                      <a:pt x="51" y="43"/>
                    </a:cubicBezTo>
                    <a:cubicBezTo>
                      <a:pt x="51" y="42"/>
                      <a:pt x="50" y="42"/>
                      <a:pt x="49" y="41"/>
                    </a:cubicBezTo>
                    <a:cubicBezTo>
                      <a:pt x="49" y="41"/>
                      <a:pt x="48" y="41"/>
                      <a:pt x="46" y="41"/>
                    </a:cubicBezTo>
                    <a:cubicBezTo>
                      <a:pt x="46" y="40"/>
                      <a:pt x="45" y="40"/>
                      <a:pt x="45" y="39"/>
                    </a:cubicBezTo>
                    <a:cubicBezTo>
                      <a:pt x="45" y="39"/>
                      <a:pt x="44" y="38"/>
                      <a:pt x="44" y="39"/>
                    </a:cubicBezTo>
                    <a:cubicBezTo>
                      <a:pt x="44" y="39"/>
                      <a:pt x="42" y="37"/>
                      <a:pt x="41" y="37"/>
                    </a:cubicBezTo>
                    <a:cubicBezTo>
                      <a:pt x="41" y="37"/>
                      <a:pt x="41" y="37"/>
                      <a:pt x="41" y="36"/>
                    </a:cubicBezTo>
                    <a:cubicBezTo>
                      <a:pt x="40" y="36"/>
                      <a:pt x="40" y="36"/>
                      <a:pt x="39" y="36"/>
                    </a:cubicBezTo>
                    <a:cubicBezTo>
                      <a:pt x="39" y="36"/>
                      <a:pt x="38" y="35"/>
                      <a:pt x="38" y="35"/>
                    </a:cubicBezTo>
                    <a:cubicBezTo>
                      <a:pt x="38" y="35"/>
                      <a:pt x="39" y="34"/>
                      <a:pt x="39" y="34"/>
                    </a:cubicBezTo>
                    <a:cubicBezTo>
                      <a:pt x="39" y="34"/>
                      <a:pt x="39" y="34"/>
                      <a:pt x="39" y="33"/>
                    </a:cubicBezTo>
                    <a:cubicBezTo>
                      <a:pt x="40" y="32"/>
                      <a:pt x="39" y="32"/>
                      <a:pt x="38" y="31"/>
                    </a:cubicBezTo>
                    <a:cubicBezTo>
                      <a:pt x="38" y="31"/>
                      <a:pt x="39" y="31"/>
                      <a:pt x="39" y="31"/>
                    </a:cubicBezTo>
                    <a:cubicBezTo>
                      <a:pt x="40" y="31"/>
                      <a:pt x="40" y="31"/>
                      <a:pt x="40" y="31"/>
                    </a:cubicBezTo>
                    <a:cubicBezTo>
                      <a:pt x="41" y="31"/>
                      <a:pt x="41" y="31"/>
                      <a:pt x="42" y="31"/>
                    </a:cubicBezTo>
                    <a:cubicBezTo>
                      <a:pt x="42" y="31"/>
                      <a:pt x="42" y="31"/>
                      <a:pt x="42" y="31"/>
                    </a:cubicBezTo>
                    <a:cubicBezTo>
                      <a:pt x="43" y="31"/>
                      <a:pt x="43" y="31"/>
                      <a:pt x="43" y="31"/>
                    </a:cubicBezTo>
                    <a:cubicBezTo>
                      <a:pt x="43" y="32"/>
                      <a:pt x="44" y="32"/>
                      <a:pt x="44" y="32"/>
                    </a:cubicBezTo>
                    <a:cubicBezTo>
                      <a:pt x="45" y="32"/>
                      <a:pt x="45" y="31"/>
                      <a:pt x="45" y="31"/>
                    </a:cubicBezTo>
                    <a:cubicBezTo>
                      <a:pt x="45" y="31"/>
                      <a:pt x="47" y="29"/>
                      <a:pt x="46" y="29"/>
                    </a:cubicBezTo>
                    <a:cubicBezTo>
                      <a:pt x="45" y="29"/>
                      <a:pt x="46" y="28"/>
                      <a:pt x="46" y="28"/>
                    </a:cubicBezTo>
                    <a:cubicBezTo>
                      <a:pt x="46" y="28"/>
                      <a:pt x="46" y="27"/>
                      <a:pt x="47" y="28"/>
                    </a:cubicBezTo>
                    <a:cubicBezTo>
                      <a:pt x="47" y="28"/>
                      <a:pt x="47" y="28"/>
                      <a:pt x="47" y="27"/>
                    </a:cubicBezTo>
                    <a:cubicBezTo>
                      <a:pt x="47" y="27"/>
                      <a:pt x="47" y="26"/>
                      <a:pt x="47" y="26"/>
                    </a:cubicBezTo>
                    <a:cubicBezTo>
                      <a:pt x="46" y="26"/>
                      <a:pt x="46" y="25"/>
                      <a:pt x="46" y="25"/>
                    </a:cubicBezTo>
                    <a:cubicBezTo>
                      <a:pt x="45" y="25"/>
                      <a:pt x="44" y="25"/>
                      <a:pt x="44" y="25"/>
                    </a:cubicBezTo>
                    <a:cubicBezTo>
                      <a:pt x="44" y="24"/>
                      <a:pt x="44" y="24"/>
                      <a:pt x="44" y="24"/>
                    </a:cubicBezTo>
                    <a:cubicBezTo>
                      <a:pt x="44" y="24"/>
                      <a:pt x="43" y="23"/>
                      <a:pt x="43" y="23"/>
                    </a:cubicBezTo>
                    <a:cubicBezTo>
                      <a:pt x="42" y="23"/>
                      <a:pt x="42" y="23"/>
                      <a:pt x="41" y="23"/>
                    </a:cubicBezTo>
                    <a:cubicBezTo>
                      <a:pt x="40" y="22"/>
                      <a:pt x="41" y="22"/>
                      <a:pt x="41" y="22"/>
                    </a:cubicBezTo>
                    <a:cubicBezTo>
                      <a:pt x="41" y="22"/>
                      <a:pt x="42" y="22"/>
                      <a:pt x="42" y="21"/>
                    </a:cubicBezTo>
                    <a:cubicBezTo>
                      <a:pt x="43" y="21"/>
                      <a:pt x="43" y="21"/>
                      <a:pt x="43" y="20"/>
                    </a:cubicBezTo>
                    <a:cubicBezTo>
                      <a:pt x="43" y="20"/>
                      <a:pt x="42" y="20"/>
                      <a:pt x="42" y="20"/>
                    </a:cubicBezTo>
                    <a:cubicBezTo>
                      <a:pt x="41" y="19"/>
                      <a:pt x="41" y="19"/>
                      <a:pt x="41" y="19"/>
                    </a:cubicBezTo>
                    <a:cubicBezTo>
                      <a:pt x="41" y="19"/>
                      <a:pt x="40" y="19"/>
                      <a:pt x="40" y="19"/>
                    </a:cubicBezTo>
                    <a:cubicBezTo>
                      <a:pt x="40" y="18"/>
                      <a:pt x="39" y="18"/>
                      <a:pt x="39" y="17"/>
                    </a:cubicBezTo>
                    <a:cubicBezTo>
                      <a:pt x="38" y="17"/>
                      <a:pt x="38" y="17"/>
                      <a:pt x="37" y="17"/>
                    </a:cubicBezTo>
                    <a:cubicBezTo>
                      <a:pt x="37" y="17"/>
                      <a:pt x="37" y="17"/>
                      <a:pt x="36" y="17"/>
                    </a:cubicBezTo>
                    <a:cubicBezTo>
                      <a:pt x="36" y="18"/>
                      <a:pt x="35" y="18"/>
                      <a:pt x="35" y="18"/>
                    </a:cubicBezTo>
                    <a:cubicBezTo>
                      <a:pt x="34" y="19"/>
                      <a:pt x="35" y="19"/>
                      <a:pt x="34" y="19"/>
                    </a:cubicBezTo>
                    <a:cubicBezTo>
                      <a:pt x="34" y="20"/>
                      <a:pt x="34" y="20"/>
                      <a:pt x="34" y="20"/>
                    </a:cubicBezTo>
                    <a:cubicBezTo>
                      <a:pt x="34" y="20"/>
                      <a:pt x="33" y="20"/>
                      <a:pt x="33" y="19"/>
                    </a:cubicBezTo>
                    <a:cubicBezTo>
                      <a:pt x="32" y="19"/>
                      <a:pt x="31" y="18"/>
                      <a:pt x="31" y="19"/>
                    </a:cubicBezTo>
                    <a:cubicBezTo>
                      <a:pt x="31" y="19"/>
                      <a:pt x="30" y="18"/>
                      <a:pt x="30" y="18"/>
                    </a:cubicBezTo>
                    <a:cubicBezTo>
                      <a:pt x="29" y="18"/>
                      <a:pt x="28" y="18"/>
                      <a:pt x="28" y="18"/>
                    </a:cubicBezTo>
                    <a:cubicBezTo>
                      <a:pt x="28" y="17"/>
                      <a:pt x="27" y="16"/>
                      <a:pt x="27" y="16"/>
                    </a:cubicBezTo>
                    <a:cubicBezTo>
                      <a:pt x="26" y="16"/>
                      <a:pt x="26" y="16"/>
                      <a:pt x="26" y="15"/>
                    </a:cubicBezTo>
                    <a:cubicBezTo>
                      <a:pt x="26" y="15"/>
                      <a:pt x="26" y="15"/>
                      <a:pt x="26" y="15"/>
                    </a:cubicBezTo>
                    <a:cubicBezTo>
                      <a:pt x="25" y="14"/>
                      <a:pt x="26" y="14"/>
                      <a:pt x="25" y="14"/>
                    </a:cubicBezTo>
                    <a:cubicBezTo>
                      <a:pt x="24" y="14"/>
                      <a:pt x="25" y="13"/>
                      <a:pt x="25" y="13"/>
                    </a:cubicBezTo>
                    <a:cubicBezTo>
                      <a:pt x="25" y="13"/>
                      <a:pt x="25" y="11"/>
                      <a:pt x="25" y="11"/>
                    </a:cubicBezTo>
                    <a:cubicBezTo>
                      <a:pt x="25" y="12"/>
                      <a:pt x="25" y="12"/>
                      <a:pt x="25" y="12"/>
                    </a:cubicBezTo>
                    <a:cubicBezTo>
                      <a:pt x="25" y="11"/>
                      <a:pt x="26" y="11"/>
                      <a:pt x="26" y="10"/>
                    </a:cubicBezTo>
                    <a:cubicBezTo>
                      <a:pt x="26" y="10"/>
                      <a:pt x="26" y="9"/>
                      <a:pt x="25" y="9"/>
                    </a:cubicBezTo>
                    <a:cubicBezTo>
                      <a:pt x="25" y="8"/>
                      <a:pt x="25" y="9"/>
                      <a:pt x="24" y="8"/>
                    </a:cubicBezTo>
                    <a:cubicBezTo>
                      <a:pt x="24" y="8"/>
                      <a:pt x="24" y="8"/>
                      <a:pt x="24" y="7"/>
                    </a:cubicBezTo>
                    <a:cubicBezTo>
                      <a:pt x="23" y="7"/>
                      <a:pt x="24" y="8"/>
                      <a:pt x="24" y="8"/>
                    </a:cubicBezTo>
                    <a:cubicBezTo>
                      <a:pt x="24" y="9"/>
                      <a:pt x="23" y="10"/>
                      <a:pt x="23" y="9"/>
                    </a:cubicBezTo>
                    <a:cubicBezTo>
                      <a:pt x="22" y="8"/>
                      <a:pt x="22" y="6"/>
                      <a:pt x="21" y="6"/>
                    </a:cubicBezTo>
                    <a:cubicBezTo>
                      <a:pt x="20" y="6"/>
                      <a:pt x="21" y="5"/>
                      <a:pt x="20" y="5"/>
                    </a:cubicBezTo>
                    <a:cubicBezTo>
                      <a:pt x="20" y="5"/>
                      <a:pt x="19" y="4"/>
                      <a:pt x="19" y="4"/>
                    </a:cubicBezTo>
                    <a:cubicBezTo>
                      <a:pt x="18" y="3"/>
                      <a:pt x="18" y="3"/>
                      <a:pt x="17" y="2"/>
                    </a:cubicBezTo>
                    <a:cubicBezTo>
                      <a:pt x="17" y="2"/>
                      <a:pt x="17" y="1"/>
                      <a:pt x="16" y="1"/>
                    </a:cubicBezTo>
                    <a:cubicBezTo>
                      <a:pt x="16" y="0"/>
                      <a:pt x="15" y="1"/>
                      <a:pt x="14" y="1"/>
                    </a:cubicBezTo>
                    <a:cubicBezTo>
                      <a:pt x="14" y="1"/>
                      <a:pt x="14" y="2"/>
                      <a:pt x="14" y="1"/>
                    </a:cubicBezTo>
                    <a:cubicBezTo>
                      <a:pt x="13" y="1"/>
                      <a:pt x="13" y="0"/>
                      <a:pt x="12" y="0"/>
                    </a:cubicBezTo>
                    <a:cubicBezTo>
                      <a:pt x="11" y="0"/>
                      <a:pt x="12" y="1"/>
                      <a:pt x="12" y="2"/>
                    </a:cubicBezTo>
                    <a:cubicBezTo>
                      <a:pt x="12" y="2"/>
                      <a:pt x="12" y="3"/>
                      <a:pt x="11" y="2"/>
                    </a:cubicBezTo>
                    <a:cubicBezTo>
                      <a:pt x="11" y="2"/>
                      <a:pt x="11" y="2"/>
                      <a:pt x="11" y="3"/>
                    </a:cubicBezTo>
                    <a:cubicBezTo>
                      <a:pt x="11" y="3"/>
                      <a:pt x="11" y="3"/>
                      <a:pt x="11" y="4"/>
                    </a:cubicBezTo>
                    <a:cubicBezTo>
                      <a:pt x="12" y="4"/>
                      <a:pt x="11" y="4"/>
                      <a:pt x="12" y="4"/>
                    </a:cubicBezTo>
                    <a:cubicBezTo>
                      <a:pt x="12" y="5"/>
                      <a:pt x="12" y="5"/>
                      <a:pt x="12" y="6"/>
                    </a:cubicBezTo>
                    <a:cubicBezTo>
                      <a:pt x="12" y="6"/>
                      <a:pt x="13" y="6"/>
                      <a:pt x="13" y="6"/>
                    </a:cubicBezTo>
                    <a:cubicBezTo>
                      <a:pt x="13" y="7"/>
                      <a:pt x="14" y="7"/>
                      <a:pt x="14" y="8"/>
                    </a:cubicBezTo>
                    <a:cubicBezTo>
                      <a:pt x="14" y="8"/>
                      <a:pt x="14" y="9"/>
                      <a:pt x="15" y="10"/>
                    </a:cubicBezTo>
                    <a:cubicBezTo>
                      <a:pt x="15" y="10"/>
                      <a:pt x="14" y="10"/>
                      <a:pt x="14" y="10"/>
                    </a:cubicBezTo>
                    <a:cubicBezTo>
                      <a:pt x="14" y="11"/>
                      <a:pt x="14" y="12"/>
                      <a:pt x="14" y="12"/>
                    </a:cubicBezTo>
                    <a:cubicBezTo>
                      <a:pt x="14" y="13"/>
                      <a:pt x="15" y="13"/>
                      <a:pt x="15" y="14"/>
                    </a:cubicBezTo>
                    <a:cubicBezTo>
                      <a:pt x="16" y="14"/>
                      <a:pt x="15" y="14"/>
                      <a:pt x="15" y="14"/>
                    </a:cubicBezTo>
                    <a:cubicBezTo>
                      <a:pt x="15" y="15"/>
                      <a:pt x="14" y="15"/>
                      <a:pt x="14" y="14"/>
                    </a:cubicBezTo>
                    <a:cubicBezTo>
                      <a:pt x="14" y="14"/>
                      <a:pt x="13" y="14"/>
                      <a:pt x="13" y="14"/>
                    </a:cubicBezTo>
                    <a:cubicBezTo>
                      <a:pt x="13" y="14"/>
                      <a:pt x="13" y="14"/>
                      <a:pt x="13" y="14"/>
                    </a:cubicBezTo>
                    <a:cubicBezTo>
                      <a:pt x="12" y="14"/>
                      <a:pt x="11" y="14"/>
                      <a:pt x="11" y="14"/>
                    </a:cubicBezTo>
                    <a:cubicBezTo>
                      <a:pt x="10" y="15"/>
                      <a:pt x="9" y="13"/>
                      <a:pt x="10" y="13"/>
                    </a:cubicBezTo>
                    <a:cubicBezTo>
                      <a:pt x="10" y="12"/>
                      <a:pt x="9" y="12"/>
                      <a:pt x="9" y="11"/>
                    </a:cubicBezTo>
                    <a:cubicBezTo>
                      <a:pt x="9" y="11"/>
                      <a:pt x="9" y="10"/>
                      <a:pt x="8" y="10"/>
                    </a:cubicBezTo>
                    <a:cubicBezTo>
                      <a:pt x="9" y="11"/>
                      <a:pt x="7" y="12"/>
                      <a:pt x="6" y="12"/>
                    </a:cubicBezTo>
                    <a:cubicBezTo>
                      <a:pt x="6" y="13"/>
                      <a:pt x="6" y="13"/>
                      <a:pt x="5" y="13"/>
                    </a:cubicBezTo>
                    <a:cubicBezTo>
                      <a:pt x="5" y="13"/>
                      <a:pt x="5" y="13"/>
                      <a:pt x="5" y="13"/>
                    </a:cubicBezTo>
                    <a:cubicBezTo>
                      <a:pt x="4" y="14"/>
                      <a:pt x="5" y="14"/>
                      <a:pt x="4" y="15"/>
                    </a:cubicBezTo>
                    <a:cubicBezTo>
                      <a:pt x="4" y="15"/>
                      <a:pt x="4" y="16"/>
                      <a:pt x="4" y="16"/>
                    </a:cubicBezTo>
                    <a:cubicBezTo>
                      <a:pt x="3" y="16"/>
                      <a:pt x="3" y="18"/>
                      <a:pt x="4" y="18"/>
                    </a:cubicBezTo>
                    <a:cubicBezTo>
                      <a:pt x="4" y="18"/>
                      <a:pt x="5" y="18"/>
                      <a:pt x="4" y="18"/>
                    </a:cubicBezTo>
                    <a:cubicBezTo>
                      <a:pt x="3" y="19"/>
                      <a:pt x="2" y="18"/>
                      <a:pt x="1" y="19"/>
                    </a:cubicBezTo>
                    <a:cubicBezTo>
                      <a:pt x="0" y="20"/>
                      <a:pt x="0" y="21"/>
                      <a:pt x="0" y="22"/>
                    </a:cubicBezTo>
                    <a:cubicBezTo>
                      <a:pt x="0" y="23"/>
                      <a:pt x="0" y="24"/>
                      <a:pt x="0" y="24"/>
                    </a:cubicBezTo>
                    <a:cubicBezTo>
                      <a:pt x="0" y="25"/>
                      <a:pt x="1" y="25"/>
                      <a:pt x="1" y="25"/>
                    </a:cubicBezTo>
                    <a:cubicBezTo>
                      <a:pt x="1" y="25"/>
                      <a:pt x="1" y="25"/>
                      <a:pt x="1" y="24"/>
                    </a:cubicBezTo>
                    <a:cubicBezTo>
                      <a:pt x="1" y="24"/>
                      <a:pt x="1" y="24"/>
                      <a:pt x="1" y="24"/>
                    </a:cubicBezTo>
                    <a:cubicBezTo>
                      <a:pt x="2" y="22"/>
                      <a:pt x="3" y="24"/>
                      <a:pt x="3" y="25"/>
                    </a:cubicBezTo>
                    <a:cubicBezTo>
                      <a:pt x="4" y="25"/>
                      <a:pt x="4" y="26"/>
                      <a:pt x="4" y="26"/>
                    </a:cubicBezTo>
                    <a:cubicBezTo>
                      <a:pt x="5" y="26"/>
                      <a:pt x="5" y="27"/>
                      <a:pt x="5" y="27"/>
                    </a:cubicBezTo>
                    <a:cubicBezTo>
                      <a:pt x="5" y="28"/>
                      <a:pt x="5" y="28"/>
                      <a:pt x="4" y="29"/>
                    </a:cubicBezTo>
                    <a:cubicBezTo>
                      <a:pt x="4" y="30"/>
                      <a:pt x="4" y="30"/>
                      <a:pt x="4" y="31"/>
                    </a:cubicBezTo>
                    <a:cubicBezTo>
                      <a:pt x="4" y="31"/>
                      <a:pt x="5" y="33"/>
                      <a:pt x="6" y="33"/>
                    </a:cubicBezTo>
                    <a:cubicBezTo>
                      <a:pt x="6" y="32"/>
                      <a:pt x="6" y="32"/>
                      <a:pt x="7" y="33"/>
                    </a:cubicBezTo>
                    <a:cubicBezTo>
                      <a:pt x="8" y="33"/>
                      <a:pt x="8" y="33"/>
                      <a:pt x="8" y="32"/>
                    </a:cubicBezTo>
                    <a:cubicBezTo>
                      <a:pt x="9" y="30"/>
                      <a:pt x="11" y="33"/>
                      <a:pt x="12" y="32"/>
                    </a:cubicBezTo>
                    <a:cubicBezTo>
                      <a:pt x="12" y="32"/>
                      <a:pt x="13" y="33"/>
                      <a:pt x="12" y="33"/>
                    </a:cubicBezTo>
                    <a:cubicBezTo>
                      <a:pt x="12" y="33"/>
                      <a:pt x="12" y="34"/>
                      <a:pt x="12" y="34"/>
                    </a:cubicBezTo>
                    <a:cubicBezTo>
                      <a:pt x="12" y="34"/>
                      <a:pt x="12" y="35"/>
                      <a:pt x="12" y="35"/>
                    </a:cubicBezTo>
                    <a:cubicBezTo>
                      <a:pt x="12" y="35"/>
                      <a:pt x="13" y="37"/>
                      <a:pt x="13" y="37"/>
                    </a:cubicBezTo>
                    <a:cubicBezTo>
                      <a:pt x="13" y="37"/>
                      <a:pt x="14" y="38"/>
                      <a:pt x="14" y="38"/>
                    </a:cubicBezTo>
                    <a:cubicBezTo>
                      <a:pt x="14" y="39"/>
                      <a:pt x="13" y="39"/>
                      <a:pt x="13" y="40"/>
                    </a:cubicBezTo>
                    <a:cubicBezTo>
                      <a:pt x="13" y="40"/>
                      <a:pt x="13" y="41"/>
                      <a:pt x="13" y="41"/>
                    </a:cubicBezTo>
                    <a:cubicBezTo>
                      <a:pt x="13" y="42"/>
                      <a:pt x="14" y="42"/>
                      <a:pt x="14" y="42"/>
                    </a:cubicBezTo>
                    <a:cubicBezTo>
                      <a:pt x="14" y="42"/>
                      <a:pt x="13" y="43"/>
                      <a:pt x="13" y="43"/>
                    </a:cubicBezTo>
                    <a:cubicBezTo>
                      <a:pt x="13" y="44"/>
                      <a:pt x="12" y="44"/>
                      <a:pt x="12" y="45"/>
                    </a:cubicBezTo>
                    <a:cubicBezTo>
                      <a:pt x="12" y="45"/>
                      <a:pt x="13" y="45"/>
                      <a:pt x="13" y="46"/>
                    </a:cubicBezTo>
                    <a:cubicBezTo>
                      <a:pt x="13" y="46"/>
                      <a:pt x="13" y="46"/>
                      <a:pt x="13" y="46"/>
                    </a:cubicBezTo>
                    <a:cubicBezTo>
                      <a:pt x="13" y="47"/>
                      <a:pt x="13" y="47"/>
                      <a:pt x="13" y="47"/>
                    </a:cubicBezTo>
                    <a:cubicBezTo>
                      <a:pt x="14" y="47"/>
                      <a:pt x="14" y="48"/>
                      <a:pt x="14" y="48"/>
                    </a:cubicBezTo>
                    <a:cubicBezTo>
                      <a:pt x="14" y="48"/>
                      <a:pt x="14" y="49"/>
                      <a:pt x="14" y="49"/>
                    </a:cubicBezTo>
                    <a:cubicBezTo>
                      <a:pt x="14" y="49"/>
                      <a:pt x="13" y="50"/>
                      <a:pt x="13" y="50"/>
                    </a:cubicBezTo>
                    <a:cubicBezTo>
                      <a:pt x="13" y="50"/>
                      <a:pt x="13" y="50"/>
                      <a:pt x="13" y="50"/>
                    </a:cubicBezTo>
                    <a:cubicBezTo>
                      <a:pt x="12" y="51"/>
                      <a:pt x="12" y="51"/>
                      <a:pt x="13" y="51"/>
                    </a:cubicBezTo>
                    <a:cubicBezTo>
                      <a:pt x="13" y="51"/>
                      <a:pt x="12" y="51"/>
                      <a:pt x="12" y="51"/>
                    </a:cubicBezTo>
                    <a:cubicBezTo>
                      <a:pt x="12" y="52"/>
                      <a:pt x="13" y="52"/>
                      <a:pt x="12" y="54"/>
                    </a:cubicBezTo>
                    <a:cubicBezTo>
                      <a:pt x="12" y="54"/>
                      <a:pt x="13" y="54"/>
                      <a:pt x="13" y="55"/>
                    </a:cubicBezTo>
                    <a:cubicBezTo>
                      <a:pt x="13" y="55"/>
                      <a:pt x="14" y="55"/>
                      <a:pt x="14" y="55"/>
                    </a:cubicBezTo>
                    <a:cubicBezTo>
                      <a:pt x="15" y="55"/>
                      <a:pt x="15" y="54"/>
                      <a:pt x="15" y="54"/>
                    </a:cubicBezTo>
                    <a:cubicBezTo>
                      <a:pt x="16" y="53"/>
                      <a:pt x="16" y="53"/>
                      <a:pt x="17" y="53"/>
                    </a:cubicBezTo>
                    <a:cubicBezTo>
                      <a:pt x="17" y="53"/>
                      <a:pt x="17" y="53"/>
                      <a:pt x="16" y="52"/>
                    </a:cubicBezTo>
                    <a:cubicBezTo>
                      <a:pt x="16" y="53"/>
                      <a:pt x="17" y="52"/>
                      <a:pt x="17" y="52"/>
                    </a:cubicBezTo>
                    <a:cubicBezTo>
                      <a:pt x="17" y="52"/>
                      <a:pt x="18" y="52"/>
                      <a:pt x="18" y="52"/>
                    </a:cubicBezTo>
                    <a:cubicBezTo>
                      <a:pt x="18" y="51"/>
                      <a:pt x="18" y="51"/>
                      <a:pt x="18" y="51"/>
                    </a:cubicBezTo>
                    <a:cubicBezTo>
                      <a:pt x="18" y="51"/>
                      <a:pt x="19" y="50"/>
                      <a:pt x="19" y="50"/>
                    </a:cubicBezTo>
                    <a:cubicBezTo>
                      <a:pt x="19" y="49"/>
                      <a:pt x="19" y="48"/>
                      <a:pt x="20" y="49"/>
                    </a:cubicBezTo>
                    <a:cubicBezTo>
                      <a:pt x="21" y="49"/>
                      <a:pt x="21" y="48"/>
                      <a:pt x="22" y="48"/>
                    </a:cubicBezTo>
                    <a:cubicBezTo>
                      <a:pt x="22" y="47"/>
                      <a:pt x="23" y="47"/>
                      <a:pt x="23" y="48"/>
                    </a:cubicBezTo>
                    <a:cubicBezTo>
                      <a:pt x="24" y="48"/>
                      <a:pt x="25" y="49"/>
                      <a:pt x="25" y="49"/>
                    </a:cubicBezTo>
                    <a:cubicBezTo>
                      <a:pt x="26" y="50"/>
                      <a:pt x="28" y="50"/>
                      <a:pt x="28" y="50"/>
                    </a:cubicBezTo>
                    <a:cubicBezTo>
                      <a:pt x="28" y="51"/>
                      <a:pt x="28" y="52"/>
                      <a:pt x="28" y="52"/>
                    </a:cubicBezTo>
                    <a:cubicBezTo>
                      <a:pt x="29" y="52"/>
                      <a:pt x="28" y="51"/>
                      <a:pt x="28" y="51"/>
                    </a:cubicBezTo>
                    <a:cubicBezTo>
                      <a:pt x="28" y="51"/>
                      <a:pt x="29" y="51"/>
                      <a:pt x="29" y="51"/>
                    </a:cubicBezTo>
                    <a:cubicBezTo>
                      <a:pt x="30" y="50"/>
                      <a:pt x="30" y="49"/>
                      <a:pt x="31" y="49"/>
                    </a:cubicBezTo>
                    <a:cubicBezTo>
                      <a:pt x="32" y="50"/>
                      <a:pt x="31" y="49"/>
                      <a:pt x="32" y="48"/>
                    </a:cubicBezTo>
                    <a:cubicBezTo>
                      <a:pt x="32" y="48"/>
                      <a:pt x="32" y="48"/>
                      <a:pt x="32" y="47"/>
                    </a:cubicBezTo>
                    <a:cubicBezTo>
                      <a:pt x="32" y="47"/>
                      <a:pt x="32" y="47"/>
                      <a:pt x="33" y="47"/>
                    </a:cubicBezTo>
                    <a:cubicBezTo>
                      <a:pt x="33" y="46"/>
                      <a:pt x="33" y="46"/>
                      <a:pt x="33" y="46"/>
                    </a:cubicBezTo>
                    <a:cubicBezTo>
                      <a:pt x="33" y="45"/>
                      <a:pt x="34" y="45"/>
                      <a:pt x="34" y="45"/>
                    </a:cubicBezTo>
                    <a:cubicBezTo>
                      <a:pt x="35" y="45"/>
                      <a:pt x="36" y="45"/>
                      <a:pt x="37" y="46"/>
                    </a:cubicBezTo>
                    <a:cubicBezTo>
                      <a:pt x="38" y="46"/>
                      <a:pt x="38" y="46"/>
                      <a:pt x="39" y="46"/>
                    </a:cubicBezTo>
                    <a:cubicBezTo>
                      <a:pt x="39" y="47"/>
                      <a:pt x="40" y="45"/>
                      <a:pt x="40" y="46"/>
                    </a:cubicBezTo>
                    <a:cubicBezTo>
                      <a:pt x="41" y="47"/>
                      <a:pt x="41" y="47"/>
                      <a:pt x="41" y="48"/>
                    </a:cubicBezTo>
                    <a:cubicBezTo>
                      <a:pt x="42" y="48"/>
                      <a:pt x="42" y="49"/>
                      <a:pt x="43" y="50"/>
                    </a:cubicBezTo>
                    <a:cubicBezTo>
                      <a:pt x="43" y="50"/>
                      <a:pt x="44" y="51"/>
                      <a:pt x="44" y="51"/>
                    </a:cubicBezTo>
                    <a:cubicBezTo>
                      <a:pt x="45" y="52"/>
                      <a:pt x="45" y="53"/>
                      <a:pt x="46" y="53"/>
                    </a:cubicBezTo>
                    <a:cubicBezTo>
                      <a:pt x="46" y="54"/>
                      <a:pt x="47" y="54"/>
                      <a:pt x="47" y="54"/>
                    </a:cubicBezTo>
                    <a:cubicBezTo>
                      <a:pt x="49" y="55"/>
                      <a:pt x="50" y="56"/>
                      <a:pt x="50" y="58"/>
                    </a:cubicBezTo>
                    <a:cubicBezTo>
                      <a:pt x="50" y="59"/>
                      <a:pt x="49" y="59"/>
                      <a:pt x="49" y="60"/>
                    </a:cubicBezTo>
                    <a:cubicBezTo>
                      <a:pt x="49" y="61"/>
                      <a:pt x="50" y="62"/>
                      <a:pt x="50" y="63"/>
                    </a:cubicBezTo>
                    <a:cubicBezTo>
                      <a:pt x="50" y="63"/>
                      <a:pt x="50" y="64"/>
                      <a:pt x="50" y="65"/>
                    </a:cubicBezTo>
                    <a:cubicBezTo>
                      <a:pt x="50" y="66"/>
                      <a:pt x="51" y="66"/>
                      <a:pt x="51" y="67"/>
                    </a:cubicBezTo>
                    <a:cubicBezTo>
                      <a:pt x="52" y="67"/>
                      <a:pt x="52" y="68"/>
                      <a:pt x="53" y="68"/>
                    </a:cubicBezTo>
                    <a:cubicBezTo>
                      <a:pt x="53" y="69"/>
                      <a:pt x="53" y="70"/>
                      <a:pt x="54" y="70"/>
                    </a:cubicBezTo>
                    <a:cubicBezTo>
                      <a:pt x="54" y="71"/>
                      <a:pt x="57" y="71"/>
                      <a:pt x="57" y="71"/>
                    </a:cubicBezTo>
                    <a:cubicBezTo>
                      <a:pt x="57" y="72"/>
                      <a:pt x="57" y="72"/>
                      <a:pt x="57" y="72"/>
                    </a:cubicBezTo>
                    <a:cubicBezTo>
                      <a:pt x="57" y="72"/>
                      <a:pt x="57" y="73"/>
                      <a:pt x="57" y="73"/>
                    </a:cubicBezTo>
                    <a:cubicBezTo>
                      <a:pt x="57" y="74"/>
                      <a:pt x="58" y="74"/>
                      <a:pt x="59" y="74"/>
                    </a:cubicBezTo>
                    <a:cubicBezTo>
                      <a:pt x="60" y="74"/>
                      <a:pt x="60" y="76"/>
                      <a:pt x="60" y="77"/>
                    </a:cubicBezTo>
                    <a:cubicBezTo>
                      <a:pt x="60" y="78"/>
                      <a:pt x="59" y="78"/>
                      <a:pt x="59" y="78"/>
                    </a:cubicBezTo>
                    <a:cubicBezTo>
                      <a:pt x="59" y="79"/>
                      <a:pt x="59" y="79"/>
                      <a:pt x="60" y="79"/>
                    </a:cubicBezTo>
                    <a:cubicBezTo>
                      <a:pt x="60" y="79"/>
                      <a:pt x="58" y="80"/>
                      <a:pt x="59" y="81"/>
                    </a:cubicBezTo>
                    <a:cubicBezTo>
                      <a:pt x="59" y="82"/>
                      <a:pt x="60" y="82"/>
                      <a:pt x="60" y="82"/>
                    </a:cubicBezTo>
                    <a:cubicBezTo>
                      <a:pt x="61" y="83"/>
                      <a:pt x="60" y="83"/>
                      <a:pt x="60" y="83"/>
                    </a:cubicBezTo>
                    <a:cubicBezTo>
                      <a:pt x="60" y="84"/>
                      <a:pt x="60" y="84"/>
                      <a:pt x="60" y="85"/>
                    </a:cubicBezTo>
                    <a:cubicBezTo>
                      <a:pt x="60" y="86"/>
                      <a:pt x="60" y="88"/>
                      <a:pt x="59" y="89"/>
                    </a:cubicBezTo>
                    <a:cubicBezTo>
                      <a:pt x="59" y="89"/>
                      <a:pt x="58" y="90"/>
                      <a:pt x="57" y="90"/>
                    </a:cubicBezTo>
                    <a:cubicBezTo>
                      <a:pt x="57" y="90"/>
                      <a:pt x="58" y="92"/>
                      <a:pt x="59" y="92"/>
                    </a:cubicBezTo>
                    <a:cubicBezTo>
                      <a:pt x="60" y="92"/>
                      <a:pt x="60" y="92"/>
                      <a:pt x="61" y="92"/>
                    </a:cubicBezTo>
                    <a:cubicBezTo>
                      <a:pt x="61" y="92"/>
                      <a:pt x="62" y="92"/>
                      <a:pt x="62" y="92"/>
                    </a:cubicBezTo>
                    <a:cubicBezTo>
                      <a:pt x="62" y="92"/>
                      <a:pt x="63" y="92"/>
                      <a:pt x="63" y="92"/>
                    </a:cubicBezTo>
                    <a:cubicBezTo>
                      <a:pt x="63" y="93"/>
                      <a:pt x="63" y="93"/>
                      <a:pt x="64" y="93"/>
                    </a:cubicBezTo>
                    <a:cubicBezTo>
                      <a:pt x="64" y="94"/>
                      <a:pt x="64" y="94"/>
                      <a:pt x="65" y="94"/>
                    </a:cubicBezTo>
                    <a:cubicBezTo>
                      <a:pt x="65" y="94"/>
                      <a:pt x="66" y="94"/>
                      <a:pt x="66" y="94"/>
                    </a:cubicBezTo>
                    <a:cubicBezTo>
                      <a:pt x="66" y="94"/>
                      <a:pt x="66" y="93"/>
                      <a:pt x="67" y="93"/>
                    </a:cubicBezTo>
                    <a:cubicBezTo>
                      <a:pt x="67" y="93"/>
                      <a:pt x="67" y="93"/>
                      <a:pt x="67" y="92"/>
                    </a:cubicBezTo>
                    <a:cubicBezTo>
                      <a:pt x="66" y="92"/>
                      <a:pt x="64" y="90"/>
                      <a:pt x="65" y="89"/>
                    </a:cubicBezTo>
                    <a:cubicBezTo>
                      <a:pt x="65" y="89"/>
                      <a:pt x="65" y="89"/>
                      <a:pt x="65" y="89"/>
                    </a:cubicBezTo>
                    <a:cubicBezTo>
                      <a:pt x="66" y="89"/>
                      <a:pt x="66" y="89"/>
                      <a:pt x="66" y="89"/>
                    </a:cubicBezTo>
                    <a:cubicBezTo>
                      <a:pt x="67" y="90"/>
                      <a:pt x="67" y="88"/>
                      <a:pt x="67" y="88"/>
                    </a:cubicBezTo>
                    <a:cubicBezTo>
                      <a:pt x="68" y="88"/>
                      <a:pt x="68" y="89"/>
                      <a:pt x="69" y="88"/>
                    </a:cubicBezTo>
                    <a:cubicBezTo>
                      <a:pt x="69" y="88"/>
                      <a:pt x="69" y="87"/>
                      <a:pt x="69" y="88"/>
                    </a:cubicBezTo>
                    <a:cubicBezTo>
                      <a:pt x="69" y="87"/>
                      <a:pt x="70" y="87"/>
                      <a:pt x="70" y="87"/>
                    </a:cubicBezTo>
                    <a:cubicBezTo>
                      <a:pt x="70" y="87"/>
                      <a:pt x="70" y="88"/>
                      <a:pt x="71" y="88"/>
                    </a:cubicBezTo>
                    <a:cubicBezTo>
                      <a:pt x="71" y="88"/>
                      <a:pt x="72" y="88"/>
                      <a:pt x="72" y="89"/>
                    </a:cubicBezTo>
                    <a:cubicBezTo>
                      <a:pt x="72" y="89"/>
                      <a:pt x="73" y="90"/>
                      <a:pt x="73" y="90"/>
                    </a:cubicBezTo>
                    <a:cubicBezTo>
                      <a:pt x="73" y="90"/>
                      <a:pt x="74" y="90"/>
                      <a:pt x="74" y="90"/>
                    </a:cubicBezTo>
                    <a:cubicBezTo>
                      <a:pt x="75" y="89"/>
                      <a:pt x="75" y="89"/>
                      <a:pt x="75" y="89"/>
                    </a:cubicBezTo>
                    <a:cubicBezTo>
                      <a:pt x="75" y="88"/>
                      <a:pt x="75" y="89"/>
                      <a:pt x="76" y="89"/>
                    </a:cubicBezTo>
                    <a:cubicBezTo>
                      <a:pt x="76" y="89"/>
                      <a:pt x="77" y="88"/>
                      <a:pt x="77" y="88"/>
                    </a:cubicBezTo>
                    <a:cubicBezTo>
                      <a:pt x="77" y="87"/>
                      <a:pt x="77" y="86"/>
                      <a:pt x="78" y="87"/>
                    </a:cubicBezTo>
                    <a:cubicBezTo>
                      <a:pt x="79" y="88"/>
                      <a:pt x="79" y="87"/>
                      <a:pt x="79" y="86"/>
                    </a:cubicBezTo>
                    <a:cubicBezTo>
                      <a:pt x="79" y="86"/>
                      <a:pt x="80" y="86"/>
                      <a:pt x="79" y="85"/>
                    </a:cubicBezTo>
                    <a:cubicBezTo>
                      <a:pt x="79" y="85"/>
                      <a:pt x="79" y="84"/>
                      <a:pt x="79" y="84"/>
                    </a:cubicBezTo>
                    <a:cubicBezTo>
                      <a:pt x="80" y="83"/>
                      <a:pt x="79" y="83"/>
                      <a:pt x="79" y="83"/>
                    </a:cubicBezTo>
                    <a:cubicBezTo>
                      <a:pt x="79" y="83"/>
                      <a:pt x="78" y="82"/>
                      <a:pt x="78" y="82"/>
                    </a:cubicBezTo>
                    <a:cubicBezTo>
                      <a:pt x="79" y="82"/>
                      <a:pt x="79" y="82"/>
                      <a:pt x="79" y="82"/>
                    </a:cubicBezTo>
                    <a:cubicBezTo>
                      <a:pt x="79" y="81"/>
                      <a:pt x="80" y="81"/>
                      <a:pt x="80" y="80"/>
                    </a:cubicBezTo>
                    <a:cubicBezTo>
                      <a:pt x="80" y="80"/>
                      <a:pt x="80" y="80"/>
                      <a:pt x="80" y="80"/>
                    </a:cubicBezTo>
                    <a:cubicBezTo>
                      <a:pt x="80" y="79"/>
                      <a:pt x="79" y="79"/>
                      <a:pt x="79" y="7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4" name="Kyrgyzstan">
                <a:extLst>
                  <a:ext uri="{FF2B5EF4-FFF2-40B4-BE49-F238E27FC236}">
                    <a16:creationId xmlns:a16="http://schemas.microsoft.com/office/drawing/2014/main" id="{859FF0D5-7E08-9BFB-1C91-631946A53668}"/>
                  </a:ext>
                </a:extLst>
              </p:cNvPr>
              <p:cNvSpPr>
                <a:spLocks noEditPoints="1"/>
              </p:cNvSpPr>
              <p:nvPr/>
            </p:nvSpPr>
            <p:spPr bwMode="auto">
              <a:xfrm>
                <a:off x="7917734" y="2360426"/>
                <a:ext cx="325416" cy="159768"/>
              </a:xfrm>
              <a:custGeom>
                <a:avLst/>
                <a:gdLst/>
                <a:ahLst/>
                <a:cxnLst>
                  <a:cxn ang="0">
                    <a:pos x="81" y="8"/>
                  </a:cxn>
                  <a:cxn ang="0">
                    <a:pos x="73" y="4"/>
                  </a:cxn>
                  <a:cxn ang="0">
                    <a:pos x="67" y="4"/>
                  </a:cxn>
                  <a:cxn ang="0">
                    <a:pos x="56" y="4"/>
                  </a:cxn>
                  <a:cxn ang="0">
                    <a:pos x="49" y="4"/>
                  </a:cxn>
                  <a:cxn ang="0">
                    <a:pos x="40" y="3"/>
                  </a:cxn>
                  <a:cxn ang="0">
                    <a:pos x="33" y="1"/>
                  </a:cxn>
                  <a:cxn ang="0">
                    <a:pos x="29" y="5"/>
                  </a:cxn>
                  <a:cxn ang="0">
                    <a:pos x="28" y="9"/>
                  </a:cxn>
                  <a:cxn ang="0">
                    <a:pos x="23" y="7"/>
                  </a:cxn>
                  <a:cxn ang="0">
                    <a:pos x="14" y="5"/>
                  </a:cxn>
                  <a:cxn ang="0">
                    <a:pos x="10" y="6"/>
                  </a:cxn>
                  <a:cxn ang="0">
                    <a:pos x="9" y="9"/>
                  </a:cxn>
                  <a:cxn ang="0">
                    <a:pos x="9" y="11"/>
                  </a:cxn>
                  <a:cxn ang="0">
                    <a:pos x="8" y="15"/>
                  </a:cxn>
                  <a:cxn ang="0">
                    <a:pos x="4" y="19"/>
                  </a:cxn>
                  <a:cxn ang="0">
                    <a:pos x="10" y="22"/>
                  </a:cxn>
                  <a:cxn ang="0">
                    <a:pos x="14" y="23"/>
                  </a:cxn>
                  <a:cxn ang="0">
                    <a:pos x="17" y="20"/>
                  </a:cxn>
                  <a:cxn ang="0">
                    <a:pos x="19" y="22"/>
                  </a:cxn>
                  <a:cxn ang="0">
                    <a:pos x="23" y="25"/>
                  </a:cxn>
                  <a:cxn ang="0">
                    <a:pos x="27" y="26"/>
                  </a:cxn>
                  <a:cxn ang="0">
                    <a:pos x="32" y="27"/>
                  </a:cxn>
                  <a:cxn ang="0">
                    <a:pos x="26" y="29"/>
                  </a:cxn>
                  <a:cxn ang="0">
                    <a:pos x="25" y="31"/>
                  </a:cxn>
                  <a:cxn ang="0">
                    <a:pos x="24" y="33"/>
                  </a:cxn>
                  <a:cxn ang="0">
                    <a:pos x="19" y="33"/>
                  </a:cxn>
                  <a:cxn ang="0">
                    <a:pos x="12" y="35"/>
                  </a:cxn>
                  <a:cxn ang="0">
                    <a:pos x="9" y="35"/>
                  </a:cxn>
                  <a:cxn ang="0">
                    <a:pos x="4" y="34"/>
                  </a:cxn>
                  <a:cxn ang="0">
                    <a:pos x="0" y="36"/>
                  </a:cxn>
                  <a:cxn ang="0">
                    <a:pos x="2" y="41"/>
                  </a:cxn>
                  <a:cxn ang="0">
                    <a:pos x="9" y="41"/>
                  </a:cxn>
                  <a:cxn ang="0">
                    <a:pos x="14" y="41"/>
                  </a:cxn>
                  <a:cxn ang="0">
                    <a:pos x="17" y="42"/>
                  </a:cxn>
                  <a:cxn ang="0">
                    <a:pos x="22" y="42"/>
                  </a:cxn>
                  <a:cxn ang="0">
                    <a:pos x="28" y="44"/>
                  </a:cxn>
                  <a:cxn ang="0">
                    <a:pos x="34" y="43"/>
                  </a:cxn>
                  <a:cxn ang="0">
                    <a:pos x="40" y="42"/>
                  </a:cxn>
                  <a:cxn ang="0">
                    <a:pos x="41" y="38"/>
                  </a:cxn>
                  <a:cxn ang="0">
                    <a:pos x="45" y="35"/>
                  </a:cxn>
                  <a:cxn ang="0">
                    <a:pos x="48" y="30"/>
                  </a:cxn>
                  <a:cxn ang="0">
                    <a:pos x="55" y="29"/>
                  </a:cxn>
                  <a:cxn ang="0">
                    <a:pos x="60" y="32"/>
                  </a:cxn>
                  <a:cxn ang="0">
                    <a:pos x="64" y="29"/>
                  </a:cxn>
                  <a:cxn ang="0">
                    <a:pos x="67" y="25"/>
                  </a:cxn>
                  <a:cxn ang="0">
                    <a:pos x="76" y="24"/>
                  </a:cxn>
                  <a:cxn ang="0">
                    <a:pos x="79" y="19"/>
                  </a:cxn>
                  <a:cxn ang="0">
                    <a:pos x="84" y="16"/>
                  </a:cxn>
                  <a:cxn ang="0">
                    <a:pos x="88" y="14"/>
                  </a:cxn>
                  <a:cxn ang="0">
                    <a:pos x="12" y="38"/>
                  </a:cxn>
                  <a:cxn ang="0">
                    <a:pos x="16" y="37"/>
                  </a:cxn>
                  <a:cxn ang="0">
                    <a:pos x="15" y="34"/>
                  </a:cxn>
                  <a:cxn ang="0">
                    <a:pos x="22" y="37"/>
                  </a:cxn>
                </a:cxnLst>
                <a:rect l="0" t="0" r="r" b="b"/>
                <a:pathLst>
                  <a:path w="92" h="45">
                    <a:moveTo>
                      <a:pt x="89" y="11"/>
                    </a:moveTo>
                    <a:cubicBezTo>
                      <a:pt x="88" y="10"/>
                      <a:pt x="86" y="9"/>
                      <a:pt x="85" y="9"/>
                    </a:cubicBezTo>
                    <a:cubicBezTo>
                      <a:pt x="84" y="9"/>
                      <a:pt x="83" y="9"/>
                      <a:pt x="83" y="9"/>
                    </a:cubicBezTo>
                    <a:cubicBezTo>
                      <a:pt x="82" y="9"/>
                      <a:pt x="82" y="8"/>
                      <a:pt x="81" y="8"/>
                    </a:cubicBezTo>
                    <a:cubicBezTo>
                      <a:pt x="81" y="7"/>
                      <a:pt x="80" y="7"/>
                      <a:pt x="80" y="6"/>
                    </a:cubicBezTo>
                    <a:cubicBezTo>
                      <a:pt x="79" y="6"/>
                      <a:pt x="79" y="5"/>
                      <a:pt x="79" y="5"/>
                    </a:cubicBezTo>
                    <a:cubicBezTo>
                      <a:pt x="77" y="6"/>
                      <a:pt x="76" y="5"/>
                      <a:pt x="75" y="5"/>
                    </a:cubicBezTo>
                    <a:cubicBezTo>
                      <a:pt x="74" y="5"/>
                      <a:pt x="73" y="4"/>
                      <a:pt x="73" y="4"/>
                    </a:cubicBezTo>
                    <a:cubicBezTo>
                      <a:pt x="72" y="4"/>
                      <a:pt x="72" y="5"/>
                      <a:pt x="72" y="5"/>
                    </a:cubicBezTo>
                    <a:cubicBezTo>
                      <a:pt x="71" y="5"/>
                      <a:pt x="71" y="5"/>
                      <a:pt x="71" y="5"/>
                    </a:cubicBezTo>
                    <a:cubicBezTo>
                      <a:pt x="70" y="5"/>
                      <a:pt x="69" y="5"/>
                      <a:pt x="68" y="4"/>
                    </a:cubicBezTo>
                    <a:cubicBezTo>
                      <a:pt x="68" y="4"/>
                      <a:pt x="67" y="5"/>
                      <a:pt x="67" y="4"/>
                    </a:cubicBezTo>
                    <a:cubicBezTo>
                      <a:pt x="66" y="4"/>
                      <a:pt x="65" y="4"/>
                      <a:pt x="65" y="4"/>
                    </a:cubicBezTo>
                    <a:cubicBezTo>
                      <a:pt x="64" y="4"/>
                      <a:pt x="63" y="4"/>
                      <a:pt x="62" y="4"/>
                    </a:cubicBezTo>
                    <a:cubicBezTo>
                      <a:pt x="61" y="4"/>
                      <a:pt x="59" y="3"/>
                      <a:pt x="58" y="3"/>
                    </a:cubicBezTo>
                    <a:cubicBezTo>
                      <a:pt x="57" y="4"/>
                      <a:pt x="57" y="4"/>
                      <a:pt x="56" y="4"/>
                    </a:cubicBezTo>
                    <a:cubicBezTo>
                      <a:pt x="55" y="4"/>
                      <a:pt x="55" y="4"/>
                      <a:pt x="54" y="4"/>
                    </a:cubicBezTo>
                    <a:cubicBezTo>
                      <a:pt x="54" y="4"/>
                      <a:pt x="53" y="4"/>
                      <a:pt x="52" y="4"/>
                    </a:cubicBezTo>
                    <a:cubicBezTo>
                      <a:pt x="51" y="4"/>
                      <a:pt x="51" y="4"/>
                      <a:pt x="50" y="4"/>
                    </a:cubicBezTo>
                    <a:cubicBezTo>
                      <a:pt x="49" y="4"/>
                      <a:pt x="49" y="4"/>
                      <a:pt x="49" y="4"/>
                    </a:cubicBezTo>
                    <a:cubicBezTo>
                      <a:pt x="49" y="5"/>
                      <a:pt x="48" y="5"/>
                      <a:pt x="48" y="5"/>
                    </a:cubicBezTo>
                    <a:cubicBezTo>
                      <a:pt x="47" y="5"/>
                      <a:pt x="46" y="5"/>
                      <a:pt x="45" y="5"/>
                    </a:cubicBezTo>
                    <a:cubicBezTo>
                      <a:pt x="45" y="5"/>
                      <a:pt x="44" y="5"/>
                      <a:pt x="43" y="4"/>
                    </a:cubicBezTo>
                    <a:cubicBezTo>
                      <a:pt x="42" y="4"/>
                      <a:pt x="41" y="3"/>
                      <a:pt x="40" y="3"/>
                    </a:cubicBezTo>
                    <a:cubicBezTo>
                      <a:pt x="39" y="3"/>
                      <a:pt x="39" y="3"/>
                      <a:pt x="38" y="2"/>
                    </a:cubicBezTo>
                    <a:cubicBezTo>
                      <a:pt x="38" y="2"/>
                      <a:pt x="37" y="2"/>
                      <a:pt x="36" y="1"/>
                    </a:cubicBezTo>
                    <a:cubicBezTo>
                      <a:pt x="35" y="1"/>
                      <a:pt x="35" y="1"/>
                      <a:pt x="34" y="0"/>
                    </a:cubicBezTo>
                    <a:cubicBezTo>
                      <a:pt x="35" y="1"/>
                      <a:pt x="34" y="1"/>
                      <a:pt x="33" y="1"/>
                    </a:cubicBezTo>
                    <a:cubicBezTo>
                      <a:pt x="33" y="1"/>
                      <a:pt x="32" y="1"/>
                      <a:pt x="32" y="1"/>
                    </a:cubicBezTo>
                    <a:cubicBezTo>
                      <a:pt x="32" y="1"/>
                      <a:pt x="32" y="2"/>
                      <a:pt x="32" y="2"/>
                    </a:cubicBezTo>
                    <a:cubicBezTo>
                      <a:pt x="31" y="2"/>
                      <a:pt x="31" y="2"/>
                      <a:pt x="31" y="2"/>
                    </a:cubicBezTo>
                    <a:cubicBezTo>
                      <a:pt x="29" y="2"/>
                      <a:pt x="28" y="3"/>
                      <a:pt x="29" y="5"/>
                    </a:cubicBezTo>
                    <a:cubicBezTo>
                      <a:pt x="30" y="6"/>
                      <a:pt x="29" y="6"/>
                      <a:pt x="29" y="7"/>
                    </a:cubicBezTo>
                    <a:cubicBezTo>
                      <a:pt x="29" y="8"/>
                      <a:pt x="30" y="9"/>
                      <a:pt x="30" y="9"/>
                    </a:cubicBezTo>
                    <a:cubicBezTo>
                      <a:pt x="31" y="10"/>
                      <a:pt x="29" y="9"/>
                      <a:pt x="29" y="9"/>
                    </a:cubicBezTo>
                    <a:cubicBezTo>
                      <a:pt x="29" y="9"/>
                      <a:pt x="29" y="9"/>
                      <a:pt x="28" y="9"/>
                    </a:cubicBezTo>
                    <a:cubicBezTo>
                      <a:pt x="28" y="8"/>
                      <a:pt x="28" y="8"/>
                      <a:pt x="28" y="8"/>
                    </a:cubicBezTo>
                    <a:cubicBezTo>
                      <a:pt x="27" y="8"/>
                      <a:pt x="27" y="8"/>
                      <a:pt x="27" y="8"/>
                    </a:cubicBezTo>
                    <a:cubicBezTo>
                      <a:pt x="26" y="8"/>
                      <a:pt x="26" y="8"/>
                      <a:pt x="25" y="8"/>
                    </a:cubicBezTo>
                    <a:cubicBezTo>
                      <a:pt x="24" y="8"/>
                      <a:pt x="24" y="8"/>
                      <a:pt x="23" y="7"/>
                    </a:cubicBezTo>
                    <a:cubicBezTo>
                      <a:pt x="23" y="7"/>
                      <a:pt x="22" y="7"/>
                      <a:pt x="21" y="7"/>
                    </a:cubicBezTo>
                    <a:cubicBezTo>
                      <a:pt x="20" y="6"/>
                      <a:pt x="20" y="6"/>
                      <a:pt x="19" y="6"/>
                    </a:cubicBezTo>
                    <a:cubicBezTo>
                      <a:pt x="18" y="5"/>
                      <a:pt x="18" y="6"/>
                      <a:pt x="17" y="6"/>
                    </a:cubicBezTo>
                    <a:cubicBezTo>
                      <a:pt x="16" y="6"/>
                      <a:pt x="15" y="5"/>
                      <a:pt x="14" y="5"/>
                    </a:cubicBezTo>
                    <a:cubicBezTo>
                      <a:pt x="14" y="5"/>
                      <a:pt x="14" y="5"/>
                      <a:pt x="13" y="5"/>
                    </a:cubicBezTo>
                    <a:cubicBezTo>
                      <a:pt x="13" y="5"/>
                      <a:pt x="13" y="6"/>
                      <a:pt x="13" y="6"/>
                    </a:cubicBezTo>
                    <a:cubicBezTo>
                      <a:pt x="12" y="6"/>
                      <a:pt x="11" y="5"/>
                      <a:pt x="11" y="5"/>
                    </a:cubicBezTo>
                    <a:cubicBezTo>
                      <a:pt x="11" y="5"/>
                      <a:pt x="11" y="6"/>
                      <a:pt x="10" y="6"/>
                    </a:cubicBezTo>
                    <a:cubicBezTo>
                      <a:pt x="10" y="6"/>
                      <a:pt x="9" y="6"/>
                      <a:pt x="9" y="7"/>
                    </a:cubicBezTo>
                    <a:cubicBezTo>
                      <a:pt x="9" y="7"/>
                      <a:pt x="9" y="7"/>
                      <a:pt x="9" y="7"/>
                    </a:cubicBezTo>
                    <a:cubicBezTo>
                      <a:pt x="9" y="7"/>
                      <a:pt x="8" y="8"/>
                      <a:pt x="8" y="8"/>
                    </a:cubicBezTo>
                    <a:cubicBezTo>
                      <a:pt x="8" y="8"/>
                      <a:pt x="9" y="9"/>
                      <a:pt x="9" y="9"/>
                    </a:cubicBezTo>
                    <a:cubicBezTo>
                      <a:pt x="8" y="9"/>
                      <a:pt x="8" y="9"/>
                      <a:pt x="8" y="9"/>
                    </a:cubicBezTo>
                    <a:cubicBezTo>
                      <a:pt x="8" y="9"/>
                      <a:pt x="8" y="10"/>
                      <a:pt x="8" y="10"/>
                    </a:cubicBezTo>
                    <a:cubicBezTo>
                      <a:pt x="8" y="10"/>
                      <a:pt x="7" y="10"/>
                      <a:pt x="7" y="11"/>
                    </a:cubicBezTo>
                    <a:cubicBezTo>
                      <a:pt x="8" y="11"/>
                      <a:pt x="8" y="11"/>
                      <a:pt x="9" y="11"/>
                    </a:cubicBezTo>
                    <a:cubicBezTo>
                      <a:pt x="9" y="10"/>
                      <a:pt x="10" y="11"/>
                      <a:pt x="10" y="11"/>
                    </a:cubicBezTo>
                    <a:cubicBezTo>
                      <a:pt x="10" y="11"/>
                      <a:pt x="11" y="12"/>
                      <a:pt x="11" y="12"/>
                    </a:cubicBezTo>
                    <a:cubicBezTo>
                      <a:pt x="12" y="12"/>
                      <a:pt x="9" y="14"/>
                      <a:pt x="9" y="14"/>
                    </a:cubicBezTo>
                    <a:cubicBezTo>
                      <a:pt x="8" y="14"/>
                      <a:pt x="8" y="15"/>
                      <a:pt x="8" y="15"/>
                    </a:cubicBezTo>
                    <a:cubicBezTo>
                      <a:pt x="8" y="15"/>
                      <a:pt x="7" y="15"/>
                      <a:pt x="7" y="15"/>
                    </a:cubicBezTo>
                    <a:cubicBezTo>
                      <a:pt x="6" y="16"/>
                      <a:pt x="6" y="16"/>
                      <a:pt x="6" y="17"/>
                    </a:cubicBezTo>
                    <a:cubicBezTo>
                      <a:pt x="5" y="18"/>
                      <a:pt x="5" y="18"/>
                      <a:pt x="4" y="18"/>
                    </a:cubicBezTo>
                    <a:cubicBezTo>
                      <a:pt x="4" y="18"/>
                      <a:pt x="3" y="19"/>
                      <a:pt x="4" y="19"/>
                    </a:cubicBezTo>
                    <a:cubicBezTo>
                      <a:pt x="4" y="20"/>
                      <a:pt x="5" y="19"/>
                      <a:pt x="5" y="20"/>
                    </a:cubicBezTo>
                    <a:cubicBezTo>
                      <a:pt x="6" y="20"/>
                      <a:pt x="7" y="21"/>
                      <a:pt x="7" y="20"/>
                    </a:cubicBezTo>
                    <a:cubicBezTo>
                      <a:pt x="8" y="20"/>
                      <a:pt x="8" y="20"/>
                      <a:pt x="9" y="20"/>
                    </a:cubicBezTo>
                    <a:cubicBezTo>
                      <a:pt x="9" y="21"/>
                      <a:pt x="9" y="21"/>
                      <a:pt x="10" y="22"/>
                    </a:cubicBezTo>
                    <a:cubicBezTo>
                      <a:pt x="10" y="22"/>
                      <a:pt x="11" y="22"/>
                      <a:pt x="11" y="23"/>
                    </a:cubicBezTo>
                    <a:cubicBezTo>
                      <a:pt x="11" y="23"/>
                      <a:pt x="12" y="23"/>
                      <a:pt x="13" y="23"/>
                    </a:cubicBezTo>
                    <a:cubicBezTo>
                      <a:pt x="13" y="23"/>
                      <a:pt x="14" y="23"/>
                      <a:pt x="14" y="24"/>
                    </a:cubicBezTo>
                    <a:cubicBezTo>
                      <a:pt x="13" y="23"/>
                      <a:pt x="14" y="22"/>
                      <a:pt x="14" y="23"/>
                    </a:cubicBezTo>
                    <a:cubicBezTo>
                      <a:pt x="15" y="24"/>
                      <a:pt x="15" y="23"/>
                      <a:pt x="15" y="23"/>
                    </a:cubicBezTo>
                    <a:cubicBezTo>
                      <a:pt x="16" y="24"/>
                      <a:pt x="15" y="21"/>
                      <a:pt x="15" y="21"/>
                    </a:cubicBezTo>
                    <a:cubicBezTo>
                      <a:pt x="16" y="21"/>
                      <a:pt x="16" y="22"/>
                      <a:pt x="17" y="21"/>
                    </a:cubicBezTo>
                    <a:cubicBezTo>
                      <a:pt x="17" y="21"/>
                      <a:pt x="17" y="20"/>
                      <a:pt x="17" y="20"/>
                    </a:cubicBezTo>
                    <a:cubicBezTo>
                      <a:pt x="17" y="20"/>
                      <a:pt x="16" y="19"/>
                      <a:pt x="17" y="19"/>
                    </a:cubicBezTo>
                    <a:cubicBezTo>
                      <a:pt x="18" y="19"/>
                      <a:pt x="17" y="20"/>
                      <a:pt x="17" y="20"/>
                    </a:cubicBezTo>
                    <a:cubicBezTo>
                      <a:pt x="17" y="20"/>
                      <a:pt x="18" y="20"/>
                      <a:pt x="18" y="20"/>
                    </a:cubicBezTo>
                    <a:cubicBezTo>
                      <a:pt x="18" y="20"/>
                      <a:pt x="19" y="21"/>
                      <a:pt x="19" y="22"/>
                    </a:cubicBezTo>
                    <a:cubicBezTo>
                      <a:pt x="20" y="22"/>
                      <a:pt x="20" y="23"/>
                      <a:pt x="20" y="23"/>
                    </a:cubicBezTo>
                    <a:cubicBezTo>
                      <a:pt x="20" y="23"/>
                      <a:pt x="21" y="23"/>
                      <a:pt x="21" y="23"/>
                    </a:cubicBezTo>
                    <a:cubicBezTo>
                      <a:pt x="21" y="23"/>
                      <a:pt x="22" y="22"/>
                      <a:pt x="23" y="23"/>
                    </a:cubicBezTo>
                    <a:cubicBezTo>
                      <a:pt x="23" y="23"/>
                      <a:pt x="23" y="24"/>
                      <a:pt x="23" y="25"/>
                    </a:cubicBezTo>
                    <a:cubicBezTo>
                      <a:pt x="23" y="25"/>
                      <a:pt x="24" y="25"/>
                      <a:pt x="24" y="25"/>
                    </a:cubicBezTo>
                    <a:cubicBezTo>
                      <a:pt x="24" y="24"/>
                      <a:pt x="24" y="24"/>
                      <a:pt x="24" y="24"/>
                    </a:cubicBezTo>
                    <a:cubicBezTo>
                      <a:pt x="24" y="24"/>
                      <a:pt x="25" y="25"/>
                      <a:pt x="26" y="25"/>
                    </a:cubicBezTo>
                    <a:cubicBezTo>
                      <a:pt x="26" y="25"/>
                      <a:pt x="27" y="25"/>
                      <a:pt x="27" y="26"/>
                    </a:cubicBezTo>
                    <a:cubicBezTo>
                      <a:pt x="27" y="27"/>
                      <a:pt x="29" y="26"/>
                      <a:pt x="29" y="26"/>
                    </a:cubicBezTo>
                    <a:cubicBezTo>
                      <a:pt x="30" y="26"/>
                      <a:pt x="30" y="27"/>
                      <a:pt x="30" y="27"/>
                    </a:cubicBezTo>
                    <a:cubicBezTo>
                      <a:pt x="31" y="26"/>
                      <a:pt x="31" y="27"/>
                      <a:pt x="32" y="27"/>
                    </a:cubicBezTo>
                    <a:cubicBezTo>
                      <a:pt x="32" y="27"/>
                      <a:pt x="32" y="27"/>
                      <a:pt x="32" y="27"/>
                    </a:cubicBezTo>
                    <a:cubicBezTo>
                      <a:pt x="31" y="28"/>
                      <a:pt x="31" y="28"/>
                      <a:pt x="30" y="28"/>
                    </a:cubicBezTo>
                    <a:cubicBezTo>
                      <a:pt x="30" y="28"/>
                      <a:pt x="29" y="29"/>
                      <a:pt x="29" y="29"/>
                    </a:cubicBezTo>
                    <a:cubicBezTo>
                      <a:pt x="29" y="30"/>
                      <a:pt x="29" y="29"/>
                      <a:pt x="29" y="30"/>
                    </a:cubicBezTo>
                    <a:cubicBezTo>
                      <a:pt x="29" y="31"/>
                      <a:pt x="27" y="29"/>
                      <a:pt x="26" y="29"/>
                    </a:cubicBezTo>
                    <a:cubicBezTo>
                      <a:pt x="26" y="29"/>
                      <a:pt x="26" y="30"/>
                      <a:pt x="26" y="30"/>
                    </a:cubicBezTo>
                    <a:cubicBezTo>
                      <a:pt x="26" y="31"/>
                      <a:pt x="27" y="31"/>
                      <a:pt x="27" y="31"/>
                    </a:cubicBezTo>
                    <a:cubicBezTo>
                      <a:pt x="27" y="32"/>
                      <a:pt x="26" y="31"/>
                      <a:pt x="25" y="31"/>
                    </a:cubicBezTo>
                    <a:cubicBezTo>
                      <a:pt x="25" y="31"/>
                      <a:pt x="25" y="31"/>
                      <a:pt x="25" y="31"/>
                    </a:cubicBezTo>
                    <a:cubicBezTo>
                      <a:pt x="25" y="31"/>
                      <a:pt x="24" y="31"/>
                      <a:pt x="24" y="31"/>
                    </a:cubicBezTo>
                    <a:cubicBezTo>
                      <a:pt x="24" y="31"/>
                      <a:pt x="24" y="32"/>
                      <a:pt x="24" y="32"/>
                    </a:cubicBezTo>
                    <a:cubicBezTo>
                      <a:pt x="24" y="32"/>
                      <a:pt x="23" y="32"/>
                      <a:pt x="23" y="32"/>
                    </a:cubicBezTo>
                    <a:cubicBezTo>
                      <a:pt x="23" y="33"/>
                      <a:pt x="24" y="33"/>
                      <a:pt x="24" y="33"/>
                    </a:cubicBezTo>
                    <a:cubicBezTo>
                      <a:pt x="24" y="34"/>
                      <a:pt x="22" y="33"/>
                      <a:pt x="22" y="33"/>
                    </a:cubicBezTo>
                    <a:cubicBezTo>
                      <a:pt x="22" y="34"/>
                      <a:pt x="22" y="34"/>
                      <a:pt x="21" y="34"/>
                    </a:cubicBezTo>
                    <a:cubicBezTo>
                      <a:pt x="21" y="34"/>
                      <a:pt x="21" y="33"/>
                      <a:pt x="21" y="33"/>
                    </a:cubicBezTo>
                    <a:cubicBezTo>
                      <a:pt x="20" y="33"/>
                      <a:pt x="20" y="34"/>
                      <a:pt x="19" y="33"/>
                    </a:cubicBezTo>
                    <a:cubicBezTo>
                      <a:pt x="19" y="33"/>
                      <a:pt x="17" y="32"/>
                      <a:pt x="17" y="32"/>
                    </a:cubicBezTo>
                    <a:cubicBezTo>
                      <a:pt x="16" y="33"/>
                      <a:pt x="15" y="32"/>
                      <a:pt x="15" y="33"/>
                    </a:cubicBezTo>
                    <a:cubicBezTo>
                      <a:pt x="14" y="33"/>
                      <a:pt x="15" y="34"/>
                      <a:pt x="14" y="34"/>
                    </a:cubicBezTo>
                    <a:cubicBezTo>
                      <a:pt x="13" y="34"/>
                      <a:pt x="13" y="34"/>
                      <a:pt x="12" y="35"/>
                    </a:cubicBezTo>
                    <a:cubicBezTo>
                      <a:pt x="12" y="35"/>
                      <a:pt x="12" y="36"/>
                      <a:pt x="12" y="36"/>
                    </a:cubicBezTo>
                    <a:cubicBezTo>
                      <a:pt x="11" y="36"/>
                      <a:pt x="11" y="37"/>
                      <a:pt x="11" y="37"/>
                    </a:cubicBezTo>
                    <a:cubicBezTo>
                      <a:pt x="11" y="36"/>
                      <a:pt x="12" y="36"/>
                      <a:pt x="11" y="35"/>
                    </a:cubicBezTo>
                    <a:cubicBezTo>
                      <a:pt x="11" y="35"/>
                      <a:pt x="10" y="35"/>
                      <a:pt x="9" y="35"/>
                    </a:cubicBezTo>
                    <a:cubicBezTo>
                      <a:pt x="9" y="35"/>
                      <a:pt x="9" y="35"/>
                      <a:pt x="8" y="34"/>
                    </a:cubicBezTo>
                    <a:cubicBezTo>
                      <a:pt x="8" y="34"/>
                      <a:pt x="8" y="34"/>
                      <a:pt x="7" y="34"/>
                    </a:cubicBezTo>
                    <a:cubicBezTo>
                      <a:pt x="6" y="34"/>
                      <a:pt x="6" y="33"/>
                      <a:pt x="5" y="34"/>
                    </a:cubicBezTo>
                    <a:cubicBezTo>
                      <a:pt x="5" y="34"/>
                      <a:pt x="4" y="34"/>
                      <a:pt x="4" y="34"/>
                    </a:cubicBezTo>
                    <a:cubicBezTo>
                      <a:pt x="4" y="34"/>
                      <a:pt x="2" y="35"/>
                      <a:pt x="2" y="35"/>
                    </a:cubicBezTo>
                    <a:cubicBezTo>
                      <a:pt x="2" y="35"/>
                      <a:pt x="2" y="36"/>
                      <a:pt x="2" y="36"/>
                    </a:cubicBezTo>
                    <a:cubicBezTo>
                      <a:pt x="2" y="36"/>
                      <a:pt x="2" y="37"/>
                      <a:pt x="1" y="37"/>
                    </a:cubicBezTo>
                    <a:cubicBezTo>
                      <a:pt x="1" y="37"/>
                      <a:pt x="1" y="36"/>
                      <a:pt x="0" y="36"/>
                    </a:cubicBezTo>
                    <a:cubicBezTo>
                      <a:pt x="0" y="36"/>
                      <a:pt x="0" y="37"/>
                      <a:pt x="0" y="37"/>
                    </a:cubicBezTo>
                    <a:cubicBezTo>
                      <a:pt x="0" y="38"/>
                      <a:pt x="0" y="39"/>
                      <a:pt x="1" y="39"/>
                    </a:cubicBezTo>
                    <a:cubicBezTo>
                      <a:pt x="1" y="39"/>
                      <a:pt x="1" y="40"/>
                      <a:pt x="1" y="41"/>
                    </a:cubicBezTo>
                    <a:cubicBezTo>
                      <a:pt x="1" y="41"/>
                      <a:pt x="2" y="41"/>
                      <a:pt x="2" y="41"/>
                    </a:cubicBezTo>
                    <a:cubicBezTo>
                      <a:pt x="3" y="41"/>
                      <a:pt x="3" y="41"/>
                      <a:pt x="4" y="41"/>
                    </a:cubicBezTo>
                    <a:cubicBezTo>
                      <a:pt x="5" y="40"/>
                      <a:pt x="5" y="40"/>
                      <a:pt x="6" y="41"/>
                    </a:cubicBezTo>
                    <a:cubicBezTo>
                      <a:pt x="7" y="41"/>
                      <a:pt x="7" y="41"/>
                      <a:pt x="8" y="41"/>
                    </a:cubicBezTo>
                    <a:cubicBezTo>
                      <a:pt x="8" y="40"/>
                      <a:pt x="9" y="41"/>
                      <a:pt x="9" y="41"/>
                    </a:cubicBezTo>
                    <a:cubicBezTo>
                      <a:pt x="9" y="40"/>
                      <a:pt x="9" y="40"/>
                      <a:pt x="10" y="40"/>
                    </a:cubicBezTo>
                    <a:cubicBezTo>
                      <a:pt x="10" y="41"/>
                      <a:pt x="10" y="41"/>
                      <a:pt x="11" y="40"/>
                    </a:cubicBezTo>
                    <a:cubicBezTo>
                      <a:pt x="11" y="40"/>
                      <a:pt x="12" y="40"/>
                      <a:pt x="13" y="40"/>
                    </a:cubicBezTo>
                    <a:cubicBezTo>
                      <a:pt x="13" y="41"/>
                      <a:pt x="13" y="41"/>
                      <a:pt x="14" y="41"/>
                    </a:cubicBezTo>
                    <a:cubicBezTo>
                      <a:pt x="14" y="42"/>
                      <a:pt x="14" y="42"/>
                      <a:pt x="15" y="42"/>
                    </a:cubicBezTo>
                    <a:cubicBezTo>
                      <a:pt x="15" y="43"/>
                      <a:pt x="15" y="42"/>
                      <a:pt x="16" y="42"/>
                    </a:cubicBezTo>
                    <a:cubicBezTo>
                      <a:pt x="16" y="42"/>
                      <a:pt x="16" y="42"/>
                      <a:pt x="16" y="42"/>
                    </a:cubicBezTo>
                    <a:cubicBezTo>
                      <a:pt x="17" y="42"/>
                      <a:pt x="17" y="43"/>
                      <a:pt x="17" y="42"/>
                    </a:cubicBezTo>
                    <a:cubicBezTo>
                      <a:pt x="17" y="41"/>
                      <a:pt x="17" y="41"/>
                      <a:pt x="18" y="41"/>
                    </a:cubicBezTo>
                    <a:cubicBezTo>
                      <a:pt x="19" y="41"/>
                      <a:pt x="19" y="41"/>
                      <a:pt x="19" y="41"/>
                    </a:cubicBezTo>
                    <a:cubicBezTo>
                      <a:pt x="20" y="40"/>
                      <a:pt x="21" y="40"/>
                      <a:pt x="21" y="41"/>
                    </a:cubicBezTo>
                    <a:cubicBezTo>
                      <a:pt x="21" y="41"/>
                      <a:pt x="21" y="41"/>
                      <a:pt x="22" y="42"/>
                    </a:cubicBezTo>
                    <a:cubicBezTo>
                      <a:pt x="22" y="42"/>
                      <a:pt x="24" y="41"/>
                      <a:pt x="24" y="43"/>
                    </a:cubicBezTo>
                    <a:cubicBezTo>
                      <a:pt x="23" y="45"/>
                      <a:pt x="26" y="43"/>
                      <a:pt x="26" y="43"/>
                    </a:cubicBezTo>
                    <a:cubicBezTo>
                      <a:pt x="27" y="43"/>
                      <a:pt x="27" y="43"/>
                      <a:pt x="27" y="44"/>
                    </a:cubicBezTo>
                    <a:cubicBezTo>
                      <a:pt x="28" y="44"/>
                      <a:pt x="28" y="44"/>
                      <a:pt x="28" y="44"/>
                    </a:cubicBezTo>
                    <a:cubicBezTo>
                      <a:pt x="28" y="44"/>
                      <a:pt x="28" y="45"/>
                      <a:pt x="29" y="45"/>
                    </a:cubicBezTo>
                    <a:cubicBezTo>
                      <a:pt x="29" y="44"/>
                      <a:pt x="29" y="43"/>
                      <a:pt x="30" y="43"/>
                    </a:cubicBezTo>
                    <a:cubicBezTo>
                      <a:pt x="30" y="43"/>
                      <a:pt x="31" y="43"/>
                      <a:pt x="32" y="43"/>
                    </a:cubicBezTo>
                    <a:cubicBezTo>
                      <a:pt x="32" y="42"/>
                      <a:pt x="33" y="43"/>
                      <a:pt x="34" y="43"/>
                    </a:cubicBezTo>
                    <a:cubicBezTo>
                      <a:pt x="34" y="43"/>
                      <a:pt x="35" y="43"/>
                      <a:pt x="35" y="43"/>
                    </a:cubicBezTo>
                    <a:cubicBezTo>
                      <a:pt x="36" y="43"/>
                      <a:pt x="36" y="43"/>
                      <a:pt x="36" y="43"/>
                    </a:cubicBezTo>
                    <a:cubicBezTo>
                      <a:pt x="36" y="43"/>
                      <a:pt x="38" y="43"/>
                      <a:pt x="38" y="42"/>
                    </a:cubicBezTo>
                    <a:cubicBezTo>
                      <a:pt x="38" y="42"/>
                      <a:pt x="39" y="42"/>
                      <a:pt x="40" y="42"/>
                    </a:cubicBezTo>
                    <a:cubicBezTo>
                      <a:pt x="40" y="42"/>
                      <a:pt x="41" y="42"/>
                      <a:pt x="42" y="42"/>
                    </a:cubicBezTo>
                    <a:cubicBezTo>
                      <a:pt x="42" y="42"/>
                      <a:pt x="42" y="41"/>
                      <a:pt x="42" y="41"/>
                    </a:cubicBezTo>
                    <a:cubicBezTo>
                      <a:pt x="43" y="40"/>
                      <a:pt x="43" y="40"/>
                      <a:pt x="42" y="39"/>
                    </a:cubicBezTo>
                    <a:cubicBezTo>
                      <a:pt x="42" y="39"/>
                      <a:pt x="41" y="39"/>
                      <a:pt x="41" y="38"/>
                    </a:cubicBezTo>
                    <a:cubicBezTo>
                      <a:pt x="41" y="38"/>
                      <a:pt x="41" y="38"/>
                      <a:pt x="42" y="37"/>
                    </a:cubicBezTo>
                    <a:cubicBezTo>
                      <a:pt x="42" y="37"/>
                      <a:pt x="42" y="36"/>
                      <a:pt x="42" y="36"/>
                    </a:cubicBezTo>
                    <a:cubicBezTo>
                      <a:pt x="42" y="35"/>
                      <a:pt x="42" y="35"/>
                      <a:pt x="42" y="35"/>
                    </a:cubicBezTo>
                    <a:cubicBezTo>
                      <a:pt x="43" y="35"/>
                      <a:pt x="44" y="35"/>
                      <a:pt x="45" y="35"/>
                    </a:cubicBezTo>
                    <a:cubicBezTo>
                      <a:pt x="46" y="35"/>
                      <a:pt x="46" y="34"/>
                      <a:pt x="47" y="33"/>
                    </a:cubicBezTo>
                    <a:cubicBezTo>
                      <a:pt x="47" y="33"/>
                      <a:pt x="47" y="32"/>
                      <a:pt x="48" y="32"/>
                    </a:cubicBezTo>
                    <a:cubicBezTo>
                      <a:pt x="49" y="32"/>
                      <a:pt x="49" y="32"/>
                      <a:pt x="49" y="32"/>
                    </a:cubicBezTo>
                    <a:cubicBezTo>
                      <a:pt x="48" y="31"/>
                      <a:pt x="48" y="31"/>
                      <a:pt x="48" y="30"/>
                    </a:cubicBezTo>
                    <a:cubicBezTo>
                      <a:pt x="48" y="30"/>
                      <a:pt x="49" y="30"/>
                      <a:pt x="49" y="31"/>
                    </a:cubicBezTo>
                    <a:cubicBezTo>
                      <a:pt x="50" y="31"/>
                      <a:pt x="50" y="31"/>
                      <a:pt x="51" y="31"/>
                    </a:cubicBezTo>
                    <a:cubicBezTo>
                      <a:pt x="52" y="31"/>
                      <a:pt x="52" y="31"/>
                      <a:pt x="52" y="31"/>
                    </a:cubicBezTo>
                    <a:cubicBezTo>
                      <a:pt x="53" y="30"/>
                      <a:pt x="54" y="28"/>
                      <a:pt x="55" y="29"/>
                    </a:cubicBezTo>
                    <a:cubicBezTo>
                      <a:pt x="55" y="30"/>
                      <a:pt x="55" y="30"/>
                      <a:pt x="55" y="31"/>
                    </a:cubicBezTo>
                    <a:cubicBezTo>
                      <a:pt x="56" y="31"/>
                      <a:pt x="56" y="31"/>
                      <a:pt x="56" y="32"/>
                    </a:cubicBezTo>
                    <a:cubicBezTo>
                      <a:pt x="56" y="33"/>
                      <a:pt x="58" y="33"/>
                      <a:pt x="59" y="32"/>
                    </a:cubicBezTo>
                    <a:cubicBezTo>
                      <a:pt x="59" y="31"/>
                      <a:pt x="60" y="31"/>
                      <a:pt x="60" y="32"/>
                    </a:cubicBezTo>
                    <a:cubicBezTo>
                      <a:pt x="61" y="32"/>
                      <a:pt x="61" y="31"/>
                      <a:pt x="61" y="31"/>
                    </a:cubicBezTo>
                    <a:cubicBezTo>
                      <a:pt x="62" y="31"/>
                      <a:pt x="62" y="32"/>
                      <a:pt x="62" y="32"/>
                    </a:cubicBezTo>
                    <a:cubicBezTo>
                      <a:pt x="63" y="32"/>
                      <a:pt x="63" y="31"/>
                      <a:pt x="63" y="31"/>
                    </a:cubicBezTo>
                    <a:cubicBezTo>
                      <a:pt x="63" y="30"/>
                      <a:pt x="64" y="29"/>
                      <a:pt x="64" y="29"/>
                    </a:cubicBezTo>
                    <a:cubicBezTo>
                      <a:pt x="64" y="28"/>
                      <a:pt x="63" y="27"/>
                      <a:pt x="64" y="27"/>
                    </a:cubicBezTo>
                    <a:cubicBezTo>
                      <a:pt x="65" y="26"/>
                      <a:pt x="64" y="26"/>
                      <a:pt x="64" y="25"/>
                    </a:cubicBezTo>
                    <a:cubicBezTo>
                      <a:pt x="65" y="25"/>
                      <a:pt x="65" y="24"/>
                      <a:pt x="66" y="24"/>
                    </a:cubicBezTo>
                    <a:cubicBezTo>
                      <a:pt x="66" y="25"/>
                      <a:pt x="67" y="25"/>
                      <a:pt x="67" y="25"/>
                    </a:cubicBezTo>
                    <a:cubicBezTo>
                      <a:pt x="68" y="25"/>
                      <a:pt x="70" y="25"/>
                      <a:pt x="71" y="25"/>
                    </a:cubicBezTo>
                    <a:cubicBezTo>
                      <a:pt x="72" y="25"/>
                      <a:pt x="72" y="25"/>
                      <a:pt x="73" y="24"/>
                    </a:cubicBezTo>
                    <a:cubicBezTo>
                      <a:pt x="74" y="24"/>
                      <a:pt x="74" y="24"/>
                      <a:pt x="75" y="24"/>
                    </a:cubicBezTo>
                    <a:cubicBezTo>
                      <a:pt x="75" y="25"/>
                      <a:pt x="76" y="24"/>
                      <a:pt x="76" y="24"/>
                    </a:cubicBezTo>
                    <a:cubicBezTo>
                      <a:pt x="76" y="23"/>
                      <a:pt x="77" y="22"/>
                      <a:pt x="77" y="22"/>
                    </a:cubicBezTo>
                    <a:cubicBezTo>
                      <a:pt x="77" y="21"/>
                      <a:pt x="77" y="21"/>
                      <a:pt x="77" y="20"/>
                    </a:cubicBezTo>
                    <a:cubicBezTo>
                      <a:pt x="78" y="20"/>
                      <a:pt x="78" y="20"/>
                      <a:pt x="79" y="20"/>
                    </a:cubicBezTo>
                    <a:cubicBezTo>
                      <a:pt x="79" y="20"/>
                      <a:pt x="79" y="19"/>
                      <a:pt x="79" y="19"/>
                    </a:cubicBezTo>
                    <a:cubicBezTo>
                      <a:pt x="79" y="19"/>
                      <a:pt x="80" y="19"/>
                      <a:pt x="80" y="19"/>
                    </a:cubicBezTo>
                    <a:cubicBezTo>
                      <a:pt x="81" y="18"/>
                      <a:pt x="81" y="18"/>
                      <a:pt x="82" y="17"/>
                    </a:cubicBezTo>
                    <a:cubicBezTo>
                      <a:pt x="82" y="17"/>
                      <a:pt x="83" y="17"/>
                      <a:pt x="83" y="17"/>
                    </a:cubicBezTo>
                    <a:cubicBezTo>
                      <a:pt x="83" y="17"/>
                      <a:pt x="83" y="16"/>
                      <a:pt x="84" y="16"/>
                    </a:cubicBezTo>
                    <a:cubicBezTo>
                      <a:pt x="84" y="16"/>
                      <a:pt x="84" y="16"/>
                      <a:pt x="85" y="16"/>
                    </a:cubicBezTo>
                    <a:cubicBezTo>
                      <a:pt x="85" y="16"/>
                      <a:pt x="85" y="16"/>
                      <a:pt x="85" y="16"/>
                    </a:cubicBezTo>
                    <a:cubicBezTo>
                      <a:pt x="86" y="16"/>
                      <a:pt x="86" y="15"/>
                      <a:pt x="87" y="15"/>
                    </a:cubicBezTo>
                    <a:cubicBezTo>
                      <a:pt x="88" y="15"/>
                      <a:pt x="88" y="15"/>
                      <a:pt x="88" y="14"/>
                    </a:cubicBezTo>
                    <a:cubicBezTo>
                      <a:pt x="88" y="13"/>
                      <a:pt x="92" y="14"/>
                      <a:pt x="91" y="13"/>
                    </a:cubicBezTo>
                    <a:cubicBezTo>
                      <a:pt x="91" y="12"/>
                      <a:pt x="90" y="11"/>
                      <a:pt x="89" y="11"/>
                    </a:cubicBezTo>
                    <a:close/>
                    <a:moveTo>
                      <a:pt x="13" y="38"/>
                    </a:moveTo>
                    <a:cubicBezTo>
                      <a:pt x="12" y="38"/>
                      <a:pt x="12" y="38"/>
                      <a:pt x="12" y="38"/>
                    </a:cubicBezTo>
                    <a:cubicBezTo>
                      <a:pt x="12" y="38"/>
                      <a:pt x="11" y="37"/>
                      <a:pt x="11" y="37"/>
                    </a:cubicBezTo>
                    <a:cubicBezTo>
                      <a:pt x="12" y="37"/>
                      <a:pt x="14" y="37"/>
                      <a:pt x="13" y="38"/>
                    </a:cubicBezTo>
                    <a:close/>
                    <a:moveTo>
                      <a:pt x="17" y="37"/>
                    </a:moveTo>
                    <a:cubicBezTo>
                      <a:pt x="17" y="37"/>
                      <a:pt x="17" y="37"/>
                      <a:pt x="16" y="37"/>
                    </a:cubicBezTo>
                    <a:cubicBezTo>
                      <a:pt x="16" y="37"/>
                      <a:pt x="16" y="37"/>
                      <a:pt x="16" y="37"/>
                    </a:cubicBezTo>
                    <a:cubicBezTo>
                      <a:pt x="16" y="37"/>
                      <a:pt x="16" y="36"/>
                      <a:pt x="16" y="36"/>
                    </a:cubicBezTo>
                    <a:cubicBezTo>
                      <a:pt x="15" y="35"/>
                      <a:pt x="15" y="35"/>
                      <a:pt x="15" y="35"/>
                    </a:cubicBezTo>
                    <a:cubicBezTo>
                      <a:pt x="15" y="34"/>
                      <a:pt x="15" y="34"/>
                      <a:pt x="15" y="34"/>
                    </a:cubicBezTo>
                    <a:cubicBezTo>
                      <a:pt x="16" y="35"/>
                      <a:pt x="16" y="35"/>
                      <a:pt x="16" y="35"/>
                    </a:cubicBezTo>
                    <a:cubicBezTo>
                      <a:pt x="17" y="35"/>
                      <a:pt x="17" y="35"/>
                      <a:pt x="17" y="35"/>
                    </a:cubicBezTo>
                    <a:cubicBezTo>
                      <a:pt x="16" y="36"/>
                      <a:pt x="18" y="37"/>
                      <a:pt x="17" y="37"/>
                    </a:cubicBezTo>
                    <a:close/>
                    <a:moveTo>
                      <a:pt x="22" y="37"/>
                    </a:moveTo>
                    <a:cubicBezTo>
                      <a:pt x="22" y="37"/>
                      <a:pt x="21" y="37"/>
                      <a:pt x="22" y="36"/>
                    </a:cubicBezTo>
                    <a:cubicBezTo>
                      <a:pt x="22" y="36"/>
                      <a:pt x="23" y="36"/>
                      <a:pt x="22" y="3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5" name="Kuwait">
                <a:extLst>
                  <a:ext uri="{FF2B5EF4-FFF2-40B4-BE49-F238E27FC236}">
                    <a16:creationId xmlns:a16="http://schemas.microsoft.com/office/drawing/2014/main" id="{AAB315EF-23EE-260F-244E-AA129A6F3220}"/>
                  </a:ext>
                </a:extLst>
              </p:cNvPr>
              <p:cNvSpPr>
                <a:spLocks noEditPoints="1"/>
              </p:cNvSpPr>
              <p:nvPr/>
            </p:nvSpPr>
            <p:spPr bwMode="auto">
              <a:xfrm>
                <a:off x="7248284" y="2871094"/>
                <a:ext cx="63711" cy="63711"/>
              </a:xfrm>
              <a:custGeom>
                <a:avLst/>
                <a:gdLst/>
                <a:ahLst/>
                <a:cxnLst>
                  <a:cxn ang="0">
                    <a:pos x="14" y="3"/>
                  </a:cxn>
                  <a:cxn ang="0">
                    <a:pos x="14" y="2"/>
                  </a:cxn>
                  <a:cxn ang="0">
                    <a:pos x="15" y="2"/>
                  </a:cxn>
                  <a:cxn ang="0">
                    <a:pos x="16" y="4"/>
                  </a:cxn>
                  <a:cxn ang="0">
                    <a:pos x="16" y="5"/>
                  </a:cxn>
                  <a:cxn ang="0">
                    <a:pos x="15" y="6"/>
                  </a:cxn>
                  <a:cxn ang="0">
                    <a:pos x="14" y="4"/>
                  </a:cxn>
                  <a:cxn ang="0">
                    <a:pos x="14" y="3"/>
                  </a:cxn>
                  <a:cxn ang="0">
                    <a:pos x="18" y="16"/>
                  </a:cxn>
                  <a:cxn ang="0">
                    <a:pos x="17" y="16"/>
                  </a:cxn>
                  <a:cxn ang="0">
                    <a:pos x="18" y="16"/>
                  </a:cxn>
                  <a:cxn ang="0">
                    <a:pos x="17" y="15"/>
                  </a:cxn>
                  <a:cxn ang="0">
                    <a:pos x="16" y="14"/>
                  </a:cxn>
                  <a:cxn ang="0">
                    <a:pos x="15" y="13"/>
                  </a:cxn>
                  <a:cxn ang="0">
                    <a:pos x="15" y="12"/>
                  </a:cxn>
                  <a:cxn ang="0">
                    <a:pos x="14" y="10"/>
                  </a:cxn>
                  <a:cxn ang="0">
                    <a:pos x="14" y="9"/>
                  </a:cxn>
                  <a:cxn ang="0">
                    <a:pos x="13" y="9"/>
                  </a:cxn>
                  <a:cxn ang="0">
                    <a:pos x="13" y="9"/>
                  </a:cxn>
                  <a:cxn ang="0">
                    <a:pos x="12" y="9"/>
                  </a:cxn>
                  <a:cxn ang="0">
                    <a:pos x="12" y="8"/>
                  </a:cxn>
                  <a:cxn ang="0">
                    <a:pos x="10" y="8"/>
                  </a:cxn>
                  <a:cxn ang="0">
                    <a:pos x="12" y="7"/>
                  </a:cxn>
                  <a:cxn ang="0">
                    <a:pos x="13" y="6"/>
                  </a:cxn>
                  <a:cxn ang="0">
                    <a:pos x="15" y="6"/>
                  </a:cxn>
                  <a:cxn ang="0">
                    <a:pos x="14" y="5"/>
                  </a:cxn>
                  <a:cxn ang="0">
                    <a:pos x="13" y="3"/>
                  </a:cxn>
                  <a:cxn ang="0">
                    <a:pos x="12" y="1"/>
                  </a:cxn>
                  <a:cxn ang="0">
                    <a:pos x="10" y="0"/>
                  </a:cxn>
                  <a:cxn ang="0">
                    <a:pos x="8" y="0"/>
                  </a:cxn>
                  <a:cxn ang="0">
                    <a:pos x="5" y="1"/>
                  </a:cxn>
                  <a:cxn ang="0">
                    <a:pos x="4" y="4"/>
                  </a:cxn>
                  <a:cxn ang="0">
                    <a:pos x="3" y="6"/>
                  </a:cxn>
                  <a:cxn ang="0">
                    <a:pos x="2" y="9"/>
                  </a:cxn>
                  <a:cxn ang="0">
                    <a:pos x="0" y="11"/>
                  </a:cxn>
                  <a:cxn ang="0">
                    <a:pos x="6" y="12"/>
                  </a:cxn>
                  <a:cxn ang="0">
                    <a:pos x="8" y="13"/>
                  </a:cxn>
                  <a:cxn ang="0">
                    <a:pos x="10" y="14"/>
                  </a:cxn>
                  <a:cxn ang="0">
                    <a:pos x="12" y="18"/>
                  </a:cxn>
                  <a:cxn ang="0">
                    <a:pos x="16" y="18"/>
                  </a:cxn>
                  <a:cxn ang="0">
                    <a:pos x="18" y="18"/>
                  </a:cxn>
                  <a:cxn ang="0">
                    <a:pos x="18" y="16"/>
                  </a:cxn>
                </a:cxnLst>
                <a:rect l="0" t="0" r="r" b="b"/>
                <a:pathLst>
                  <a:path w="18" h="18">
                    <a:moveTo>
                      <a:pt x="14" y="3"/>
                    </a:moveTo>
                    <a:cubicBezTo>
                      <a:pt x="14" y="3"/>
                      <a:pt x="15" y="3"/>
                      <a:pt x="14" y="2"/>
                    </a:cubicBezTo>
                    <a:cubicBezTo>
                      <a:pt x="13" y="2"/>
                      <a:pt x="14" y="1"/>
                      <a:pt x="15" y="2"/>
                    </a:cubicBezTo>
                    <a:cubicBezTo>
                      <a:pt x="15" y="3"/>
                      <a:pt x="16" y="3"/>
                      <a:pt x="16" y="4"/>
                    </a:cubicBezTo>
                    <a:cubicBezTo>
                      <a:pt x="16" y="4"/>
                      <a:pt x="16" y="5"/>
                      <a:pt x="16" y="5"/>
                    </a:cubicBezTo>
                    <a:cubicBezTo>
                      <a:pt x="16" y="5"/>
                      <a:pt x="16" y="6"/>
                      <a:pt x="15" y="6"/>
                    </a:cubicBezTo>
                    <a:cubicBezTo>
                      <a:pt x="14" y="6"/>
                      <a:pt x="14" y="5"/>
                      <a:pt x="14" y="4"/>
                    </a:cubicBezTo>
                    <a:cubicBezTo>
                      <a:pt x="13" y="4"/>
                      <a:pt x="14" y="3"/>
                      <a:pt x="14" y="3"/>
                    </a:cubicBezTo>
                    <a:close/>
                    <a:moveTo>
                      <a:pt x="18" y="16"/>
                    </a:moveTo>
                    <a:cubicBezTo>
                      <a:pt x="18" y="17"/>
                      <a:pt x="17" y="17"/>
                      <a:pt x="17" y="16"/>
                    </a:cubicBezTo>
                    <a:cubicBezTo>
                      <a:pt x="17" y="16"/>
                      <a:pt x="18" y="16"/>
                      <a:pt x="18" y="16"/>
                    </a:cubicBezTo>
                    <a:cubicBezTo>
                      <a:pt x="17" y="15"/>
                      <a:pt x="17" y="15"/>
                      <a:pt x="17" y="15"/>
                    </a:cubicBezTo>
                    <a:cubicBezTo>
                      <a:pt x="17" y="15"/>
                      <a:pt x="17" y="14"/>
                      <a:pt x="16" y="14"/>
                    </a:cubicBezTo>
                    <a:cubicBezTo>
                      <a:pt x="16" y="13"/>
                      <a:pt x="16" y="13"/>
                      <a:pt x="15" y="13"/>
                    </a:cubicBezTo>
                    <a:cubicBezTo>
                      <a:pt x="15" y="12"/>
                      <a:pt x="15" y="12"/>
                      <a:pt x="15" y="12"/>
                    </a:cubicBezTo>
                    <a:cubicBezTo>
                      <a:pt x="15" y="11"/>
                      <a:pt x="14" y="11"/>
                      <a:pt x="14" y="10"/>
                    </a:cubicBezTo>
                    <a:cubicBezTo>
                      <a:pt x="14" y="10"/>
                      <a:pt x="14" y="9"/>
                      <a:pt x="14" y="9"/>
                    </a:cubicBezTo>
                    <a:cubicBezTo>
                      <a:pt x="14" y="9"/>
                      <a:pt x="13" y="8"/>
                      <a:pt x="13" y="9"/>
                    </a:cubicBezTo>
                    <a:cubicBezTo>
                      <a:pt x="13" y="8"/>
                      <a:pt x="13" y="8"/>
                      <a:pt x="13" y="9"/>
                    </a:cubicBezTo>
                    <a:cubicBezTo>
                      <a:pt x="12" y="9"/>
                      <a:pt x="12" y="9"/>
                      <a:pt x="12" y="9"/>
                    </a:cubicBezTo>
                    <a:cubicBezTo>
                      <a:pt x="11" y="9"/>
                      <a:pt x="12" y="8"/>
                      <a:pt x="12" y="8"/>
                    </a:cubicBezTo>
                    <a:cubicBezTo>
                      <a:pt x="12" y="8"/>
                      <a:pt x="10" y="8"/>
                      <a:pt x="10" y="8"/>
                    </a:cubicBezTo>
                    <a:cubicBezTo>
                      <a:pt x="11" y="8"/>
                      <a:pt x="11" y="7"/>
                      <a:pt x="12" y="7"/>
                    </a:cubicBezTo>
                    <a:cubicBezTo>
                      <a:pt x="12" y="6"/>
                      <a:pt x="13" y="5"/>
                      <a:pt x="13" y="6"/>
                    </a:cubicBezTo>
                    <a:cubicBezTo>
                      <a:pt x="13" y="6"/>
                      <a:pt x="14" y="7"/>
                      <a:pt x="15" y="6"/>
                    </a:cubicBezTo>
                    <a:cubicBezTo>
                      <a:pt x="15" y="6"/>
                      <a:pt x="14" y="5"/>
                      <a:pt x="14" y="5"/>
                    </a:cubicBezTo>
                    <a:cubicBezTo>
                      <a:pt x="13" y="4"/>
                      <a:pt x="13" y="4"/>
                      <a:pt x="13" y="3"/>
                    </a:cubicBezTo>
                    <a:cubicBezTo>
                      <a:pt x="13" y="3"/>
                      <a:pt x="13" y="2"/>
                      <a:pt x="12" y="1"/>
                    </a:cubicBezTo>
                    <a:cubicBezTo>
                      <a:pt x="11" y="1"/>
                      <a:pt x="10" y="1"/>
                      <a:pt x="10" y="0"/>
                    </a:cubicBezTo>
                    <a:cubicBezTo>
                      <a:pt x="9" y="0"/>
                      <a:pt x="8" y="0"/>
                      <a:pt x="8" y="0"/>
                    </a:cubicBezTo>
                    <a:cubicBezTo>
                      <a:pt x="7" y="0"/>
                      <a:pt x="6" y="1"/>
                      <a:pt x="5" y="1"/>
                    </a:cubicBezTo>
                    <a:cubicBezTo>
                      <a:pt x="4" y="2"/>
                      <a:pt x="4" y="3"/>
                      <a:pt x="4" y="4"/>
                    </a:cubicBezTo>
                    <a:cubicBezTo>
                      <a:pt x="4" y="5"/>
                      <a:pt x="3" y="6"/>
                      <a:pt x="3" y="6"/>
                    </a:cubicBezTo>
                    <a:cubicBezTo>
                      <a:pt x="3" y="7"/>
                      <a:pt x="2" y="8"/>
                      <a:pt x="2" y="9"/>
                    </a:cubicBezTo>
                    <a:cubicBezTo>
                      <a:pt x="1" y="10"/>
                      <a:pt x="1" y="11"/>
                      <a:pt x="0" y="11"/>
                    </a:cubicBezTo>
                    <a:cubicBezTo>
                      <a:pt x="2" y="12"/>
                      <a:pt x="4" y="12"/>
                      <a:pt x="6" y="12"/>
                    </a:cubicBezTo>
                    <a:cubicBezTo>
                      <a:pt x="7" y="12"/>
                      <a:pt x="8" y="12"/>
                      <a:pt x="8" y="13"/>
                    </a:cubicBezTo>
                    <a:cubicBezTo>
                      <a:pt x="9" y="13"/>
                      <a:pt x="9" y="14"/>
                      <a:pt x="10" y="14"/>
                    </a:cubicBezTo>
                    <a:cubicBezTo>
                      <a:pt x="10" y="15"/>
                      <a:pt x="10" y="17"/>
                      <a:pt x="12" y="18"/>
                    </a:cubicBezTo>
                    <a:cubicBezTo>
                      <a:pt x="13" y="18"/>
                      <a:pt x="15" y="18"/>
                      <a:pt x="16" y="18"/>
                    </a:cubicBezTo>
                    <a:cubicBezTo>
                      <a:pt x="17" y="18"/>
                      <a:pt x="18" y="18"/>
                      <a:pt x="18" y="18"/>
                    </a:cubicBezTo>
                    <a:cubicBezTo>
                      <a:pt x="18" y="17"/>
                      <a:pt x="18" y="17"/>
                      <a:pt x="18" y="1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6" name="Kosovo">
                <a:extLst>
                  <a:ext uri="{FF2B5EF4-FFF2-40B4-BE49-F238E27FC236}">
                    <a16:creationId xmlns:a16="http://schemas.microsoft.com/office/drawing/2014/main" id="{7373BF72-B3B4-EA74-0899-AFFB5D53B94C}"/>
                  </a:ext>
                </a:extLst>
              </p:cNvPr>
              <p:cNvSpPr>
                <a:spLocks/>
              </p:cNvSpPr>
              <p:nvPr/>
            </p:nvSpPr>
            <p:spPr bwMode="auto">
              <a:xfrm>
                <a:off x="6352413" y="2356505"/>
                <a:ext cx="52928" cy="60771"/>
              </a:xfrm>
              <a:custGeom>
                <a:avLst/>
                <a:gdLst/>
                <a:ahLst/>
                <a:cxnLst>
                  <a:cxn ang="0">
                    <a:pos x="13" y="10"/>
                  </a:cxn>
                  <a:cxn ang="0">
                    <a:pos x="14" y="9"/>
                  </a:cxn>
                  <a:cxn ang="0">
                    <a:pos x="14" y="8"/>
                  </a:cxn>
                  <a:cxn ang="0">
                    <a:pos x="15" y="7"/>
                  </a:cxn>
                  <a:cxn ang="0">
                    <a:pos x="15" y="6"/>
                  </a:cxn>
                  <a:cxn ang="0">
                    <a:pos x="14" y="6"/>
                  </a:cxn>
                  <a:cxn ang="0">
                    <a:pos x="13" y="5"/>
                  </a:cxn>
                  <a:cxn ang="0">
                    <a:pos x="12" y="5"/>
                  </a:cxn>
                  <a:cxn ang="0">
                    <a:pos x="12" y="4"/>
                  </a:cxn>
                  <a:cxn ang="0">
                    <a:pos x="11" y="4"/>
                  </a:cxn>
                  <a:cxn ang="0">
                    <a:pos x="10" y="3"/>
                  </a:cxn>
                  <a:cxn ang="0">
                    <a:pos x="10" y="3"/>
                  </a:cxn>
                  <a:cxn ang="0">
                    <a:pos x="10" y="3"/>
                  </a:cxn>
                  <a:cxn ang="0">
                    <a:pos x="9" y="2"/>
                  </a:cxn>
                  <a:cxn ang="0">
                    <a:pos x="8" y="1"/>
                  </a:cxn>
                  <a:cxn ang="0">
                    <a:pos x="7" y="1"/>
                  </a:cxn>
                  <a:cxn ang="0">
                    <a:pos x="7" y="0"/>
                  </a:cxn>
                  <a:cxn ang="0">
                    <a:pos x="6" y="0"/>
                  </a:cxn>
                  <a:cxn ang="0">
                    <a:pos x="5" y="0"/>
                  </a:cxn>
                  <a:cxn ang="0">
                    <a:pos x="5" y="1"/>
                  </a:cxn>
                  <a:cxn ang="0">
                    <a:pos x="5" y="1"/>
                  </a:cxn>
                  <a:cxn ang="0">
                    <a:pos x="5" y="2"/>
                  </a:cxn>
                  <a:cxn ang="0">
                    <a:pos x="4" y="3"/>
                  </a:cxn>
                  <a:cxn ang="0">
                    <a:pos x="4" y="3"/>
                  </a:cxn>
                  <a:cxn ang="0">
                    <a:pos x="4" y="4"/>
                  </a:cxn>
                  <a:cxn ang="0">
                    <a:pos x="4" y="4"/>
                  </a:cxn>
                  <a:cxn ang="0">
                    <a:pos x="3" y="5"/>
                  </a:cxn>
                  <a:cxn ang="0">
                    <a:pos x="2" y="5"/>
                  </a:cxn>
                  <a:cxn ang="0">
                    <a:pos x="3" y="6"/>
                  </a:cxn>
                  <a:cxn ang="0">
                    <a:pos x="2" y="7"/>
                  </a:cxn>
                  <a:cxn ang="0">
                    <a:pos x="1" y="7"/>
                  </a:cxn>
                  <a:cxn ang="0">
                    <a:pos x="1" y="8"/>
                  </a:cxn>
                  <a:cxn ang="0">
                    <a:pos x="1" y="9"/>
                  </a:cxn>
                  <a:cxn ang="0">
                    <a:pos x="2" y="10"/>
                  </a:cxn>
                  <a:cxn ang="0">
                    <a:pos x="2" y="11"/>
                  </a:cxn>
                  <a:cxn ang="0">
                    <a:pos x="4" y="12"/>
                  </a:cxn>
                  <a:cxn ang="0">
                    <a:pos x="5" y="13"/>
                  </a:cxn>
                  <a:cxn ang="0">
                    <a:pos x="5" y="15"/>
                  </a:cxn>
                  <a:cxn ang="0">
                    <a:pos x="6" y="17"/>
                  </a:cxn>
                  <a:cxn ang="0">
                    <a:pos x="7" y="15"/>
                  </a:cxn>
                  <a:cxn ang="0">
                    <a:pos x="8" y="14"/>
                  </a:cxn>
                  <a:cxn ang="0">
                    <a:pos x="10" y="13"/>
                  </a:cxn>
                  <a:cxn ang="0">
                    <a:pos x="11" y="14"/>
                  </a:cxn>
                  <a:cxn ang="0">
                    <a:pos x="13" y="13"/>
                  </a:cxn>
                  <a:cxn ang="0">
                    <a:pos x="14" y="12"/>
                  </a:cxn>
                  <a:cxn ang="0">
                    <a:pos x="15" y="12"/>
                  </a:cxn>
                  <a:cxn ang="0">
                    <a:pos x="14" y="11"/>
                  </a:cxn>
                  <a:cxn ang="0">
                    <a:pos x="13" y="10"/>
                  </a:cxn>
                </a:cxnLst>
                <a:rect l="0" t="0" r="r" b="b"/>
                <a:pathLst>
                  <a:path w="15" h="17">
                    <a:moveTo>
                      <a:pt x="13" y="10"/>
                    </a:moveTo>
                    <a:cubicBezTo>
                      <a:pt x="14" y="9"/>
                      <a:pt x="14" y="9"/>
                      <a:pt x="14" y="9"/>
                    </a:cubicBezTo>
                    <a:cubicBezTo>
                      <a:pt x="14" y="8"/>
                      <a:pt x="14" y="8"/>
                      <a:pt x="14" y="8"/>
                    </a:cubicBezTo>
                    <a:cubicBezTo>
                      <a:pt x="15" y="7"/>
                      <a:pt x="15" y="7"/>
                      <a:pt x="15" y="7"/>
                    </a:cubicBezTo>
                    <a:cubicBezTo>
                      <a:pt x="15" y="6"/>
                      <a:pt x="15" y="6"/>
                      <a:pt x="15" y="6"/>
                    </a:cubicBezTo>
                    <a:cubicBezTo>
                      <a:pt x="14" y="6"/>
                      <a:pt x="14" y="6"/>
                      <a:pt x="14" y="6"/>
                    </a:cubicBezTo>
                    <a:cubicBezTo>
                      <a:pt x="13" y="5"/>
                      <a:pt x="13" y="5"/>
                      <a:pt x="13" y="5"/>
                    </a:cubicBezTo>
                    <a:cubicBezTo>
                      <a:pt x="12" y="5"/>
                      <a:pt x="12" y="5"/>
                      <a:pt x="12" y="5"/>
                    </a:cubicBezTo>
                    <a:cubicBezTo>
                      <a:pt x="12" y="4"/>
                      <a:pt x="12" y="4"/>
                      <a:pt x="12" y="4"/>
                    </a:cubicBezTo>
                    <a:cubicBezTo>
                      <a:pt x="11" y="4"/>
                      <a:pt x="11" y="4"/>
                      <a:pt x="11" y="4"/>
                    </a:cubicBezTo>
                    <a:cubicBezTo>
                      <a:pt x="10" y="3"/>
                      <a:pt x="10" y="3"/>
                      <a:pt x="10" y="3"/>
                    </a:cubicBezTo>
                    <a:cubicBezTo>
                      <a:pt x="10" y="3"/>
                      <a:pt x="10" y="3"/>
                      <a:pt x="10" y="3"/>
                    </a:cubicBezTo>
                    <a:cubicBezTo>
                      <a:pt x="10" y="3"/>
                      <a:pt x="10" y="3"/>
                      <a:pt x="10" y="3"/>
                    </a:cubicBezTo>
                    <a:cubicBezTo>
                      <a:pt x="9" y="2"/>
                      <a:pt x="9" y="2"/>
                      <a:pt x="9" y="2"/>
                    </a:cubicBezTo>
                    <a:cubicBezTo>
                      <a:pt x="8" y="1"/>
                      <a:pt x="8" y="1"/>
                      <a:pt x="8" y="1"/>
                    </a:cubicBezTo>
                    <a:cubicBezTo>
                      <a:pt x="7" y="1"/>
                      <a:pt x="7" y="1"/>
                      <a:pt x="7" y="1"/>
                    </a:cubicBezTo>
                    <a:cubicBezTo>
                      <a:pt x="7" y="0"/>
                      <a:pt x="7" y="0"/>
                      <a:pt x="7" y="0"/>
                    </a:cubicBezTo>
                    <a:cubicBezTo>
                      <a:pt x="6" y="0"/>
                      <a:pt x="6" y="0"/>
                      <a:pt x="6" y="0"/>
                    </a:cubicBezTo>
                    <a:cubicBezTo>
                      <a:pt x="5" y="0"/>
                      <a:pt x="5" y="0"/>
                      <a:pt x="5" y="0"/>
                    </a:cubicBezTo>
                    <a:cubicBezTo>
                      <a:pt x="5" y="1"/>
                      <a:pt x="5" y="1"/>
                      <a:pt x="5" y="1"/>
                    </a:cubicBezTo>
                    <a:cubicBezTo>
                      <a:pt x="5" y="1"/>
                      <a:pt x="5" y="1"/>
                      <a:pt x="5" y="1"/>
                    </a:cubicBezTo>
                    <a:cubicBezTo>
                      <a:pt x="5" y="2"/>
                      <a:pt x="5" y="2"/>
                      <a:pt x="5" y="2"/>
                    </a:cubicBezTo>
                    <a:cubicBezTo>
                      <a:pt x="4" y="3"/>
                      <a:pt x="4" y="3"/>
                      <a:pt x="4" y="3"/>
                    </a:cubicBezTo>
                    <a:cubicBezTo>
                      <a:pt x="4" y="3"/>
                      <a:pt x="4" y="3"/>
                      <a:pt x="4" y="3"/>
                    </a:cubicBezTo>
                    <a:cubicBezTo>
                      <a:pt x="4" y="4"/>
                      <a:pt x="4" y="4"/>
                      <a:pt x="4" y="4"/>
                    </a:cubicBezTo>
                    <a:cubicBezTo>
                      <a:pt x="4" y="4"/>
                      <a:pt x="4" y="4"/>
                      <a:pt x="4" y="4"/>
                    </a:cubicBezTo>
                    <a:cubicBezTo>
                      <a:pt x="3" y="5"/>
                      <a:pt x="3" y="5"/>
                      <a:pt x="3" y="5"/>
                    </a:cubicBezTo>
                    <a:cubicBezTo>
                      <a:pt x="2" y="5"/>
                      <a:pt x="2" y="5"/>
                      <a:pt x="2" y="5"/>
                    </a:cubicBezTo>
                    <a:cubicBezTo>
                      <a:pt x="3" y="5"/>
                      <a:pt x="3" y="6"/>
                      <a:pt x="3" y="6"/>
                    </a:cubicBezTo>
                    <a:cubicBezTo>
                      <a:pt x="2" y="6"/>
                      <a:pt x="2" y="6"/>
                      <a:pt x="2" y="7"/>
                    </a:cubicBezTo>
                    <a:cubicBezTo>
                      <a:pt x="2" y="7"/>
                      <a:pt x="1" y="7"/>
                      <a:pt x="1" y="7"/>
                    </a:cubicBezTo>
                    <a:cubicBezTo>
                      <a:pt x="0" y="6"/>
                      <a:pt x="1" y="8"/>
                      <a:pt x="1" y="8"/>
                    </a:cubicBezTo>
                    <a:cubicBezTo>
                      <a:pt x="1" y="8"/>
                      <a:pt x="0" y="9"/>
                      <a:pt x="1" y="9"/>
                    </a:cubicBezTo>
                    <a:cubicBezTo>
                      <a:pt x="1" y="10"/>
                      <a:pt x="1" y="10"/>
                      <a:pt x="2" y="10"/>
                    </a:cubicBezTo>
                    <a:cubicBezTo>
                      <a:pt x="2" y="11"/>
                      <a:pt x="2" y="11"/>
                      <a:pt x="2" y="11"/>
                    </a:cubicBezTo>
                    <a:cubicBezTo>
                      <a:pt x="3" y="12"/>
                      <a:pt x="3" y="12"/>
                      <a:pt x="4" y="12"/>
                    </a:cubicBezTo>
                    <a:cubicBezTo>
                      <a:pt x="4" y="12"/>
                      <a:pt x="5" y="13"/>
                      <a:pt x="5" y="13"/>
                    </a:cubicBezTo>
                    <a:cubicBezTo>
                      <a:pt x="5" y="14"/>
                      <a:pt x="5" y="14"/>
                      <a:pt x="5" y="15"/>
                    </a:cubicBezTo>
                    <a:cubicBezTo>
                      <a:pt x="6" y="15"/>
                      <a:pt x="5" y="16"/>
                      <a:pt x="6" y="17"/>
                    </a:cubicBezTo>
                    <a:cubicBezTo>
                      <a:pt x="6" y="17"/>
                      <a:pt x="7" y="16"/>
                      <a:pt x="7" y="15"/>
                    </a:cubicBezTo>
                    <a:cubicBezTo>
                      <a:pt x="7" y="14"/>
                      <a:pt x="7" y="14"/>
                      <a:pt x="8" y="14"/>
                    </a:cubicBezTo>
                    <a:cubicBezTo>
                      <a:pt x="9" y="13"/>
                      <a:pt x="9" y="13"/>
                      <a:pt x="10" y="13"/>
                    </a:cubicBezTo>
                    <a:cubicBezTo>
                      <a:pt x="11" y="13"/>
                      <a:pt x="11" y="14"/>
                      <a:pt x="11" y="14"/>
                    </a:cubicBezTo>
                    <a:cubicBezTo>
                      <a:pt x="12" y="14"/>
                      <a:pt x="12" y="12"/>
                      <a:pt x="13" y="13"/>
                    </a:cubicBezTo>
                    <a:cubicBezTo>
                      <a:pt x="12" y="12"/>
                      <a:pt x="14" y="12"/>
                      <a:pt x="14" y="12"/>
                    </a:cubicBezTo>
                    <a:cubicBezTo>
                      <a:pt x="14" y="12"/>
                      <a:pt x="15" y="12"/>
                      <a:pt x="15" y="12"/>
                    </a:cubicBezTo>
                    <a:cubicBezTo>
                      <a:pt x="14" y="11"/>
                      <a:pt x="14" y="11"/>
                      <a:pt x="14" y="11"/>
                    </a:cubicBezTo>
                    <a:lnTo>
                      <a:pt x="13" y="10"/>
                    </a:ln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7" name="Korea (South Korea)">
                <a:extLst>
                  <a:ext uri="{FF2B5EF4-FFF2-40B4-BE49-F238E27FC236}">
                    <a16:creationId xmlns:a16="http://schemas.microsoft.com/office/drawing/2014/main" id="{B51E1739-6F4F-508F-813D-64986142FB47}"/>
                  </a:ext>
                </a:extLst>
              </p:cNvPr>
              <p:cNvSpPr>
                <a:spLocks noEditPoints="1"/>
              </p:cNvSpPr>
              <p:nvPr/>
            </p:nvSpPr>
            <p:spPr bwMode="auto">
              <a:xfrm>
                <a:off x="9765343" y="2540777"/>
                <a:ext cx="184272" cy="212696"/>
              </a:xfrm>
              <a:custGeom>
                <a:avLst/>
                <a:gdLst/>
                <a:ahLst/>
                <a:cxnLst>
                  <a:cxn ang="0">
                    <a:pos x="38" y="36"/>
                  </a:cxn>
                  <a:cxn ang="0">
                    <a:pos x="36" y="39"/>
                  </a:cxn>
                  <a:cxn ang="0">
                    <a:pos x="33" y="38"/>
                  </a:cxn>
                  <a:cxn ang="0">
                    <a:pos x="31" y="39"/>
                  </a:cxn>
                  <a:cxn ang="0">
                    <a:pos x="32" y="41"/>
                  </a:cxn>
                  <a:cxn ang="0">
                    <a:pos x="31" y="40"/>
                  </a:cxn>
                  <a:cxn ang="0">
                    <a:pos x="28" y="40"/>
                  </a:cxn>
                  <a:cxn ang="0">
                    <a:pos x="24" y="40"/>
                  </a:cxn>
                  <a:cxn ang="0">
                    <a:pos x="26" y="44"/>
                  </a:cxn>
                  <a:cxn ang="0">
                    <a:pos x="23" y="42"/>
                  </a:cxn>
                  <a:cxn ang="0">
                    <a:pos x="24" y="44"/>
                  </a:cxn>
                  <a:cxn ang="0">
                    <a:pos x="22" y="45"/>
                  </a:cxn>
                  <a:cxn ang="0">
                    <a:pos x="22" y="43"/>
                  </a:cxn>
                  <a:cxn ang="0">
                    <a:pos x="20" y="43"/>
                  </a:cxn>
                  <a:cxn ang="0">
                    <a:pos x="20" y="46"/>
                  </a:cxn>
                  <a:cxn ang="0">
                    <a:pos x="18" y="46"/>
                  </a:cxn>
                  <a:cxn ang="0">
                    <a:pos x="16" y="46"/>
                  </a:cxn>
                  <a:cxn ang="0">
                    <a:pos x="14" y="44"/>
                  </a:cxn>
                  <a:cxn ang="0">
                    <a:pos x="14" y="43"/>
                  </a:cxn>
                  <a:cxn ang="0">
                    <a:pos x="14" y="42"/>
                  </a:cxn>
                  <a:cxn ang="0">
                    <a:pos x="15" y="41"/>
                  </a:cxn>
                  <a:cxn ang="0">
                    <a:pos x="13" y="41"/>
                  </a:cxn>
                  <a:cxn ang="0">
                    <a:pos x="11" y="39"/>
                  </a:cxn>
                  <a:cxn ang="0">
                    <a:pos x="13" y="39"/>
                  </a:cxn>
                  <a:cxn ang="0">
                    <a:pos x="12" y="36"/>
                  </a:cxn>
                  <a:cxn ang="0">
                    <a:pos x="12" y="32"/>
                  </a:cxn>
                  <a:cxn ang="0">
                    <a:pos x="11" y="29"/>
                  </a:cxn>
                  <a:cxn ang="0">
                    <a:pos x="9" y="27"/>
                  </a:cxn>
                  <a:cxn ang="0">
                    <a:pos x="8" y="24"/>
                  </a:cxn>
                  <a:cxn ang="0">
                    <a:pos x="6" y="22"/>
                  </a:cxn>
                  <a:cxn ang="0">
                    <a:pos x="4" y="21"/>
                  </a:cxn>
                  <a:cxn ang="0">
                    <a:pos x="3" y="20"/>
                  </a:cxn>
                  <a:cxn ang="0">
                    <a:pos x="3" y="20"/>
                  </a:cxn>
                  <a:cxn ang="0">
                    <a:pos x="4" y="20"/>
                  </a:cxn>
                  <a:cxn ang="0">
                    <a:pos x="3" y="18"/>
                  </a:cxn>
                  <a:cxn ang="0">
                    <a:pos x="5" y="19"/>
                  </a:cxn>
                  <a:cxn ang="0">
                    <a:pos x="5" y="18"/>
                  </a:cxn>
                  <a:cxn ang="0">
                    <a:pos x="7" y="18"/>
                  </a:cxn>
                  <a:cxn ang="0">
                    <a:pos x="9" y="18"/>
                  </a:cxn>
                  <a:cxn ang="0">
                    <a:pos x="8" y="17"/>
                  </a:cxn>
                  <a:cxn ang="0">
                    <a:pos x="6" y="16"/>
                  </a:cxn>
                  <a:cxn ang="0">
                    <a:pos x="5" y="15"/>
                  </a:cxn>
                  <a:cxn ang="0">
                    <a:pos x="5" y="14"/>
                  </a:cxn>
                  <a:cxn ang="0">
                    <a:pos x="2" y="11"/>
                  </a:cxn>
                  <a:cxn ang="0">
                    <a:pos x="3" y="9"/>
                  </a:cxn>
                  <a:cxn ang="0">
                    <a:pos x="6" y="3"/>
                  </a:cxn>
                  <a:cxn ang="0">
                    <a:pos x="11" y="3"/>
                  </a:cxn>
                  <a:cxn ang="0">
                    <a:pos x="16" y="3"/>
                  </a:cxn>
                  <a:cxn ang="0">
                    <a:pos x="31" y="17"/>
                  </a:cxn>
                  <a:cxn ang="0">
                    <a:pos x="34" y="25"/>
                  </a:cxn>
                  <a:cxn ang="0">
                    <a:pos x="37" y="28"/>
                  </a:cxn>
                  <a:cxn ang="0">
                    <a:pos x="34" y="40"/>
                  </a:cxn>
                  <a:cxn ang="0">
                    <a:pos x="33" y="41"/>
                  </a:cxn>
                  <a:cxn ang="0">
                    <a:pos x="0" y="9"/>
                  </a:cxn>
                  <a:cxn ang="0">
                    <a:pos x="1" y="11"/>
                  </a:cxn>
                  <a:cxn ang="0">
                    <a:pos x="52" y="15"/>
                  </a:cxn>
                  <a:cxn ang="0">
                    <a:pos x="42" y="13"/>
                  </a:cxn>
                  <a:cxn ang="0">
                    <a:pos x="14" y="46"/>
                  </a:cxn>
                  <a:cxn ang="0">
                    <a:pos x="27" y="41"/>
                  </a:cxn>
                  <a:cxn ang="0">
                    <a:pos x="28" y="42"/>
                  </a:cxn>
                  <a:cxn ang="0">
                    <a:pos x="20" y="56"/>
                  </a:cxn>
                  <a:cxn ang="0">
                    <a:pos x="24" y="58"/>
                  </a:cxn>
                </a:cxnLst>
                <a:rect l="0" t="0" r="r" b="b"/>
                <a:pathLst>
                  <a:path w="52" h="60">
                    <a:moveTo>
                      <a:pt x="38" y="33"/>
                    </a:moveTo>
                    <a:cubicBezTo>
                      <a:pt x="38" y="34"/>
                      <a:pt x="39" y="34"/>
                      <a:pt x="38" y="34"/>
                    </a:cubicBezTo>
                    <a:cubicBezTo>
                      <a:pt x="38" y="34"/>
                      <a:pt x="38" y="34"/>
                      <a:pt x="37" y="34"/>
                    </a:cubicBezTo>
                    <a:cubicBezTo>
                      <a:pt x="38" y="35"/>
                      <a:pt x="38" y="35"/>
                      <a:pt x="38" y="36"/>
                    </a:cubicBezTo>
                    <a:cubicBezTo>
                      <a:pt x="38" y="37"/>
                      <a:pt x="38" y="37"/>
                      <a:pt x="38" y="38"/>
                    </a:cubicBezTo>
                    <a:cubicBezTo>
                      <a:pt x="38" y="38"/>
                      <a:pt x="37" y="38"/>
                      <a:pt x="37" y="38"/>
                    </a:cubicBezTo>
                    <a:cubicBezTo>
                      <a:pt x="37" y="38"/>
                      <a:pt x="37" y="38"/>
                      <a:pt x="36" y="39"/>
                    </a:cubicBezTo>
                    <a:cubicBezTo>
                      <a:pt x="36" y="39"/>
                      <a:pt x="36" y="39"/>
                      <a:pt x="36" y="39"/>
                    </a:cubicBezTo>
                    <a:cubicBezTo>
                      <a:pt x="36" y="39"/>
                      <a:pt x="36" y="38"/>
                      <a:pt x="36" y="38"/>
                    </a:cubicBezTo>
                    <a:cubicBezTo>
                      <a:pt x="36" y="38"/>
                      <a:pt x="35" y="39"/>
                      <a:pt x="35" y="38"/>
                    </a:cubicBezTo>
                    <a:cubicBezTo>
                      <a:pt x="35" y="39"/>
                      <a:pt x="34" y="38"/>
                      <a:pt x="34" y="38"/>
                    </a:cubicBezTo>
                    <a:cubicBezTo>
                      <a:pt x="34" y="39"/>
                      <a:pt x="34" y="39"/>
                      <a:pt x="33" y="38"/>
                    </a:cubicBezTo>
                    <a:cubicBezTo>
                      <a:pt x="33" y="38"/>
                      <a:pt x="33" y="38"/>
                      <a:pt x="33" y="38"/>
                    </a:cubicBezTo>
                    <a:cubicBezTo>
                      <a:pt x="33" y="38"/>
                      <a:pt x="32" y="37"/>
                      <a:pt x="32" y="37"/>
                    </a:cubicBezTo>
                    <a:cubicBezTo>
                      <a:pt x="31" y="37"/>
                      <a:pt x="33" y="39"/>
                      <a:pt x="33" y="39"/>
                    </a:cubicBezTo>
                    <a:cubicBezTo>
                      <a:pt x="32" y="39"/>
                      <a:pt x="32" y="38"/>
                      <a:pt x="31" y="39"/>
                    </a:cubicBezTo>
                    <a:cubicBezTo>
                      <a:pt x="31" y="39"/>
                      <a:pt x="31" y="39"/>
                      <a:pt x="31" y="40"/>
                    </a:cubicBezTo>
                    <a:cubicBezTo>
                      <a:pt x="31" y="39"/>
                      <a:pt x="31" y="39"/>
                      <a:pt x="32" y="39"/>
                    </a:cubicBezTo>
                    <a:cubicBezTo>
                      <a:pt x="32" y="40"/>
                      <a:pt x="31" y="40"/>
                      <a:pt x="31" y="40"/>
                    </a:cubicBezTo>
                    <a:cubicBezTo>
                      <a:pt x="31" y="40"/>
                      <a:pt x="32" y="41"/>
                      <a:pt x="32" y="41"/>
                    </a:cubicBezTo>
                    <a:cubicBezTo>
                      <a:pt x="32" y="41"/>
                      <a:pt x="32" y="41"/>
                      <a:pt x="32" y="41"/>
                    </a:cubicBezTo>
                    <a:cubicBezTo>
                      <a:pt x="32" y="42"/>
                      <a:pt x="31" y="41"/>
                      <a:pt x="32" y="41"/>
                    </a:cubicBezTo>
                    <a:cubicBezTo>
                      <a:pt x="32" y="41"/>
                      <a:pt x="31" y="41"/>
                      <a:pt x="31" y="41"/>
                    </a:cubicBezTo>
                    <a:cubicBezTo>
                      <a:pt x="31" y="41"/>
                      <a:pt x="31" y="40"/>
                      <a:pt x="31" y="40"/>
                    </a:cubicBezTo>
                    <a:cubicBezTo>
                      <a:pt x="31" y="40"/>
                      <a:pt x="30" y="41"/>
                      <a:pt x="30" y="41"/>
                    </a:cubicBezTo>
                    <a:cubicBezTo>
                      <a:pt x="30" y="41"/>
                      <a:pt x="30" y="40"/>
                      <a:pt x="30" y="41"/>
                    </a:cubicBezTo>
                    <a:cubicBezTo>
                      <a:pt x="29" y="41"/>
                      <a:pt x="27" y="39"/>
                      <a:pt x="28" y="39"/>
                    </a:cubicBezTo>
                    <a:cubicBezTo>
                      <a:pt x="27" y="39"/>
                      <a:pt x="27" y="40"/>
                      <a:pt x="28" y="40"/>
                    </a:cubicBezTo>
                    <a:cubicBezTo>
                      <a:pt x="27" y="40"/>
                      <a:pt x="27" y="40"/>
                      <a:pt x="27" y="39"/>
                    </a:cubicBezTo>
                    <a:cubicBezTo>
                      <a:pt x="27" y="41"/>
                      <a:pt x="25" y="40"/>
                      <a:pt x="25" y="40"/>
                    </a:cubicBezTo>
                    <a:cubicBezTo>
                      <a:pt x="25" y="40"/>
                      <a:pt x="25" y="41"/>
                      <a:pt x="24" y="41"/>
                    </a:cubicBezTo>
                    <a:cubicBezTo>
                      <a:pt x="24" y="41"/>
                      <a:pt x="24" y="40"/>
                      <a:pt x="24" y="40"/>
                    </a:cubicBezTo>
                    <a:cubicBezTo>
                      <a:pt x="23" y="41"/>
                      <a:pt x="25" y="42"/>
                      <a:pt x="25" y="42"/>
                    </a:cubicBezTo>
                    <a:cubicBezTo>
                      <a:pt x="26" y="42"/>
                      <a:pt x="26" y="41"/>
                      <a:pt x="26" y="42"/>
                    </a:cubicBezTo>
                    <a:cubicBezTo>
                      <a:pt x="26" y="42"/>
                      <a:pt x="26" y="43"/>
                      <a:pt x="26" y="43"/>
                    </a:cubicBezTo>
                    <a:cubicBezTo>
                      <a:pt x="25" y="42"/>
                      <a:pt x="26" y="44"/>
                      <a:pt x="26" y="44"/>
                    </a:cubicBezTo>
                    <a:cubicBezTo>
                      <a:pt x="25" y="44"/>
                      <a:pt x="24" y="43"/>
                      <a:pt x="25" y="43"/>
                    </a:cubicBezTo>
                    <a:cubicBezTo>
                      <a:pt x="25" y="42"/>
                      <a:pt x="23" y="41"/>
                      <a:pt x="24" y="41"/>
                    </a:cubicBezTo>
                    <a:cubicBezTo>
                      <a:pt x="23" y="41"/>
                      <a:pt x="23" y="42"/>
                      <a:pt x="22" y="42"/>
                    </a:cubicBezTo>
                    <a:cubicBezTo>
                      <a:pt x="22" y="42"/>
                      <a:pt x="23" y="42"/>
                      <a:pt x="23" y="42"/>
                    </a:cubicBezTo>
                    <a:cubicBezTo>
                      <a:pt x="23" y="42"/>
                      <a:pt x="22" y="42"/>
                      <a:pt x="22" y="42"/>
                    </a:cubicBezTo>
                    <a:cubicBezTo>
                      <a:pt x="23" y="42"/>
                      <a:pt x="23" y="42"/>
                      <a:pt x="23" y="43"/>
                    </a:cubicBezTo>
                    <a:cubicBezTo>
                      <a:pt x="23" y="43"/>
                      <a:pt x="24" y="44"/>
                      <a:pt x="24" y="44"/>
                    </a:cubicBezTo>
                    <a:cubicBezTo>
                      <a:pt x="24" y="44"/>
                      <a:pt x="25" y="44"/>
                      <a:pt x="24" y="44"/>
                    </a:cubicBezTo>
                    <a:cubicBezTo>
                      <a:pt x="24" y="44"/>
                      <a:pt x="23" y="44"/>
                      <a:pt x="23" y="44"/>
                    </a:cubicBezTo>
                    <a:cubicBezTo>
                      <a:pt x="23" y="45"/>
                      <a:pt x="24" y="44"/>
                      <a:pt x="24" y="45"/>
                    </a:cubicBezTo>
                    <a:cubicBezTo>
                      <a:pt x="24" y="45"/>
                      <a:pt x="24" y="45"/>
                      <a:pt x="24" y="46"/>
                    </a:cubicBezTo>
                    <a:cubicBezTo>
                      <a:pt x="23" y="46"/>
                      <a:pt x="22" y="44"/>
                      <a:pt x="22" y="45"/>
                    </a:cubicBezTo>
                    <a:cubicBezTo>
                      <a:pt x="21" y="46"/>
                      <a:pt x="21" y="44"/>
                      <a:pt x="22" y="44"/>
                    </a:cubicBezTo>
                    <a:cubicBezTo>
                      <a:pt x="22" y="44"/>
                      <a:pt x="22" y="45"/>
                      <a:pt x="22" y="44"/>
                    </a:cubicBezTo>
                    <a:cubicBezTo>
                      <a:pt x="22" y="44"/>
                      <a:pt x="22" y="43"/>
                      <a:pt x="22" y="43"/>
                    </a:cubicBezTo>
                    <a:cubicBezTo>
                      <a:pt x="22" y="43"/>
                      <a:pt x="22" y="43"/>
                      <a:pt x="22" y="43"/>
                    </a:cubicBezTo>
                    <a:cubicBezTo>
                      <a:pt x="23" y="44"/>
                      <a:pt x="23" y="43"/>
                      <a:pt x="22" y="43"/>
                    </a:cubicBezTo>
                    <a:cubicBezTo>
                      <a:pt x="22" y="42"/>
                      <a:pt x="22" y="43"/>
                      <a:pt x="22" y="43"/>
                    </a:cubicBezTo>
                    <a:cubicBezTo>
                      <a:pt x="22" y="42"/>
                      <a:pt x="21" y="42"/>
                      <a:pt x="21" y="42"/>
                    </a:cubicBezTo>
                    <a:cubicBezTo>
                      <a:pt x="21" y="43"/>
                      <a:pt x="21" y="43"/>
                      <a:pt x="20" y="43"/>
                    </a:cubicBezTo>
                    <a:cubicBezTo>
                      <a:pt x="20" y="44"/>
                      <a:pt x="20" y="44"/>
                      <a:pt x="20" y="44"/>
                    </a:cubicBezTo>
                    <a:cubicBezTo>
                      <a:pt x="20" y="45"/>
                      <a:pt x="20" y="45"/>
                      <a:pt x="20" y="45"/>
                    </a:cubicBezTo>
                    <a:cubicBezTo>
                      <a:pt x="20" y="45"/>
                      <a:pt x="20" y="46"/>
                      <a:pt x="20" y="46"/>
                    </a:cubicBezTo>
                    <a:cubicBezTo>
                      <a:pt x="20" y="46"/>
                      <a:pt x="19" y="46"/>
                      <a:pt x="20" y="46"/>
                    </a:cubicBezTo>
                    <a:cubicBezTo>
                      <a:pt x="19" y="46"/>
                      <a:pt x="19" y="45"/>
                      <a:pt x="18" y="45"/>
                    </a:cubicBezTo>
                    <a:cubicBezTo>
                      <a:pt x="18" y="44"/>
                      <a:pt x="18" y="44"/>
                      <a:pt x="18" y="44"/>
                    </a:cubicBezTo>
                    <a:cubicBezTo>
                      <a:pt x="18" y="45"/>
                      <a:pt x="18" y="45"/>
                      <a:pt x="18" y="45"/>
                    </a:cubicBezTo>
                    <a:cubicBezTo>
                      <a:pt x="18" y="45"/>
                      <a:pt x="18" y="46"/>
                      <a:pt x="18" y="46"/>
                    </a:cubicBezTo>
                    <a:cubicBezTo>
                      <a:pt x="17" y="46"/>
                      <a:pt x="18" y="49"/>
                      <a:pt x="16" y="47"/>
                    </a:cubicBezTo>
                    <a:cubicBezTo>
                      <a:pt x="16" y="47"/>
                      <a:pt x="16" y="47"/>
                      <a:pt x="16" y="46"/>
                    </a:cubicBezTo>
                    <a:cubicBezTo>
                      <a:pt x="16" y="46"/>
                      <a:pt x="16" y="46"/>
                      <a:pt x="16" y="46"/>
                    </a:cubicBezTo>
                    <a:cubicBezTo>
                      <a:pt x="16" y="46"/>
                      <a:pt x="16" y="46"/>
                      <a:pt x="16" y="46"/>
                    </a:cubicBezTo>
                    <a:cubicBezTo>
                      <a:pt x="16" y="46"/>
                      <a:pt x="15" y="45"/>
                      <a:pt x="16" y="45"/>
                    </a:cubicBezTo>
                    <a:cubicBezTo>
                      <a:pt x="16" y="45"/>
                      <a:pt x="16" y="45"/>
                      <a:pt x="15" y="44"/>
                    </a:cubicBezTo>
                    <a:cubicBezTo>
                      <a:pt x="15" y="44"/>
                      <a:pt x="15" y="45"/>
                      <a:pt x="15" y="45"/>
                    </a:cubicBezTo>
                    <a:cubicBezTo>
                      <a:pt x="15" y="45"/>
                      <a:pt x="13" y="44"/>
                      <a:pt x="14" y="44"/>
                    </a:cubicBezTo>
                    <a:cubicBezTo>
                      <a:pt x="13" y="44"/>
                      <a:pt x="13" y="44"/>
                      <a:pt x="13" y="43"/>
                    </a:cubicBezTo>
                    <a:cubicBezTo>
                      <a:pt x="13" y="43"/>
                      <a:pt x="13" y="42"/>
                      <a:pt x="13" y="43"/>
                    </a:cubicBezTo>
                    <a:cubicBezTo>
                      <a:pt x="13" y="43"/>
                      <a:pt x="15" y="45"/>
                      <a:pt x="15" y="44"/>
                    </a:cubicBezTo>
                    <a:cubicBezTo>
                      <a:pt x="15" y="44"/>
                      <a:pt x="14" y="43"/>
                      <a:pt x="14" y="43"/>
                    </a:cubicBezTo>
                    <a:cubicBezTo>
                      <a:pt x="14" y="43"/>
                      <a:pt x="16" y="44"/>
                      <a:pt x="16" y="44"/>
                    </a:cubicBezTo>
                    <a:cubicBezTo>
                      <a:pt x="16" y="44"/>
                      <a:pt x="16" y="44"/>
                      <a:pt x="16" y="44"/>
                    </a:cubicBezTo>
                    <a:cubicBezTo>
                      <a:pt x="16" y="44"/>
                      <a:pt x="15" y="43"/>
                      <a:pt x="15" y="43"/>
                    </a:cubicBezTo>
                    <a:cubicBezTo>
                      <a:pt x="15" y="43"/>
                      <a:pt x="14" y="42"/>
                      <a:pt x="14" y="42"/>
                    </a:cubicBezTo>
                    <a:cubicBezTo>
                      <a:pt x="14" y="42"/>
                      <a:pt x="15" y="42"/>
                      <a:pt x="15" y="42"/>
                    </a:cubicBezTo>
                    <a:cubicBezTo>
                      <a:pt x="14" y="42"/>
                      <a:pt x="16" y="42"/>
                      <a:pt x="16" y="42"/>
                    </a:cubicBezTo>
                    <a:cubicBezTo>
                      <a:pt x="16" y="42"/>
                      <a:pt x="16" y="42"/>
                      <a:pt x="15" y="42"/>
                    </a:cubicBezTo>
                    <a:cubicBezTo>
                      <a:pt x="15" y="42"/>
                      <a:pt x="15" y="41"/>
                      <a:pt x="15" y="41"/>
                    </a:cubicBezTo>
                    <a:cubicBezTo>
                      <a:pt x="15" y="41"/>
                      <a:pt x="15" y="42"/>
                      <a:pt x="15" y="42"/>
                    </a:cubicBezTo>
                    <a:cubicBezTo>
                      <a:pt x="14" y="42"/>
                      <a:pt x="14" y="42"/>
                      <a:pt x="14" y="42"/>
                    </a:cubicBezTo>
                    <a:cubicBezTo>
                      <a:pt x="14" y="42"/>
                      <a:pt x="13" y="42"/>
                      <a:pt x="13" y="42"/>
                    </a:cubicBezTo>
                    <a:cubicBezTo>
                      <a:pt x="14" y="41"/>
                      <a:pt x="13" y="41"/>
                      <a:pt x="13" y="41"/>
                    </a:cubicBezTo>
                    <a:cubicBezTo>
                      <a:pt x="13" y="40"/>
                      <a:pt x="13" y="40"/>
                      <a:pt x="13" y="40"/>
                    </a:cubicBezTo>
                    <a:cubicBezTo>
                      <a:pt x="12" y="40"/>
                      <a:pt x="13" y="40"/>
                      <a:pt x="13" y="40"/>
                    </a:cubicBezTo>
                    <a:cubicBezTo>
                      <a:pt x="12" y="41"/>
                      <a:pt x="12" y="40"/>
                      <a:pt x="12" y="40"/>
                    </a:cubicBezTo>
                    <a:cubicBezTo>
                      <a:pt x="13" y="40"/>
                      <a:pt x="12" y="39"/>
                      <a:pt x="11" y="39"/>
                    </a:cubicBezTo>
                    <a:cubicBezTo>
                      <a:pt x="12" y="39"/>
                      <a:pt x="12" y="39"/>
                      <a:pt x="12" y="39"/>
                    </a:cubicBezTo>
                    <a:cubicBezTo>
                      <a:pt x="11" y="39"/>
                      <a:pt x="11" y="38"/>
                      <a:pt x="11" y="38"/>
                    </a:cubicBezTo>
                    <a:cubicBezTo>
                      <a:pt x="11" y="38"/>
                      <a:pt x="12" y="39"/>
                      <a:pt x="12" y="38"/>
                    </a:cubicBezTo>
                    <a:cubicBezTo>
                      <a:pt x="12" y="39"/>
                      <a:pt x="12" y="39"/>
                      <a:pt x="13" y="39"/>
                    </a:cubicBezTo>
                    <a:cubicBezTo>
                      <a:pt x="13" y="39"/>
                      <a:pt x="12" y="38"/>
                      <a:pt x="12" y="38"/>
                    </a:cubicBezTo>
                    <a:cubicBezTo>
                      <a:pt x="12" y="38"/>
                      <a:pt x="12" y="37"/>
                      <a:pt x="11" y="37"/>
                    </a:cubicBezTo>
                    <a:cubicBezTo>
                      <a:pt x="11" y="37"/>
                      <a:pt x="11" y="37"/>
                      <a:pt x="11" y="36"/>
                    </a:cubicBezTo>
                    <a:cubicBezTo>
                      <a:pt x="11" y="36"/>
                      <a:pt x="11" y="35"/>
                      <a:pt x="12" y="36"/>
                    </a:cubicBezTo>
                    <a:cubicBezTo>
                      <a:pt x="11" y="35"/>
                      <a:pt x="11" y="35"/>
                      <a:pt x="11" y="34"/>
                    </a:cubicBezTo>
                    <a:cubicBezTo>
                      <a:pt x="11" y="34"/>
                      <a:pt x="12" y="33"/>
                      <a:pt x="13" y="34"/>
                    </a:cubicBezTo>
                    <a:cubicBezTo>
                      <a:pt x="13" y="33"/>
                      <a:pt x="11" y="34"/>
                      <a:pt x="11" y="33"/>
                    </a:cubicBezTo>
                    <a:cubicBezTo>
                      <a:pt x="10" y="33"/>
                      <a:pt x="12" y="31"/>
                      <a:pt x="12" y="32"/>
                    </a:cubicBezTo>
                    <a:cubicBezTo>
                      <a:pt x="12" y="31"/>
                      <a:pt x="13" y="31"/>
                      <a:pt x="13" y="31"/>
                    </a:cubicBezTo>
                    <a:cubicBezTo>
                      <a:pt x="13" y="31"/>
                      <a:pt x="12" y="31"/>
                      <a:pt x="12" y="30"/>
                    </a:cubicBezTo>
                    <a:cubicBezTo>
                      <a:pt x="12" y="30"/>
                      <a:pt x="13" y="30"/>
                      <a:pt x="13" y="30"/>
                    </a:cubicBezTo>
                    <a:cubicBezTo>
                      <a:pt x="13" y="30"/>
                      <a:pt x="10" y="30"/>
                      <a:pt x="11" y="29"/>
                    </a:cubicBezTo>
                    <a:cubicBezTo>
                      <a:pt x="11" y="29"/>
                      <a:pt x="13" y="29"/>
                      <a:pt x="12" y="28"/>
                    </a:cubicBezTo>
                    <a:cubicBezTo>
                      <a:pt x="12" y="28"/>
                      <a:pt x="11" y="29"/>
                      <a:pt x="11" y="28"/>
                    </a:cubicBezTo>
                    <a:cubicBezTo>
                      <a:pt x="10" y="28"/>
                      <a:pt x="9" y="27"/>
                      <a:pt x="9" y="27"/>
                    </a:cubicBezTo>
                    <a:cubicBezTo>
                      <a:pt x="9" y="27"/>
                      <a:pt x="9" y="27"/>
                      <a:pt x="9" y="27"/>
                    </a:cubicBezTo>
                    <a:cubicBezTo>
                      <a:pt x="9" y="26"/>
                      <a:pt x="9" y="27"/>
                      <a:pt x="9" y="26"/>
                    </a:cubicBezTo>
                    <a:cubicBezTo>
                      <a:pt x="8" y="26"/>
                      <a:pt x="9" y="26"/>
                      <a:pt x="9" y="26"/>
                    </a:cubicBezTo>
                    <a:cubicBezTo>
                      <a:pt x="8" y="25"/>
                      <a:pt x="8" y="25"/>
                      <a:pt x="8" y="25"/>
                    </a:cubicBezTo>
                    <a:cubicBezTo>
                      <a:pt x="9" y="25"/>
                      <a:pt x="8" y="24"/>
                      <a:pt x="8" y="24"/>
                    </a:cubicBezTo>
                    <a:cubicBezTo>
                      <a:pt x="7" y="24"/>
                      <a:pt x="8" y="24"/>
                      <a:pt x="8" y="24"/>
                    </a:cubicBezTo>
                    <a:cubicBezTo>
                      <a:pt x="9" y="23"/>
                      <a:pt x="7" y="24"/>
                      <a:pt x="7" y="24"/>
                    </a:cubicBezTo>
                    <a:cubicBezTo>
                      <a:pt x="7" y="24"/>
                      <a:pt x="7" y="23"/>
                      <a:pt x="7" y="23"/>
                    </a:cubicBezTo>
                    <a:cubicBezTo>
                      <a:pt x="7" y="23"/>
                      <a:pt x="6" y="23"/>
                      <a:pt x="6" y="22"/>
                    </a:cubicBezTo>
                    <a:cubicBezTo>
                      <a:pt x="7" y="22"/>
                      <a:pt x="6" y="21"/>
                      <a:pt x="6" y="21"/>
                    </a:cubicBezTo>
                    <a:cubicBezTo>
                      <a:pt x="6" y="21"/>
                      <a:pt x="6" y="20"/>
                      <a:pt x="6" y="21"/>
                    </a:cubicBezTo>
                    <a:cubicBezTo>
                      <a:pt x="5" y="21"/>
                      <a:pt x="5" y="21"/>
                      <a:pt x="5" y="21"/>
                    </a:cubicBezTo>
                    <a:cubicBezTo>
                      <a:pt x="5" y="22"/>
                      <a:pt x="5" y="20"/>
                      <a:pt x="4" y="21"/>
                    </a:cubicBezTo>
                    <a:cubicBezTo>
                      <a:pt x="4" y="21"/>
                      <a:pt x="5" y="22"/>
                      <a:pt x="5" y="22"/>
                    </a:cubicBezTo>
                    <a:cubicBezTo>
                      <a:pt x="5" y="23"/>
                      <a:pt x="4" y="21"/>
                      <a:pt x="4" y="21"/>
                    </a:cubicBezTo>
                    <a:cubicBezTo>
                      <a:pt x="3" y="22"/>
                      <a:pt x="3" y="21"/>
                      <a:pt x="3" y="21"/>
                    </a:cubicBezTo>
                    <a:cubicBezTo>
                      <a:pt x="3" y="21"/>
                      <a:pt x="3" y="20"/>
                      <a:pt x="3" y="20"/>
                    </a:cubicBezTo>
                    <a:cubicBezTo>
                      <a:pt x="3" y="20"/>
                      <a:pt x="3" y="21"/>
                      <a:pt x="3" y="21"/>
                    </a:cubicBezTo>
                    <a:cubicBezTo>
                      <a:pt x="2" y="21"/>
                      <a:pt x="2" y="20"/>
                      <a:pt x="2" y="19"/>
                    </a:cubicBezTo>
                    <a:cubicBezTo>
                      <a:pt x="3" y="20"/>
                      <a:pt x="3" y="20"/>
                      <a:pt x="3" y="20"/>
                    </a:cubicBezTo>
                    <a:cubicBezTo>
                      <a:pt x="3" y="20"/>
                      <a:pt x="3" y="20"/>
                      <a:pt x="3" y="20"/>
                    </a:cubicBezTo>
                    <a:cubicBezTo>
                      <a:pt x="2" y="20"/>
                      <a:pt x="3" y="19"/>
                      <a:pt x="3" y="19"/>
                    </a:cubicBezTo>
                    <a:cubicBezTo>
                      <a:pt x="3" y="20"/>
                      <a:pt x="3" y="18"/>
                      <a:pt x="3" y="18"/>
                    </a:cubicBezTo>
                    <a:cubicBezTo>
                      <a:pt x="3" y="18"/>
                      <a:pt x="3" y="19"/>
                      <a:pt x="4" y="19"/>
                    </a:cubicBezTo>
                    <a:cubicBezTo>
                      <a:pt x="4" y="20"/>
                      <a:pt x="4" y="20"/>
                      <a:pt x="4" y="20"/>
                    </a:cubicBezTo>
                    <a:cubicBezTo>
                      <a:pt x="4" y="20"/>
                      <a:pt x="4" y="19"/>
                      <a:pt x="4" y="19"/>
                    </a:cubicBezTo>
                    <a:cubicBezTo>
                      <a:pt x="4" y="19"/>
                      <a:pt x="5" y="19"/>
                      <a:pt x="4" y="19"/>
                    </a:cubicBezTo>
                    <a:cubicBezTo>
                      <a:pt x="5" y="19"/>
                      <a:pt x="4" y="18"/>
                      <a:pt x="3" y="18"/>
                    </a:cubicBezTo>
                    <a:cubicBezTo>
                      <a:pt x="4" y="18"/>
                      <a:pt x="3" y="18"/>
                      <a:pt x="3" y="18"/>
                    </a:cubicBezTo>
                    <a:cubicBezTo>
                      <a:pt x="4" y="18"/>
                      <a:pt x="4" y="18"/>
                      <a:pt x="4" y="18"/>
                    </a:cubicBezTo>
                    <a:cubicBezTo>
                      <a:pt x="4" y="18"/>
                      <a:pt x="4" y="18"/>
                      <a:pt x="5" y="18"/>
                    </a:cubicBezTo>
                    <a:cubicBezTo>
                      <a:pt x="5" y="18"/>
                      <a:pt x="5" y="19"/>
                      <a:pt x="5" y="19"/>
                    </a:cubicBezTo>
                    <a:cubicBezTo>
                      <a:pt x="5" y="19"/>
                      <a:pt x="5" y="19"/>
                      <a:pt x="5" y="19"/>
                    </a:cubicBezTo>
                    <a:cubicBezTo>
                      <a:pt x="5" y="19"/>
                      <a:pt x="5" y="19"/>
                      <a:pt x="5" y="19"/>
                    </a:cubicBezTo>
                    <a:cubicBezTo>
                      <a:pt x="5" y="18"/>
                      <a:pt x="6" y="19"/>
                      <a:pt x="6" y="19"/>
                    </a:cubicBezTo>
                    <a:cubicBezTo>
                      <a:pt x="6" y="18"/>
                      <a:pt x="5" y="18"/>
                      <a:pt x="5" y="18"/>
                    </a:cubicBezTo>
                    <a:cubicBezTo>
                      <a:pt x="5" y="18"/>
                      <a:pt x="5" y="18"/>
                      <a:pt x="5" y="18"/>
                    </a:cubicBezTo>
                    <a:cubicBezTo>
                      <a:pt x="5" y="18"/>
                      <a:pt x="5" y="17"/>
                      <a:pt x="4" y="17"/>
                    </a:cubicBezTo>
                    <a:cubicBezTo>
                      <a:pt x="5" y="17"/>
                      <a:pt x="6" y="18"/>
                      <a:pt x="6" y="19"/>
                    </a:cubicBezTo>
                    <a:cubicBezTo>
                      <a:pt x="6" y="18"/>
                      <a:pt x="6" y="18"/>
                      <a:pt x="6" y="18"/>
                    </a:cubicBezTo>
                    <a:cubicBezTo>
                      <a:pt x="7" y="18"/>
                      <a:pt x="7" y="18"/>
                      <a:pt x="7" y="18"/>
                    </a:cubicBezTo>
                    <a:cubicBezTo>
                      <a:pt x="7" y="18"/>
                      <a:pt x="8" y="19"/>
                      <a:pt x="8" y="19"/>
                    </a:cubicBezTo>
                    <a:cubicBezTo>
                      <a:pt x="8" y="18"/>
                      <a:pt x="9" y="20"/>
                      <a:pt x="9" y="20"/>
                    </a:cubicBezTo>
                    <a:cubicBezTo>
                      <a:pt x="9" y="20"/>
                      <a:pt x="8" y="19"/>
                      <a:pt x="9" y="20"/>
                    </a:cubicBezTo>
                    <a:cubicBezTo>
                      <a:pt x="8" y="19"/>
                      <a:pt x="10" y="19"/>
                      <a:pt x="9" y="18"/>
                    </a:cubicBezTo>
                    <a:cubicBezTo>
                      <a:pt x="10" y="18"/>
                      <a:pt x="10" y="18"/>
                      <a:pt x="10" y="18"/>
                    </a:cubicBezTo>
                    <a:cubicBezTo>
                      <a:pt x="9" y="17"/>
                      <a:pt x="9" y="19"/>
                      <a:pt x="9" y="19"/>
                    </a:cubicBezTo>
                    <a:cubicBezTo>
                      <a:pt x="8" y="19"/>
                      <a:pt x="7" y="18"/>
                      <a:pt x="8" y="17"/>
                    </a:cubicBezTo>
                    <a:cubicBezTo>
                      <a:pt x="8" y="17"/>
                      <a:pt x="8" y="17"/>
                      <a:pt x="8" y="17"/>
                    </a:cubicBezTo>
                    <a:cubicBezTo>
                      <a:pt x="8" y="17"/>
                      <a:pt x="8" y="17"/>
                      <a:pt x="8" y="17"/>
                    </a:cubicBezTo>
                    <a:cubicBezTo>
                      <a:pt x="7" y="17"/>
                      <a:pt x="7" y="17"/>
                      <a:pt x="7" y="16"/>
                    </a:cubicBezTo>
                    <a:cubicBezTo>
                      <a:pt x="7" y="16"/>
                      <a:pt x="8" y="16"/>
                      <a:pt x="7" y="16"/>
                    </a:cubicBezTo>
                    <a:cubicBezTo>
                      <a:pt x="7" y="16"/>
                      <a:pt x="6" y="16"/>
                      <a:pt x="6" y="16"/>
                    </a:cubicBezTo>
                    <a:cubicBezTo>
                      <a:pt x="6" y="16"/>
                      <a:pt x="6" y="16"/>
                      <a:pt x="6" y="16"/>
                    </a:cubicBezTo>
                    <a:cubicBezTo>
                      <a:pt x="6" y="16"/>
                      <a:pt x="6" y="16"/>
                      <a:pt x="6" y="16"/>
                    </a:cubicBezTo>
                    <a:cubicBezTo>
                      <a:pt x="6" y="16"/>
                      <a:pt x="5" y="16"/>
                      <a:pt x="6" y="16"/>
                    </a:cubicBezTo>
                    <a:cubicBezTo>
                      <a:pt x="6" y="15"/>
                      <a:pt x="5" y="15"/>
                      <a:pt x="5" y="15"/>
                    </a:cubicBezTo>
                    <a:cubicBezTo>
                      <a:pt x="5" y="15"/>
                      <a:pt x="6" y="15"/>
                      <a:pt x="6" y="15"/>
                    </a:cubicBezTo>
                    <a:cubicBezTo>
                      <a:pt x="6" y="15"/>
                      <a:pt x="6" y="14"/>
                      <a:pt x="7" y="15"/>
                    </a:cubicBezTo>
                    <a:cubicBezTo>
                      <a:pt x="6" y="14"/>
                      <a:pt x="5" y="15"/>
                      <a:pt x="5" y="14"/>
                    </a:cubicBezTo>
                    <a:cubicBezTo>
                      <a:pt x="5" y="14"/>
                      <a:pt x="5" y="14"/>
                      <a:pt x="5" y="14"/>
                    </a:cubicBezTo>
                    <a:cubicBezTo>
                      <a:pt x="5" y="13"/>
                      <a:pt x="4" y="13"/>
                      <a:pt x="4" y="13"/>
                    </a:cubicBezTo>
                    <a:cubicBezTo>
                      <a:pt x="4" y="13"/>
                      <a:pt x="3" y="12"/>
                      <a:pt x="4" y="12"/>
                    </a:cubicBezTo>
                    <a:cubicBezTo>
                      <a:pt x="4" y="12"/>
                      <a:pt x="4" y="12"/>
                      <a:pt x="3" y="12"/>
                    </a:cubicBezTo>
                    <a:cubicBezTo>
                      <a:pt x="3" y="11"/>
                      <a:pt x="3" y="11"/>
                      <a:pt x="2" y="11"/>
                    </a:cubicBezTo>
                    <a:cubicBezTo>
                      <a:pt x="2" y="11"/>
                      <a:pt x="1" y="10"/>
                      <a:pt x="1" y="9"/>
                    </a:cubicBezTo>
                    <a:cubicBezTo>
                      <a:pt x="2" y="9"/>
                      <a:pt x="3" y="9"/>
                      <a:pt x="3" y="10"/>
                    </a:cubicBezTo>
                    <a:cubicBezTo>
                      <a:pt x="3" y="10"/>
                      <a:pt x="3" y="11"/>
                      <a:pt x="4" y="11"/>
                    </a:cubicBezTo>
                    <a:cubicBezTo>
                      <a:pt x="4" y="11"/>
                      <a:pt x="3" y="9"/>
                      <a:pt x="3" y="9"/>
                    </a:cubicBezTo>
                    <a:cubicBezTo>
                      <a:pt x="2" y="8"/>
                      <a:pt x="2" y="8"/>
                      <a:pt x="2" y="7"/>
                    </a:cubicBezTo>
                    <a:cubicBezTo>
                      <a:pt x="3" y="7"/>
                      <a:pt x="3" y="6"/>
                      <a:pt x="3" y="6"/>
                    </a:cubicBezTo>
                    <a:cubicBezTo>
                      <a:pt x="3" y="5"/>
                      <a:pt x="3" y="5"/>
                      <a:pt x="3" y="4"/>
                    </a:cubicBezTo>
                    <a:cubicBezTo>
                      <a:pt x="3" y="3"/>
                      <a:pt x="5" y="3"/>
                      <a:pt x="6" y="3"/>
                    </a:cubicBezTo>
                    <a:cubicBezTo>
                      <a:pt x="6" y="3"/>
                      <a:pt x="7" y="3"/>
                      <a:pt x="7" y="3"/>
                    </a:cubicBezTo>
                    <a:cubicBezTo>
                      <a:pt x="8" y="3"/>
                      <a:pt x="8" y="3"/>
                      <a:pt x="9" y="3"/>
                    </a:cubicBezTo>
                    <a:cubicBezTo>
                      <a:pt x="9" y="3"/>
                      <a:pt x="9" y="3"/>
                      <a:pt x="10" y="3"/>
                    </a:cubicBezTo>
                    <a:cubicBezTo>
                      <a:pt x="10" y="3"/>
                      <a:pt x="10" y="3"/>
                      <a:pt x="11" y="3"/>
                    </a:cubicBezTo>
                    <a:cubicBezTo>
                      <a:pt x="12" y="3"/>
                      <a:pt x="13" y="4"/>
                      <a:pt x="14" y="3"/>
                    </a:cubicBezTo>
                    <a:cubicBezTo>
                      <a:pt x="14" y="2"/>
                      <a:pt x="14" y="2"/>
                      <a:pt x="14" y="1"/>
                    </a:cubicBezTo>
                    <a:cubicBezTo>
                      <a:pt x="13" y="1"/>
                      <a:pt x="13" y="0"/>
                      <a:pt x="14" y="0"/>
                    </a:cubicBezTo>
                    <a:cubicBezTo>
                      <a:pt x="15" y="1"/>
                      <a:pt x="15" y="2"/>
                      <a:pt x="16" y="3"/>
                    </a:cubicBezTo>
                    <a:cubicBezTo>
                      <a:pt x="17" y="4"/>
                      <a:pt x="18" y="4"/>
                      <a:pt x="19" y="5"/>
                    </a:cubicBezTo>
                    <a:cubicBezTo>
                      <a:pt x="20" y="7"/>
                      <a:pt x="22" y="8"/>
                      <a:pt x="24" y="10"/>
                    </a:cubicBezTo>
                    <a:cubicBezTo>
                      <a:pt x="26" y="11"/>
                      <a:pt x="28" y="13"/>
                      <a:pt x="29" y="15"/>
                    </a:cubicBezTo>
                    <a:cubicBezTo>
                      <a:pt x="30" y="15"/>
                      <a:pt x="30" y="16"/>
                      <a:pt x="31" y="17"/>
                    </a:cubicBezTo>
                    <a:cubicBezTo>
                      <a:pt x="31" y="18"/>
                      <a:pt x="32" y="19"/>
                      <a:pt x="32" y="20"/>
                    </a:cubicBezTo>
                    <a:cubicBezTo>
                      <a:pt x="33" y="20"/>
                      <a:pt x="33" y="21"/>
                      <a:pt x="33" y="21"/>
                    </a:cubicBezTo>
                    <a:cubicBezTo>
                      <a:pt x="33" y="22"/>
                      <a:pt x="33" y="22"/>
                      <a:pt x="33" y="22"/>
                    </a:cubicBezTo>
                    <a:cubicBezTo>
                      <a:pt x="34" y="23"/>
                      <a:pt x="34" y="24"/>
                      <a:pt x="34" y="25"/>
                    </a:cubicBezTo>
                    <a:cubicBezTo>
                      <a:pt x="34" y="26"/>
                      <a:pt x="35" y="27"/>
                      <a:pt x="35" y="27"/>
                    </a:cubicBezTo>
                    <a:cubicBezTo>
                      <a:pt x="35" y="28"/>
                      <a:pt x="36" y="28"/>
                      <a:pt x="35" y="28"/>
                    </a:cubicBezTo>
                    <a:cubicBezTo>
                      <a:pt x="35" y="28"/>
                      <a:pt x="36" y="29"/>
                      <a:pt x="36" y="29"/>
                    </a:cubicBezTo>
                    <a:cubicBezTo>
                      <a:pt x="36" y="28"/>
                      <a:pt x="37" y="27"/>
                      <a:pt x="37" y="28"/>
                    </a:cubicBezTo>
                    <a:cubicBezTo>
                      <a:pt x="37" y="29"/>
                      <a:pt x="38" y="30"/>
                      <a:pt x="38" y="31"/>
                    </a:cubicBezTo>
                    <a:cubicBezTo>
                      <a:pt x="38" y="32"/>
                      <a:pt x="38" y="33"/>
                      <a:pt x="38" y="33"/>
                    </a:cubicBezTo>
                    <a:close/>
                    <a:moveTo>
                      <a:pt x="35" y="42"/>
                    </a:moveTo>
                    <a:cubicBezTo>
                      <a:pt x="35" y="41"/>
                      <a:pt x="35" y="41"/>
                      <a:pt x="34" y="40"/>
                    </a:cubicBezTo>
                    <a:cubicBezTo>
                      <a:pt x="34" y="40"/>
                      <a:pt x="34" y="39"/>
                      <a:pt x="34" y="39"/>
                    </a:cubicBezTo>
                    <a:cubicBezTo>
                      <a:pt x="33" y="40"/>
                      <a:pt x="34" y="40"/>
                      <a:pt x="33" y="40"/>
                    </a:cubicBezTo>
                    <a:cubicBezTo>
                      <a:pt x="33" y="40"/>
                      <a:pt x="34" y="41"/>
                      <a:pt x="34" y="41"/>
                    </a:cubicBezTo>
                    <a:cubicBezTo>
                      <a:pt x="33" y="41"/>
                      <a:pt x="32" y="40"/>
                      <a:pt x="33" y="41"/>
                    </a:cubicBezTo>
                    <a:cubicBezTo>
                      <a:pt x="33" y="42"/>
                      <a:pt x="34" y="41"/>
                      <a:pt x="34" y="42"/>
                    </a:cubicBezTo>
                    <a:cubicBezTo>
                      <a:pt x="33" y="42"/>
                      <a:pt x="34" y="43"/>
                      <a:pt x="35" y="43"/>
                    </a:cubicBezTo>
                    <a:cubicBezTo>
                      <a:pt x="35" y="43"/>
                      <a:pt x="34" y="41"/>
                      <a:pt x="35" y="42"/>
                    </a:cubicBezTo>
                    <a:close/>
                    <a:moveTo>
                      <a:pt x="0" y="9"/>
                    </a:moveTo>
                    <a:cubicBezTo>
                      <a:pt x="0" y="8"/>
                      <a:pt x="0" y="10"/>
                      <a:pt x="0" y="10"/>
                    </a:cubicBezTo>
                    <a:cubicBezTo>
                      <a:pt x="0" y="10"/>
                      <a:pt x="1" y="10"/>
                      <a:pt x="1" y="11"/>
                    </a:cubicBezTo>
                    <a:cubicBezTo>
                      <a:pt x="1" y="11"/>
                      <a:pt x="1" y="11"/>
                      <a:pt x="1" y="11"/>
                    </a:cubicBezTo>
                    <a:cubicBezTo>
                      <a:pt x="1" y="11"/>
                      <a:pt x="1" y="11"/>
                      <a:pt x="1" y="11"/>
                    </a:cubicBezTo>
                    <a:cubicBezTo>
                      <a:pt x="2" y="11"/>
                      <a:pt x="2" y="11"/>
                      <a:pt x="2" y="11"/>
                    </a:cubicBezTo>
                    <a:cubicBezTo>
                      <a:pt x="2" y="10"/>
                      <a:pt x="1" y="9"/>
                      <a:pt x="0" y="9"/>
                    </a:cubicBezTo>
                    <a:close/>
                    <a:moveTo>
                      <a:pt x="52" y="15"/>
                    </a:moveTo>
                    <a:cubicBezTo>
                      <a:pt x="52" y="15"/>
                      <a:pt x="52" y="15"/>
                      <a:pt x="52" y="15"/>
                    </a:cubicBezTo>
                    <a:cubicBezTo>
                      <a:pt x="52" y="15"/>
                      <a:pt x="52" y="15"/>
                      <a:pt x="52" y="15"/>
                    </a:cubicBezTo>
                    <a:close/>
                    <a:moveTo>
                      <a:pt x="42" y="13"/>
                    </a:moveTo>
                    <a:cubicBezTo>
                      <a:pt x="42" y="13"/>
                      <a:pt x="43" y="13"/>
                      <a:pt x="42" y="12"/>
                    </a:cubicBezTo>
                    <a:cubicBezTo>
                      <a:pt x="42" y="11"/>
                      <a:pt x="41" y="12"/>
                      <a:pt x="42" y="13"/>
                    </a:cubicBezTo>
                    <a:close/>
                    <a:moveTo>
                      <a:pt x="13" y="44"/>
                    </a:moveTo>
                    <a:cubicBezTo>
                      <a:pt x="14" y="45"/>
                      <a:pt x="12" y="46"/>
                      <a:pt x="13" y="46"/>
                    </a:cubicBezTo>
                    <a:cubicBezTo>
                      <a:pt x="13" y="46"/>
                      <a:pt x="13" y="47"/>
                      <a:pt x="13" y="47"/>
                    </a:cubicBezTo>
                    <a:cubicBezTo>
                      <a:pt x="14" y="47"/>
                      <a:pt x="14" y="46"/>
                      <a:pt x="14" y="46"/>
                    </a:cubicBezTo>
                    <a:cubicBezTo>
                      <a:pt x="15" y="46"/>
                      <a:pt x="15" y="45"/>
                      <a:pt x="15" y="45"/>
                    </a:cubicBezTo>
                    <a:cubicBezTo>
                      <a:pt x="14" y="45"/>
                      <a:pt x="14" y="44"/>
                      <a:pt x="13" y="44"/>
                    </a:cubicBezTo>
                    <a:close/>
                    <a:moveTo>
                      <a:pt x="28" y="42"/>
                    </a:moveTo>
                    <a:cubicBezTo>
                      <a:pt x="28" y="42"/>
                      <a:pt x="27" y="41"/>
                      <a:pt x="27" y="41"/>
                    </a:cubicBezTo>
                    <a:cubicBezTo>
                      <a:pt x="27" y="40"/>
                      <a:pt x="27" y="40"/>
                      <a:pt x="26" y="41"/>
                    </a:cubicBezTo>
                    <a:cubicBezTo>
                      <a:pt x="26" y="41"/>
                      <a:pt x="27" y="42"/>
                      <a:pt x="27" y="42"/>
                    </a:cubicBezTo>
                    <a:cubicBezTo>
                      <a:pt x="27" y="42"/>
                      <a:pt x="27" y="43"/>
                      <a:pt x="28" y="43"/>
                    </a:cubicBezTo>
                    <a:cubicBezTo>
                      <a:pt x="28" y="43"/>
                      <a:pt x="28" y="42"/>
                      <a:pt x="28" y="42"/>
                    </a:cubicBezTo>
                    <a:cubicBezTo>
                      <a:pt x="28" y="42"/>
                      <a:pt x="29" y="43"/>
                      <a:pt x="29" y="43"/>
                    </a:cubicBezTo>
                    <a:cubicBezTo>
                      <a:pt x="30" y="43"/>
                      <a:pt x="29" y="42"/>
                      <a:pt x="28" y="42"/>
                    </a:cubicBezTo>
                    <a:close/>
                    <a:moveTo>
                      <a:pt x="23" y="56"/>
                    </a:moveTo>
                    <a:cubicBezTo>
                      <a:pt x="22" y="55"/>
                      <a:pt x="21" y="56"/>
                      <a:pt x="20" y="56"/>
                    </a:cubicBezTo>
                    <a:cubicBezTo>
                      <a:pt x="19" y="56"/>
                      <a:pt x="17" y="57"/>
                      <a:pt x="18" y="59"/>
                    </a:cubicBezTo>
                    <a:cubicBezTo>
                      <a:pt x="18" y="59"/>
                      <a:pt x="19" y="60"/>
                      <a:pt x="19" y="59"/>
                    </a:cubicBezTo>
                    <a:cubicBezTo>
                      <a:pt x="20" y="59"/>
                      <a:pt x="21" y="59"/>
                      <a:pt x="21" y="59"/>
                    </a:cubicBezTo>
                    <a:cubicBezTo>
                      <a:pt x="22" y="59"/>
                      <a:pt x="23" y="59"/>
                      <a:pt x="24" y="58"/>
                    </a:cubicBezTo>
                    <a:cubicBezTo>
                      <a:pt x="24" y="58"/>
                      <a:pt x="24" y="57"/>
                      <a:pt x="24" y="56"/>
                    </a:cubicBezTo>
                    <a:cubicBezTo>
                      <a:pt x="24" y="56"/>
                      <a:pt x="24" y="56"/>
                      <a:pt x="23" y="5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88" name="Kiribati">
                <a:extLst>
                  <a:ext uri="{FF2B5EF4-FFF2-40B4-BE49-F238E27FC236}">
                    <a16:creationId xmlns:a16="http://schemas.microsoft.com/office/drawing/2014/main" id="{7B357CE0-F7FA-4ED0-511C-33A1113E586A}"/>
                  </a:ext>
                </a:extLst>
              </p:cNvPr>
              <p:cNvSpPr/>
              <p:nvPr/>
            </p:nvSpPr>
            <p:spPr>
              <a:xfrm>
                <a:off x="11189433" y="4154857"/>
                <a:ext cx="1000676" cy="369353"/>
              </a:xfrm>
              <a:custGeom>
                <a:avLst/>
                <a:gdLst>
                  <a:gd name="connsiteX0" fmla="*/ 5224 w 1000676"/>
                  <a:gd name="connsiteY0" fmla="*/ 99058 h 369353"/>
                  <a:gd name="connsiteX1" fmla="*/ 6417 w 1000676"/>
                  <a:gd name="connsiteY1" fmla="*/ 102638 h 369353"/>
                  <a:gd name="connsiteX2" fmla="*/ 1644 w 1000676"/>
                  <a:gd name="connsiteY2" fmla="*/ 107412 h 369353"/>
                  <a:gd name="connsiteX3" fmla="*/ 2837 w 1000676"/>
                  <a:gd name="connsiteY3" fmla="*/ 99853 h 369353"/>
                  <a:gd name="connsiteX4" fmla="*/ 5224 w 1000676"/>
                  <a:gd name="connsiteY4" fmla="*/ 99058 h 369353"/>
                  <a:gd name="connsiteX5" fmla="*/ 848 w 1000676"/>
                  <a:gd name="connsiteY5" fmla="*/ 59673 h 369353"/>
                  <a:gd name="connsiteX6" fmla="*/ 848 w 1000676"/>
                  <a:gd name="connsiteY6" fmla="*/ 63652 h 369353"/>
                  <a:gd name="connsiteX7" fmla="*/ 4428 w 1000676"/>
                  <a:gd name="connsiteY7" fmla="*/ 61663 h 369353"/>
                  <a:gd name="connsiteX8" fmla="*/ 2837 w 1000676"/>
                  <a:gd name="connsiteY8" fmla="*/ 56491 h 369353"/>
                  <a:gd name="connsiteX9" fmla="*/ 848 w 1000676"/>
                  <a:gd name="connsiteY9" fmla="*/ 59673 h 369353"/>
                  <a:gd name="connsiteX10" fmla="*/ 87175 w 1000676"/>
                  <a:gd name="connsiteY10" fmla="*/ 1591 h 369353"/>
                  <a:gd name="connsiteX11" fmla="*/ 87971 w 1000676"/>
                  <a:gd name="connsiteY11" fmla="*/ 3978 h 369353"/>
                  <a:gd name="connsiteX12" fmla="*/ 87573 w 1000676"/>
                  <a:gd name="connsiteY12" fmla="*/ 0 h 369353"/>
                  <a:gd name="connsiteX13" fmla="*/ 87175 w 1000676"/>
                  <a:gd name="connsiteY13" fmla="*/ 1591 h 369353"/>
                  <a:gd name="connsiteX14" fmla="*/ 86778 w 1000676"/>
                  <a:gd name="connsiteY14" fmla="*/ 5967 h 369353"/>
                  <a:gd name="connsiteX15" fmla="*/ 83197 w 1000676"/>
                  <a:gd name="connsiteY15" fmla="*/ 6763 h 369353"/>
                  <a:gd name="connsiteX16" fmla="*/ 82004 w 1000676"/>
                  <a:gd name="connsiteY16" fmla="*/ 9150 h 369353"/>
                  <a:gd name="connsiteX17" fmla="*/ 84391 w 1000676"/>
                  <a:gd name="connsiteY17" fmla="*/ 9548 h 369353"/>
                  <a:gd name="connsiteX18" fmla="*/ 88369 w 1000676"/>
                  <a:gd name="connsiteY18" fmla="*/ 6763 h 369353"/>
                  <a:gd name="connsiteX19" fmla="*/ 86778 w 1000676"/>
                  <a:gd name="connsiteY19" fmla="*/ 5967 h 369353"/>
                  <a:gd name="connsiteX20" fmla="*/ 87971 w 1000676"/>
                  <a:gd name="connsiteY20" fmla="*/ 38987 h 369353"/>
                  <a:gd name="connsiteX21" fmla="*/ 85982 w 1000676"/>
                  <a:gd name="connsiteY21" fmla="*/ 42965 h 369353"/>
                  <a:gd name="connsiteX22" fmla="*/ 88767 w 1000676"/>
                  <a:gd name="connsiteY22" fmla="*/ 46147 h 369353"/>
                  <a:gd name="connsiteX23" fmla="*/ 88767 w 1000676"/>
                  <a:gd name="connsiteY23" fmla="*/ 42169 h 369353"/>
                  <a:gd name="connsiteX24" fmla="*/ 90756 w 1000676"/>
                  <a:gd name="connsiteY24" fmla="*/ 38589 h 369353"/>
                  <a:gd name="connsiteX25" fmla="*/ 88369 w 1000676"/>
                  <a:gd name="connsiteY25" fmla="*/ 35406 h 369353"/>
                  <a:gd name="connsiteX26" fmla="*/ 83595 w 1000676"/>
                  <a:gd name="connsiteY26" fmla="*/ 35406 h 369353"/>
                  <a:gd name="connsiteX27" fmla="*/ 86380 w 1000676"/>
                  <a:gd name="connsiteY27" fmla="*/ 38191 h 369353"/>
                  <a:gd name="connsiteX28" fmla="*/ 87971 w 1000676"/>
                  <a:gd name="connsiteY28" fmla="*/ 38987 h 369353"/>
                  <a:gd name="connsiteX29" fmla="*/ 87175 w 1000676"/>
                  <a:gd name="connsiteY29" fmla="*/ 50126 h 369353"/>
                  <a:gd name="connsiteX30" fmla="*/ 86778 w 1000676"/>
                  <a:gd name="connsiteY30" fmla="*/ 55297 h 369353"/>
                  <a:gd name="connsiteX31" fmla="*/ 88369 w 1000676"/>
                  <a:gd name="connsiteY31" fmla="*/ 58082 h 369353"/>
                  <a:gd name="connsiteX32" fmla="*/ 88369 w 1000676"/>
                  <a:gd name="connsiteY32" fmla="*/ 62060 h 369353"/>
                  <a:gd name="connsiteX33" fmla="*/ 91949 w 1000676"/>
                  <a:gd name="connsiteY33" fmla="*/ 58480 h 369353"/>
                  <a:gd name="connsiteX34" fmla="*/ 90756 w 1000676"/>
                  <a:gd name="connsiteY34" fmla="*/ 49330 h 369353"/>
                  <a:gd name="connsiteX35" fmla="*/ 87175 w 1000676"/>
                  <a:gd name="connsiteY35" fmla="*/ 50126 h 369353"/>
                  <a:gd name="connsiteX36" fmla="*/ 103088 w 1000676"/>
                  <a:gd name="connsiteY36" fmla="*/ 75984 h 369353"/>
                  <a:gd name="connsiteX37" fmla="*/ 100701 w 1000676"/>
                  <a:gd name="connsiteY37" fmla="*/ 77973 h 369353"/>
                  <a:gd name="connsiteX38" fmla="*/ 103884 w 1000676"/>
                  <a:gd name="connsiteY38" fmla="*/ 78769 h 369353"/>
                  <a:gd name="connsiteX39" fmla="*/ 105475 w 1000676"/>
                  <a:gd name="connsiteY39" fmla="*/ 76382 h 369353"/>
                  <a:gd name="connsiteX40" fmla="*/ 103088 w 1000676"/>
                  <a:gd name="connsiteY40" fmla="*/ 75984 h 369353"/>
                  <a:gd name="connsiteX41" fmla="*/ 109851 w 1000676"/>
                  <a:gd name="connsiteY41" fmla="*/ 68028 h 369353"/>
                  <a:gd name="connsiteX42" fmla="*/ 107464 w 1000676"/>
                  <a:gd name="connsiteY42" fmla="*/ 69619 h 369353"/>
                  <a:gd name="connsiteX43" fmla="*/ 108260 w 1000676"/>
                  <a:gd name="connsiteY43" fmla="*/ 72006 h 369353"/>
                  <a:gd name="connsiteX44" fmla="*/ 111045 w 1000676"/>
                  <a:gd name="connsiteY44" fmla="*/ 72802 h 369353"/>
                  <a:gd name="connsiteX45" fmla="*/ 111841 w 1000676"/>
                  <a:gd name="connsiteY45" fmla="*/ 72006 h 369353"/>
                  <a:gd name="connsiteX46" fmla="*/ 109056 w 1000676"/>
                  <a:gd name="connsiteY46" fmla="*/ 69619 h 369353"/>
                  <a:gd name="connsiteX47" fmla="*/ 110647 w 1000676"/>
                  <a:gd name="connsiteY47" fmla="*/ 68028 h 369353"/>
                  <a:gd name="connsiteX48" fmla="*/ 109851 w 1000676"/>
                  <a:gd name="connsiteY48" fmla="*/ 68028 h 369353"/>
                  <a:gd name="connsiteX49" fmla="*/ 119399 w 1000676"/>
                  <a:gd name="connsiteY49" fmla="*/ 97864 h 369353"/>
                  <a:gd name="connsiteX50" fmla="*/ 122582 w 1000676"/>
                  <a:gd name="connsiteY50" fmla="*/ 98262 h 369353"/>
                  <a:gd name="connsiteX51" fmla="*/ 122582 w 1000676"/>
                  <a:gd name="connsiteY51" fmla="*/ 101843 h 369353"/>
                  <a:gd name="connsiteX52" fmla="*/ 126162 w 1000676"/>
                  <a:gd name="connsiteY52" fmla="*/ 102638 h 369353"/>
                  <a:gd name="connsiteX53" fmla="*/ 126162 w 1000676"/>
                  <a:gd name="connsiteY53" fmla="*/ 98660 h 369353"/>
                  <a:gd name="connsiteX54" fmla="*/ 123377 w 1000676"/>
                  <a:gd name="connsiteY54" fmla="*/ 96273 h 369353"/>
                  <a:gd name="connsiteX55" fmla="*/ 119797 w 1000676"/>
                  <a:gd name="connsiteY55" fmla="*/ 97069 h 369353"/>
                  <a:gd name="connsiteX56" fmla="*/ 119399 w 1000676"/>
                  <a:gd name="connsiteY56" fmla="*/ 97864 h 369353"/>
                  <a:gd name="connsiteX57" fmla="*/ 132925 w 1000676"/>
                  <a:gd name="connsiteY57" fmla="*/ 110595 h 369353"/>
                  <a:gd name="connsiteX58" fmla="*/ 130140 w 1000676"/>
                  <a:gd name="connsiteY58" fmla="*/ 111390 h 369353"/>
                  <a:gd name="connsiteX59" fmla="*/ 131334 w 1000676"/>
                  <a:gd name="connsiteY59" fmla="*/ 113777 h 369353"/>
                  <a:gd name="connsiteX60" fmla="*/ 132925 w 1000676"/>
                  <a:gd name="connsiteY60" fmla="*/ 115369 h 369353"/>
                  <a:gd name="connsiteX61" fmla="*/ 134914 w 1000676"/>
                  <a:gd name="connsiteY61" fmla="*/ 112186 h 369353"/>
                  <a:gd name="connsiteX62" fmla="*/ 132925 w 1000676"/>
                  <a:gd name="connsiteY62" fmla="*/ 110595 h 369353"/>
                  <a:gd name="connsiteX63" fmla="*/ 135710 w 1000676"/>
                  <a:gd name="connsiteY63" fmla="*/ 115766 h 369353"/>
                  <a:gd name="connsiteX64" fmla="*/ 136506 w 1000676"/>
                  <a:gd name="connsiteY64" fmla="*/ 118153 h 369353"/>
                  <a:gd name="connsiteX65" fmla="*/ 134914 w 1000676"/>
                  <a:gd name="connsiteY65" fmla="*/ 118153 h 369353"/>
                  <a:gd name="connsiteX66" fmla="*/ 135312 w 1000676"/>
                  <a:gd name="connsiteY66" fmla="*/ 119745 h 369353"/>
                  <a:gd name="connsiteX67" fmla="*/ 136903 w 1000676"/>
                  <a:gd name="connsiteY67" fmla="*/ 120540 h 369353"/>
                  <a:gd name="connsiteX68" fmla="*/ 139290 w 1000676"/>
                  <a:gd name="connsiteY68" fmla="*/ 120142 h 369353"/>
                  <a:gd name="connsiteX69" fmla="*/ 139688 w 1000676"/>
                  <a:gd name="connsiteY69" fmla="*/ 117755 h 369353"/>
                  <a:gd name="connsiteX70" fmla="*/ 137699 w 1000676"/>
                  <a:gd name="connsiteY70" fmla="*/ 116164 h 369353"/>
                  <a:gd name="connsiteX71" fmla="*/ 135710 w 1000676"/>
                  <a:gd name="connsiteY71" fmla="*/ 115766 h 369353"/>
                  <a:gd name="connsiteX72" fmla="*/ 152418 w 1000676"/>
                  <a:gd name="connsiteY72" fmla="*/ 124916 h 369353"/>
                  <a:gd name="connsiteX73" fmla="*/ 148440 w 1000676"/>
                  <a:gd name="connsiteY73" fmla="*/ 128099 h 369353"/>
                  <a:gd name="connsiteX74" fmla="*/ 150827 w 1000676"/>
                  <a:gd name="connsiteY74" fmla="*/ 131679 h 369353"/>
                  <a:gd name="connsiteX75" fmla="*/ 154408 w 1000676"/>
                  <a:gd name="connsiteY75" fmla="*/ 128895 h 369353"/>
                  <a:gd name="connsiteX76" fmla="*/ 152418 w 1000676"/>
                  <a:gd name="connsiteY76" fmla="*/ 124916 h 369353"/>
                  <a:gd name="connsiteX77" fmla="*/ 162762 w 1000676"/>
                  <a:gd name="connsiteY77" fmla="*/ 139636 h 369353"/>
                  <a:gd name="connsiteX78" fmla="*/ 158784 w 1000676"/>
                  <a:gd name="connsiteY78" fmla="*/ 143216 h 369353"/>
                  <a:gd name="connsiteX79" fmla="*/ 162762 w 1000676"/>
                  <a:gd name="connsiteY79" fmla="*/ 146001 h 369353"/>
                  <a:gd name="connsiteX80" fmla="*/ 165547 w 1000676"/>
                  <a:gd name="connsiteY80" fmla="*/ 141227 h 369353"/>
                  <a:gd name="connsiteX81" fmla="*/ 162762 w 1000676"/>
                  <a:gd name="connsiteY81" fmla="*/ 139636 h 369353"/>
                  <a:gd name="connsiteX82" fmla="*/ 161568 w 1000676"/>
                  <a:gd name="connsiteY82" fmla="*/ 111788 h 369353"/>
                  <a:gd name="connsiteX83" fmla="*/ 159579 w 1000676"/>
                  <a:gd name="connsiteY83" fmla="*/ 115369 h 369353"/>
                  <a:gd name="connsiteX84" fmla="*/ 162762 w 1000676"/>
                  <a:gd name="connsiteY84" fmla="*/ 115766 h 369353"/>
                  <a:gd name="connsiteX85" fmla="*/ 165149 w 1000676"/>
                  <a:gd name="connsiteY85" fmla="*/ 112982 h 369353"/>
                  <a:gd name="connsiteX86" fmla="*/ 161568 w 1000676"/>
                  <a:gd name="connsiteY86" fmla="*/ 111788 h 369353"/>
                  <a:gd name="connsiteX87" fmla="*/ 174299 w 1000676"/>
                  <a:gd name="connsiteY87" fmla="*/ 113379 h 369353"/>
                  <a:gd name="connsiteX88" fmla="*/ 171116 w 1000676"/>
                  <a:gd name="connsiteY88" fmla="*/ 115766 h 369353"/>
                  <a:gd name="connsiteX89" fmla="*/ 174299 w 1000676"/>
                  <a:gd name="connsiteY89" fmla="*/ 118551 h 369353"/>
                  <a:gd name="connsiteX90" fmla="*/ 175890 w 1000676"/>
                  <a:gd name="connsiteY90" fmla="*/ 114573 h 369353"/>
                  <a:gd name="connsiteX91" fmla="*/ 174299 w 1000676"/>
                  <a:gd name="connsiteY91" fmla="*/ 113379 h 369353"/>
                  <a:gd name="connsiteX92" fmla="*/ 183449 w 1000676"/>
                  <a:gd name="connsiteY92" fmla="*/ 143614 h 369353"/>
                  <a:gd name="connsiteX93" fmla="*/ 179868 w 1000676"/>
                  <a:gd name="connsiteY93" fmla="*/ 148786 h 369353"/>
                  <a:gd name="connsiteX94" fmla="*/ 183846 w 1000676"/>
                  <a:gd name="connsiteY94" fmla="*/ 146797 h 369353"/>
                  <a:gd name="connsiteX95" fmla="*/ 187029 w 1000676"/>
                  <a:gd name="connsiteY95" fmla="*/ 144410 h 369353"/>
                  <a:gd name="connsiteX96" fmla="*/ 183449 w 1000676"/>
                  <a:gd name="connsiteY96" fmla="*/ 143614 h 369353"/>
                  <a:gd name="connsiteX97" fmla="*/ 394693 w 1000676"/>
                  <a:gd name="connsiteY97" fmla="*/ 193740 h 369353"/>
                  <a:gd name="connsiteX98" fmla="*/ 392704 w 1000676"/>
                  <a:gd name="connsiteY98" fmla="*/ 197320 h 369353"/>
                  <a:gd name="connsiteX99" fmla="*/ 397080 w 1000676"/>
                  <a:gd name="connsiteY99" fmla="*/ 198513 h 369353"/>
                  <a:gd name="connsiteX100" fmla="*/ 399864 w 1000676"/>
                  <a:gd name="connsiteY100" fmla="*/ 194933 h 369353"/>
                  <a:gd name="connsiteX101" fmla="*/ 394693 w 1000676"/>
                  <a:gd name="connsiteY101" fmla="*/ 193740 h 369353"/>
                  <a:gd name="connsiteX102" fmla="*/ 406230 w 1000676"/>
                  <a:gd name="connsiteY102" fmla="*/ 168279 h 369353"/>
                  <a:gd name="connsiteX103" fmla="*/ 401853 w 1000676"/>
                  <a:gd name="connsiteY103" fmla="*/ 171859 h 369353"/>
                  <a:gd name="connsiteX104" fmla="*/ 410606 w 1000676"/>
                  <a:gd name="connsiteY104" fmla="*/ 170666 h 369353"/>
                  <a:gd name="connsiteX105" fmla="*/ 406230 w 1000676"/>
                  <a:gd name="connsiteY105" fmla="*/ 168279 h 369353"/>
                  <a:gd name="connsiteX106" fmla="*/ 455560 w 1000676"/>
                  <a:gd name="connsiteY106" fmla="*/ 189364 h 369353"/>
                  <a:gd name="connsiteX107" fmla="*/ 449990 w 1000676"/>
                  <a:gd name="connsiteY107" fmla="*/ 192148 h 369353"/>
                  <a:gd name="connsiteX108" fmla="*/ 454366 w 1000676"/>
                  <a:gd name="connsiteY108" fmla="*/ 193740 h 369353"/>
                  <a:gd name="connsiteX109" fmla="*/ 459140 w 1000676"/>
                  <a:gd name="connsiteY109" fmla="*/ 191353 h 369353"/>
                  <a:gd name="connsiteX110" fmla="*/ 455560 w 1000676"/>
                  <a:gd name="connsiteY110" fmla="*/ 189364 h 369353"/>
                  <a:gd name="connsiteX111" fmla="*/ 470677 w 1000676"/>
                  <a:gd name="connsiteY111" fmla="*/ 166290 h 369353"/>
                  <a:gd name="connsiteX112" fmla="*/ 466699 w 1000676"/>
                  <a:gd name="connsiteY112" fmla="*/ 169075 h 369353"/>
                  <a:gd name="connsiteX113" fmla="*/ 470279 w 1000676"/>
                  <a:gd name="connsiteY113" fmla="*/ 171462 h 369353"/>
                  <a:gd name="connsiteX114" fmla="*/ 474257 w 1000676"/>
                  <a:gd name="connsiteY114" fmla="*/ 169075 h 369353"/>
                  <a:gd name="connsiteX115" fmla="*/ 470677 w 1000676"/>
                  <a:gd name="connsiteY115" fmla="*/ 166290 h 369353"/>
                  <a:gd name="connsiteX116" fmla="*/ 466301 w 1000676"/>
                  <a:gd name="connsiteY116" fmla="*/ 150377 h 369353"/>
                  <a:gd name="connsiteX117" fmla="*/ 465505 w 1000676"/>
                  <a:gd name="connsiteY117" fmla="*/ 153560 h 369353"/>
                  <a:gd name="connsiteX118" fmla="*/ 468290 w 1000676"/>
                  <a:gd name="connsiteY118" fmla="*/ 153957 h 369353"/>
                  <a:gd name="connsiteX119" fmla="*/ 468290 w 1000676"/>
                  <a:gd name="connsiteY119" fmla="*/ 150775 h 369353"/>
                  <a:gd name="connsiteX120" fmla="*/ 466301 w 1000676"/>
                  <a:gd name="connsiteY120" fmla="*/ 150377 h 369353"/>
                  <a:gd name="connsiteX121" fmla="*/ 481418 w 1000676"/>
                  <a:gd name="connsiteY121" fmla="*/ 155946 h 369353"/>
                  <a:gd name="connsiteX122" fmla="*/ 480225 w 1000676"/>
                  <a:gd name="connsiteY122" fmla="*/ 161516 h 369353"/>
                  <a:gd name="connsiteX123" fmla="*/ 484601 w 1000676"/>
                  <a:gd name="connsiteY123" fmla="*/ 160720 h 369353"/>
                  <a:gd name="connsiteX124" fmla="*/ 484999 w 1000676"/>
                  <a:gd name="connsiteY124" fmla="*/ 155946 h 369353"/>
                  <a:gd name="connsiteX125" fmla="*/ 481418 w 1000676"/>
                  <a:gd name="connsiteY125" fmla="*/ 155946 h 369353"/>
                  <a:gd name="connsiteX126" fmla="*/ 488977 w 1000676"/>
                  <a:gd name="connsiteY126" fmla="*/ 173451 h 369353"/>
                  <a:gd name="connsiteX127" fmla="*/ 486590 w 1000676"/>
                  <a:gd name="connsiteY127" fmla="*/ 176633 h 369353"/>
                  <a:gd name="connsiteX128" fmla="*/ 490966 w 1000676"/>
                  <a:gd name="connsiteY128" fmla="*/ 178225 h 369353"/>
                  <a:gd name="connsiteX129" fmla="*/ 494148 w 1000676"/>
                  <a:gd name="connsiteY129" fmla="*/ 174644 h 369353"/>
                  <a:gd name="connsiteX130" fmla="*/ 488977 w 1000676"/>
                  <a:gd name="connsiteY130" fmla="*/ 173451 h 369353"/>
                  <a:gd name="connsiteX131" fmla="*/ 476246 w 1000676"/>
                  <a:gd name="connsiteY131" fmla="*/ 186977 h 369353"/>
                  <a:gd name="connsiteX132" fmla="*/ 472666 w 1000676"/>
                  <a:gd name="connsiteY132" fmla="*/ 191353 h 369353"/>
                  <a:gd name="connsiteX133" fmla="*/ 473064 w 1000676"/>
                  <a:gd name="connsiteY133" fmla="*/ 195729 h 369353"/>
                  <a:gd name="connsiteX134" fmla="*/ 477838 w 1000676"/>
                  <a:gd name="connsiteY134" fmla="*/ 191353 h 369353"/>
                  <a:gd name="connsiteX135" fmla="*/ 481020 w 1000676"/>
                  <a:gd name="connsiteY135" fmla="*/ 189761 h 369353"/>
                  <a:gd name="connsiteX136" fmla="*/ 479429 w 1000676"/>
                  <a:gd name="connsiteY136" fmla="*/ 185783 h 369353"/>
                  <a:gd name="connsiteX137" fmla="*/ 476246 w 1000676"/>
                  <a:gd name="connsiteY137" fmla="*/ 186977 h 369353"/>
                  <a:gd name="connsiteX138" fmla="*/ 819568 w 1000676"/>
                  <a:gd name="connsiteY138" fmla="*/ 33019 h 369353"/>
                  <a:gd name="connsiteX139" fmla="*/ 814794 w 1000676"/>
                  <a:gd name="connsiteY139" fmla="*/ 35008 h 369353"/>
                  <a:gd name="connsiteX140" fmla="*/ 813202 w 1000676"/>
                  <a:gd name="connsiteY140" fmla="*/ 37793 h 369353"/>
                  <a:gd name="connsiteX141" fmla="*/ 823944 w 1000676"/>
                  <a:gd name="connsiteY141" fmla="*/ 40180 h 369353"/>
                  <a:gd name="connsiteX142" fmla="*/ 820363 w 1000676"/>
                  <a:gd name="connsiteY142" fmla="*/ 37395 h 369353"/>
                  <a:gd name="connsiteX143" fmla="*/ 820761 w 1000676"/>
                  <a:gd name="connsiteY143" fmla="*/ 35406 h 369353"/>
                  <a:gd name="connsiteX144" fmla="*/ 821159 w 1000676"/>
                  <a:gd name="connsiteY144" fmla="*/ 33815 h 369353"/>
                  <a:gd name="connsiteX145" fmla="*/ 819568 w 1000676"/>
                  <a:gd name="connsiteY145" fmla="*/ 33019 h 369353"/>
                  <a:gd name="connsiteX146" fmla="*/ 805644 w 1000676"/>
                  <a:gd name="connsiteY146" fmla="*/ 300754 h 369353"/>
                  <a:gd name="connsiteX147" fmla="*/ 801666 w 1000676"/>
                  <a:gd name="connsiteY147" fmla="*/ 305130 h 369353"/>
                  <a:gd name="connsiteX148" fmla="*/ 806042 w 1000676"/>
                  <a:gd name="connsiteY148" fmla="*/ 305130 h 369353"/>
                  <a:gd name="connsiteX149" fmla="*/ 811213 w 1000676"/>
                  <a:gd name="connsiteY149" fmla="*/ 302345 h 369353"/>
                  <a:gd name="connsiteX150" fmla="*/ 805644 w 1000676"/>
                  <a:gd name="connsiteY150" fmla="*/ 300754 h 369353"/>
                  <a:gd name="connsiteX151" fmla="*/ 854576 w 1000676"/>
                  <a:gd name="connsiteY151" fmla="*/ 219598 h 369353"/>
                  <a:gd name="connsiteX152" fmla="*/ 853383 w 1000676"/>
                  <a:gd name="connsiteY152" fmla="*/ 222383 h 369353"/>
                  <a:gd name="connsiteX153" fmla="*/ 858554 w 1000676"/>
                  <a:gd name="connsiteY153" fmla="*/ 221189 h 369353"/>
                  <a:gd name="connsiteX154" fmla="*/ 857361 w 1000676"/>
                  <a:gd name="connsiteY154" fmla="*/ 217211 h 369353"/>
                  <a:gd name="connsiteX155" fmla="*/ 854576 w 1000676"/>
                  <a:gd name="connsiteY155" fmla="*/ 219598 h 369353"/>
                  <a:gd name="connsiteX156" fmla="*/ 878048 w 1000676"/>
                  <a:gd name="connsiteY156" fmla="*/ 180214 h 369353"/>
                  <a:gd name="connsiteX157" fmla="*/ 876456 w 1000676"/>
                  <a:gd name="connsiteY157" fmla="*/ 184590 h 369353"/>
                  <a:gd name="connsiteX158" fmla="*/ 882424 w 1000676"/>
                  <a:gd name="connsiteY158" fmla="*/ 182998 h 369353"/>
                  <a:gd name="connsiteX159" fmla="*/ 878048 w 1000676"/>
                  <a:gd name="connsiteY159" fmla="*/ 180214 h 369353"/>
                  <a:gd name="connsiteX160" fmla="*/ 941302 w 1000676"/>
                  <a:gd name="connsiteY160" fmla="*/ 327010 h 369353"/>
                  <a:gd name="connsiteX161" fmla="*/ 937721 w 1000676"/>
                  <a:gd name="connsiteY161" fmla="*/ 330988 h 369353"/>
                  <a:gd name="connsiteX162" fmla="*/ 942097 w 1000676"/>
                  <a:gd name="connsiteY162" fmla="*/ 332182 h 369353"/>
                  <a:gd name="connsiteX163" fmla="*/ 946473 w 1000676"/>
                  <a:gd name="connsiteY163" fmla="*/ 329397 h 369353"/>
                  <a:gd name="connsiteX164" fmla="*/ 941302 w 1000676"/>
                  <a:gd name="connsiteY164" fmla="*/ 327010 h 369353"/>
                  <a:gd name="connsiteX165" fmla="*/ 954430 w 1000676"/>
                  <a:gd name="connsiteY165" fmla="*/ 361223 h 369353"/>
                  <a:gd name="connsiteX166" fmla="*/ 953236 w 1000676"/>
                  <a:gd name="connsiteY166" fmla="*/ 365997 h 369353"/>
                  <a:gd name="connsiteX167" fmla="*/ 956817 w 1000676"/>
                  <a:gd name="connsiteY167" fmla="*/ 368384 h 369353"/>
                  <a:gd name="connsiteX168" fmla="*/ 956817 w 1000676"/>
                  <a:gd name="connsiteY168" fmla="*/ 364008 h 369353"/>
                  <a:gd name="connsiteX169" fmla="*/ 959999 w 1000676"/>
                  <a:gd name="connsiteY169" fmla="*/ 362814 h 369353"/>
                  <a:gd name="connsiteX170" fmla="*/ 957214 w 1000676"/>
                  <a:gd name="connsiteY170" fmla="*/ 359234 h 369353"/>
                  <a:gd name="connsiteX171" fmla="*/ 954430 w 1000676"/>
                  <a:gd name="connsiteY171" fmla="*/ 361223 h 369353"/>
                  <a:gd name="connsiteX172" fmla="*/ 996599 w 1000676"/>
                  <a:gd name="connsiteY172" fmla="*/ 323430 h 369353"/>
                  <a:gd name="connsiteX173" fmla="*/ 992621 w 1000676"/>
                  <a:gd name="connsiteY173" fmla="*/ 325021 h 369353"/>
                  <a:gd name="connsiteX174" fmla="*/ 990632 w 1000676"/>
                  <a:gd name="connsiteY174" fmla="*/ 328204 h 369353"/>
                  <a:gd name="connsiteX175" fmla="*/ 994212 w 1000676"/>
                  <a:gd name="connsiteY175" fmla="*/ 327408 h 369353"/>
                  <a:gd name="connsiteX176" fmla="*/ 997395 w 1000676"/>
                  <a:gd name="connsiteY176" fmla="*/ 329397 h 369353"/>
                  <a:gd name="connsiteX177" fmla="*/ 1000179 w 1000676"/>
                  <a:gd name="connsiteY177" fmla="*/ 326612 h 369353"/>
                  <a:gd name="connsiteX178" fmla="*/ 999384 w 1000676"/>
                  <a:gd name="connsiteY178" fmla="*/ 323430 h 369353"/>
                  <a:gd name="connsiteX179" fmla="*/ 996599 w 1000676"/>
                  <a:gd name="connsiteY179" fmla="*/ 323430 h 36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000676" h="369353">
                    <a:moveTo>
                      <a:pt x="5224" y="99058"/>
                    </a:moveTo>
                    <a:cubicBezTo>
                      <a:pt x="6815" y="99456"/>
                      <a:pt x="9202" y="102240"/>
                      <a:pt x="6417" y="102638"/>
                    </a:cubicBezTo>
                    <a:cubicBezTo>
                      <a:pt x="4030" y="103434"/>
                      <a:pt x="3633" y="106219"/>
                      <a:pt x="1644" y="107412"/>
                    </a:cubicBezTo>
                    <a:cubicBezTo>
                      <a:pt x="-346" y="108606"/>
                      <a:pt x="-1141" y="101843"/>
                      <a:pt x="2837" y="99853"/>
                    </a:cubicBezTo>
                    <a:cubicBezTo>
                      <a:pt x="2837" y="99853"/>
                      <a:pt x="4030" y="98660"/>
                      <a:pt x="5224" y="99058"/>
                    </a:cubicBezTo>
                    <a:close/>
                    <a:moveTo>
                      <a:pt x="848" y="59673"/>
                    </a:moveTo>
                    <a:cubicBezTo>
                      <a:pt x="52" y="61663"/>
                      <a:pt x="-346" y="63254"/>
                      <a:pt x="848" y="63652"/>
                    </a:cubicBezTo>
                    <a:cubicBezTo>
                      <a:pt x="2041" y="64049"/>
                      <a:pt x="2837" y="63652"/>
                      <a:pt x="4428" y="61663"/>
                    </a:cubicBezTo>
                    <a:cubicBezTo>
                      <a:pt x="4428" y="59276"/>
                      <a:pt x="4030" y="56491"/>
                      <a:pt x="2837" y="56491"/>
                    </a:cubicBezTo>
                    <a:cubicBezTo>
                      <a:pt x="1644" y="56889"/>
                      <a:pt x="848" y="59673"/>
                      <a:pt x="848" y="59673"/>
                    </a:cubicBezTo>
                    <a:close/>
                    <a:moveTo>
                      <a:pt x="87175" y="1591"/>
                    </a:moveTo>
                    <a:cubicBezTo>
                      <a:pt x="86778" y="3183"/>
                      <a:pt x="86778" y="5172"/>
                      <a:pt x="87971" y="3978"/>
                    </a:cubicBezTo>
                    <a:cubicBezTo>
                      <a:pt x="89562" y="2387"/>
                      <a:pt x="87971" y="0"/>
                      <a:pt x="87573" y="0"/>
                    </a:cubicBezTo>
                    <a:cubicBezTo>
                      <a:pt x="87175" y="398"/>
                      <a:pt x="87175" y="1591"/>
                      <a:pt x="87175" y="1591"/>
                    </a:cubicBezTo>
                    <a:close/>
                    <a:moveTo>
                      <a:pt x="86778" y="5967"/>
                    </a:moveTo>
                    <a:cubicBezTo>
                      <a:pt x="85186" y="7161"/>
                      <a:pt x="84391" y="6763"/>
                      <a:pt x="83197" y="6763"/>
                    </a:cubicBezTo>
                    <a:cubicBezTo>
                      <a:pt x="82402" y="7161"/>
                      <a:pt x="81208" y="8752"/>
                      <a:pt x="82004" y="9150"/>
                    </a:cubicBezTo>
                    <a:cubicBezTo>
                      <a:pt x="82799" y="9946"/>
                      <a:pt x="83993" y="10741"/>
                      <a:pt x="84391" y="9548"/>
                    </a:cubicBezTo>
                    <a:cubicBezTo>
                      <a:pt x="85186" y="8354"/>
                      <a:pt x="88369" y="7559"/>
                      <a:pt x="88369" y="6763"/>
                    </a:cubicBezTo>
                    <a:cubicBezTo>
                      <a:pt x="88369" y="5967"/>
                      <a:pt x="86778" y="5967"/>
                      <a:pt x="86778" y="5967"/>
                    </a:cubicBezTo>
                    <a:close/>
                    <a:moveTo>
                      <a:pt x="87971" y="38987"/>
                    </a:moveTo>
                    <a:cubicBezTo>
                      <a:pt x="88369" y="39782"/>
                      <a:pt x="86380" y="41374"/>
                      <a:pt x="85982" y="42965"/>
                    </a:cubicBezTo>
                    <a:cubicBezTo>
                      <a:pt x="85584" y="44556"/>
                      <a:pt x="86778" y="45352"/>
                      <a:pt x="88767" y="46147"/>
                    </a:cubicBezTo>
                    <a:cubicBezTo>
                      <a:pt x="90756" y="47341"/>
                      <a:pt x="89165" y="44158"/>
                      <a:pt x="88767" y="42169"/>
                    </a:cubicBezTo>
                    <a:cubicBezTo>
                      <a:pt x="88369" y="40180"/>
                      <a:pt x="89960" y="40976"/>
                      <a:pt x="90756" y="38589"/>
                    </a:cubicBezTo>
                    <a:cubicBezTo>
                      <a:pt x="91552" y="36202"/>
                      <a:pt x="89562" y="36600"/>
                      <a:pt x="88369" y="35406"/>
                    </a:cubicBezTo>
                    <a:cubicBezTo>
                      <a:pt x="87175" y="34213"/>
                      <a:pt x="86380" y="33815"/>
                      <a:pt x="83595" y="35406"/>
                    </a:cubicBezTo>
                    <a:cubicBezTo>
                      <a:pt x="81208" y="36600"/>
                      <a:pt x="83993" y="37395"/>
                      <a:pt x="86380" y="38191"/>
                    </a:cubicBezTo>
                    <a:cubicBezTo>
                      <a:pt x="86778" y="38191"/>
                      <a:pt x="87971" y="38191"/>
                      <a:pt x="87971" y="38987"/>
                    </a:cubicBezTo>
                    <a:close/>
                    <a:moveTo>
                      <a:pt x="87175" y="50126"/>
                    </a:moveTo>
                    <a:cubicBezTo>
                      <a:pt x="85584" y="52513"/>
                      <a:pt x="85584" y="54104"/>
                      <a:pt x="86778" y="55297"/>
                    </a:cubicBezTo>
                    <a:cubicBezTo>
                      <a:pt x="87971" y="56491"/>
                      <a:pt x="89165" y="56491"/>
                      <a:pt x="88369" y="58082"/>
                    </a:cubicBezTo>
                    <a:cubicBezTo>
                      <a:pt x="87175" y="60071"/>
                      <a:pt x="86380" y="62856"/>
                      <a:pt x="88369" y="62060"/>
                    </a:cubicBezTo>
                    <a:cubicBezTo>
                      <a:pt x="90358" y="61265"/>
                      <a:pt x="91552" y="60469"/>
                      <a:pt x="91949" y="58480"/>
                    </a:cubicBezTo>
                    <a:cubicBezTo>
                      <a:pt x="92347" y="56491"/>
                      <a:pt x="92745" y="49728"/>
                      <a:pt x="90756" y="49330"/>
                    </a:cubicBezTo>
                    <a:cubicBezTo>
                      <a:pt x="89165" y="48534"/>
                      <a:pt x="87175" y="49728"/>
                      <a:pt x="87175" y="50126"/>
                    </a:cubicBezTo>
                    <a:close/>
                    <a:moveTo>
                      <a:pt x="103088" y="75984"/>
                    </a:moveTo>
                    <a:cubicBezTo>
                      <a:pt x="101497" y="75984"/>
                      <a:pt x="99906" y="76780"/>
                      <a:pt x="100701" y="77973"/>
                    </a:cubicBezTo>
                    <a:cubicBezTo>
                      <a:pt x="101497" y="79167"/>
                      <a:pt x="103088" y="79167"/>
                      <a:pt x="103884" y="78769"/>
                    </a:cubicBezTo>
                    <a:cubicBezTo>
                      <a:pt x="105078" y="78371"/>
                      <a:pt x="106271" y="76780"/>
                      <a:pt x="105475" y="76382"/>
                    </a:cubicBezTo>
                    <a:cubicBezTo>
                      <a:pt x="104680" y="75984"/>
                      <a:pt x="103088" y="75984"/>
                      <a:pt x="103088" y="75984"/>
                    </a:cubicBezTo>
                    <a:close/>
                    <a:moveTo>
                      <a:pt x="109851" y="68028"/>
                    </a:moveTo>
                    <a:cubicBezTo>
                      <a:pt x="108260" y="68028"/>
                      <a:pt x="107067" y="68425"/>
                      <a:pt x="107464" y="69619"/>
                    </a:cubicBezTo>
                    <a:cubicBezTo>
                      <a:pt x="107862" y="71210"/>
                      <a:pt x="106669" y="71210"/>
                      <a:pt x="108260" y="72006"/>
                    </a:cubicBezTo>
                    <a:cubicBezTo>
                      <a:pt x="109454" y="72802"/>
                      <a:pt x="110249" y="73597"/>
                      <a:pt x="111045" y="72802"/>
                    </a:cubicBezTo>
                    <a:cubicBezTo>
                      <a:pt x="112238" y="72006"/>
                      <a:pt x="113034" y="71210"/>
                      <a:pt x="111841" y="72006"/>
                    </a:cubicBezTo>
                    <a:cubicBezTo>
                      <a:pt x="111045" y="71608"/>
                      <a:pt x="108260" y="70017"/>
                      <a:pt x="109056" y="69619"/>
                    </a:cubicBezTo>
                    <a:cubicBezTo>
                      <a:pt x="110249" y="69221"/>
                      <a:pt x="111045" y="68425"/>
                      <a:pt x="110647" y="68028"/>
                    </a:cubicBezTo>
                    <a:cubicBezTo>
                      <a:pt x="110249" y="68425"/>
                      <a:pt x="109851" y="68028"/>
                      <a:pt x="109851" y="68028"/>
                    </a:cubicBezTo>
                    <a:close/>
                    <a:moveTo>
                      <a:pt x="119399" y="97864"/>
                    </a:moveTo>
                    <a:cubicBezTo>
                      <a:pt x="119797" y="98660"/>
                      <a:pt x="121388" y="97864"/>
                      <a:pt x="122582" y="98262"/>
                    </a:cubicBezTo>
                    <a:cubicBezTo>
                      <a:pt x="123775" y="98660"/>
                      <a:pt x="122582" y="100251"/>
                      <a:pt x="122582" y="101843"/>
                    </a:cubicBezTo>
                    <a:cubicBezTo>
                      <a:pt x="122582" y="103434"/>
                      <a:pt x="124571" y="103036"/>
                      <a:pt x="126162" y="102638"/>
                    </a:cubicBezTo>
                    <a:cubicBezTo>
                      <a:pt x="127753" y="102240"/>
                      <a:pt x="126560" y="100251"/>
                      <a:pt x="126162" y="98660"/>
                    </a:cubicBezTo>
                    <a:cubicBezTo>
                      <a:pt x="125764" y="96671"/>
                      <a:pt x="124969" y="97069"/>
                      <a:pt x="123377" y="96273"/>
                    </a:cubicBezTo>
                    <a:cubicBezTo>
                      <a:pt x="121786" y="95477"/>
                      <a:pt x="120990" y="95477"/>
                      <a:pt x="119797" y="97069"/>
                    </a:cubicBezTo>
                    <a:cubicBezTo>
                      <a:pt x="119797" y="97069"/>
                      <a:pt x="119001" y="97069"/>
                      <a:pt x="119399" y="97864"/>
                    </a:cubicBezTo>
                    <a:close/>
                    <a:moveTo>
                      <a:pt x="132925" y="110595"/>
                    </a:moveTo>
                    <a:cubicBezTo>
                      <a:pt x="130538" y="109799"/>
                      <a:pt x="129743" y="109401"/>
                      <a:pt x="130140" y="111390"/>
                    </a:cubicBezTo>
                    <a:cubicBezTo>
                      <a:pt x="130538" y="113379"/>
                      <a:pt x="130140" y="112982"/>
                      <a:pt x="131334" y="113777"/>
                    </a:cubicBezTo>
                    <a:cubicBezTo>
                      <a:pt x="132527" y="114573"/>
                      <a:pt x="131732" y="116164"/>
                      <a:pt x="132925" y="115369"/>
                    </a:cubicBezTo>
                    <a:cubicBezTo>
                      <a:pt x="134119" y="114573"/>
                      <a:pt x="135710" y="113379"/>
                      <a:pt x="134914" y="112186"/>
                    </a:cubicBezTo>
                    <a:cubicBezTo>
                      <a:pt x="134119" y="110993"/>
                      <a:pt x="132925" y="110595"/>
                      <a:pt x="132925" y="110595"/>
                    </a:cubicBezTo>
                    <a:close/>
                    <a:moveTo>
                      <a:pt x="135710" y="115766"/>
                    </a:moveTo>
                    <a:cubicBezTo>
                      <a:pt x="135312" y="115766"/>
                      <a:pt x="136506" y="117358"/>
                      <a:pt x="136506" y="118153"/>
                    </a:cubicBezTo>
                    <a:cubicBezTo>
                      <a:pt x="136108" y="118949"/>
                      <a:pt x="135312" y="118153"/>
                      <a:pt x="134914" y="118153"/>
                    </a:cubicBezTo>
                    <a:cubicBezTo>
                      <a:pt x="134516" y="118153"/>
                      <a:pt x="134914" y="118949"/>
                      <a:pt x="135312" y="119745"/>
                    </a:cubicBezTo>
                    <a:cubicBezTo>
                      <a:pt x="135710" y="120540"/>
                      <a:pt x="136506" y="120142"/>
                      <a:pt x="136903" y="120540"/>
                    </a:cubicBezTo>
                    <a:cubicBezTo>
                      <a:pt x="137301" y="120938"/>
                      <a:pt x="138495" y="120540"/>
                      <a:pt x="139290" y="120142"/>
                    </a:cubicBezTo>
                    <a:cubicBezTo>
                      <a:pt x="140086" y="119745"/>
                      <a:pt x="140086" y="118949"/>
                      <a:pt x="139688" y="117755"/>
                    </a:cubicBezTo>
                    <a:cubicBezTo>
                      <a:pt x="139290" y="116562"/>
                      <a:pt x="138892" y="116960"/>
                      <a:pt x="137699" y="116164"/>
                    </a:cubicBezTo>
                    <a:cubicBezTo>
                      <a:pt x="137699" y="116164"/>
                      <a:pt x="136506" y="115766"/>
                      <a:pt x="135710" y="115766"/>
                    </a:cubicBezTo>
                    <a:close/>
                    <a:moveTo>
                      <a:pt x="152418" y="124916"/>
                    </a:moveTo>
                    <a:cubicBezTo>
                      <a:pt x="149236" y="125314"/>
                      <a:pt x="148440" y="125712"/>
                      <a:pt x="148440" y="128099"/>
                    </a:cubicBezTo>
                    <a:cubicBezTo>
                      <a:pt x="148838" y="130486"/>
                      <a:pt x="150032" y="133271"/>
                      <a:pt x="150827" y="131679"/>
                    </a:cubicBezTo>
                    <a:cubicBezTo>
                      <a:pt x="151623" y="129690"/>
                      <a:pt x="152418" y="130486"/>
                      <a:pt x="154408" y="128895"/>
                    </a:cubicBezTo>
                    <a:cubicBezTo>
                      <a:pt x="156795" y="126905"/>
                      <a:pt x="152418" y="124916"/>
                      <a:pt x="152418" y="124916"/>
                    </a:cubicBezTo>
                    <a:close/>
                    <a:moveTo>
                      <a:pt x="162762" y="139636"/>
                    </a:moveTo>
                    <a:cubicBezTo>
                      <a:pt x="159181" y="140431"/>
                      <a:pt x="158386" y="141625"/>
                      <a:pt x="158784" y="143216"/>
                    </a:cubicBezTo>
                    <a:cubicBezTo>
                      <a:pt x="159181" y="144807"/>
                      <a:pt x="163160" y="147990"/>
                      <a:pt x="162762" y="146001"/>
                    </a:cubicBezTo>
                    <a:cubicBezTo>
                      <a:pt x="162364" y="143614"/>
                      <a:pt x="165944" y="143614"/>
                      <a:pt x="165547" y="141227"/>
                    </a:cubicBezTo>
                    <a:cubicBezTo>
                      <a:pt x="164751" y="139238"/>
                      <a:pt x="162762" y="140034"/>
                      <a:pt x="162762" y="139636"/>
                    </a:cubicBezTo>
                    <a:close/>
                    <a:moveTo>
                      <a:pt x="161568" y="111788"/>
                    </a:moveTo>
                    <a:cubicBezTo>
                      <a:pt x="159977" y="112982"/>
                      <a:pt x="158386" y="113777"/>
                      <a:pt x="159579" y="115369"/>
                    </a:cubicBezTo>
                    <a:cubicBezTo>
                      <a:pt x="161171" y="117358"/>
                      <a:pt x="162762" y="117358"/>
                      <a:pt x="162762" y="115766"/>
                    </a:cubicBezTo>
                    <a:cubicBezTo>
                      <a:pt x="163160" y="114175"/>
                      <a:pt x="165944" y="114573"/>
                      <a:pt x="165149" y="112982"/>
                    </a:cubicBezTo>
                    <a:cubicBezTo>
                      <a:pt x="164751" y="111788"/>
                      <a:pt x="161568" y="111788"/>
                      <a:pt x="161568" y="111788"/>
                    </a:cubicBezTo>
                    <a:close/>
                    <a:moveTo>
                      <a:pt x="174299" y="113379"/>
                    </a:moveTo>
                    <a:cubicBezTo>
                      <a:pt x="171514" y="113379"/>
                      <a:pt x="169923" y="114175"/>
                      <a:pt x="171116" y="115766"/>
                    </a:cubicBezTo>
                    <a:cubicBezTo>
                      <a:pt x="172310" y="117755"/>
                      <a:pt x="173105" y="119745"/>
                      <a:pt x="174299" y="118551"/>
                    </a:cubicBezTo>
                    <a:cubicBezTo>
                      <a:pt x="175492" y="117358"/>
                      <a:pt x="177083" y="115369"/>
                      <a:pt x="175890" y="114573"/>
                    </a:cubicBezTo>
                    <a:cubicBezTo>
                      <a:pt x="174697" y="114175"/>
                      <a:pt x="174299" y="113379"/>
                      <a:pt x="174299" y="113379"/>
                    </a:cubicBezTo>
                    <a:close/>
                    <a:moveTo>
                      <a:pt x="183449" y="143614"/>
                    </a:moveTo>
                    <a:cubicBezTo>
                      <a:pt x="180266" y="144807"/>
                      <a:pt x="177879" y="148786"/>
                      <a:pt x="179868" y="148786"/>
                    </a:cubicBezTo>
                    <a:cubicBezTo>
                      <a:pt x="181857" y="148388"/>
                      <a:pt x="182653" y="146399"/>
                      <a:pt x="183846" y="146797"/>
                    </a:cubicBezTo>
                    <a:cubicBezTo>
                      <a:pt x="185040" y="147592"/>
                      <a:pt x="188620" y="145603"/>
                      <a:pt x="187029" y="144410"/>
                    </a:cubicBezTo>
                    <a:cubicBezTo>
                      <a:pt x="185438" y="142818"/>
                      <a:pt x="183449" y="143614"/>
                      <a:pt x="183449" y="143614"/>
                    </a:cubicBezTo>
                    <a:close/>
                    <a:moveTo>
                      <a:pt x="394693" y="193740"/>
                    </a:moveTo>
                    <a:cubicBezTo>
                      <a:pt x="393897" y="193740"/>
                      <a:pt x="391510" y="195331"/>
                      <a:pt x="392704" y="197320"/>
                    </a:cubicBezTo>
                    <a:cubicBezTo>
                      <a:pt x="393897" y="199309"/>
                      <a:pt x="395488" y="199707"/>
                      <a:pt x="397080" y="198513"/>
                    </a:cubicBezTo>
                    <a:cubicBezTo>
                      <a:pt x="398671" y="197320"/>
                      <a:pt x="401456" y="196127"/>
                      <a:pt x="399864" y="194933"/>
                    </a:cubicBezTo>
                    <a:cubicBezTo>
                      <a:pt x="398273" y="193342"/>
                      <a:pt x="394693" y="193740"/>
                      <a:pt x="394693" y="193740"/>
                    </a:cubicBezTo>
                    <a:close/>
                    <a:moveTo>
                      <a:pt x="406230" y="168279"/>
                    </a:moveTo>
                    <a:cubicBezTo>
                      <a:pt x="402649" y="167881"/>
                      <a:pt x="400262" y="170268"/>
                      <a:pt x="401853" y="171859"/>
                    </a:cubicBezTo>
                    <a:cubicBezTo>
                      <a:pt x="403047" y="173451"/>
                      <a:pt x="411003" y="173053"/>
                      <a:pt x="410606" y="170666"/>
                    </a:cubicBezTo>
                    <a:cubicBezTo>
                      <a:pt x="409810" y="168279"/>
                      <a:pt x="406230" y="168279"/>
                      <a:pt x="406230" y="168279"/>
                    </a:cubicBezTo>
                    <a:close/>
                    <a:moveTo>
                      <a:pt x="455560" y="189364"/>
                    </a:moveTo>
                    <a:cubicBezTo>
                      <a:pt x="451581" y="188170"/>
                      <a:pt x="448797" y="190557"/>
                      <a:pt x="449990" y="192148"/>
                    </a:cubicBezTo>
                    <a:cubicBezTo>
                      <a:pt x="451184" y="193740"/>
                      <a:pt x="452775" y="192546"/>
                      <a:pt x="454366" y="193740"/>
                    </a:cubicBezTo>
                    <a:cubicBezTo>
                      <a:pt x="456355" y="194933"/>
                      <a:pt x="461129" y="193342"/>
                      <a:pt x="459140" y="191353"/>
                    </a:cubicBezTo>
                    <a:cubicBezTo>
                      <a:pt x="457549" y="188966"/>
                      <a:pt x="455560" y="189364"/>
                      <a:pt x="455560" y="189364"/>
                    </a:cubicBezTo>
                    <a:close/>
                    <a:moveTo>
                      <a:pt x="470677" y="166290"/>
                    </a:moveTo>
                    <a:cubicBezTo>
                      <a:pt x="467494" y="165494"/>
                      <a:pt x="465903" y="167483"/>
                      <a:pt x="466699" y="169075"/>
                    </a:cubicBezTo>
                    <a:cubicBezTo>
                      <a:pt x="467892" y="170666"/>
                      <a:pt x="469086" y="170666"/>
                      <a:pt x="470279" y="171462"/>
                    </a:cubicBezTo>
                    <a:cubicBezTo>
                      <a:pt x="471473" y="171859"/>
                      <a:pt x="475451" y="171462"/>
                      <a:pt x="474257" y="169075"/>
                    </a:cubicBezTo>
                    <a:cubicBezTo>
                      <a:pt x="472666" y="166688"/>
                      <a:pt x="470677" y="166688"/>
                      <a:pt x="470677" y="166290"/>
                    </a:cubicBezTo>
                    <a:close/>
                    <a:moveTo>
                      <a:pt x="466301" y="150377"/>
                    </a:moveTo>
                    <a:cubicBezTo>
                      <a:pt x="464312" y="151570"/>
                      <a:pt x="463914" y="153560"/>
                      <a:pt x="465505" y="153560"/>
                    </a:cubicBezTo>
                    <a:cubicBezTo>
                      <a:pt x="467096" y="153560"/>
                      <a:pt x="467892" y="155946"/>
                      <a:pt x="468290" y="153957"/>
                    </a:cubicBezTo>
                    <a:cubicBezTo>
                      <a:pt x="469086" y="152366"/>
                      <a:pt x="469086" y="151173"/>
                      <a:pt x="468290" y="150775"/>
                    </a:cubicBezTo>
                    <a:cubicBezTo>
                      <a:pt x="467494" y="150377"/>
                      <a:pt x="466301" y="150377"/>
                      <a:pt x="466301" y="150377"/>
                    </a:cubicBezTo>
                    <a:close/>
                    <a:moveTo>
                      <a:pt x="481418" y="155946"/>
                    </a:moveTo>
                    <a:cubicBezTo>
                      <a:pt x="478633" y="158731"/>
                      <a:pt x="478633" y="161914"/>
                      <a:pt x="480225" y="161516"/>
                    </a:cubicBezTo>
                    <a:cubicBezTo>
                      <a:pt x="482214" y="160720"/>
                      <a:pt x="483805" y="162312"/>
                      <a:pt x="484601" y="160720"/>
                    </a:cubicBezTo>
                    <a:cubicBezTo>
                      <a:pt x="485396" y="159129"/>
                      <a:pt x="486988" y="157140"/>
                      <a:pt x="484999" y="155946"/>
                    </a:cubicBezTo>
                    <a:cubicBezTo>
                      <a:pt x="482612" y="154753"/>
                      <a:pt x="481418" y="155946"/>
                      <a:pt x="481418" y="155946"/>
                    </a:cubicBezTo>
                    <a:close/>
                    <a:moveTo>
                      <a:pt x="488977" y="173451"/>
                    </a:moveTo>
                    <a:cubicBezTo>
                      <a:pt x="485794" y="174644"/>
                      <a:pt x="484601" y="175838"/>
                      <a:pt x="486590" y="176633"/>
                    </a:cubicBezTo>
                    <a:cubicBezTo>
                      <a:pt x="488181" y="177429"/>
                      <a:pt x="488977" y="178225"/>
                      <a:pt x="490966" y="178225"/>
                    </a:cubicBezTo>
                    <a:cubicBezTo>
                      <a:pt x="492955" y="178225"/>
                      <a:pt x="495740" y="176633"/>
                      <a:pt x="494148" y="174644"/>
                    </a:cubicBezTo>
                    <a:cubicBezTo>
                      <a:pt x="491761" y="172655"/>
                      <a:pt x="488977" y="173451"/>
                      <a:pt x="488977" y="173451"/>
                    </a:cubicBezTo>
                    <a:close/>
                    <a:moveTo>
                      <a:pt x="476246" y="186977"/>
                    </a:moveTo>
                    <a:cubicBezTo>
                      <a:pt x="472666" y="188568"/>
                      <a:pt x="473859" y="189364"/>
                      <a:pt x="472666" y="191353"/>
                    </a:cubicBezTo>
                    <a:cubicBezTo>
                      <a:pt x="471473" y="193342"/>
                      <a:pt x="469881" y="195729"/>
                      <a:pt x="473064" y="195729"/>
                    </a:cubicBezTo>
                    <a:cubicBezTo>
                      <a:pt x="476246" y="195729"/>
                      <a:pt x="476644" y="191353"/>
                      <a:pt x="477838" y="191353"/>
                    </a:cubicBezTo>
                    <a:cubicBezTo>
                      <a:pt x="479031" y="191750"/>
                      <a:pt x="480622" y="191353"/>
                      <a:pt x="481020" y="189761"/>
                    </a:cubicBezTo>
                    <a:cubicBezTo>
                      <a:pt x="481020" y="188170"/>
                      <a:pt x="481020" y="186181"/>
                      <a:pt x="479429" y="185783"/>
                    </a:cubicBezTo>
                    <a:cubicBezTo>
                      <a:pt x="478235" y="185385"/>
                      <a:pt x="476246" y="186977"/>
                      <a:pt x="476246" y="186977"/>
                    </a:cubicBezTo>
                    <a:close/>
                    <a:moveTo>
                      <a:pt x="819568" y="33019"/>
                    </a:moveTo>
                    <a:cubicBezTo>
                      <a:pt x="815589" y="32621"/>
                      <a:pt x="816783" y="34213"/>
                      <a:pt x="814794" y="35008"/>
                    </a:cubicBezTo>
                    <a:cubicBezTo>
                      <a:pt x="812805" y="35804"/>
                      <a:pt x="808826" y="36600"/>
                      <a:pt x="813202" y="37793"/>
                    </a:cubicBezTo>
                    <a:cubicBezTo>
                      <a:pt x="817181" y="39782"/>
                      <a:pt x="824739" y="43363"/>
                      <a:pt x="823944" y="40180"/>
                    </a:cubicBezTo>
                    <a:cubicBezTo>
                      <a:pt x="823148" y="36998"/>
                      <a:pt x="820363" y="38191"/>
                      <a:pt x="820363" y="37395"/>
                    </a:cubicBezTo>
                    <a:cubicBezTo>
                      <a:pt x="820363" y="36202"/>
                      <a:pt x="821159" y="36600"/>
                      <a:pt x="820761" y="35406"/>
                    </a:cubicBezTo>
                    <a:cubicBezTo>
                      <a:pt x="820363" y="34213"/>
                      <a:pt x="821557" y="33815"/>
                      <a:pt x="821159" y="33815"/>
                    </a:cubicBezTo>
                    <a:cubicBezTo>
                      <a:pt x="820363" y="33417"/>
                      <a:pt x="819568" y="33019"/>
                      <a:pt x="819568" y="33019"/>
                    </a:cubicBezTo>
                    <a:close/>
                    <a:moveTo>
                      <a:pt x="805644" y="300754"/>
                    </a:moveTo>
                    <a:cubicBezTo>
                      <a:pt x="802063" y="301152"/>
                      <a:pt x="799677" y="303141"/>
                      <a:pt x="801666" y="305130"/>
                    </a:cubicBezTo>
                    <a:cubicBezTo>
                      <a:pt x="803257" y="307119"/>
                      <a:pt x="804053" y="305926"/>
                      <a:pt x="806042" y="305130"/>
                    </a:cubicBezTo>
                    <a:cubicBezTo>
                      <a:pt x="808031" y="304334"/>
                      <a:pt x="813202" y="305130"/>
                      <a:pt x="811213" y="302345"/>
                    </a:cubicBezTo>
                    <a:cubicBezTo>
                      <a:pt x="808826" y="299560"/>
                      <a:pt x="805644" y="300356"/>
                      <a:pt x="805644" y="300754"/>
                    </a:cubicBezTo>
                    <a:close/>
                    <a:moveTo>
                      <a:pt x="854576" y="219598"/>
                    </a:moveTo>
                    <a:cubicBezTo>
                      <a:pt x="852587" y="219996"/>
                      <a:pt x="851791" y="222383"/>
                      <a:pt x="853383" y="222383"/>
                    </a:cubicBezTo>
                    <a:cubicBezTo>
                      <a:pt x="854974" y="222383"/>
                      <a:pt x="855770" y="221985"/>
                      <a:pt x="858554" y="221189"/>
                    </a:cubicBezTo>
                    <a:cubicBezTo>
                      <a:pt x="860146" y="220394"/>
                      <a:pt x="858952" y="216415"/>
                      <a:pt x="857361" y="217211"/>
                    </a:cubicBezTo>
                    <a:cubicBezTo>
                      <a:pt x="855372" y="217609"/>
                      <a:pt x="854576" y="219598"/>
                      <a:pt x="854576" y="219598"/>
                    </a:cubicBezTo>
                    <a:close/>
                    <a:moveTo>
                      <a:pt x="878048" y="180214"/>
                    </a:moveTo>
                    <a:cubicBezTo>
                      <a:pt x="874865" y="181009"/>
                      <a:pt x="874069" y="184988"/>
                      <a:pt x="876456" y="184590"/>
                    </a:cubicBezTo>
                    <a:cubicBezTo>
                      <a:pt x="878843" y="183794"/>
                      <a:pt x="882424" y="186181"/>
                      <a:pt x="882424" y="182998"/>
                    </a:cubicBezTo>
                    <a:cubicBezTo>
                      <a:pt x="882026" y="179816"/>
                      <a:pt x="878048" y="180611"/>
                      <a:pt x="878048" y="180214"/>
                    </a:cubicBezTo>
                    <a:close/>
                    <a:moveTo>
                      <a:pt x="941302" y="327010"/>
                    </a:moveTo>
                    <a:cubicBezTo>
                      <a:pt x="937721" y="327408"/>
                      <a:pt x="935732" y="328999"/>
                      <a:pt x="937721" y="330988"/>
                    </a:cubicBezTo>
                    <a:cubicBezTo>
                      <a:pt x="939710" y="332978"/>
                      <a:pt x="940108" y="331784"/>
                      <a:pt x="942097" y="332182"/>
                    </a:cubicBezTo>
                    <a:cubicBezTo>
                      <a:pt x="944086" y="332580"/>
                      <a:pt x="948860" y="331784"/>
                      <a:pt x="946473" y="329397"/>
                    </a:cubicBezTo>
                    <a:cubicBezTo>
                      <a:pt x="944086" y="327010"/>
                      <a:pt x="941302" y="327010"/>
                      <a:pt x="941302" y="327010"/>
                    </a:cubicBezTo>
                    <a:close/>
                    <a:moveTo>
                      <a:pt x="954430" y="361223"/>
                    </a:moveTo>
                    <a:cubicBezTo>
                      <a:pt x="952043" y="363610"/>
                      <a:pt x="951645" y="364405"/>
                      <a:pt x="953236" y="365997"/>
                    </a:cubicBezTo>
                    <a:cubicBezTo>
                      <a:pt x="954828" y="367190"/>
                      <a:pt x="956817" y="371168"/>
                      <a:pt x="956817" y="368384"/>
                    </a:cubicBezTo>
                    <a:cubicBezTo>
                      <a:pt x="956817" y="365599"/>
                      <a:pt x="955225" y="363610"/>
                      <a:pt x="956817" y="364008"/>
                    </a:cubicBezTo>
                    <a:cubicBezTo>
                      <a:pt x="958408" y="364405"/>
                      <a:pt x="960795" y="364803"/>
                      <a:pt x="959999" y="362814"/>
                    </a:cubicBezTo>
                    <a:cubicBezTo>
                      <a:pt x="959204" y="360825"/>
                      <a:pt x="959204" y="359234"/>
                      <a:pt x="957214" y="359234"/>
                    </a:cubicBezTo>
                    <a:cubicBezTo>
                      <a:pt x="955623" y="359234"/>
                      <a:pt x="954430" y="361223"/>
                      <a:pt x="954430" y="361223"/>
                    </a:cubicBezTo>
                    <a:close/>
                    <a:moveTo>
                      <a:pt x="996599" y="323430"/>
                    </a:moveTo>
                    <a:cubicBezTo>
                      <a:pt x="993416" y="323032"/>
                      <a:pt x="995008" y="324225"/>
                      <a:pt x="992621" y="325021"/>
                    </a:cubicBezTo>
                    <a:cubicBezTo>
                      <a:pt x="990234" y="325817"/>
                      <a:pt x="988245" y="328204"/>
                      <a:pt x="990632" y="328204"/>
                    </a:cubicBezTo>
                    <a:cubicBezTo>
                      <a:pt x="993019" y="328204"/>
                      <a:pt x="993019" y="325817"/>
                      <a:pt x="994212" y="327408"/>
                    </a:cubicBezTo>
                    <a:cubicBezTo>
                      <a:pt x="995405" y="328999"/>
                      <a:pt x="995803" y="330193"/>
                      <a:pt x="997395" y="329397"/>
                    </a:cubicBezTo>
                    <a:cubicBezTo>
                      <a:pt x="998588" y="328601"/>
                      <a:pt x="999782" y="328204"/>
                      <a:pt x="1000179" y="326612"/>
                    </a:cubicBezTo>
                    <a:cubicBezTo>
                      <a:pt x="1000577" y="325021"/>
                      <a:pt x="1001373" y="323828"/>
                      <a:pt x="999384" y="323430"/>
                    </a:cubicBezTo>
                    <a:cubicBezTo>
                      <a:pt x="998190" y="323430"/>
                      <a:pt x="996599" y="323430"/>
                      <a:pt x="996599" y="323430"/>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589" name="Kenya">
                <a:extLst>
                  <a:ext uri="{FF2B5EF4-FFF2-40B4-BE49-F238E27FC236}">
                    <a16:creationId xmlns:a16="http://schemas.microsoft.com/office/drawing/2014/main" id="{0A7FE2E6-AC72-DBEF-8895-84F12E5FDF8E}"/>
                  </a:ext>
                </a:extLst>
              </p:cNvPr>
              <p:cNvSpPr>
                <a:spLocks noEditPoints="1"/>
              </p:cNvSpPr>
              <p:nvPr/>
            </p:nvSpPr>
            <p:spPr bwMode="auto">
              <a:xfrm>
                <a:off x="6862099" y="3842436"/>
                <a:ext cx="272486" cy="386185"/>
              </a:xfrm>
              <a:custGeom>
                <a:avLst/>
                <a:gdLst/>
                <a:ahLst/>
                <a:cxnLst>
                  <a:cxn ang="0">
                    <a:pos x="68" y="64"/>
                  </a:cxn>
                  <a:cxn ang="0">
                    <a:pos x="68" y="29"/>
                  </a:cxn>
                  <a:cxn ang="0">
                    <a:pos x="77" y="14"/>
                  </a:cxn>
                  <a:cxn ang="0">
                    <a:pos x="73" y="14"/>
                  </a:cxn>
                  <a:cxn ang="0">
                    <a:pos x="68" y="12"/>
                  </a:cxn>
                  <a:cxn ang="0">
                    <a:pos x="64" y="11"/>
                  </a:cxn>
                  <a:cxn ang="0">
                    <a:pos x="55" y="19"/>
                  </a:cxn>
                  <a:cxn ang="0">
                    <a:pos x="52" y="19"/>
                  </a:cxn>
                  <a:cxn ang="0">
                    <a:pos x="44" y="17"/>
                  </a:cxn>
                  <a:cxn ang="0">
                    <a:pos x="38" y="16"/>
                  </a:cxn>
                  <a:cxn ang="0">
                    <a:pos x="24" y="8"/>
                  </a:cxn>
                  <a:cxn ang="0">
                    <a:pos x="17" y="6"/>
                  </a:cxn>
                  <a:cxn ang="0">
                    <a:pos x="13" y="2"/>
                  </a:cxn>
                  <a:cxn ang="0">
                    <a:pos x="9" y="3"/>
                  </a:cxn>
                  <a:cxn ang="0">
                    <a:pos x="0" y="11"/>
                  </a:cxn>
                  <a:cxn ang="0">
                    <a:pos x="1" y="14"/>
                  </a:cxn>
                  <a:cxn ang="0">
                    <a:pos x="2" y="16"/>
                  </a:cxn>
                  <a:cxn ang="0">
                    <a:pos x="5" y="17"/>
                  </a:cxn>
                  <a:cxn ang="0">
                    <a:pos x="5" y="22"/>
                  </a:cxn>
                  <a:cxn ang="0">
                    <a:pos x="8" y="28"/>
                  </a:cxn>
                  <a:cxn ang="0">
                    <a:pos x="9" y="31"/>
                  </a:cxn>
                  <a:cxn ang="0">
                    <a:pos x="10" y="38"/>
                  </a:cxn>
                  <a:cxn ang="0">
                    <a:pos x="8" y="42"/>
                  </a:cxn>
                  <a:cxn ang="0">
                    <a:pos x="6" y="45"/>
                  </a:cxn>
                  <a:cxn ang="0">
                    <a:pos x="3" y="49"/>
                  </a:cxn>
                  <a:cxn ang="0">
                    <a:pos x="1" y="54"/>
                  </a:cxn>
                  <a:cxn ang="0">
                    <a:pos x="1" y="58"/>
                  </a:cxn>
                  <a:cxn ang="0">
                    <a:pos x="3" y="60"/>
                  </a:cxn>
                  <a:cxn ang="0">
                    <a:pos x="3" y="62"/>
                  </a:cxn>
                  <a:cxn ang="0">
                    <a:pos x="6" y="59"/>
                  </a:cxn>
                  <a:cxn ang="0">
                    <a:pos x="9" y="61"/>
                  </a:cxn>
                  <a:cxn ang="0">
                    <a:pos x="5" y="62"/>
                  </a:cxn>
                  <a:cxn ang="0">
                    <a:pos x="4" y="62"/>
                  </a:cxn>
                  <a:cxn ang="0">
                    <a:pos x="2" y="63"/>
                  </a:cxn>
                  <a:cxn ang="0">
                    <a:pos x="1" y="66"/>
                  </a:cxn>
                  <a:cxn ang="0">
                    <a:pos x="2" y="68"/>
                  </a:cxn>
                  <a:cxn ang="0">
                    <a:pos x="20" y="80"/>
                  </a:cxn>
                  <a:cxn ang="0">
                    <a:pos x="36" y="92"/>
                  </a:cxn>
                  <a:cxn ang="0">
                    <a:pos x="35" y="96"/>
                  </a:cxn>
                  <a:cxn ang="0">
                    <a:pos x="39" y="99"/>
                  </a:cxn>
                  <a:cxn ang="0">
                    <a:pos x="51" y="108"/>
                  </a:cxn>
                  <a:cxn ang="0">
                    <a:pos x="53" y="107"/>
                  </a:cxn>
                  <a:cxn ang="0">
                    <a:pos x="55" y="104"/>
                  </a:cxn>
                  <a:cxn ang="0">
                    <a:pos x="55" y="102"/>
                  </a:cxn>
                  <a:cxn ang="0">
                    <a:pos x="56" y="101"/>
                  </a:cxn>
                  <a:cxn ang="0">
                    <a:pos x="57" y="99"/>
                  </a:cxn>
                  <a:cxn ang="0">
                    <a:pos x="58" y="94"/>
                  </a:cxn>
                  <a:cxn ang="0">
                    <a:pos x="61" y="90"/>
                  </a:cxn>
                  <a:cxn ang="0">
                    <a:pos x="63" y="85"/>
                  </a:cxn>
                  <a:cxn ang="0">
                    <a:pos x="66" y="82"/>
                  </a:cxn>
                  <a:cxn ang="0">
                    <a:pos x="68" y="82"/>
                  </a:cxn>
                  <a:cxn ang="0">
                    <a:pos x="67" y="79"/>
                  </a:cxn>
                  <a:cxn ang="0">
                    <a:pos x="69" y="80"/>
                  </a:cxn>
                  <a:cxn ang="0">
                    <a:pos x="72" y="78"/>
                  </a:cxn>
                  <a:cxn ang="0">
                    <a:pos x="70" y="80"/>
                  </a:cxn>
                  <a:cxn ang="0">
                    <a:pos x="68" y="81"/>
                  </a:cxn>
                  <a:cxn ang="0">
                    <a:pos x="69" y="80"/>
                  </a:cxn>
                </a:cxnLst>
                <a:rect l="0" t="0" r="r" b="b"/>
                <a:pathLst>
                  <a:path w="77" h="109">
                    <a:moveTo>
                      <a:pt x="72" y="72"/>
                    </a:moveTo>
                    <a:cubicBezTo>
                      <a:pt x="71" y="70"/>
                      <a:pt x="70" y="69"/>
                      <a:pt x="69" y="68"/>
                    </a:cubicBezTo>
                    <a:cubicBezTo>
                      <a:pt x="68" y="67"/>
                      <a:pt x="68" y="66"/>
                      <a:pt x="68" y="64"/>
                    </a:cubicBezTo>
                    <a:cubicBezTo>
                      <a:pt x="68" y="63"/>
                      <a:pt x="68" y="61"/>
                      <a:pt x="68" y="59"/>
                    </a:cubicBezTo>
                    <a:cubicBezTo>
                      <a:pt x="68" y="56"/>
                      <a:pt x="68" y="53"/>
                      <a:pt x="68" y="49"/>
                    </a:cubicBezTo>
                    <a:cubicBezTo>
                      <a:pt x="68" y="42"/>
                      <a:pt x="68" y="36"/>
                      <a:pt x="68" y="29"/>
                    </a:cubicBezTo>
                    <a:cubicBezTo>
                      <a:pt x="68" y="27"/>
                      <a:pt x="68" y="26"/>
                      <a:pt x="69" y="25"/>
                    </a:cubicBezTo>
                    <a:cubicBezTo>
                      <a:pt x="70" y="24"/>
                      <a:pt x="71" y="23"/>
                      <a:pt x="72" y="22"/>
                    </a:cubicBezTo>
                    <a:cubicBezTo>
                      <a:pt x="74" y="19"/>
                      <a:pt x="75" y="16"/>
                      <a:pt x="77" y="14"/>
                    </a:cubicBezTo>
                    <a:cubicBezTo>
                      <a:pt x="76" y="14"/>
                      <a:pt x="76" y="13"/>
                      <a:pt x="75" y="13"/>
                    </a:cubicBezTo>
                    <a:cubicBezTo>
                      <a:pt x="75" y="14"/>
                      <a:pt x="74" y="13"/>
                      <a:pt x="74" y="14"/>
                    </a:cubicBezTo>
                    <a:cubicBezTo>
                      <a:pt x="73" y="14"/>
                      <a:pt x="73" y="14"/>
                      <a:pt x="73" y="14"/>
                    </a:cubicBezTo>
                    <a:cubicBezTo>
                      <a:pt x="72" y="14"/>
                      <a:pt x="72" y="14"/>
                      <a:pt x="71" y="14"/>
                    </a:cubicBezTo>
                    <a:cubicBezTo>
                      <a:pt x="70" y="14"/>
                      <a:pt x="70" y="14"/>
                      <a:pt x="69" y="14"/>
                    </a:cubicBezTo>
                    <a:cubicBezTo>
                      <a:pt x="69" y="13"/>
                      <a:pt x="69" y="13"/>
                      <a:pt x="68" y="12"/>
                    </a:cubicBezTo>
                    <a:cubicBezTo>
                      <a:pt x="68" y="12"/>
                      <a:pt x="67" y="12"/>
                      <a:pt x="67" y="11"/>
                    </a:cubicBezTo>
                    <a:cubicBezTo>
                      <a:pt x="67" y="11"/>
                      <a:pt x="66" y="11"/>
                      <a:pt x="66" y="10"/>
                    </a:cubicBezTo>
                    <a:cubicBezTo>
                      <a:pt x="65" y="11"/>
                      <a:pt x="65" y="11"/>
                      <a:pt x="64" y="11"/>
                    </a:cubicBezTo>
                    <a:cubicBezTo>
                      <a:pt x="63" y="11"/>
                      <a:pt x="63" y="12"/>
                      <a:pt x="62" y="12"/>
                    </a:cubicBezTo>
                    <a:cubicBezTo>
                      <a:pt x="61" y="13"/>
                      <a:pt x="60" y="13"/>
                      <a:pt x="59" y="14"/>
                    </a:cubicBezTo>
                    <a:cubicBezTo>
                      <a:pt x="57" y="15"/>
                      <a:pt x="56" y="17"/>
                      <a:pt x="55" y="19"/>
                    </a:cubicBezTo>
                    <a:cubicBezTo>
                      <a:pt x="54" y="19"/>
                      <a:pt x="54" y="20"/>
                      <a:pt x="54" y="20"/>
                    </a:cubicBezTo>
                    <a:cubicBezTo>
                      <a:pt x="54" y="19"/>
                      <a:pt x="53" y="19"/>
                      <a:pt x="52" y="19"/>
                    </a:cubicBezTo>
                    <a:cubicBezTo>
                      <a:pt x="52" y="19"/>
                      <a:pt x="52" y="19"/>
                      <a:pt x="52" y="19"/>
                    </a:cubicBezTo>
                    <a:cubicBezTo>
                      <a:pt x="51" y="19"/>
                      <a:pt x="51" y="19"/>
                      <a:pt x="51" y="19"/>
                    </a:cubicBezTo>
                    <a:cubicBezTo>
                      <a:pt x="49" y="18"/>
                      <a:pt x="48" y="19"/>
                      <a:pt x="47" y="18"/>
                    </a:cubicBezTo>
                    <a:cubicBezTo>
                      <a:pt x="46" y="18"/>
                      <a:pt x="45" y="17"/>
                      <a:pt x="44" y="17"/>
                    </a:cubicBezTo>
                    <a:cubicBezTo>
                      <a:pt x="44" y="17"/>
                      <a:pt x="43" y="18"/>
                      <a:pt x="43" y="18"/>
                    </a:cubicBezTo>
                    <a:cubicBezTo>
                      <a:pt x="42" y="18"/>
                      <a:pt x="41" y="18"/>
                      <a:pt x="41" y="17"/>
                    </a:cubicBezTo>
                    <a:cubicBezTo>
                      <a:pt x="40" y="17"/>
                      <a:pt x="39" y="16"/>
                      <a:pt x="38" y="16"/>
                    </a:cubicBezTo>
                    <a:cubicBezTo>
                      <a:pt x="36" y="14"/>
                      <a:pt x="33" y="12"/>
                      <a:pt x="31" y="11"/>
                    </a:cubicBezTo>
                    <a:cubicBezTo>
                      <a:pt x="30" y="10"/>
                      <a:pt x="29" y="9"/>
                      <a:pt x="28" y="9"/>
                    </a:cubicBezTo>
                    <a:cubicBezTo>
                      <a:pt x="27" y="8"/>
                      <a:pt x="25" y="8"/>
                      <a:pt x="24" y="8"/>
                    </a:cubicBezTo>
                    <a:cubicBezTo>
                      <a:pt x="23" y="8"/>
                      <a:pt x="22" y="8"/>
                      <a:pt x="21" y="8"/>
                    </a:cubicBezTo>
                    <a:cubicBezTo>
                      <a:pt x="20" y="8"/>
                      <a:pt x="19" y="7"/>
                      <a:pt x="19" y="6"/>
                    </a:cubicBezTo>
                    <a:cubicBezTo>
                      <a:pt x="18" y="6"/>
                      <a:pt x="17" y="6"/>
                      <a:pt x="17" y="6"/>
                    </a:cubicBezTo>
                    <a:cubicBezTo>
                      <a:pt x="16" y="6"/>
                      <a:pt x="15" y="5"/>
                      <a:pt x="15" y="5"/>
                    </a:cubicBezTo>
                    <a:cubicBezTo>
                      <a:pt x="15" y="4"/>
                      <a:pt x="15" y="4"/>
                      <a:pt x="15" y="3"/>
                    </a:cubicBezTo>
                    <a:cubicBezTo>
                      <a:pt x="14" y="2"/>
                      <a:pt x="14" y="3"/>
                      <a:pt x="13" y="2"/>
                    </a:cubicBezTo>
                    <a:cubicBezTo>
                      <a:pt x="13" y="2"/>
                      <a:pt x="14" y="0"/>
                      <a:pt x="13" y="2"/>
                    </a:cubicBezTo>
                    <a:cubicBezTo>
                      <a:pt x="12" y="2"/>
                      <a:pt x="12" y="2"/>
                      <a:pt x="12" y="2"/>
                    </a:cubicBezTo>
                    <a:cubicBezTo>
                      <a:pt x="11" y="2"/>
                      <a:pt x="10" y="3"/>
                      <a:pt x="9" y="3"/>
                    </a:cubicBezTo>
                    <a:cubicBezTo>
                      <a:pt x="7" y="4"/>
                      <a:pt x="5" y="5"/>
                      <a:pt x="4" y="7"/>
                    </a:cubicBezTo>
                    <a:cubicBezTo>
                      <a:pt x="4" y="7"/>
                      <a:pt x="4" y="7"/>
                      <a:pt x="4" y="7"/>
                    </a:cubicBezTo>
                    <a:cubicBezTo>
                      <a:pt x="3" y="8"/>
                      <a:pt x="1" y="9"/>
                      <a:pt x="0" y="11"/>
                    </a:cubicBezTo>
                    <a:cubicBezTo>
                      <a:pt x="1" y="11"/>
                      <a:pt x="1" y="12"/>
                      <a:pt x="1" y="12"/>
                    </a:cubicBezTo>
                    <a:cubicBezTo>
                      <a:pt x="1" y="13"/>
                      <a:pt x="1" y="13"/>
                      <a:pt x="1" y="14"/>
                    </a:cubicBezTo>
                    <a:cubicBezTo>
                      <a:pt x="1" y="14"/>
                      <a:pt x="2" y="14"/>
                      <a:pt x="1" y="14"/>
                    </a:cubicBezTo>
                    <a:cubicBezTo>
                      <a:pt x="1" y="15"/>
                      <a:pt x="2" y="14"/>
                      <a:pt x="2" y="15"/>
                    </a:cubicBezTo>
                    <a:cubicBezTo>
                      <a:pt x="3" y="15"/>
                      <a:pt x="2" y="15"/>
                      <a:pt x="2" y="15"/>
                    </a:cubicBezTo>
                    <a:cubicBezTo>
                      <a:pt x="2" y="15"/>
                      <a:pt x="2" y="16"/>
                      <a:pt x="2" y="16"/>
                    </a:cubicBezTo>
                    <a:cubicBezTo>
                      <a:pt x="2" y="16"/>
                      <a:pt x="3" y="16"/>
                      <a:pt x="3" y="16"/>
                    </a:cubicBezTo>
                    <a:cubicBezTo>
                      <a:pt x="3" y="16"/>
                      <a:pt x="3" y="17"/>
                      <a:pt x="3" y="16"/>
                    </a:cubicBezTo>
                    <a:cubicBezTo>
                      <a:pt x="4" y="16"/>
                      <a:pt x="4" y="17"/>
                      <a:pt x="5" y="17"/>
                    </a:cubicBezTo>
                    <a:cubicBezTo>
                      <a:pt x="5" y="17"/>
                      <a:pt x="5" y="18"/>
                      <a:pt x="5" y="18"/>
                    </a:cubicBezTo>
                    <a:cubicBezTo>
                      <a:pt x="5" y="18"/>
                      <a:pt x="5" y="18"/>
                      <a:pt x="4" y="19"/>
                    </a:cubicBezTo>
                    <a:cubicBezTo>
                      <a:pt x="4" y="20"/>
                      <a:pt x="5" y="21"/>
                      <a:pt x="5" y="22"/>
                    </a:cubicBezTo>
                    <a:cubicBezTo>
                      <a:pt x="5" y="23"/>
                      <a:pt x="6" y="23"/>
                      <a:pt x="6" y="23"/>
                    </a:cubicBezTo>
                    <a:cubicBezTo>
                      <a:pt x="6" y="24"/>
                      <a:pt x="6" y="26"/>
                      <a:pt x="7" y="26"/>
                    </a:cubicBezTo>
                    <a:cubicBezTo>
                      <a:pt x="8" y="26"/>
                      <a:pt x="8" y="27"/>
                      <a:pt x="8" y="28"/>
                    </a:cubicBezTo>
                    <a:cubicBezTo>
                      <a:pt x="8" y="28"/>
                      <a:pt x="8" y="28"/>
                      <a:pt x="8" y="29"/>
                    </a:cubicBezTo>
                    <a:cubicBezTo>
                      <a:pt x="9" y="29"/>
                      <a:pt x="9" y="29"/>
                      <a:pt x="9" y="29"/>
                    </a:cubicBezTo>
                    <a:cubicBezTo>
                      <a:pt x="9" y="29"/>
                      <a:pt x="10" y="30"/>
                      <a:pt x="9" y="31"/>
                    </a:cubicBezTo>
                    <a:cubicBezTo>
                      <a:pt x="9" y="31"/>
                      <a:pt x="9" y="33"/>
                      <a:pt x="10" y="33"/>
                    </a:cubicBezTo>
                    <a:cubicBezTo>
                      <a:pt x="10" y="34"/>
                      <a:pt x="10" y="35"/>
                      <a:pt x="10" y="36"/>
                    </a:cubicBezTo>
                    <a:cubicBezTo>
                      <a:pt x="10" y="36"/>
                      <a:pt x="10" y="38"/>
                      <a:pt x="10" y="38"/>
                    </a:cubicBezTo>
                    <a:cubicBezTo>
                      <a:pt x="10" y="39"/>
                      <a:pt x="10" y="39"/>
                      <a:pt x="10" y="40"/>
                    </a:cubicBezTo>
                    <a:cubicBezTo>
                      <a:pt x="9" y="40"/>
                      <a:pt x="9" y="40"/>
                      <a:pt x="9" y="41"/>
                    </a:cubicBezTo>
                    <a:cubicBezTo>
                      <a:pt x="9" y="41"/>
                      <a:pt x="9" y="42"/>
                      <a:pt x="8" y="42"/>
                    </a:cubicBezTo>
                    <a:cubicBezTo>
                      <a:pt x="8" y="42"/>
                      <a:pt x="8" y="42"/>
                      <a:pt x="8" y="42"/>
                    </a:cubicBezTo>
                    <a:cubicBezTo>
                      <a:pt x="9" y="43"/>
                      <a:pt x="9" y="44"/>
                      <a:pt x="8" y="44"/>
                    </a:cubicBezTo>
                    <a:cubicBezTo>
                      <a:pt x="7" y="44"/>
                      <a:pt x="6" y="45"/>
                      <a:pt x="6" y="45"/>
                    </a:cubicBezTo>
                    <a:cubicBezTo>
                      <a:pt x="5" y="45"/>
                      <a:pt x="5" y="47"/>
                      <a:pt x="5" y="47"/>
                    </a:cubicBezTo>
                    <a:cubicBezTo>
                      <a:pt x="5" y="48"/>
                      <a:pt x="4" y="48"/>
                      <a:pt x="4" y="49"/>
                    </a:cubicBezTo>
                    <a:cubicBezTo>
                      <a:pt x="4" y="49"/>
                      <a:pt x="3" y="49"/>
                      <a:pt x="3" y="49"/>
                    </a:cubicBezTo>
                    <a:cubicBezTo>
                      <a:pt x="3" y="50"/>
                      <a:pt x="3" y="50"/>
                      <a:pt x="2" y="50"/>
                    </a:cubicBezTo>
                    <a:cubicBezTo>
                      <a:pt x="2" y="51"/>
                      <a:pt x="2" y="52"/>
                      <a:pt x="1" y="53"/>
                    </a:cubicBezTo>
                    <a:cubicBezTo>
                      <a:pt x="1" y="53"/>
                      <a:pt x="2" y="53"/>
                      <a:pt x="1" y="54"/>
                    </a:cubicBezTo>
                    <a:cubicBezTo>
                      <a:pt x="1" y="54"/>
                      <a:pt x="1" y="54"/>
                      <a:pt x="1" y="55"/>
                    </a:cubicBezTo>
                    <a:cubicBezTo>
                      <a:pt x="0" y="55"/>
                      <a:pt x="0" y="56"/>
                      <a:pt x="0" y="57"/>
                    </a:cubicBezTo>
                    <a:cubicBezTo>
                      <a:pt x="0" y="57"/>
                      <a:pt x="1" y="58"/>
                      <a:pt x="1" y="58"/>
                    </a:cubicBezTo>
                    <a:cubicBezTo>
                      <a:pt x="1" y="58"/>
                      <a:pt x="1" y="58"/>
                      <a:pt x="2" y="58"/>
                    </a:cubicBezTo>
                    <a:cubicBezTo>
                      <a:pt x="2" y="58"/>
                      <a:pt x="1" y="58"/>
                      <a:pt x="2" y="59"/>
                    </a:cubicBezTo>
                    <a:cubicBezTo>
                      <a:pt x="1" y="59"/>
                      <a:pt x="2" y="59"/>
                      <a:pt x="3" y="60"/>
                    </a:cubicBezTo>
                    <a:cubicBezTo>
                      <a:pt x="3" y="60"/>
                      <a:pt x="3" y="60"/>
                      <a:pt x="3" y="60"/>
                    </a:cubicBezTo>
                    <a:cubicBezTo>
                      <a:pt x="3" y="60"/>
                      <a:pt x="3" y="61"/>
                      <a:pt x="3" y="61"/>
                    </a:cubicBezTo>
                    <a:cubicBezTo>
                      <a:pt x="3" y="61"/>
                      <a:pt x="3" y="62"/>
                      <a:pt x="3" y="62"/>
                    </a:cubicBezTo>
                    <a:cubicBezTo>
                      <a:pt x="3" y="62"/>
                      <a:pt x="4" y="61"/>
                      <a:pt x="4" y="61"/>
                    </a:cubicBezTo>
                    <a:cubicBezTo>
                      <a:pt x="4" y="60"/>
                      <a:pt x="4" y="60"/>
                      <a:pt x="4" y="59"/>
                    </a:cubicBezTo>
                    <a:cubicBezTo>
                      <a:pt x="4" y="59"/>
                      <a:pt x="5" y="59"/>
                      <a:pt x="6" y="59"/>
                    </a:cubicBezTo>
                    <a:cubicBezTo>
                      <a:pt x="6" y="59"/>
                      <a:pt x="6" y="59"/>
                      <a:pt x="7" y="59"/>
                    </a:cubicBezTo>
                    <a:cubicBezTo>
                      <a:pt x="7" y="58"/>
                      <a:pt x="7" y="58"/>
                      <a:pt x="8" y="58"/>
                    </a:cubicBezTo>
                    <a:cubicBezTo>
                      <a:pt x="7" y="59"/>
                      <a:pt x="9" y="60"/>
                      <a:pt x="9" y="61"/>
                    </a:cubicBezTo>
                    <a:cubicBezTo>
                      <a:pt x="8" y="61"/>
                      <a:pt x="8" y="60"/>
                      <a:pt x="8" y="61"/>
                    </a:cubicBezTo>
                    <a:cubicBezTo>
                      <a:pt x="8" y="61"/>
                      <a:pt x="7" y="61"/>
                      <a:pt x="7" y="61"/>
                    </a:cubicBezTo>
                    <a:cubicBezTo>
                      <a:pt x="6" y="61"/>
                      <a:pt x="4" y="60"/>
                      <a:pt x="5" y="62"/>
                    </a:cubicBezTo>
                    <a:cubicBezTo>
                      <a:pt x="5" y="62"/>
                      <a:pt x="5" y="62"/>
                      <a:pt x="5" y="63"/>
                    </a:cubicBezTo>
                    <a:cubicBezTo>
                      <a:pt x="5" y="63"/>
                      <a:pt x="4" y="63"/>
                      <a:pt x="4" y="63"/>
                    </a:cubicBezTo>
                    <a:cubicBezTo>
                      <a:pt x="4" y="63"/>
                      <a:pt x="4" y="62"/>
                      <a:pt x="4" y="62"/>
                    </a:cubicBezTo>
                    <a:cubicBezTo>
                      <a:pt x="4" y="62"/>
                      <a:pt x="4" y="63"/>
                      <a:pt x="3" y="62"/>
                    </a:cubicBezTo>
                    <a:cubicBezTo>
                      <a:pt x="3" y="63"/>
                      <a:pt x="2" y="61"/>
                      <a:pt x="2" y="63"/>
                    </a:cubicBezTo>
                    <a:cubicBezTo>
                      <a:pt x="2" y="63"/>
                      <a:pt x="2" y="63"/>
                      <a:pt x="2" y="63"/>
                    </a:cubicBezTo>
                    <a:cubicBezTo>
                      <a:pt x="1" y="63"/>
                      <a:pt x="1" y="63"/>
                      <a:pt x="1" y="64"/>
                    </a:cubicBezTo>
                    <a:cubicBezTo>
                      <a:pt x="1" y="64"/>
                      <a:pt x="1" y="64"/>
                      <a:pt x="1" y="65"/>
                    </a:cubicBezTo>
                    <a:cubicBezTo>
                      <a:pt x="1" y="65"/>
                      <a:pt x="1" y="66"/>
                      <a:pt x="1" y="66"/>
                    </a:cubicBezTo>
                    <a:cubicBezTo>
                      <a:pt x="2" y="66"/>
                      <a:pt x="2" y="66"/>
                      <a:pt x="2" y="67"/>
                    </a:cubicBezTo>
                    <a:cubicBezTo>
                      <a:pt x="2" y="67"/>
                      <a:pt x="2" y="67"/>
                      <a:pt x="2" y="67"/>
                    </a:cubicBezTo>
                    <a:cubicBezTo>
                      <a:pt x="2" y="68"/>
                      <a:pt x="2" y="68"/>
                      <a:pt x="2" y="68"/>
                    </a:cubicBezTo>
                    <a:cubicBezTo>
                      <a:pt x="1" y="68"/>
                      <a:pt x="1" y="68"/>
                      <a:pt x="1" y="68"/>
                    </a:cubicBezTo>
                    <a:cubicBezTo>
                      <a:pt x="1" y="68"/>
                      <a:pt x="2" y="68"/>
                      <a:pt x="1" y="69"/>
                    </a:cubicBezTo>
                    <a:cubicBezTo>
                      <a:pt x="7" y="73"/>
                      <a:pt x="13" y="76"/>
                      <a:pt x="20" y="80"/>
                    </a:cubicBezTo>
                    <a:cubicBezTo>
                      <a:pt x="23" y="82"/>
                      <a:pt x="26" y="84"/>
                      <a:pt x="29" y="86"/>
                    </a:cubicBezTo>
                    <a:cubicBezTo>
                      <a:pt x="30" y="87"/>
                      <a:pt x="32" y="88"/>
                      <a:pt x="34" y="89"/>
                    </a:cubicBezTo>
                    <a:cubicBezTo>
                      <a:pt x="35" y="90"/>
                      <a:pt x="36" y="90"/>
                      <a:pt x="36" y="92"/>
                    </a:cubicBezTo>
                    <a:cubicBezTo>
                      <a:pt x="36" y="92"/>
                      <a:pt x="36" y="93"/>
                      <a:pt x="36" y="94"/>
                    </a:cubicBezTo>
                    <a:cubicBezTo>
                      <a:pt x="36" y="94"/>
                      <a:pt x="36" y="94"/>
                      <a:pt x="35" y="95"/>
                    </a:cubicBezTo>
                    <a:cubicBezTo>
                      <a:pt x="35" y="95"/>
                      <a:pt x="35" y="96"/>
                      <a:pt x="35" y="96"/>
                    </a:cubicBezTo>
                    <a:cubicBezTo>
                      <a:pt x="36" y="96"/>
                      <a:pt x="36" y="96"/>
                      <a:pt x="36" y="96"/>
                    </a:cubicBezTo>
                    <a:cubicBezTo>
                      <a:pt x="37" y="96"/>
                      <a:pt x="37" y="97"/>
                      <a:pt x="37" y="97"/>
                    </a:cubicBezTo>
                    <a:cubicBezTo>
                      <a:pt x="38" y="98"/>
                      <a:pt x="38" y="98"/>
                      <a:pt x="39" y="99"/>
                    </a:cubicBezTo>
                    <a:cubicBezTo>
                      <a:pt x="40" y="100"/>
                      <a:pt x="42" y="101"/>
                      <a:pt x="43" y="102"/>
                    </a:cubicBezTo>
                    <a:cubicBezTo>
                      <a:pt x="45" y="104"/>
                      <a:pt x="47" y="106"/>
                      <a:pt x="50" y="108"/>
                    </a:cubicBezTo>
                    <a:cubicBezTo>
                      <a:pt x="50" y="108"/>
                      <a:pt x="50" y="108"/>
                      <a:pt x="51" y="108"/>
                    </a:cubicBezTo>
                    <a:cubicBezTo>
                      <a:pt x="51" y="108"/>
                      <a:pt x="51" y="108"/>
                      <a:pt x="52" y="108"/>
                    </a:cubicBezTo>
                    <a:cubicBezTo>
                      <a:pt x="52" y="108"/>
                      <a:pt x="53" y="109"/>
                      <a:pt x="52" y="108"/>
                    </a:cubicBezTo>
                    <a:cubicBezTo>
                      <a:pt x="52" y="107"/>
                      <a:pt x="53" y="107"/>
                      <a:pt x="53" y="107"/>
                    </a:cubicBezTo>
                    <a:cubicBezTo>
                      <a:pt x="53" y="107"/>
                      <a:pt x="53" y="107"/>
                      <a:pt x="53" y="108"/>
                    </a:cubicBezTo>
                    <a:cubicBezTo>
                      <a:pt x="53" y="107"/>
                      <a:pt x="54" y="106"/>
                      <a:pt x="54" y="105"/>
                    </a:cubicBezTo>
                    <a:cubicBezTo>
                      <a:pt x="54" y="105"/>
                      <a:pt x="54" y="104"/>
                      <a:pt x="55" y="104"/>
                    </a:cubicBezTo>
                    <a:cubicBezTo>
                      <a:pt x="55" y="104"/>
                      <a:pt x="55" y="103"/>
                      <a:pt x="55" y="102"/>
                    </a:cubicBezTo>
                    <a:cubicBezTo>
                      <a:pt x="55" y="102"/>
                      <a:pt x="55" y="102"/>
                      <a:pt x="54" y="102"/>
                    </a:cubicBezTo>
                    <a:cubicBezTo>
                      <a:pt x="54" y="102"/>
                      <a:pt x="54" y="102"/>
                      <a:pt x="55" y="102"/>
                    </a:cubicBezTo>
                    <a:cubicBezTo>
                      <a:pt x="55" y="102"/>
                      <a:pt x="55" y="101"/>
                      <a:pt x="55" y="101"/>
                    </a:cubicBezTo>
                    <a:cubicBezTo>
                      <a:pt x="55" y="101"/>
                      <a:pt x="55" y="101"/>
                      <a:pt x="55" y="101"/>
                    </a:cubicBezTo>
                    <a:cubicBezTo>
                      <a:pt x="55" y="102"/>
                      <a:pt x="56" y="101"/>
                      <a:pt x="56" y="101"/>
                    </a:cubicBezTo>
                    <a:cubicBezTo>
                      <a:pt x="56" y="101"/>
                      <a:pt x="55" y="101"/>
                      <a:pt x="56" y="100"/>
                    </a:cubicBezTo>
                    <a:cubicBezTo>
                      <a:pt x="56" y="101"/>
                      <a:pt x="56" y="101"/>
                      <a:pt x="56" y="100"/>
                    </a:cubicBezTo>
                    <a:cubicBezTo>
                      <a:pt x="57" y="100"/>
                      <a:pt x="57" y="99"/>
                      <a:pt x="57" y="99"/>
                    </a:cubicBezTo>
                    <a:cubicBezTo>
                      <a:pt x="57" y="98"/>
                      <a:pt x="57" y="98"/>
                      <a:pt x="57" y="97"/>
                    </a:cubicBezTo>
                    <a:cubicBezTo>
                      <a:pt x="57" y="97"/>
                      <a:pt x="56" y="97"/>
                      <a:pt x="56" y="97"/>
                    </a:cubicBezTo>
                    <a:cubicBezTo>
                      <a:pt x="58" y="98"/>
                      <a:pt x="58" y="94"/>
                      <a:pt x="58" y="94"/>
                    </a:cubicBezTo>
                    <a:cubicBezTo>
                      <a:pt x="58" y="95"/>
                      <a:pt x="59" y="94"/>
                      <a:pt x="60" y="93"/>
                    </a:cubicBezTo>
                    <a:cubicBezTo>
                      <a:pt x="60" y="93"/>
                      <a:pt x="60" y="92"/>
                      <a:pt x="60" y="91"/>
                    </a:cubicBezTo>
                    <a:cubicBezTo>
                      <a:pt x="60" y="91"/>
                      <a:pt x="61" y="90"/>
                      <a:pt x="61" y="90"/>
                    </a:cubicBezTo>
                    <a:cubicBezTo>
                      <a:pt x="60" y="91"/>
                      <a:pt x="60" y="89"/>
                      <a:pt x="60" y="88"/>
                    </a:cubicBezTo>
                    <a:cubicBezTo>
                      <a:pt x="60" y="88"/>
                      <a:pt x="60" y="87"/>
                      <a:pt x="61" y="86"/>
                    </a:cubicBezTo>
                    <a:cubicBezTo>
                      <a:pt x="62" y="86"/>
                      <a:pt x="62" y="85"/>
                      <a:pt x="63" y="85"/>
                    </a:cubicBezTo>
                    <a:cubicBezTo>
                      <a:pt x="64" y="85"/>
                      <a:pt x="64" y="86"/>
                      <a:pt x="65" y="85"/>
                    </a:cubicBezTo>
                    <a:cubicBezTo>
                      <a:pt x="65" y="85"/>
                      <a:pt x="66" y="84"/>
                      <a:pt x="66" y="84"/>
                    </a:cubicBezTo>
                    <a:cubicBezTo>
                      <a:pt x="67" y="83"/>
                      <a:pt x="66" y="83"/>
                      <a:pt x="66" y="82"/>
                    </a:cubicBezTo>
                    <a:cubicBezTo>
                      <a:pt x="67" y="82"/>
                      <a:pt x="67" y="82"/>
                      <a:pt x="68" y="82"/>
                    </a:cubicBezTo>
                    <a:cubicBezTo>
                      <a:pt x="68" y="82"/>
                      <a:pt x="68" y="83"/>
                      <a:pt x="68" y="83"/>
                    </a:cubicBezTo>
                    <a:cubicBezTo>
                      <a:pt x="68" y="83"/>
                      <a:pt x="68" y="82"/>
                      <a:pt x="68" y="82"/>
                    </a:cubicBezTo>
                    <a:cubicBezTo>
                      <a:pt x="68" y="82"/>
                      <a:pt x="67" y="82"/>
                      <a:pt x="67" y="81"/>
                    </a:cubicBezTo>
                    <a:cubicBezTo>
                      <a:pt x="67" y="81"/>
                      <a:pt x="67" y="80"/>
                      <a:pt x="67" y="79"/>
                    </a:cubicBezTo>
                    <a:cubicBezTo>
                      <a:pt x="67" y="79"/>
                      <a:pt x="67" y="79"/>
                      <a:pt x="67" y="79"/>
                    </a:cubicBezTo>
                    <a:cubicBezTo>
                      <a:pt x="67" y="79"/>
                      <a:pt x="68" y="80"/>
                      <a:pt x="68" y="80"/>
                    </a:cubicBezTo>
                    <a:cubicBezTo>
                      <a:pt x="68" y="80"/>
                      <a:pt x="68" y="78"/>
                      <a:pt x="68" y="78"/>
                    </a:cubicBezTo>
                    <a:cubicBezTo>
                      <a:pt x="68" y="78"/>
                      <a:pt x="68" y="80"/>
                      <a:pt x="69" y="80"/>
                    </a:cubicBezTo>
                    <a:cubicBezTo>
                      <a:pt x="69" y="79"/>
                      <a:pt x="69" y="79"/>
                      <a:pt x="70" y="79"/>
                    </a:cubicBezTo>
                    <a:cubicBezTo>
                      <a:pt x="70" y="79"/>
                      <a:pt x="70" y="79"/>
                      <a:pt x="70" y="79"/>
                    </a:cubicBezTo>
                    <a:cubicBezTo>
                      <a:pt x="71" y="80"/>
                      <a:pt x="72" y="78"/>
                      <a:pt x="72" y="78"/>
                    </a:cubicBezTo>
                    <a:cubicBezTo>
                      <a:pt x="73" y="77"/>
                      <a:pt x="74" y="76"/>
                      <a:pt x="74" y="75"/>
                    </a:cubicBezTo>
                    <a:cubicBezTo>
                      <a:pt x="74" y="74"/>
                      <a:pt x="72" y="73"/>
                      <a:pt x="72" y="72"/>
                    </a:cubicBezTo>
                    <a:close/>
                    <a:moveTo>
                      <a:pt x="70" y="80"/>
                    </a:moveTo>
                    <a:cubicBezTo>
                      <a:pt x="70" y="80"/>
                      <a:pt x="70" y="81"/>
                      <a:pt x="70" y="80"/>
                    </a:cubicBezTo>
                    <a:cubicBezTo>
                      <a:pt x="70" y="81"/>
                      <a:pt x="69" y="81"/>
                      <a:pt x="69" y="81"/>
                    </a:cubicBezTo>
                    <a:cubicBezTo>
                      <a:pt x="69" y="81"/>
                      <a:pt x="68" y="81"/>
                      <a:pt x="68" y="81"/>
                    </a:cubicBezTo>
                    <a:cubicBezTo>
                      <a:pt x="68" y="81"/>
                      <a:pt x="69" y="81"/>
                      <a:pt x="68" y="81"/>
                    </a:cubicBezTo>
                    <a:cubicBezTo>
                      <a:pt x="68" y="81"/>
                      <a:pt x="68" y="81"/>
                      <a:pt x="68" y="81"/>
                    </a:cubicBezTo>
                    <a:cubicBezTo>
                      <a:pt x="68" y="80"/>
                      <a:pt x="68" y="80"/>
                      <a:pt x="69" y="80"/>
                    </a:cubicBezTo>
                    <a:cubicBezTo>
                      <a:pt x="69" y="80"/>
                      <a:pt x="69" y="80"/>
                      <a:pt x="70" y="8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0" name="Kazakhstan">
                <a:extLst>
                  <a:ext uri="{FF2B5EF4-FFF2-40B4-BE49-F238E27FC236}">
                    <a16:creationId xmlns:a16="http://schemas.microsoft.com/office/drawing/2014/main" id="{91C9B151-1246-082D-4DBF-796D377C844A}"/>
                  </a:ext>
                </a:extLst>
              </p:cNvPr>
              <p:cNvSpPr>
                <a:spLocks noEditPoints="1"/>
              </p:cNvSpPr>
              <p:nvPr/>
            </p:nvSpPr>
            <p:spPr bwMode="auto">
              <a:xfrm>
                <a:off x="7138504" y="1902690"/>
                <a:ext cx="1221285" cy="563595"/>
              </a:xfrm>
              <a:custGeom>
                <a:avLst/>
                <a:gdLst/>
                <a:ahLst/>
                <a:cxnLst>
                  <a:cxn ang="0">
                    <a:pos x="119" y="108"/>
                  </a:cxn>
                  <a:cxn ang="0">
                    <a:pos x="335" y="78"/>
                  </a:cxn>
                  <a:cxn ang="0">
                    <a:pos x="316" y="98"/>
                  </a:cxn>
                  <a:cxn ang="0">
                    <a:pos x="300" y="113"/>
                  </a:cxn>
                  <a:cxn ang="0">
                    <a:pos x="311" y="133"/>
                  </a:cxn>
                  <a:cxn ang="0">
                    <a:pos x="299" y="135"/>
                  </a:cxn>
                  <a:cxn ang="0">
                    <a:pos x="269" y="134"/>
                  </a:cxn>
                  <a:cxn ang="0">
                    <a:pos x="248" y="137"/>
                  </a:cxn>
                  <a:cxn ang="0">
                    <a:pos x="227" y="140"/>
                  </a:cxn>
                  <a:cxn ang="0">
                    <a:pos x="212" y="153"/>
                  </a:cxn>
                  <a:cxn ang="0">
                    <a:pos x="191" y="146"/>
                  </a:cxn>
                  <a:cxn ang="0">
                    <a:pos x="152" y="126"/>
                  </a:cxn>
                  <a:cxn ang="0">
                    <a:pos x="120" y="101"/>
                  </a:cxn>
                  <a:cxn ang="0">
                    <a:pos x="120" y="98"/>
                  </a:cxn>
                  <a:cxn ang="0">
                    <a:pos x="113" y="101"/>
                  </a:cxn>
                  <a:cxn ang="0">
                    <a:pos x="91" y="148"/>
                  </a:cxn>
                  <a:cxn ang="0">
                    <a:pos x="66" y="136"/>
                  </a:cxn>
                  <a:cxn ang="0">
                    <a:pos x="41" y="115"/>
                  </a:cxn>
                  <a:cxn ang="0">
                    <a:pos x="47" y="110"/>
                  </a:cxn>
                  <a:cxn ang="0">
                    <a:pos x="71" y="110"/>
                  </a:cxn>
                  <a:cxn ang="0">
                    <a:pos x="71" y="106"/>
                  </a:cxn>
                  <a:cxn ang="0">
                    <a:pos x="51" y="90"/>
                  </a:cxn>
                  <a:cxn ang="0">
                    <a:pos x="38" y="91"/>
                  </a:cxn>
                  <a:cxn ang="0">
                    <a:pos x="29" y="94"/>
                  </a:cxn>
                  <a:cxn ang="0">
                    <a:pos x="23" y="89"/>
                  </a:cxn>
                  <a:cxn ang="0">
                    <a:pos x="1" y="71"/>
                  </a:cxn>
                  <a:cxn ang="0">
                    <a:pos x="16" y="58"/>
                  </a:cxn>
                  <a:cxn ang="0">
                    <a:pos x="23" y="44"/>
                  </a:cxn>
                  <a:cxn ang="0">
                    <a:pos x="36" y="41"/>
                  </a:cxn>
                  <a:cxn ang="0">
                    <a:pos x="52" y="41"/>
                  </a:cxn>
                  <a:cxn ang="0">
                    <a:pos x="67" y="47"/>
                  </a:cxn>
                  <a:cxn ang="0">
                    <a:pos x="84" y="46"/>
                  </a:cxn>
                  <a:cxn ang="0">
                    <a:pos x="104" y="50"/>
                  </a:cxn>
                  <a:cxn ang="0">
                    <a:pos x="113" y="40"/>
                  </a:cxn>
                  <a:cxn ang="0">
                    <a:pos x="109" y="29"/>
                  </a:cxn>
                  <a:cxn ang="0">
                    <a:pos x="110" y="20"/>
                  </a:cxn>
                  <a:cxn ang="0">
                    <a:pos x="110" y="14"/>
                  </a:cxn>
                  <a:cxn ang="0">
                    <a:pos x="128" y="12"/>
                  </a:cxn>
                  <a:cxn ang="0">
                    <a:pos x="151" y="7"/>
                  </a:cxn>
                  <a:cxn ang="0">
                    <a:pos x="164" y="1"/>
                  </a:cxn>
                  <a:cxn ang="0">
                    <a:pos x="179" y="1"/>
                  </a:cxn>
                  <a:cxn ang="0">
                    <a:pos x="191" y="13"/>
                  </a:cxn>
                  <a:cxn ang="0">
                    <a:pos x="200" y="16"/>
                  </a:cxn>
                  <a:cxn ang="0">
                    <a:pos x="210" y="16"/>
                  </a:cxn>
                  <a:cxn ang="0">
                    <a:pos x="219" y="18"/>
                  </a:cxn>
                  <a:cxn ang="0">
                    <a:pos x="234" y="13"/>
                  </a:cxn>
                  <a:cxn ang="0">
                    <a:pos x="279" y="47"/>
                  </a:cxn>
                  <a:cxn ang="0">
                    <a:pos x="295" y="49"/>
                  </a:cxn>
                  <a:cxn ang="0">
                    <a:pos x="316" y="55"/>
                  </a:cxn>
                  <a:cxn ang="0">
                    <a:pos x="332" y="62"/>
                  </a:cxn>
                  <a:cxn ang="0">
                    <a:pos x="132" y="94"/>
                  </a:cxn>
                  <a:cxn ang="0">
                    <a:pos x="122" y="93"/>
                  </a:cxn>
                  <a:cxn ang="0">
                    <a:pos x="132" y="94"/>
                  </a:cxn>
                  <a:cxn ang="0">
                    <a:pos x="279" y="95"/>
                  </a:cxn>
                  <a:cxn ang="0">
                    <a:pos x="261" y="93"/>
                  </a:cxn>
                  <a:cxn ang="0">
                    <a:pos x="245" y="92"/>
                  </a:cxn>
                  <a:cxn ang="0">
                    <a:pos x="240" y="103"/>
                  </a:cxn>
                  <a:cxn ang="0">
                    <a:pos x="247" y="108"/>
                  </a:cxn>
                  <a:cxn ang="0">
                    <a:pos x="251" y="95"/>
                  </a:cxn>
                  <a:cxn ang="0">
                    <a:pos x="258" y="94"/>
                  </a:cxn>
                  <a:cxn ang="0">
                    <a:pos x="274" y="95"/>
                  </a:cxn>
                </a:cxnLst>
                <a:rect l="0" t="0" r="r" b="b"/>
                <a:pathLst>
                  <a:path w="345" h="159">
                    <a:moveTo>
                      <a:pt x="119" y="109"/>
                    </a:moveTo>
                    <a:cubicBezTo>
                      <a:pt x="118" y="108"/>
                      <a:pt x="116" y="107"/>
                      <a:pt x="114" y="106"/>
                    </a:cubicBezTo>
                    <a:cubicBezTo>
                      <a:pt x="113" y="106"/>
                      <a:pt x="113" y="106"/>
                      <a:pt x="112" y="105"/>
                    </a:cubicBezTo>
                    <a:cubicBezTo>
                      <a:pt x="113" y="105"/>
                      <a:pt x="113" y="105"/>
                      <a:pt x="113" y="105"/>
                    </a:cubicBezTo>
                    <a:cubicBezTo>
                      <a:pt x="113" y="105"/>
                      <a:pt x="113" y="105"/>
                      <a:pt x="114" y="104"/>
                    </a:cubicBezTo>
                    <a:cubicBezTo>
                      <a:pt x="114" y="104"/>
                      <a:pt x="114" y="102"/>
                      <a:pt x="114" y="103"/>
                    </a:cubicBezTo>
                    <a:cubicBezTo>
                      <a:pt x="114" y="103"/>
                      <a:pt x="114" y="103"/>
                      <a:pt x="114" y="103"/>
                    </a:cubicBezTo>
                    <a:cubicBezTo>
                      <a:pt x="115" y="104"/>
                      <a:pt x="115" y="103"/>
                      <a:pt x="115" y="103"/>
                    </a:cubicBezTo>
                    <a:cubicBezTo>
                      <a:pt x="115" y="103"/>
                      <a:pt x="114" y="101"/>
                      <a:pt x="115" y="102"/>
                    </a:cubicBezTo>
                    <a:cubicBezTo>
                      <a:pt x="115" y="102"/>
                      <a:pt x="115" y="103"/>
                      <a:pt x="116" y="103"/>
                    </a:cubicBezTo>
                    <a:cubicBezTo>
                      <a:pt x="116" y="104"/>
                      <a:pt x="116" y="104"/>
                      <a:pt x="117" y="104"/>
                    </a:cubicBezTo>
                    <a:cubicBezTo>
                      <a:pt x="118" y="104"/>
                      <a:pt x="117" y="106"/>
                      <a:pt x="118" y="107"/>
                    </a:cubicBezTo>
                    <a:cubicBezTo>
                      <a:pt x="118" y="106"/>
                      <a:pt x="117" y="106"/>
                      <a:pt x="118" y="105"/>
                    </a:cubicBezTo>
                    <a:cubicBezTo>
                      <a:pt x="118" y="105"/>
                      <a:pt x="117" y="105"/>
                      <a:pt x="118" y="105"/>
                    </a:cubicBezTo>
                    <a:cubicBezTo>
                      <a:pt x="118" y="105"/>
                      <a:pt x="119" y="108"/>
                      <a:pt x="119" y="108"/>
                    </a:cubicBezTo>
                    <a:cubicBezTo>
                      <a:pt x="119" y="108"/>
                      <a:pt x="119" y="108"/>
                      <a:pt x="119" y="109"/>
                    </a:cubicBezTo>
                    <a:cubicBezTo>
                      <a:pt x="119" y="109"/>
                      <a:pt x="119" y="109"/>
                      <a:pt x="119" y="109"/>
                    </a:cubicBezTo>
                    <a:close/>
                    <a:moveTo>
                      <a:pt x="345" y="67"/>
                    </a:moveTo>
                    <a:cubicBezTo>
                      <a:pt x="344" y="66"/>
                      <a:pt x="344" y="66"/>
                      <a:pt x="343" y="66"/>
                    </a:cubicBezTo>
                    <a:cubicBezTo>
                      <a:pt x="343" y="66"/>
                      <a:pt x="342" y="66"/>
                      <a:pt x="342" y="66"/>
                    </a:cubicBezTo>
                    <a:cubicBezTo>
                      <a:pt x="342" y="66"/>
                      <a:pt x="342" y="66"/>
                      <a:pt x="341" y="66"/>
                    </a:cubicBezTo>
                    <a:cubicBezTo>
                      <a:pt x="341" y="66"/>
                      <a:pt x="341" y="68"/>
                      <a:pt x="341" y="68"/>
                    </a:cubicBezTo>
                    <a:cubicBezTo>
                      <a:pt x="341" y="69"/>
                      <a:pt x="341" y="69"/>
                      <a:pt x="342" y="69"/>
                    </a:cubicBezTo>
                    <a:cubicBezTo>
                      <a:pt x="342" y="70"/>
                      <a:pt x="342" y="70"/>
                      <a:pt x="342" y="70"/>
                    </a:cubicBezTo>
                    <a:cubicBezTo>
                      <a:pt x="342" y="71"/>
                      <a:pt x="341" y="72"/>
                      <a:pt x="341" y="72"/>
                    </a:cubicBezTo>
                    <a:cubicBezTo>
                      <a:pt x="341" y="73"/>
                      <a:pt x="341" y="73"/>
                      <a:pt x="340" y="73"/>
                    </a:cubicBezTo>
                    <a:cubicBezTo>
                      <a:pt x="340" y="73"/>
                      <a:pt x="340" y="73"/>
                      <a:pt x="340" y="73"/>
                    </a:cubicBezTo>
                    <a:cubicBezTo>
                      <a:pt x="339" y="73"/>
                      <a:pt x="339" y="73"/>
                      <a:pt x="339" y="74"/>
                    </a:cubicBezTo>
                    <a:cubicBezTo>
                      <a:pt x="338" y="74"/>
                      <a:pt x="336" y="73"/>
                      <a:pt x="335" y="74"/>
                    </a:cubicBezTo>
                    <a:cubicBezTo>
                      <a:pt x="334" y="74"/>
                      <a:pt x="335" y="77"/>
                      <a:pt x="335" y="78"/>
                    </a:cubicBezTo>
                    <a:cubicBezTo>
                      <a:pt x="335" y="80"/>
                      <a:pt x="336" y="81"/>
                      <a:pt x="337" y="82"/>
                    </a:cubicBezTo>
                    <a:cubicBezTo>
                      <a:pt x="337" y="83"/>
                      <a:pt x="337" y="83"/>
                      <a:pt x="338" y="84"/>
                    </a:cubicBezTo>
                    <a:cubicBezTo>
                      <a:pt x="338" y="85"/>
                      <a:pt x="339" y="85"/>
                      <a:pt x="339" y="86"/>
                    </a:cubicBezTo>
                    <a:cubicBezTo>
                      <a:pt x="339" y="86"/>
                      <a:pt x="339" y="87"/>
                      <a:pt x="339" y="87"/>
                    </a:cubicBezTo>
                    <a:cubicBezTo>
                      <a:pt x="338" y="87"/>
                      <a:pt x="338" y="88"/>
                      <a:pt x="338" y="88"/>
                    </a:cubicBezTo>
                    <a:cubicBezTo>
                      <a:pt x="338" y="89"/>
                      <a:pt x="336" y="88"/>
                      <a:pt x="336" y="89"/>
                    </a:cubicBezTo>
                    <a:cubicBezTo>
                      <a:pt x="335" y="89"/>
                      <a:pt x="334" y="91"/>
                      <a:pt x="333" y="91"/>
                    </a:cubicBezTo>
                    <a:cubicBezTo>
                      <a:pt x="332" y="91"/>
                      <a:pt x="333" y="90"/>
                      <a:pt x="332" y="90"/>
                    </a:cubicBezTo>
                    <a:cubicBezTo>
                      <a:pt x="332" y="89"/>
                      <a:pt x="331" y="89"/>
                      <a:pt x="331" y="89"/>
                    </a:cubicBezTo>
                    <a:cubicBezTo>
                      <a:pt x="329" y="89"/>
                      <a:pt x="328" y="89"/>
                      <a:pt x="327" y="89"/>
                    </a:cubicBezTo>
                    <a:cubicBezTo>
                      <a:pt x="325" y="89"/>
                      <a:pt x="323" y="89"/>
                      <a:pt x="322" y="88"/>
                    </a:cubicBezTo>
                    <a:cubicBezTo>
                      <a:pt x="320" y="88"/>
                      <a:pt x="319" y="87"/>
                      <a:pt x="317" y="87"/>
                    </a:cubicBezTo>
                    <a:cubicBezTo>
                      <a:pt x="316" y="86"/>
                      <a:pt x="317" y="89"/>
                      <a:pt x="317" y="90"/>
                    </a:cubicBezTo>
                    <a:cubicBezTo>
                      <a:pt x="317" y="92"/>
                      <a:pt x="317" y="94"/>
                      <a:pt x="317" y="96"/>
                    </a:cubicBezTo>
                    <a:cubicBezTo>
                      <a:pt x="317" y="96"/>
                      <a:pt x="316" y="97"/>
                      <a:pt x="316" y="98"/>
                    </a:cubicBezTo>
                    <a:cubicBezTo>
                      <a:pt x="317" y="99"/>
                      <a:pt x="317" y="100"/>
                      <a:pt x="317" y="101"/>
                    </a:cubicBezTo>
                    <a:cubicBezTo>
                      <a:pt x="317" y="102"/>
                      <a:pt x="316" y="105"/>
                      <a:pt x="317" y="105"/>
                    </a:cubicBezTo>
                    <a:cubicBezTo>
                      <a:pt x="318" y="106"/>
                      <a:pt x="320" y="105"/>
                      <a:pt x="320" y="107"/>
                    </a:cubicBezTo>
                    <a:cubicBezTo>
                      <a:pt x="320" y="107"/>
                      <a:pt x="321" y="109"/>
                      <a:pt x="320" y="109"/>
                    </a:cubicBezTo>
                    <a:cubicBezTo>
                      <a:pt x="319" y="109"/>
                      <a:pt x="319" y="108"/>
                      <a:pt x="318" y="108"/>
                    </a:cubicBezTo>
                    <a:cubicBezTo>
                      <a:pt x="317" y="108"/>
                      <a:pt x="316" y="108"/>
                      <a:pt x="316" y="109"/>
                    </a:cubicBezTo>
                    <a:cubicBezTo>
                      <a:pt x="314" y="109"/>
                      <a:pt x="314" y="108"/>
                      <a:pt x="313" y="107"/>
                    </a:cubicBezTo>
                    <a:cubicBezTo>
                      <a:pt x="313" y="107"/>
                      <a:pt x="312" y="107"/>
                      <a:pt x="311" y="107"/>
                    </a:cubicBezTo>
                    <a:cubicBezTo>
                      <a:pt x="311" y="107"/>
                      <a:pt x="310" y="108"/>
                      <a:pt x="309" y="108"/>
                    </a:cubicBezTo>
                    <a:cubicBezTo>
                      <a:pt x="308" y="108"/>
                      <a:pt x="308" y="109"/>
                      <a:pt x="307" y="109"/>
                    </a:cubicBezTo>
                    <a:cubicBezTo>
                      <a:pt x="306" y="109"/>
                      <a:pt x="305" y="109"/>
                      <a:pt x="304" y="109"/>
                    </a:cubicBezTo>
                    <a:cubicBezTo>
                      <a:pt x="303" y="109"/>
                      <a:pt x="303" y="109"/>
                      <a:pt x="302" y="109"/>
                    </a:cubicBezTo>
                    <a:cubicBezTo>
                      <a:pt x="302" y="109"/>
                      <a:pt x="302" y="110"/>
                      <a:pt x="301" y="110"/>
                    </a:cubicBezTo>
                    <a:cubicBezTo>
                      <a:pt x="300" y="110"/>
                      <a:pt x="299" y="110"/>
                      <a:pt x="298" y="111"/>
                    </a:cubicBezTo>
                    <a:cubicBezTo>
                      <a:pt x="297" y="112"/>
                      <a:pt x="299" y="113"/>
                      <a:pt x="300" y="113"/>
                    </a:cubicBezTo>
                    <a:cubicBezTo>
                      <a:pt x="301" y="113"/>
                      <a:pt x="301" y="112"/>
                      <a:pt x="302" y="113"/>
                    </a:cubicBezTo>
                    <a:cubicBezTo>
                      <a:pt x="302" y="113"/>
                      <a:pt x="303" y="113"/>
                      <a:pt x="303" y="113"/>
                    </a:cubicBezTo>
                    <a:cubicBezTo>
                      <a:pt x="305" y="114"/>
                      <a:pt x="303" y="114"/>
                      <a:pt x="303" y="114"/>
                    </a:cubicBezTo>
                    <a:cubicBezTo>
                      <a:pt x="304" y="115"/>
                      <a:pt x="303" y="116"/>
                      <a:pt x="304" y="117"/>
                    </a:cubicBezTo>
                    <a:cubicBezTo>
                      <a:pt x="304" y="117"/>
                      <a:pt x="305" y="118"/>
                      <a:pt x="305" y="119"/>
                    </a:cubicBezTo>
                    <a:cubicBezTo>
                      <a:pt x="305" y="120"/>
                      <a:pt x="305" y="120"/>
                      <a:pt x="305" y="121"/>
                    </a:cubicBezTo>
                    <a:cubicBezTo>
                      <a:pt x="306" y="121"/>
                      <a:pt x="306" y="121"/>
                      <a:pt x="306" y="121"/>
                    </a:cubicBezTo>
                    <a:cubicBezTo>
                      <a:pt x="306" y="122"/>
                      <a:pt x="307" y="122"/>
                      <a:pt x="307" y="122"/>
                    </a:cubicBezTo>
                    <a:cubicBezTo>
                      <a:pt x="308" y="124"/>
                      <a:pt x="309" y="125"/>
                      <a:pt x="310" y="126"/>
                    </a:cubicBezTo>
                    <a:cubicBezTo>
                      <a:pt x="310" y="127"/>
                      <a:pt x="311" y="127"/>
                      <a:pt x="310" y="128"/>
                    </a:cubicBezTo>
                    <a:cubicBezTo>
                      <a:pt x="310" y="129"/>
                      <a:pt x="311" y="129"/>
                      <a:pt x="311" y="129"/>
                    </a:cubicBezTo>
                    <a:cubicBezTo>
                      <a:pt x="312" y="129"/>
                      <a:pt x="312" y="130"/>
                      <a:pt x="312" y="131"/>
                    </a:cubicBezTo>
                    <a:cubicBezTo>
                      <a:pt x="312" y="131"/>
                      <a:pt x="311" y="131"/>
                      <a:pt x="311" y="131"/>
                    </a:cubicBezTo>
                    <a:cubicBezTo>
                      <a:pt x="311" y="131"/>
                      <a:pt x="308" y="132"/>
                      <a:pt x="309" y="132"/>
                    </a:cubicBezTo>
                    <a:cubicBezTo>
                      <a:pt x="309" y="133"/>
                      <a:pt x="311" y="133"/>
                      <a:pt x="311" y="133"/>
                    </a:cubicBezTo>
                    <a:cubicBezTo>
                      <a:pt x="311" y="134"/>
                      <a:pt x="310" y="134"/>
                      <a:pt x="310" y="134"/>
                    </a:cubicBezTo>
                    <a:cubicBezTo>
                      <a:pt x="309" y="134"/>
                      <a:pt x="309" y="134"/>
                      <a:pt x="309" y="134"/>
                    </a:cubicBezTo>
                    <a:cubicBezTo>
                      <a:pt x="309" y="135"/>
                      <a:pt x="309" y="135"/>
                      <a:pt x="309" y="135"/>
                    </a:cubicBezTo>
                    <a:cubicBezTo>
                      <a:pt x="309" y="136"/>
                      <a:pt x="308" y="136"/>
                      <a:pt x="308" y="136"/>
                    </a:cubicBezTo>
                    <a:cubicBezTo>
                      <a:pt x="309" y="137"/>
                      <a:pt x="309" y="137"/>
                      <a:pt x="310" y="138"/>
                    </a:cubicBezTo>
                    <a:cubicBezTo>
                      <a:pt x="310" y="138"/>
                      <a:pt x="309" y="138"/>
                      <a:pt x="310" y="138"/>
                    </a:cubicBezTo>
                    <a:cubicBezTo>
                      <a:pt x="310" y="139"/>
                      <a:pt x="310" y="139"/>
                      <a:pt x="310" y="139"/>
                    </a:cubicBezTo>
                    <a:cubicBezTo>
                      <a:pt x="310" y="139"/>
                      <a:pt x="311" y="141"/>
                      <a:pt x="311" y="141"/>
                    </a:cubicBezTo>
                    <a:cubicBezTo>
                      <a:pt x="310" y="141"/>
                      <a:pt x="310" y="141"/>
                      <a:pt x="310" y="140"/>
                    </a:cubicBezTo>
                    <a:cubicBezTo>
                      <a:pt x="309" y="140"/>
                      <a:pt x="308" y="139"/>
                      <a:pt x="308" y="139"/>
                    </a:cubicBezTo>
                    <a:cubicBezTo>
                      <a:pt x="307" y="138"/>
                      <a:pt x="307" y="138"/>
                      <a:pt x="306" y="138"/>
                    </a:cubicBezTo>
                    <a:cubicBezTo>
                      <a:pt x="305" y="138"/>
                      <a:pt x="304" y="138"/>
                      <a:pt x="303" y="138"/>
                    </a:cubicBezTo>
                    <a:cubicBezTo>
                      <a:pt x="302" y="138"/>
                      <a:pt x="302" y="137"/>
                      <a:pt x="302" y="137"/>
                    </a:cubicBezTo>
                    <a:cubicBezTo>
                      <a:pt x="301" y="136"/>
                      <a:pt x="301" y="136"/>
                      <a:pt x="300" y="136"/>
                    </a:cubicBezTo>
                    <a:cubicBezTo>
                      <a:pt x="300" y="136"/>
                      <a:pt x="300" y="135"/>
                      <a:pt x="299" y="135"/>
                    </a:cubicBezTo>
                    <a:cubicBezTo>
                      <a:pt x="299" y="134"/>
                      <a:pt x="298" y="135"/>
                      <a:pt x="298" y="135"/>
                    </a:cubicBezTo>
                    <a:cubicBezTo>
                      <a:pt x="297" y="134"/>
                      <a:pt x="296" y="134"/>
                      <a:pt x="296" y="134"/>
                    </a:cubicBezTo>
                    <a:cubicBezTo>
                      <a:pt x="295" y="134"/>
                      <a:pt x="294" y="134"/>
                      <a:pt x="294" y="134"/>
                    </a:cubicBezTo>
                    <a:cubicBezTo>
                      <a:pt x="293" y="133"/>
                      <a:pt x="293" y="133"/>
                      <a:pt x="292" y="134"/>
                    </a:cubicBezTo>
                    <a:cubicBezTo>
                      <a:pt x="291" y="134"/>
                      <a:pt x="290" y="134"/>
                      <a:pt x="289" y="134"/>
                    </a:cubicBezTo>
                    <a:cubicBezTo>
                      <a:pt x="289" y="134"/>
                      <a:pt x="288" y="133"/>
                      <a:pt x="287" y="133"/>
                    </a:cubicBezTo>
                    <a:cubicBezTo>
                      <a:pt x="286" y="134"/>
                      <a:pt x="286" y="133"/>
                      <a:pt x="285" y="133"/>
                    </a:cubicBezTo>
                    <a:cubicBezTo>
                      <a:pt x="285" y="134"/>
                      <a:pt x="284" y="133"/>
                      <a:pt x="283" y="133"/>
                    </a:cubicBezTo>
                    <a:cubicBezTo>
                      <a:pt x="282" y="133"/>
                      <a:pt x="281" y="133"/>
                      <a:pt x="281" y="133"/>
                    </a:cubicBezTo>
                    <a:cubicBezTo>
                      <a:pt x="280" y="132"/>
                      <a:pt x="278" y="132"/>
                      <a:pt x="277" y="133"/>
                    </a:cubicBezTo>
                    <a:cubicBezTo>
                      <a:pt x="277" y="133"/>
                      <a:pt x="276" y="133"/>
                      <a:pt x="276" y="133"/>
                    </a:cubicBezTo>
                    <a:cubicBezTo>
                      <a:pt x="276" y="133"/>
                      <a:pt x="275" y="133"/>
                      <a:pt x="275" y="133"/>
                    </a:cubicBezTo>
                    <a:cubicBezTo>
                      <a:pt x="275" y="133"/>
                      <a:pt x="275" y="133"/>
                      <a:pt x="275" y="133"/>
                    </a:cubicBezTo>
                    <a:cubicBezTo>
                      <a:pt x="274" y="133"/>
                      <a:pt x="273" y="133"/>
                      <a:pt x="272" y="133"/>
                    </a:cubicBezTo>
                    <a:cubicBezTo>
                      <a:pt x="270" y="133"/>
                      <a:pt x="269" y="132"/>
                      <a:pt x="269" y="134"/>
                    </a:cubicBezTo>
                    <a:cubicBezTo>
                      <a:pt x="268" y="135"/>
                      <a:pt x="267" y="134"/>
                      <a:pt x="266" y="134"/>
                    </a:cubicBezTo>
                    <a:cubicBezTo>
                      <a:pt x="265" y="134"/>
                      <a:pt x="263" y="134"/>
                      <a:pt x="262" y="133"/>
                    </a:cubicBezTo>
                    <a:cubicBezTo>
                      <a:pt x="261" y="132"/>
                      <a:pt x="259" y="132"/>
                      <a:pt x="258" y="131"/>
                    </a:cubicBezTo>
                    <a:cubicBezTo>
                      <a:pt x="257" y="130"/>
                      <a:pt x="255" y="130"/>
                      <a:pt x="254" y="129"/>
                    </a:cubicBezTo>
                    <a:cubicBezTo>
                      <a:pt x="255" y="130"/>
                      <a:pt x="253" y="130"/>
                      <a:pt x="253" y="130"/>
                    </a:cubicBezTo>
                    <a:cubicBezTo>
                      <a:pt x="252" y="130"/>
                      <a:pt x="252" y="130"/>
                      <a:pt x="252" y="130"/>
                    </a:cubicBezTo>
                    <a:cubicBezTo>
                      <a:pt x="252" y="130"/>
                      <a:pt x="252" y="131"/>
                      <a:pt x="252" y="131"/>
                    </a:cubicBezTo>
                    <a:cubicBezTo>
                      <a:pt x="252" y="131"/>
                      <a:pt x="251" y="131"/>
                      <a:pt x="250" y="131"/>
                    </a:cubicBezTo>
                    <a:cubicBezTo>
                      <a:pt x="250" y="131"/>
                      <a:pt x="249" y="131"/>
                      <a:pt x="249" y="132"/>
                    </a:cubicBezTo>
                    <a:cubicBezTo>
                      <a:pt x="249" y="132"/>
                      <a:pt x="249" y="133"/>
                      <a:pt x="249" y="133"/>
                    </a:cubicBezTo>
                    <a:cubicBezTo>
                      <a:pt x="249" y="134"/>
                      <a:pt x="249" y="134"/>
                      <a:pt x="249" y="135"/>
                    </a:cubicBezTo>
                    <a:cubicBezTo>
                      <a:pt x="249" y="136"/>
                      <a:pt x="249" y="137"/>
                      <a:pt x="250" y="137"/>
                    </a:cubicBezTo>
                    <a:cubicBezTo>
                      <a:pt x="250" y="138"/>
                      <a:pt x="251" y="139"/>
                      <a:pt x="250" y="138"/>
                    </a:cubicBezTo>
                    <a:cubicBezTo>
                      <a:pt x="249" y="138"/>
                      <a:pt x="249" y="138"/>
                      <a:pt x="249" y="138"/>
                    </a:cubicBezTo>
                    <a:cubicBezTo>
                      <a:pt x="249" y="138"/>
                      <a:pt x="248" y="137"/>
                      <a:pt x="248" y="137"/>
                    </a:cubicBezTo>
                    <a:cubicBezTo>
                      <a:pt x="248" y="137"/>
                      <a:pt x="247" y="137"/>
                      <a:pt x="247" y="137"/>
                    </a:cubicBezTo>
                    <a:cubicBezTo>
                      <a:pt x="246" y="137"/>
                      <a:pt x="246" y="137"/>
                      <a:pt x="245" y="137"/>
                    </a:cubicBezTo>
                    <a:cubicBezTo>
                      <a:pt x="244" y="137"/>
                      <a:pt x="244" y="136"/>
                      <a:pt x="243" y="136"/>
                    </a:cubicBezTo>
                    <a:cubicBezTo>
                      <a:pt x="242" y="136"/>
                      <a:pt x="242" y="136"/>
                      <a:pt x="241" y="136"/>
                    </a:cubicBezTo>
                    <a:cubicBezTo>
                      <a:pt x="240" y="135"/>
                      <a:pt x="240" y="135"/>
                      <a:pt x="239" y="135"/>
                    </a:cubicBezTo>
                    <a:cubicBezTo>
                      <a:pt x="238" y="135"/>
                      <a:pt x="238" y="134"/>
                      <a:pt x="237" y="135"/>
                    </a:cubicBezTo>
                    <a:cubicBezTo>
                      <a:pt x="237" y="135"/>
                      <a:pt x="237" y="135"/>
                      <a:pt x="237" y="135"/>
                    </a:cubicBezTo>
                    <a:cubicBezTo>
                      <a:pt x="235" y="134"/>
                      <a:pt x="234" y="134"/>
                      <a:pt x="233" y="134"/>
                    </a:cubicBezTo>
                    <a:cubicBezTo>
                      <a:pt x="232" y="135"/>
                      <a:pt x="231" y="134"/>
                      <a:pt x="231" y="135"/>
                    </a:cubicBezTo>
                    <a:cubicBezTo>
                      <a:pt x="230" y="135"/>
                      <a:pt x="230" y="135"/>
                      <a:pt x="230" y="135"/>
                    </a:cubicBezTo>
                    <a:cubicBezTo>
                      <a:pt x="229" y="135"/>
                      <a:pt x="230" y="135"/>
                      <a:pt x="229" y="135"/>
                    </a:cubicBezTo>
                    <a:cubicBezTo>
                      <a:pt x="229" y="136"/>
                      <a:pt x="230" y="137"/>
                      <a:pt x="229" y="137"/>
                    </a:cubicBezTo>
                    <a:cubicBezTo>
                      <a:pt x="227" y="137"/>
                      <a:pt x="229" y="138"/>
                      <a:pt x="229" y="138"/>
                    </a:cubicBezTo>
                    <a:cubicBezTo>
                      <a:pt x="228" y="138"/>
                      <a:pt x="228" y="137"/>
                      <a:pt x="228" y="138"/>
                    </a:cubicBezTo>
                    <a:cubicBezTo>
                      <a:pt x="228" y="139"/>
                      <a:pt x="227" y="139"/>
                      <a:pt x="227" y="140"/>
                    </a:cubicBezTo>
                    <a:cubicBezTo>
                      <a:pt x="227" y="140"/>
                      <a:pt x="228" y="140"/>
                      <a:pt x="228" y="140"/>
                    </a:cubicBezTo>
                    <a:cubicBezTo>
                      <a:pt x="228" y="140"/>
                      <a:pt x="228" y="141"/>
                      <a:pt x="228" y="141"/>
                    </a:cubicBezTo>
                    <a:cubicBezTo>
                      <a:pt x="227" y="141"/>
                      <a:pt x="227" y="141"/>
                      <a:pt x="227" y="141"/>
                    </a:cubicBezTo>
                    <a:cubicBezTo>
                      <a:pt x="226" y="141"/>
                      <a:pt x="226" y="142"/>
                      <a:pt x="226" y="143"/>
                    </a:cubicBezTo>
                    <a:cubicBezTo>
                      <a:pt x="226" y="143"/>
                      <a:pt x="225" y="142"/>
                      <a:pt x="225" y="142"/>
                    </a:cubicBezTo>
                    <a:cubicBezTo>
                      <a:pt x="224" y="142"/>
                      <a:pt x="224" y="142"/>
                      <a:pt x="223" y="143"/>
                    </a:cubicBezTo>
                    <a:cubicBezTo>
                      <a:pt x="223" y="144"/>
                      <a:pt x="222" y="146"/>
                      <a:pt x="220" y="146"/>
                    </a:cubicBezTo>
                    <a:cubicBezTo>
                      <a:pt x="219" y="146"/>
                      <a:pt x="219" y="146"/>
                      <a:pt x="218" y="147"/>
                    </a:cubicBezTo>
                    <a:cubicBezTo>
                      <a:pt x="217" y="148"/>
                      <a:pt x="217" y="148"/>
                      <a:pt x="217" y="149"/>
                    </a:cubicBezTo>
                    <a:cubicBezTo>
                      <a:pt x="217" y="149"/>
                      <a:pt x="216" y="149"/>
                      <a:pt x="215" y="149"/>
                    </a:cubicBezTo>
                    <a:cubicBezTo>
                      <a:pt x="215" y="149"/>
                      <a:pt x="215" y="149"/>
                      <a:pt x="215" y="149"/>
                    </a:cubicBezTo>
                    <a:cubicBezTo>
                      <a:pt x="215" y="150"/>
                      <a:pt x="215" y="149"/>
                      <a:pt x="214" y="150"/>
                    </a:cubicBezTo>
                    <a:cubicBezTo>
                      <a:pt x="214" y="150"/>
                      <a:pt x="215" y="151"/>
                      <a:pt x="214" y="152"/>
                    </a:cubicBezTo>
                    <a:cubicBezTo>
                      <a:pt x="214" y="152"/>
                      <a:pt x="213" y="152"/>
                      <a:pt x="213" y="152"/>
                    </a:cubicBezTo>
                    <a:cubicBezTo>
                      <a:pt x="213" y="153"/>
                      <a:pt x="213" y="153"/>
                      <a:pt x="212" y="153"/>
                    </a:cubicBezTo>
                    <a:cubicBezTo>
                      <a:pt x="212" y="154"/>
                      <a:pt x="212" y="154"/>
                      <a:pt x="212" y="154"/>
                    </a:cubicBezTo>
                    <a:cubicBezTo>
                      <a:pt x="211" y="155"/>
                      <a:pt x="211" y="156"/>
                      <a:pt x="211" y="156"/>
                    </a:cubicBezTo>
                    <a:cubicBezTo>
                      <a:pt x="212" y="157"/>
                      <a:pt x="213" y="159"/>
                      <a:pt x="212" y="158"/>
                    </a:cubicBezTo>
                    <a:cubicBezTo>
                      <a:pt x="211" y="158"/>
                      <a:pt x="211" y="158"/>
                      <a:pt x="211" y="158"/>
                    </a:cubicBezTo>
                    <a:cubicBezTo>
                      <a:pt x="210" y="158"/>
                      <a:pt x="210" y="158"/>
                      <a:pt x="209" y="157"/>
                    </a:cubicBezTo>
                    <a:cubicBezTo>
                      <a:pt x="208" y="157"/>
                      <a:pt x="207" y="156"/>
                      <a:pt x="206" y="156"/>
                    </a:cubicBezTo>
                    <a:cubicBezTo>
                      <a:pt x="207" y="156"/>
                      <a:pt x="208" y="154"/>
                      <a:pt x="207" y="154"/>
                    </a:cubicBezTo>
                    <a:cubicBezTo>
                      <a:pt x="207" y="153"/>
                      <a:pt x="207" y="153"/>
                      <a:pt x="206" y="153"/>
                    </a:cubicBezTo>
                    <a:cubicBezTo>
                      <a:pt x="206" y="153"/>
                      <a:pt x="206" y="153"/>
                      <a:pt x="205" y="153"/>
                    </a:cubicBezTo>
                    <a:cubicBezTo>
                      <a:pt x="205" y="153"/>
                      <a:pt x="205" y="152"/>
                      <a:pt x="204" y="152"/>
                    </a:cubicBezTo>
                    <a:cubicBezTo>
                      <a:pt x="204" y="152"/>
                      <a:pt x="203" y="152"/>
                      <a:pt x="203" y="152"/>
                    </a:cubicBezTo>
                    <a:cubicBezTo>
                      <a:pt x="201" y="152"/>
                      <a:pt x="199" y="152"/>
                      <a:pt x="197" y="152"/>
                    </a:cubicBezTo>
                    <a:cubicBezTo>
                      <a:pt x="196" y="152"/>
                      <a:pt x="195" y="152"/>
                      <a:pt x="195" y="152"/>
                    </a:cubicBezTo>
                    <a:cubicBezTo>
                      <a:pt x="194" y="152"/>
                      <a:pt x="194" y="151"/>
                      <a:pt x="193" y="151"/>
                    </a:cubicBezTo>
                    <a:cubicBezTo>
                      <a:pt x="192" y="149"/>
                      <a:pt x="191" y="147"/>
                      <a:pt x="191" y="146"/>
                    </a:cubicBezTo>
                    <a:cubicBezTo>
                      <a:pt x="190" y="144"/>
                      <a:pt x="190" y="143"/>
                      <a:pt x="189" y="143"/>
                    </a:cubicBezTo>
                    <a:cubicBezTo>
                      <a:pt x="188" y="143"/>
                      <a:pt x="186" y="143"/>
                      <a:pt x="186" y="143"/>
                    </a:cubicBezTo>
                    <a:cubicBezTo>
                      <a:pt x="185" y="142"/>
                      <a:pt x="185" y="141"/>
                      <a:pt x="185" y="140"/>
                    </a:cubicBezTo>
                    <a:cubicBezTo>
                      <a:pt x="184" y="140"/>
                      <a:pt x="184" y="139"/>
                      <a:pt x="184" y="139"/>
                    </a:cubicBezTo>
                    <a:cubicBezTo>
                      <a:pt x="184" y="138"/>
                      <a:pt x="185" y="139"/>
                      <a:pt x="185" y="138"/>
                    </a:cubicBezTo>
                    <a:cubicBezTo>
                      <a:pt x="185" y="138"/>
                      <a:pt x="185" y="137"/>
                      <a:pt x="184" y="137"/>
                    </a:cubicBezTo>
                    <a:cubicBezTo>
                      <a:pt x="184" y="136"/>
                      <a:pt x="184" y="135"/>
                      <a:pt x="184" y="133"/>
                    </a:cubicBezTo>
                    <a:cubicBezTo>
                      <a:pt x="184" y="132"/>
                      <a:pt x="183" y="132"/>
                      <a:pt x="182" y="133"/>
                    </a:cubicBezTo>
                    <a:cubicBezTo>
                      <a:pt x="181" y="134"/>
                      <a:pt x="180" y="132"/>
                      <a:pt x="179" y="131"/>
                    </a:cubicBezTo>
                    <a:cubicBezTo>
                      <a:pt x="178" y="130"/>
                      <a:pt x="177" y="129"/>
                      <a:pt x="176" y="128"/>
                    </a:cubicBezTo>
                    <a:cubicBezTo>
                      <a:pt x="174" y="127"/>
                      <a:pt x="173" y="126"/>
                      <a:pt x="172" y="125"/>
                    </a:cubicBezTo>
                    <a:cubicBezTo>
                      <a:pt x="171" y="124"/>
                      <a:pt x="170" y="124"/>
                      <a:pt x="169" y="125"/>
                    </a:cubicBezTo>
                    <a:cubicBezTo>
                      <a:pt x="168" y="126"/>
                      <a:pt x="166" y="126"/>
                      <a:pt x="164" y="126"/>
                    </a:cubicBezTo>
                    <a:cubicBezTo>
                      <a:pt x="163" y="126"/>
                      <a:pt x="161" y="126"/>
                      <a:pt x="159" y="125"/>
                    </a:cubicBezTo>
                    <a:cubicBezTo>
                      <a:pt x="157" y="125"/>
                      <a:pt x="155" y="126"/>
                      <a:pt x="152" y="126"/>
                    </a:cubicBezTo>
                    <a:cubicBezTo>
                      <a:pt x="151" y="126"/>
                      <a:pt x="149" y="126"/>
                      <a:pt x="147" y="127"/>
                    </a:cubicBezTo>
                    <a:cubicBezTo>
                      <a:pt x="146" y="127"/>
                      <a:pt x="146" y="127"/>
                      <a:pt x="145" y="126"/>
                    </a:cubicBezTo>
                    <a:cubicBezTo>
                      <a:pt x="144" y="125"/>
                      <a:pt x="143" y="125"/>
                      <a:pt x="143" y="124"/>
                    </a:cubicBezTo>
                    <a:cubicBezTo>
                      <a:pt x="141" y="123"/>
                      <a:pt x="140" y="121"/>
                      <a:pt x="138" y="120"/>
                    </a:cubicBezTo>
                    <a:cubicBezTo>
                      <a:pt x="137" y="120"/>
                      <a:pt x="137" y="119"/>
                      <a:pt x="136" y="119"/>
                    </a:cubicBezTo>
                    <a:cubicBezTo>
                      <a:pt x="136" y="118"/>
                      <a:pt x="136" y="117"/>
                      <a:pt x="135" y="117"/>
                    </a:cubicBezTo>
                    <a:cubicBezTo>
                      <a:pt x="134" y="116"/>
                      <a:pt x="133" y="116"/>
                      <a:pt x="132" y="115"/>
                    </a:cubicBezTo>
                    <a:cubicBezTo>
                      <a:pt x="130" y="114"/>
                      <a:pt x="128" y="113"/>
                      <a:pt x="126" y="112"/>
                    </a:cubicBezTo>
                    <a:cubicBezTo>
                      <a:pt x="126" y="111"/>
                      <a:pt x="125" y="109"/>
                      <a:pt x="125" y="108"/>
                    </a:cubicBezTo>
                    <a:cubicBezTo>
                      <a:pt x="125" y="107"/>
                      <a:pt x="125" y="106"/>
                      <a:pt x="124" y="105"/>
                    </a:cubicBezTo>
                    <a:cubicBezTo>
                      <a:pt x="123" y="104"/>
                      <a:pt x="121" y="105"/>
                      <a:pt x="121" y="104"/>
                    </a:cubicBezTo>
                    <a:cubicBezTo>
                      <a:pt x="120" y="103"/>
                      <a:pt x="121" y="103"/>
                      <a:pt x="121" y="102"/>
                    </a:cubicBezTo>
                    <a:cubicBezTo>
                      <a:pt x="121" y="103"/>
                      <a:pt x="120" y="102"/>
                      <a:pt x="120" y="102"/>
                    </a:cubicBezTo>
                    <a:cubicBezTo>
                      <a:pt x="121" y="102"/>
                      <a:pt x="121" y="102"/>
                      <a:pt x="121" y="102"/>
                    </a:cubicBezTo>
                    <a:cubicBezTo>
                      <a:pt x="121" y="102"/>
                      <a:pt x="121" y="101"/>
                      <a:pt x="120" y="101"/>
                    </a:cubicBezTo>
                    <a:cubicBezTo>
                      <a:pt x="121" y="101"/>
                      <a:pt x="121" y="101"/>
                      <a:pt x="120" y="101"/>
                    </a:cubicBezTo>
                    <a:cubicBezTo>
                      <a:pt x="120" y="101"/>
                      <a:pt x="121" y="101"/>
                      <a:pt x="121" y="101"/>
                    </a:cubicBezTo>
                    <a:cubicBezTo>
                      <a:pt x="121" y="101"/>
                      <a:pt x="122" y="101"/>
                      <a:pt x="122" y="101"/>
                    </a:cubicBezTo>
                    <a:cubicBezTo>
                      <a:pt x="122" y="101"/>
                      <a:pt x="123" y="101"/>
                      <a:pt x="123" y="101"/>
                    </a:cubicBezTo>
                    <a:cubicBezTo>
                      <a:pt x="123" y="101"/>
                      <a:pt x="124" y="101"/>
                      <a:pt x="124" y="101"/>
                    </a:cubicBezTo>
                    <a:cubicBezTo>
                      <a:pt x="125" y="102"/>
                      <a:pt x="125" y="102"/>
                      <a:pt x="125" y="102"/>
                    </a:cubicBezTo>
                    <a:cubicBezTo>
                      <a:pt x="126" y="102"/>
                      <a:pt x="126" y="102"/>
                      <a:pt x="127" y="101"/>
                    </a:cubicBezTo>
                    <a:cubicBezTo>
                      <a:pt x="127" y="100"/>
                      <a:pt x="127" y="100"/>
                      <a:pt x="128" y="100"/>
                    </a:cubicBezTo>
                    <a:cubicBezTo>
                      <a:pt x="128" y="100"/>
                      <a:pt x="127" y="99"/>
                      <a:pt x="127" y="99"/>
                    </a:cubicBezTo>
                    <a:cubicBezTo>
                      <a:pt x="126" y="99"/>
                      <a:pt x="126" y="99"/>
                      <a:pt x="125" y="99"/>
                    </a:cubicBezTo>
                    <a:cubicBezTo>
                      <a:pt x="124" y="99"/>
                      <a:pt x="123" y="99"/>
                      <a:pt x="123" y="99"/>
                    </a:cubicBezTo>
                    <a:cubicBezTo>
                      <a:pt x="122" y="99"/>
                      <a:pt x="122" y="99"/>
                      <a:pt x="122" y="99"/>
                    </a:cubicBezTo>
                    <a:cubicBezTo>
                      <a:pt x="121" y="99"/>
                      <a:pt x="121" y="99"/>
                      <a:pt x="121" y="100"/>
                    </a:cubicBezTo>
                    <a:cubicBezTo>
                      <a:pt x="120" y="100"/>
                      <a:pt x="119" y="100"/>
                      <a:pt x="120" y="99"/>
                    </a:cubicBezTo>
                    <a:cubicBezTo>
                      <a:pt x="120" y="99"/>
                      <a:pt x="120" y="99"/>
                      <a:pt x="120" y="98"/>
                    </a:cubicBezTo>
                    <a:cubicBezTo>
                      <a:pt x="120" y="98"/>
                      <a:pt x="120" y="97"/>
                      <a:pt x="119" y="97"/>
                    </a:cubicBezTo>
                    <a:cubicBezTo>
                      <a:pt x="119" y="97"/>
                      <a:pt x="119" y="97"/>
                      <a:pt x="118" y="97"/>
                    </a:cubicBezTo>
                    <a:cubicBezTo>
                      <a:pt x="118" y="97"/>
                      <a:pt x="118" y="97"/>
                      <a:pt x="117" y="97"/>
                    </a:cubicBezTo>
                    <a:cubicBezTo>
                      <a:pt x="117" y="97"/>
                      <a:pt x="117" y="97"/>
                      <a:pt x="117" y="97"/>
                    </a:cubicBezTo>
                    <a:cubicBezTo>
                      <a:pt x="117" y="97"/>
                      <a:pt x="118" y="98"/>
                      <a:pt x="118" y="98"/>
                    </a:cubicBezTo>
                    <a:cubicBezTo>
                      <a:pt x="119" y="98"/>
                      <a:pt x="120" y="99"/>
                      <a:pt x="119" y="100"/>
                    </a:cubicBezTo>
                    <a:cubicBezTo>
                      <a:pt x="119" y="101"/>
                      <a:pt x="119" y="101"/>
                      <a:pt x="119" y="102"/>
                    </a:cubicBezTo>
                    <a:cubicBezTo>
                      <a:pt x="119" y="103"/>
                      <a:pt x="120" y="103"/>
                      <a:pt x="119" y="103"/>
                    </a:cubicBezTo>
                    <a:cubicBezTo>
                      <a:pt x="118" y="102"/>
                      <a:pt x="118" y="104"/>
                      <a:pt x="118" y="104"/>
                    </a:cubicBezTo>
                    <a:cubicBezTo>
                      <a:pt x="118" y="103"/>
                      <a:pt x="118" y="103"/>
                      <a:pt x="117" y="103"/>
                    </a:cubicBezTo>
                    <a:cubicBezTo>
                      <a:pt x="117" y="103"/>
                      <a:pt x="117" y="103"/>
                      <a:pt x="117" y="103"/>
                    </a:cubicBezTo>
                    <a:cubicBezTo>
                      <a:pt x="116" y="103"/>
                      <a:pt x="116" y="103"/>
                      <a:pt x="116" y="103"/>
                    </a:cubicBezTo>
                    <a:cubicBezTo>
                      <a:pt x="115" y="102"/>
                      <a:pt x="116" y="101"/>
                      <a:pt x="116" y="101"/>
                    </a:cubicBezTo>
                    <a:cubicBezTo>
                      <a:pt x="116" y="100"/>
                      <a:pt x="116" y="100"/>
                      <a:pt x="115" y="101"/>
                    </a:cubicBezTo>
                    <a:cubicBezTo>
                      <a:pt x="115" y="101"/>
                      <a:pt x="114" y="100"/>
                      <a:pt x="113" y="101"/>
                    </a:cubicBezTo>
                    <a:cubicBezTo>
                      <a:pt x="114" y="101"/>
                      <a:pt x="112" y="101"/>
                      <a:pt x="112" y="101"/>
                    </a:cubicBezTo>
                    <a:cubicBezTo>
                      <a:pt x="112" y="101"/>
                      <a:pt x="112" y="101"/>
                      <a:pt x="112" y="101"/>
                    </a:cubicBezTo>
                    <a:cubicBezTo>
                      <a:pt x="112" y="102"/>
                      <a:pt x="111" y="102"/>
                      <a:pt x="111" y="102"/>
                    </a:cubicBezTo>
                    <a:cubicBezTo>
                      <a:pt x="111" y="103"/>
                      <a:pt x="112" y="104"/>
                      <a:pt x="111" y="105"/>
                    </a:cubicBezTo>
                    <a:cubicBezTo>
                      <a:pt x="111" y="105"/>
                      <a:pt x="111" y="105"/>
                      <a:pt x="111" y="105"/>
                    </a:cubicBezTo>
                    <a:cubicBezTo>
                      <a:pt x="110" y="105"/>
                      <a:pt x="110" y="105"/>
                      <a:pt x="109" y="105"/>
                    </a:cubicBezTo>
                    <a:cubicBezTo>
                      <a:pt x="107" y="105"/>
                      <a:pt x="105" y="106"/>
                      <a:pt x="103" y="106"/>
                    </a:cubicBezTo>
                    <a:cubicBezTo>
                      <a:pt x="99" y="107"/>
                      <a:pt x="96" y="109"/>
                      <a:pt x="92" y="110"/>
                    </a:cubicBezTo>
                    <a:cubicBezTo>
                      <a:pt x="91" y="110"/>
                      <a:pt x="90" y="110"/>
                      <a:pt x="90" y="110"/>
                    </a:cubicBezTo>
                    <a:cubicBezTo>
                      <a:pt x="89" y="111"/>
                      <a:pt x="90" y="112"/>
                      <a:pt x="90" y="112"/>
                    </a:cubicBezTo>
                    <a:cubicBezTo>
                      <a:pt x="90" y="114"/>
                      <a:pt x="91" y="116"/>
                      <a:pt x="91" y="119"/>
                    </a:cubicBezTo>
                    <a:cubicBezTo>
                      <a:pt x="94" y="129"/>
                      <a:pt x="96" y="140"/>
                      <a:pt x="98" y="150"/>
                    </a:cubicBezTo>
                    <a:cubicBezTo>
                      <a:pt x="97" y="150"/>
                      <a:pt x="95" y="152"/>
                      <a:pt x="94" y="151"/>
                    </a:cubicBezTo>
                    <a:cubicBezTo>
                      <a:pt x="93" y="151"/>
                      <a:pt x="93" y="150"/>
                      <a:pt x="93" y="150"/>
                    </a:cubicBezTo>
                    <a:cubicBezTo>
                      <a:pt x="92" y="149"/>
                      <a:pt x="91" y="149"/>
                      <a:pt x="91" y="148"/>
                    </a:cubicBezTo>
                    <a:cubicBezTo>
                      <a:pt x="90" y="148"/>
                      <a:pt x="90" y="147"/>
                      <a:pt x="89" y="147"/>
                    </a:cubicBezTo>
                    <a:cubicBezTo>
                      <a:pt x="89" y="146"/>
                      <a:pt x="88" y="145"/>
                      <a:pt x="88" y="145"/>
                    </a:cubicBezTo>
                    <a:cubicBezTo>
                      <a:pt x="88" y="143"/>
                      <a:pt x="85" y="142"/>
                      <a:pt x="84" y="142"/>
                    </a:cubicBezTo>
                    <a:cubicBezTo>
                      <a:pt x="83" y="141"/>
                      <a:pt x="81" y="140"/>
                      <a:pt x="80" y="139"/>
                    </a:cubicBezTo>
                    <a:cubicBezTo>
                      <a:pt x="78" y="139"/>
                      <a:pt x="76" y="140"/>
                      <a:pt x="74" y="140"/>
                    </a:cubicBezTo>
                    <a:cubicBezTo>
                      <a:pt x="73" y="140"/>
                      <a:pt x="71" y="141"/>
                      <a:pt x="70" y="142"/>
                    </a:cubicBezTo>
                    <a:cubicBezTo>
                      <a:pt x="68" y="143"/>
                      <a:pt x="67" y="144"/>
                      <a:pt x="66" y="146"/>
                    </a:cubicBezTo>
                    <a:cubicBezTo>
                      <a:pt x="65" y="146"/>
                      <a:pt x="66" y="145"/>
                      <a:pt x="66" y="145"/>
                    </a:cubicBezTo>
                    <a:cubicBezTo>
                      <a:pt x="66" y="144"/>
                      <a:pt x="66" y="144"/>
                      <a:pt x="65" y="143"/>
                    </a:cubicBezTo>
                    <a:cubicBezTo>
                      <a:pt x="64" y="142"/>
                      <a:pt x="65" y="141"/>
                      <a:pt x="65" y="140"/>
                    </a:cubicBezTo>
                    <a:cubicBezTo>
                      <a:pt x="66" y="139"/>
                      <a:pt x="66" y="138"/>
                      <a:pt x="66" y="137"/>
                    </a:cubicBezTo>
                    <a:cubicBezTo>
                      <a:pt x="66" y="136"/>
                      <a:pt x="65" y="136"/>
                      <a:pt x="65" y="135"/>
                    </a:cubicBezTo>
                    <a:cubicBezTo>
                      <a:pt x="65" y="135"/>
                      <a:pt x="65" y="136"/>
                      <a:pt x="66" y="136"/>
                    </a:cubicBezTo>
                    <a:cubicBezTo>
                      <a:pt x="66" y="136"/>
                      <a:pt x="66" y="137"/>
                      <a:pt x="66" y="137"/>
                    </a:cubicBezTo>
                    <a:cubicBezTo>
                      <a:pt x="67" y="137"/>
                      <a:pt x="66" y="136"/>
                      <a:pt x="66" y="136"/>
                    </a:cubicBezTo>
                    <a:cubicBezTo>
                      <a:pt x="66" y="135"/>
                      <a:pt x="66" y="135"/>
                      <a:pt x="66" y="135"/>
                    </a:cubicBezTo>
                    <a:cubicBezTo>
                      <a:pt x="65" y="135"/>
                      <a:pt x="64" y="134"/>
                      <a:pt x="63" y="134"/>
                    </a:cubicBezTo>
                    <a:cubicBezTo>
                      <a:pt x="63" y="134"/>
                      <a:pt x="62" y="135"/>
                      <a:pt x="62" y="134"/>
                    </a:cubicBezTo>
                    <a:cubicBezTo>
                      <a:pt x="61" y="133"/>
                      <a:pt x="60" y="134"/>
                      <a:pt x="59" y="134"/>
                    </a:cubicBezTo>
                    <a:cubicBezTo>
                      <a:pt x="58" y="134"/>
                      <a:pt x="58" y="133"/>
                      <a:pt x="58" y="133"/>
                    </a:cubicBezTo>
                    <a:cubicBezTo>
                      <a:pt x="57" y="132"/>
                      <a:pt x="56" y="131"/>
                      <a:pt x="56" y="131"/>
                    </a:cubicBezTo>
                    <a:cubicBezTo>
                      <a:pt x="56" y="129"/>
                      <a:pt x="52" y="132"/>
                      <a:pt x="52" y="130"/>
                    </a:cubicBezTo>
                    <a:cubicBezTo>
                      <a:pt x="52" y="129"/>
                      <a:pt x="53" y="128"/>
                      <a:pt x="52" y="127"/>
                    </a:cubicBezTo>
                    <a:cubicBezTo>
                      <a:pt x="52" y="126"/>
                      <a:pt x="51" y="126"/>
                      <a:pt x="50" y="125"/>
                    </a:cubicBezTo>
                    <a:cubicBezTo>
                      <a:pt x="49" y="124"/>
                      <a:pt x="49" y="123"/>
                      <a:pt x="49" y="123"/>
                    </a:cubicBezTo>
                    <a:cubicBezTo>
                      <a:pt x="48" y="122"/>
                      <a:pt x="47" y="121"/>
                      <a:pt x="47" y="120"/>
                    </a:cubicBezTo>
                    <a:cubicBezTo>
                      <a:pt x="46" y="118"/>
                      <a:pt x="44" y="118"/>
                      <a:pt x="43" y="118"/>
                    </a:cubicBezTo>
                    <a:cubicBezTo>
                      <a:pt x="42" y="118"/>
                      <a:pt x="41" y="118"/>
                      <a:pt x="41" y="117"/>
                    </a:cubicBezTo>
                    <a:cubicBezTo>
                      <a:pt x="41" y="117"/>
                      <a:pt x="40" y="116"/>
                      <a:pt x="40" y="115"/>
                    </a:cubicBezTo>
                    <a:cubicBezTo>
                      <a:pt x="41" y="116"/>
                      <a:pt x="41" y="115"/>
                      <a:pt x="41" y="115"/>
                    </a:cubicBezTo>
                    <a:cubicBezTo>
                      <a:pt x="41" y="114"/>
                      <a:pt x="41" y="114"/>
                      <a:pt x="41" y="114"/>
                    </a:cubicBezTo>
                    <a:cubicBezTo>
                      <a:pt x="42" y="114"/>
                      <a:pt x="43" y="114"/>
                      <a:pt x="44" y="114"/>
                    </a:cubicBezTo>
                    <a:cubicBezTo>
                      <a:pt x="44" y="115"/>
                      <a:pt x="44" y="115"/>
                      <a:pt x="45" y="115"/>
                    </a:cubicBezTo>
                    <a:cubicBezTo>
                      <a:pt x="45" y="115"/>
                      <a:pt x="45" y="114"/>
                      <a:pt x="45" y="115"/>
                    </a:cubicBezTo>
                    <a:cubicBezTo>
                      <a:pt x="46" y="115"/>
                      <a:pt x="46" y="115"/>
                      <a:pt x="47" y="115"/>
                    </a:cubicBezTo>
                    <a:cubicBezTo>
                      <a:pt x="47" y="116"/>
                      <a:pt x="48" y="116"/>
                      <a:pt x="48" y="116"/>
                    </a:cubicBezTo>
                    <a:cubicBezTo>
                      <a:pt x="49" y="116"/>
                      <a:pt x="49" y="116"/>
                      <a:pt x="50" y="115"/>
                    </a:cubicBezTo>
                    <a:cubicBezTo>
                      <a:pt x="50" y="115"/>
                      <a:pt x="50" y="115"/>
                      <a:pt x="50" y="116"/>
                    </a:cubicBezTo>
                    <a:cubicBezTo>
                      <a:pt x="50" y="116"/>
                      <a:pt x="51" y="116"/>
                      <a:pt x="51" y="116"/>
                    </a:cubicBezTo>
                    <a:cubicBezTo>
                      <a:pt x="53" y="116"/>
                      <a:pt x="52" y="115"/>
                      <a:pt x="51" y="115"/>
                    </a:cubicBezTo>
                    <a:cubicBezTo>
                      <a:pt x="51" y="115"/>
                      <a:pt x="50" y="115"/>
                      <a:pt x="50" y="115"/>
                    </a:cubicBezTo>
                    <a:cubicBezTo>
                      <a:pt x="49" y="115"/>
                      <a:pt x="49" y="114"/>
                      <a:pt x="48" y="113"/>
                    </a:cubicBezTo>
                    <a:cubicBezTo>
                      <a:pt x="48" y="113"/>
                      <a:pt x="47" y="113"/>
                      <a:pt x="46" y="112"/>
                    </a:cubicBezTo>
                    <a:cubicBezTo>
                      <a:pt x="46" y="112"/>
                      <a:pt x="46" y="111"/>
                      <a:pt x="46" y="111"/>
                    </a:cubicBezTo>
                    <a:cubicBezTo>
                      <a:pt x="46" y="111"/>
                      <a:pt x="47" y="111"/>
                      <a:pt x="47" y="110"/>
                    </a:cubicBezTo>
                    <a:cubicBezTo>
                      <a:pt x="47" y="110"/>
                      <a:pt x="47" y="110"/>
                      <a:pt x="48" y="110"/>
                    </a:cubicBezTo>
                    <a:cubicBezTo>
                      <a:pt x="48" y="110"/>
                      <a:pt x="48" y="110"/>
                      <a:pt x="48" y="110"/>
                    </a:cubicBezTo>
                    <a:cubicBezTo>
                      <a:pt x="49" y="110"/>
                      <a:pt x="48" y="110"/>
                      <a:pt x="48" y="109"/>
                    </a:cubicBezTo>
                    <a:cubicBezTo>
                      <a:pt x="48" y="109"/>
                      <a:pt x="48" y="109"/>
                      <a:pt x="48" y="108"/>
                    </a:cubicBezTo>
                    <a:cubicBezTo>
                      <a:pt x="48" y="108"/>
                      <a:pt x="49" y="107"/>
                      <a:pt x="49" y="107"/>
                    </a:cubicBezTo>
                    <a:cubicBezTo>
                      <a:pt x="49" y="106"/>
                      <a:pt x="50" y="107"/>
                      <a:pt x="50" y="107"/>
                    </a:cubicBezTo>
                    <a:cubicBezTo>
                      <a:pt x="51" y="107"/>
                      <a:pt x="51" y="106"/>
                      <a:pt x="52" y="106"/>
                    </a:cubicBezTo>
                    <a:cubicBezTo>
                      <a:pt x="52" y="106"/>
                      <a:pt x="52" y="105"/>
                      <a:pt x="52" y="106"/>
                    </a:cubicBezTo>
                    <a:cubicBezTo>
                      <a:pt x="52" y="106"/>
                      <a:pt x="53" y="106"/>
                      <a:pt x="54" y="106"/>
                    </a:cubicBezTo>
                    <a:cubicBezTo>
                      <a:pt x="55" y="107"/>
                      <a:pt x="56" y="107"/>
                      <a:pt x="57" y="107"/>
                    </a:cubicBezTo>
                    <a:cubicBezTo>
                      <a:pt x="59" y="107"/>
                      <a:pt x="61" y="108"/>
                      <a:pt x="62" y="108"/>
                    </a:cubicBezTo>
                    <a:cubicBezTo>
                      <a:pt x="64" y="108"/>
                      <a:pt x="66" y="108"/>
                      <a:pt x="68" y="108"/>
                    </a:cubicBezTo>
                    <a:cubicBezTo>
                      <a:pt x="69" y="108"/>
                      <a:pt x="69" y="108"/>
                      <a:pt x="70" y="108"/>
                    </a:cubicBezTo>
                    <a:cubicBezTo>
                      <a:pt x="71" y="108"/>
                      <a:pt x="71" y="108"/>
                      <a:pt x="72" y="108"/>
                    </a:cubicBezTo>
                    <a:cubicBezTo>
                      <a:pt x="73" y="109"/>
                      <a:pt x="72" y="110"/>
                      <a:pt x="71" y="110"/>
                    </a:cubicBezTo>
                    <a:cubicBezTo>
                      <a:pt x="69" y="110"/>
                      <a:pt x="69" y="111"/>
                      <a:pt x="68" y="112"/>
                    </a:cubicBezTo>
                    <a:cubicBezTo>
                      <a:pt x="68" y="112"/>
                      <a:pt x="67" y="113"/>
                      <a:pt x="67" y="114"/>
                    </a:cubicBezTo>
                    <a:cubicBezTo>
                      <a:pt x="67" y="115"/>
                      <a:pt x="66" y="115"/>
                      <a:pt x="66" y="116"/>
                    </a:cubicBezTo>
                    <a:cubicBezTo>
                      <a:pt x="66" y="117"/>
                      <a:pt x="67" y="117"/>
                      <a:pt x="67" y="117"/>
                    </a:cubicBezTo>
                    <a:cubicBezTo>
                      <a:pt x="68" y="117"/>
                      <a:pt x="68" y="116"/>
                      <a:pt x="68" y="115"/>
                    </a:cubicBezTo>
                    <a:cubicBezTo>
                      <a:pt x="68" y="115"/>
                      <a:pt x="68" y="114"/>
                      <a:pt x="69" y="113"/>
                    </a:cubicBezTo>
                    <a:cubicBezTo>
                      <a:pt x="69" y="112"/>
                      <a:pt x="69" y="111"/>
                      <a:pt x="70" y="111"/>
                    </a:cubicBezTo>
                    <a:cubicBezTo>
                      <a:pt x="70" y="111"/>
                      <a:pt x="71" y="111"/>
                      <a:pt x="72" y="111"/>
                    </a:cubicBezTo>
                    <a:cubicBezTo>
                      <a:pt x="72" y="111"/>
                      <a:pt x="73" y="111"/>
                      <a:pt x="73" y="111"/>
                    </a:cubicBezTo>
                    <a:cubicBezTo>
                      <a:pt x="74" y="111"/>
                      <a:pt x="74" y="111"/>
                      <a:pt x="75" y="111"/>
                    </a:cubicBezTo>
                    <a:cubicBezTo>
                      <a:pt x="76" y="111"/>
                      <a:pt x="75" y="110"/>
                      <a:pt x="75" y="109"/>
                    </a:cubicBezTo>
                    <a:cubicBezTo>
                      <a:pt x="74" y="108"/>
                      <a:pt x="73" y="108"/>
                      <a:pt x="73" y="107"/>
                    </a:cubicBezTo>
                    <a:cubicBezTo>
                      <a:pt x="73" y="106"/>
                      <a:pt x="73" y="106"/>
                      <a:pt x="73" y="106"/>
                    </a:cubicBezTo>
                    <a:cubicBezTo>
                      <a:pt x="73" y="105"/>
                      <a:pt x="72" y="105"/>
                      <a:pt x="72" y="105"/>
                    </a:cubicBezTo>
                    <a:cubicBezTo>
                      <a:pt x="71" y="105"/>
                      <a:pt x="71" y="105"/>
                      <a:pt x="71" y="106"/>
                    </a:cubicBezTo>
                    <a:cubicBezTo>
                      <a:pt x="71" y="106"/>
                      <a:pt x="70" y="107"/>
                      <a:pt x="70" y="107"/>
                    </a:cubicBezTo>
                    <a:cubicBezTo>
                      <a:pt x="68" y="107"/>
                      <a:pt x="67" y="107"/>
                      <a:pt x="66" y="107"/>
                    </a:cubicBezTo>
                    <a:cubicBezTo>
                      <a:pt x="65" y="106"/>
                      <a:pt x="65" y="107"/>
                      <a:pt x="64" y="106"/>
                    </a:cubicBezTo>
                    <a:cubicBezTo>
                      <a:pt x="64" y="106"/>
                      <a:pt x="63" y="106"/>
                      <a:pt x="63" y="105"/>
                    </a:cubicBezTo>
                    <a:cubicBezTo>
                      <a:pt x="63" y="105"/>
                      <a:pt x="63" y="104"/>
                      <a:pt x="62" y="104"/>
                    </a:cubicBezTo>
                    <a:cubicBezTo>
                      <a:pt x="62" y="103"/>
                      <a:pt x="63" y="102"/>
                      <a:pt x="63" y="101"/>
                    </a:cubicBezTo>
                    <a:cubicBezTo>
                      <a:pt x="63" y="100"/>
                      <a:pt x="64" y="98"/>
                      <a:pt x="63" y="97"/>
                    </a:cubicBezTo>
                    <a:cubicBezTo>
                      <a:pt x="63" y="95"/>
                      <a:pt x="61" y="94"/>
                      <a:pt x="61" y="92"/>
                    </a:cubicBezTo>
                    <a:cubicBezTo>
                      <a:pt x="60" y="91"/>
                      <a:pt x="59" y="90"/>
                      <a:pt x="58" y="89"/>
                    </a:cubicBezTo>
                    <a:cubicBezTo>
                      <a:pt x="57" y="89"/>
                      <a:pt x="56" y="90"/>
                      <a:pt x="56" y="89"/>
                    </a:cubicBezTo>
                    <a:cubicBezTo>
                      <a:pt x="55" y="89"/>
                      <a:pt x="54" y="89"/>
                      <a:pt x="54" y="89"/>
                    </a:cubicBezTo>
                    <a:cubicBezTo>
                      <a:pt x="54" y="91"/>
                      <a:pt x="53" y="90"/>
                      <a:pt x="52" y="90"/>
                    </a:cubicBezTo>
                    <a:cubicBezTo>
                      <a:pt x="52" y="90"/>
                      <a:pt x="53" y="91"/>
                      <a:pt x="53" y="91"/>
                    </a:cubicBezTo>
                    <a:cubicBezTo>
                      <a:pt x="53" y="91"/>
                      <a:pt x="52" y="91"/>
                      <a:pt x="51" y="91"/>
                    </a:cubicBezTo>
                    <a:cubicBezTo>
                      <a:pt x="51" y="91"/>
                      <a:pt x="50" y="90"/>
                      <a:pt x="51" y="90"/>
                    </a:cubicBezTo>
                    <a:cubicBezTo>
                      <a:pt x="50" y="90"/>
                      <a:pt x="51" y="90"/>
                      <a:pt x="50" y="90"/>
                    </a:cubicBezTo>
                    <a:cubicBezTo>
                      <a:pt x="49" y="90"/>
                      <a:pt x="50" y="90"/>
                      <a:pt x="50" y="90"/>
                    </a:cubicBezTo>
                    <a:cubicBezTo>
                      <a:pt x="50" y="90"/>
                      <a:pt x="48" y="90"/>
                      <a:pt x="48" y="89"/>
                    </a:cubicBezTo>
                    <a:cubicBezTo>
                      <a:pt x="48" y="89"/>
                      <a:pt x="48" y="88"/>
                      <a:pt x="48" y="88"/>
                    </a:cubicBezTo>
                    <a:cubicBezTo>
                      <a:pt x="47" y="88"/>
                      <a:pt x="47" y="89"/>
                      <a:pt x="47" y="89"/>
                    </a:cubicBezTo>
                    <a:cubicBezTo>
                      <a:pt x="47" y="89"/>
                      <a:pt x="46" y="88"/>
                      <a:pt x="46" y="88"/>
                    </a:cubicBezTo>
                    <a:cubicBezTo>
                      <a:pt x="45" y="88"/>
                      <a:pt x="44" y="88"/>
                      <a:pt x="43" y="88"/>
                    </a:cubicBezTo>
                    <a:cubicBezTo>
                      <a:pt x="43" y="88"/>
                      <a:pt x="43" y="88"/>
                      <a:pt x="43" y="88"/>
                    </a:cubicBezTo>
                    <a:cubicBezTo>
                      <a:pt x="42" y="88"/>
                      <a:pt x="42" y="88"/>
                      <a:pt x="42" y="88"/>
                    </a:cubicBezTo>
                    <a:cubicBezTo>
                      <a:pt x="41" y="88"/>
                      <a:pt x="41" y="89"/>
                      <a:pt x="41" y="89"/>
                    </a:cubicBezTo>
                    <a:cubicBezTo>
                      <a:pt x="41" y="89"/>
                      <a:pt x="41" y="89"/>
                      <a:pt x="40" y="89"/>
                    </a:cubicBezTo>
                    <a:cubicBezTo>
                      <a:pt x="41" y="89"/>
                      <a:pt x="40" y="90"/>
                      <a:pt x="40" y="90"/>
                    </a:cubicBezTo>
                    <a:cubicBezTo>
                      <a:pt x="40" y="90"/>
                      <a:pt x="40" y="89"/>
                      <a:pt x="40" y="89"/>
                    </a:cubicBezTo>
                    <a:cubicBezTo>
                      <a:pt x="40" y="89"/>
                      <a:pt x="39" y="90"/>
                      <a:pt x="39" y="90"/>
                    </a:cubicBezTo>
                    <a:cubicBezTo>
                      <a:pt x="39" y="90"/>
                      <a:pt x="39" y="91"/>
                      <a:pt x="38" y="91"/>
                    </a:cubicBezTo>
                    <a:cubicBezTo>
                      <a:pt x="38" y="91"/>
                      <a:pt x="39" y="90"/>
                      <a:pt x="38" y="90"/>
                    </a:cubicBezTo>
                    <a:cubicBezTo>
                      <a:pt x="38" y="90"/>
                      <a:pt x="37" y="90"/>
                      <a:pt x="37" y="90"/>
                    </a:cubicBezTo>
                    <a:cubicBezTo>
                      <a:pt x="37" y="90"/>
                      <a:pt x="37" y="91"/>
                      <a:pt x="37" y="91"/>
                    </a:cubicBezTo>
                    <a:cubicBezTo>
                      <a:pt x="37" y="91"/>
                      <a:pt x="37" y="91"/>
                      <a:pt x="37" y="91"/>
                    </a:cubicBezTo>
                    <a:cubicBezTo>
                      <a:pt x="37" y="91"/>
                      <a:pt x="36" y="92"/>
                      <a:pt x="36" y="92"/>
                    </a:cubicBezTo>
                    <a:cubicBezTo>
                      <a:pt x="35" y="91"/>
                      <a:pt x="34" y="93"/>
                      <a:pt x="34" y="93"/>
                    </a:cubicBezTo>
                    <a:cubicBezTo>
                      <a:pt x="34" y="93"/>
                      <a:pt x="33" y="94"/>
                      <a:pt x="33" y="94"/>
                    </a:cubicBezTo>
                    <a:cubicBezTo>
                      <a:pt x="33" y="94"/>
                      <a:pt x="32" y="94"/>
                      <a:pt x="32" y="94"/>
                    </a:cubicBezTo>
                    <a:cubicBezTo>
                      <a:pt x="32" y="94"/>
                      <a:pt x="32" y="94"/>
                      <a:pt x="31" y="94"/>
                    </a:cubicBezTo>
                    <a:cubicBezTo>
                      <a:pt x="31" y="93"/>
                      <a:pt x="31" y="94"/>
                      <a:pt x="31" y="94"/>
                    </a:cubicBezTo>
                    <a:cubicBezTo>
                      <a:pt x="30" y="94"/>
                      <a:pt x="30" y="94"/>
                      <a:pt x="30" y="94"/>
                    </a:cubicBezTo>
                    <a:cubicBezTo>
                      <a:pt x="30" y="94"/>
                      <a:pt x="30" y="94"/>
                      <a:pt x="30" y="94"/>
                    </a:cubicBezTo>
                    <a:cubicBezTo>
                      <a:pt x="30" y="94"/>
                      <a:pt x="30" y="94"/>
                      <a:pt x="29" y="94"/>
                    </a:cubicBezTo>
                    <a:cubicBezTo>
                      <a:pt x="29" y="94"/>
                      <a:pt x="29" y="94"/>
                      <a:pt x="28" y="93"/>
                    </a:cubicBezTo>
                    <a:cubicBezTo>
                      <a:pt x="28" y="94"/>
                      <a:pt x="29" y="94"/>
                      <a:pt x="29" y="94"/>
                    </a:cubicBezTo>
                    <a:cubicBezTo>
                      <a:pt x="29" y="95"/>
                      <a:pt x="28" y="94"/>
                      <a:pt x="28" y="94"/>
                    </a:cubicBezTo>
                    <a:cubicBezTo>
                      <a:pt x="28" y="94"/>
                      <a:pt x="28" y="95"/>
                      <a:pt x="29" y="95"/>
                    </a:cubicBezTo>
                    <a:cubicBezTo>
                      <a:pt x="29" y="95"/>
                      <a:pt x="29" y="95"/>
                      <a:pt x="29" y="95"/>
                    </a:cubicBezTo>
                    <a:cubicBezTo>
                      <a:pt x="29" y="96"/>
                      <a:pt x="28" y="95"/>
                      <a:pt x="28" y="95"/>
                    </a:cubicBezTo>
                    <a:cubicBezTo>
                      <a:pt x="28" y="95"/>
                      <a:pt x="28" y="95"/>
                      <a:pt x="28" y="95"/>
                    </a:cubicBezTo>
                    <a:cubicBezTo>
                      <a:pt x="28" y="96"/>
                      <a:pt x="28" y="95"/>
                      <a:pt x="27" y="95"/>
                    </a:cubicBezTo>
                    <a:cubicBezTo>
                      <a:pt x="27" y="96"/>
                      <a:pt x="28" y="96"/>
                      <a:pt x="28" y="96"/>
                    </a:cubicBezTo>
                    <a:cubicBezTo>
                      <a:pt x="27" y="96"/>
                      <a:pt x="26" y="95"/>
                      <a:pt x="25" y="95"/>
                    </a:cubicBezTo>
                    <a:cubicBezTo>
                      <a:pt x="25" y="94"/>
                      <a:pt x="24" y="94"/>
                      <a:pt x="23" y="94"/>
                    </a:cubicBezTo>
                    <a:cubicBezTo>
                      <a:pt x="23" y="93"/>
                      <a:pt x="22" y="94"/>
                      <a:pt x="22" y="94"/>
                    </a:cubicBezTo>
                    <a:cubicBezTo>
                      <a:pt x="21" y="93"/>
                      <a:pt x="22" y="93"/>
                      <a:pt x="21" y="93"/>
                    </a:cubicBezTo>
                    <a:cubicBezTo>
                      <a:pt x="21" y="92"/>
                      <a:pt x="21" y="92"/>
                      <a:pt x="22" y="91"/>
                    </a:cubicBezTo>
                    <a:cubicBezTo>
                      <a:pt x="22" y="91"/>
                      <a:pt x="23" y="91"/>
                      <a:pt x="23" y="92"/>
                    </a:cubicBezTo>
                    <a:cubicBezTo>
                      <a:pt x="24" y="92"/>
                      <a:pt x="25" y="92"/>
                      <a:pt x="25" y="91"/>
                    </a:cubicBezTo>
                    <a:cubicBezTo>
                      <a:pt x="25" y="90"/>
                      <a:pt x="23" y="89"/>
                      <a:pt x="23" y="89"/>
                    </a:cubicBezTo>
                    <a:cubicBezTo>
                      <a:pt x="22" y="87"/>
                      <a:pt x="21" y="86"/>
                      <a:pt x="20" y="85"/>
                    </a:cubicBezTo>
                    <a:cubicBezTo>
                      <a:pt x="20" y="85"/>
                      <a:pt x="20" y="84"/>
                      <a:pt x="19" y="84"/>
                    </a:cubicBezTo>
                    <a:cubicBezTo>
                      <a:pt x="19" y="84"/>
                      <a:pt x="18" y="84"/>
                      <a:pt x="18" y="83"/>
                    </a:cubicBezTo>
                    <a:cubicBezTo>
                      <a:pt x="17" y="82"/>
                      <a:pt x="16" y="81"/>
                      <a:pt x="15" y="81"/>
                    </a:cubicBezTo>
                    <a:cubicBezTo>
                      <a:pt x="13" y="80"/>
                      <a:pt x="12" y="81"/>
                      <a:pt x="11" y="80"/>
                    </a:cubicBezTo>
                    <a:cubicBezTo>
                      <a:pt x="9" y="80"/>
                      <a:pt x="9" y="80"/>
                      <a:pt x="9" y="82"/>
                    </a:cubicBezTo>
                    <a:cubicBezTo>
                      <a:pt x="9" y="81"/>
                      <a:pt x="7" y="81"/>
                      <a:pt x="7" y="80"/>
                    </a:cubicBezTo>
                    <a:cubicBezTo>
                      <a:pt x="7" y="79"/>
                      <a:pt x="7" y="79"/>
                      <a:pt x="6" y="79"/>
                    </a:cubicBezTo>
                    <a:cubicBezTo>
                      <a:pt x="6" y="78"/>
                      <a:pt x="6" y="78"/>
                      <a:pt x="7" y="78"/>
                    </a:cubicBezTo>
                    <a:cubicBezTo>
                      <a:pt x="7" y="77"/>
                      <a:pt x="7" y="77"/>
                      <a:pt x="7" y="77"/>
                    </a:cubicBezTo>
                    <a:cubicBezTo>
                      <a:pt x="6" y="77"/>
                      <a:pt x="6" y="76"/>
                      <a:pt x="6" y="76"/>
                    </a:cubicBezTo>
                    <a:cubicBezTo>
                      <a:pt x="6" y="76"/>
                      <a:pt x="6" y="75"/>
                      <a:pt x="5" y="75"/>
                    </a:cubicBezTo>
                    <a:cubicBezTo>
                      <a:pt x="4" y="75"/>
                      <a:pt x="3" y="75"/>
                      <a:pt x="2" y="74"/>
                    </a:cubicBezTo>
                    <a:cubicBezTo>
                      <a:pt x="2" y="74"/>
                      <a:pt x="0" y="74"/>
                      <a:pt x="0" y="74"/>
                    </a:cubicBezTo>
                    <a:cubicBezTo>
                      <a:pt x="0" y="73"/>
                      <a:pt x="1" y="72"/>
                      <a:pt x="1" y="71"/>
                    </a:cubicBezTo>
                    <a:cubicBezTo>
                      <a:pt x="1" y="70"/>
                      <a:pt x="1" y="70"/>
                      <a:pt x="1" y="69"/>
                    </a:cubicBezTo>
                    <a:cubicBezTo>
                      <a:pt x="2" y="68"/>
                      <a:pt x="2" y="68"/>
                      <a:pt x="3" y="67"/>
                    </a:cubicBezTo>
                    <a:cubicBezTo>
                      <a:pt x="4" y="66"/>
                      <a:pt x="3" y="65"/>
                      <a:pt x="2" y="64"/>
                    </a:cubicBezTo>
                    <a:cubicBezTo>
                      <a:pt x="1" y="64"/>
                      <a:pt x="1" y="64"/>
                      <a:pt x="1" y="63"/>
                    </a:cubicBezTo>
                    <a:cubicBezTo>
                      <a:pt x="1" y="62"/>
                      <a:pt x="1" y="61"/>
                      <a:pt x="1" y="60"/>
                    </a:cubicBezTo>
                    <a:cubicBezTo>
                      <a:pt x="1" y="58"/>
                      <a:pt x="2" y="58"/>
                      <a:pt x="3" y="57"/>
                    </a:cubicBezTo>
                    <a:cubicBezTo>
                      <a:pt x="3" y="57"/>
                      <a:pt x="4" y="56"/>
                      <a:pt x="4" y="56"/>
                    </a:cubicBezTo>
                    <a:cubicBezTo>
                      <a:pt x="4" y="55"/>
                      <a:pt x="3" y="55"/>
                      <a:pt x="3" y="55"/>
                    </a:cubicBezTo>
                    <a:cubicBezTo>
                      <a:pt x="4" y="54"/>
                      <a:pt x="3" y="54"/>
                      <a:pt x="4" y="54"/>
                    </a:cubicBezTo>
                    <a:cubicBezTo>
                      <a:pt x="4" y="53"/>
                      <a:pt x="4" y="52"/>
                      <a:pt x="5" y="52"/>
                    </a:cubicBezTo>
                    <a:cubicBezTo>
                      <a:pt x="6" y="52"/>
                      <a:pt x="8" y="54"/>
                      <a:pt x="8" y="54"/>
                    </a:cubicBezTo>
                    <a:cubicBezTo>
                      <a:pt x="9" y="55"/>
                      <a:pt x="10" y="55"/>
                      <a:pt x="10" y="56"/>
                    </a:cubicBezTo>
                    <a:cubicBezTo>
                      <a:pt x="11" y="56"/>
                      <a:pt x="11" y="57"/>
                      <a:pt x="11" y="57"/>
                    </a:cubicBezTo>
                    <a:cubicBezTo>
                      <a:pt x="12" y="58"/>
                      <a:pt x="13" y="59"/>
                      <a:pt x="14" y="59"/>
                    </a:cubicBezTo>
                    <a:cubicBezTo>
                      <a:pt x="14" y="59"/>
                      <a:pt x="15" y="58"/>
                      <a:pt x="16" y="58"/>
                    </a:cubicBezTo>
                    <a:cubicBezTo>
                      <a:pt x="16" y="58"/>
                      <a:pt x="17" y="57"/>
                      <a:pt x="17" y="57"/>
                    </a:cubicBezTo>
                    <a:cubicBezTo>
                      <a:pt x="17" y="56"/>
                      <a:pt x="16" y="56"/>
                      <a:pt x="16" y="56"/>
                    </a:cubicBezTo>
                    <a:cubicBezTo>
                      <a:pt x="16" y="55"/>
                      <a:pt x="16" y="55"/>
                      <a:pt x="16" y="55"/>
                    </a:cubicBezTo>
                    <a:cubicBezTo>
                      <a:pt x="16" y="54"/>
                      <a:pt x="15" y="54"/>
                      <a:pt x="15" y="54"/>
                    </a:cubicBezTo>
                    <a:cubicBezTo>
                      <a:pt x="15" y="53"/>
                      <a:pt x="14" y="52"/>
                      <a:pt x="14" y="51"/>
                    </a:cubicBezTo>
                    <a:cubicBezTo>
                      <a:pt x="14" y="51"/>
                      <a:pt x="14" y="51"/>
                      <a:pt x="14" y="51"/>
                    </a:cubicBezTo>
                    <a:cubicBezTo>
                      <a:pt x="14" y="50"/>
                      <a:pt x="13" y="50"/>
                      <a:pt x="13" y="50"/>
                    </a:cubicBezTo>
                    <a:cubicBezTo>
                      <a:pt x="13" y="50"/>
                      <a:pt x="15" y="51"/>
                      <a:pt x="15" y="51"/>
                    </a:cubicBezTo>
                    <a:cubicBezTo>
                      <a:pt x="16" y="50"/>
                      <a:pt x="17" y="50"/>
                      <a:pt x="17" y="49"/>
                    </a:cubicBezTo>
                    <a:cubicBezTo>
                      <a:pt x="17" y="49"/>
                      <a:pt x="18" y="49"/>
                      <a:pt x="18" y="48"/>
                    </a:cubicBezTo>
                    <a:cubicBezTo>
                      <a:pt x="19" y="48"/>
                      <a:pt x="19" y="48"/>
                      <a:pt x="20" y="48"/>
                    </a:cubicBezTo>
                    <a:cubicBezTo>
                      <a:pt x="20" y="47"/>
                      <a:pt x="19" y="47"/>
                      <a:pt x="19" y="47"/>
                    </a:cubicBezTo>
                    <a:cubicBezTo>
                      <a:pt x="19" y="46"/>
                      <a:pt x="19" y="46"/>
                      <a:pt x="19" y="45"/>
                    </a:cubicBezTo>
                    <a:cubicBezTo>
                      <a:pt x="19" y="45"/>
                      <a:pt x="21" y="45"/>
                      <a:pt x="21" y="45"/>
                    </a:cubicBezTo>
                    <a:cubicBezTo>
                      <a:pt x="22" y="45"/>
                      <a:pt x="22" y="45"/>
                      <a:pt x="23" y="44"/>
                    </a:cubicBezTo>
                    <a:cubicBezTo>
                      <a:pt x="23" y="44"/>
                      <a:pt x="26" y="44"/>
                      <a:pt x="26" y="43"/>
                    </a:cubicBezTo>
                    <a:cubicBezTo>
                      <a:pt x="26" y="42"/>
                      <a:pt x="26" y="42"/>
                      <a:pt x="26" y="42"/>
                    </a:cubicBezTo>
                    <a:cubicBezTo>
                      <a:pt x="27" y="41"/>
                      <a:pt x="27" y="42"/>
                      <a:pt x="27" y="41"/>
                    </a:cubicBezTo>
                    <a:cubicBezTo>
                      <a:pt x="27" y="40"/>
                      <a:pt x="28" y="40"/>
                      <a:pt x="28" y="40"/>
                    </a:cubicBezTo>
                    <a:cubicBezTo>
                      <a:pt x="28" y="40"/>
                      <a:pt x="28" y="40"/>
                      <a:pt x="28" y="40"/>
                    </a:cubicBezTo>
                    <a:cubicBezTo>
                      <a:pt x="29" y="40"/>
                      <a:pt x="28" y="40"/>
                      <a:pt x="28" y="40"/>
                    </a:cubicBezTo>
                    <a:cubicBezTo>
                      <a:pt x="29" y="40"/>
                      <a:pt x="30" y="40"/>
                      <a:pt x="29" y="40"/>
                    </a:cubicBezTo>
                    <a:cubicBezTo>
                      <a:pt x="29" y="39"/>
                      <a:pt x="28" y="39"/>
                      <a:pt x="29" y="38"/>
                    </a:cubicBezTo>
                    <a:cubicBezTo>
                      <a:pt x="29" y="38"/>
                      <a:pt x="30" y="39"/>
                      <a:pt x="30" y="39"/>
                    </a:cubicBezTo>
                    <a:cubicBezTo>
                      <a:pt x="31" y="39"/>
                      <a:pt x="32" y="39"/>
                      <a:pt x="32" y="39"/>
                    </a:cubicBezTo>
                    <a:cubicBezTo>
                      <a:pt x="32" y="39"/>
                      <a:pt x="33" y="39"/>
                      <a:pt x="33" y="39"/>
                    </a:cubicBezTo>
                    <a:cubicBezTo>
                      <a:pt x="33" y="39"/>
                      <a:pt x="33" y="39"/>
                      <a:pt x="34" y="39"/>
                    </a:cubicBezTo>
                    <a:cubicBezTo>
                      <a:pt x="34" y="40"/>
                      <a:pt x="35" y="40"/>
                      <a:pt x="34" y="40"/>
                    </a:cubicBezTo>
                    <a:cubicBezTo>
                      <a:pt x="33" y="41"/>
                      <a:pt x="34" y="41"/>
                      <a:pt x="35" y="41"/>
                    </a:cubicBezTo>
                    <a:cubicBezTo>
                      <a:pt x="35" y="41"/>
                      <a:pt x="35" y="41"/>
                      <a:pt x="36" y="41"/>
                    </a:cubicBezTo>
                    <a:cubicBezTo>
                      <a:pt x="37" y="40"/>
                      <a:pt x="36" y="41"/>
                      <a:pt x="37" y="41"/>
                    </a:cubicBezTo>
                    <a:cubicBezTo>
                      <a:pt x="37" y="42"/>
                      <a:pt x="38" y="41"/>
                      <a:pt x="38" y="41"/>
                    </a:cubicBezTo>
                    <a:cubicBezTo>
                      <a:pt x="38" y="40"/>
                      <a:pt x="37" y="40"/>
                      <a:pt x="38" y="39"/>
                    </a:cubicBezTo>
                    <a:cubicBezTo>
                      <a:pt x="38" y="39"/>
                      <a:pt x="39" y="39"/>
                      <a:pt x="39" y="39"/>
                    </a:cubicBezTo>
                    <a:cubicBezTo>
                      <a:pt x="39" y="39"/>
                      <a:pt x="40" y="39"/>
                      <a:pt x="40" y="39"/>
                    </a:cubicBezTo>
                    <a:cubicBezTo>
                      <a:pt x="40" y="39"/>
                      <a:pt x="40" y="39"/>
                      <a:pt x="40" y="39"/>
                    </a:cubicBezTo>
                    <a:cubicBezTo>
                      <a:pt x="41" y="39"/>
                      <a:pt x="41" y="39"/>
                      <a:pt x="41" y="39"/>
                    </a:cubicBezTo>
                    <a:cubicBezTo>
                      <a:pt x="42" y="39"/>
                      <a:pt x="41" y="38"/>
                      <a:pt x="41" y="38"/>
                    </a:cubicBezTo>
                    <a:cubicBezTo>
                      <a:pt x="42" y="38"/>
                      <a:pt x="42" y="39"/>
                      <a:pt x="42" y="39"/>
                    </a:cubicBezTo>
                    <a:cubicBezTo>
                      <a:pt x="43" y="40"/>
                      <a:pt x="43" y="40"/>
                      <a:pt x="43" y="41"/>
                    </a:cubicBezTo>
                    <a:cubicBezTo>
                      <a:pt x="44" y="41"/>
                      <a:pt x="45" y="42"/>
                      <a:pt x="45" y="41"/>
                    </a:cubicBezTo>
                    <a:cubicBezTo>
                      <a:pt x="46" y="41"/>
                      <a:pt x="46" y="41"/>
                      <a:pt x="47" y="41"/>
                    </a:cubicBezTo>
                    <a:cubicBezTo>
                      <a:pt x="47" y="42"/>
                      <a:pt x="48" y="41"/>
                      <a:pt x="49" y="41"/>
                    </a:cubicBezTo>
                    <a:cubicBezTo>
                      <a:pt x="49" y="41"/>
                      <a:pt x="49" y="41"/>
                      <a:pt x="50" y="41"/>
                    </a:cubicBezTo>
                    <a:cubicBezTo>
                      <a:pt x="51" y="41"/>
                      <a:pt x="51" y="41"/>
                      <a:pt x="52" y="41"/>
                    </a:cubicBezTo>
                    <a:cubicBezTo>
                      <a:pt x="52" y="42"/>
                      <a:pt x="53" y="42"/>
                      <a:pt x="53" y="42"/>
                    </a:cubicBezTo>
                    <a:cubicBezTo>
                      <a:pt x="54" y="42"/>
                      <a:pt x="53" y="43"/>
                      <a:pt x="54" y="43"/>
                    </a:cubicBezTo>
                    <a:cubicBezTo>
                      <a:pt x="54" y="44"/>
                      <a:pt x="55" y="44"/>
                      <a:pt x="56" y="44"/>
                    </a:cubicBezTo>
                    <a:cubicBezTo>
                      <a:pt x="57" y="44"/>
                      <a:pt x="57" y="44"/>
                      <a:pt x="58" y="45"/>
                    </a:cubicBezTo>
                    <a:cubicBezTo>
                      <a:pt x="58" y="45"/>
                      <a:pt x="58" y="45"/>
                      <a:pt x="59" y="46"/>
                    </a:cubicBezTo>
                    <a:cubicBezTo>
                      <a:pt x="59" y="46"/>
                      <a:pt x="59" y="47"/>
                      <a:pt x="60" y="47"/>
                    </a:cubicBezTo>
                    <a:cubicBezTo>
                      <a:pt x="61" y="47"/>
                      <a:pt x="61" y="47"/>
                      <a:pt x="62" y="48"/>
                    </a:cubicBezTo>
                    <a:cubicBezTo>
                      <a:pt x="63" y="48"/>
                      <a:pt x="62" y="49"/>
                      <a:pt x="62" y="49"/>
                    </a:cubicBezTo>
                    <a:cubicBezTo>
                      <a:pt x="62" y="50"/>
                      <a:pt x="62" y="51"/>
                      <a:pt x="64" y="51"/>
                    </a:cubicBezTo>
                    <a:cubicBezTo>
                      <a:pt x="65" y="51"/>
                      <a:pt x="64" y="49"/>
                      <a:pt x="64" y="48"/>
                    </a:cubicBezTo>
                    <a:cubicBezTo>
                      <a:pt x="63" y="48"/>
                      <a:pt x="63" y="47"/>
                      <a:pt x="63" y="47"/>
                    </a:cubicBezTo>
                    <a:cubicBezTo>
                      <a:pt x="62" y="47"/>
                      <a:pt x="62" y="47"/>
                      <a:pt x="62" y="47"/>
                    </a:cubicBezTo>
                    <a:cubicBezTo>
                      <a:pt x="62" y="46"/>
                      <a:pt x="62" y="46"/>
                      <a:pt x="63" y="46"/>
                    </a:cubicBezTo>
                    <a:cubicBezTo>
                      <a:pt x="64" y="46"/>
                      <a:pt x="64" y="46"/>
                      <a:pt x="65" y="47"/>
                    </a:cubicBezTo>
                    <a:cubicBezTo>
                      <a:pt x="65" y="47"/>
                      <a:pt x="66" y="47"/>
                      <a:pt x="67" y="47"/>
                    </a:cubicBezTo>
                    <a:cubicBezTo>
                      <a:pt x="67" y="48"/>
                      <a:pt x="67" y="48"/>
                      <a:pt x="68" y="49"/>
                    </a:cubicBezTo>
                    <a:cubicBezTo>
                      <a:pt x="68" y="49"/>
                      <a:pt x="69" y="49"/>
                      <a:pt x="69" y="50"/>
                    </a:cubicBezTo>
                    <a:cubicBezTo>
                      <a:pt x="70" y="50"/>
                      <a:pt x="71" y="50"/>
                      <a:pt x="71" y="50"/>
                    </a:cubicBezTo>
                    <a:cubicBezTo>
                      <a:pt x="72" y="50"/>
                      <a:pt x="73" y="51"/>
                      <a:pt x="73" y="51"/>
                    </a:cubicBezTo>
                    <a:cubicBezTo>
                      <a:pt x="74" y="51"/>
                      <a:pt x="74" y="50"/>
                      <a:pt x="75" y="50"/>
                    </a:cubicBezTo>
                    <a:cubicBezTo>
                      <a:pt x="75" y="50"/>
                      <a:pt x="76" y="49"/>
                      <a:pt x="76" y="49"/>
                    </a:cubicBezTo>
                    <a:cubicBezTo>
                      <a:pt x="76" y="48"/>
                      <a:pt x="76" y="47"/>
                      <a:pt x="77" y="47"/>
                    </a:cubicBezTo>
                    <a:cubicBezTo>
                      <a:pt x="77" y="47"/>
                      <a:pt x="78" y="48"/>
                      <a:pt x="78" y="47"/>
                    </a:cubicBezTo>
                    <a:cubicBezTo>
                      <a:pt x="77" y="46"/>
                      <a:pt x="78" y="47"/>
                      <a:pt x="78" y="46"/>
                    </a:cubicBezTo>
                    <a:cubicBezTo>
                      <a:pt x="78" y="46"/>
                      <a:pt x="78" y="45"/>
                      <a:pt x="79" y="46"/>
                    </a:cubicBezTo>
                    <a:cubicBezTo>
                      <a:pt x="79" y="46"/>
                      <a:pt x="80" y="47"/>
                      <a:pt x="80" y="46"/>
                    </a:cubicBezTo>
                    <a:cubicBezTo>
                      <a:pt x="80" y="46"/>
                      <a:pt x="80" y="46"/>
                      <a:pt x="80" y="45"/>
                    </a:cubicBezTo>
                    <a:cubicBezTo>
                      <a:pt x="81" y="45"/>
                      <a:pt x="81" y="46"/>
                      <a:pt x="82" y="46"/>
                    </a:cubicBezTo>
                    <a:cubicBezTo>
                      <a:pt x="82" y="45"/>
                      <a:pt x="83" y="45"/>
                      <a:pt x="84" y="45"/>
                    </a:cubicBezTo>
                    <a:cubicBezTo>
                      <a:pt x="84" y="45"/>
                      <a:pt x="84" y="45"/>
                      <a:pt x="84" y="46"/>
                    </a:cubicBezTo>
                    <a:cubicBezTo>
                      <a:pt x="84" y="46"/>
                      <a:pt x="85" y="46"/>
                      <a:pt x="85" y="46"/>
                    </a:cubicBezTo>
                    <a:cubicBezTo>
                      <a:pt x="86" y="47"/>
                      <a:pt x="86" y="47"/>
                      <a:pt x="87" y="48"/>
                    </a:cubicBezTo>
                    <a:cubicBezTo>
                      <a:pt x="87" y="48"/>
                      <a:pt x="87" y="47"/>
                      <a:pt x="88" y="47"/>
                    </a:cubicBezTo>
                    <a:cubicBezTo>
                      <a:pt x="88" y="47"/>
                      <a:pt x="89" y="48"/>
                      <a:pt x="89" y="47"/>
                    </a:cubicBezTo>
                    <a:cubicBezTo>
                      <a:pt x="90" y="47"/>
                      <a:pt x="89" y="46"/>
                      <a:pt x="89" y="45"/>
                    </a:cubicBezTo>
                    <a:cubicBezTo>
                      <a:pt x="89" y="45"/>
                      <a:pt x="92" y="45"/>
                      <a:pt x="92" y="46"/>
                    </a:cubicBezTo>
                    <a:cubicBezTo>
                      <a:pt x="92" y="46"/>
                      <a:pt x="93" y="45"/>
                      <a:pt x="93" y="45"/>
                    </a:cubicBezTo>
                    <a:cubicBezTo>
                      <a:pt x="93" y="44"/>
                      <a:pt x="94" y="45"/>
                      <a:pt x="94" y="45"/>
                    </a:cubicBezTo>
                    <a:cubicBezTo>
                      <a:pt x="95" y="46"/>
                      <a:pt x="96" y="45"/>
                      <a:pt x="96" y="46"/>
                    </a:cubicBezTo>
                    <a:cubicBezTo>
                      <a:pt x="96" y="46"/>
                      <a:pt x="96" y="47"/>
                      <a:pt x="96" y="47"/>
                    </a:cubicBezTo>
                    <a:cubicBezTo>
                      <a:pt x="96" y="48"/>
                      <a:pt x="97" y="47"/>
                      <a:pt x="97" y="48"/>
                    </a:cubicBezTo>
                    <a:cubicBezTo>
                      <a:pt x="97" y="49"/>
                      <a:pt x="98" y="48"/>
                      <a:pt x="98" y="48"/>
                    </a:cubicBezTo>
                    <a:cubicBezTo>
                      <a:pt x="98" y="48"/>
                      <a:pt x="99" y="49"/>
                      <a:pt x="99" y="49"/>
                    </a:cubicBezTo>
                    <a:cubicBezTo>
                      <a:pt x="100" y="50"/>
                      <a:pt x="102" y="49"/>
                      <a:pt x="103" y="50"/>
                    </a:cubicBezTo>
                    <a:cubicBezTo>
                      <a:pt x="103" y="50"/>
                      <a:pt x="104" y="50"/>
                      <a:pt x="104" y="50"/>
                    </a:cubicBezTo>
                    <a:cubicBezTo>
                      <a:pt x="105" y="50"/>
                      <a:pt x="105" y="51"/>
                      <a:pt x="105" y="51"/>
                    </a:cubicBezTo>
                    <a:cubicBezTo>
                      <a:pt x="105" y="51"/>
                      <a:pt x="106" y="51"/>
                      <a:pt x="105" y="51"/>
                    </a:cubicBezTo>
                    <a:cubicBezTo>
                      <a:pt x="105" y="51"/>
                      <a:pt x="104" y="51"/>
                      <a:pt x="105" y="51"/>
                    </a:cubicBezTo>
                    <a:cubicBezTo>
                      <a:pt x="106" y="52"/>
                      <a:pt x="106" y="51"/>
                      <a:pt x="106" y="51"/>
                    </a:cubicBezTo>
                    <a:cubicBezTo>
                      <a:pt x="107" y="51"/>
                      <a:pt x="107" y="51"/>
                      <a:pt x="108" y="51"/>
                    </a:cubicBezTo>
                    <a:cubicBezTo>
                      <a:pt x="108" y="50"/>
                      <a:pt x="108" y="50"/>
                      <a:pt x="108" y="49"/>
                    </a:cubicBezTo>
                    <a:cubicBezTo>
                      <a:pt x="108" y="48"/>
                      <a:pt x="109" y="47"/>
                      <a:pt x="110" y="48"/>
                    </a:cubicBezTo>
                    <a:cubicBezTo>
                      <a:pt x="111" y="50"/>
                      <a:pt x="113" y="50"/>
                      <a:pt x="114" y="50"/>
                    </a:cubicBezTo>
                    <a:cubicBezTo>
                      <a:pt x="116" y="50"/>
                      <a:pt x="117" y="49"/>
                      <a:pt x="119" y="49"/>
                    </a:cubicBezTo>
                    <a:cubicBezTo>
                      <a:pt x="121" y="49"/>
                      <a:pt x="120" y="47"/>
                      <a:pt x="120" y="46"/>
                    </a:cubicBezTo>
                    <a:cubicBezTo>
                      <a:pt x="120" y="45"/>
                      <a:pt x="120" y="44"/>
                      <a:pt x="121" y="43"/>
                    </a:cubicBezTo>
                    <a:cubicBezTo>
                      <a:pt x="120" y="43"/>
                      <a:pt x="120" y="43"/>
                      <a:pt x="119" y="42"/>
                    </a:cubicBezTo>
                    <a:cubicBezTo>
                      <a:pt x="119" y="42"/>
                      <a:pt x="118" y="41"/>
                      <a:pt x="117" y="41"/>
                    </a:cubicBezTo>
                    <a:cubicBezTo>
                      <a:pt x="116" y="41"/>
                      <a:pt x="115" y="41"/>
                      <a:pt x="115" y="41"/>
                    </a:cubicBezTo>
                    <a:cubicBezTo>
                      <a:pt x="114" y="41"/>
                      <a:pt x="114" y="40"/>
                      <a:pt x="113" y="40"/>
                    </a:cubicBezTo>
                    <a:cubicBezTo>
                      <a:pt x="112" y="40"/>
                      <a:pt x="111" y="40"/>
                      <a:pt x="110" y="39"/>
                    </a:cubicBezTo>
                    <a:cubicBezTo>
                      <a:pt x="110" y="39"/>
                      <a:pt x="109" y="39"/>
                      <a:pt x="109" y="39"/>
                    </a:cubicBezTo>
                    <a:cubicBezTo>
                      <a:pt x="108" y="39"/>
                      <a:pt x="109" y="39"/>
                      <a:pt x="109" y="39"/>
                    </a:cubicBezTo>
                    <a:cubicBezTo>
                      <a:pt x="110" y="38"/>
                      <a:pt x="109" y="38"/>
                      <a:pt x="108" y="37"/>
                    </a:cubicBezTo>
                    <a:cubicBezTo>
                      <a:pt x="107" y="37"/>
                      <a:pt x="107" y="37"/>
                      <a:pt x="106" y="37"/>
                    </a:cubicBezTo>
                    <a:cubicBezTo>
                      <a:pt x="106" y="37"/>
                      <a:pt x="106" y="37"/>
                      <a:pt x="106" y="37"/>
                    </a:cubicBezTo>
                    <a:cubicBezTo>
                      <a:pt x="106" y="37"/>
                      <a:pt x="104" y="36"/>
                      <a:pt x="105" y="36"/>
                    </a:cubicBezTo>
                    <a:cubicBezTo>
                      <a:pt x="105" y="36"/>
                      <a:pt x="106" y="36"/>
                      <a:pt x="106" y="36"/>
                    </a:cubicBezTo>
                    <a:cubicBezTo>
                      <a:pt x="107" y="36"/>
                      <a:pt x="107" y="35"/>
                      <a:pt x="108" y="35"/>
                    </a:cubicBezTo>
                    <a:cubicBezTo>
                      <a:pt x="108" y="34"/>
                      <a:pt x="109" y="35"/>
                      <a:pt x="110" y="34"/>
                    </a:cubicBezTo>
                    <a:cubicBezTo>
                      <a:pt x="110" y="33"/>
                      <a:pt x="112" y="32"/>
                      <a:pt x="112" y="32"/>
                    </a:cubicBezTo>
                    <a:cubicBezTo>
                      <a:pt x="112" y="32"/>
                      <a:pt x="112" y="32"/>
                      <a:pt x="111" y="31"/>
                    </a:cubicBezTo>
                    <a:cubicBezTo>
                      <a:pt x="111" y="31"/>
                      <a:pt x="111" y="30"/>
                      <a:pt x="111" y="30"/>
                    </a:cubicBezTo>
                    <a:cubicBezTo>
                      <a:pt x="110" y="30"/>
                      <a:pt x="110" y="30"/>
                      <a:pt x="110" y="30"/>
                    </a:cubicBezTo>
                    <a:cubicBezTo>
                      <a:pt x="110" y="29"/>
                      <a:pt x="109" y="29"/>
                      <a:pt x="109" y="29"/>
                    </a:cubicBezTo>
                    <a:cubicBezTo>
                      <a:pt x="108" y="29"/>
                      <a:pt x="108" y="28"/>
                      <a:pt x="109" y="27"/>
                    </a:cubicBezTo>
                    <a:cubicBezTo>
                      <a:pt x="110" y="27"/>
                      <a:pt x="111" y="26"/>
                      <a:pt x="110" y="25"/>
                    </a:cubicBezTo>
                    <a:cubicBezTo>
                      <a:pt x="111" y="25"/>
                      <a:pt x="111" y="25"/>
                      <a:pt x="112" y="25"/>
                    </a:cubicBezTo>
                    <a:cubicBezTo>
                      <a:pt x="113" y="25"/>
                      <a:pt x="113" y="25"/>
                      <a:pt x="114" y="25"/>
                    </a:cubicBezTo>
                    <a:cubicBezTo>
                      <a:pt x="115" y="26"/>
                      <a:pt x="115" y="25"/>
                      <a:pt x="116" y="25"/>
                    </a:cubicBezTo>
                    <a:cubicBezTo>
                      <a:pt x="116" y="25"/>
                      <a:pt x="117" y="25"/>
                      <a:pt x="117" y="25"/>
                    </a:cubicBezTo>
                    <a:cubicBezTo>
                      <a:pt x="117" y="25"/>
                      <a:pt x="117" y="26"/>
                      <a:pt x="118" y="26"/>
                    </a:cubicBezTo>
                    <a:cubicBezTo>
                      <a:pt x="119" y="26"/>
                      <a:pt x="119" y="25"/>
                      <a:pt x="119" y="25"/>
                    </a:cubicBezTo>
                    <a:cubicBezTo>
                      <a:pt x="119" y="24"/>
                      <a:pt x="118" y="24"/>
                      <a:pt x="118" y="24"/>
                    </a:cubicBezTo>
                    <a:cubicBezTo>
                      <a:pt x="117" y="24"/>
                      <a:pt x="116" y="24"/>
                      <a:pt x="115" y="23"/>
                    </a:cubicBezTo>
                    <a:cubicBezTo>
                      <a:pt x="115" y="23"/>
                      <a:pt x="115" y="23"/>
                      <a:pt x="115" y="23"/>
                    </a:cubicBezTo>
                    <a:cubicBezTo>
                      <a:pt x="114" y="23"/>
                      <a:pt x="114" y="23"/>
                      <a:pt x="114" y="23"/>
                    </a:cubicBezTo>
                    <a:cubicBezTo>
                      <a:pt x="113" y="23"/>
                      <a:pt x="112" y="22"/>
                      <a:pt x="111" y="22"/>
                    </a:cubicBezTo>
                    <a:cubicBezTo>
                      <a:pt x="111" y="22"/>
                      <a:pt x="110" y="22"/>
                      <a:pt x="110" y="21"/>
                    </a:cubicBezTo>
                    <a:cubicBezTo>
                      <a:pt x="110" y="21"/>
                      <a:pt x="110" y="20"/>
                      <a:pt x="110" y="20"/>
                    </a:cubicBezTo>
                    <a:cubicBezTo>
                      <a:pt x="111" y="20"/>
                      <a:pt x="111" y="20"/>
                      <a:pt x="111" y="20"/>
                    </a:cubicBezTo>
                    <a:cubicBezTo>
                      <a:pt x="112" y="21"/>
                      <a:pt x="112" y="20"/>
                      <a:pt x="112" y="20"/>
                    </a:cubicBezTo>
                    <a:cubicBezTo>
                      <a:pt x="113" y="20"/>
                      <a:pt x="113" y="19"/>
                      <a:pt x="112" y="19"/>
                    </a:cubicBezTo>
                    <a:cubicBezTo>
                      <a:pt x="111" y="19"/>
                      <a:pt x="111" y="19"/>
                      <a:pt x="110" y="19"/>
                    </a:cubicBezTo>
                    <a:cubicBezTo>
                      <a:pt x="110" y="19"/>
                      <a:pt x="109" y="19"/>
                      <a:pt x="109" y="19"/>
                    </a:cubicBezTo>
                    <a:cubicBezTo>
                      <a:pt x="108" y="19"/>
                      <a:pt x="107" y="19"/>
                      <a:pt x="107" y="18"/>
                    </a:cubicBezTo>
                    <a:cubicBezTo>
                      <a:pt x="107" y="18"/>
                      <a:pt x="108" y="19"/>
                      <a:pt x="108" y="18"/>
                    </a:cubicBezTo>
                    <a:cubicBezTo>
                      <a:pt x="108" y="18"/>
                      <a:pt x="108" y="18"/>
                      <a:pt x="108" y="18"/>
                    </a:cubicBezTo>
                    <a:cubicBezTo>
                      <a:pt x="108" y="18"/>
                      <a:pt x="108" y="18"/>
                      <a:pt x="108" y="17"/>
                    </a:cubicBezTo>
                    <a:cubicBezTo>
                      <a:pt x="109" y="17"/>
                      <a:pt x="109" y="17"/>
                      <a:pt x="108" y="16"/>
                    </a:cubicBezTo>
                    <a:cubicBezTo>
                      <a:pt x="108" y="16"/>
                      <a:pt x="106" y="16"/>
                      <a:pt x="107" y="15"/>
                    </a:cubicBezTo>
                    <a:cubicBezTo>
                      <a:pt x="107" y="15"/>
                      <a:pt x="108" y="15"/>
                      <a:pt x="108" y="16"/>
                    </a:cubicBezTo>
                    <a:cubicBezTo>
                      <a:pt x="109" y="16"/>
                      <a:pt x="108" y="14"/>
                      <a:pt x="108" y="14"/>
                    </a:cubicBezTo>
                    <a:cubicBezTo>
                      <a:pt x="109" y="14"/>
                      <a:pt x="109" y="14"/>
                      <a:pt x="109" y="14"/>
                    </a:cubicBezTo>
                    <a:cubicBezTo>
                      <a:pt x="110" y="14"/>
                      <a:pt x="110" y="14"/>
                      <a:pt x="110" y="14"/>
                    </a:cubicBezTo>
                    <a:cubicBezTo>
                      <a:pt x="111" y="15"/>
                      <a:pt x="112" y="16"/>
                      <a:pt x="112" y="15"/>
                    </a:cubicBezTo>
                    <a:cubicBezTo>
                      <a:pt x="112" y="15"/>
                      <a:pt x="113" y="15"/>
                      <a:pt x="113" y="15"/>
                    </a:cubicBezTo>
                    <a:cubicBezTo>
                      <a:pt x="113" y="15"/>
                      <a:pt x="114" y="15"/>
                      <a:pt x="114" y="15"/>
                    </a:cubicBezTo>
                    <a:cubicBezTo>
                      <a:pt x="115" y="15"/>
                      <a:pt x="115" y="15"/>
                      <a:pt x="115" y="15"/>
                    </a:cubicBezTo>
                    <a:cubicBezTo>
                      <a:pt x="115" y="14"/>
                      <a:pt x="116" y="14"/>
                      <a:pt x="116" y="14"/>
                    </a:cubicBezTo>
                    <a:cubicBezTo>
                      <a:pt x="116" y="14"/>
                      <a:pt x="118" y="14"/>
                      <a:pt x="118" y="15"/>
                    </a:cubicBezTo>
                    <a:cubicBezTo>
                      <a:pt x="118" y="15"/>
                      <a:pt x="118" y="15"/>
                      <a:pt x="118" y="15"/>
                    </a:cubicBezTo>
                    <a:cubicBezTo>
                      <a:pt x="118" y="16"/>
                      <a:pt x="119" y="16"/>
                      <a:pt x="119" y="16"/>
                    </a:cubicBezTo>
                    <a:cubicBezTo>
                      <a:pt x="119" y="16"/>
                      <a:pt x="119" y="15"/>
                      <a:pt x="119" y="15"/>
                    </a:cubicBezTo>
                    <a:cubicBezTo>
                      <a:pt x="119" y="15"/>
                      <a:pt x="120" y="15"/>
                      <a:pt x="119" y="15"/>
                    </a:cubicBezTo>
                    <a:cubicBezTo>
                      <a:pt x="119" y="15"/>
                      <a:pt x="119" y="14"/>
                      <a:pt x="119" y="14"/>
                    </a:cubicBezTo>
                    <a:cubicBezTo>
                      <a:pt x="120" y="14"/>
                      <a:pt x="121" y="14"/>
                      <a:pt x="123" y="14"/>
                    </a:cubicBezTo>
                    <a:cubicBezTo>
                      <a:pt x="123" y="14"/>
                      <a:pt x="124" y="14"/>
                      <a:pt x="123" y="13"/>
                    </a:cubicBezTo>
                    <a:cubicBezTo>
                      <a:pt x="123" y="13"/>
                      <a:pt x="124" y="13"/>
                      <a:pt x="124" y="13"/>
                    </a:cubicBezTo>
                    <a:cubicBezTo>
                      <a:pt x="126" y="13"/>
                      <a:pt x="127" y="12"/>
                      <a:pt x="128" y="12"/>
                    </a:cubicBezTo>
                    <a:cubicBezTo>
                      <a:pt x="129" y="12"/>
                      <a:pt x="129" y="13"/>
                      <a:pt x="130" y="13"/>
                    </a:cubicBezTo>
                    <a:cubicBezTo>
                      <a:pt x="131" y="12"/>
                      <a:pt x="130" y="12"/>
                      <a:pt x="130" y="12"/>
                    </a:cubicBezTo>
                    <a:cubicBezTo>
                      <a:pt x="130" y="11"/>
                      <a:pt x="133" y="11"/>
                      <a:pt x="134" y="11"/>
                    </a:cubicBezTo>
                    <a:cubicBezTo>
                      <a:pt x="135" y="10"/>
                      <a:pt x="135" y="11"/>
                      <a:pt x="135" y="11"/>
                    </a:cubicBezTo>
                    <a:cubicBezTo>
                      <a:pt x="136" y="11"/>
                      <a:pt x="136" y="11"/>
                      <a:pt x="137" y="11"/>
                    </a:cubicBezTo>
                    <a:cubicBezTo>
                      <a:pt x="137" y="10"/>
                      <a:pt x="140" y="12"/>
                      <a:pt x="139" y="11"/>
                    </a:cubicBezTo>
                    <a:cubicBezTo>
                      <a:pt x="139" y="10"/>
                      <a:pt x="139" y="9"/>
                      <a:pt x="139" y="9"/>
                    </a:cubicBezTo>
                    <a:cubicBezTo>
                      <a:pt x="140" y="9"/>
                      <a:pt x="141" y="9"/>
                      <a:pt x="141" y="9"/>
                    </a:cubicBezTo>
                    <a:cubicBezTo>
                      <a:pt x="141" y="9"/>
                      <a:pt x="140" y="8"/>
                      <a:pt x="141" y="8"/>
                    </a:cubicBezTo>
                    <a:cubicBezTo>
                      <a:pt x="141" y="8"/>
                      <a:pt x="142" y="8"/>
                      <a:pt x="143" y="8"/>
                    </a:cubicBezTo>
                    <a:cubicBezTo>
                      <a:pt x="143" y="8"/>
                      <a:pt x="143" y="8"/>
                      <a:pt x="144" y="7"/>
                    </a:cubicBezTo>
                    <a:cubicBezTo>
                      <a:pt x="144" y="7"/>
                      <a:pt x="144" y="8"/>
                      <a:pt x="145" y="8"/>
                    </a:cubicBezTo>
                    <a:cubicBezTo>
                      <a:pt x="145" y="8"/>
                      <a:pt x="146" y="8"/>
                      <a:pt x="147" y="8"/>
                    </a:cubicBezTo>
                    <a:cubicBezTo>
                      <a:pt x="148" y="7"/>
                      <a:pt x="149" y="7"/>
                      <a:pt x="150" y="7"/>
                    </a:cubicBezTo>
                    <a:cubicBezTo>
                      <a:pt x="150" y="7"/>
                      <a:pt x="151" y="7"/>
                      <a:pt x="151" y="7"/>
                    </a:cubicBezTo>
                    <a:cubicBezTo>
                      <a:pt x="152" y="7"/>
                      <a:pt x="153" y="6"/>
                      <a:pt x="153" y="6"/>
                    </a:cubicBezTo>
                    <a:cubicBezTo>
                      <a:pt x="154" y="6"/>
                      <a:pt x="154" y="6"/>
                      <a:pt x="154" y="6"/>
                    </a:cubicBezTo>
                    <a:cubicBezTo>
                      <a:pt x="155" y="6"/>
                      <a:pt x="154" y="6"/>
                      <a:pt x="155" y="6"/>
                    </a:cubicBezTo>
                    <a:cubicBezTo>
                      <a:pt x="156" y="6"/>
                      <a:pt x="156" y="6"/>
                      <a:pt x="157" y="6"/>
                    </a:cubicBezTo>
                    <a:cubicBezTo>
                      <a:pt x="158" y="6"/>
                      <a:pt x="158" y="5"/>
                      <a:pt x="159" y="5"/>
                    </a:cubicBezTo>
                    <a:cubicBezTo>
                      <a:pt x="159" y="5"/>
                      <a:pt x="160" y="5"/>
                      <a:pt x="160" y="5"/>
                    </a:cubicBezTo>
                    <a:cubicBezTo>
                      <a:pt x="161" y="5"/>
                      <a:pt x="161" y="5"/>
                      <a:pt x="161" y="5"/>
                    </a:cubicBezTo>
                    <a:cubicBezTo>
                      <a:pt x="162" y="4"/>
                      <a:pt x="161" y="4"/>
                      <a:pt x="162" y="4"/>
                    </a:cubicBezTo>
                    <a:cubicBezTo>
                      <a:pt x="162" y="4"/>
                      <a:pt x="162" y="4"/>
                      <a:pt x="162" y="4"/>
                    </a:cubicBezTo>
                    <a:cubicBezTo>
                      <a:pt x="162" y="3"/>
                      <a:pt x="161" y="3"/>
                      <a:pt x="161" y="3"/>
                    </a:cubicBezTo>
                    <a:cubicBezTo>
                      <a:pt x="161" y="3"/>
                      <a:pt x="160" y="2"/>
                      <a:pt x="161" y="2"/>
                    </a:cubicBezTo>
                    <a:cubicBezTo>
                      <a:pt x="161" y="2"/>
                      <a:pt x="162" y="2"/>
                      <a:pt x="162" y="2"/>
                    </a:cubicBezTo>
                    <a:cubicBezTo>
                      <a:pt x="163" y="2"/>
                      <a:pt x="164" y="2"/>
                      <a:pt x="164" y="2"/>
                    </a:cubicBezTo>
                    <a:cubicBezTo>
                      <a:pt x="164" y="2"/>
                      <a:pt x="164" y="2"/>
                      <a:pt x="164" y="1"/>
                    </a:cubicBezTo>
                    <a:cubicBezTo>
                      <a:pt x="164" y="1"/>
                      <a:pt x="164" y="1"/>
                      <a:pt x="164" y="1"/>
                    </a:cubicBezTo>
                    <a:cubicBezTo>
                      <a:pt x="164" y="1"/>
                      <a:pt x="164" y="1"/>
                      <a:pt x="164" y="1"/>
                    </a:cubicBezTo>
                    <a:cubicBezTo>
                      <a:pt x="165" y="1"/>
                      <a:pt x="165" y="1"/>
                      <a:pt x="165" y="1"/>
                    </a:cubicBezTo>
                    <a:cubicBezTo>
                      <a:pt x="166" y="1"/>
                      <a:pt x="166" y="1"/>
                      <a:pt x="166" y="1"/>
                    </a:cubicBezTo>
                    <a:cubicBezTo>
                      <a:pt x="167" y="1"/>
                      <a:pt x="166" y="1"/>
                      <a:pt x="166" y="1"/>
                    </a:cubicBezTo>
                    <a:cubicBezTo>
                      <a:pt x="166" y="0"/>
                      <a:pt x="165" y="0"/>
                      <a:pt x="166" y="0"/>
                    </a:cubicBezTo>
                    <a:cubicBezTo>
                      <a:pt x="166" y="0"/>
                      <a:pt x="167" y="0"/>
                      <a:pt x="167" y="0"/>
                    </a:cubicBezTo>
                    <a:cubicBezTo>
                      <a:pt x="168" y="0"/>
                      <a:pt x="168" y="1"/>
                      <a:pt x="168" y="1"/>
                    </a:cubicBezTo>
                    <a:cubicBezTo>
                      <a:pt x="169" y="0"/>
                      <a:pt x="170" y="0"/>
                      <a:pt x="170" y="1"/>
                    </a:cubicBezTo>
                    <a:cubicBezTo>
                      <a:pt x="171" y="1"/>
                      <a:pt x="172" y="1"/>
                      <a:pt x="173" y="1"/>
                    </a:cubicBezTo>
                    <a:cubicBezTo>
                      <a:pt x="173" y="1"/>
                      <a:pt x="174" y="2"/>
                      <a:pt x="174" y="2"/>
                    </a:cubicBezTo>
                    <a:cubicBezTo>
                      <a:pt x="174" y="2"/>
                      <a:pt x="175" y="2"/>
                      <a:pt x="175" y="2"/>
                    </a:cubicBezTo>
                    <a:cubicBezTo>
                      <a:pt x="176" y="2"/>
                      <a:pt x="176" y="3"/>
                      <a:pt x="177" y="3"/>
                    </a:cubicBezTo>
                    <a:cubicBezTo>
                      <a:pt x="177" y="3"/>
                      <a:pt x="178" y="2"/>
                      <a:pt x="178" y="2"/>
                    </a:cubicBezTo>
                    <a:cubicBezTo>
                      <a:pt x="178" y="2"/>
                      <a:pt x="178" y="2"/>
                      <a:pt x="178" y="1"/>
                    </a:cubicBezTo>
                    <a:cubicBezTo>
                      <a:pt x="179" y="1"/>
                      <a:pt x="179" y="1"/>
                      <a:pt x="179" y="1"/>
                    </a:cubicBezTo>
                    <a:cubicBezTo>
                      <a:pt x="180" y="1"/>
                      <a:pt x="180" y="1"/>
                      <a:pt x="180" y="1"/>
                    </a:cubicBezTo>
                    <a:cubicBezTo>
                      <a:pt x="181" y="1"/>
                      <a:pt x="181" y="2"/>
                      <a:pt x="182" y="2"/>
                    </a:cubicBezTo>
                    <a:cubicBezTo>
                      <a:pt x="183" y="3"/>
                      <a:pt x="183" y="3"/>
                      <a:pt x="184" y="4"/>
                    </a:cubicBezTo>
                    <a:cubicBezTo>
                      <a:pt x="184" y="4"/>
                      <a:pt x="184" y="5"/>
                      <a:pt x="184" y="6"/>
                    </a:cubicBezTo>
                    <a:cubicBezTo>
                      <a:pt x="185" y="6"/>
                      <a:pt x="185" y="7"/>
                      <a:pt x="186" y="7"/>
                    </a:cubicBezTo>
                    <a:cubicBezTo>
                      <a:pt x="187" y="7"/>
                      <a:pt x="187" y="7"/>
                      <a:pt x="187" y="8"/>
                    </a:cubicBezTo>
                    <a:cubicBezTo>
                      <a:pt x="188" y="8"/>
                      <a:pt x="188" y="8"/>
                      <a:pt x="187" y="8"/>
                    </a:cubicBezTo>
                    <a:cubicBezTo>
                      <a:pt x="187" y="8"/>
                      <a:pt x="187" y="10"/>
                      <a:pt x="188" y="10"/>
                    </a:cubicBezTo>
                    <a:cubicBezTo>
                      <a:pt x="188" y="10"/>
                      <a:pt x="189" y="11"/>
                      <a:pt x="188" y="11"/>
                    </a:cubicBezTo>
                    <a:cubicBezTo>
                      <a:pt x="188" y="11"/>
                      <a:pt x="187" y="11"/>
                      <a:pt x="187" y="11"/>
                    </a:cubicBezTo>
                    <a:cubicBezTo>
                      <a:pt x="187" y="12"/>
                      <a:pt x="187" y="12"/>
                      <a:pt x="187" y="12"/>
                    </a:cubicBezTo>
                    <a:cubicBezTo>
                      <a:pt x="188" y="12"/>
                      <a:pt x="188" y="12"/>
                      <a:pt x="188" y="13"/>
                    </a:cubicBezTo>
                    <a:cubicBezTo>
                      <a:pt x="188" y="13"/>
                      <a:pt x="189" y="13"/>
                      <a:pt x="189" y="13"/>
                    </a:cubicBezTo>
                    <a:cubicBezTo>
                      <a:pt x="190" y="14"/>
                      <a:pt x="189" y="13"/>
                      <a:pt x="190" y="13"/>
                    </a:cubicBezTo>
                    <a:cubicBezTo>
                      <a:pt x="190" y="12"/>
                      <a:pt x="191" y="13"/>
                      <a:pt x="191" y="13"/>
                    </a:cubicBezTo>
                    <a:cubicBezTo>
                      <a:pt x="191" y="13"/>
                      <a:pt x="191" y="13"/>
                      <a:pt x="192" y="13"/>
                    </a:cubicBezTo>
                    <a:cubicBezTo>
                      <a:pt x="192" y="14"/>
                      <a:pt x="192" y="13"/>
                      <a:pt x="193" y="13"/>
                    </a:cubicBezTo>
                    <a:cubicBezTo>
                      <a:pt x="193" y="13"/>
                      <a:pt x="193" y="13"/>
                      <a:pt x="193" y="12"/>
                    </a:cubicBezTo>
                    <a:cubicBezTo>
                      <a:pt x="193" y="12"/>
                      <a:pt x="194" y="12"/>
                      <a:pt x="195" y="12"/>
                    </a:cubicBezTo>
                    <a:cubicBezTo>
                      <a:pt x="195" y="12"/>
                      <a:pt x="196" y="12"/>
                      <a:pt x="196" y="13"/>
                    </a:cubicBezTo>
                    <a:cubicBezTo>
                      <a:pt x="196" y="13"/>
                      <a:pt x="197" y="14"/>
                      <a:pt x="197" y="13"/>
                    </a:cubicBezTo>
                    <a:cubicBezTo>
                      <a:pt x="198" y="13"/>
                      <a:pt x="196" y="12"/>
                      <a:pt x="196" y="12"/>
                    </a:cubicBezTo>
                    <a:cubicBezTo>
                      <a:pt x="196" y="12"/>
                      <a:pt x="196" y="12"/>
                      <a:pt x="196" y="11"/>
                    </a:cubicBezTo>
                    <a:cubicBezTo>
                      <a:pt x="196" y="11"/>
                      <a:pt x="195" y="11"/>
                      <a:pt x="195" y="11"/>
                    </a:cubicBezTo>
                    <a:cubicBezTo>
                      <a:pt x="196" y="10"/>
                      <a:pt x="197" y="11"/>
                      <a:pt x="198" y="12"/>
                    </a:cubicBezTo>
                    <a:cubicBezTo>
                      <a:pt x="198" y="12"/>
                      <a:pt x="198" y="12"/>
                      <a:pt x="198" y="13"/>
                    </a:cubicBezTo>
                    <a:cubicBezTo>
                      <a:pt x="199" y="13"/>
                      <a:pt x="199" y="13"/>
                      <a:pt x="200" y="13"/>
                    </a:cubicBezTo>
                    <a:cubicBezTo>
                      <a:pt x="200" y="14"/>
                      <a:pt x="199" y="14"/>
                      <a:pt x="199" y="14"/>
                    </a:cubicBezTo>
                    <a:cubicBezTo>
                      <a:pt x="199" y="14"/>
                      <a:pt x="200" y="14"/>
                      <a:pt x="200" y="15"/>
                    </a:cubicBezTo>
                    <a:cubicBezTo>
                      <a:pt x="200" y="15"/>
                      <a:pt x="200" y="16"/>
                      <a:pt x="200" y="16"/>
                    </a:cubicBezTo>
                    <a:cubicBezTo>
                      <a:pt x="201" y="16"/>
                      <a:pt x="201" y="15"/>
                      <a:pt x="201" y="15"/>
                    </a:cubicBezTo>
                    <a:cubicBezTo>
                      <a:pt x="201" y="15"/>
                      <a:pt x="202" y="15"/>
                      <a:pt x="202" y="15"/>
                    </a:cubicBezTo>
                    <a:cubicBezTo>
                      <a:pt x="202" y="15"/>
                      <a:pt x="202" y="14"/>
                      <a:pt x="201" y="14"/>
                    </a:cubicBezTo>
                    <a:cubicBezTo>
                      <a:pt x="201" y="14"/>
                      <a:pt x="201" y="14"/>
                      <a:pt x="200" y="14"/>
                    </a:cubicBezTo>
                    <a:cubicBezTo>
                      <a:pt x="200" y="14"/>
                      <a:pt x="200" y="13"/>
                      <a:pt x="201" y="13"/>
                    </a:cubicBezTo>
                    <a:cubicBezTo>
                      <a:pt x="202" y="13"/>
                      <a:pt x="202" y="13"/>
                      <a:pt x="203" y="13"/>
                    </a:cubicBezTo>
                    <a:cubicBezTo>
                      <a:pt x="204" y="13"/>
                      <a:pt x="204" y="14"/>
                      <a:pt x="204" y="14"/>
                    </a:cubicBezTo>
                    <a:cubicBezTo>
                      <a:pt x="204" y="14"/>
                      <a:pt x="204" y="14"/>
                      <a:pt x="205" y="14"/>
                    </a:cubicBezTo>
                    <a:cubicBezTo>
                      <a:pt x="205" y="14"/>
                      <a:pt x="205" y="15"/>
                      <a:pt x="205" y="15"/>
                    </a:cubicBezTo>
                    <a:cubicBezTo>
                      <a:pt x="206" y="15"/>
                      <a:pt x="206" y="15"/>
                      <a:pt x="207" y="15"/>
                    </a:cubicBezTo>
                    <a:cubicBezTo>
                      <a:pt x="207" y="15"/>
                      <a:pt x="208" y="15"/>
                      <a:pt x="208" y="15"/>
                    </a:cubicBezTo>
                    <a:cubicBezTo>
                      <a:pt x="208" y="15"/>
                      <a:pt x="209" y="15"/>
                      <a:pt x="209" y="15"/>
                    </a:cubicBezTo>
                    <a:cubicBezTo>
                      <a:pt x="209" y="15"/>
                      <a:pt x="209" y="14"/>
                      <a:pt x="209" y="14"/>
                    </a:cubicBezTo>
                    <a:cubicBezTo>
                      <a:pt x="210" y="14"/>
                      <a:pt x="210" y="14"/>
                      <a:pt x="210" y="14"/>
                    </a:cubicBezTo>
                    <a:cubicBezTo>
                      <a:pt x="211" y="15"/>
                      <a:pt x="211" y="16"/>
                      <a:pt x="210" y="16"/>
                    </a:cubicBezTo>
                    <a:cubicBezTo>
                      <a:pt x="209" y="16"/>
                      <a:pt x="209" y="16"/>
                      <a:pt x="209" y="16"/>
                    </a:cubicBezTo>
                    <a:cubicBezTo>
                      <a:pt x="208" y="16"/>
                      <a:pt x="209" y="17"/>
                      <a:pt x="208" y="17"/>
                    </a:cubicBezTo>
                    <a:cubicBezTo>
                      <a:pt x="208" y="17"/>
                      <a:pt x="208" y="18"/>
                      <a:pt x="208" y="18"/>
                    </a:cubicBezTo>
                    <a:cubicBezTo>
                      <a:pt x="208" y="18"/>
                      <a:pt x="208" y="19"/>
                      <a:pt x="208" y="19"/>
                    </a:cubicBezTo>
                    <a:cubicBezTo>
                      <a:pt x="209" y="19"/>
                      <a:pt x="209" y="19"/>
                      <a:pt x="210" y="20"/>
                    </a:cubicBezTo>
                    <a:cubicBezTo>
                      <a:pt x="210" y="20"/>
                      <a:pt x="210" y="21"/>
                      <a:pt x="211" y="20"/>
                    </a:cubicBezTo>
                    <a:cubicBezTo>
                      <a:pt x="211" y="20"/>
                      <a:pt x="211" y="19"/>
                      <a:pt x="211" y="19"/>
                    </a:cubicBezTo>
                    <a:cubicBezTo>
                      <a:pt x="212" y="19"/>
                      <a:pt x="211" y="19"/>
                      <a:pt x="212" y="19"/>
                    </a:cubicBezTo>
                    <a:cubicBezTo>
                      <a:pt x="212" y="19"/>
                      <a:pt x="212" y="19"/>
                      <a:pt x="213" y="19"/>
                    </a:cubicBezTo>
                    <a:cubicBezTo>
                      <a:pt x="213" y="19"/>
                      <a:pt x="213" y="18"/>
                      <a:pt x="214" y="18"/>
                    </a:cubicBezTo>
                    <a:cubicBezTo>
                      <a:pt x="214" y="19"/>
                      <a:pt x="215" y="19"/>
                      <a:pt x="215" y="19"/>
                    </a:cubicBezTo>
                    <a:cubicBezTo>
                      <a:pt x="216" y="19"/>
                      <a:pt x="216" y="19"/>
                      <a:pt x="216" y="19"/>
                    </a:cubicBezTo>
                    <a:cubicBezTo>
                      <a:pt x="217" y="19"/>
                      <a:pt x="217" y="20"/>
                      <a:pt x="218" y="20"/>
                    </a:cubicBezTo>
                    <a:cubicBezTo>
                      <a:pt x="219" y="21"/>
                      <a:pt x="218" y="18"/>
                      <a:pt x="218" y="18"/>
                    </a:cubicBezTo>
                    <a:cubicBezTo>
                      <a:pt x="218" y="18"/>
                      <a:pt x="219" y="18"/>
                      <a:pt x="219" y="18"/>
                    </a:cubicBezTo>
                    <a:cubicBezTo>
                      <a:pt x="219" y="17"/>
                      <a:pt x="219" y="17"/>
                      <a:pt x="219" y="17"/>
                    </a:cubicBezTo>
                    <a:cubicBezTo>
                      <a:pt x="220" y="17"/>
                      <a:pt x="220" y="17"/>
                      <a:pt x="220" y="17"/>
                    </a:cubicBezTo>
                    <a:cubicBezTo>
                      <a:pt x="220" y="17"/>
                      <a:pt x="220" y="17"/>
                      <a:pt x="220" y="17"/>
                    </a:cubicBezTo>
                    <a:cubicBezTo>
                      <a:pt x="220" y="16"/>
                      <a:pt x="221" y="17"/>
                      <a:pt x="222" y="17"/>
                    </a:cubicBezTo>
                    <a:cubicBezTo>
                      <a:pt x="223" y="16"/>
                      <a:pt x="224" y="15"/>
                      <a:pt x="224" y="15"/>
                    </a:cubicBezTo>
                    <a:cubicBezTo>
                      <a:pt x="224" y="15"/>
                      <a:pt x="224" y="14"/>
                      <a:pt x="224" y="14"/>
                    </a:cubicBezTo>
                    <a:cubicBezTo>
                      <a:pt x="224" y="13"/>
                      <a:pt x="225" y="14"/>
                      <a:pt x="225" y="14"/>
                    </a:cubicBezTo>
                    <a:cubicBezTo>
                      <a:pt x="226" y="14"/>
                      <a:pt x="227" y="13"/>
                      <a:pt x="228" y="13"/>
                    </a:cubicBezTo>
                    <a:cubicBezTo>
                      <a:pt x="229" y="12"/>
                      <a:pt x="229" y="12"/>
                      <a:pt x="229" y="11"/>
                    </a:cubicBezTo>
                    <a:cubicBezTo>
                      <a:pt x="229" y="11"/>
                      <a:pt x="230" y="11"/>
                      <a:pt x="230" y="11"/>
                    </a:cubicBezTo>
                    <a:cubicBezTo>
                      <a:pt x="231" y="11"/>
                      <a:pt x="232" y="11"/>
                      <a:pt x="232" y="11"/>
                    </a:cubicBezTo>
                    <a:cubicBezTo>
                      <a:pt x="233" y="11"/>
                      <a:pt x="232" y="10"/>
                      <a:pt x="233" y="10"/>
                    </a:cubicBezTo>
                    <a:cubicBezTo>
                      <a:pt x="233" y="10"/>
                      <a:pt x="234" y="10"/>
                      <a:pt x="234" y="10"/>
                    </a:cubicBezTo>
                    <a:cubicBezTo>
                      <a:pt x="234" y="10"/>
                      <a:pt x="233" y="11"/>
                      <a:pt x="234" y="11"/>
                    </a:cubicBezTo>
                    <a:cubicBezTo>
                      <a:pt x="235" y="11"/>
                      <a:pt x="235" y="12"/>
                      <a:pt x="234" y="13"/>
                    </a:cubicBezTo>
                    <a:cubicBezTo>
                      <a:pt x="234" y="13"/>
                      <a:pt x="233" y="13"/>
                      <a:pt x="233" y="13"/>
                    </a:cubicBezTo>
                    <a:cubicBezTo>
                      <a:pt x="233" y="13"/>
                      <a:pt x="231" y="13"/>
                      <a:pt x="232" y="13"/>
                    </a:cubicBezTo>
                    <a:cubicBezTo>
                      <a:pt x="232" y="14"/>
                      <a:pt x="233" y="15"/>
                      <a:pt x="234" y="16"/>
                    </a:cubicBezTo>
                    <a:cubicBezTo>
                      <a:pt x="237" y="17"/>
                      <a:pt x="240" y="18"/>
                      <a:pt x="243" y="20"/>
                    </a:cubicBezTo>
                    <a:cubicBezTo>
                      <a:pt x="246" y="21"/>
                      <a:pt x="248" y="22"/>
                      <a:pt x="250" y="24"/>
                    </a:cubicBezTo>
                    <a:cubicBezTo>
                      <a:pt x="252" y="26"/>
                      <a:pt x="255" y="28"/>
                      <a:pt x="257" y="30"/>
                    </a:cubicBezTo>
                    <a:cubicBezTo>
                      <a:pt x="260" y="32"/>
                      <a:pt x="262" y="35"/>
                      <a:pt x="264" y="37"/>
                    </a:cubicBezTo>
                    <a:cubicBezTo>
                      <a:pt x="265" y="38"/>
                      <a:pt x="266" y="39"/>
                      <a:pt x="267" y="40"/>
                    </a:cubicBezTo>
                    <a:cubicBezTo>
                      <a:pt x="268" y="41"/>
                      <a:pt x="270" y="42"/>
                      <a:pt x="271" y="43"/>
                    </a:cubicBezTo>
                    <a:cubicBezTo>
                      <a:pt x="272" y="44"/>
                      <a:pt x="273" y="45"/>
                      <a:pt x="274" y="46"/>
                    </a:cubicBezTo>
                    <a:cubicBezTo>
                      <a:pt x="275" y="47"/>
                      <a:pt x="276" y="49"/>
                      <a:pt x="277" y="49"/>
                    </a:cubicBezTo>
                    <a:cubicBezTo>
                      <a:pt x="277" y="49"/>
                      <a:pt x="276" y="48"/>
                      <a:pt x="276" y="48"/>
                    </a:cubicBezTo>
                    <a:cubicBezTo>
                      <a:pt x="276" y="48"/>
                      <a:pt x="276" y="48"/>
                      <a:pt x="277" y="48"/>
                    </a:cubicBezTo>
                    <a:cubicBezTo>
                      <a:pt x="277" y="48"/>
                      <a:pt x="277" y="48"/>
                      <a:pt x="277" y="48"/>
                    </a:cubicBezTo>
                    <a:cubicBezTo>
                      <a:pt x="278" y="47"/>
                      <a:pt x="278" y="47"/>
                      <a:pt x="279" y="47"/>
                    </a:cubicBezTo>
                    <a:cubicBezTo>
                      <a:pt x="280" y="47"/>
                      <a:pt x="279" y="46"/>
                      <a:pt x="278" y="45"/>
                    </a:cubicBezTo>
                    <a:cubicBezTo>
                      <a:pt x="278" y="45"/>
                      <a:pt x="278" y="44"/>
                      <a:pt x="278" y="44"/>
                    </a:cubicBezTo>
                    <a:cubicBezTo>
                      <a:pt x="278" y="44"/>
                      <a:pt x="279" y="44"/>
                      <a:pt x="279" y="44"/>
                    </a:cubicBezTo>
                    <a:cubicBezTo>
                      <a:pt x="279" y="44"/>
                      <a:pt x="279" y="43"/>
                      <a:pt x="279" y="43"/>
                    </a:cubicBezTo>
                    <a:cubicBezTo>
                      <a:pt x="280" y="43"/>
                      <a:pt x="280" y="43"/>
                      <a:pt x="281" y="43"/>
                    </a:cubicBezTo>
                    <a:cubicBezTo>
                      <a:pt x="281" y="43"/>
                      <a:pt x="282" y="43"/>
                      <a:pt x="282" y="44"/>
                    </a:cubicBezTo>
                    <a:cubicBezTo>
                      <a:pt x="282" y="44"/>
                      <a:pt x="283" y="45"/>
                      <a:pt x="284" y="44"/>
                    </a:cubicBezTo>
                    <a:cubicBezTo>
                      <a:pt x="284" y="43"/>
                      <a:pt x="284" y="46"/>
                      <a:pt x="284" y="46"/>
                    </a:cubicBezTo>
                    <a:cubicBezTo>
                      <a:pt x="284" y="48"/>
                      <a:pt x="286" y="46"/>
                      <a:pt x="287" y="47"/>
                    </a:cubicBezTo>
                    <a:cubicBezTo>
                      <a:pt x="287" y="47"/>
                      <a:pt x="288" y="47"/>
                      <a:pt x="288" y="48"/>
                    </a:cubicBezTo>
                    <a:cubicBezTo>
                      <a:pt x="288" y="48"/>
                      <a:pt x="288" y="49"/>
                      <a:pt x="288" y="49"/>
                    </a:cubicBezTo>
                    <a:cubicBezTo>
                      <a:pt x="289" y="49"/>
                      <a:pt x="290" y="49"/>
                      <a:pt x="290" y="49"/>
                    </a:cubicBezTo>
                    <a:cubicBezTo>
                      <a:pt x="291" y="49"/>
                      <a:pt x="291" y="48"/>
                      <a:pt x="291" y="49"/>
                    </a:cubicBezTo>
                    <a:cubicBezTo>
                      <a:pt x="292" y="49"/>
                      <a:pt x="293" y="49"/>
                      <a:pt x="293" y="49"/>
                    </a:cubicBezTo>
                    <a:cubicBezTo>
                      <a:pt x="294" y="49"/>
                      <a:pt x="295" y="50"/>
                      <a:pt x="295" y="49"/>
                    </a:cubicBezTo>
                    <a:cubicBezTo>
                      <a:pt x="296" y="48"/>
                      <a:pt x="297" y="49"/>
                      <a:pt x="298" y="49"/>
                    </a:cubicBezTo>
                    <a:cubicBezTo>
                      <a:pt x="298" y="49"/>
                      <a:pt x="299" y="48"/>
                      <a:pt x="298" y="48"/>
                    </a:cubicBezTo>
                    <a:cubicBezTo>
                      <a:pt x="298" y="47"/>
                      <a:pt x="299" y="47"/>
                      <a:pt x="299" y="47"/>
                    </a:cubicBezTo>
                    <a:cubicBezTo>
                      <a:pt x="300" y="47"/>
                      <a:pt x="300" y="48"/>
                      <a:pt x="301" y="47"/>
                    </a:cubicBezTo>
                    <a:cubicBezTo>
                      <a:pt x="302" y="47"/>
                      <a:pt x="301" y="46"/>
                      <a:pt x="302" y="46"/>
                    </a:cubicBezTo>
                    <a:cubicBezTo>
                      <a:pt x="303" y="46"/>
                      <a:pt x="303" y="46"/>
                      <a:pt x="304" y="46"/>
                    </a:cubicBezTo>
                    <a:cubicBezTo>
                      <a:pt x="305" y="46"/>
                      <a:pt x="306" y="47"/>
                      <a:pt x="306" y="47"/>
                    </a:cubicBezTo>
                    <a:cubicBezTo>
                      <a:pt x="307" y="48"/>
                      <a:pt x="309" y="48"/>
                      <a:pt x="309" y="49"/>
                    </a:cubicBezTo>
                    <a:cubicBezTo>
                      <a:pt x="310" y="50"/>
                      <a:pt x="311" y="50"/>
                      <a:pt x="311" y="50"/>
                    </a:cubicBezTo>
                    <a:cubicBezTo>
                      <a:pt x="312" y="50"/>
                      <a:pt x="312" y="51"/>
                      <a:pt x="312" y="51"/>
                    </a:cubicBezTo>
                    <a:cubicBezTo>
                      <a:pt x="313" y="52"/>
                      <a:pt x="312" y="52"/>
                      <a:pt x="313" y="52"/>
                    </a:cubicBezTo>
                    <a:cubicBezTo>
                      <a:pt x="313" y="52"/>
                      <a:pt x="313" y="53"/>
                      <a:pt x="313" y="53"/>
                    </a:cubicBezTo>
                    <a:cubicBezTo>
                      <a:pt x="314" y="53"/>
                      <a:pt x="314" y="54"/>
                      <a:pt x="315" y="54"/>
                    </a:cubicBezTo>
                    <a:cubicBezTo>
                      <a:pt x="315" y="55"/>
                      <a:pt x="315" y="54"/>
                      <a:pt x="316" y="54"/>
                    </a:cubicBezTo>
                    <a:cubicBezTo>
                      <a:pt x="316" y="54"/>
                      <a:pt x="316" y="54"/>
                      <a:pt x="316" y="55"/>
                    </a:cubicBezTo>
                    <a:cubicBezTo>
                      <a:pt x="317" y="55"/>
                      <a:pt x="317" y="55"/>
                      <a:pt x="318" y="55"/>
                    </a:cubicBezTo>
                    <a:cubicBezTo>
                      <a:pt x="318" y="55"/>
                      <a:pt x="318" y="55"/>
                      <a:pt x="318" y="55"/>
                    </a:cubicBezTo>
                    <a:cubicBezTo>
                      <a:pt x="319" y="55"/>
                      <a:pt x="319" y="55"/>
                      <a:pt x="319" y="55"/>
                    </a:cubicBezTo>
                    <a:cubicBezTo>
                      <a:pt x="320" y="56"/>
                      <a:pt x="321" y="56"/>
                      <a:pt x="321" y="56"/>
                    </a:cubicBezTo>
                    <a:cubicBezTo>
                      <a:pt x="322" y="57"/>
                      <a:pt x="321" y="56"/>
                      <a:pt x="321" y="57"/>
                    </a:cubicBezTo>
                    <a:cubicBezTo>
                      <a:pt x="321" y="58"/>
                      <a:pt x="323" y="58"/>
                      <a:pt x="323" y="59"/>
                    </a:cubicBezTo>
                    <a:cubicBezTo>
                      <a:pt x="323" y="59"/>
                      <a:pt x="324" y="59"/>
                      <a:pt x="324" y="60"/>
                    </a:cubicBezTo>
                    <a:cubicBezTo>
                      <a:pt x="325" y="60"/>
                      <a:pt x="325" y="60"/>
                      <a:pt x="325" y="61"/>
                    </a:cubicBezTo>
                    <a:cubicBezTo>
                      <a:pt x="325" y="61"/>
                      <a:pt x="326" y="61"/>
                      <a:pt x="326" y="61"/>
                    </a:cubicBezTo>
                    <a:cubicBezTo>
                      <a:pt x="326" y="61"/>
                      <a:pt x="327" y="61"/>
                      <a:pt x="327" y="61"/>
                    </a:cubicBezTo>
                    <a:cubicBezTo>
                      <a:pt x="328" y="61"/>
                      <a:pt x="328" y="61"/>
                      <a:pt x="328" y="61"/>
                    </a:cubicBezTo>
                    <a:cubicBezTo>
                      <a:pt x="328" y="61"/>
                      <a:pt x="329" y="61"/>
                      <a:pt x="329" y="61"/>
                    </a:cubicBezTo>
                    <a:cubicBezTo>
                      <a:pt x="329" y="61"/>
                      <a:pt x="330" y="61"/>
                      <a:pt x="330" y="62"/>
                    </a:cubicBezTo>
                    <a:cubicBezTo>
                      <a:pt x="331" y="62"/>
                      <a:pt x="331" y="61"/>
                      <a:pt x="331" y="61"/>
                    </a:cubicBezTo>
                    <a:cubicBezTo>
                      <a:pt x="332" y="62"/>
                      <a:pt x="331" y="62"/>
                      <a:pt x="332" y="62"/>
                    </a:cubicBezTo>
                    <a:cubicBezTo>
                      <a:pt x="332" y="63"/>
                      <a:pt x="332" y="62"/>
                      <a:pt x="333" y="62"/>
                    </a:cubicBezTo>
                    <a:cubicBezTo>
                      <a:pt x="333" y="62"/>
                      <a:pt x="334" y="63"/>
                      <a:pt x="334" y="62"/>
                    </a:cubicBezTo>
                    <a:cubicBezTo>
                      <a:pt x="334" y="61"/>
                      <a:pt x="335" y="61"/>
                      <a:pt x="335" y="60"/>
                    </a:cubicBezTo>
                    <a:cubicBezTo>
                      <a:pt x="335" y="60"/>
                      <a:pt x="335" y="60"/>
                      <a:pt x="336" y="60"/>
                    </a:cubicBezTo>
                    <a:cubicBezTo>
                      <a:pt x="336" y="59"/>
                      <a:pt x="336" y="59"/>
                      <a:pt x="336" y="59"/>
                    </a:cubicBezTo>
                    <a:cubicBezTo>
                      <a:pt x="337" y="59"/>
                      <a:pt x="337" y="59"/>
                      <a:pt x="337" y="59"/>
                    </a:cubicBezTo>
                    <a:cubicBezTo>
                      <a:pt x="337" y="59"/>
                      <a:pt x="337" y="60"/>
                      <a:pt x="338" y="60"/>
                    </a:cubicBezTo>
                    <a:cubicBezTo>
                      <a:pt x="338" y="60"/>
                      <a:pt x="336" y="61"/>
                      <a:pt x="337" y="61"/>
                    </a:cubicBezTo>
                    <a:cubicBezTo>
                      <a:pt x="338" y="62"/>
                      <a:pt x="339" y="61"/>
                      <a:pt x="339" y="62"/>
                    </a:cubicBezTo>
                    <a:cubicBezTo>
                      <a:pt x="339" y="62"/>
                      <a:pt x="339" y="63"/>
                      <a:pt x="340" y="63"/>
                    </a:cubicBezTo>
                    <a:cubicBezTo>
                      <a:pt x="340" y="63"/>
                      <a:pt x="340" y="63"/>
                      <a:pt x="340" y="63"/>
                    </a:cubicBezTo>
                    <a:cubicBezTo>
                      <a:pt x="341" y="64"/>
                      <a:pt x="340" y="63"/>
                      <a:pt x="341" y="64"/>
                    </a:cubicBezTo>
                    <a:cubicBezTo>
                      <a:pt x="341" y="65"/>
                      <a:pt x="342" y="65"/>
                      <a:pt x="343" y="65"/>
                    </a:cubicBezTo>
                    <a:cubicBezTo>
                      <a:pt x="344" y="65"/>
                      <a:pt x="345" y="66"/>
                      <a:pt x="345" y="67"/>
                    </a:cubicBezTo>
                    <a:close/>
                    <a:moveTo>
                      <a:pt x="132" y="94"/>
                    </a:moveTo>
                    <a:cubicBezTo>
                      <a:pt x="132" y="94"/>
                      <a:pt x="132" y="95"/>
                      <a:pt x="132" y="95"/>
                    </a:cubicBezTo>
                    <a:cubicBezTo>
                      <a:pt x="132" y="95"/>
                      <a:pt x="131" y="96"/>
                      <a:pt x="131" y="96"/>
                    </a:cubicBezTo>
                    <a:cubicBezTo>
                      <a:pt x="130" y="96"/>
                      <a:pt x="130" y="95"/>
                      <a:pt x="130" y="95"/>
                    </a:cubicBezTo>
                    <a:cubicBezTo>
                      <a:pt x="130" y="95"/>
                      <a:pt x="129" y="95"/>
                      <a:pt x="129" y="95"/>
                    </a:cubicBezTo>
                    <a:cubicBezTo>
                      <a:pt x="128" y="95"/>
                      <a:pt x="127" y="95"/>
                      <a:pt x="127" y="94"/>
                    </a:cubicBezTo>
                    <a:cubicBezTo>
                      <a:pt x="127" y="94"/>
                      <a:pt x="127" y="93"/>
                      <a:pt x="127" y="93"/>
                    </a:cubicBezTo>
                    <a:cubicBezTo>
                      <a:pt x="127" y="92"/>
                      <a:pt x="126" y="92"/>
                      <a:pt x="126" y="92"/>
                    </a:cubicBezTo>
                    <a:cubicBezTo>
                      <a:pt x="126" y="92"/>
                      <a:pt x="125" y="92"/>
                      <a:pt x="125" y="92"/>
                    </a:cubicBezTo>
                    <a:cubicBezTo>
                      <a:pt x="125" y="92"/>
                      <a:pt x="125" y="92"/>
                      <a:pt x="125" y="93"/>
                    </a:cubicBezTo>
                    <a:cubicBezTo>
                      <a:pt x="125" y="93"/>
                      <a:pt x="127" y="93"/>
                      <a:pt x="127" y="93"/>
                    </a:cubicBezTo>
                    <a:cubicBezTo>
                      <a:pt x="127" y="94"/>
                      <a:pt x="126" y="94"/>
                      <a:pt x="126" y="94"/>
                    </a:cubicBezTo>
                    <a:cubicBezTo>
                      <a:pt x="125" y="94"/>
                      <a:pt x="125" y="94"/>
                      <a:pt x="124" y="94"/>
                    </a:cubicBezTo>
                    <a:cubicBezTo>
                      <a:pt x="125" y="94"/>
                      <a:pt x="124" y="95"/>
                      <a:pt x="124" y="95"/>
                    </a:cubicBezTo>
                    <a:cubicBezTo>
                      <a:pt x="124" y="95"/>
                      <a:pt x="124" y="93"/>
                      <a:pt x="123" y="93"/>
                    </a:cubicBezTo>
                    <a:cubicBezTo>
                      <a:pt x="122" y="93"/>
                      <a:pt x="122" y="93"/>
                      <a:pt x="122" y="93"/>
                    </a:cubicBezTo>
                    <a:cubicBezTo>
                      <a:pt x="121" y="94"/>
                      <a:pt x="121" y="94"/>
                      <a:pt x="121" y="94"/>
                    </a:cubicBezTo>
                    <a:cubicBezTo>
                      <a:pt x="120" y="95"/>
                      <a:pt x="121" y="96"/>
                      <a:pt x="122" y="96"/>
                    </a:cubicBezTo>
                    <a:cubicBezTo>
                      <a:pt x="123" y="96"/>
                      <a:pt x="124" y="96"/>
                      <a:pt x="124" y="96"/>
                    </a:cubicBezTo>
                    <a:cubicBezTo>
                      <a:pt x="124" y="96"/>
                      <a:pt x="124" y="96"/>
                      <a:pt x="124" y="96"/>
                    </a:cubicBezTo>
                    <a:cubicBezTo>
                      <a:pt x="125" y="96"/>
                      <a:pt x="125" y="97"/>
                      <a:pt x="126" y="97"/>
                    </a:cubicBezTo>
                    <a:cubicBezTo>
                      <a:pt x="126" y="97"/>
                      <a:pt x="127" y="96"/>
                      <a:pt x="127" y="96"/>
                    </a:cubicBezTo>
                    <a:cubicBezTo>
                      <a:pt x="127" y="96"/>
                      <a:pt x="127" y="96"/>
                      <a:pt x="127" y="96"/>
                    </a:cubicBezTo>
                    <a:cubicBezTo>
                      <a:pt x="128" y="96"/>
                      <a:pt x="128" y="97"/>
                      <a:pt x="128" y="97"/>
                    </a:cubicBezTo>
                    <a:cubicBezTo>
                      <a:pt x="129" y="98"/>
                      <a:pt x="129" y="98"/>
                      <a:pt x="129" y="99"/>
                    </a:cubicBezTo>
                    <a:cubicBezTo>
                      <a:pt x="129" y="98"/>
                      <a:pt x="129" y="98"/>
                      <a:pt x="129" y="98"/>
                    </a:cubicBezTo>
                    <a:cubicBezTo>
                      <a:pt x="130" y="99"/>
                      <a:pt x="131" y="98"/>
                      <a:pt x="131" y="98"/>
                    </a:cubicBezTo>
                    <a:cubicBezTo>
                      <a:pt x="131" y="98"/>
                      <a:pt x="132" y="98"/>
                      <a:pt x="132" y="97"/>
                    </a:cubicBezTo>
                    <a:cubicBezTo>
                      <a:pt x="132" y="97"/>
                      <a:pt x="132" y="96"/>
                      <a:pt x="132" y="96"/>
                    </a:cubicBezTo>
                    <a:cubicBezTo>
                      <a:pt x="132" y="96"/>
                      <a:pt x="132" y="95"/>
                      <a:pt x="132" y="95"/>
                    </a:cubicBezTo>
                    <a:cubicBezTo>
                      <a:pt x="132" y="95"/>
                      <a:pt x="132" y="95"/>
                      <a:pt x="132" y="94"/>
                    </a:cubicBezTo>
                    <a:close/>
                    <a:moveTo>
                      <a:pt x="285" y="91"/>
                    </a:moveTo>
                    <a:cubicBezTo>
                      <a:pt x="284" y="91"/>
                      <a:pt x="284" y="91"/>
                      <a:pt x="283" y="91"/>
                    </a:cubicBezTo>
                    <a:cubicBezTo>
                      <a:pt x="283" y="91"/>
                      <a:pt x="284" y="92"/>
                      <a:pt x="284" y="92"/>
                    </a:cubicBezTo>
                    <a:cubicBezTo>
                      <a:pt x="283" y="92"/>
                      <a:pt x="283" y="91"/>
                      <a:pt x="282" y="91"/>
                    </a:cubicBezTo>
                    <a:cubicBezTo>
                      <a:pt x="282" y="91"/>
                      <a:pt x="281" y="91"/>
                      <a:pt x="282" y="92"/>
                    </a:cubicBezTo>
                    <a:cubicBezTo>
                      <a:pt x="282" y="92"/>
                      <a:pt x="284" y="93"/>
                      <a:pt x="283" y="93"/>
                    </a:cubicBezTo>
                    <a:cubicBezTo>
                      <a:pt x="282" y="93"/>
                      <a:pt x="282" y="93"/>
                      <a:pt x="282" y="93"/>
                    </a:cubicBezTo>
                    <a:cubicBezTo>
                      <a:pt x="282" y="92"/>
                      <a:pt x="281" y="92"/>
                      <a:pt x="281" y="92"/>
                    </a:cubicBezTo>
                    <a:cubicBezTo>
                      <a:pt x="280" y="92"/>
                      <a:pt x="280" y="92"/>
                      <a:pt x="280" y="92"/>
                    </a:cubicBezTo>
                    <a:cubicBezTo>
                      <a:pt x="279" y="92"/>
                      <a:pt x="280" y="93"/>
                      <a:pt x="279" y="93"/>
                    </a:cubicBezTo>
                    <a:cubicBezTo>
                      <a:pt x="279" y="93"/>
                      <a:pt x="279" y="93"/>
                      <a:pt x="279" y="93"/>
                    </a:cubicBezTo>
                    <a:cubicBezTo>
                      <a:pt x="279" y="92"/>
                      <a:pt x="279" y="93"/>
                      <a:pt x="279" y="93"/>
                    </a:cubicBezTo>
                    <a:cubicBezTo>
                      <a:pt x="279" y="93"/>
                      <a:pt x="278" y="92"/>
                      <a:pt x="278" y="92"/>
                    </a:cubicBezTo>
                    <a:cubicBezTo>
                      <a:pt x="278" y="93"/>
                      <a:pt x="279" y="94"/>
                      <a:pt x="279" y="94"/>
                    </a:cubicBezTo>
                    <a:cubicBezTo>
                      <a:pt x="279" y="94"/>
                      <a:pt x="279" y="95"/>
                      <a:pt x="279" y="95"/>
                    </a:cubicBezTo>
                    <a:cubicBezTo>
                      <a:pt x="278" y="95"/>
                      <a:pt x="277" y="93"/>
                      <a:pt x="276" y="93"/>
                    </a:cubicBezTo>
                    <a:cubicBezTo>
                      <a:pt x="276" y="94"/>
                      <a:pt x="275" y="93"/>
                      <a:pt x="274" y="93"/>
                    </a:cubicBezTo>
                    <a:cubicBezTo>
                      <a:pt x="274" y="93"/>
                      <a:pt x="273" y="93"/>
                      <a:pt x="272" y="93"/>
                    </a:cubicBezTo>
                    <a:cubicBezTo>
                      <a:pt x="272" y="93"/>
                      <a:pt x="272" y="93"/>
                      <a:pt x="272" y="93"/>
                    </a:cubicBezTo>
                    <a:cubicBezTo>
                      <a:pt x="271" y="93"/>
                      <a:pt x="271" y="93"/>
                      <a:pt x="270" y="93"/>
                    </a:cubicBezTo>
                    <a:cubicBezTo>
                      <a:pt x="270" y="93"/>
                      <a:pt x="269" y="93"/>
                      <a:pt x="269" y="93"/>
                    </a:cubicBezTo>
                    <a:cubicBezTo>
                      <a:pt x="269" y="94"/>
                      <a:pt x="269" y="94"/>
                      <a:pt x="268" y="94"/>
                    </a:cubicBezTo>
                    <a:cubicBezTo>
                      <a:pt x="267" y="94"/>
                      <a:pt x="267" y="93"/>
                      <a:pt x="266" y="93"/>
                    </a:cubicBezTo>
                    <a:cubicBezTo>
                      <a:pt x="266" y="93"/>
                      <a:pt x="266" y="93"/>
                      <a:pt x="266" y="93"/>
                    </a:cubicBezTo>
                    <a:cubicBezTo>
                      <a:pt x="266" y="93"/>
                      <a:pt x="265" y="92"/>
                      <a:pt x="265" y="92"/>
                    </a:cubicBezTo>
                    <a:cubicBezTo>
                      <a:pt x="265" y="93"/>
                      <a:pt x="266" y="94"/>
                      <a:pt x="266" y="94"/>
                    </a:cubicBezTo>
                    <a:cubicBezTo>
                      <a:pt x="266" y="94"/>
                      <a:pt x="265" y="93"/>
                      <a:pt x="265" y="93"/>
                    </a:cubicBezTo>
                    <a:cubicBezTo>
                      <a:pt x="264" y="93"/>
                      <a:pt x="264" y="93"/>
                      <a:pt x="264" y="92"/>
                    </a:cubicBezTo>
                    <a:cubicBezTo>
                      <a:pt x="264" y="92"/>
                      <a:pt x="262" y="93"/>
                      <a:pt x="262" y="93"/>
                    </a:cubicBezTo>
                    <a:cubicBezTo>
                      <a:pt x="262" y="93"/>
                      <a:pt x="261" y="93"/>
                      <a:pt x="261" y="93"/>
                    </a:cubicBezTo>
                    <a:cubicBezTo>
                      <a:pt x="261" y="93"/>
                      <a:pt x="261" y="93"/>
                      <a:pt x="261" y="93"/>
                    </a:cubicBezTo>
                    <a:cubicBezTo>
                      <a:pt x="261" y="92"/>
                      <a:pt x="259" y="91"/>
                      <a:pt x="258" y="91"/>
                    </a:cubicBezTo>
                    <a:cubicBezTo>
                      <a:pt x="258" y="91"/>
                      <a:pt x="258" y="91"/>
                      <a:pt x="258" y="91"/>
                    </a:cubicBezTo>
                    <a:cubicBezTo>
                      <a:pt x="258" y="91"/>
                      <a:pt x="258" y="92"/>
                      <a:pt x="257" y="91"/>
                    </a:cubicBezTo>
                    <a:cubicBezTo>
                      <a:pt x="257" y="91"/>
                      <a:pt x="257" y="91"/>
                      <a:pt x="256" y="91"/>
                    </a:cubicBezTo>
                    <a:cubicBezTo>
                      <a:pt x="256" y="91"/>
                      <a:pt x="255" y="91"/>
                      <a:pt x="255" y="91"/>
                    </a:cubicBezTo>
                    <a:cubicBezTo>
                      <a:pt x="254" y="91"/>
                      <a:pt x="254" y="92"/>
                      <a:pt x="253" y="92"/>
                    </a:cubicBezTo>
                    <a:cubicBezTo>
                      <a:pt x="252" y="92"/>
                      <a:pt x="251" y="92"/>
                      <a:pt x="251" y="92"/>
                    </a:cubicBezTo>
                    <a:cubicBezTo>
                      <a:pt x="250" y="92"/>
                      <a:pt x="250" y="91"/>
                      <a:pt x="250" y="91"/>
                    </a:cubicBezTo>
                    <a:cubicBezTo>
                      <a:pt x="250" y="91"/>
                      <a:pt x="250" y="91"/>
                      <a:pt x="249" y="91"/>
                    </a:cubicBezTo>
                    <a:cubicBezTo>
                      <a:pt x="249" y="91"/>
                      <a:pt x="249" y="91"/>
                      <a:pt x="249" y="91"/>
                    </a:cubicBezTo>
                    <a:cubicBezTo>
                      <a:pt x="249" y="91"/>
                      <a:pt x="249" y="91"/>
                      <a:pt x="248" y="91"/>
                    </a:cubicBezTo>
                    <a:cubicBezTo>
                      <a:pt x="248" y="91"/>
                      <a:pt x="248" y="91"/>
                      <a:pt x="248" y="91"/>
                    </a:cubicBezTo>
                    <a:cubicBezTo>
                      <a:pt x="248" y="92"/>
                      <a:pt x="246" y="91"/>
                      <a:pt x="246" y="92"/>
                    </a:cubicBezTo>
                    <a:cubicBezTo>
                      <a:pt x="246" y="92"/>
                      <a:pt x="245" y="92"/>
                      <a:pt x="245" y="92"/>
                    </a:cubicBezTo>
                    <a:cubicBezTo>
                      <a:pt x="245" y="92"/>
                      <a:pt x="246" y="93"/>
                      <a:pt x="245" y="93"/>
                    </a:cubicBezTo>
                    <a:cubicBezTo>
                      <a:pt x="245" y="93"/>
                      <a:pt x="245" y="93"/>
                      <a:pt x="245" y="94"/>
                    </a:cubicBezTo>
                    <a:cubicBezTo>
                      <a:pt x="245" y="94"/>
                      <a:pt x="244" y="94"/>
                      <a:pt x="244" y="95"/>
                    </a:cubicBezTo>
                    <a:cubicBezTo>
                      <a:pt x="244" y="95"/>
                      <a:pt x="243" y="95"/>
                      <a:pt x="243" y="95"/>
                    </a:cubicBezTo>
                    <a:cubicBezTo>
                      <a:pt x="242" y="95"/>
                      <a:pt x="242" y="95"/>
                      <a:pt x="242" y="96"/>
                    </a:cubicBezTo>
                    <a:cubicBezTo>
                      <a:pt x="242" y="96"/>
                      <a:pt x="241" y="97"/>
                      <a:pt x="242" y="97"/>
                    </a:cubicBezTo>
                    <a:cubicBezTo>
                      <a:pt x="242" y="97"/>
                      <a:pt x="242" y="97"/>
                      <a:pt x="243" y="97"/>
                    </a:cubicBezTo>
                    <a:cubicBezTo>
                      <a:pt x="242" y="98"/>
                      <a:pt x="241" y="97"/>
                      <a:pt x="241" y="98"/>
                    </a:cubicBezTo>
                    <a:cubicBezTo>
                      <a:pt x="240" y="98"/>
                      <a:pt x="240" y="97"/>
                      <a:pt x="239" y="98"/>
                    </a:cubicBezTo>
                    <a:cubicBezTo>
                      <a:pt x="239" y="99"/>
                      <a:pt x="240" y="99"/>
                      <a:pt x="241" y="100"/>
                    </a:cubicBezTo>
                    <a:cubicBezTo>
                      <a:pt x="241" y="100"/>
                      <a:pt x="240" y="100"/>
                      <a:pt x="240" y="100"/>
                    </a:cubicBezTo>
                    <a:cubicBezTo>
                      <a:pt x="240" y="100"/>
                      <a:pt x="240" y="101"/>
                      <a:pt x="240" y="101"/>
                    </a:cubicBezTo>
                    <a:cubicBezTo>
                      <a:pt x="240" y="101"/>
                      <a:pt x="240" y="102"/>
                      <a:pt x="239" y="102"/>
                    </a:cubicBezTo>
                    <a:cubicBezTo>
                      <a:pt x="239" y="101"/>
                      <a:pt x="238" y="102"/>
                      <a:pt x="239" y="102"/>
                    </a:cubicBezTo>
                    <a:cubicBezTo>
                      <a:pt x="239" y="102"/>
                      <a:pt x="240" y="102"/>
                      <a:pt x="240" y="103"/>
                    </a:cubicBezTo>
                    <a:cubicBezTo>
                      <a:pt x="240" y="103"/>
                      <a:pt x="240" y="104"/>
                      <a:pt x="239" y="103"/>
                    </a:cubicBezTo>
                    <a:cubicBezTo>
                      <a:pt x="239" y="103"/>
                      <a:pt x="239" y="104"/>
                      <a:pt x="240" y="104"/>
                    </a:cubicBezTo>
                    <a:cubicBezTo>
                      <a:pt x="240" y="105"/>
                      <a:pt x="241" y="105"/>
                      <a:pt x="241" y="105"/>
                    </a:cubicBezTo>
                    <a:cubicBezTo>
                      <a:pt x="242" y="106"/>
                      <a:pt x="242" y="106"/>
                      <a:pt x="243" y="107"/>
                    </a:cubicBezTo>
                    <a:cubicBezTo>
                      <a:pt x="243" y="107"/>
                      <a:pt x="243" y="107"/>
                      <a:pt x="243" y="107"/>
                    </a:cubicBezTo>
                    <a:cubicBezTo>
                      <a:pt x="244" y="107"/>
                      <a:pt x="244" y="108"/>
                      <a:pt x="244" y="108"/>
                    </a:cubicBezTo>
                    <a:cubicBezTo>
                      <a:pt x="244" y="108"/>
                      <a:pt x="245" y="108"/>
                      <a:pt x="245" y="108"/>
                    </a:cubicBezTo>
                    <a:cubicBezTo>
                      <a:pt x="245" y="108"/>
                      <a:pt x="246" y="108"/>
                      <a:pt x="246" y="108"/>
                    </a:cubicBezTo>
                    <a:cubicBezTo>
                      <a:pt x="246" y="108"/>
                      <a:pt x="246" y="109"/>
                      <a:pt x="246" y="109"/>
                    </a:cubicBezTo>
                    <a:cubicBezTo>
                      <a:pt x="245" y="109"/>
                      <a:pt x="246" y="110"/>
                      <a:pt x="246" y="110"/>
                    </a:cubicBezTo>
                    <a:cubicBezTo>
                      <a:pt x="246" y="110"/>
                      <a:pt x="246" y="110"/>
                      <a:pt x="246" y="110"/>
                    </a:cubicBezTo>
                    <a:cubicBezTo>
                      <a:pt x="246" y="111"/>
                      <a:pt x="247" y="111"/>
                      <a:pt x="248" y="111"/>
                    </a:cubicBezTo>
                    <a:cubicBezTo>
                      <a:pt x="247" y="110"/>
                      <a:pt x="247" y="110"/>
                      <a:pt x="247" y="110"/>
                    </a:cubicBezTo>
                    <a:cubicBezTo>
                      <a:pt x="246" y="110"/>
                      <a:pt x="247" y="110"/>
                      <a:pt x="247" y="110"/>
                    </a:cubicBezTo>
                    <a:cubicBezTo>
                      <a:pt x="248" y="109"/>
                      <a:pt x="247" y="108"/>
                      <a:pt x="247" y="108"/>
                    </a:cubicBezTo>
                    <a:cubicBezTo>
                      <a:pt x="247" y="107"/>
                      <a:pt x="247" y="107"/>
                      <a:pt x="246" y="107"/>
                    </a:cubicBezTo>
                    <a:cubicBezTo>
                      <a:pt x="246" y="107"/>
                      <a:pt x="246" y="107"/>
                      <a:pt x="246" y="106"/>
                    </a:cubicBezTo>
                    <a:cubicBezTo>
                      <a:pt x="246" y="106"/>
                      <a:pt x="246" y="105"/>
                      <a:pt x="245" y="105"/>
                    </a:cubicBezTo>
                    <a:cubicBezTo>
                      <a:pt x="245" y="105"/>
                      <a:pt x="245" y="105"/>
                      <a:pt x="245" y="105"/>
                    </a:cubicBezTo>
                    <a:cubicBezTo>
                      <a:pt x="245" y="104"/>
                      <a:pt x="247" y="104"/>
                      <a:pt x="246" y="103"/>
                    </a:cubicBezTo>
                    <a:cubicBezTo>
                      <a:pt x="246" y="103"/>
                      <a:pt x="247" y="103"/>
                      <a:pt x="247" y="103"/>
                    </a:cubicBezTo>
                    <a:cubicBezTo>
                      <a:pt x="247" y="103"/>
                      <a:pt x="247" y="103"/>
                      <a:pt x="247" y="103"/>
                    </a:cubicBezTo>
                    <a:cubicBezTo>
                      <a:pt x="246" y="103"/>
                      <a:pt x="246" y="103"/>
                      <a:pt x="246" y="103"/>
                    </a:cubicBezTo>
                    <a:cubicBezTo>
                      <a:pt x="246" y="102"/>
                      <a:pt x="246" y="102"/>
                      <a:pt x="246" y="102"/>
                    </a:cubicBezTo>
                    <a:cubicBezTo>
                      <a:pt x="247" y="101"/>
                      <a:pt x="245" y="101"/>
                      <a:pt x="245" y="100"/>
                    </a:cubicBezTo>
                    <a:cubicBezTo>
                      <a:pt x="245" y="99"/>
                      <a:pt x="247" y="99"/>
                      <a:pt x="247" y="99"/>
                    </a:cubicBezTo>
                    <a:cubicBezTo>
                      <a:pt x="248" y="100"/>
                      <a:pt x="248" y="100"/>
                      <a:pt x="248" y="99"/>
                    </a:cubicBezTo>
                    <a:cubicBezTo>
                      <a:pt x="249" y="98"/>
                      <a:pt x="250" y="99"/>
                      <a:pt x="249" y="98"/>
                    </a:cubicBezTo>
                    <a:cubicBezTo>
                      <a:pt x="249" y="97"/>
                      <a:pt x="249" y="96"/>
                      <a:pt x="249" y="96"/>
                    </a:cubicBezTo>
                    <a:cubicBezTo>
                      <a:pt x="249" y="95"/>
                      <a:pt x="250" y="96"/>
                      <a:pt x="251" y="95"/>
                    </a:cubicBezTo>
                    <a:cubicBezTo>
                      <a:pt x="251" y="95"/>
                      <a:pt x="251" y="95"/>
                      <a:pt x="251" y="95"/>
                    </a:cubicBezTo>
                    <a:cubicBezTo>
                      <a:pt x="251" y="95"/>
                      <a:pt x="251" y="94"/>
                      <a:pt x="251" y="94"/>
                    </a:cubicBezTo>
                    <a:cubicBezTo>
                      <a:pt x="251" y="95"/>
                      <a:pt x="251" y="95"/>
                      <a:pt x="251" y="95"/>
                    </a:cubicBezTo>
                    <a:cubicBezTo>
                      <a:pt x="252" y="95"/>
                      <a:pt x="252" y="95"/>
                      <a:pt x="252" y="94"/>
                    </a:cubicBezTo>
                    <a:cubicBezTo>
                      <a:pt x="252" y="94"/>
                      <a:pt x="252" y="94"/>
                      <a:pt x="253" y="94"/>
                    </a:cubicBezTo>
                    <a:cubicBezTo>
                      <a:pt x="253" y="94"/>
                      <a:pt x="253" y="94"/>
                      <a:pt x="253" y="95"/>
                    </a:cubicBezTo>
                    <a:cubicBezTo>
                      <a:pt x="253" y="95"/>
                      <a:pt x="254" y="95"/>
                      <a:pt x="254" y="94"/>
                    </a:cubicBezTo>
                    <a:cubicBezTo>
                      <a:pt x="254" y="94"/>
                      <a:pt x="253" y="94"/>
                      <a:pt x="253" y="93"/>
                    </a:cubicBezTo>
                    <a:cubicBezTo>
                      <a:pt x="253" y="92"/>
                      <a:pt x="255" y="93"/>
                      <a:pt x="254" y="93"/>
                    </a:cubicBezTo>
                    <a:cubicBezTo>
                      <a:pt x="254" y="93"/>
                      <a:pt x="253" y="92"/>
                      <a:pt x="254" y="93"/>
                    </a:cubicBezTo>
                    <a:cubicBezTo>
                      <a:pt x="254" y="93"/>
                      <a:pt x="255" y="94"/>
                      <a:pt x="255" y="95"/>
                    </a:cubicBezTo>
                    <a:cubicBezTo>
                      <a:pt x="255" y="95"/>
                      <a:pt x="255" y="95"/>
                      <a:pt x="256" y="95"/>
                    </a:cubicBezTo>
                    <a:cubicBezTo>
                      <a:pt x="256" y="95"/>
                      <a:pt x="256" y="94"/>
                      <a:pt x="256" y="94"/>
                    </a:cubicBezTo>
                    <a:cubicBezTo>
                      <a:pt x="256" y="94"/>
                      <a:pt x="256" y="94"/>
                      <a:pt x="256" y="94"/>
                    </a:cubicBezTo>
                    <a:cubicBezTo>
                      <a:pt x="257" y="94"/>
                      <a:pt x="257" y="94"/>
                      <a:pt x="258" y="94"/>
                    </a:cubicBezTo>
                    <a:cubicBezTo>
                      <a:pt x="258" y="94"/>
                      <a:pt x="258" y="94"/>
                      <a:pt x="258" y="94"/>
                    </a:cubicBezTo>
                    <a:cubicBezTo>
                      <a:pt x="258" y="94"/>
                      <a:pt x="259" y="94"/>
                      <a:pt x="259" y="94"/>
                    </a:cubicBezTo>
                    <a:cubicBezTo>
                      <a:pt x="259" y="94"/>
                      <a:pt x="260" y="94"/>
                      <a:pt x="260" y="94"/>
                    </a:cubicBezTo>
                    <a:cubicBezTo>
                      <a:pt x="260" y="94"/>
                      <a:pt x="261" y="94"/>
                      <a:pt x="261" y="94"/>
                    </a:cubicBezTo>
                    <a:cubicBezTo>
                      <a:pt x="261" y="93"/>
                      <a:pt x="261" y="94"/>
                      <a:pt x="262" y="94"/>
                    </a:cubicBezTo>
                    <a:cubicBezTo>
                      <a:pt x="263" y="94"/>
                      <a:pt x="264" y="94"/>
                      <a:pt x="264" y="94"/>
                    </a:cubicBezTo>
                    <a:cubicBezTo>
                      <a:pt x="265" y="94"/>
                      <a:pt x="265" y="94"/>
                      <a:pt x="266" y="95"/>
                    </a:cubicBezTo>
                    <a:cubicBezTo>
                      <a:pt x="266" y="95"/>
                      <a:pt x="267" y="95"/>
                      <a:pt x="267" y="95"/>
                    </a:cubicBezTo>
                    <a:cubicBezTo>
                      <a:pt x="268" y="95"/>
                      <a:pt x="268" y="95"/>
                      <a:pt x="269" y="95"/>
                    </a:cubicBezTo>
                    <a:cubicBezTo>
                      <a:pt x="269" y="95"/>
                      <a:pt x="270" y="95"/>
                      <a:pt x="270" y="94"/>
                    </a:cubicBezTo>
                    <a:cubicBezTo>
                      <a:pt x="271" y="94"/>
                      <a:pt x="271" y="95"/>
                      <a:pt x="272" y="95"/>
                    </a:cubicBezTo>
                    <a:cubicBezTo>
                      <a:pt x="272" y="95"/>
                      <a:pt x="273" y="95"/>
                      <a:pt x="274" y="95"/>
                    </a:cubicBezTo>
                    <a:cubicBezTo>
                      <a:pt x="274" y="95"/>
                      <a:pt x="274" y="96"/>
                      <a:pt x="274" y="96"/>
                    </a:cubicBezTo>
                    <a:cubicBezTo>
                      <a:pt x="274" y="96"/>
                      <a:pt x="274" y="95"/>
                      <a:pt x="275" y="95"/>
                    </a:cubicBezTo>
                    <a:cubicBezTo>
                      <a:pt x="274" y="95"/>
                      <a:pt x="274" y="95"/>
                      <a:pt x="274" y="95"/>
                    </a:cubicBezTo>
                    <a:cubicBezTo>
                      <a:pt x="275" y="95"/>
                      <a:pt x="276" y="97"/>
                      <a:pt x="278" y="96"/>
                    </a:cubicBezTo>
                    <a:cubicBezTo>
                      <a:pt x="278" y="96"/>
                      <a:pt x="278" y="96"/>
                      <a:pt x="277" y="96"/>
                    </a:cubicBezTo>
                    <a:cubicBezTo>
                      <a:pt x="278" y="96"/>
                      <a:pt x="278" y="96"/>
                      <a:pt x="279" y="96"/>
                    </a:cubicBezTo>
                    <a:cubicBezTo>
                      <a:pt x="279" y="96"/>
                      <a:pt x="279" y="96"/>
                      <a:pt x="279" y="96"/>
                    </a:cubicBezTo>
                    <a:cubicBezTo>
                      <a:pt x="280" y="96"/>
                      <a:pt x="280" y="97"/>
                      <a:pt x="280" y="97"/>
                    </a:cubicBezTo>
                    <a:cubicBezTo>
                      <a:pt x="281" y="97"/>
                      <a:pt x="280" y="96"/>
                      <a:pt x="280" y="96"/>
                    </a:cubicBezTo>
                    <a:cubicBezTo>
                      <a:pt x="280" y="95"/>
                      <a:pt x="280" y="95"/>
                      <a:pt x="281" y="96"/>
                    </a:cubicBezTo>
                    <a:cubicBezTo>
                      <a:pt x="281" y="96"/>
                      <a:pt x="282" y="96"/>
                      <a:pt x="282" y="96"/>
                    </a:cubicBezTo>
                    <a:cubicBezTo>
                      <a:pt x="283" y="96"/>
                      <a:pt x="284" y="96"/>
                      <a:pt x="284" y="96"/>
                    </a:cubicBezTo>
                    <a:cubicBezTo>
                      <a:pt x="285" y="96"/>
                      <a:pt x="285" y="95"/>
                      <a:pt x="285" y="94"/>
                    </a:cubicBezTo>
                    <a:cubicBezTo>
                      <a:pt x="285" y="93"/>
                      <a:pt x="286" y="94"/>
                      <a:pt x="286" y="93"/>
                    </a:cubicBezTo>
                    <a:cubicBezTo>
                      <a:pt x="286" y="92"/>
                      <a:pt x="285" y="91"/>
                      <a:pt x="285" y="9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1" name="Juan de Nova Island (Fr)">
                <a:extLst>
                  <a:ext uri="{FF2B5EF4-FFF2-40B4-BE49-F238E27FC236}">
                    <a16:creationId xmlns:a16="http://schemas.microsoft.com/office/drawing/2014/main" id="{5FD25928-E241-DE24-7E6A-CF3A28BBB67B}"/>
                  </a:ext>
                </a:extLst>
              </p:cNvPr>
              <p:cNvSpPr>
                <a:spLocks/>
              </p:cNvSpPr>
              <p:nvPr/>
            </p:nvSpPr>
            <p:spPr bwMode="auto">
              <a:xfrm>
                <a:off x="7149288" y="4710862"/>
                <a:ext cx="980" cy="98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2" name="Jordan">
                <a:extLst>
                  <a:ext uri="{FF2B5EF4-FFF2-40B4-BE49-F238E27FC236}">
                    <a16:creationId xmlns:a16="http://schemas.microsoft.com/office/drawing/2014/main" id="{6CC3A4BB-8B16-DE7D-2ADD-402AAA6CE6CA}"/>
                  </a:ext>
                </a:extLst>
              </p:cNvPr>
              <p:cNvSpPr>
                <a:spLocks/>
              </p:cNvSpPr>
              <p:nvPr/>
            </p:nvSpPr>
            <p:spPr bwMode="auto">
              <a:xfrm>
                <a:off x="6862099" y="2742692"/>
                <a:ext cx="138203" cy="166628"/>
              </a:xfrm>
              <a:custGeom>
                <a:avLst/>
                <a:gdLst/>
                <a:ahLst/>
                <a:cxnLst>
                  <a:cxn ang="0">
                    <a:pos x="38" y="12"/>
                  </a:cxn>
                  <a:cxn ang="0">
                    <a:pos x="36" y="12"/>
                  </a:cxn>
                  <a:cxn ang="0">
                    <a:pos x="36" y="10"/>
                  </a:cxn>
                  <a:cxn ang="0">
                    <a:pos x="33" y="0"/>
                  </a:cxn>
                  <a:cxn ang="0">
                    <a:pos x="19" y="10"/>
                  </a:cxn>
                  <a:cxn ang="0">
                    <a:pos x="16" y="12"/>
                  </a:cxn>
                  <a:cxn ang="0">
                    <a:pos x="13" y="12"/>
                  </a:cxn>
                  <a:cxn ang="0">
                    <a:pos x="11" y="11"/>
                  </a:cxn>
                  <a:cxn ang="0">
                    <a:pos x="8" y="10"/>
                  </a:cxn>
                  <a:cxn ang="0">
                    <a:pos x="8" y="8"/>
                  </a:cxn>
                  <a:cxn ang="0">
                    <a:pos x="7" y="8"/>
                  </a:cxn>
                  <a:cxn ang="0">
                    <a:pos x="7" y="8"/>
                  </a:cxn>
                  <a:cxn ang="0">
                    <a:pos x="6" y="7"/>
                  </a:cxn>
                  <a:cxn ang="0">
                    <a:pos x="4" y="8"/>
                  </a:cxn>
                  <a:cxn ang="0">
                    <a:pos x="4" y="8"/>
                  </a:cxn>
                  <a:cxn ang="0">
                    <a:pos x="4" y="9"/>
                  </a:cxn>
                  <a:cxn ang="0">
                    <a:pos x="4" y="12"/>
                  </a:cxn>
                  <a:cxn ang="0">
                    <a:pos x="4" y="14"/>
                  </a:cxn>
                  <a:cxn ang="0">
                    <a:pos x="4" y="15"/>
                  </a:cxn>
                  <a:cxn ang="0">
                    <a:pos x="4" y="16"/>
                  </a:cxn>
                  <a:cxn ang="0">
                    <a:pos x="4" y="18"/>
                  </a:cxn>
                  <a:cxn ang="0">
                    <a:pos x="4" y="21"/>
                  </a:cxn>
                  <a:cxn ang="0">
                    <a:pos x="3" y="23"/>
                  </a:cxn>
                  <a:cxn ang="0">
                    <a:pos x="4" y="24"/>
                  </a:cxn>
                  <a:cxn ang="0">
                    <a:pos x="3" y="28"/>
                  </a:cxn>
                  <a:cxn ang="0">
                    <a:pos x="2" y="31"/>
                  </a:cxn>
                  <a:cxn ang="0">
                    <a:pos x="2" y="33"/>
                  </a:cxn>
                  <a:cxn ang="0">
                    <a:pos x="2" y="34"/>
                  </a:cxn>
                  <a:cxn ang="0">
                    <a:pos x="2" y="35"/>
                  </a:cxn>
                  <a:cxn ang="0">
                    <a:pos x="1" y="37"/>
                  </a:cxn>
                  <a:cxn ang="0">
                    <a:pos x="1" y="40"/>
                  </a:cxn>
                  <a:cxn ang="0">
                    <a:pos x="1" y="42"/>
                  </a:cxn>
                  <a:cxn ang="0">
                    <a:pos x="1" y="43"/>
                  </a:cxn>
                  <a:cxn ang="0">
                    <a:pos x="1" y="44"/>
                  </a:cxn>
                  <a:cxn ang="0">
                    <a:pos x="3" y="45"/>
                  </a:cxn>
                  <a:cxn ang="0">
                    <a:pos x="8" y="46"/>
                  </a:cxn>
                  <a:cxn ang="0">
                    <a:pos x="11" y="46"/>
                  </a:cxn>
                  <a:cxn ang="0">
                    <a:pos x="13" y="45"/>
                  </a:cxn>
                  <a:cxn ang="0">
                    <a:pos x="15" y="43"/>
                  </a:cxn>
                  <a:cxn ang="0">
                    <a:pos x="16" y="41"/>
                  </a:cxn>
                  <a:cxn ang="0">
                    <a:pos x="17" y="39"/>
                  </a:cxn>
                  <a:cxn ang="0">
                    <a:pos x="20" y="38"/>
                  </a:cxn>
                  <a:cxn ang="0">
                    <a:pos x="22" y="38"/>
                  </a:cxn>
                  <a:cxn ang="0">
                    <a:pos x="24" y="37"/>
                  </a:cxn>
                  <a:cxn ang="0">
                    <a:pos x="25" y="35"/>
                  </a:cxn>
                  <a:cxn ang="0">
                    <a:pos x="28" y="32"/>
                  </a:cxn>
                  <a:cxn ang="0">
                    <a:pos x="23" y="26"/>
                  </a:cxn>
                  <a:cxn ang="0">
                    <a:pos x="18" y="21"/>
                  </a:cxn>
                  <a:cxn ang="0">
                    <a:pos x="30" y="17"/>
                  </a:cxn>
                  <a:cxn ang="0">
                    <a:pos x="35" y="16"/>
                  </a:cxn>
                  <a:cxn ang="0">
                    <a:pos x="37" y="14"/>
                  </a:cxn>
                  <a:cxn ang="0">
                    <a:pos x="38" y="12"/>
                  </a:cxn>
                </a:cxnLst>
                <a:rect l="0" t="0" r="r" b="b"/>
                <a:pathLst>
                  <a:path w="39" h="47">
                    <a:moveTo>
                      <a:pt x="38" y="12"/>
                    </a:moveTo>
                    <a:cubicBezTo>
                      <a:pt x="37" y="11"/>
                      <a:pt x="37" y="12"/>
                      <a:pt x="36" y="12"/>
                    </a:cubicBezTo>
                    <a:cubicBezTo>
                      <a:pt x="36" y="11"/>
                      <a:pt x="35" y="10"/>
                      <a:pt x="36" y="10"/>
                    </a:cubicBezTo>
                    <a:cubicBezTo>
                      <a:pt x="35" y="7"/>
                      <a:pt x="34" y="4"/>
                      <a:pt x="33" y="0"/>
                    </a:cubicBezTo>
                    <a:cubicBezTo>
                      <a:pt x="28" y="3"/>
                      <a:pt x="24" y="6"/>
                      <a:pt x="19" y="10"/>
                    </a:cubicBezTo>
                    <a:cubicBezTo>
                      <a:pt x="18" y="10"/>
                      <a:pt x="17" y="11"/>
                      <a:pt x="16" y="12"/>
                    </a:cubicBezTo>
                    <a:cubicBezTo>
                      <a:pt x="15" y="12"/>
                      <a:pt x="14" y="12"/>
                      <a:pt x="13" y="12"/>
                    </a:cubicBezTo>
                    <a:cubicBezTo>
                      <a:pt x="12" y="11"/>
                      <a:pt x="12" y="11"/>
                      <a:pt x="11" y="11"/>
                    </a:cubicBezTo>
                    <a:cubicBezTo>
                      <a:pt x="10" y="10"/>
                      <a:pt x="10" y="9"/>
                      <a:pt x="8" y="10"/>
                    </a:cubicBezTo>
                    <a:cubicBezTo>
                      <a:pt x="8" y="9"/>
                      <a:pt x="8" y="9"/>
                      <a:pt x="8" y="8"/>
                    </a:cubicBezTo>
                    <a:cubicBezTo>
                      <a:pt x="8" y="8"/>
                      <a:pt x="8" y="8"/>
                      <a:pt x="7" y="8"/>
                    </a:cubicBezTo>
                    <a:cubicBezTo>
                      <a:pt x="7" y="8"/>
                      <a:pt x="7" y="8"/>
                      <a:pt x="7" y="8"/>
                    </a:cubicBezTo>
                    <a:cubicBezTo>
                      <a:pt x="6" y="7"/>
                      <a:pt x="6" y="7"/>
                      <a:pt x="6" y="7"/>
                    </a:cubicBezTo>
                    <a:cubicBezTo>
                      <a:pt x="5" y="7"/>
                      <a:pt x="5" y="8"/>
                      <a:pt x="4" y="8"/>
                    </a:cubicBezTo>
                    <a:cubicBezTo>
                      <a:pt x="4" y="8"/>
                      <a:pt x="4" y="8"/>
                      <a:pt x="4" y="8"/>
                    </a:cubicBezTo>
                    <a:cubicBezTo>
                      <a:pt x="3" y="9"/>
                      <a:pt x="4" y="9"/>
                      <a:pt x="4" y="9"/>
                    </a:cubicBezTo>
                    <a:cubicBezTo>
                      <a:pt x="4" y="10"/>
                      <a:pt x="4" y="11"/>
                      <a:pt x="4" y="12"/>
                    </a:cubicBezTo>
                    <a:cubicBezTo>
                      <a:pt x="4" y="12"/>
                      <a:pt x="4" y="13"/>
                      <a:pt x="4" y="14"/>
                    </a:cubicBezTo>
                    <a:cubicBezTo>
                      <a:pt x="4" y="14"/>
                      <a:pt x="4" y="15"/>
                      <a:pt x="4" y="15"/>
                    </a:cubicBezTo>
                    <a:cubicBezTo>
                      <a:pt x="4" y="15"/>
                      <a:pt x="4" y="16"/>
                      <a:pt x="4" y="16"/>
                    </a:cubicBezTo>
                    <a:cubicBezTo>
                      <a:pt x="4" y="17"/>
                      <a:pt x="4" y="18"/>
                      <a:pt x="4" y="18"/>
                    </a:cubicBezTo>
                    <a:cubicBezTo>
                      <a:pt x="4" y="19"/>
                      <a:pt x="4" y="20"/>
                      <a:pt x="4" y="21"/>
                    </a:cubicBezTo>
                    <a:cubicBezTo>
                      <a:pt x="4" y="22"/>
                      <a:pt x="4" y="22"/>
                      <a:pt x="3" y="23"/>
                    </a:cubicBezTo>
                    <a:cubicBezTo>
                      <a:pt x="3" y="24"/>
                      <a:pt x="3" y="24"/>
                      <a:pt x="4" y="24"/>
                    </a:cubicBezTo>
                    <a:cubicBezTo>
                      <a:pt x="4" y="25"/>
                      <a:pt x="3" y="27"/>
                      <a:pt x="3" y="28"/>
                    </a:cubicBezTo>
                    <a:cubicBezTo>
                      <a:pt x="3" y="29"/>
                      <a:pt x="2" y="30"/>
                      <a:pt x="2" y="31"/>
                    </a:cubicBezTo>
                    <a:cubicBezTo>
                      <a:pt x="2" y="31"/>
                      <a:pt x="1" y="32"/>
                      <a:pt x="2" y="33"/>
                    </a:cubicBezTo>
                    <a:cubicBezTo>
                      <a:pt x="2" y="33"/>
                      <a:pt x="2" y="34"/>
                      <a:pt x="2" y="34"/>
                    </a:cubicBezTo>
                    <a:cubicBezTo>
                      <a:pt x="2" y="35"/>
                      <a:pt x="2" y="35"/>
                      <a:pt x="2" y="35"/>
                    </a:cubicBezTo>
                    <a:cubicBezTo>
                      <a:pt x="2" y="36"/>
                      <a:pt x="2" y="37"/>
                      <a:pt x="1" y="37"/>
                    </a:cubicBezTo>
                    <a:cubicBezTo>
                      <a:pt x="1" y="38"/>
                      <a:pt x="1" y="39"/>
                      <a:pt x="1" y="40"/>
                    </a:cubicBezTo>
                    <a:cubicBezTo>
                      <a:pt x="1" y="41"/>
                      <a:pt x="0" y="42"/>
                      <a:pt x="1" y="42"/>
                    </a:cubicBezTo>
                    <a:cubicBezTo>
                      <a:pt x="1" y="43"/>
                      <a:pt x="1" y="43"/>
                      <a:pt x="1" y="43"/>
                    </a:cubicBezTo>
                    <a:cubicBezTo>
                      <a:pt x="1" y="44"/>
                      <a:pt x="0" y="44"/>
                      <a:pt x="1" y="44"/>
                    </a:cubicBezTo>
                    <a:cubicBezTo>
                      <a:pt x="1" y="45"/>
                      <a:pt x="2" y="45"/>
                      <a:pt x="3" y="45"/>
                    </a:cubicBezTo>
                    <a:cubicBezTo>
                      <a:pt x="4" y="45"/>
                      <a:pt x="6" y="45"/>
                      <a:pt x="8" y="46"/>
                    </a:cubicBezTo>
                    <a:cubicBezTo>
                      <a:pt x="9" y="46"/>
                      <a:pt x="10" y="47"/>
                      <a:pt x="11" y="46"/>
                    </a:cubicBezTo>
                    <a:cubicBezTo>
                      <a:pt x="12" y="46"/>
                      <a:pt x="12" y="45"/>
                      <a:pt x="13" y="45"/>
                    </a:cubicBezTo>
                    <a:cubicBezTo>
                      <a:pt x="14" y="44"/>
                      <a:pt x="14" y="44"/>
                      <a:pt x="15" y="43"/>
                    </a:cubicBezTo>
                    <a:cubicBezTo>
                      <a:pt x="15" y="42"/>
                      <a:pt x="16" y="41"/>
                      <a:pt x="16" y="41"/>
                    </a:cubicBezTo>
                    <a:cubicBezTo>
                      <a:pt x="16" y="40"/>
                      <a:pt x="16" y="39"/>
                      <a:pt x="17" y="39"/>
                    </a:cubicBezTo>
                    <a:cubicBezTo>
                      <a:pt x="18" y="39"/>
                      <a:pt x="19" y="38"/>
                      <a:pt x="20" y="38"/>
                    </a:cubicBezTo>
                    <a:cubicBezTo>
                      <a:pt x="21" y="38"/>
                      <a:pt x="22" y="38"/>
                      <a:pt x="22" y="38"/>
                    </a:cubicBezTo>
                    <a:cubicBezTo>
                      <a:pt x="23" y="38"/>
                      <a:pt x="24" y="38"/>
                      <a:pt x="24" y="37"/>
                    </a:cubicBezTo>
                    <a:cubicBezTo>
                      <a:pt x="24" y="36"/>
                      <a:pt x="24" y="36"/>
                      <a:pt x="25" y="35"/>
                    </a:cubicBezTo>
                    <a:cubicBezTo>
                      <a:pt x="25" y="33"/>
                      <a:pt x="27" y="33"/>
                      <a:pt x="28" y="32"/>
                    </a:cubicBezTo>
                    <a:cubicBezTo>
                      <a:pt x="26" y="30"/>
                      <a:pt x="25" y="28"/>
                      <a:pt x="23" y="26"/>
                    </a:cubicBezTo>
                    <a:cubicBezTo>
                      <a:pt x="21" y="25"/>
                      <a:pt x="19" y="23"/>
                      <a:pt x="18" y="21"/>
                    </a:cubicBezTo>
                    <a:cubicBezTo>
                      <a:pt x="22" y="20"/>
                      <a:pt x="26" y="18"/>
                      <a:pt x="30" y="17"/>
                    </a:cubicBezTo>
                    <a:cubicBezTo>
                      <a:pt x="32" y="17"/>
                      <a:pt x="33" y="16"/>
                      <a:pt x="35" y="16"/>
                    </a:cubicBezTo>
                    <a:cubicBezTo>
                      <a:pt x="36" y="16"/>
                      <a:pt x="36" y="15"/>
                      <a:pt x="37" y="14"/>
                    </a:cubicBezTo>
                    <a:cubicBezTo>
                      <a:pt x="38" y="14"/>
                      <a:pt x="39" y="12"/>
                      <a:pt x="38" y="1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3" name="Japan">
                <a:extLst>
                  <a:ext uri="{FF2B5EF4-FFF2-40B4-BE49-F238E27FC236}">
                    <a16:creationId xmlns:a16="http://schemas.microsoft.com/office/drawing/2014/main" id="{899078B6-65C1-3086-A9C8-1B95536E94E6}"/>
                  </a:ext>
                </a:extLst>
              </p:cNvPr>
              <p:cNvSpPr>
                <a:spLocks noEditPoints="1"/>
              </p:cNvSpPr>
              <p:nvPr/>
            </p:nvSpPr>
            <p:spPr bwMode="auto">
              <a:xfrm>
                <a:off x="9818273" y="2275154"/>
                <a:ext cx="1044855" cy="826279"/>
              </a:xfrm>
              <a:custGeom>
                <a:avLst/>
                <a:gdLst/>
                <a:ahLst/>
                <a:cxnLst>
                  <a:cxn ang="0">
                    <a:pos x="26" y="120"/>
                  </a:cxn>
                  <a:cxn ang="0">
                    <a:pos x="56" y="188"/>
                  </a:cxn>
                  <a:cxn ang="0">
                    <a:pos x="41" y="213"/>
                  </a:cxn>
                  <a:cxn ang="0">
                    <a:pos x="28" y="141"/>
                  </a:cxn>
                  <a:cxn ang="0">
                    <a:pos x="43" y="144"/>
                  </a:cxn>
                  <a:cxn ang="0">
                    <a:pos x="71" y="3"/>
                  </a:cxn>
                  <a:cxn ang="0">
                    <a:pos x="83" y="25"/>
                  </a:cxn>
                  <a:cxn ang="0">
                    <a:pos x="81" y="36"/>
                  </a:cxn>
                  <a:cxn ang="0">
                    <a:pos x="95" y="41"/>
                  </a:cxn>
                  <a:cxn ang="0">
                    <a:pos x="90" y="34"/>
                  </a:cxn>
                  <a:cxn ang="0">
                    <a:pos x="119" y="28"/>
                  </a:cxn>
                  <a:cxn ang="0">
                    <a:pos x="121" y="24"/>
                  </a:cxn>
                  <a:cxn ang="0">
                    <a:pos x="113" y="15"/>
                  </a:cxn>
                  <a:cxn ang="0">
                    <a:pos x="91" y="9"/>
                  </a:cxn>
                  <a:cxn ang="0">
                    <a:pos x="56" y="135"/>
                  </a:cxn>
                  <a:cxn ang="0">
                    <a:pos x="45" y="126"/>
                  </a:cxn>
                  <a:cxn ang="0">
                    <a:pos x="36" y="131"/>
                  </a:cxn>
                  <a:cxn ang="0">
                    <a:pos x="37" y="136"/>
                  </a:cxn>
                  <a:cxn ang="0">
                    <a:pos x="40" y="140"/>
                  </a:cxn>
                  <a:cxn ang="0">
                    <a:pos x="46" y="140"/>
                  </a:cxn>
                  <a:cxn ang="0">
                    <a:pos x="48" y="152"/>
                  </a:cxn>
                  <a:cxn ang="0">
                    <a:pos x="52" y="154"/>
                  </a:cxn>
                  <a:cxn ang="0">
                    <a:pos x="57" y="149"/>
                  </a:cxn>
                  <a:cxn ang="0">
                    <a:pos x="59" y="137"/>
                  </a:cxn>
                  <a:cxn ang="0">
                    <a:pos x="71" y="122"/>
                  </a:cxn>
                  <a:cxn ang="0">
                    <a:pos x="61" y="129"/>
                  </a:cxn>
                  <a:cxn ang="0">
                    <a:pos x="61" y="135"/>
                  </a:cxn>
                  <a:cxn ang="0">
                    <a:pos x="67" y="138"/>
                  </a:cxn>
                  <a:cxn ang="0">
                    <a:pos x="77" y="130"/>
                  </a:cxn>
                  <a:cxn ang="0">
                    <a:pos x="123" y="103"/>
                  </a:cxn>
                  <a:cxn ang="0">
                    <a:pos x="115" y="78"/>
                  </a:cxn>
                  <a:cxn ang="0">
                    <a:pos x="116" y="71"/>
                  </a:cxn>
                  <a:cxn ang="0">
                    <a:pos x="117" y="67"/>
                  </a:cxn>
                  <a:cxn ang="0">
                    <a:pos x="106" y="54"/>
                  </a:cxn>
                  <a:cxn ang="0">
                    <a:pos x="98" y="50"/>
                  </a:cxn>
                  <a:cxn ang="0">
                    <a:pos x="91" y="53"/>
                  </a:cxn>
                  <a:cxn ang="0">
                    <a:pos x="100" y="78"/>
                  </a:cxn>
                  <a:cxn ang="0">
                    <a:pos x="85" y="92"/>
                  </a:cxn>
                  <a:cxn ang="0">
                    <a:pos x="81" y="101"/>
                  </a:cxn>
                  <a:cxn ang="0">
                    <a:pos x="80" y="109"/>
                  </a:cxn>
                  <a:cxn ang="0">
                    <a:pos x="74" y="107"/>
                  </a:cxn>
                  <a:cxn ang="0">
                    <a:pos x="53" y="111"/>
                  </a:cxn>
                  <a:cxn ang="0">
                    <a:pos x="42" y="121"/>
                  </a:cxn>
                  <a:cxn ang="0">
                    <a:pos x="48" y="126"/>
                  </a:cxn>
                  <a:cxn ang="0">
                    <a:pos x="55" y="123"/>
                  </a:cxn>
                  <a:cxn ang="0">
                    <a:pos x="63" y="121"/>
                  </a:cxn>
                  <a:cxn ang="0">
                    <a:pos x="70" y="118"/>
                  </a:cxn>
                  <a:cxn ang="0">
                    <a:pos x="86" y="129"/>
                  </a:cxn>
                  <a:cxn ang="0">
                    <a:pos x="94" y="123"/>
                  </a:cxn>
                  <a:cxn ang="0">
                    <a:pos x="92" y="114"/>
                  </a:cxn>
                  <a:cxn ang="0">
                    <a:pos x="103" y="119"/>
                  </a:cxn>
                  <a:cxn ang="0">
                    <a:pos x="113" y="119"/>
                  </a:cxn>
                  <a:cxn ang="0">
                    <a:pos x="117" y="108"/>
                  </a:cxn>
                  <a:cxn ang="0">
                    <a:pos x="123" y="114"/>
                  </a:cxn>
                  <a:cxn ang="0">
                    <a:pos x="54" y="100"/>
                  </a:cxn>
                  <a:cxn ang="0">
                    <a:pos x="50" y="190"/>
                  </a:cxn>
                  <a:cxn ang="0">
                    <a:pos x="79" y="120"/>
                  </a:cxn>
                  <a:cxn ang="0">
                    <a:pos x="30" y="137"/>
                  </a:cxn>
                  <a:cxn ang="0">
                    <a:pos x="92" y="84"/>
                  </a:cxn>
                  <a:cxn ang="0">
                    <a:pos x="78" y="37"/>
                  </a:cxn>
                  <a:cxn ang="0">
                    <a:pos x="51" y="190"/>
                  </a:cxn>
                  <a:cxn ang="0">
                    <a:pos x="1" y="230"/>
                  </a:cxn>
                  <a:cxn ang="0">
                    <a:pos x="54" y="165"/>
                  </a:cxn>
                </a:cxnLst>
                <a:rect l="0" t="0" r="r" b="b"/>
                <a:pathLst>
                  <a:path w="295" h="233">
                    <a:moveTo>
                      <a:pt x="26" y="120"/>
                    </a:moveTo>
                    <a:cubicBezTo>
                      <a:pt x="26" y="120"/>
                      <a:pt x="26" y="119"/>
                      <a:pt x="26" y="119"/>
                    </a:cubicBezTo>
                    <a:cubicBezTo>
                      <a:pt x="26" y="119"/>
                      <a:pt x="26" y="119"/>
                      <a:pt x="27" y="119"/>
                    </a:cubicBezTo>
                    <a:cubicBezTo>
                      <a:pt x="27" y="118"/>
                      <a:pt x="27" y="118"/>
                      <a:pt x="27" y="118"/>
                    </a:cubicBezTo>
                    <a:cubicBezTo>
                      <a:pt x="27" y="118"/>
                      <a:pt x="28" y="119"/>
                      <a:pt x="27" y="119"/>
                    </a:cubicBezTo>
                    <a:cubicBezTo>
                      <a:pt x="28" y="119"/>
                      <a:pt x="27" y="120"/>
                      <a:pt x="27" y="121"/>
                    </a:cubicBezTo>
                    <a:cubicBezTo>
                      <a:pt x="27" y="121"/>
                      <a:pt x="28" y="121"/>
                      <a:pt x="28" y="122"/>
                    </a:cubicBezTo>
                    <a:cubicBezTo>
                      <a:pt x="28" y="122"/>
                      <a:pt x="28" y="122"/>
                      <a:pt x="27" y="122"/>
                    </a:cubicBezTo>
                    <a:cubicBezTo>
                      <a:pt x="27" y="122"/>
                      <a:pt x="27" y="122"/>
                      <a:pt x="28" y="122"/>
                    </a:cubicBezTo>
                    <a:cubicBezTo>
                      <a:pt x="28" y="122"/>
                      <a:pt x="27" y="121"/>
                      <a:pt x="27" y="121"/>
                    </a:cubicBezTo>
                    <a:cubicBezTo>
                      <a:pt x="27" y="121"/>
                      <a:pt x="27" y="122"/>
                      <a:pt x="26" y="122"/>
                    </a:cubicBezTo>
                    <a:cubicBezTo>
                      <a:pt x="27" y="121"/>
                      <a:pt x="26" y="121"/>
                      <a:pt x="27" y="121"/>
                    </a:cubicBezTo>
                    <a:cubicBezTo>
                      <a:pt x="26" y="121"/>
                      <a:pt x="26" y="120"/>
                      <a:pt x="26" y="120"/>
                    </a:cubicBezTo>
                    <a:close/>
                    <a:moveTo>
                      <a:pt x="28" y="123"/>
                    </a:moveTo>
                    <a:cubicBezTo>
                      <a:pt x="28" y="122"/>
                      <a:pt x="27" y="122"/>
                      <a:pt x="27" y="122"/>
                    </a:cubicBezTo>
                    <a:cubicBezTo>
                      <a:pt x="27" y="122"/>
                      <a:pt x="26" y="122"/>
                      <a:pt x="26" y="122"/>
                    </a:cubicBezTo>
                    <a:cubicBezTo>
                      <a:pt x="26" y="123"/>
                      <a:pt x="27" y="123"/>
                      <a:pt x="27" y="123"/>
                    </a:cubicBezTo>
                    <a:cubicBezTo>
                      <a:pt x="27" y="123"/>
                      <a:pt x="27" y="125"/>
                      <a:pt x="28" y="125"/>
                    </a:cubicBezTo>
                    <a:cubicBezTo>
                      <a:pt x="28" y="124"/>
                      <a:pt x="28" y="123"/>
                      <a:pt x="28" y="123"/>
                    </a:cubicBezTo>
                    <a:close/>
                    <a:moveTo>
                      <a:pt x="13" y="231"/>
                    </a:moveTo>
                    <a:cubicBezTo>
                      <a:pt x="12" y="231"/>
                      <a:pt x="12" y="230"/>
                      <a:pt x="11" y="231"/>
                    </a:cubicBezTo>
                    <a:cubicBezTo>
                      <a:pt x="11" y="231"/>
                      <a:pt x="13" y="233"/>
                      <a:pt x="13" y="232"/>
                    </a:cubicBezTo>
                    <a:cubicBezTo>
                      <a:pt x="13" y="231"/>
                      <a:pt x="13" y="231"/>
                      <a:pt x="13" y="230"/>
                    </a:cubicBezTo>
                    <a:cubicBezTo>
                      <a:pt x="13" y="230"/>
                      <a:pt x="14" y="229"/>
                      <a:pt x="13" y="229"/>
                    </a:cubicBezTo>
                    <a:cubicBezTo>
                      <a:pt x="13" y="229"/>
                      <a:pt x="13" y="230"/>
                      <a:pt x="13" y="231"/>
                    </a:cubicBezTo>
                    <a:close/>
                    <a:moveTo>
                      <a:pt x="56" y="188"/>
                    </a:moveTo>
                    <a:cubicBezTo>
                      <a:pt x="57" y="187"/>
                      <a:pt x="55" y="188"/>
                      <a:pt x="56" y="188"/>
                    </a:cubicBezTo>
                    <a:close/>
                    <a:moveTo>
                      <a:pt x="76" y="216"/>
                    </a:moveTo>
                    <a:cubicBezTo>
                      <a:pt x="76" y="215"/>
                      <a:pt x="76" y="215"/>
                      <a:pt x="75" y="215"/>
                    </a:cubicBezTo>
                    <a:cubicBezTo>
                      <a:pt x="75" y="215"/>
                      <a:pt x="75" y="216"/>
                      <a:pt x="76" y="216"/>
                    </a:cubicBezTo>
                    <a:close/>
                    <a:moveTo>
                      <a:pt x="44" y="204"/>
                    </a:moveTo>
                    <a:cubicBezTo>
                      <a:pt x="45" y="205"/>
                      <a:pt x="44" y="206"/>
                      <a:pt x="43" y="207"/>
                    </a:cubicBezTo>
                    <a:cubicBezTo>
                      <a:pt x="43" y="207"/>
                      <a:pt x="42" y="205"/>
                      <a:pt x="41" y="206"/>
                    </a:cubicBezTo>
                    <a:cubicBezTo>
                      <a:pt x="41" y="206"/>
                      <a:pt x="42" y="207"/>
                      <a:pt x="42" y="207"/>
                    </a:cubicBezTo>
                    <a:cubicBezTo>
                      <a:pt x="42" y="207"/>
                      <a:pt x="43" y="207"/>
                      <a:pt x="43" y="207"/>
                    </a:cubicBezTo>
                    <a:cubicBezTo>
                      <a:pt x="42" y="208"/>
                      <a:pt x="42" y="208"/>
                      <a:pt x="42" y="208"/>
                    </a:cubicBezTo>
                    <a:cubicBezTo>
                      <a:pt x="42" y="209"/>
                      <a:pt x="41" y="209"/>
                      <a:pt x="41" y="209"/>
                    </a:cubicBezTo>
                    <a:cubicBezTo>
                      <a:pt x="40" y="209"/>
                      <a:pt x="41" y="210"/>
                      <a:pt x="41" y="211"/>
                    </a:cubicBezTo>
                    <a:cubicBezTo>
                      <a:pt x="41" y="211"/>
                      <a:pt x="40" y="212"/>
                      <a:pt x="41" y="213"/>
                    </a:cubicBezTo>
                    <a:cubicBezTo>
                      <a:pt x="41" y="213"/>
                      <a:pt x="43" y="212"/>
                      <a:pt x="42" y="212"/>
                    </a:cubicBezTo>
                    <a:cubicBezTo>
                      <a:pt x="42" y="211"/>
                      <a:pt x="42" y="212"/>
                      <a:pt x="42" y="211"/>
                    </a:cubicBezTo>
                    <a:cubicBezTo>
                      <a:pt x="42" y="211"/>
                      <a:pt x="42" y="210"/>
                      <a:pt x="42" y="210"/>
                    </a:cubicBezTo>
                    <a:cubicBezTo>
                      <a:pt x="42" y="210"/>
                      <a:pt x="43" y="210"/>
                      <a:pt x="43" y="210"/>
                    </a:cubicBezTo>
                    <a:cubicBezTo>
                      <a:pt x="43" y="210"/>
                      <a:pt x="42" y="209"/>
                      <a:pt x="42" y="209"/>
                    </a:cubicBezTo>
                    <a:cubicBezTo>
                      <a:pt x="43" y="208"/>
                      <a:pt x="43" y="208"/>
                      <a:pt x="44" y="208"/>
                    </a:cubicBezTo>
                    <a:cubicBezTo>
                      <a:pt x="44" y="207"/>
                      <a:pt x="44" y="207"/>
                      <a:pt x="44" y="207"/>
                    </a:cubicBezTo>
                    <a:cubicBezTo>
                      <a:pt x="44" y="207"/>
                      <a:pt x="45" y="207"/>
                      <a:pt x="45" y="206"/>
                    </a:cubicBezTo>
                    <a:cubicBezTo>
                      <a:pt x="46" y="206"/>
                      <a:pt x="45" y="204"/>
                      <a:pt x="44" y="204"/>
                    </a:cubicBezTo>
                    <a:close/>
                    <a:moveTo>
                      <a:pt x="29" y="139"/>
                    </a:moveTo>
                    <a:cubicBezTo>
                      <a:pt x="29" y="139"/>
                      <a:pt x="28" y="139"/>
                      <a:pt x="28" y="139"/>
                    </a:cubicBezTo>
                    <a:cubicBezTo>
                      <a:pt x="28" y="139"/>
                      <a:pt x="28" y="140"/>
                      <a:pt x="28" y="140"/>
                    </a:cubicBezTo>
                    <a:cubicBezTo>
                      <a:pt x="28" y="140"/>
                      <a:pt x="28" y="140"/>
                      <a:pt x="28" y="141"/>
                    </a:cubicBezTo>
                    <a:cubicBezTo>
                      <a:pt x="28" y="140"/>
                      <a:pt x="28" y="140"/>
                      <a:pt x="28" y="140"/>
                    </a:cubicBezTo>
                    <a:cubicBezTo>
                      <a:pt x="28" y="141"/>
                      <a:pt x="29" y="141"/>
                      <a:pt x="29" y="141"/>
                    </a:cubicBezTo>
                    <a:cubicBezTo>
                      <a:pt x="30" y="141"/>
                      <a:pt x="29" y="140"/>
                      <a:pt x="30" y="140"/>
                    </a:cubicBezTo>
                    <a:cubicBezTo>
                      <a:pt x="30" y="140"/>
                      <a:pt x="30" y="140"/>
                      <a:pt x="31" y="140"/>
                    </a:cubicBezTo>
                    <a:cubicBezTo>
                      <a:pt x="30" y="140"/>
                      <a:pt x="29" y="139"/>
                      <a:pt x="29" y="139"/>
                    </a:cubicBezTo>
                    <a:close/>
                    <a:moveTo>
                      <a:pt x="42" y="145"/>
                    </a:moveTo>
                    <a:cubicBezTo>
                      <a:pt x="43" y="145"/>
                      <a:pt x="42" y="145"/>
                      <a:pt x="43" y="145"/>
                    </a:cubicBezTo>
                    <a:cubicBezTo>
                      <a:pt x="43" y="145"/>
                      <a:pt x="43" y="145"/>
                      <a:pt x="44" y="144"/>
                    </a:cubicBezTo>
                    <a:cubicBezTo>
                      <a:pt x="44" y="144"/>
                      <a:pt x="44" y="143"/>
                      <a:pt x="43" y="143"/>
                    </a:cubicBezTo>
                    <a:cubicBezTo>
                      <a:pt x="43" y="142"/>
                      <a:pt x="43" y="141"/>
                      <a:pt x="42" y="142"/>
                    </a:cubicBezTo>
                    <a:cubicBezTo>
                      <a:pt x="42" y="142"/>
                      <a:pt x="42" y="142"/>
                      <a:pt x="41" y="142"/>
                    </a:cubicBezTo>
                    <a:cubicBezTo>
                      <a:pt x="42" y="142"/>
                      <a:pt x="42" y="143"/>
                      <a:pt x="42" y="143"/>
                    </a:cubicBezTo>
                    <a:cubicBezTo>
                      <a:pt x="42" y="144"/>
                      <a:pt x="42" y="144"/>
                      <a:pt x="43" y="144"/>
                    </a:cubicBezTo>
                    <a:cubicBezTo>
                      <a:pt x="42" y="144"/>
                      <a:pt x="42" y="145"/>
                      <a:pt x="42" y="145"/>
                    </a:cubicBezTo>
                    <a:close/>
                    <a:moveTo>
                      <a:pt x="23" y="227"/>
                    </a:moveTo>
                    <a:cubicBezTo>
                      <a:pt x="23" y="227"/>
                      <a:pt x="22" y="226"/>
                      <a:pt x="22" y="226"/>
                    </a:cubicBezTo>
                    <a:cubicBezTo>
                      <a:pt x="22" y="226"/>
                      <a:pt x="22" y="226"/>
                      <a:pt x="22" y="226"/>
                    </a:cubicBezTo>
                    <a:cubicBezTo>
                      <a:pt x="22" y="227"/>
                      <a:pt x="21" y="228"/>
                      <a:pt x="23" y="228"/>
                    </a:cubicBezTo>
                    <a:cubicBezTo>
                      <a:pt x="23" y="227"/>
                      <a:pt x="24" y="227"/>
                      <a:pt x="23" y="227"/>
                    </a:cubicBezTo>
                    <a:close/>
                    <a:moveTo>
                      <a:pt x="118" y="117"/>
                    </a:moveTo>
                    <a:cubicBezTo>
                      <a:pt x="117" y="117"/>
                      <a:pt x="118" y="118"/>
                      <a:pt x="118" y="118"/>
                    </a:cubicBezTo>
                    <a:cubicBezTo>
                      <a:pt x="119" y="118"/>
                      <a:pt x="118" y="117"/>
                      <a:pt x="118" y="117"/>
                    </a:cubicBezTo>
                    <a:close/>
                    <a:moveTo>
                      <a:pt x="70" y="1"/>
                    </a:moveTo>
                    <a:cubicBezTo>
                      <a:pt x="70" y="1"/>
                      <a:pt x="69" y="1"/>
                      <a:pt x="69" y="1"/>
                    </a:cubicBezTo>
                    <a:cubicBezTo>
                      <a:pt x="69" y="1"/>
                      <a:pt x="69" y="1"/>
                      <a:pt x="69" y="0"/>
                    </a:cubicBezTo>
                    <a:cubicBezTo>
                      <a:pt x="69" y="1"/>
                      <a:pt x="70" y="2"/>
                      <a:pt x="71" y="3"/>
                    </a:cubicBezTo>
                    <a:cubicBezTo>
                      <a:pt x="71" y="2"/>
                      <a:pt x="70" y="2"/>
                      <a:pt x="70" y="1"/>
                    </a:cubicBezTo>
                    <a:close/>
                    <a:moveTo>
                      <a:pt x="76" y="4"/>
                    </a:moveTo>
                    <a:cubicBezTo>
                      <a:pt x="77" y="4"/>
                      <a:pt x="77" y="5"/>
                      <a:pt x="78" y="5"/>
                    </a:cubicBezTo>
                    <a:cubicBezTo>
                      <a:pt x="79" y="6"/>
                      <a:pt x="79" y="7"/>
                      <a:pt x="80" y="7"/>
                    </a:cubicBezTo>
                    <a:cubicBezTo>
                      <a:pt x="81" y="8"/>
                      <a:pt x="81" y="9"/>
                      <a:pt x="82" y="10"/>
                    </a:cubicBezTo>
                    <a:cubicBezTo>
                      <a:pt x="83" y="11"/>
                      <a:pt x="83" y="13"/>
                      <a:pt x="83" y="14"/>
                    </a:cubicBezTo>
                    <a:cubicBezTo>
                      <a:pt x="84" y="15"/>
                      <a:pt x="86" y="17"/>
                      <a:pt x="85" y="18"/>
                    </a:cubicBezTo>
                    <a:cubicBezTo>
                      <a:pt x="85" y="18"/>
                      <a:pt x="84" y="18"/>
                      <a:pt x="84" y="19"/>
                    </a:cubicBezTo>
                    <a:cubicBezTo>
                      <a:pt x="84" y="20"/>
                      <a:pt x="85" y="20"/>
                      <a:pt x="85" y="21"/>
                    </a:cubicBezTo>
                    <a:cubicBezTo>
                      <a:pt x="85" y="21"/>
                      <a:pt x="85" y="22"/>
                      <a:pt x="86" y="22"/>
                    </a:cubicBezTo>
                    <a:cubicBezTo>
                      <a:pt x="87" y="23"/>
                      <a:pt x="87" y="23"/>
                      <a:pt x="87" y="24"/>
                    </a:cubicBezTo>
                    <a:cubicBezTo>
                      <a:pt x="87" y="26"/>
                      <a:pt x="85" y="26"/>
                      <a:pt x="84" y="25"/>
                    </a:cubicBezTo>
                    <a:cubicBezTo>
                      <a:pt x="84" y="24"/>
                      <a:pt x="83" y="25"/>
                      <a:pt x="83" y="25"/>
                    </a:cubicBezTo>
                    <a:cubicBezTo>
                      <a:pt x="82" y="25"/>
                      <a:pt x="81" y="25"/>
                      <a:pt x="81" y="24"/>
                    </a:cubicBezTo>
                    <a:cubicBezTo>
                      <a:pt x="80" y="24"/>
                      <a:pt x="80" y="24"/>
                      <a:pt x="79" y="23"/>
                    </a:cubicBezTo>
                    <a:cubicBezTo>
                      <a:pt x="78" y="23"/>
                      <a:pt x="79" y="23"/>
                      <a:pt x="79" y="23"/>
                    </a:cubicBezTo>
                    <a:cubicBezTo>
                      <a:pt x="79" y="24"/>
                      <a:pt x="78" y="24"/>
                      <a:pt x="78" y="24"/>
                    </a:cubicBezTo>
                    <a:cubicBezTo>
                      <a:pt x="77" y="24"/>
                      <a:pt x="80" y="26"/>
                      <a:pt x="80" y="26"/>
                    </a:cubicBezTo>
                    <a:cubicBezTo>
                      <a:pt x="80" y="26"/>
                      <a:pt x="81" y="27"/>
                      <a:pt x="81" y="27"/>
                    </a:cubicBezTo>
                    <a:cubicBezTo>
                      <a:pt x="82" y="27"/>
                      <a:pt x="81" y="28"/>
                      <a:pt x="81" y="29"/>
                    </a:cubicBezTo>
                    <a:cubicBezTo>
                      <a:pt x="81" y="30"/>
                      <a:pt x="81" y="30"/>
                      <a:pt x="80" y="29"/>
                    </a:cubicBezTo>
                    <a:cubicBezTo>
                      <a:pt x="80" y="29"/>
                      <a:pt x="80" y="30"/>
                      <a:pt x="79" y="30"/>
                    </a:cubicBezTo>
                    <a:cubicBezTo>
                      <a:pt x="79" y="31"/>
                      <a:pt x="79" y="30"/>
                      <a:pt x="78" y="31"/>
                    </a:cubicBezTo>
                    <a:cubicBezTo>
                      <a:pt x="77" y="31"/>
                      <a:pt x="79" y="33"/>
                      <a:pt x="79" y="33"/>
                    </a:cubicBezTo>
                    <a:cubicBezTo>
                      <a:pt x="79" y="34"/>
                      <a:pt x="79" y="34"/>
                      <a:pt x="80" y="35"/>
                    </a:cubicBezTo>
                    <a:cubicBezTo>
                      <a:pt x="80" y="36"/>
                      <a:pt x="81" y="36"/>
                      <a:pt x="81" y="36"/>
                    </a:cubicBezTo>
                    <a:cubicBezTo>
                      <a:pt x="82" y="37"/>
                      <a:pt x="84" y="37"/>
                      <a:pt x="85" y="38"/>
                    </a:cubicBezTo>
                    <a:cubicBezTo>
                      <a:pt x="86" y="39"/>
                      <a:pt x="85" y="41"/>
                      <a:pt x="85" y="42"/>
                    </a:cubicBezTo>
                    <a:cubicBezTo>
                      <a:pt x="86" y="43"/>
                      <a:pt x="86" y="43"/>
                      <a:pt x="87" y="44"/>
                    </a:cubicBezTo>
                    <a:cubicBezTo>
                      <a:pt x="87" y="44"/>
                      <a:pt x="88" y="44"/>
                      <a:pt x="89" y="45"/>
                    </a:cubicBezTo>
                    <a:cubicBezTo>
                      <a:pt x="89" y="44"/>
                      <a:pt x="89" y="44"/>
                      <a:pt x="89" y="44"/>
                    </a:cubicBezTo>
                    <a:cubicBezTo>
                      <a:pt x="89" y="43"/>
                      <a:pt x="90" y="43"/>
                      <a:pt x="90" y="43"/>
                    </a:cubicBezTo>
                    <a:cubicBezTo>
                      <a:pt x="90" y="43"/>
                      <a:pt x="89" y="42"/>
                      <a:pt x="89" y="42"/>
                    </a:cubicBezTo>
                    <a:cubicBezTo>
                      <a:pt x="90" y="41"/>
                      <a:pt x="90" y="41"/>
                      <a:pt x="90" y="41"/>
                    </a:cubicBezTo>
                    <a:cubicBezTo>
                      <a:pt x="90" y="41"/>
                      <a:pt x="90" y="40"/>
                      <a:pt x="90" y="40"/>
                    </a:cubicBezTo>
                    <a:cubicBezTo>
                      <a:pt x="90" y="39"/>
                      <a:pt x="91" y="40"/>
                      <a:pt x="91" y="41"/>
                    </a:cubicBezTo>
                    <a:cubicBezTo>
                      <a:pt x="91" y="41"/>
                      <a:pt x="91" y="41"/>
                      <a:pt x="92" y="41"/>
                    </a:cubicBezTo>
                    <a:cubicBezTo>
                      <a:pt x="92" y="41"/>
                      <a:pt x="93" y="41"/>
                      <a:pt x="93" y="41"/>
                    </a:cubicBezTo>
                    <a:cubicBezTo>
                      <a:pt x="94" y="41"/>
                      <a:pt x="94" y="41"/>
                      <a:pt x="95" y="41"/>
                    </a:cubicBezTo>
                    <a:cubicBezTo>
                      <a:pt x="95" y="40"/>
                      <a:pt x="95" y="40"/>
                      <a:pt x="94" y="40"/>
                    </a:cubicBezTo>
                    <a:cubicBezTo>
                      <a:pt x="93" y="39"/>
                      <a:pt x="93" y="39"/>
                      <a:pt x="92" y="39"/>
                    </a:cubicBezTo>
                    <a:cubicBezTo>
                      <a:pt x="91" y="38"/>
                      <a:pt x="91" y="38"/>
                      <a:pt x="90" y="38"/>
                    </a:cubicBezTo>
                    <a:cubicBezTo>
                      <a:pt x="90" y="37"/>
                      <a:pt x="90" y="37"/>
                      <a:pt x="89" y="37"/>
                    </a:cubicBezTo>
                    <a:cubicBezTo>
                      <a:pt x="89" y="37"/>
                      <a:pt x="88" y="37"/>
                      <a:pt x="88" y="37"/>
                    </a:cubicBezTo>
                    <a:cubicBezTo>
                      <a:pt x="87" y="37"/>
                      <a:pt x="87" y="37"/>
                      <a:pt x="87" y="36"/>
                    </a:cubicBezTo>
                    <a:cubicBezTo>
                      <a:pt x="85" y="36"/>
                      <a:pt x="84" y="35"/>
                      <a:pt x="83" y="34"/>
                    </a:cubicBezTo>
                    <a:cubicBezTo>
                      <a:pt x="83" y="33"/>
                      <a:pt x="83" y="32"/>
                      <a:pt x="84" y="32"/>
                    </a:cubicBezTo>
                    <a:cubicBezTo>
                      <a:pt x="84" y="32"/>
                      <a:pt x="85" y="32"/>
                      <a:pt x="86" y="32"/>
                    </a:cubicBezTo>
                    <a:cubicBezTo>
                      <a:pt x="86" y="32"/>
                      <a:pt x="87" y="33"/>
                      <a:pt x="88" y="33"/>
                    </a:cubicBezTo>
                    <a:cubicBezTo>
                      <a:pt x="89" y="33"/>
                      <a:pt x="89" y="34"/>
                      <a:pt x="90" y="34"/>
                    </a:cubicBezTo>
                    <a:cubicBezTo>
                      <a:pt x="89" y="34"/>
                      <a:pt x="90" y="35"/>
                      <a:pt x="90" y="35"/>
                    </a:cubicBezTo>
                    <a:cubicBezTo>
                      <a:pt x="90" y="35"/>
                      <a:pt x="90" y="34"/>
                      <a:pt x="90" y="34"/>
                    </a:cubicBezTo>
                    <a:cubicBezTo>
                      <a:pt x="91" y="33"/>
                      <a:pt x="92" y="33"/>
                      <a:pt x="92" y="32"/>
                    </a:cubicBezTo>
                    <a:cubicBezTo>
                      <a:pt x="94" y="30"/>
                      <a:pt x="96" y="32"/>
                      <a:pt x="98" y="33"/>
                    </a:cubicBezTo>
                    <a:cubicBezTo>
                      <a:pt x="99" y="33"/>
                      <a:pt x="100" y="33"/>
                      <a:pt x="101" y="34"/>
                    </a:cubicBezTo>
                    <a:cubicBezTo>
                      <a:pt x="102" y="34"/>
                      <a:pt x="103" y="35"/>
                      <a:pt x="104" y="35"/>
                    </a:cubicBezTo>
                    <a:cubicBezTo>
                      <a:pt x="106" y="36"/>
                      <a:pt x="108" y="36"/>
                      <a:pt x="110" y="37"/>
                    </a:cubicBezTo>
                    <a:cubicBezTo>
                      <a:pt x="111" y="38"/>
                      <a:pt x="112" y="39"/>
                      <a:pt x="112" y="39"/>
                    </a:cubicBezTo>
                    <a:cubicBezTo>
                      <a:pt x="113" y="39"/>
                      <a:pt x="112" y="37"/>
                      <a:pt x="112" y="37"/>
                    </a:cubicBezTo>
                    <a:cubicBezTo>
                      <a:pt x="111" y="36"/>
                      <a:pt x="111" y="35"/>
                      <a:pt x="111" y="34"/>
                    </a:cubicBezTo>
                    <a:cubicBezTo>
                      <a:pt x="111" y="33"/>
                      <a:pt x="111" y="32"/>
                      <a:pt x="111" y="31"/>
                    </a:cubicBezTo>
                    <a:cubicBezTo>
                      <a:pt x="112" y="29"/>
                      <a:pt x="112" y="28"/>
                      <a:pt x="114" y="27"/>
                    </a:cubicBezTo>
                    <a:cubicBezTo>
                      <a:pt x="115" y="27"/>
                      <a:pt x="116" y="28"/>
                      <a:pt x="117" y="28"/>
                    </a:cubicBezTo>
                    <a:cubicBezTo>
                      <a:pt x="117" y="28"/>
                      <a:pt x="118" y="28"/>
                      <a:pt x="118" y="28"/>
                    </a:cubicBezTo>
                    <a:cubicBezTo>
                      <a:pt x="119" y="28"/>
                      <a:pt x="119" y="28"/>
                      <a:pt x="119" y="28"/>
                    </a:cubicBezTo>
                    <a:cubicBezTo>
                      <a:pt x="119" y="28"/>
                      <a:pt x="118" y="27"/>
                      <a:pt x="119" y="27"/>
                    </a:cubicBezTo>
                    <a:cubicBezTo>
                      <a:pt x="119" y="27"/>
                      <a:pt x="119" y="27"/>
                      <a:pt x="119" y="27"/>
                    </a:cubicBezTo>
                    <a:cubicBezTo>
                      <a:pt x="120" y="27"/>
                      <a:pt x="120" y="28"/>
                      <a:pt x="120" y="27"/>
                    </a:cubicBezTo>
                    <a:cubicBezTo>
                      <a:pt x="121" y="27"/>
                      <a:pt x="121" y="27"/>
                      <a:pt x="121" y="27"/>
                    </a:cubicBezTo>
                    <a:cubicBezTo>
                      <a:pt x="121" y="27"/>
                      <a:pt x="122" y="27"/>
                      <a:pt x="121" y="27"/>
                    </a:cubicBezTo>
                    <a:cubicBezTo>
                      <a:pt x="121" y="26"/>
                      <a:pt x="122" y="27"/>
                      <a:pt x="122" y="26"/>
                    </a:cubicBezTo>
                    <a:cubicBezTo>
                      <a:pt x="122" y="26"/>
                      <a:pt x="121" y="26"/>
                      <a:pt x="122" y="26"/>
                    </a:cubicBezTo>
                    <a:cubicBezTo>
                      <a:pt x="122" y="26"/>
                      <a:pt x="122" y="25"/>
                      <a:pt x="123" y="25"/>
                    </a:cubicBezTo>
                    <a:cubicBezTo>
                      <a:pt x="123" y="25"/>
                      <a:pt x="124" y="25"/>
                      <a:pt x="124" y="25"/>
                    </a:cubicBezTo>
                    <a:cubicBezTo>
                      <a:pt x="123" y="24"/>
                      <a:pt x="125" y="24"/>
                      <a:pt x="125" y="23"/>
                    </a:cubicBezTo>
                    <a:cubicBezTo>
                      <a:pt x="126" y="23"/>
                      <a:pt x="124" y="23"/>
                      <a:pt x="124" y="23"/>
                    </a:cubicBezTo>
                    <a:cubicBezTo>
                      <a:pt x="123" y="24"/>
                      <a:pt x="123" y="24"/>
                      <a:pt x="124" y="25"/>
                    </a:cubicBezTo>
                    <a:cubicBezTo>
                      <a:pt x="123" y="25"/>
                      <a:pt x="122" y="24"/>
                      <a:pt x="121" y="24"/>
                    </a:cubicBezTo>
                    <a:cubicBezTo>
                      <a:pt x="120" y="23"/>
                      <a:pt x="122" y="24"/>
                      <a:pt x="122" y="24"/>
                    </a:cubicBezTo>
                    <a:cubicBezTo>
                      <a:pt x="122" y="23"/>
                      <a:pt x="121" y="23"/>
                      <a:pt x="120" y="23"/>
                    </a:cubicBezTo>
                    <a:cubicBezTo>
                      <a:pt x="120" y="22"/>
                      <a:pt x="119" y="21"/>
                      <a:pt x="118" y="21"/>
                    </a:cubicBezTo>
                    <a:cubicBezTo>
                      <a:pt x="119" y="21"/>
                      <a:pt x="120" y="21"/>
                      <a:pt x="120" y="21"/>
                    </a:cubicBezTo>
                    <a:cubicBezTo>
                      <a:pt x="120" y="21"/>
                      <a:pt x="120" y="21"/>
                      <a:pt x="120" y="21"/>
                    </a:cubicBezTo>
                    <a:cubicBezTo>
                      <a:pt x="120" y="22"/>
                      <a:pt x="120" y="21"/>
                      <a:pt x="120" y="21"/>
                    </a:cubicBezTo>
                    <a:cubicBezTo>
                      <a:pt x="120" y="21"/>
                      <a:pt x="119" y="21"/>
                      <a:pt x="119" y="21"/>
                    </a:cubicBezTo>
                    <a:cubicBezTo>
                      <a:pt x="117" y="20"/>
                      <a:pt x="116" y="19"/>
                      <a:pt x="116" y="18"/>
                    </a:cubicBezTo>
                    <a:cubicBezTo>
                      <a:pt x="116" y="17"/>
                      <a:pt x="115" y="16"/>
                      <a:pt x="116" y="16"/>
                    </a:cubicBezTo>
                    <a:cubicBezTo>
                      <a:pt x="116" y="16"/>
                      <a:pt x="116" y="15"/>
                      <a:pt x="116" y="15"/>
                    </a:cubicBezTo>
                    <a:cubicBezTo>
                      <a:pt x="115" y="15"/>
                      <a:pt x="115" y="15"/>
                      <a:pt x="116" y="14"/>
                    </a:cubicBezTo>
                    <a:cubicBezTo>
                      <a:pt x="116" y="13"/>
                      <a:pt x="114" y="12"/>
                      <a:pt x="114" y="14"/>
                    </a:cubicBezTo>
                    <a:cubicBezTo>
                      <a:pt x="114" y="14"/>
                      <a:pt x="114" y="15"/>
                      <a:pt x="113" y="15"/>
                    </a:cubicBezTo>
                    <a:cubicBezTo>
                      <a:pt x="113" y="16"/>
                      <a:pt x="113" y="17"/>
                      <a:pt x="113" y="17"/>
                    </a:cubicBezTo>
                    <a:cubicBezTo>
                      <a:pt x="112" y="18"/>
                      <a:pt x="110" y="17"/>
                      <a:pt x="109" y="17"/>
                    </a:cubicBezTo>
                    <a:cubicBezTo>
                      <a:pt x="108" y="17"/>
                      <a:pt x="108" y="16"/>
                      <a:pt x="107" y="16"/>
                    </a:cubicBezTo>
                    <a:cubicBezTo>
                      <a:pt x="107" y="16"/>
                      <a:pt x="106" y="15"/>
                      <a:pt x="106" y="15"/>
                    </a:cubicBezTo>
                    <a:cubicBezTo>
                      <a:pt x="106" y="16"/>
                      <a:pt x="107" y="17"/>
                      <a:pt x="106" y="16"/>
                    </a:cubicBezTo>
                    <a:cubicBezTo>
                      <a:pt x="105" y="15"/>
                      <a:pt x="106" y="15"/>
                      <a:pt x="106" y="15"/>
                    </a:cubicBezTo>
                    <a:cubicBezTo>
                      <a:pt x="106" y="15"/>
                      <a:pt x="105" y="15"/>
                      <a:pt x="105" y="15"/>
                    </a:cubicBezTo>
                    <a:cubicBezTo>
                      <a:pt x="104" y="15"/>
                      <a:pt x="104" y="15"/>
                      <a:pt x="104" y="15"/>
                    </a:cubicBezTo>
                    <a:cubicBezTo>
                      <a:pt x="103" y="15"/>
                      <a:pt x="102" y="15"/>
                      <a:pt x="101" y="14"/>
                    </a:cubicBezTo>
                    <a:cubicBezTo>
                      <a:pt x="101" y="14"/>
                      <a:pt x="102" y="14"/>
                      <a:pt x="102" y="14"/>
                    </a:cubicBezTo>
                    <a:cubicBezTo>
                      <a:pt x="101" y="14"/>
                      <a:pt x="100" y="14"/>
                      <a:pt x="99" y="14"/>
                    </a:cubicBezTo>
                    <a:cubicBezTo>
                      <a:pt x="98" y="13"/>
                      <a:pt x="98" y="13"/>
                      <a:pt x="97" y="12"/>
                    </a:cubicBezTo>
                    <a:cubicBezTo>
                      <a:pt x="95" y="11"/>
                      <a:pt x="93" y="10"/>
                      <a:pt x="91" y="9"/>
                    </a:cubicBezTo>
                    <a:cubicBezTo>
                      <a:pt x="87" y="7"/>
                      <a:pt x="84" y="4"/>
                      <a:pt x="80" y="2"/>
                    </a:cubicBezTo>
                    <a:cubicBezTo>
                      <a:pt x="79" y="1"/>
                      <a:pt x="78" y="1"/>
                      <a:pt x="77" y="0"/>
                    </a:cubicBezTo>
                    <a:cubicBezTo>
                      <a:pt x="77" y="0"/>
                      <a:pt x="77" y="0"/>
                      <a:pt x="77" y="1"/>
                    </a:cubicBezTo>
                    <a:cubicBezTo>
                      <a:pt x="77" y="1"/>
                      <a:pt x="76" y="1"/>
                      <a:pt x="75" y="1"/>
                    </a:cubicBezTo>
                    <a:cubicBezTo>
                      <a:pt x="75" y="1"/>
                      <a:pt x="75" y="1"/>
                      <a:pt x="75" y="1"/>
                    </a:cubicBezTo>
                    <a:cubicBezTo>
                      <a:pt x="75" y="1"/>
                      <a:pt x="75" y="1"/>
                      <a:pt x="75" y="1"/>
                    </a:cubicBezTo>
                    <a:cubicBezTo>
                      <a:pt x="76" y="2"/>
                      <a:pt x="75" y="3"/>
                      <a:pt x="76" y="4"/>
                    </a:cubicBezTo>
                    <a:close/>
                    <a:moveTo>
                      <a:pt x="59" y="137"/>
                    </a:moveTo>
                    <a:cubicBezTo>
                      <a:pt x="59" y="137"/>
                      <a:pt x="57" y="137"/>
                      <a:pt x="57" y="137"/>
                    </a:cubicBezTo>
                    <a:cubicBezTo>
                      <a:pt x="57" y="136"/>
                      <a:pt x="58" y="136"/>
                      <a:pt x="57" y="136"/>
                    </a:cubicBezTo>
                    <a:cubicBezTo>
                      <a:pt x="57" y="136"/>
                      <a:pt x="57" y="136"/>
                      <a:pt x="57" y="136"/>
                    </a:cubicBezTo>
                    <a:cubicBezTo>
                      <a:pt x="57" y="136"/>
                      <a:pt x="57" y="136"/>
                      <a:pt x="56" y="136"/>
                    </a:cubicBezTo>
                    <a:cubicBezTo>
                      <a:pt x="56" y="136"/>
                      <a:pt x="56" y="135"/>
                      <a:pt x="56" y="135"/>
                    </a:cubicBezTo>
                    <a:cubicBezTo>
                      <a:pt x="56" y="135"/>
                      <a:pt x="56" y="135"/>
                      <a:pt x="56" y="135"/>
                    </a:cubicBezTo>
                    <a:cubicBezTo>
                      <a:pt x="55" y="135"/>
                      <a:pt x="56" y="135"/>
                      <a:pt x="56" y="134"/>
                    </a:cubicBezTo>
                    <a:cubicBezTo>
                      <a:pt x="56" y="134"/>
                      <a:pt x="56" y="134"/>
                      <a:pt x="55" y="134"/>
                    </a:cubicBezTo>
                    <a:cubicBezTo>
                      <a:pt x="55" y="134"/>
                      <a:pt x="54" y="134"/>
                      <a:pt x="54" y="134"/>
                    </a:cubicBezTo>
                    <a:cubicBezTo>
                      <a:pt x="53" y="134"/>
                      <a:pt x="52" y="134"/>
                      <a:pt x="52" y="133"/>
                    </a:cubicBezTo>
                    <a:cubicBezTo>
                      <a:pt x="52" y="133"/>
                      <a:pt x="53" y="133"/>
                      <a:pt x="53" y="132"/>
                    </a:cubicBezTo>
                    <a:cubicBezTo>
                      <a:pt x="53" y="132"/>
                      <a:pt x="53" y="132"/>
                      <a:pt x="53" y="132"/>
                    </a:cubicBezTo>
                    <a:cubicBezTo>
                      <a:pt x="53" y="132"/>
                      <a:pt x="53" y="131"/>
                      <a:pt x="53" y="131"/>
                    </a:cubicBezTo>
                    <a:cubicBezTo>
                      <a:pt x="53" y="130"/>
                      <a:pt x="52" y="129"/>
                      <a:pt x="51" y="129"/>
                    </a:cubicBezTo>
                    <a:cubicBezTo>
                      <a:pt x="50" y="129"/>
                      <a:pt x="50" y="130"/>
                      <a:pt x="50" y="130"/>
                    </a:cubicBezTo>
                    <a:cubicBezTo>
                      <a:pt x="49" y="131"/>
                      <a:pt x="48" y="130"/>
                      <a:pt x="47" y="130"/>
                    </a:cubicBezTo>
                    <a:cubicBezTo>
                      <a:pt x="46" y="130"/>
                      <a:pt x="46" y="129"/>
                      <a:pt x="45" y="129"/>
                    </a:cubicBezTo>
                    <a:cubicBezTo>
                      <a:pt x="45" y="128"/>
                      <a:pt x="45" y="127"/>
                      <a:pt x="45" y="126"/>
                    </a:cubicBezTo>
                    <a:cubicBezTo>
                      <a:pt x="44" y="126"/>
                      <a:pt x="44" y="127"/>
                      <a:pt x="44" y="127"/>
                    </a:cubicBezTo>
                    <a:cubicBezTo>
                      <a:pt x="44" y="127"/>
                      <a:pt x="42" y="126"/>
                      <a:pt x="42" y="126"/>
                    </a:cubicBezTo>
                    <a:cubicBezTo>
                      <a:pt x="41" y="126"/>
                      <a:pt x="42" y="127"/>
                      <a:pt x="41" y="127"/>
                    </a:cubicBezTo>
                    <a:cubicBezTo>
                      <a:pt x="41" y="127"/>
                      <a:pt x="41" y="127"/>
                      <a:pt x="41" y="127"/>
                    </a:cubicBezTo>
                    <a:cubicBezTo>
                      <a:pt x="40" y="127"/>
                      <a:pt x="40" y="128"/>
                      <a:pt x="40" y="128"/>
                    </a:cubicBezTo>
                    <a:cubicBezTo>
                      <a:pt x="41" y="129"/>
                      <a:pt x="40" y="129"/>
                      <a:pt x="40" y="129"/>
                    </a:cubicBezTo>
                    <a:cubicBezTo>
                      <a:pt x="40" y="130"/>
                      <a:pt x="41" y="129"/>
                      <a:pt x="40" y="130"/>
                    </a:cubicBezTo>
                    <a:cubicBezTo>
                      <a:pt x="40" y="131"/>
                      <a:pt x="39" y="130"/>
                      <a:pt x="39" y="130"/>
                    </a:cubicBezTo>
                    <a:cubicBezTo>
                      <a:pt x="38" y="130"/>
                      <a:pt x="38" y="130"/>
                      <a:pt x="38" y="130"/>
                    </a:cubicBezTo>
                    <a:cubicBezTo>
                      <a:pt x="38" y="130"/>
                      <a:pt x="38" y="131"/>
                      <a:pt x="38" y="131"/>
                    </a:cubicBezTo>
                    <a:cubicBezTo>
                      <a:pt x="39" y="131"/>
                      <a:pt x="38" y="131"/>
                      <a:pt x="38" y="132"/>
                    </a:cubicBezTo>
                    <a:cubicBezTo>
                      <a:pt x="37" y="132"/>
                      <a:pt x="37" y="131"/>
                      <a:pt x="37" y="131"/>
                    </a:cubicBezTo>
                    <a:cubicBezTo>
                      <a:pt x="37" y="131"/>
                      <a:pt x="36" y="131"/>
                      <a:pt x="36" y="131"/>
                    </a:cubicBezTo>
                    <a:cubicBezTo>
                      <a:pt x="36" y="131"/>
                      <a:pt x="36" y="132"/>
                      <a:pt x="36" y="132"/>
                    </a:cubicBezTo>
                    <a:cubicBezTo>
                      <a:pt x="36" y="132"/>
                      <a:pt x="36" y="131"/>
                      <a:pt x="36" y="131"/>
                    </a:cubicBezTo>
                    <a:cubicBezTo>
                      <a:pt x="35" y="131"/>
                      <a:pt x="36" y="132"/>
                      <a:pt x="36" y="132"/>
                    </a:cubicBezTo>
                    <a:cubicBezTo>
                      <a:pt x="37" y="133"/>
                      <a:pt x="37" y="133"/>
                      <a:pt x="37" y="133"/>
                    </a:cubicBezTo>
                    <a:cubicBezTo>
                      <a:pt x="36" y="133"/>
                      <a:pt x="36" y="133"/>
                      <a:pt x="35" y="133"/>
                    </a:cubicBezTo>
                    <a:cubicBezTo>
                      <a:pt x="35" y="133"/>
                      <a:pt x="35" y="133"/>
                      <a:pt x="35" y="133"/>
                    </a:cubicBezTo>
                    <a:cubicBezTo>
                      <a:pt x="35" y="133"/>
                      <a:pt x="35" y="133"/>
                      <a:pt x="35" y="133"/>
                    </a:cubicBezTo>
                    <a:cubicBezTo>
                      <a:pt x="35" y="133"/>
                      <a:pt x="34" y="133"/>
                      <a:pt x="34" y="133"/>
                    </a:cubicBezTo>
                    <a:cubicBezTo>
                      <a:pt x="34" y="133"/>
                      <a:pt x="34" y="134"/>
                      <a:pt x="35" y="134"/>
                    </a:cubicBezTo>
                    <a:cubicBezTo>
                      <a:pt x="35" y="135"/>
                      <a:pt x="35" y="135"/>
                      <a:pt x="36" y="135"/>
                    </a:cubicBezTo>
                    <a:cubicBezTo>
                      <a:pt x="36" y="136"/>
                      <a:pt x="36" y="135"/>
                      <a:pt x="36" y="135"/>
                    </a:cubicBezTo>
                    <a:cubicBezTo>
                      <a:pt x="36" y="135"/>
                      <a:pt x="37" y="135"/>
                      <a:pt x="37" y="135"/>
                    </a:cubicBezTo>
                    <a:cubicBezTo>
                      <a:pt x="37" y="135"/>
                      <a:pt x="36" y="136"/>
                      <a:pt x="37" y="136"/>
                    </a:cubicBezTo>
                    <a:cubicBezTo>
                      <a:pt x="37" y="136"/>
                      <a:pt x="38" y="136"/>
                      <a:pt x="38" y="136"/>
                    </a:cubicBezTo>
                    <a:cubicBezTo>
                      <a:pt x="38" y="136"/>
                      <a:pt x="39" y="137"/>
                      <a:pt x="39" y="137"/>
                    </a:cubicBezTo>
                    <a:cubicBezTo>
                      <a:pt x="39" y="138"/>
                      <a:pt x="39" y="138"/>
                      <a:pt x="40" y="138"/>
                    </a:cubicBezTo>
                    <a:cubicBezTo>
                      <a:pt x="40" y="138"/>
                      <a:pt x="39" y="138"/>
                      <a:pt x="39" y="138"/>
                    </a:cubicBezTo>
                    <a:cubicBezTo>
                      <a:pt x="38" y="139"/>
                      <a:pt x="38" y="138"/>
                      <a:pt x="38" y="137"/>
                    </a:cubicBezTo>
                    <a:cubicBezTo>
                      <a:pt x="38" y="137"/>
                      <a:pt x="38" y="138"/>
                      <a:pt x="38" y="138"/>
                    </a:cubicBezTo>
                    <a:cubicBezTo>
                      <a:pt x="38" y="137"/>
                      <a:pt x="37" y="136"/>
                      <a:pt x="37" y="137"/>
                    </a:cubicBezTo>
                    <a:cubicBezTo>
                      <a:pt x="37" y="136"/>
                      <a:pt x="37" y="136"/>
                      <a:pt x="36" y="136"/>
                    </a:cubicBezTo>
                    <a:cubicBezTo>
                      <a:pt x="36" y="136"/>
                      <a:pt x="36" y="136"/>
                      <a:pt x="36" y="137"/>
                    </a:cubicBezTo>
                    <a:cubicBezTo>
                      <a:pt x="36" y="138"/>
                      <a:pt x="38" y="139"/>
                      <a:pt x="39" y="139"/>
                    </a:cubicBezTo>
                    <a:cubicBezTo>
                      <a:pt x="39" y="140"/>
                      <a:pt x="39" y="140"/>
                      <a:pt x="39" y="141"/>
                    </a:cubicBezTo>
                    <a:cubicBezTo>
                      <a:pt x="39" y="141"/>
                      <a:pt x="39" y="142"/>
                      <a:pt x="39" y="141"/>
                    </a:cubicBezTo>
                    <a:cubicBezTo>
                      <a:pt x="40" y="141"/>
                      <a:pt x="40" y="140"/>
                      <a:pt x="40" y="140"/>
                    </a:cubicBezTo>
                    <a:cubicBezTo>
                      <a:pt x="40" y="139"/>
                      <a:pt x="41" y="139"/>
                      <a:pt x="41" y="139"/>
                    </a:cubicBezTo>
                    <a:cubicBezTo>
                      <a:pt x="42" y="139"/>
                      <a:pt x="42" y="139"/>
                      <a:pt x="42" y="140"/>
                    </a:cubicBezTo>
                    <a:cubicBezTo>
                      <a:pt x="42" y="140"/>
                      <a:pt x="42" y="141"/>
                      <a:pt x="42" y="141"/>
                    </a:cubicBezTo>
                    <a:cubicBezTo>
                      <a:pt x="43" y="141"/>
                      <a:pt x="44" y="140"/>
                      <a:pt x="44" y="140"/>
                    </a:cubicBezTo>
                    <a:cubicBezTo>
                      <a:pt x="44" y="140"/>
                      <a:pt x="44" y="139"/>
                      <a:pt x="43" y="139"/>
                    </a:cubicBezTo>
                    <a:cubicBezTo>
                      <a:pt x="43" y="138"/>
                      <a:pt x="42" y="138"/>
                      <a:pt x="42" y="138"/>
                    </a:cubicBezTo>
                    <a:cubicBezTo>
                      <a:pt x="42" y="138"/>
                      <a:pt x="40" y="138"/>
                      <a:pt x="41" y="138"/>
                    </a:cubicBezTo>
                    <a:cubicBezTo>
                      <a:pt x="41" y="138"/>
                      <a:pt x="42" y="137"/>
                      <a:pt x="41" y="137"/>
                    </a:cubicBezTo>
                    <a:cubicBezTo>
                      <a:pt x="41" y="136"/>
                      <a:pt x="40" y="136"/>
                      <a:pt x="40" y="135"/>
                    </a:cubicBezTo>
                    <a:cubicBezTo>
                      <a:pt x="40" y="136"/>
                      <a:pt x="40" y="134"/>
                      <a:pt x="41" y="135"/>
                    </a:cubicBezTo>
                    <a:cubicBezTo>
                      <a:pt x="42" y="135"/>
                      <a:pt x="43" y="135"/>
                      <a:pt x="43" y="136"/>
                    </a:cubicBezTo>
                    <a:cubicBezTo>
                      <a:pt x="43" y="137"/>
                      <a:pt x="44" y="138"/>
                      <a:pt x="45" y="138"/>
                    </a:cubicBezTo>
                    <a:cubicBezTo>
                      <a:pt x="45" y="139"/>
                      <a:pt x="46" y="139"/>
                      <a:pt x="46" y="140"/>
                    </a:cubicBezTo>
                    <a:cubicBezTo>
                      <a:pt x="46" y="140"/>
                      <a:pt x="45" y="141"/>
                      <a:pt x="45" y="141"/>
                    </a:cubicBezTo>
                    <a:cubicBezTo>
                      <a:pt x="45" y="141"/>
                      <a:pt x="46" y="141"/>
                      <a:pt x="46" y="141"/>
                    </a:cubicBezTo>
                    <a:cubicBezTo>
                      <a:pt x="47" y="141"/>
                      <a:pt x="47" y="141"/>
                      <a:pt x="47" y="141"/>
                    </a:cubicBezTo>
                    <a:cubicBezTo>
                      <a:pt x="46" y="142"/>
                      <a:pt x="46" y="142"/>
                      <a:pt x="47" y="142"/>
                    </a:cubicBezTo>
                    <a:cubicBezTo>
                      <a:pt x="46" y="142"/>
                      <a:pt x="47" y="143"/>
                      <a:pt x="47" y="143"/>
                    </a:cubicBezTo>
                    <a:cubicBezTo>
                      <a:pt x="47" y="143"/>
                      <a:pt x="47" y="144"/>
                      <a:pt x="46" y="144"/>
                    </a:cubicBezTo>
                    <a:cubicBezTo>
                      <a:pt x="46" y="145"/>
                      <a:pt x="46" y="145"/>
                      <a:pt x="46" y="146"/>
                    </a:cubicBezTo>
                    <a:cubicBezTo>
                      <a:pt x="46" y="147"/>
                      <a:pt x="45" y="146"/>
                      <a:pt x="45" y="146"/>
                    </a:cubicBezTo>
                    <a:cubicBezTo>
                      <a:pt x="45" y="146"/>
                      <a:pt x="45" y="148"/>
                      <a:pt x="45" y="148"/>
                    </a:cubicBezTo>
                    <a:cubicBezTo>
                      <a:pt x="46" y="148"/>
                      <a:pt x="46" y="149"/>
                      <a:pt x="46" y="150"/>
                    </a:cubicBezTo>
                    <a:cubicBezTo>
                      <a:pt x="46" y="149"/>
                      <a:pt x="46" y="150"/>
                      <a:pt x="46" y="150"/>
                    </a:cubicBezTo>
                    <a:cubicBezTo>
                      <a:pt x="46" y="150"/>
                      <a:pt x="46" y="150"/>
                      <a:pt x="47" y="151"/>
                    </a:cubicBezTo>
                    <a:cubicBezTo>
                      <a:pt x="47" y="151"/>
                      <a:pt x="48" y="151"/>
                      <a:pt x="48" y="152"/>
                    </a:cubicBezTo>
                    <a:cubicBezTo>
                      <a:pt x="48" y="153"/>
                      <a:pt x="48" y="153"/>
                      <a:pt x="48" y="154"/>
                    </a:cubicBezTo>
                    <a:cubicBezTo>
                      <a:pt x="48" y="154"/>
                      <a:pt x="47" y="154"/>
                      <a:pt x="47" y="154"/>
                    </a:cubicBezTo>
                    <a:cubicBezTo>
                      <a:pt x="47" y="155"/>
                      <a:pt x="48" y="155"/>
                      <a:pt x="48" y="156"/>
                    </a:cubicBezTo>
                    <a:cubicBezTo>
                      <a:pt x="49" y="156"/>
                      <a:pt x="50" y="156"/>
                      <a:pt x="50" y="156"/>
                    </a:cubicBezTo>
                    <a:cubicBezTo>
                      <a:pt x="51" y="156"/>
                      <a:pt x="52" y="157"/>
                      <a:pt x="52" y="156"/>
                    </a:cubicBezTo>
                    <a:cubicBezTo>
                      <a:pt x="53" y="156"/>
                      <a:pt x="52" y="155"/>
                      <a:pt x="51" y="155"/>
                    </a:cubicBezTo>
                    <a:cubicBezTo>
                      <a:pt x="51" y="154"/>
                      <a:pt x="50" y="154"/>
                      <a:pt x="50" y="153"/>
                    </a:cubicBezTo>
                    <a:cubicBezTo>
                      <a:pt x="50" y="152"/>
                      <a:pt x="50" y="151"/>
                      <a:pt x="50" y="151"/>
                    </a:cubicBezTo>
                    <a:cubicBezTo>
                      <a:pt x="51" y="150"/>
                      <a:pt x="52" y="151"/>
                      <a:pt x="52" y="151"/>
                    </a:cubicBezTo>
                    <a:cubicBezTo>
                      <a:pt x="52" y="151"/>
                      <a:pt x="52" y="153"/>
                      <a:pt x="52" y="152"/>
                    </a:cubicBezTo>
                    <a:cubicBezTo>
                      <a:pt x="51" y="152"/>
                      <a:pt x="51" y="152"/>
                      <a:pt x="51" y="152"/>
                    </a:cubicBezTo>
                    <a:cubicBezTo>
                      <a:pt x="50" y="152"/>
                      <a:pt x="51" y="152"/>
                      <a:pt x="51" y="153"/>
                    </a:cubicBezTo>
                    <a:cubicBezTo>
                      <a:pt x="52" y="153"/>
                      <a:pt x="52" y="153"/>
                      <a:pt x="52" y="154"/>
                    </a:cubicBezTo>
                    <a:cubicBezTo>
                      <a:pt x="53" y="154"/>
                      <a:pt x="53" y="155"/>
                      <a:pt x="53" y="155"/>
                    </a:cubicBezTo>
                    <a:cubicBezTo>
                      <a:pt x="54" y="156"/>
                      <a:pt x="54" y="157"/>
                      <a:pt x="53" y="158"/>
                    </a:cubicBezTo>
                    <a:cubicBezTo>
                      <a:pt x="53" y="158"/>
                      <a:pt x="53" y="159"/>
                      <a:pt x="54" y="158"/>
                    </a:cubicBezTo>
                    <a:cubicBezTo>
                      <a:pt x="54" y="158"/>
                      <a:pt x="55" y="158"/>
                      <a:pt x="56" y="157"/>
                    </a:cubicBezTo>
                    <a:cubicBezTo>
                      <a:pt x="56" y="157"/>
                      <a:pt x="56" y="156"/>
                      <a:pt x="56" y="156"/>
                    </a:cubicBezTo>
                    <a:cubicBezTo>
                      <a:pt x="56" y="156"/>
                      <a:pt x="56" y="156"/>
                      <a:pt x="57" y="156"/>
                    </a:cubicBezTo>
                    <a:cubicBezTo>
                      <a:pt x="56" y="156"/>
                      <a:pt x="56" y="155"/>
                      <a:pt x="56" y="155"/>
                    </a:cubicBezTo>
                    <a:cubicBezTo>
                      <a:pt x="55" y="155"/>
                      <a:pt x="55" y="154"/>
                      <a:pt x="56" y="154"/>
                    </a:cubicBezTo>
                    <a:cubicBezTo>
                      <a:pt x="56" y="153"/>
                      <a:pt x="57" y="154"/>
                      <a:pt x="57" y="154"/>
                    </a:cubicBezTo>
                    <a:cubicBezTo>
                      <a:pt x="57" y="154"/>
                      <a:pt x="58" y="155"/>
                      <a:pt x="58" y="154"/>
                    </a:cubicBezTo>
                    <a:cubicBezTo>
                      <a:pt x="58" y="154"/>
                      <a:pt x="58" y="154"/>
                      <a:pt x="58" y="153"/>
                    </a:cubicBezTo>
                    <a:cubicBezTo>
                      <a:pt x="58" y="153"/>
                      <a:pt x="58" y="153"/>
                      <a:pt x="58" y="152"/>
                    </a:cubicBezTo>
                    <a:cubicBezTo>
                      <a:pt x="58" y="151"/>
                      <a:pt x="58" y="150"/>
                      <a:pt x="57" y="149"/>
                    </a:cubicBezTo>
                    <a:cubicBezTo>
                      <a:pt x="57" y="149"/>
                      <a:pt x="57" y="148"/>
                      <a:pt x="57" y="147"/>
                    </a:cubicBezTo>
                    <a:cubicBezTo>
                      <a:pt x="57" y="147"/>
                      <a:pt x="57" y="146"/>
                      <a:pt x="57" y="145"/>
                    </a:cubicBezTo>
                    <a:cubicBezTo>
                      <a:pt x="57" y="145"/>
                      <a:pt x="57" y="144"/>
                      <a:pt x="57" y="143"/>
                    </a:cubicBezTo>
                    <a:cubicBezTo>
                      <a:pt x="57" y="143"/>
                      <a:pt x="57" y="143"/>
                      <a:pt x="57" y="142"/>
                    </a:cubicBezTo>
                    <a:cubicBezTo>
                      <a:pt x="57" y="143"/>
                      <a:pt x="58" y="142"/>
                      <a:pt x="57" y="142"/>
                    </a:cubicBezTo>
                    <a:cubicBezTo>
                      <a:pt x="57" y="142"/>
                      <a:pt x="57" y="142"/>
                      <a:pt x="57" y="141"/>
                    </a:cubicBezTo>
                    <a:cubicBezTo>
                      <a:pt x="57" y="141"/>
                      <a:pt x="57" y="141"/>
                      <a:pt x="57" y="140"/>
                    </a:cubicBezTo>
                    <a:cubicBezTo>
                      <a:pt x="57" y="140"/>
                      <a:pt x="58" y="140"/>
                      <a:pt x="58" y="140"/>
                    </a:cubicBezTo>
                    <a:cubicBezTo>
                      <a:pt x="58" y="139"/>
                      <a:pt x="57" y="139"/>
                      <a:pt x="58" y="139"/>
                    </a:cubicBezTo>
                    <a:cubicBezTo>
                      <a:pt x="58" y="139"/>
                      <a:pt x="59" y="139"/>
                      <a:pt x="58" y="138"/>
                    </a:cubicBezTo>
                    <a:cubicBezTo>
                      <a:pt x="58" y="138"/>
                      <a:pt x="58" y="138"/>
                      <a:pt x="58" y="138"/>
                    </a:cubicBezTo>
                    <a:cubicBezTo>
                      <a:pt x="58" y="138"/>
                      <a:pt x="58" y="138"/>
                      <a:pt x="58" y="138"/>
                    </a:cubicBezTo>
                    <a:cubicBezTo>
                      <a:pt x="58" y="138"/>
                      <a:pt x="59" y="138"/>
                      <a:pt x="59" y="137"/>
                    </a:cubicBezTo>
                    <a:close/>
                    <a:moveTo>
                      <a:pt x="164" y="200"/>
                    </a:moveTo>
                    <a:cubicBezTo>
                      <a:pt x="164" y="200"/>
                      <a:pt x="164" y="200"/>
                      <a:pt x="164" y="200"/>
                    </a:cubicBezTo>
                    <a:cubicBezTo>
                      <a:pt x="164" y="200"/>
                      <a:pt x="164" y="200"/>
                      <a:pt x="164" y="200"/>
                    </a:cubicBezTo>
                    <a:close/>
                    <a:moveTo>
                      <a:pt x="78" y="126"/>
                    </a:moveTo>
                    <a:cubicBezTo>
                      <a:pt x="78" y="126"/>
                      <a:pt x="77" y="126"/>
                      <a:pt x="77" y="125"/>
                    </a:cubicBezTo>
                    <a:cubicBezTo>
                      <a:pt x="77" y="124"/>
                      <a:pt x="77" y="124"/>
                      <a:pt x="77" y="123"/>
                    </a:cubicBezTo>
                    <a:cubicBezTo>
                      <a:pt x="77" y="123"/>
                      <a:pt x="77" y="123"/>
                      <a:pt x="76" y="123"/>
                    </a:cubicBezTo>
                    <a:cubicBezTo>
                      <a:pt x="76" y="123"/>
                      <a:pt x="76" y="123"/>
                      <a:pt x="76" y="123"/>
                    </a:cubicBezTo>
                    <a:cubicBezTo>
                      <a:pt x="76" y="123"/>
                      <a:pt x="76" y="123"/>
                      <a:pt x="75" y="123"/>
                    </a:cubicBezTo>
                    <a:cubicBezTo>
                      <a:pt x="75" y="123"/>
                      <a:pt x="74" y="123"/>
                      <a:pt x="73" y="123"/>
                    </a:cubicBezTo>
                    <a:cubicBezTo>
                      <a:pt x="73" y="122"/>
                      <a:pt x="72" y="122"/>
                      <a:pt x="72" y="122"/>
                    </a:cubicBezTo>
                    <a:cubicBezTo>
                      <a:pt x="72" y="122"/>
                      <a:pt x="72" y="121"/>
                      <a:pt x="71" y="121"/>
                    </a:cubicBezTo>
                    <a:cubicBezTo>
                      <a:pt x="71" y="121"/>
                      <a:pt x="71" y="122"/>
                      <a:pt x="71" y="122"/>
                    </a:cubicBezTo>
                    <a:cubicBezTo>
                      <a:pt x="70" y="122"/>
                      <a:pt x="70" y="121"/>
                      <a:pt x="69" y="122"/>
                    </a:cubicBezTo>
                    <a:cubicBezTo>
                      <a:pt x="69" y="122"/>
                      <a:pt x="69" y="123"/>
                      <a:pt x="68" y="123"/>
                    </a:cubicBezTo>
                    <a:cubicBezTo>
                      <a:pt x="68" y="123"/>
                      <a:pt x="67" y="123"/>
                      <a:pt x="67" y="123"/>
                    </a:cubicBezTo>
                    <a:cubicBezTo>
                      <a:pt x="67" y="123"/>
                      <a:pt x="69" y="124"/>
                      <a:pt x="68" y="125"/>
                    </a:cubicBezTo>
                    <a:cubicBezTo>
                      <a:pt x="68" y="126"/>
                      <a:pt x="67" y="126"/>
                      <a:pt x="66" y="126"/>
                    </a:cubicBezTo>
                    <a:cubicBezTo>
                      <a:pt x="66" y="126"/>
                      <a:pt x="65" y="126"/>
                      <a:pt x="65" y="126"/>
                    </a:cubicBezTo>
                    <a:cubicBezTo>
                      <a:pt x="65" y="126"/>
                      <a:pt x="65" y="127"/>
                      <a:pt x="64" y="127"/>
                    </a:cubicBezTo>
                    <a:cubicBezTo>
                      <a:pt x="64" y="126"/>
                      <a:pt x="62" y="124"/>
                      <a:pt x="61" y="124"/>
                    </a:cubicBezTo>
                    <a:cubicBezTo>
                      <a:pt x="61" y="124"/>
                      <a:pt x="62" y="125"/>
                      <a:pt x="62" y="125"/>
                    </a:cubicBezTo>
                    <a:cubicBezTo>
                      <a:pt x="61" y="125"/>
                      <a:pt x="61" y="125"/>
                      <a:pt x="61" y="125"/>
                    </a:cubicBezTo>
                    <a:cubicBezTo>
                      <a:pt x="61" y="126"/>
                      <a:pt x="61" y="126"/>
                      <a:pt x="61" y="126"/>
                    </a:cubicBezTo>
                    <a:cubicBezTo>
                      <a:pt x="61" y="127"/>
                      <a:pt x="60" y="127"/>
                      <a:pt x="61" y="127"/>
                    </a:cubicBezTo>
                    <a:cubicBezTo>
                      <a:pt x="61" y="128"/>
                      <a:pt x="61" y="128"/>
                      <a:pt x="61" y="129"/>
                    </a:cubicBezTo>
                    <a:cubicBezTo>
                      <a:pt x="61" y="129"/>
                      <a:pt x="60" y="129"/>
                      <a:pt x="60" y="130"/>
                    </a:cubicBezTo>
                    <a:cubicBezTo>
                      <a:pt x="59" y="130"/>
                      <a:pt x="59" y="130"/>
                      <a:pt x="59" y="131"/>
                    </a:cubicBezTo>
                    <a:cubicBezTo>
                      <a:pt x="58" y="132"/>
                      <a:pt x="57" y="132"/>
                      <a:pt x="56" y="133"/>
                    </a:cubicBezTo>
                    <a:cubicBezTo>
                      <a:pt x="57" y="133"/>
                      <a:pt x="57" y="133"/>
                      <a:pt x="57" y="133"/>
                    </a:cubicBezTo>
                    <a:cubicBezTo>
                      <a:pt x="57" y="132"/>
                      <a:pt x="57" y="133"/>
                      <a:pt x="58" y="133"/>
                    </a:cubicBezTo>
                    <a:cubicBezTo>
                      <a:pt x="58" y="133"/>
                      <a:pt x="58" y="132"/>
                      <a:pt x="58" y="132"/>
                    </a:cubicBezTo>
                    <a:cubicBezTo>
                      <a:pt x="58" y="132"/>
                      <a:pt x="58" y="132"/>
                      <a:pt x="58" y="132"/>
                    </a:cubicBezTo>
                    <a:cubicBezTo>
                      <a:pt x="59" y="132"/>
                      <a:pt x="59" y="131"/>
                      <a:pt x="59" y="132"/>
                    </a:cubicBezTo>
                    <a:cubicBezTo>
                      <a:pt x="60" y="132"/>
                      <a:pt x="60" y="133"/>
                      <a:pt x="60" y="133"/>
                    </a:cubicBezTo>
                    <a:cubicBezTo>
                      <a:pt x="60" y="133"/>
                      <a:pt x="60" y="133"/>
                      <a:pt x="60" y="133"/>
                    </a:cubicBezTo>
                    <a:cubicBezTo>
                      <a:pt x="61" y="133"/>
                      <a:pt x="61" y="133"/>
                      <a:pt x="61" y="134"/>
                    </a:cubicBezTo>
                    <a:cubicBezTo>
                      <a:pt x="61" y="134"/>
                      <a:pt x="62" y="134"/>
                      <a:pt x="62" y="134"/>
                    </a:cubicBezTo>
                    <a:cubicBezTo>
                      <a:pt x="62" y="135"/>
                      <a:pt x="61" y="135"/>
                      <a:pt x="61" y="135"/>
                    </a:cubicBezTo>
                    <a:cubicBezTo>
                      <a:pt x="61" y="135"/>
                      <a:pt x="61" y="135"/>
                      <a:pt x="62" y="135"/>
                    </a:cubicBezTo>
                    <a:cubicBezTo>
                      <a:pt x="62" y="135"/>
                      <a:pt x="62" y="135"/>
                      <a:pt x="61" y="135"/>
                    </a:cubicBezTo>
                    <a:cubicBezTo>
                      <a:pt x="62" y="136"/>
                      <a:pt x="62" y="136"/>
                      <a:pt x="61" y="136"/>
                    </a:cubicBezTo>
                    <a:cubicBezTo>
                      <a:pt x="62" y="136"/>
                      <a:pt x="62" y="136"/>
                      <a:pt x="62" y="137"/>
                    </a:cubicBezTo>
                    <a:cubicBezTo>
                      <a:pt x="62" y="137"/>
                      <a:pt x="63" y="138"/>
                      <a:pt x="63" y="138"/>
                    </a:cubicBezTo>
                    <a:cubicBezTo>
                      <a:pt x="63" y="137"/>
                      <a:pt x="63" y="137"/>
                      <a:pt x="63" y="137"/>
                    </a:cubicBezTo>
                    <a:cubicBezTo>
                      <a:pt x="64" y="137"/>
                      <a:pt x="64" y="138"/>
                      <a:pt x="64" y="138"/>
                    </a:cubicBezTo>
                    <a:cubicBezTo>
                      <a:pt x="65" y="138"/>
                      <a:pt x="65" y="138"/>
                      <a:pt x="65" y="138"/>
                    </a:cubicBezTo>
                    <a:cubicBezTo>
                      <a:pt x="65" y="138"/>
                      <a:pt x="64" y="140"/>
                      <a:pt x="65" y="139"/>
                    </a:cubicBezTo>
                    <a:cubicBezTo>
                      <a:pt x="65" y="139"/>
                      <a:pt x="65" y="139"/>
                      <a:pt x="65" y="139"/>
                    </a:cubicBezTo>
                    <a:cubicBezTo>
                      <a:pt x="66" y="140"/>
                      <a:pt x="67" y="139"/>
                      <a:pt x="67" y="139"/>
                    </a:cubicBezTo>
                    <a:cubicBezTo>
                      <a:pt x="67" y="139"/>
                      <a:pt x="68" y="140"/>
                      <a:pt x="68" y="140"/>
                    </a:cubicBezTo>
                    <a:cubicBezTo>
                      <a:pt x="69" y="139"/>
                      <a:pt x="67" y="139"/>
                      <a:pt x="67" y="138"/>
                    </a:cubicBezTo>
                    <a:cubicBezTo>
                      <a:pt x="68" y="138"/>
                      <a:pt x="67" y="137"/>
                      <a:pt x="67" y="137"/>
                    </a:cubicBezTo>
                    <a:cubicBezTo>
                      <a:pt x="67" y="136"/>
                      <a:pt x="68" y="137"/>
                      <a:pt x="68" y="136"/>
                    </a:cubicBezTo>
                    <a:cubicBezTo>
                      <a:pt x="68" y="136"/>
                      <a:pt x="68" y="135"/>
                      <a:pt x="68" y="135"/>
                    </a:cubicBezTo>
                    <a:cubicBezTo>
                      <a:pt x="68" y="135"/>
                      <a:pt x="68" y="134"/>
                      <a:pt x="68" y="133"/>
                    </a:cubicBezTo>
                    <a:cubicBezTo>
                      <a:pt x="68" y="133"/>
                      <a:pt x="68" y="132"/>
                      <a:pt x="68" y="133"/>
                    </a:cubicBezTo>
                    <a:cubicBezTo>
                      <a:pt x="68" y="132"/>
                      <a:pt x="69" y="132"/>
                      <a:pt x="69" y="132"/>
                    </a:cubicBezTo>
                    <a:cubicBezTo>
                      <a:pt x="69" y="132"/>
                      <a:pt x="69" y="132"/>
                      <a:pt x="70" y="132"/>
                    </a:cubicBezTo>
                    <a:cubicBezTo>
                      <a:pt x="70" y="131"/>
                      <a:pt x="70" y="131"/>
                      <a:pt x="71" y="131"/>
                    </a:cubicBezTo>
                    <a:cubicBezTo>
                      <a:pt x="71" y="131"/>
                      <a:pt x="72" y="131"/>
                      <a:pt x="72" y="131"/>
                    </a:cubicBezTo>
                    <a:cubicBezTo>
                      <a:pt x="73" y="131"/>
                      <a:pt x="74" y="132"/>
                      <a:pt x="75" y="132"/>
                    </a:cubicBezTo>
                    <a:cubicBezTo>
                      <a:pt x="75" y="133"/>
                      <a:pt x="76" y="134"/>
                      <a:pt x="77" y="134"/>
                    </a:cubicBezTo>
                    <a:cubicBezTo>
                      <a:pt x="77" y="133"/>
                      <a:pt x="76" y="132"/>
                      <a:pt x="77" y="132"/>
                    </a:cubicBezTo>
                    <a:cubicBezTo>
                      <a:pt x="77" y="131"/>
                      <a:pt x="77" y="131"/>
                      <a:pt x="77" y="130"/>
                    </a:cubicBezTo>
                    <a:cubicBezTo>
                      <a:pt x="77" y="129"/>
                      <a:pt x="78" y="129"/>
                      <a:pt x="78" y="128"/>
                    </a:cubicBezTo>
                    <a:cubicBezTo>
                      <a:pt x="79" y="128"/>
                      <a:pt x="79" y="128"/>
                      <a:pt x="79" y="127"/>
                    </a:cubicBezTo>
                    <a:cubicBezTo>
                      <a:pt x="79" y="128"/>
                      <a:pt x="79" y="127"/>
                      <a:pt x="79" y="127"/>
                    </a:cubicBezTo>
                    <a:cubicBezTo>
                      <a:pt x="79" y="127"/>
                      <a:pt x="78" y="126"/>
                      <a:pt x="78" y="126"/>
                    </a:cubicBezTo>
                    <a:close/>
                    <a:moveTo>
                      <a:pt x="122" y="125"/>
                    </a:moveTo>
                    <a:cubicBezTo>
                      <a:pt x="122" y="125"/>
                      <a:pt x="123" y="125"/>
                      <a:pt x="123" y="125"/>
                    </a:cubicBezTo>
                    <a:cubicBezTo>
                      <a:pt x="122" y="124"/>
                      <a:pt x="122" y="125"/>
                      <a:pt x="122" y="125"/>
                    </a:cubicBezTo>
                    <a:close/>
                    <a:moveTo>
                      <a:pt x="34" y="128"/>
                    </a:moveTo>
                    <a:cubicBezTo>
                      <a:pt x="33" y="127"/>
                      <a:pt x="33" y="127"/>
                      <a:pt x="33" y="128"/>
                    </a:cubicBezTo>
                    <a:cubicBezTo>
                      <a:pt x="33" y="128"/>
                      <a:pt x="33" y="128"/>
                      <a:pt x="33" y="129"/>
                    </a:cubicBezTo>
                    <a:cubicBezTo>
                      <a:pt x="34" y="129"/>
                      <a:pt x="34" y="129"/>
                      <a:pt x="34" y="128"/>
                    </a:cubicBezTo>
                    <a:cubicBezTo>
                      <a:pt x="34" y="128"/>
                      <a:pt x="34" y="128"/>
                      <a:pt x="34" y="128"/>
                    </a:cubicBezTo>
                    <a:close/>
                    <a:moveTo>
                      <a:pt x="123" y="103"/>
                    </a:moveTo>
                    <a:cubicBezTo>
                      <a:pt x="122" y="102"/>
                      <a:pt x="121" y="101"/>
                      <a:pt x="121" y="100"/>
                    </a:cubicBezTo>
                    <a:cubicBezTo>
                      <a:pt x="121" y="99"/>
                      <a:pt x="120" y="99"/>
                      <a:pt x="120" y="98"/>
                    </a:cubicBezTo>
                    <a:cubicBezTo>
                      <a:pt x="120" y="97"/>
                      <a:pt x="120" y="96"/>
                      <a:pt x="120" y="95"/>
                    </a:cubicBezTo>
                    <a:cubicBezTo>
                      <a:pt x="120" y="94"/>
                      <a:pt x="120" y="94"/>
                      <a:pt x="120" y="94"/>
                    </a:cubicBezTo>
                    <a:cubicBezTo>
                      <a:pt x="120" y="94"/>
                      <a:pt x="121" y="94"/>
                      <a:pt x="121" y="93"/>
                    </a:cubicBezTo>
                    <a:cubicBezTo>
                      <a:pt x="122" y="93"/>
                      <a:pt x="120" y="90"/>
                      <a:pt x="120" y="90"/>
                    </a:cubicBezTo>
                    <a:cubicBezTo>
                      <a:pt x="120" y="89"/>
                      <a:pt x="119" y="88"/>
                      <a:pt x="119" y="87"/>
                    </a:cubicBezTo>
                    <a:cubicBezTo>
                      <a:pt x="119" y="87"/>
                      <a:pt x="119" y="87"/>
                      <a:pt x="118" y="86"/>
                    </a:cubicBezTo>
                    <a:cubicBezTo>
                      <a:pt x="118" y="85"/>
                      <a:pt x="117" y="85"/>
                      <a:pt x="116" y="84"/>
                    </a:cubicBezTo>
                    <a:cubicBezTo>
                      <a:pt x="116" y="83"/>
                      <a:pt x="115" y="82"/>
                      <a:pt x="115" y="81"/>
                    </a:cubicBezTo>
                    <a:cubicBezTo>
                      <a:pt x="115" y="80"/>
                      <a:pt x="114" y="80"/>
                      <a:pt x="115" y="79"/>
                    </a:cubicBezTo>
                    <a:cubicBezTo>
                      <a:pt x="115" y="79"/>
                      <a:pt x="115" y="79"/>
                      <a:pt x="115" y="78"/>
                    </a:cubicBezTo>
                    <a:cubicBezTo>
                      <a:pt x="115" y="78"/>
                      <a:pt x="114" y="78"/>
                      <a:pt x="115" y="78"/>
                    </a:cubicBezTo>
                    <a:cubicBezTo>
                      <a:pt x="115" y="78"/>
                      <a:pt x="115" y="78"/>
                      <a:pt x="115" y="78"/>
                    </a:cubicBezTo>
                    <a:cubicBezTo>
                      <a:pt x="116" y="79"/>
                      <a:pt x="115" y="78"/>
                      <a:pt x="116" y="78"/>
                    </a:cubicBezTo>
                    <a:cubicBezTo>
                      <a:pt x="116" y="76"/>
                      <a:pt x="119" y="78"/>
                      <a:pt x="119" y="79"/>
                    </a:cubicBezTo>
                    <a:cubicBezTo>
                      <a:pt x="119" y="78"/>
                      <a:pt x="118" y="78"/>
                      <a:pt x="119" y="78"/>
                    </a:cubicBezTo>
                    <a:cubicBezTo>
                      <a:pt x="119" y="77"/>
                      <a:pt x="118" y="77"/>
                      <a:pt x="118" y="77"/>
                    </a:cubicBezTo>
                    <a:cubicBezTo>
                      <a:pt x="118" y="77"/>
                      <a:pt x="118" y="77"/>
                      <a:pt x="118" y="76"/>
                    </a:cubicBezTo>
                    <a:cubicBezTo>
                      <a:pt x="118" y="77"/>
                      <a:pt x="118" y="76"/>
                      <a:pt x="118" y="76"/>
                    </a:cubicBezTo>
                    <a:cubicBezTo>
                      <a:pt x="117" y="76"/>
                      <a:pt x="117" y="76"/>
                      <a:pt x="117" y="75"/>
                    </a:cubicBezTo>
                    <a:cubicBezTo>
                      <a:pt x="117" y="75"/>
                      <a:pt x="117" y="75"/>
                      <a:pt x="117" y="75"/>
                    </a:cubicBezTo>
                    <a:cubicBezTo>
                      <a:pt x="117" y="75"/>
                      <a:pt x="116" y="75"/>
                      <a:pt x="117" y="74"/>
                    </a:cubicBezTo>
                    <a:cubicBezTo>
                      <a:pt x="118" y="74"/>
                      <a:pt x="116" y="73"/>
                      <a:pt x="116" y="73"/>
                    </a:cubicBezTo>
                    <a:cubicBezTo>
                      <a:pt x="117" y="73"/>
                      <a:pt x="116" y="71"/>
                      <a:pt x="117" y="72"/>
                    </a:cubicBezTo>
                    <a:cubicBezTo>
                      <a:pt x="117" y="72"/>
                      <a:pt x="116" y="71"/>
                      <a:pt x="116" y="71"/>
                    </a:cubicBezTo>
                    <a:cubicBezTo>
                      <a:pt x="116" y="71"/>
                      <a:pt x="117" y="71"/>
                      <a:pt x="117" y="71"/>
                    </a:cubicBezTo>
                    <a:cubicBezTo>
                      <a:pt x="117" y="71"/>
                      <a:pt x="117" y="71"/>
                      <a:pt x="117" y="71"/>
                    </a:cubicBezTo>
                    <a:cubicBezTo>
                      <a:pt x="117" y="71"/>
                      <a:pt x="117" y="71"/>
                      <a:pt x="117" y="70"/>
                    </a:cubicBezTo>
                    <a:cubicBezTo>
                      <a:pt x="117" y="71"/>
                      <a:pt x="117" y="71"/>
                      <a:pt x="118" y="71"/>
                    </a:cubicBezTo>
                    <a:cubicBezTo>
                      <a:pt x="118" y="70"/>
                      <a:pt x="117" y="70"/>
                      <a:pt x="118" y="70"/>
                    </a:cubicBezTo>
                    <a:cubicBezTo>
                      <a:pt x="118" y="70"/>
                      <a:pt x="117" y="70"/>
                      <a:pt x="117" y="70"/>
                    </a:cubicBezTo>
                    <a:cubicBezTo>
                      <a:pt x="117" y="70"/>
                      <a:pt x="118" y="70"/>
                      <a:pt x="118" y="70"/>
                    </a:cubicBezTo>
                    <a:cubicBezTo>
                      <a:pt x="118" y="70"/>
                      <a:pt x="117" y="69"/>
                      <a:pt x="117" y="69"/>
                    </a:cubicBezTo>
                    <a:cubicBezTo>
                      <a:pt x="118" y="69"/>
                      <a:pt x="117" y="69"/>
                      <a:pt x="117" y="69"/>
                    </a:cubicBezTo>
                    <a:cubicBezTo>
                      <a:pt x="118" y="68"/>
                      <a:pt x="116" y="68"/>
                      <a:pt x="117" y="68"/>
                    </a:cubicBezTo>
                    <a:cubicBezTo>
                      <a:pt x="117" y="68"/>
                      <a:pt x="118" y="67"/>
                      <a:pt x="117" y="67"/>
                    </a:cubicBezTo>
                    <a:cubicBezTo>
                      <a:pt x="117" y="67"/>
                      <a:pt x="117" y="67"/>
                      <a:pt x="117" y="67"/>
                    </a:cubicBezTo>
                    <a:cubicBezTo>
                      <a:pt x="117" y="67"/>
                      <a:pt x="117" y="67"/>
                      <a:pt x="117" y="67"/>
                    </a:cubicBezTo>
                    <a:cubicBezTo>
                      <a:pt x="117" y="66"/>
                      <a:pt x="117" y="66"/>
                      <a:pt x="117" y="66"/>
                    </a:cubicBezTo>
                    <a:cubicBezTo>
                      <a:pt x="117" y="66"/>
                      <a:pt x="117" y="65"/>
                      <a:pt x="117" y="66"/>
                    </a:cubicBezTo>
                    <a:cubicBezTo>
                      <a:pt x="116" y="66"/>
                      <a:pt x="116" y="66"/>
                      <a:pt x="116" y="66"/>
                    </a:cubicBezTo>
                    <a:cubicBezTo>
                      <a:pt x="116" y="66"/>
                      <a:pt x="117" y="65"/>
                      <a:pt x="117" y="65"/>
                    </a:cubicBezTo>
                    <a:cubicBezTo>
                      <a:pt x="117" y="65"/>
                      <a:pt x="116" y="64"/>
                      <a:pt x="116" y="64"/>
                    </a:cubicBezTo>
                    <a:cubicBezTo>
                      <a:pt x="116" y="64"/>
                      <a:pt x="116" y="65"/>
                      <a:pt x="115" y="64"/>
                    </a:cubicBezTo>
                    <a:cubicBezTo>
                      <a:pt x="115" y="64"/>
                      <a:pt x="115" y="63"/>
                      <a:pt x="115" y="63"/>
                    </a:cubicBezTo>
                    <a:cubicBezTo>
                      <a:pt x="114" y="61"/>
                      <a:pt x="113" y="60"/>
                      <a:pt x="112" y="59"/>
                    </a:cubicBezTo>
                    <a:cubicBezTo>
                      <a:pt x="111" y="59"/>
                      <a:pt x="112" y="59"/>
                      <a:pt x="112" y="59"/>
                    </a:cubicBezTo>
                    <a:cubicBezTo>
                      <a:pt x="111" y="58"/>
                      <a:pt x="111" y="58"/>
                      <a:pt x="111" y="58"/>
                    </a:cubicBezTo>
                    <a:cubicBezTo>
                      <a:pt x="110" y="57"/>
                      <a:pt x="110" y="57"/>
                      <a:pt x="110" y="56"/>
                    </a:cubicBezTo>
                    <a:cubicBezTo>
                      <a:pt x="109" y="56"/>
                      <a:pt x="108" y="55"/>
                      <a:pt x="108" y="55"/>
                    </a:cubicBezTo>
                    <a:cubicBezTo>
                      <a:pt x="107" y="54"/>
                      <a:pt x="106" y="54"/>
                      <a:pt x="106" y="54"/>
                    </a:cubicBezTo>
                    <a:cubicBezTo>
                      <a:pt x="104" y="53"/>
                      <a:pt x="103" y="51"/>
                      <a:pt x="102" y="50"/>
                    </a:cubicBezTo>
                    <a:cubicBezTo>
                      <a:pt x="102" y="48"/>
                      <a:pt x="101" y="47"/>
                      <a:pt x="101" y="46"/>
                    </a:cubicBezTo>
                    <a:cubicBezTo>
                      <a:pt x="100" y="45"/>
                      <a:pt x="100" y="44"/>
                      <a:pt x="100" y="45"/>
                    </a:cubicBezTo>
                    <a:cubicBezTo>
                      <a:pt x="99" y="45"/>
                      <a:pt x="99" y="45"/>
                      <a:pt x="98" y="45"/>
                    </a:cubicBezTo>
                    <a:cubicBezTo>
                      <a:pt x="98" y="45"/>
                      <a:pt x="95" y="43"/>
                      <a:pt x="94" y="43"/>
                    </a:cubicBezTo>
                    <a:cubicBezTo>
                      <a:pt x="94" y="44"/>
                      <a:pt x="95" y="45"/>
                      <a:pt x="95" y="45"/>
                    </a:cubicBezTo>
                    <a:cubicBezTo>
                      <a:pt x="95" y="46"/>
                      <a:pt x="95" y="47"/>
                      <a:pt x="95" y="47"/>
                    </a:cubicBezTo>
                    <a:cubicBezTo>
                      <a:pt x="96" y="48"/>
                      <a:pt x="97" y="47"/>
                      <a:pt x="98" y="47"/>
                    </a:cubicBezTo>
                    <a:cubicBezTo>
                      <a:pt x="98" y="47"/>
                      <a:pt x="98" y="46"/>
                      <a:pt x="98" y="46"/>
                    </a:cubicBezTo>
                    <a:cubicBezTo>
                      <a:pt x="100" y="46"/>
                      <a:pt x="100" y="48"/>
                      <a:pt x="101" y="49"/>
                    </a:cubicBezTo>
                    <a:cubicBezTo>
                      <a:pt x="101" y="51"/>
                      <a:pt x="100" y="50"/>
                      <a:pt x="99" y="50"/>
                    </a:cubicBezTo>
                    <a:cubicBezTo>
                      <a:pt x="99" y="49"/>
                      <a:pt x="98" y="49"/>
                      <a:pt x="97" y="49"/>
                    </a:cubicBezTo>
                    <a:cubicBezTo>
                      <a:pt x="97" y="49"/>
                      <a:pt x="98" y="50"/>
                      <a:pt x="98" y="50"/>
                    </a:cubicBezTo>
                    <a:cubicBezTo>
                      <a:pt x="98" y="52"/>
                      <a:pt x="96" y="50"/>
                      <a:pt x="96" y="50"/>
                    </a:cubicBezTo>
                    <a:cubicBezTo>
                      <a:pt x="96" y="49"/>
                      <a:pt x="95" y="49"/>
                      <a:pt x="95" y="48"/>
                    </a:cubicBezTo>
                    <a:cubicBezTo>
                      <a:pt x="95" y="48"/>
                      <a:pt x="94" y="47"/>
                      <a:pt x="94" y="47"/>
                    </a:cubicBezTo>
                    <a:cubicBezTo>
                      <a:pt x="94" y="47"/>
                      <a:pt x="93" y="46"/>
                      <a:pt x="93" y="47"/>
                    </a:cubicBezTo>
                    <a:cubicBezTo>
                      <a:pt x="93" y="47"/>
                      <a:pt x="93" y="47"/>
                      <a:pt x="92" y="47"/>
                    </a:cubicBezTo>
                    <a:cubicBezTo>
                      <a:pt x="92" y="47"/>
                      <a:pt x="92" y="46"/>
                      <a:pt x="91" y="46"/>
                    </a:cubicBezTo>
                    <a:cubicBezTo>
                      <a:pt x="91" y="47"/>
                      <a:pt x="92" y="48"/>
                      <a:pt x="91" y="47"/>
                    </a:cubicBezTo>
                    <a:cubicBezTo>
                      <a:pt x="91" y="48"/>
                      <a:pt x="93" y="48"/>
                      <a:pt x="93" y="49"/>
                    </a:cubicBezTo>
                    <a:cubicBezTo>
                      <a:pt x="93" y="49"/>
                      <a:pt x="93" y="49"/>
                      <a:pt x="92" y="49"/>
                    </a:cubicBezTo>
                    <a:cubicBezTo>
                      <a:pt x="92" y="50"/>
                      <a:pt x="93" y="50"/>
                      <a:pt x="93" y="51"/>
                    </a:cubicBezTo>
                    <a:cubicBezTo>
                      <a:pt x="93" y="52"/>
                      <a:pt x="92" y="52"/>
                      <a:pt x="91" y="52"/>
                    </a:cubicBezTo>
                    <a:cubicBezTo>
                      <a:pt x="91" y="52"/>
                      <a:pt x="91" y="52"/>
                      <a:pt x="91" y="52"/>
                    </a:cubicBezTo>
                    <a:cubicBezTo>
                      <a:pt x="91" y="53"/>
                      <a:pt x="91" y="53"/>
                      <a:pt x="91" y="53"/>
                    </a:cubicBezTo>
                    <a:cubicBezTo>
                      <a:pt x="91" y="54"/>
                      <a:pt x="91" y="54"/>
                      <a:pt x="92" y="54"/>
                    </a:cubicBezTo>
                    <a:cubicBezTo>
                      <a:pt x="92" y="54"/>
                      <a:pt x="92" y="55"/>
                      <a:pt x="92" y="55"/>
                    </a:cubicBezTo>
                    <a:cubicBezTo>
                      <a:pt x="93" y="56"/>
                      <a:pt x="93" y="56"/>
                      <a:pt x="93" y="56"/>
                    </a:cubicBezTo>
                    <a:cubicBezTo>
                      <a:pt x="94" y="56"/>
                      <a:pt x="94" y="57"/>
                      <a:pt x="95" y="58"/>
                    </a:cubicBezTo>
                    <a:cubicBezTo>
                      <a:pt x="95" y="59"/>
                      <a:pt x="95" y="61"/>
                      <a:pt x="93" y="60"/>
                    </a:cubicBezTo>
                    <a:cubicBezTo>
                      <a:pt x="93" y="61"/>
                      <a:pt x="94" y="61"/>
                      <a:pt x="94" y="61"/>
                    </a:cubicBezTo>
                    <a:cubicBezTo>
                      <a:pt x="95" y="62"/>
                      <a:pt x="95" y="61"/>
                      <a:pt x="95" y="61"/>
                    </a:cubicBezTo>
                    <a:cubicBezTo>
                      <a:pt x="96" y="61"/>
                      <a:pt x="97" y="62"/>
                      <a:pt x="98" y="63"/>
                    </a:cubicBezTo>
                    <a:cubicBezTo>
                      <a:pt x="99" y="64"/>
                      <a:pt x="99" y="65"/>
                      <a:pt x="99" y="67"/>
                    </a:cubicBezTo>
                    <a:cubicBezTo>
                      <a:pt x="99" y="67"/>
                      <a:pt x="99" y="68"/>
                      <a:pt x="99" y="68"/>
                    </a:cubicBezTo>
                    <a:cubicBezTo>
                      <a:pt x="99" y="69"/>
                      <a:pt x="100" y="69"/>
                      <a:pt x="100" y="70"/>
                    </a:cubicBezTo>
                    <a:cubicBezTo>
                      <a:pt x="100" y="71"/>
                      <a:pt x="100" y="73"/>
                      <a:pt x="100" y="74"/>
                    </a:cubicBezTo>
                    <a:cubicBezTo>
                      <a:pt x="100" y="75"/>
                      <a:pt x="100" y="77"/>
                      <a:pt x="100" y="78"/>
                    </a:cubicBezTo>
                    <a:cubicBezTo>
                      <a:pt x="100" y="79"/>
                      <a:pt x="101" y="80"/>
                      <a:pt x="100" y="81"/>
                    </a:cubicBezTo>
                    <a:cubicBezTo>
                      <a:pt x="100" y="82"/>
                      <a:pt x="99" y="82"/>
                      <a:pt x="98" y="83"/>
                    </a:cubicBezTo>
                    <a:cubicBezTo>
                      <a:pt x="96" y="84"/>
                      <a:pt x="98" y="85"/>
                      <a:pt x="98" y="86"/>
                    </a:cubicBezTo>
                    <a:cubicBezTo>
                      <a:pt x="98" y="87"/>
                      <a:pt x="97" y="88"/>
                      <a:pt x="96" y="89"/>
                    </a:cubicBezTo>
                    <a:cubicBezTo>
                      <a:pt x="96" y="90"/>
                      <a:pt x="96" y="91"/>
                      <a:pt x="94" y="91"/>
                    </a:cubicBezTo>
                    <a:cubicBezTo>
                      <a:pt x="94" y="91"/>
                      <a:pt x="94" y="91"/>
                      <a:pt x="93" y="92"/>
                    </a:cubicBezTo>
                    <a:cubicBezTo>
                      <a:pt x="93" y="92"/>
                      <a:pt x="92" y="92"/>
                      <a:pt x="92" y="93"/>
                    </a:cubicBezTo>
                    <a:cubicBezTo>
                      <a:pt x="91" y="93"/>
                      <a:pt x="89" y="93"/>
                      <a:pt x="89" y="94"/>
                    </a:cubicBezTo>
                    <a:cubicBezTo>
                      <a:pt x="89" y="94"/>
                      <a:pt x="90" y="95"/>
                      <a:pt x="89" y="95"/>
                    </a:cubicBezTo>
                    <a:cubicBezTo>
                      <a:pt x="89" y="96"/>
                      <a:pt x="88" y="96"/>
                      <a:pt x="88" y="95"/>
                    </a:cubicBezTo>
                    <a:cubicBezTo>
                      <a:pt x="87" y="95"/>
                      <a:pt x="86" y="95"/>
                      <a:pt x="86" y="94"/>
                    </a:cubicBezTo>
                    <a:cubicBezTo>
                      <a:pt x="85" y="94"/>
                      <a:pt x="86" y="93"/>
                      <a:pt x="85" y="93"/>
                    </a:cubicBezTo>
                    <a:cubicBezTo>
                      <a:pt x="85" y="92"/>
                      <a:pt x="85" y="92"/>
                      <a:pt x="85" y="92"/>
                    </a:cubicBezTo>
                    <a:cubicBezTo>
                      <a:pt x="85" y="92"/>
                      <a:pt x="85" y="92"/>
                      <a:pt x="84" y="92"/>
                    </a:cubicBezTo>
                    <a:cubicBezTo>
                      <a:pt x="84" y="92"/>
                      <a:pt x="84" y="92"/>
                      <a:pt x="84" y="92"/>
                    </a:cubicBezTo>
                    <a:cubicBezTo>
                      <a:pt x="83" y="92"/>
                      <a:pt x="83" y="90"/>
                      <a:pt x="84" y="90"/>
                    </a:cubicBezTo>
                    <a:cubicBezTo>
                      <a:pt x="85" y="91"/>
                      <a:pt x="84" y="89"/>
                      <a:pt x="85" y="90"/>
                    </a:cubicBezTo>
                    <a:cubicBezTo>
                      <a:pt x="86" y="90"/>
                      <a:pt x="85" y="88"/>
                      <a:pt x="85" y="88"/>
                    </a:cubicBezTo>
                    <a:cubicBezTo>
                      <a:pt x="86" y="88"/>
                      <a:pt x="86" y="87"/>
                      <a:pt x="85" y="87"/>
                    </a:cubicBezTo>
                    <a:cubicBezTo>
                      <a:pt x="84" y="87"/>
                      <a:pt x="83" y="88"/>
                      <a:pt x="83" y="88"/>
                    </a:cubicBezTo>
                    <a:cubicBezTo>
                      <a:pt x="82" y="89"/>
                      <a:pt x="81" y="89"/>
                      <a:pt x="81" y="90"/>
                    </a:cubicBezTo>
                    <a:cubicBezTo>
                      <a:pt x="81" y="90"/>
                      <a:pt x="81" y="91"/>
                      <a:pt x="81" y="91"/>
                    </a:cubicBezTo>
                    <a:cubicBezTo>
                      <a:pt x="82" y="92"/>
                      <a:pt x="82" y="91"/>
                      <a:pt x="82" y="92"/>
                    </a:cubicBezTo>
                    <a:cubicBezTo>
                      <a:pt x="83" y="93"/>
                      <a:pt x="84" y="94"/>
                      <a:pt x="84" y="95"/>
                    </a:cubicBezTo>
                    <a:cubicBezTo>
                      <a:pt x="84" y="97"/>
                      <a:pt x="83" y="98"/>
                      <a:pt x="82" y="99"/>
                    </a:cubicBezTo>
                    <a:cubicBezTo>
                      <a:pt x="82" y="100"/>
                      <a:pt x="82" y="101"/>
                      <a:pt x="81" y="101"/>
                    </a:cubicBezTo>
                    <a:cubicBezTo>
                      <a:pt x="81" y="101"/>
                      <a:pt x="81" y="101"/>
                      <a:pt x="81" y="102"/>
                    </a:cubicBezTo>
                    <a:cubicBezTo>
                      <a:pt x="81" y="102"/>
                      <a:pt x="81" y="103"/>
                      <a:pt x="81" y="103"/>
                    </a:cubicBezTo>
                    <a:cubicBezTo>
                      <a:pt x="81" y="103"/>
                      <a:pt x="81" y="104"/>
                      <a:pt x="81" y="104"/>
                    </a:cubicBezTo>
                    <a:cubicBezTo>
                      <a:pt x="81" y="105"/>
                      <a:pt x="82" y="105"/>
                      <a:pt x="83" y="106"/>
                    </a:cubicBezTo>
                    <a:cubicBezTo>
                      <a:pt x="83" y="107"/>
                      <a:pt x="83" y="108"/>
                      <a:pt x="83" y="107"/>
                    </a:cubicBezTo>
                    <a:cubicBezTo>
                      <a:pt x="83" y="107"/>
                      <a:pt x="82" y="106"/>
                      <a:pt x="82" y="107"/>
                    </a:cubicBezTo>
                    <a:cubicBezTo>
                      <a:pt x="82" y="107"/>
                      <a:pt x="82" y="107"/>
                      <a:pt x="82" y="108"/>
                    </a:cubicBezTo>
                    <a:cubicBezTo>
                      <a:pt x="83" y="108"/>
                      <a:pt x="81" y="108"/>
                      <a:pt x="81" y="108"/>
                    </a:cubicBezTo>
                    <a:cubicBezTo>
                      <a:pt x="81" y="108"/>
                      <a:pt x="82" y="108"/>
                      <a:pt x="81" y="108"/>
                    </a:cubicBezTo>
                    <a:cubicBezTo>
                      <a:pt x="81" y="109"/>
                      <a:pt x="81" y="109"/>
                      <a:pt x="81" y="109"/>
                    </a:cubicBezTo>
                    <a:cubicBezTo>
                      <a:pt x="81" y="109"/>
                      <a:pt x="80" y="109"/>
                      <a:pt x="80" y="109"/>
                    </a:cubicBezTo>
                    <a:cubicBezTo>
                      <a:pt x="81" y="109"/>
                      <a:pt x="81" y="109"/>
                      <a:pt x="81" y="109"/>
                    </a:cubicBezTo>
                    <a:cubicBezTo>
                      <a:pt x="81" y="109"/>
                      <a:pt x="80" y="109"/>
                      <a:pt x="80" y="109"/>
                    </a:cubicBezTo>
                    <a:cubicBezTo>
                      <a:pt x="80" y="109"/>
                      <a:pt x="80" y="109"/>
                      <a:pt x="80" y="109"/>
                    </a:cubicBezTo>
                    <a:cubicBezTo>
                      <a:pt x="80" y="109"/>
                      <a:pt x="79" y="110"/>
                      <a:pt x="79" y="109"/>
                    </a:cubicBezTo>
                    <a:cubicBezTo>
                      <a:pt x="78" y="109"/>
                      <a:pt x="78" y="108"/>
                      <a:pt x="77" y="109"/>
                    </a:cubicBezTo>
                    <a:cubicBezTo>
                      <a:pt x="77" y="109"/>
                      <a:pt x="77" y="109"/>
                      <a:pt x="77" y="109"/>
                    </a:cubicBezTo>
                    <a:cubicBezTo>
                      <a:pt x="77" y="109"/>
                      <a:pt x="78" y="109"/>
                      <a:pt x="78" y="109"/>
                    </a:cubicBezTo>
                    <a:cubicBezTo>
                      <a:pt x="78" y="109"/>
                      <a:pt x="77" y="109"/>
                      <a:pt x="77" y="109"/>
                    </a:cubicBezTo>
                    <a:cubicBezTo>
                      <a:pt x="77" y="110"/>
                      <a:pt x="77" y="110"/>
                      <a:pt x="77" y="110"/>
                    </a:cubicBezTo>
                    <a:cubicBezTo>
                      <a:pt x="77" y="110"/>
                      <a:pt x="77" y="109"/>
                      <a:pt x="77" y="109"/>
                    </a:cubicBezTo>
                    <a:cubicBezTo>
                      <a:pt x="77" y="109"/>
                      <a:pt x="76" y="109"/>
                      <a:pt x="76" y="109"/>
                    </a:cubicBezTo>
                    <a:cubicBezTo>
                      <a:pt x="76" y="109"/>
                      <a:pt x="76" y="108"/>
                      <a:pt x="76" y="108"/>
                    </a:cubicBezTo>
                    <a:cubicBezTo>
                      <a:pt x="76" y="108"/>
                      <a:pt x="76" y="109"/>
                      <a:pt x="76" y="109"/>
                    </a:cubicBezTo>
                    <a:cubicBezTo>
                      <a:pt x="75" y="109"/>
                      <a:pt x="76" y="108"/>
                      <a:pt x="76" y="107"/>
                    </a:cubicBezTo>
                    <a:cubicBezTo>
                      <a:pt x="76" y="106"/>
                      <a:pt x="74" y="106"/>
                      <a:pt x="74" y="107"/>
                    </a:cubicBezTo>
                    <a:cubicBezTo>
                      <a:pt x="73" y="108"/>
                      <a:pt x="73" y="107"/>
                      <a:pt x="72" y="108"/>
                    </a:cubicBezTo>
                    <a:cubicBezTo>
                      <a:pt x="71" y="108"/>
                      <a:pt x="69" y="107"/>
                      <a:pt x="68" y="108"/>
                    </a:cubicBezTo>
                    <a:cubicBezTo>
                      <a:pt x="67" y="108"/>
                      <a:pt x="67" y="109"/>
                      <a:pt x="66" y="109"/>
                    </a:cubicBezTo>
                    <a:cubicBezTo>
                      <a:pt x="65" y="109"/>
                      <a:pt x="63" y="109"/>
                      <a:pt x="62" y="109"/>
                    </a:cubicBezTo>
                    <a:cubicBezTo>
                      <a:pt x="62" y="109"/>
                      <a:pt x="61" y="109"/>
                      <a:pt x="61" y="109"/>
                    </a:cubicBezTo>
                    <a:cubicBezTo>
                      <a:pt x="60" y="109"/>
                      <a:pt x="60" y="110"/>
                      <a:pt x="60" y="110"/>
                    </a:cubicBezTo>
                    <a:cubicBezTo>
                      <a:pt x="59" y="110"/>
                      <a:pt x="58" y="109"/>
                      <a:pt x="58" y="108"/>
                    </a:cubicBezTo>
                    <a:cubicBezTo>
                      <a:pt x="58" y="108"/>
                      <a:pt x="57" y="108"/>
                      <a:pt x="57" y="108"/>
                    </a:cubicBezTo>
                    <a:cubicBezTo>
                      <a:pt x="57" y="109"/>
                      <a:pt x="57" y="108"/>
                      <a:pt x="56" y="108"/>
                    </a:cubicBezTo>
                    <a:cubicBezTo>
                      <a:pt x="56" y="108"/>
                      <a:pt x="56" y="109"/>
                      <a:pt x="55" y="109"/>
                    </a:cubicBezTo>
                    <a:cubicBezTo>
                      <a:pt x="55" y="109"/>
                      <a:pt x="54" y="109"/>
                      <a:pt x="54" y="110"/>
                    </a:cubicBezTo>
                    <a:cubicBezTo>
                      <a:pt x="54" y="110"/>
                      <a:pt x="53" y="110"/>
                      <a:pt x="53" y="110"/>
                    </a:cubicBezTo>
                    <a:cubicBezTo>
                      <a:pt x="53" y="110"/>
                      <a:pt x="54" y="111"/>
                      <a:pt x="53" y="111"/>
                    </a:cubicBezTo>
                    <a:cubicBezTo>
                      <a:pt x="53" y="112"/>
                      <a:pt x="52" y="112"/>
                      <a:pt x="52" y="113"/>
                    </a:cubicBezTo>
                    <a:cubicBezTo>
                      <a:pt x="52" y="114"/>
                      <a:pt x="52" y="114"/>
                      <a:pt x="51" y="114"/>
                    </a:cubicBezTo>
                    <a:cubicBezTo>
                      <a:pt x="50" y="115"/>
                      <a:pt x="50" y="116"/>
                      <a:pt x="50" y="116"/>
                    </a:cubicBezTo>
                    <a:cubicBezTo>
                      <a:pt x="49" y="117"/>
                      <a:pt x="49" y="118"/>
                      <a:pt x="48" y="118"/>
                    </a:cubicBezTo>
                    <a:cubicBezTo>
                      <a:pt x="48" y="118"/>
                      <a:pt x="47" y="118"/>
                      <a:pt x="47" y="119"/>
                    </a:cubicBezTo>
                    <a:cubicBezTo>
                      <a:pt x="47" y="119"/>
                      <a:pt x="47" y="119"/>
                      <a:pt x="47" y="119"/>
                    </a:cubicBezTo>
                    <a:cubicBezTo>
                      <a:pt x="47" y="119"/>
                      <a:pt x="46" y="120"/>
                      <a:pt x="46" y="120"/>
                    </a:cubicBezTo>
                    <a:cubicBezTo>
                      <a:pt x="46" y="120"/>
                      <a:pt x="46" y="121"/>
                      <a:pt x="46" y="121"/>
                    </a:cubicBezTo>
                    <a:cubicBezTo>
                      <a:pt x="46" y="121"/>
                      <a:pt x="45" y="122"/>
                      <a:pt x="45" y="122"/>
                    </a:cubicBezTo>
                    <a:cubicBezTo>
                      <a:pt x="44" y="121"/>
                      <a:pt x="45" y="121"/>
                      <a:pt x="45" y="121"/>
                    </a:cubicBezTo>
                    <a:cubicBezTo>
                      <a:pt x="45" y="121"/>
                      <a:pt x="44" y="121"/>
                      <a:pt x="44" y="121"/>
                    </a:cubicBezTo>
                    <a:cubicBezTo>
                      <a:pt x="44" y="121"/>
                      <a:pt x="44" y="121"/>
                      <a:pt x="44" y="121"/>
                    </a:cubicBezTo>
                    <a:cubicBezTo>
                      <a:pt x="44" y="121"/>
                      <a:pt x="42" y="121"/>
                      <a:pt x="42" y="121"/>
                    </a:cubicBezTo>
                    <a:cubicBezTo>
                      <a:pt x="41" y="121"/>
                      <a:pt x="43" y="122"/>
                      <a:pt x="43" y="122"/>
                    </a:cubicBezTo>
                    <a:cubicBezTo>
                      <a:pt x="42" y="122"/>
                      <a:pt x="41" y="122"/>
                      <a:pt x="42" y="123"/>
                    </a:cubicBezTo>
                    <a:cubicBezTo>
                      <a:pt x="42" y="123"/>
                      <a:pt x="43" y="123"/>
                      <a:pt x="43" y="124"/>
                    </a:cubicBezTo>
                    <a:cubicBezTo>
                      <a:pt x="43" y="124"/>
                      <a:pt x="42" y="124"/>
                      <a:pt x="43" y="125"/>
                    </a:cubicBezTo>
                    <a:cubicBezTo>
                      <a:pt x="43" y="125"/>
                      <a:pt x="43" y="125"/>
                      <a:pt x="43" y="126"/>
                    </a:cubicBezTo>
                    <a:cubicBezTo>
                      <a:pt x="44" y="126"/>
                      <a:pt x="43" y="127"/>
                      <a:pt x="44" y="126"/>
                    </a:cubicBezTo>
                    <a:cubicBezTo>
                      <a:pt x="44" y="126"/>
                      <a:pt x="44" y="125"/>
                      <a:pt x="45" y="125"/>
                    </a:cubicBezTo>
                    <a:cubicBezTo>
                      <a:pt x="45" y="125"/>
                      <a:pt x="46" y="126"/>
                      <a:pt x="46" y="126"/>
                    </a:cubicBezTo>
                    <a:cubicBezTo>
                      <a:pt x="46" y="126"/>
                      <a:pt x="46" y="126"/>
                      <a:pt x="47" y="126"/>
                    </a:cubicBezTo>
                    <a:cubicBezTo>
                      <a:pt x="47" y="126"/>
                      <a:pt x="47" y="127"/>
                      <a:pt x="47" y="126"/>
                    </a:cubicBezTo>
                    <a:cubicBezTo>
                      <a:pt x="48" y="126"/>
                      <a:pt x="48" y="126"/>
                      <a:pt x="48" y="125"/>
                    </a:cubicBezTo>
                    <a:cubicBezTo>
                      <a:pt x="48" y="125"/>
                      <a:pt x="48" y="126"/>
                      <a:pt x="48" y="126"/>
                    </a:cubicBezTo>
                    <a:cubicBezTo>
                      <a:pt x="48" y="126"/>
                      <a:pt x="48" y="126"/>
                      <a:pt x="48" y="126"/>
                    </a:cubicBezTo>
                    <a:cubicBezTo>
                      <a:pt x="48" y="125"/>
                      <a:pt x="49" y="126"/>
                      <a:pt x="49" y="126"/>
                    </a:cubicBezTo>
                    <a:cubicBezTo>
                      <a:pt x="50" y="126"/>
                      <a:pt x="49" y="125"/>
                      <a:pt x="50" y="125"/>
                    </a:cubicBezTo>
                    <a:cubicBezTo>
                      <a:pt x="50" y="125"/>
                      <a:pt x="51" y="125"/>
                      <a:pt x="52" y="125"/>
                    </a:cubicBezTo>
                    <a:cubicBezTo>
                      <a:pt x="52" y="126"/>
                      <a:pt x="51" y="126"/>
                      <a:pt x="52" y="126"/>
                    </a:cubicBezTo>
                    <a:cubicBezTo>
                      <a:pt x="52" y="125"/>
                      <a:pt x="53" y="126"/>
                      <a:pt x="54" y="127"/>
                    </a:cubicBezTo>
                    <a:cubicBezTo>
                      <a:pt x="54" y="127"/>
                      <a:pt x="55" y="127"/>
                      <a:pt x="55" y="127"/>
                    </a:cubicBezTo>
                    <a:cubicBezTo>
                      <a:pt x="55" y="127"/>
                      <a:pt x="54" y="128"/>
                      <a:pt x="55" y="128"/>
                    </a:cubicBezTo>
                    <a:cubicBezTo>
                      <a:pt x="55" y="128"/>
                      <a:pt x="55" y="128"/>
                      <a:pt x="55" y="128"/>
                    </a:cubicBezTo>
                    <a:cubicBezTo>
                      <a:pt x="56" y="127"/>
                      <a:pt x="55" y="127"/>
                      <a:pt x="55" y="127"/>
                    </a:cubicBezTo>
                    <a:cubicBezTo>
                      <a:pt x="55" y="126"/>
                      <a:pt x="55" y="126"/>
                      <a:pt x="55" y="126"/>
                    </a:cubicBezTo>
                    <a:cubicBezTo>
                      <a:pt x="56" y="126"/>
                      <a:pt x="55" y="125"/>
                      <a:pt x="55" y="125"/>
                    </a:cubicBezTo>
                    <a:cubicBezTo>
                      <a:pt x="55" y="124"/>
                      <a:pt x="55" y="124"/>
                      <a:pt x="55" y="123"/>
                    </a:cubicBezTo>
                    <a:cubicBezTo>
                      <a:pt x="55" y="123"/>
                      <a:pt x="55" y="123"/>
                      <a:pt x="55" y="123"/>
                    </a:cubicBezTo>
                    <a:cubicBezTo>
                      <a:pt x="55" y="122"/>
                      <a:pt x="56" y="122"/>
                      <a:pt x="56" y="122"/>
                    </a:cubicBezTo>
                    <a:cubicBezTo>
                      <a:pt x="57" y="122"/>
                      <a:pt x="57" y="123"/>
                      <a:pt x="57" y="123"/>
                    </a:cubicBezTo>
                    <a:cubicBezTo>
                      <a:pt x="57" y="123"/>
                      <a:pt x="57" y="123"/>
                      <a:pt x="58" y="123"/>
                    </a:cubicBezTo>
                    <a:cubicBezTo>
                      <a:pt x="58" y="124"/>
                      <a:pt x="59" y="123"/>
                      <a:pt x="59" y="123"/>
                    </a:cubicBezTo>
                    <a:cubicBezTo>
                      <a:pt x="59" y="123"/>
                      <a:pt x="59" y="122"/>
                      <a:pt x="60" y="122"/>
                    </a:cubicBezTo>
                    <a:cubicBezTo>
                      <a:pt x="60" y="122"/>
                      <a:pt x="60" y="122"/>
                      <a:pt x="61" y="122"/>
                    </a:cubicBezTo>
                    <a:cubicBezTo>
                      <a:pt x="61" y="122"/>
                      <a:pt x="61" y="122"/>
                      <a:pt x="62" y="122"/>
                    </a:cubicBezTo>
                    <a:cubicBezTo>
                      <a:pt x="62" y="122"/>
                      <a:pt x="62" y="121"/>
                      <a:pt x="62" y="121"/>
                    </a:cubicBezTo>
                    <a:cubicBezTo>
                      <a:pt x="62" y="121"/>
                      <a:pt x="63" y="122"/>
                      <a:pt x="62" y="122"/>
                    </a:cubicBezTo>
                    <a:cubicBezTo>
                      <a:pt x="62" y="122"/>
                      <a:pt x="62" y="122"/>
                      <a:pt x="62" y="122"/>
                    </a:cubicBezTo>
                    <a:cubicBezTo>
                      <a:pt x="62" y="122"/>
                      <a:pt x="62" y="123"/>
                      <a:pt x="62" y="123"/>
                    </a:cubicBezTo>
                    <a:cubicBezTo>
                      <a:pt x="63" y="122"/>
                      <a:pt x="63" y="123"/>
                      <a:pt x="63" y="122"/>
                    </a:cubicBezTo>
                    <a:cubicBezTo>
                      <a:pt x="63" y="122"/>
                      <a:pt x="63" y="121"/>
                      <a:pt x="63" y="121"/>
                    </a:cubicBezTo>
                    <a:cubicBezTo>
                      <a:pt x="63" y="120"/>
                      <a:pt x="63" y="121"/>
                      <a:pt x="63" y="121"/>
                    </a:cubicBezTo>
                    <a:cubicBezTo>
                      <a:pt x="63" y="121"/>
                      <a:pt x="64" y="121"/>
                      <a:pt x="64" y="122"/>
                    </a:cubicBezTo>
                    <a:cubicBezTo>
                      <a:pt x="64" y="122"/>
                      <a:pt x="64" y="122"/>
                      <a:pt x="64" y="122"/>
                    </a:cubicBezTo>
                    <a:cubicBezTo>
                      <a:pt x="64" y="122"/>
                      <a:pt x="64" y="121"/>
                      <a:pt x="65" y="121"/>
                    </a:cubicBezTo>
                    <a:cubicBezTo>
                      <a:pt x="65" y="120"/>
                      <a:pt x="65" y="120"/>
                      <a:pt x="65" y="120"/>
                    </a:cubicBezTo>
                    <a:cubicBezTo>
                      <a:pt x="65" y="120"/>
                      <a:pt x="65" y="121"/>
                      <a:pt x="65" y="121"/>
                    </a:cubicBezTo>
                    <a:cubicBezTo>
                      <a:pt x="66" y="121"/>
                      <a:pt x="66" y="119"/>
                      <a:pt x="67" y="120"/>
                    </a:cubicBezTo>
                    <a:cubicBezTo>
                      <a:pt x="68" y="121"/>
                      <a:pt x="68" y="120"/>
                      <a:pt x="69" y="121"/>
                    </a:cubicBezTo>
                    <a:cubicBezTo>
                      <a:pt x="69" y="121"/>
                      <a:pt x="70" y="120"/>
                      <a:pt x="70" y="119"/>
                    </a:cubicBezTo>
                    <a:cubicBezTo>
                      <a:pt x="70" y="119"/>
                      <a:pt x="69" y="120"/>
                      <a:pt x="69" y="119"/>
                    </a:cubicBezTo>
                    <a:cubicBezTo>
                      <a:pt x="68" y="119"/>
                      <a:pt x="70" y="119"/>
                      <a:pt x="70" y="119"/>
                    </a:cubicBezTo>
                    <a:cubicBezTo>
                      <a:pt x="70" y="119"/>
                      <a:pt x="71" y="118"/>
                      <a:pt x="71" y="118"/>
                    </a:cubicBezTo>
                    <a:cubicBezTo>
                      <a:pt x="71" y="118"/>
                      <a:pt x="71" y="118"/>
                      <a:pt x="70" y="118"/>
                    </a:cubicBezTo>
                    <a:cubicBezTo>
                      <a:pt x="71" y="118"/>
                      <a:pt x="72" y="118"/>
                      <a:pt x="73" y="117"/>
                    </a:cubicBezTo>
                    <a:cubicBezTo>
                      <a:pt x="73" y="118"/>
                      <a:pt x="74" y="117"/>
                      <a:pt x="75" y="117"/>
                    </a:cubicBezTo>
                    <a:cubicBezTo>
                      <a:pt x="76" y="117"/>
                      <a:pt x="76" y="118"/>
                      <a:pt x="77" y="118"/>
                    </a:cubicBezTo>
                    <a:cubicBezTo>
                      <a:pt x="79" y="119"/>
                      <a:pt x="81" y="117"/>
                      <a:pt x="82" y="118"/>
                    </a:cubicBezTo>
                    <a:cubicBezTo>
                      <a:pt x="83" y="120"/>
                      <a:pt x="82" y="121"/>
                      <a:pt x="81" y="122"/>
                    </a:cubicBezTo>
                    <a:cubicBezTo>
                      <a:pt x="80" y="122"/>
                      <a:pt x="80" y="123"/>
                      <a:pt x="81" y="123"/>
                    </a:cubicBezTo>
                    <a:cubicBezTo>
                      <a:pt x="81" y="123"/>
                      <a:pt x="82" y="124"/>
                      <a:pt x="82" y="124"/>
                    </a:cubicBezTo>
                    <a:cubicBezTo>
                      <a:pt x="81" y="125"/>
                      <a:pt x="82" y="125"/>
                      <a:pt x="82" y="125"/>
                    </a:cubicBezTo>
                    <a:cubicBezTo>
                      <a:pt x="82" y="125"/>
                      <a:pt x="82" y="126"/>
                      <a:pt x="82" y="126"/>
                    </a:cubicBezTo>
                    <a:cubicBezTo>
                      <a:pt x="82" y="126"/>
                      <a:pt x="82" y="126"/>
                      <a:pt x="82" y="126"/>
                    </a:cubicBezTo>
                    <a:cubicBezTo>
                      <a:pt x="82" y="127"/>
                      <a:pt x="83" y="127"/>
                      <a:pt x="84" y="128"/>
                    </a:cubicBezTo>
                    <a:cubicBezTo>
                      <a:pt x="84" y="128"/>
                      <a:pt x="86" y="128"/>
                      <a:pt x="86" y="129"/>
                    </a:cubicBezTo>
                    <a:cubicBezTo>
                      <a:pt x="86" y="129"/>
                      <a:pt x="86" y="129"/>
                      <a:pt x="86" y="129"/>
                    </a:cubicBezTo>
                    <a:cubicBezTo>
                      <a:pt x="86" y="129"/>
                      <a:pt x="86" y="130"/>
                      <a:pt x="86" y="130"/>
                    </a:cubicBezTo>
                    <a:cubicBezTo>
                      <a:pt x="86" y="130"/>
                      <a:pt x="86" y="130"/>
                      <a:pt x="87" y="130"/>
                    </a:cubicBezTo>
                    <a:cubicBezTo>
                      <a:pt x="87" y="131"/>
                      <a:pt x="88" y="131"/>
                      <a:pt x="88" y="131"/>
                    </a:cubicBezTo>
                    <a:cubicBezTo>
                      <a:pt x="89" y="131"/>
                      <a:pt x="91" y="132"/>
                      <a:pt x="91" y="132"/>
                    </a:cubicBezTo>
                    <a:cubicBezTo>
                      <a:pt x="91" y="131"/>
                      <a:pt x="91" y="131"/>
                      <a:pt x="92" y="130"/>
                    </a:cubicBezTo>
                    <a:cubicBezTo>
                      <a:pt x="91" y="130"/>
                      <a:pt x="91" y="129"/>
                      <a:pt x="92" y="129"/>
                    </a:cubicBezTo>
                    <a:cubicBezTo>
                      <a:pt x="92" y="128"/>
                      <a:pt x="91" y="128"/>
                      <a:pt x="92" y="127"/>
                    </a:cubicBezTo>
                    <a:cubicBezTo>
                      <a:pt x="92" y="127"/>
                      <a:pt x="92" y="126"/>
                      <a:pt x="92" y="126"/>
                    </a:cubicBezTo>
                    <a:cubicBezTo>
                      <a:pt x="93" y="126"/>
                      <a:pt x="92" y="126"/>
                      <a:pt x="92" y="126"/>
                    </a:cubicBezTo>
                    <a:cubicBezTo>
                      <a:pt x="92" y="126"/>
                      <a:pt x="93" y="126"/>
                      <a:pt x="93" y="125"/>
                    </a:cubicBezTo>
                    <a:cubicBezTo>
                      <a:pt x="92" y="125"/>
                      <a:pt x="92" y="124"/>
                      <a:pt x="92" y="125"/>
                    </a:cubicBezTo>
                    <a:cubicBezTo>
                      <a:pt x="93" y="125"/>
                      <a:pt x="92" y="124"/>
                      <a:pt x="92" y="124"/>
                    </a:cubicBezTo>
                    <a:cubicBezTo>
                      <a:pt x="92" y="123"/>
                      <a:pt x="93" y="123"/>
                      <a:pt x="94" y="123"/>
                    </a:cubicBezTo>
                    <a:cubicBezTo>
                      <a:pt x="94" y="123"/>
                      <a:pt x="94" y="123"/>
                      <a:pt x="94" y="123"/>
                    </a:cubicBezTo>
                    <a:cubicBezTo>
                      <a:pt x="94" y="123"/>
                      <a:pt x="95" y="123"/>
                      <a:pt x="95" y="123"/>
                    </a:cubicBezTo>
                    <a:cubicBezTo>
                      <a:pt x="95" y="122"/>
                      <a:pt x="95" y="122"/>
                      <a:pt x="95" y="122"/>
                    </a:cubicBezTo>
                    <a:cubicBezTo>
                      <a:pt x="95" y="122"/>
                      <a:pt x="95" y="122"/>
                      <a:pt x="95" y="122"/>
                    </a:cubicBezTo>
                    <a:cubicBezTo>
                      <a:pt x="95" y="123"/>
                      <a:pt x="96" y="122"/>
                      <a:pt x="96" y="122"/>
                    </a:cubicBezTo>
                    <a:cubicBezTo>
                      <a:pt x="96" y="122"/>
                      <a:pt x="97" y="122"/>
                      <a:pt x="97" y="122"/>
                    </a:cubicBezTo>
                    <a:cubicBezTo>
                      <a:pt x="97" y="123"/>
                      <a:pt x="96" y="123"/>
                      <a:pt x="96" y="123"/>
                    </a:cubicBezTo>
                    <a:cubicBezTo>
                      <a:pt x="96" y="123"/>
                      <a:pt x="97" y="123"/>
                      <a:pt x="97" y="123"/>
                    </a:cubicBezTo>
                    <a:cubicBezTo>
                      <a:pt x="97" y="122"/>
                      <a:pt x="97" y="122"/>
                      <a:pt x="97" y="122"/>
                    </a:cubicBezTo>
                    <a:cubicBezTo>
                      <a:pt x="96" y="121"/>
                      <a:pt x="97" y="122"/>
                      <a:pt x="97" y="121"/>
                    </a:cubicBezTo>
                    <a:cubicBezTo>
                      <a:pt x="97" y="121"/>
                      <a:pt x="96" y="121"/>
                      <a:pt x="96" y="120"/>
                    </a:cubicBezTo>
                    <a:cubicBezTo>
                      <a:pt x="95" y="120"/>
                      <a:pt x="91" y="119"/>
                      <a:pt x="92" y="117"/>
                    </a:cubicBezTo>
                    <a:cubicBezTo>
                      <a:pt x="92" y="116"/>
                      <a:pt x="91" y="115"/>
                      <a:pt x="92" y="114"/>
                    </a:cubicBezTo>
                    <a:cubicBezTo>
                      <a:pt x="93" y="114"/>
                      <a:pt x="94" y="113"/>
                      <a:pt x="94" y="114"/>
                    </a:cubicBezTo>
                    <a:cubicBezTo>
                      <a:pt x="94" y="115"/>
                      <a:pt x="93" y="115"/>
                      <a:pt x="94" y="116"/>
                    </a:cubicBezTo>
                    <a:cubicBezTo>
                      <a:pt x="94" y="116"/>
                      <a:pt x="94" y="116"/>
                      <a:pt x="94" y="117"/>
                    </a:cubicBezTo>
                    <a:cubicBezTo>
                      <a:pt x="95" y="117"/>
                      <a:pt x="94" y="117"/>
                      <a:pt x="95" y="118"/>
                    </a:cubicBezTo>
                    <a:cubicBezTo>
                      <a:pt x="95" y="118"/>
                      <a:pt x="96" y="118"/>
                      <a:pt x="96" y="118"/>
                    </a:cubicBezTo>
                    <a:cubicBezTo>
                      <a:pt x="96" y="118"/>
                      <a:pt x="95" y="117"/>
                      <a:pt x="95" y="117"/>
                    </a:cubicBezTo>
                    <a:cubicBezTo>
                      <a:pt x="95" y="117"/>
                      <a:pt x="95" y="116"/>
                      <a:pt x="95" y="116"/>
                    </a:cubicBezTo>
                    <a:cubicBezTo>
                      <a:pt x="96" y="116"/>
                      <a:pt x="95" y="117"/>
                      <a:pt x="97" y="117"/>
                    </a:cubicBezTo>
                    <a:cubicBezTo>
                      <a:pt x="98" y="117"/>
                      <a:pt x="98" y="117"/>
                      <a:pt x="99" y="118"/>
                    </a:cubicBezTo>
                    <a:cubicBezTo>
                      <a:pt x="99" y="118"/>
                      <a:pt x="98" y="118"/>
                      <a:pt x="98" y="118"/>
                    </a:cubicBezTo>
                    <a:cubicBezTo>
                      <a:pt x="98" y="119"/>
                      <a:pt x="97" y="119"/>
                      <a:pt x="97" y="119"/>
                    </a:cubicBezTo>
                    <a:cubicBezTo>
                      <a:pt x="97" y="120"/>
                      <a:pt x="101" y="118"/>
                      <a:pt x="101" y="118"/>
                    </a:cubicBezTo>
                    <a:cubicBezTo>
                      <a:pt x="102" y="118"/>
                      <a:pt x="103" y="119"/>
                      <a:pt x="103" y="119"/>
                    </a:cubicBezTo>
                    <a:cubicBezTo>
                      <a:pt x="104" y="119"/>
                      <a:pt x="104" y="118"/>
                      <a:pt x="105" y="118"/>
                    </a:cubicBezTo>
                    <a:cubicBezTo>
                      <a:pt x="106" y="118"/>
                      <a:pt x="107" y="119"/>
                      <a:pt x="108" y="119"/>
                    </a:cubicBezTo>
                    <a:cubicBezTo>
                      <a:pt x="107" y="119"/>
                      <a:pt x="107" y="118"/>
                      <a:pt x="108" y="117"/>
                    </a:cubicBezTo>
                    <a:cubicBezTo>
                      <a:pt x="108" y="117"/>
                      <a:pt x="108" y="117"/>
                      <a:pt x="108" y="116"/>
                    </a:cubicBezTo>
                    <a:cubicBezTo>
                      <a:pt x="108" y="116"/>
                      <a:pt x="108" y="115"/>
                      <a:pt x="108" y="115"/>
                    </a:cubicBezTo>
                    <a:cubicBezTo>
                      <a:pt x="109" y="115"/>
                      <a:pt x="109" y="114"/>
                      <a:pt x="109" y="115"/>
                    </a:cubicBezTo>
                    <a:cubicBezTo>
                      <a:pt x="108" y="114"/>
                      <a:pt x="109" y="114"/>
                      <a:pt x="109" y="113"/>
                    </a:cubicBezTo>
                    <a:cubicBezTo>
                      <a:pt x="110" y="113"/>
                      <a:pt x="110" y="113"/>
                      <a:pt x="111" y="114"/>
                    </a:cubicBezTo>
                    <a:cubicBezTo>
                      <a:pt x="111" y="114"/>
                      <a:pt x="112" y="114"/>
                      <a:pt x="112" y="114"/>
                    </a:cubicBezTo>
                    <a:cubicBezTo>
                      <a:pt x="112" y="115"/>
                      <a:pt x="111" y="114"/>
                      <a:pt x="111" y="115"/>
                    </a:cubicBezTo>
                    <a:cubicBezTo>
                      <a:pt x="111" y="115"/>
                      <a:pt x="111" y="116"/>
                      <a:pt x="112" y="116"/>
                    </a:cubicBezTo>
                    <a:cubicBezTo>
                      <a:pt x="112" y="117"/>
                      <a:pt x="112" y="117"/>
                      <a:pt x="112" y="118"/>
                    </a:cubicBezTo>
                    <a:cubicBezTo>
                      <a:pt x="112" y="118"/>
                      <a:pt x="113" y="119"/>
                      <a:pt x="113" y="119"/>
                    </a:cubicBezTo>
                    <a:cubicBezTo>
                      <a:pt x="114" y="119"/>
                      <a:pt x="114" y="118"/>
                      <a:pt x="115" y="119"/>
                    </a:cubicBezTo>
                    <a:cubicBezTo>
                      <a:pt x="114" y="118"/>
                      <a:pt x="115" y="117"/>
                      <a:pt x="115" y="116"/>
                    </a:cubicBezTo>
                    <a:cubicBezTo>
                      <a:pt x="114" y="115"/>
                      <a:pt x="113" y="114"/>
                      <a:pt x="114" y="113"/>
                    </a:cubicBezTo>
                    <a:cubicBezTo>
                      <a:pt x="114" y="113"/>
                      <a:pt x="113" y="113"/>
                      <a:pt x="113" y="112"/>
                    </a:cubicBezTo>
                    <a:cubicBezTo>
                      <a:pt x="113" y="112"/>
                      <a:pt x="114" y="112"/>
                      <a:pt x="114" y="111"/>
                    </a:cubicBezTo>
                    <a:cubicBezTo>
                      <a:pt x="115" y="111"/>
                      <a:pt x="117" y="111"/>
                      <a:pt x="117" y="112"/>
                    </a:cubicBezTo>
                    <a:cubicBezTo>
                      <a:pt x="118" y="112"/>
                      <a:pt x="118" y="113"/>
                      <a:pt x="118" y="113"/>
                    </a:cubicBezTo>
                    <a:cubicBezTo>
                      <a:pt x="119" y="113"/>
                      <a:pt x="118" y="113"/>
                      <a:pt x="118" y="112"/>
                    </a:cubicBezTo>
                    <a:cubicBezTo>
                      <a:pt x="119" y="112"/>
                      <a:pt x="117" y="111"/>
                      <a:pt x="117" y="111"/>
                    </a:cubicBezTo>
                    <a:cubicBezTo>
                      <a:pt x="117" y="111"/>
                      <a:pt x="117" y="110"/>
                      <a:pt x="117" y="110"/>
                    </a:cubicBezTo>
                    <a:cubicBezTo>
                      <a:pt x="118" y="110"/>
                      <a:pt x="117" y="110"/>
                      <a:pt x="117" y="110"/>
                    </a:cubicBezTo>
                    <a:cubicBezTo>
                      <a:pt x="117" y="109"/>
                      <a:pt x="118" y="110"/>
                      <a:pt x="118" y="109"/>
                    </a:cubicBezTo>
                    <a:cubicBezTo>
                      <a:pt x="118" y="109"/>
                      <a:pt x="117" y="108"/>
                      <a:pt x="117" y="108"/>
                    </a:cubicBezTo>
                    <a:cubicBezTo>
                      <a:pt x="117" y="108"/>
                      <a:pt x="118" y="107"/>
                      <a:pt x="118" y="108"/>
                    </a:cubicBezTo>
                    <a:cubicBezTo>
                      <a:pt x="118" y="108"/>
                      <a:pt x="118" y="108"/>
                      <a:pt x="118" y="108"/>
                    </a:cubicBezTo>
                    <a:cubicBezTo>
                      <a:pt x="119" y="108"/>
                      <a:pt x="118" y="107"/>
                      <a:pt x="119" y="107"/>
                    </a:cubicBezTo>
                    <a:cubicBezTo>
                      <a:pt x="119" y="107"/>
                      <a:pt x="121" y="108"/>
                      <a:pt x="120" y="109"/>
                    </a:cubicBezTo>
                    <a:cubicBezTo>
                      <a:pt x="120" y="109"/>
                      <a:pt x="120" y="109"/>
                      <a:pt x="120" y="110"/>
                    </a:cubicBezTo>
                    <a:cubicBezTo>
                      <a:pt x="120" y="110"/>
                      <a:pt x="119" y="110"/>
                      <a:pt x="119" y="110"/>
                    </a:cubicBezTo>
                    <a:cubicBezTo>
                      <a:pt x="120" y="111"/>
                      <a:pt x="119" y="111"/>
                      <a:pt x="119" y="111"/>
                    </a:cubicBezTo>
                    <a:cubicBezTo>
                      <a:pt x="119" y="111"/>
                      <a:pt x="120" y="112"/>
                      <a:pt x="120" y="112"/>
                    </a:cubicBezTo>
                    <a:cubicBezTo>
                      <a:pt x="120" y="113"/>
                      <a:pt x="120" y="113"/>
                      <a:pt x="120" y="113"/>
                    </a:cubicBezTo>
                    <a:cubicBezTo>
                      <a:pt x="120" y="114"/>
                      <a:pt x="121" y="115"/>
                      <a:pt x="120" y="115"/>
                    </a:cubicBezTo>
                    <a:cubicBezTo>
                      <a:pt x="121" y="115"/>
                      <a:pt x="121" y="116"/>
                      <a:pt x="122" y="116"/>
                    </a:cubicBezTo>
                    <a:cubicBezTo>
                      <a:pt x="122" y="116"/>
                      <a:pt x="122" y="115"/>
                      <a:pt x="122" y="115"/>
                    </a:cubicBezTo>
                    <a:cubicBezTo>
                      <a:pt x="122" y="114"/>
                      <a:pt x="123" y="114"/>
                      <a:pt x="123" y="114"/>
                    </a:cubicBezTo>
                    <a:cubicBezTo>
                      <a:pt x="124" y="113"/>
                      <a:pt x="124" y="113"/>
                      <a:pt x="125" y="113"/>
                    </a:cubicBezTo>
                    <a:cubicBezTo>
                      <a:pt x="125" y="112"/>
                      <a:pt x="125" y="112"/>
                      <a:pt x="124" y="111"/>
                    </a:cubicBezTo>
                    <a:cubicBezTo>
                      <a:pt x="124" y="110"/>
                      <a:pt x="124" y="110"/>
                      <a:pt x="124" y="109"/>
                    </a:cubicBezTo>
                    <a:cubicBezTo>
                      <a:pt x="124" y="108"/>
                      <a:pt x="125" y="107"/>
                      <a:pt x="125" y="107"/>
                    </a:cubicBezTo>
                    <a:cubicBezTo>
                      <a:pt x="126" y="107"/>
                      <a:pt x="127" y="107"/>
                      <a:pt x="127" y="107"/>
                    </a:cubicBezTo>
                    <a:cubicBezTo>
                      <a:pt x="127" y="107"/>
                      <a:pt x="123" y="103"/>
                      <a:pt x="123" y="103"/>
                    </a:cubicBezTo>
                    <a:close/>
                    <a:moveTo>
                      <a:pt x="32" y="209"/>
                    </a:moveTo>
                    <a:cubicBezTo>
                      <a:pt x="31" y="209"/>
                      <a:pt x="32" y="210"/>
                      <a:pt x="32" y="210"/>
                    </a:cubicBezTo>
                    <a:cubicBezTo>
                      <a:pt x="33" y="210"/>
                      <a:pt x="32" y="209"/>
                      <a:pt x="32" y="209"/>
                    </a:cubicBezTo>
                    <a:close/>
                    <a:moveTo>
                      <a:pt x="56" y="102"/>
                    </a:moveTo>
                    <a:cubicBezTo>
                      <a:pt x="55" y="101"/>
                      <a:pt x="56" y="101"/>
                      <a:pt x="56" y="101"/>
                    </a:cubicBezTo>
                    <a:cubicBezTo>
                      <a:pt x="56" y="101"/>
                      <a:pt x="55" y="100"/>
                      <a:pt x="55" y="100"/>
                    </a:cubicBezTo>
                    <a:cubicBezTo>
                      <a:pt x="55" y="100"/>
                      <a:pt x="55" y="100"/>
                      <a:pt x="54" y="100"/>
                    </a:cubicBezTo>
                    <a:cubicBezTo>
                      <a:pt x="54" y="100"/>
                      <a:pt x="54" y="101"/>
                      <a:pt x="54" y="101"/>
                    </a:cubicBezTo>
                    <a:cubicBezTo>
                      <a:pt x="55" y="102"/>
                      <a:pt x="55" y="102"/>
                      <a:pt x="56" y="102"/>
                    </a:cubicBezTo>
                    <a:close/>
                    <a:moveTo>
                      <a:pt x="48" y="193"/>
                    </a:moveTo>
                    <a:cubicBezTo>
                      <a:pt x="47" y="193"/>
                      <a:pt x="48" y="195"/>
                      <a:pt x="48" y="195"/>
                    </a:cubicBezTo>
                    <a:cubicBezTo>
                      <a:pt x="49" y="195"/>
                      <a:pt x="49" y="192"/>
                      <a:pt x="48" y="193"/>
                    </a:cubicBezTo>
                    <a:close/>
                    <a:moveTo>
                      <a:pt x="58" y="160"/>
                    </a:moveTo>
                    <a:cubicBezTo>
                      <a:pt x="57" y="160"/>
                      <a:pt x="57" y="162"/>
                      <a:pt x="57" y="162"/>
                    </a:cubicBezTo>
                    <a:cubicBezTo>
                      <a:pt x="58" y="163"/>
                      <a:pt x="57" y="165"/>
                      <a:pt x="58" y="165"/>
                    </a:cubicBezTo>
                    <a:cubicBezTo>
                      <a:pt x="58" y="166"/>
                      <a:pt x="58" y="165"/>
                      <a:pt x="58" y="165"/>
                    </a:cubicBezTo>
                    <a:cubicBezTo>
                      <a:pt x="58" y="164"/>
                      <a:pt x="58" y="164"/>
                      <a:pt x="58" y="163"/>
                    </a:cubicBezTo>
                    <a:cubicBezTo>
                      <a:pt x="58" y="162"/>
                      <a:pt x="58" y="161"/>
                      <a:pt x="58" y="160"/>
                    </a:cubicBezTo>
                    <a:close/>
                    <a:moveTo>
                      <a:pt x="50" y="190"/>
                    </a:moveTo>
                    <a:cubicBezTo>
                      <a:pt x="50" y="190"/>
                      <a:pt x="50" y="190"/>
                      <a:pt x="50" y="190"/>
                    </a:cubicBezTo>
                    <a:cubicBezTo>
                      <a:pt x="50" y="190"/>
                      <a:pt x="50" y="190"/>
                      <a:pt x="49" y="189"/>
                    </a:cubicBezTo>
                    <a:cubicBezTo>
                      <a:pt x="49" y="189"/>
                      <a:pt x="49" y="189"/>
                      <a:pt x="49" y="189"/>
                    </a:cubicBezTo>
                    <a:cubicBezTo>
                      <a:pt x="49" y="190"/>
                      <a:pt x="51" y="191"/>
                      <a:pt x="51" y="191"/>
                    </a:cubicBezTo>
                    <a:cubicBezTo>
                      <a:pt x="51" y="190"/>
                      <a:pt x="50" y="190"/>
                      <a:pt x="50" y="190"/>
                    </a:cubicBezTo>
                    <a:close/>
                    <a:moveTo>
                      <a:pt x="78" y="119"/>
                    </a:moveTo>
                    <a:cubicBezTo>
                      <a:pt x="78" y="120"/>
                      <a:pt x="77" y="120"/>
                      <a:pt x="77" y="121"/>
                    </a:cubicBezTo>
                    <a:cubicBezTo>
                      <a:pt x="77" y="121"/>
                      <a:pt x="77" y="121"/>
                      <a:pt x="77" y="122"/>
                    </a:cubicBezTo>
                    <a:cubicBezTo>
                      <a:pt x="77" y="122"/>
                      <a:pt x="77" y="122"/>
                      <a:pt x="77" y="122"/>
                    </a:cubicBezTo>
                    <a:cubicBezTo>
                      <a:pt x="77" y="122"/>
                      <a:pt x="77" y="123"/>
                      <a:pt x="77" y="123"/>
                    </a:cubicBezTo>
                    <a:cubicBezTo>
                      <a:pt x="78" y="123"/>
                      <a:pt x="78" y="124"/>
                      <a:pt x="78" y="123"/>
                    </a:cubicBezTo>
                    <a:cubicBezTo>
                      <a:pt x="79" y="123"/>
                      <a:pt x="79" y="123"/>
                      <a:pt x="79" y="122"/>
                    </a:cubicBezTo>
                    <a:cubicBezTo>
                      <a:pt x="79" y="122"/>
                      <a:pt x="78" y="122"/>
                      <a:pt x="78" y="121"/>
                    </a:cubicBezTo>
                    <a:cubicBezTo>
                      <a:pt x="78" y="121"/>
                      <a:pt x="79" y="120"/>
                      <a:pt x="79" y="120"/>
                    </a:cubicBezTo>
                    <a:cubicBezTo>
                      <a:pt x="79" y="119"/>
                      <a:pt x="78" y="119"/>
                      <a:pt x="78" y="119"/>
                    </a:cubicBezTo>
                    <a:close/>
                    <a:moveTo>
                      <a:pt x="33" y="132"/>
                    </a:moveTo>
                    <a:cubicBezTo>
                      <a:pt x="34" y="133"/>
                      <a:pt x="33" y="133"/>
                      <a:pt x="33" y="133"/>
                    </a:cubicBezTo>
                    <a:cubicBezTo>
                      <a:pt x="33" y="134"/>
                      <a:pt x="33" y="135"/>
                      <a:pt x="33" y="135"/>
                    </a:cubicBezTo>
                    <a:cubicBezTo>
                      <a:pt x="34" y="135"/>
                      <a:pt x="34" y="132"/>
                      <a:pt x="33" y="132"/>
                    </a:cubicBezTo>
                    <a:close/>
                    <a:moveTo>
                      <a:pt x="31" y="138"/>
                    </a:moveTo>
                    <a:cubicBezTo>
                      <a:pt x="31" y="137"/>
                      <a:pt x="32" y="137"/>
                      <a:pt x="32" y="137"/>
                    </a:cubicBezTo>
                    <a:cubicBezTo>
                      <a:pt x="32" y="137"/>
                      <a:pt x="31" y="137"/>
                      <a:pt x="31" y="137"/>
                    </a:cubicBezTo>
                    <a:cubicBezTo>
                      <a:pt x="31" y="137"/>
                      <a:pt x="31" y="136"/>
                      <a:pt x="31" y="136"/>
                    </a:cubicBezTo>
                    <a:cubicBezTo>
                      <a:pt x="31" y="136"/>
                      <a:pt x="31" y="135"/>
                      <a:pt x="31" y="135"/>
                    </a:cubicBezTo>
                    <a:cubicBezTo>
                      <a:pt x="30" y="135"/>
                      <a:pt x="31" y="136"/>
                      <a:pt x="31" y="136"/>
                    </a:cubicBezTo>
                    <a:cubicBezTo>
                      <a:pt x="30" y="136"/>
                      <a:pt x="31" y="137"/>
                      <a:pt x="31" y="137"/>
                    </a:cubicBezTo>
                    <a:cubicBezTo>
                      <a:pt x="31" y="137"/>
                      <a:pt x="30" y="137"/>
                      <a:pt x="30" y="137"/>
                    </a:cubicBezTo>
                    <a:cubicBezTo>
                      <a:pt x="31" y="137"/>
                      <a:pt x="31" y="138"/>
                      <a:pt x="31" y="138"/>
                    </a:cubicBezTo>
                    <a:cubicBezTo>
                      <a:pt x="31" y="138"/>
                      <a:pt x="31" y="138"/>
                      <a:pt x="31" y="138"/>
                    </a:cubicBezTo>
                    <a:cubicBezTo>
                      <a:pt x="31" y="138"/>
                      <a:pt x="31" y="138"/>
                      <a:pt x="31" y="138"/>
                    </a:cubicBezTo>
                    <a:close/>
                    <a:moveTo>
                      <a:pt x="74" y="4"/>
                    </a:moveTo>
                    <a:cubicBezTo>
                      <a:pt x="75" y="4"/>
                      <a:pt x="73" y="3"/>
                      <a:pt x="72" y="3"/>
                    </a:cubicBezTo>
                    <a:cubicBezTo>
                      <a:pt x="71" y="4"/>
                      <a:pt x="73" y="4"/>
                      <a:pt x="74" y="4"/>
                    </a:cubicBezTo>
                    <a:close/>
                    <a:moveTo>
                      <a:pt x="9" y="231"/>
                    </a:moveTo>
                    <a:cubicBezTo>
                      <a:pt x="8" y="231"/>
                      <a:pt x="8" y="232"/>
                      <a:pt x="8" y="232"/>
                    </a:cubicBezTo>
                    <a:cubicBezTo>
                      <a:pt x="8" y="232"/>
                      <a:pt x="8" y="232"/>
                      <a:pt x="8" y="232"/>
                    </a:cubicBezTo>
                    <a:cubicBezTo>
                      <a:pt x="8" y="233"/>
                      <a:pt x="8" y="232"/>
                      <a:pt x="8" y="232"/>
                    </a:cubicBezTo>
                    <a:cubicBezTo>
                      <a:pt x="9" y="233"/>
                      <a:pt x="11" y="233"/>
                      <a:pt x="10" y="232"/>
                    </a:cubicBezTo>
                    <a:cubicBezTo>
                      <a:pt x="10" y="231"/>
                      <a:pt x="9" y="231"/>
                      <a:pt x="9" y="231"/>
                    </a:cubicBezTo>
                    <a:close/>
                    <a:moveTo>
                      <a:pt x="92" y="84"/>
                    </a:moveTo>
                    <a:cubicBezTo>
                      <a:pt x="92" y="84"/>
                      <a:pt x="92" y="84"/>
                      <a:pt x="92" y="84"/>
                    </a:cubicBezTo>
                    <a:cubicBezTo>
                      <a:pt x="93" y="84"/>
                      <a:pt x="93" y="84"/>
                      <a:pt x="94" y="83"/>
                    </a:cubicBezTo>
                    <a:cubicBezTo>
                      <a:pt x="94" y="83"/>
                      <a:pt x="94" y="82"/>
                      <a:pt x="94" y="81"/>
                    </a:cubicBezTo>
                    <a:cubicBezTo>
                      <a:pt x="94" y="81"/>
                      <a:pt x="93" y="81"/>
                      <a:pt x="93" y="81"/>
                    </a:cubicBezTo>
                    <a:cubicBezTo>
                      <a:pt x="92" y="81"/>
                      <a:pt x="92" y="79"/>
                      <a:pt x="92" y="79"/>
                    </a:cubicBezTo>
                    <a:cubicBezTo>
                      <a:pt x="92" y="78"/>
                      <a:pt x="91" y="78"/>
                      <a:pt x="91" y="79"/>
                    </a:cubicBezTo>
                    <a:cubicBezTo>
                      <a:pt x="91" y="79"/>
                      <a:pt x="91" y="79"/>
                      <a:pt x="91" y="79"/>
                    </a:cubicBezTo>
                    <a:cubicBezTo>
                      <a:pt x="91" y="80"/>
                      <a:pt x="90" y="81"/>
                      <a:pt x="91" y="82"/>
                    </a:cubicBezTo>
                    <a:cubicBezTo>
                      <a:pt x="91" y="82"/>
                      <a:pt x="92" y="82"/>
                      <a:pt x="92" y="82"/>
                    </a:cubicBezTo>
                    <a:cubicBezTo>
                      <a:pt x="92" y="82"/>
                      <a:pt x="92" y="83"/>
                      <a:pt x="92" y="83"/>
                    </a:cubicBezTo>
                    <a:cubicBezTo>
                      <a:pt x="92" y="84"/>
                      <a:pt x="92" y="83"/>
                      <a:pt x="92" y="84"/>
                    </a:cubicBezTo>
                    <a:close/>
                    <a:moveTo>
                      <a:pt x="77" y="36"/>
                    </a:moveTo>
                    <a:cubicBezTo>
                      <a:pt x="77" y="36"/>
                      <a:pt x="78" y="38"/>
                      <a:pt x="78" y="37"/>
                    </a:cubicBezTo>
                    <a:cubicBezTo>
                      <a:pt x="79" y="37"/>
                      <a:pt x="78" y="36"/>
                      <a:pt x="78" y="36"/>
                    </a:cubicBezTo>
                    <a:cubicBezTo>
                      <a:pt x="78" y="35"/>
                      <a:pt x="77" y="36"/>
                      <a:pt x="77" y="36"/>
                    </a:cubicBezTo>
                    <a:close/>
                    <a:moveTo>
                      <a:pt x="53" y="187"/>
                    </a:moveTo>
                    <a:cubicBezTo>
                      <a:pt x="53" y="187"/>
                      <a:pt x="53" y="187"/>
                      <a:pt x="52" y="187"/>
                    </a:cubicBezTo>
                    <a:cubicBezTo>
                      <a:pt x="53" y="186"/>
                      <a:pt x="52" y="186"/>
                      <a:pt x="52" y="186"/>
                    </a:cubicBezTo>
                    <a:cubicBezTo>
                      <a:pt x="52" y="187"/>
                      <a:pt x="52" y="187"/>
                      <a:pt x="52" y="187"/>
                    </a:cubicBezTo>
                    <a:cubicBezTo>
                      <a:pt x="52" y="187"/>
                      <a:pt x="51" y="187"/>
                      <a:pt x="51" y="187"/>
                    </a:cubicBezTo>
                    <a:cubicBezTo>
                      <a:pt x="51" y="187"/>
                      <a:pt x="51" y="188"/>
                      <a:pt x="50" y="188"/>
                    </a:cubicBezTo>
                    <a:cubicBezTo>
                      <a:pt x="50" y="188"/>
                      <a:pt x="50" y="188"/>
                      <a:pt x="49" y="188"/>
                    </a:cubicBezTo>
                    <a:cubicBezTo>
                      <a:pt x="49" y="188"/>
                      <a:pt x="50" y="189"/>
                      <a:pt x="50" y="189"/>
                    </a:cubicBezTo>
                    <a:cubicBezTo>
                      <a:pt x="50" y="189"/>
                      <a:pt x="48" y="189"/>
                      <a:pt x="49" y="189"/>
                    </a:cubicBezTo>
                    <a:cubicBezTo>
                      <a:pt x="50" y="189"/>
                      <a:pt x="50" y="189"/>
                      <a:pt x="50" y="189"/>
                    </a:cubicBezTo>
                    <a:cubicBezTo>
                      <a:pt x="50" y="190"/>
                      <a:pt x="51" y="190"/>
                      <a:pt x="51" y="190"/>
                    </a:cubicBezTo>
                    <a:cubicBezTo>
                      <a:pt x="51" y="190"/>
                      <a:pt x="51" y="190"/>
                      <a:pt x="51" y="190"/>
                    </a:cubicBezTo>
                    <a:cubicBezTo>
                      <a:pt x="51" y="190"/>
                      <a:pt x="52" y="190"/>
                      <a:pt x="52" y="189"/>
                    </a:cubicBezTo>
                    <a:cubicBezTo>
                      <a:pt x="52" y="189"/>
                      <a:pt x="52" y="189"/>
                      <a:pt x="51" y="189"/>
                    </a:cubicBezTo>
                    <a:cubicBezTo>
                      <a:pt x="52" y="189"/>
                      <a:pt x="52" y="189"/>
                      <a:pt x="52" y="188"/>
                    </a:cubicBezTo>
                    <a:cubicBezTo>
                      <a:pt x="52" y="188"/>
                      <a:pt x="52" y="188"/>
                      <a:pt x="52" y="188"/>
                    </a:cubicBezTo>
                    <a:cubicBezTo>
                      <a:pt x="52" y="188"/>
                      <a:pt x="53" y="188"/>
                      <a:pt x="53" y="187"/>
                    </a:cubicBezTo>
                    <a:cubicBezTo>
                      <a:pt x="53" y="187"/>
                      <a:pt x="53" y="187"/>
                      <a:pt x="53" y="186"/>
                    </a:cubicBezTo>
                    <a:cubicBezTo>
                      <a:pt x="53" y="186"/>
                      <a:pt x="53" y="186"/>
                      <a:pt x="53" y="187"/>
                    </a:cubicBezTo>
                    <a:close/>
                    <a:moveTo>
                      <a:pt x="46" y="199"/>
                    </a:moveTo>
                    <a:cubicBezTo>
                      <a:pt x="47" y="199"/>
                      <a:pt x="47" y="198"/>
                      <a:pt x="47" y="198"/>
                    </a:cubicBezTo>
                    <a:cubicBezTo>
                      <a:pt x="47" y="198"/>
                      <a:pt x="46" y="198"/>
                      <a:pt x="46" y="198"/>
                    </a:cubicBezTo>
                    <a:cubicBezTo>
                      <a:pt x="45" y="198"/>
                      <a:pt x="46" y="199"/>
                      <a:pt x="46" y="199"/>
                    </a:cubicBezTo>
                    <a:close/>
                    <a:moveTo>
                      <a:pt x="1" y="230"/>
                    </a:moveTo>
                    <a:cubicBezTo>
                      <a:pt x="0" y="231"/>
                      <a:pt x="2" y="230"/>
                      <a:pt x="1" y="230"/>
                    </a:cubicBezTo>
                    <a:close/>
                    <a:moveTo>
                      <a:pt x="51" y="172"/>
                    </a:moveTo>
                    <a:cubicBezTo>
                      <a:pt x="51" y="171"/>
                      <a:pt x="50" y="171"/>
                      <a:pt x="50" y="171"/>
                    </a:cubicBezTo>
                    <a:cubicBezTo>
                      <a:pt x="50" y="171"/>
                      <a:pt x="50" y="172"/>
                      <a:pt x="51" y="172"/>
                    </a:cubicBezTo>
                    <a:close/>
                    <a:moveTo>
                      <a:pt x="49" y="173"/>
                    </a:moveTo>
                    <a:cubicBezTo>
                      <a:pt x="49" y="175"/>
                      <a:pt x="50" y="173"/>
                      <a:pt x="49" y="173"/>
                    </a:cubicBezTo>
                    <a:close/>
                    <a:moveTo>
                      <a:pt x="51" y="170"/>
                    </a:moveTo>
                    <a:cubicBezTo>
                      <a:pt x="51" y="169"/>
                      <a:pt x="49" y="170"/>
                      <a:pt x="51" y="170"/>
                    </a:cubicBezTo>
                    <a:close/>
                    <a:moveTo>
                      <a:pt x="54" y="165"/>
                    </a:moveTo>
                    <a:cubicBezTo>
                      <a:pt x="54" y="164"/>
                      <a:pt x="53" y="165"/>
                      <a:pt x="53" y="166"/>
                    </a:cubicBezTo>
                    <a:cubicBezTo>
                      <a:pt x="53" y="166"/>
                      <a:pt x="54" y="167"/>
                      <a:pt x="54" y="167"/>
                    </a:cubicBezTo>
                    <a:cubicBezTo>
                      <a:pt x="55" y="167"/>
                      <a:pt x="56" y="167"/>
                      <a:pt x="56" y="166"/>
                    </a:cubicBezTo>
                    <a:cubicBezTo>
                      <a:pt x="56" y="165"/>
                      <a:pt x="55" y="165"/>
                      <a:pt x="54" y="165"/>
                    </a:cubicBezTo>
                    <a:close/>
                    <a:moveTo>
                      <a:pt x="295" y="232"/>
                    </a:moveTo>
                    <a:cubicBezTo>
                      <a:pt x="295" y="232"/>
                      <a:pt x="295" y="232"/>
                      <a:pt x="295" y="232"/>
                    </a:cubicBezTo>
                    <a:cubicBezTo>
                      <a:pt x="295" y="232"/>
                      <a:pt x="295" y="232"/>
                      <a:pt x="295" y="23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4" name="Jamaica">
                <a:extLst>
                  <a:ext uri="{FF2B5EF4-FFF2-40B4-BE49-F238E27FC236}">
                    <a16:creationId xmlns:a16="http://schemas.microsoft.com/office/drawing/2014/main" id="{3C52B08A-249A-4AA6-3D5B-695A0CB9962F}"/>
                  </a:ext>
                </a:extLst>
              </p:cNvPr>
              <p:cNvSpPr>
                <a:spLocks/>
              </p:cNvSpPr>
              <p:nvPr/>
            </p:nvSpPr>
            <p:spPr bwMode="auto">
              <a:xfrm>
                <a:off x="3045339" y="3324907"/>
                <a:ext cx="74493" cy="31365"/>
              </a:xfrm>
              <a:custGeom>
                <a:avLst/>
                <a:gdLst/>
                <a:ahLst/>
                <a:cxnLst>
                  <a:cxn ang="0">
                    <a:pos x="20" y="4"/>
                  </a:cxn>
                  <a:cxn ang="0">
                    <a:pos x="18" y="3"/>
                  </a:cxn>
                  <a:cxn ang="0">
                    <a:pos x="17" y="3"/>
                  </a:cxn>
                  <a:cxn ang="0">
                    <a:pos x="16" y="2"/>
                  </a:cxn>
                  <a:cxn ang="0">
                    <a:pos x="14" y="1"/>
                  </a:cxn>
                  <a:cxn ang="0">
                    <a:pos x="13" y="1"/>
                  </a:cxn>
                  <a:cxn ang="0">
                    <a:pos x="11" y="1"/>
                  </a:cxn>
                  <a:cxn ang="0">
                    <a:pos x="9" y="0"/>
                  </a:cxn>
                  <a:cxn ang="0">
                    <a:pos x="8" y="0"/>
                  </a:cxn>
                  <a:cxn ang="0">
                    <a:pos x="6" y="0"/>
                  </a:cxn>
                  <a:cxn ang="0">
                    <a:pos x="4" y="1"/>
                  </a:cxn>
                  <a:cxn ang="0">
                    <a:pos x="2" y="1"/>
                  </a:cxn>
                  <a:cxn ang="0">
                    <a:pos x="0" y="3"/>
                  </a:cxn>
                  <a:cxn ang="0">
                    <a:pos x="1" y="3"/>
                  </a:cxn>
                  <a:cxn ang="0">
                    <a:pos x="3" y="3"/>
                  </a:cxn>
                  <a:cxn ang="0">
                    <a:pos x="4" y="5"/>
                  </a:cxn>
                  <a:cxn ang="0">
                    <a:pos x="5" y="5"/>
                  </a:cxn>
                  <a:cxn ang="0">
                    <a:pos x="6" y="7"/>
                  </a:cxn>
                  <a:cxn ang="0">
                    <a:pos x="7" y="7"/>
                  </a:cxn>
                  <a:cxn ang="0">
                    <a:pos x="9" y="7"/>
                  </a:cxn>
                  <a:cxn ang="0">
                    <a:pos x="11" y="9"/>
                  </a:cxn>
                  <a:cxn ang="0">
                    <a:pos x="11" y="8"/>
                  </a:cxn>
                  <a:cxn ang="0">
                    <a:pos x="12" y="7"/>
                  </a:cxn>
                  <a:cxn ang="0">
                    <a:pos x="13" y="7"/>
                  </a:cxn>
                  <a:cxn ang="0">
                    <a:pos x="14" y="6"/>
                  </a:cxn>
                  <a:cxn ang="0">
                    <a:pos x="15" y="6"/>
                  </a:cxn>
                  <a:cxn ang="0">
                    <a:pos x="16" y="6"/>
                  </a:cxn>
                  <a:cxn ang="0">
                    <a:pos x="15" y="6"/>
                  </a:cxn>
                  <a:cxn ang="0">
                    <a:pos x="16" y="6"/>
                  </a:cxn>
                  <a:cxn ang="0">
                    <a:pos x="17" y="7"/>
                  </a:cxn>
                  <a:cxn ang="0">
                    <a:pos x="20" y="7"/>
                  </a:cxn>
                  <a:cxn ang="0">
                    <a:pos x="21" y="6"/>
                  </a:cxn>
                  <a:cxn ang="0">
                    <a:pos x="20" y="4"/>
                  </a:cxn>
                </a:cxnLst>
                <a:rect l="0" t="0" r="r" b="b"/>
                <a:pathLst>
                  <a:path w="21" h="9">
                    <a:moveTo>
                      <a:pt x="20" y="4"/>
                    </a:moveTo>
                    <a:cubicBezTo>
                      <a:pt x="19" y="4"/>
                      <a:pt x="19" y="3"/>
                      <a:pt x="18" y="3"/>
                    </a:cubicBezTo>
                    <a:cubicBezTo>
                      <a:pt x="17" y="3"/>
                      <a:pt x="17" y="3"/>
                      <a:pt x="17" y="3"/>
                    </a:cubicBezTo>
                    <a:cubicBezTo>
                      <a:pt x="16" y="2"/>
                      <a:pt x="16" y="3"/>
                      <a:pt x="16" y="2"/>
                    </a:cubicBezTo>
                    <a:cubicBezTo>
                      <a:pt x="15" y="2"/>
                      <a:pt x="15" y="1"/>
                      <a:pt x="14" y="1"/>
                    </a:cubicBezTo>
                    <a:cubicBezTo>
                      <a:pt x="14" y="1"/>
                      <a:pt x="13" y="1"/>
                      <a:pt x="13" y="1"/>
                    </a:cubicBezTo>
                    <a:cubicBezTo>
                      <a:pt x="12" y="1"/>
                      <a:pt x="12" y="1"/>
                      <a:pt x="11" y="1"/>
                    </a:cubicBezTo>
                    <a:cubicBezTo>
                      <a:pt x="11" y="0"/>
                      <a:pt x="10" y="0"/>
                      <a:pt x="9" y="0"/>
                    </a:cubicBezTo>
                    <a:cubicBezTo>
                      <a:pt x="9" y="0"/>
                      <a:pt x="9" y="0"/>
                      <a:pt x="8" y="0"/>
                    </a:cubicBezTo>
                    <a:cubicBezTo>
                      <a:pt x="7" y="0"/>
                      <a:pt x="7" y="0"/>
                      <a:pt x="6" y="0"/>
                    </a:cubicBezTo>
                    <a:cubicBezTo>
                      <a:pt x="5" y="0"/>
                      <a:pt x="5" y="1"/>
                      <a:pt x="4" y="1"/>
                    </a:cubicBezTo>
                    <a:cubicBezTo>
                      <a:pt x="4" y="0"/>
                      <a:pt x="2" y="0"/>
                      <a:pt x="2" y="1"/>
                    </a:cubicBezTo>
                    <a:cubicBezTo>
                      <a:pt x="1" y="2"/>
                      <a:pt x="1" y="2"/>
                      <a:pt x="0" y="3"/>
                    </a:cubicBezTo>
                    <a:cubicBezTo>
                      <a:pt x="0" y="3"/>
                      <a:pt x="1" y="3"/>
                      <a:pt x="1" y="3"/>
                    </a:cubicBezTo>
                    <a:cubicBezTo>
                      <a:pt x="2" y="3"/>
                      <a:pt x="2" y="3"/>
                      <a:pt x="3" y="3"/>
                    </a:cubicBezTo>
                    <a:cubicBezTo>
                      <a:pt x="4" y="3"/>
                      <a:pt x="3" y="4"/>
                      <a:pt x="4" y="5"/>
                    </a:cubicBezTo>
                    <a:cubicBezTo>
                      <a:pt x="4" y="5"/>
                      <a:pt x="5" y="5"/>
                      <a:pt x="5" y="5"/>
                    </a:cubicBezTo>
                    <a:cubicBezTo>
                      <a:pt x="5" y="6"/>
                      <a:pt x="5" y="6"/>
                      <a:pt x="6" y="7"/>
                    </a:cubicBezTo>
                    <a:cubicBezTo>
                      <a:pt x="6" y="7"/>
                      <a:pt x="7" y="7"/>
                      <a:pt x="7" y="7"/>
                    </a:cubicBezTo>
                    <a:cubicBezTo>
                      <a:pt x="8" y="7"/>
                      <a:pt x="8" y="7"/>
                      <a:pt x="9" y="7"/>
                    </a:cubicBezTo>
                    <a:cubicBezTo>
                      <a:pt x="10" y="7"/>
                      <a:pt x="10" y="9"/>
                      <a:pt x="11" y="9"/>
                    </a:cubicBezTo>
                    <a:cubicBezTo>
                      <a:pt x="12" y="9"/>
                      <a:pt x="11" y="8"/>
                      <a:pt x="11" y="8"/>
                    </a:cubicBezTo>
                    <a:cubicBezTo>
                      <a:pt x="11" y="8"/>
                      <a:pt x="12" y="7"/>
                      <a:pt x="12" y="7"/>
                    </a:cubicBezTo>
                    <a:cubicBezTo>
                      <a:pt x="12" y="6"/>
                      <a:pt x="13" y="7"/>
                      <a:pt x="13" y="7"/>
                    </a:cubicBezTo>
                    <a:cubicBezTo>
                      <a:pt x="13" y="7"/>
                      <a:pt x="14" y="7"/>
                      <a:pt x="14" y="6"/>
                    </a:cubicBezTo>
                    <a:cubicBezTo>
                      <a:pt x="14" y="6"/>
                      <a:pt x="14" y="5"/>
                      <a:pt x="15" y="6"/>
                    </a:cubicBezTo>
                    <a:cubicBezTo>
                      <a:pt x="15" y="6"/>
                      <a:pt x="16" y="6"/>
                      <a:pt x="16" y="6"/>
                    </a:cubicBezTo>
                    <a:cubicBezTo>
                      <a:pt x="15" y="6"/>
                      <a:pt x="15" y="6"/>
                      <a:pt x="15" y="6"/>
                    </a:cubicBezTo>
                    <a:cubicBezTo>
                      <a:pt x="15" y="6"/>
                      <a:pt x="16" y="6"/>
                      <a:pt x="16" y="6"/>
                    </a:cubicBezTo>
                    <a:cubicBezTo>
                      <a:pt x="17" y="7"/>
                      <a:pt x="17" y="7"/>
                      <a:pt x="17" y="7"/>
                    </a:cubicBezTo>
                    <a:cubicBezTo>
                      <a:pt x="18" y="8"/>
                      <a:pt x="19" y="7"/>
                      <a:pt x="20" y="7"/>
                    </a:cubicBezTo>
                    <a:cubicBezTo>
                      <a:pt x="19" y="7"/>
                      <a:pt x="21" y="6"/>
                      <a:pt x="21" y="6"/>
                    </a:cubicBezTo>
                    <a:cubicBezTo>
                      <a:pt x="21" y="6"/>
                      <a:pt x="20" y="5"/>
                      <a:pt x="20" y="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5" name="Italy">
                <a:extLst>
                  <a:ext uri="{FF2B5EF4-FFF2-40B4-BE49-F238E27FC236}">
                    <a16:creationId xmlns:a16="http://schemas.microsoft.com/office/drawing/2014/main" id="{860602CF-073B-14B5-712B-0739A4C633A2}"/>
                  </a:ext>
                </a:extLst>
              </p:cNvPr>
              <p:cNvSpPr>
                <a:spLocks noEditPoints="1"/>
              </p:cNvSpPr>
              <p:nvPr/>
            </p:nvSpPr>
            <p:spPr bwMode="auto">
              <a:xfrm>
                <a:off x="5934865" y="2215362"/>
                <a:ext cx="375404" cy="403827"/>
              </a:xfrm>
              <a:custGeom>
                <a:avLst/>
                <a:gdLst/>
                <a:ahLst/>
                <a:cxnLst>
                  <a:cxn ang="0">
                    <a:pos x="87" y="63"/>
                  </a:cxn>
                  <a:cxn ang="0">
                    <a:pos x="71" y="53"/>
                  </a:cxn>
                  <a:cxn ang="0">
                    <a:pos x="58" y="37"/>
                  </a:cxn>
                  <a:cxn ang="0">
                    <a:pos x="50" y="25"/>
                  </a:cxn>
                  <a:cxn ang="0">
                    <a:pos x="49" y="22"/>
                  </a:cxn>
                  <a:cxn ang="0">
                    <a:pos x="50" y="17"/>
                  </a:cxn>
                  <a:cxn ang="0">
                    <a:pos x="56" y="14"/>
                  </a:cxn>
                  <a:cxn ang="0">
                    <a:pos x="63" y="16"/>
                  </a:cxn>
                  <a:cxn ang="0">
                    <a:pos x="60" y="9"/>
                  </a:cxn>
                  <a:cxn ang="0">
                    <a:pos x="56" y="5"/>
                  </a:cxn>
                  <a:cxn ang="0">
                    <a:pos x="48" y="0"/>
                  </a:cxn>
                  <a:cxn ang="0">
                    <a:pos x="36" y="3"/>
                  </a:cxn>
                  <a:cxn ang="0">
                    <a:pos x="32" y="5"/>
                  </a:cxn>
                  <a:cxn ang="0">
                    <a:pos x="30" y="8"/>
                  </a:cxn>
                  <a:cxn ang="0">
                    <a:pos x="23" y="8"/>
                  </a:cxn>
                  <a:cxn ang="0">
                    <a:pos x="19" y="11"/>
                  </a:cxn>
                  <a:cxn ang="0">
                    <a:pos x="13" y="11"/>
                  </a:cxn>
                  <a:cxn ang="0">
                    <a:pos x="4" y="13"/>
                  </a:cxn>
                  <a:cxn ang="0">
                    <a:pos x="4" y="20"/>
                  </a:cxn>
                  <a:cxn ang="0">
                    <a:pos x="3" y="27"/>
                  </a:cxn>
                  <a:cxn ang="0">
                    <a:pos x="8" y="34"/>
                  </a:cxn>
                  <a:cxn ang="0">
                    <a:pos x="15" y="31"/>
                  </a:cxn>
                  <a:cxn ang="0">
                    <a:pos x="28" y="32"/>
                  </a:cxn>
                  <a:cxn ang="0">
                    <a:pos x="34" y="44"/>
                  </a:cxn>
                  <a:cxn ang="0">
                    <a:pos x="39" y="50"/>
                  </a:cxn>
                  <a:cxn ang="0">
                    <a:pos x="50" y="58"/>
                  </a:cxn>
                  <a:cxn ang="0">
                    <a:pos x="62" y="63"/>
                  </a:cxn>
                  <a:cxn ang="0">
                    <a:pos x="68" y="70"/>
                  </a:cxn>
                  <a:cxn ang="0">
                    <a:pos x="74" y="74"/>
                  </a:cxn>
                  <a:cxn ang="0">
                    <a:pos x="82" y="80"/>
                  </a:cxn>
                  <a:cxn ang="0">
                    <a:pos x="83" y="93"/>
                  </a:cxn>
                  <a:cxn ang="0">
                    <a:pos x="84" y="99"/>
                  </a:cxn>
                  <a:cxn ang="0">
                    <a:pos x="93" y="89"/>
                  </a:cxn>
                  <a:cxn ang="0">
                    <a:pos x="89" y="81"/>
                  </a:cxn>
                  <a:cxn ang="0">
                    <a:pos x="94" y="72"/>
                  </a:cxn>
                  <a:cxn ang="0">
                    <a:pos x="101" y="76"/>
                  </a:cxn>
                  <a:cxn ang="0">
                    <a:pos x="51" y="34"/>
                  </a:cxn>
                  <a:cxn ang="0">
                    <a:pos x="78" y="100"/>
                  </a:cxn>
                  <a:cxn ang="0">
                    <a:pos x="78" y="109"/>
                  </a:cxn>
                  <a:cxn ang="0">
                    <a:pos x="74" y="113"/>
                  </a:cxn>
                  <a:cxn ang="0">
                    <a:pos x="62" y="107"/>
                  </a:cxn>
                  <a:cxn ang="0">
                    <a:pos x="52" y="101"/>
                  </a:cxn>
                  <a:cxn ang="0">
                    <a:pos x="55" y="98"/>
                  </a:cxn>
                  <a:cxn ang="0">
                    <a:pos x="65" y="98"/>
                  </a:cxn>
                  <a:cxn ang="0">
                    <a:pos x="78" y="96"/>
                  </a:cxn>
                  <a:cxn ang="0">
                    <a:pos x="27" y="77"/>
                  </a:cxn>
                  <a:cxn ang="0">
                    <a:pos x="25" y="86"/>
                  </a:cxn>
                  <a:cxn ang="0">
                    <a:pos x="21" y="88"/>
                  </a:cxn>
                  <a:cxn ang="0">
                    <a:pos x="16" y="88"/>
                  </a:cxn>
                  <a:cxn ang="0">
                    <a:pos x="15" y="82"/>
                  </a:cxn>
                  <a:cxn ang="0">
                    <a:pos x="15" y="78"/>
                  </a:cxn>
                  <a:cxn ang="0">
                    <a:pos x="14" y="70"/>
                  </a:cxn>
                  <a:cxn ang="0">
                    <a:pos x="14" y="67"/>
                  </a:cxn>
                  <a:cxn ang="0">
                    <a:pos x="22" y="63"/>
                  </a:cxn>
                  <a:cxn ang="0">
                    <a:pos x="25" y="66"/>
                  </a:cxn>
                  <a:cxn ang="0">
                    <a:pos x="26" y="67"/>
                  </a:cxn>
                  <a:cxn ang="0">
                    <a:pos x="32" y="47"/>
                  </a:cxn>
                </a:cxnLst>
                <a:rect l="0" t="0" r="r" b="b"/>
                <a:pathLst>
                  <a:path w="106" h="114">
                    <a:moveTo>
                      <a:pt x="104" y="73"/>
                    </a:moveTo>
                    <a:cubicBezTo>
                      <a:pt x="104" y="73"/>
                      <a:pt x="103" y="72"/>
                      <a:pt x="103" y="72"/>
                    </a:cubicBezTo>
                    <a:cubicBezTo>
                      <a:pt x="102" y="71"/>
                      <a:pt x="101" y="71"/>
                      <a:pt x="101" y="71"/>
                    </a:cubicBezTo>
                    <a:cubicBezTo>
                      <a:pt x="101" y="69"/>
                      <a:pt x="99" y="69"/>
                      <a:pt x="97" y="68"/>
                    </a:cubicBezTo>
                    <a:cubicBezTo>
                      <a:pt x="96" y="68"/>
                      <a:pt x="95" y="66"/>
                      <a:pt x="93" y="65"/>
                    </a:cubicBezTo>
                    <a:cubicBezTo>
                      <a:pt x="92" y="65"/>
                      <a:pt x="90" y="64"/>
                      <a:pt x="89" y="64"/>
                    </a:cubicBezTo>
                    <a:cubicBezTo>
                      <a:pt x="88" y="64"/>
                      <a:pt x="88" y="63"/>
                      <a:pt x="87" y="63"/>
                    </a:cubicBezTo>
                    <a:cubicBezTo>
                      <a:pt x="86" y="62"/>
                      <a:pt x="84" y="62"/>
                      <a:pt x="83" y="61"/>
                    </a:cubicBezTo>
                    <a:cubicBezTo>
                      <a:pt x="82" y="61"/>
                      <a:pt x="81" y="60"/>
                      <a:pt x="82" y="59"/>
                    </a:cubicBezTo>
                    <a:cubicBezTo>
                      <a:pt x="82" y="58"/>
                      <a:pt x="84" y="58"/>
                      <a:pt x="84" y="57"/>
                    </a:cubicBezTo>
                    <a:cubicBezTo>
                      <a:pt x="85" y="55"/>
                      <a:pt x="80" y="56"/>
                      <a:pt x="79" y="56"/>
                    </a:cubicBezTo>
                    <a:cubicBezTo>
                      <a:pt x="78" y="56"/>
                      <a:pt x="77" y="56"/>
                      <a:pt x="76" y="56"/>
                    </a:cubicBezTo>
                    <a:cubicBezTo>
                      <a:pt x="75" y="56"/>
                      <a:pt x="75" y="56"/>
                      <a:pt x="74" y="55"/>
                    </a:cubicBezTo>
                    <a:cubicBezTo>
                      <a:pt x="73" y="55"/>
                      <a:pt x="72" y="55"/>
                      <a:pt x="71" y="53"/>
                    </a:cubicBezTo>
                    <a:cubicBezTo>
                      <a:pt x="71" y="53"/>
                      <a:pt x="70" y="53"/>
                      <a:pt x="70" y="52"/>
                    </a:cubicBezTo>
                    <a:cubicBezTo>
                      <a:pt x="69" y="52"/>
                      <a:pt x="69" y="51"/>
                      <a:pt x="68" y="51"/>
                    </a:cubicBezTo>
                    <a:cubicBezTo>
                      <a:pt x="67" y="50"/>
                      <a:pt x="66" y="49"/>
                      <a:pt x="65" y="48"/>
                    </a:cubicBezTo>
                    <a:cubicBezTo>
                      <a:pt x="64" y="47"/>
                      <a:pt x="64" y="45"/>
                      <a:pt x="63" y="44"/>
                    </a:cubicBezTo>
                    <a:cubicBezTo>
                      <a:pt x="63" y="43"/>
                      <a:pt x="63" y="42"/>
                      <a:pt x="63" y="41"/>
                    </a:cubicBezTo>
                    <a:cubicBezTo>
                      <a:pt x="62" y="40"/>
                      <a:pt x="62" y="40"/>
                      <a:pt x="61" y="39"/>
                    </a:cubicBezTo>
                    <a:cubicBezTo>
                      <a:pt x="61" y="37"/>
                      <a:pt x="60" y="38"/>
                      <a:pt x="58" y="37"/>
                    </a:cubicBezTo>
                    <a:cubicBezTo>
                      <a:pt x="58" y="36"/>
                      <a:pt x="57" y="36"/>
                      <a:pt x="56" y="35"/>
                    </a:cubicBezTo>
                    <a:cubicBezTo>
                      <a:pt x="56" y="35"/>
                      <a:pt x="55" y="34"/>
                      <a:pt x="55" y="34"/>
                    </a:cubicBezTo>
                    <a:cubicBezTo>
                      <a:pt x="54" y="34"/>
                      <a:pt x="53" y="34"/>
                      <a:pt x="52" y="33"/>
                    </a:cubicBezTo>
                    <a:cubicBezTo>
                      <a:pt x="52" y="33"/>
                      <a:pt x="51" y="32"/>
                      <a:pt x="51" y="32"/>
                    </a:cubicBezTo>
                    <a:cubicBezTo>
                      <a:pt x="50" y="30"/>
                      <a:pt x="50" y="29"/>
                      <a:pt x="49" y="27"/>
                    </a:cubicBezTo>
                    <a:cubicBezTo>
                      <a:pt x="49" y="27"/>
                      <a:pt x="49" y="24"/>
                      <a:pt x="50" y="24"/>
                    </a:cubicBezTo>
                    <a:cubicBezTo>
                      <a:pt x="50" y="25"/>
                      <a:pt x="50" y="25"/>
                      <a:pt x="50" y="25"/>
                    </a:cubicBezTo>
                    <a:cubicBezTo>
                      <a:pt x="51" y="24"/>
                      <a:pt x="50" y="24"/>
                      <a:pt x="51" y="24"/>
                    </a:cubicBezTo>
                    <a:cubicBezTo>
                      <a:pt x="51" y="24"/>
                      <a:pt x="51" y="24"/>
                      <a:pt x="51" y="24"/>
                    </a:cubicBezTo>
                    <a:cubicBezTo>
                      <a:pt x="51" y="24"/>
                      <a:pt x="51" y="24"/>
                      <a:pt x="51" y="23"/>
                    </a:cubicBezTo>
                    <a:cubicBezTo>
                      <a:pt x="52" y="23"/>
                      <a:pt x="51" y="23"/>
                      <a:pt x="51" y="23"/>
                    </a:cubicBezTo>
                    <a:cubicBezTo>
                      <a:pt x="51" y="23"/>
                      <a:pt x="50" y="22"/>
                      <a:pt x="50" y="22"/>
                    </a:cubicBezTo>
                    <a:cubicBezTo>
                      <a:pt x="50" y="22"/>
                      <a:pt x="50" y="22"/>
                      <a:pt x="50" y="22"/>
                    </a:cubicBezTo>
                    <a:cubicBezTo>
                      <a:pt x="50" y="22"/>
                      <a:pt x="49" y="22"/>
                      <a:pt x="49" y="22"/>
                    </a:cubicBezTo>
                    <a:cubicBezTo>
                      <a:pt x="50" y="21"/>
                      <a:pt x="50" y="21"/>
                      <a:pt x="50" y="21"/>
                    </a:cubicBezTo>
                    <a:cubicBezTo>
                      <a:pt x="50" y="21"/>
                      <a:pt x="49" y="20"/>
                      <a:pt x="49" y="20"/>
                    </a:cubicBezTo>
                    <a:cubicBezTo>
                      <a:pt x="49" y="21"/>
                      <a:pt x="49" y="20"/>
                      <a:pt x="49" y="19"/>
                    </a:cubicBezTo>
                    <a:cubicBezTo>
                      <a:pt x="49" y="20"/>
                      <a:pt x="48" y="19"/>
                      <a:pt x="48" y="19"/>
                    </a:cubicBezTo>
                    <a:cubicBezTo>
                      <a:pt x="48" y="19"/>
                      <a:pt x="49" y="20"/>
                      <a:pt x="49" y="19"/>
                    </a:cubicBezTo>
                    <a:cubicBezTo>
                      <a:pt x="49" y="19"/>
                      <a:pt x="49" y="18"/>
                      <a:pt x="49" y="18"/>
                    </a:cubicBezTo>
                    <a:cubicBezTo>
                      <a:pt x="49" y="17"/>
                      <a:pt x="50" y="18"/>
                      <a:pt x="50" y="17"/>
                    </a:cubicBezTo>
                    <a:cubicBezTo>
                      <a:pt x="50" y="17"/>
                      <a:pt x="50" y="17"/>
                      <a:pt x="50" y="17"/>
                    </a:cubicBezTo>
                    <a:cubicBezTo>
                      <a:pt x="51" y="17"/>
                      <a:pt x="51" y="17"/>
                      <a:pt x="51" y="17"/>
                    </a:cubicBezTo>
                    <a:cubicBezTo>
                      <a:pt x="51" y="16"/>
                      <a:pt x="51" y="17"/>
                      <a:pt x="52" y="17"/>
                    </a:cubicBezTo>
                    <a:cubicBezTo>
                      <a:pt x="51" y="17"/>
                      <a:pt x="51" y="17"/>
                      <a:pt x="50" y="18"/>
                    </a:cubicBezTo>
                    <a:cubicBezTo>
                      <a:pt x="52" y="18"/>
                      <a:pt x="53" y="17"/>
                      <a:pt x="54" y="16"/>
                    </a:cubicBezTo>
                    <a:cubicBezTo>
                      <a:pt x="55" y="16"/>
                      <a:pt x="56" y="16"/>
                      <a:pt x="57" y="15"/>
                    </a:cubicBezTo>
                    <a:cubicBezTo>
                      <a:pt x="56" y="15"/>
                      <a:pt x="56" y="15"/>
                      <a:pt x="56" y="14"/>
                    </a:cubicBezTo>
                    <a:cubicBezTo>
                      <a:pt x="56" y="14"/>
                      <a:pt x="57" y="14"/>
                      <a:pt x="57" y="14"/>
                    </a:cubicBezTo>
                    <a:cubicBezTo>
                      <a:pt x="58" y="14"/>
                      <a:pt x="60" y="15"/>
                      <a:pt x="59" y="15"/>
                    </a:cubicBezTo>
                    <a:cubicBezTo>
                      <a:pt x="59" y="15"/>
                      <a:pt x="60" y="15"/>
                      <a:pt x="60" y="15"/>
                    </a:cubicBezTo>
                    <a:cubicBezTo>
                      <a:pt x="60" y="14"/>
                      <a:pt x="61" y="14"/>
                      <a:pt x="61" y="14"/>
                    </a:cubicBezTo>
                    <a:cubicBezTo>
                      <a:pt x="62" y="15"/>
                      <a:pt x="62" y="16"/>
                      <a:pt x="62" y="16"/>
                    </a:cubicBezTo>
                    <a:cubicBezTo>
                      <a:pt x="62" y="16"/>
                      <a:pt x="62" y="16"/>
                      <a:pt x="62" y="16"/>
                    </a:cubicBezTo>
                    <a:cubicBezTo>
                      <a:pt x="62" y="16"/>
                      <a:pt x="63" y="16"/>
                      <a:pt x="63" y="16"/>
                    </a:cubicBezTo>
                    <a:cubicBezTo>
                      <a:pt x="63" y="15"/>
                      <a:pt x="63" y="15"/>
                      <a:pt x="62" y="15"/>
                    </a:cubicBezTo>
                    <a:cubicBezTo>
                      <a:pt x="62" y="14"/>
                      <a:pt x="60" y="14"/>
                      <a:pt x="61" y="13"/>
                    </a:cubicBezTo>
                    <a:cubicBezTo>
                      <a:pt x="61" y="13"/>
                      <a:pt x="61" y="12"/>
                      <a:pt x="61" y="12"/>
                    </a:cubicBezTo>
                    <a:cubicBezTo>
                      <a:pt x="60" y="12"/>
                      <a:pt x="60" y="12"/>
                      <a:pt x="60" y="12"/>
                    </a:cubicBezTo>
                    <a:cubicBezTo>
                      <a:pt x="59" y="11"/>
                      <a:pt x="61" y="10"/>
                      <a:pt x="61" y="10"/>
                    </a:cubicBezTo>
                    <a:cubicBezTo>
                      <a:pt x="61" y="10"/>
                      <a:pt x="60" y="10"/>
                      <a:pt x="60" y="9"/>
                    </a:cubicBezTo>
                    <a:cubicBezTo>
                      <a:pt x="60" y="9"/>
                      <a:pt x="60" y="9"/>
                      <a:pt x="60" y="9"/>
                    </a:cubicBezTo>
                    <a:cubicBezTo>
                      <a:pt x="59" y="9"/>
                      <a:pt x="59" y="9"/>
                      <a:pt x="59" y="9"/>
                    </a:cubicBezTo>
                    <a:cubicBezTo>
                      <a:pt x="59" y="10"/>
                      <a:pt x="59" y="8"/>
                      <a:pt x="59" y="8"/>
                    </a:cubicBezTo>
                    <a:cubicBezTo>
                      <a:pt x="59" y="8"/>
                      <a:pt x="59" y="8"/>
                      <a:pt x="60" y="8"/>
                    </a:cubicBezTo>
                    <a:cubicBezTo>
                      <a:pt x="61" y="7"/>
                      <a:pt x="61" y="7"/>
                      <a:pt x="62" y="6"/>
                    </a:cubicBezTo>
                    <a:cubicBezTo>
                      <a:pt x="61" y="6"/>
                      <a:pt x="61" y="6"/>
                      <a:pt x="60" y="6"/>
                    </a:cubicBezTo>
                    <a:cubicBezTo>
                      <a:pt x="60" y="6"/>
                      <a:pt x="60" y="6"/>
                      <a:pt x="59" y="6"/>
                    </a:cubicBezTo>
                    <a:cubicBezTo>
                      <a:pt x="58" y="6"/>
                      <a:pt x="57" y="5"/>
                      <a:pt x="56" y="5"/>
                    </a:cubicBezTo>
                    <a:cubicBezTo>
                      <a:pt x="54" y="5"/>
                      <a:pt x="53" y="5"/>
                      <a:pt x="51" y="4"/>
                    </a:cubicBezTo>
                    <a:cubicBezTo>
                      <a:pt x="51" y="4"/>
                      <a:pt x="50" y="4"/>
                      <a:pt x="50" y="4"/>
                    </a:cubicBezTo>
                    <a:cubicBezTo>
                      <a:pt x="50" y="3"/>
                      <a:pt x="50" y="3"/>
                      <a:pt x="49" y="3"/>
                    </a:cubicBezTo>
                    <a:cubicBezTo>
                      <a:pt x="49" y="3"/>
                      <a:pt x="49" y="3"/>
                      <a:pt x="49" y="2"/>
                    </a:cubicBezTo>
                    <a:cubicBezTo>
                      <a:pt x="49" y="2"/>
                      <a:pt x="49" y="2"/>
                      <a:pt x="48" y="2"/>
                    </a:cubicBezTo>
                    <a:cubicBezTo>
                      <a:pt x="48" y="2"/>
                      <a:pt x="48" y="1"/>
                      <a:pt x="48" y="1"/>
                    </a:cubicBezTo>
                    <a:cubicBezTo>
                      <a:pt x="49" y="0"/>
                      <a:pt x="48" y="0"/>
                      <a:pt x="48" y="0"/>
                    </a:cubicBezTo>
                    <a:cubicBezTo>
                      <a:pt x="47" y="0"/>
                      <a:pt x="45" y="2"/>
                      <a:pt x="44" y="1"/>
                    </a:cubicBezTo>
                    <a:cubicBezTo>
                      <a:pt x="43" y="1"/>
                      <a:pt x="43" y="1"/>
                      <a:pt x="42" y="1"/>
                    </a:cubicBezTo>
                    <a:cubicBezTo>
                      <a:pt x="42" y="1"/>
                      <a:pt x="42" y="1"/>
                      <a:pt x="42" y="1"/>
                    </a:cubicBezTo>
                    <a:cubicBezTo>
                      <a:pt x="41" y="1"/>
                      <a:pt x="41" y="1"/>
                      <a:pt x="41" y="1"/>
                    </a:cubicBezTo>
                    <a:cubicBezTo>
                      <a:pt x="40" y="1"/>
                      <a:pt x="39" y="1"/>
                      <a:pt x="39" y="2"/>
                    </a:cubicBezTo>
                    <a:cubicBezTo>
                      <a:pt x="39" y="2"/>
                      <a:pt x="39" y="3"/>
                      <a:pt x="38" y="3"/>
                    </a:cubicBezTo>
                    <a:cubicBezTo>
                      <a:pt x="38" y="4"/>
                      <a:pt x="36" y="3"/>
                      <a:pt x="36" y="3"/>
                    </a:cubicBezTo>
                    <a:cubicBezTo>
                      <a:pt x="36" y="3"/>
                      <a:pt x="36" y="3"/>
                      <a:pt x="36" y="3"/>
                    </a:cubicBezTo>
                    <a:cubicBezTo>
                      <a:pt x="36" y="3"/>
                      <a:pt x="36" y="2"/>
                      <a:pt x="35" y="2"/>
                    </a:cubicBezTo>
                    <a:cubicBezTo>
                      <a:pt x="35" y="2"/>
                      <a:pt x="34" y="3"/>
                      <a:pt x="34" y="2"/>
                    </a:cubicBezTo>
                    <a:cubicBezTo>
                      <a:pt x="33" y="3"/>
                      <a:pt x="33" y="4"/>
                      <a:pt x="33" y="4"/>
                    </a:cubicBezTo>
                    <a:cubicBezTo>
                      <a:pt x="33" y="5"/>
                      <a:pt x="33" y="5"/>
                      <a:pt x="34" y="5"/>
                    </a:cubicBezTo>
                    <a:cubicBezTo>
                      <a:pt x="34" y="5"/>
                      <a:pt x="34" y="6"/>
                      <a:pt x="33" y="6"/>
                    </a:cubicBezTo>
                    <a:cubicBezTo>
                      <a:pt x="33" y="6"/>
                      <a:pt x="32" y="6"/>
                      <a:pt x="32" y="5"/>
                    </a:cubicBezTo>
                    <a:cubicBezTo>
                      <a:pt x="32" y="5"/>
                      <a:pt x="31" y="5"/>
                      <a:pt x="31" y="5"/>
                    </a:cubicBezTo>
                    <a:cubicBezTo>
                      <a:pt x="31" y="5"/>
                      <a:pt x="30" y="5"/>
                      <a:pt x="30" y="5"/>
                    </a:cubicBezTo>
                    <a:cubicBezTo>
                      <a:pt x="30" y="6"/>
                      <a:pt x="30" y="6"/>
                      <a:pt x="30" y="6"/>
                    </a:cubicBezTo>
                    <a:cubicBezTo>
                      <a:pt x="30" y="7"/>
                      <a:pt x="31" y="7"/>
                      <a:pt x="31" y="7"/>
                    </a:cubicBezTo>
                    <a:cubicBezTo>
                      <a:pt x="31" y="8"/>
                      <a:pt x="30" y="8"/>
                      <a:pt x="30" y="8"/>
                    </a:cubicBezTo>
                    <a:cubicBezTo>
                      <a:pt x="30" y="8"/>
                      <a:pt x="31" y="8"/>
                      <a:pt x="31" y="9"/>
                    </a:cubicBezTo>
                    <a:cubicBezTo>
                      <a:pt x="31" y="10"/>
                      <a:pt x="30" y="9"/>
                      <a:pt x="30" y="8"/>
                    </a:cubicBezTo>
                    <a:cubicBezTo>
                      <a:pt x="29" y="8"/>
                      <a:pt x="29" y="7"/>
                      <a:pt x="28" y="8"/>
                    </a:cubicBezTo>
                    <a:cubicBezTo>
                      <a:pt x="28" y="8"/>
                      <a:pt x="27" y="8"/>
                      <a:pt x="27" y="8"/>
                    </a:cubicBezTo>
                    <a:cubicBezTo>
                      <a:pt x="27" y="8"/>
                      <a:pt x="27" y="8"/>
                      <a:pt x="26" y="9"/>
                    </a:cubicBezTo>
                    <a:cubicBezTo>
                      <a:pt x="26" y="9"/>
                      <a:pt x="25" y="8"/>
                      <a:pt x="25" y="7"/>
                    </a:cubicBezTo>
                    <a:cubicBezTo>
                      <a:pt x="25" y="7"/>
                      <a:pt x="25" y="6"/>
                      <a:pt x="24" y="6"/>
                    </a:cubicBezTo>
                    <a:cubicBezTo>
                      <a:pt x="24" y="7"/>
                      <a:pt x="24" y="6"/>
                      <a:pt x="24" y="6"/>
                    </a:cubicBezTo>
                    <a:cubicBezTo>
                      <a:pt x="23" y="6"/>
                      <a:pt x="23" y="7"/>
                      <a:pt x="23" y="8"/>
                    </a:cubicBezTo>
                    <a:cubicBezTo>
                      <a:pt x="23" y="9"/>
                      <a:pt x="22" y="9"/>
                      <a:pt x="22" y="10"/>
                    </a:cubicBezTo>
                    <a:cubicBezTo>
                      <a:pt x="22" y="10"/>
                      <a:pt x="22" y="11"/>
                      <a:pt x="21" y="11"/>
                    </a:cubicBezTo>
                    <a:cubicBezTo>
                      <a:pt x="21" y="11"/>
                      <a:pt x="21" y="11"/>
                      <a:pt x="21" y="12"/>
                    </a:cubicBezTo>
                    <a:cubicBezTo>
                      <a:pt x="21" y="12"/>
                      <a:pt x="21" y="12"/>
                      <a:pt x="21" y="13"/>
                    </a:cubicBezTo>
                    <a:cubicBezTo>
                      <a:pt x="22" y="14"/>
                      <a:pt x="20" y="13"/>
                      <a:pt x="20" y="13"/>
                    </a:cubicBezTo>
                    <a:cubicBezTo>
                      <a:pt x="21" y="13"/>
                      <a:pt x="20" y="12"/>
                      <a:pt x="19" y="12"/>
                    </a:cubicBezTo>
                    <a:cubicBezTo>
                      <a:pt x="19" y="12"/>
                      <a:pt x="20" y="11"/>
                      <a:pt x="19" y="11"/>
                    </a:cubicBezTo>
                    <a:cubicBezTo>
                      <a:pt x="19" y="10"/>
                      <a:pt x="18" y="11"/>
                      <a:pt x="18" y="10"/>
                    </a:cubicBezTo>
                    <a:cubicBezTo>
                      <a:pt x="17" y="10"/>
                      <a:pt x="17" y="10"/>
                      <a:pt x="16" y="9"/>
                    </a:cubicBezTo>
                    <a:cubicBezTo>
                      <a:pt x="16" y="9"/>
                      <a:pt x="16" y="8"/>
                      <a:pt x="16" y="8"/>
                    </a:cubicBezTo>
                    <a:cubicBezTo>
                      <a:pt x="16" y="7"/>
                      <a:pt x="16" y="7"/>
                      <a:pt x="16" y="7"/>
                    </a:cubicBezTo>
                    <a:cubicBezTo>
                      <a:pt x="15" y="7"/>
                      <a:pt x="15" y="9"/>
                      <a:pt x="14" y="8"/>
                    </a:cubicBezTo>
                    <a:cubicBezTo>
                      <a:pt x="13" y="8"/>
                      <a:pt x="13" y="9"/>
                      <a:pt x="13" y="9"/>
                    </a:cubicBezTo>
                    <a:cubicBezTo>
                      <a:pt x="14" y="10"/>
                      <a:pt x="13" y="10"/>
                      <a:pt x="13" y="11"/>
                    </a:cubicBezTo>
                    <a:cubicBezTo>
                      <a:pt x="13" y="11"/>
                      <a:pt x="12" y="11"/>
                      <a:pt x="12" y="11"/>
                    </a:cubicBezTo>
                    <a:cubicBezTo>
                      <a:pt x="12" y="11"/>
                      <a:pt x="12" y="12"/>
                      <a:pt x="12" y="12"/>
                    </a:cubicBezTo>
                    <a:cubicBezTo>
                      <a:pt x="11" y="12"/>
                      <a:pt x="11" y="12"/>
                      <a:pt x="11" y="12"/>
                    </a:cubicBezTo>
                    <a:cubicBezTo>
                      <a:pt x="10" y="13"/>
                      <a:pt x="9" y="12"/>
                      <a:pt x="9" y="12"/>
                    </a:cubicBezTo>
                    <a:cubicBezTo>
                      <a:pt x="8" y="12"/>
                      <a:pt x="8" y="12"/>
                      <a:pt x="7" y="12"/>
                    </a:cubicBezTo>
                    <a:cubicBezTo>
                      <a:pt x="7" y="13"/>
                      <a:pt x="6" y="13"/>
                      <a:pt x="5" y="13"/>
                    </a:cubicBezTo>
                    <a:cubicBezTo>
                      <a:pt x="5" y="13"/>
                      <a:pt x="4" y="13"/>
                      <a:pt x="4" y="13"/>
                    </a:cubicBezTo>
                    <a:cubicBezTo>
                      <a:pt x="4" y="12"/>
                      <a:pt x="4" y="13"/>
                      <a:pt x="3" y="13"/>
                    </a:cubicBezTo>
                    <a:cubicBezTo>
                      <a:pt x="3" y="13"/>
                      <a:pt x="2" y="13"/>
                      <a:pt x="2" y="14"/>
                    </a:cubicBezTo>
                    <a:cubicBezTo>
                      <a:pt x="2" y="15"/>
                      <a:pt x="2" y="15"/>
                      <a:pt x="3" y="15"/>
                    </a:cubicBezTo>
                    <a:cubicBezTo>
                      <a:pt x="3" y="16"/>
                      <a:pt x="3" y="16"/>
                      <a:pt x="3" y="16"/>
                    </a:cubicBezTo>
                    <a:cubicBezTo>
                      <a:pt x="3" y="17"/>
                      <a:pt x="4" y="17"/>
                      <a:pt x="4" y="18"/>
                    </a:cubicBezTo>
                    <a:cubicBezTo>
                      <a:pt x="5" y="18"/>
                      <a:pt x="5" y="18"/>
                      <a:pt x="5" y="19"/>
                    </a:cubicBezTo>
                    <a:cubicBezTo>
                      <a:pt x="4" y="19"/>
                      <a:pt x="5" y="20"/>
                      <a:pt x="4" y="20"/>
                    </a:cubicBezTo>
                    <a:cubicBezTo>
                      <a:pt x="4" y="20"/>
                      <a:pt x="3" y="20"/>
                      <a:pt x="3" y="21"/>
                    </a:cubicBezTo>
                    <a:cubicBezTo>
                      <a:pt x="2" y="21"/>
                      <a:pt x="2" y="21"/>
                      <a:pt x="1" y="21"/>
                    </a:cubicBezTo>
                    <a:cubicBezTo>
                      <a:pt x="0" y="21"/>
                      <a:pt x="0" y="22"/>
                      <a:pt x="1" y="22"/>
                    </a:cubicBezTo>
                    <a:cubicBezTo>
                      <a:pt x="1" y="23"/>
                      <a:pt x="1" y="23"/>
                      <a:pt x="1" y="23"/>
                    </a:cubicBezTo>
                    <a:cubicBezTo>
                      <a:pt x="2" y="24"/>
                      <a:pt x="3" y="24"/>
                      <a:pt x="3" y="24"/>
                    </a:cubicBezTo>
                    <a:cubicBezTo>
                      <a:pt x="3" y="25"/>
                      <a:pt x="4" y="26"/>
                      <a:pt x="4" y="26"/>
                    </a:cubicBezTo>
                    <a:cubicBezTo>
                      <a:pt x="3" y="26"/>
                      <a:pt x="3" y="26"/>
                      <a:pt x="3" y="27"/>
                    </a:cubicBezTo>
                    <a:cubicBezTo>
                      <a:pt x="2" y="27"/>
                      <a:pt x="2" y="27"/>
                      <a:pt x="2" y="28"/>
                    </a:cubicBezTo>
                    <a:cubicBezTo>
                      <a:pt x="3" y="29"/>
                      <a:pt x="2" y="29"/>
                      <a:pt x="2" y="29"/>
                    </a:cubicBezTo>
                    <a:cubicBezTo>
                      <a:pt x="2" y="30"/>
                      <a:pt x="4" y="31"/>
                      <a:pt x="5" y="31"/>
                    </a:cubicBezTo>
                    <a:cubicBezTo>
                      <a:pt x="6" y="31"/>
                      <a:pt x="6" y="32"/>
                      <a:pt x="7" y="32"/>
                    </a:cubicBezTo>
                    <a:cubicBezTo>
                      <a:pt x="8" y="32"/>
                      <a:pt x="8" y="31"/>
                      <a:pt x="9" y="31"/>
                    </a:cubicBezTo>
                    <a:cubicBezTo>
                      <a:pt x="9" y="31"/>
                      <a:pt x="10" y="32"/>
                      <a:pt x="9" y="33"/>
                    </a:cubicBezTo>
                    <a:cubicBezTo>
                      <a:pt x="9" y="33"/>
                      <a:pt x="9" y="34"/>
                      <a:pt x="8" y="34"/>
                    </a:cubicBezTo>
                    <a:cubicBezTo>
                      <a:pt x="8" y="34"/>
                      <a:pt x="7" y="35"/>
                      <a:pt x="8" y="35"/>
                    </a:cubicBezTo>
                    <a:cubicBezTo>
                      <a:pt x="8" y="36"/>
                      <a:pt x="9" y="36"/>
                      <a:pt x="9" y="36"/>
                    </a:cubicBezTo>
                    <a:cubicBezTo>
                      <a:pt x="10" y="36"/>
                      <a:pt x="11" y="35"/>
                      <a:pt x="12" y="35"/>
                    </a:cubicBezTo>
                    <a:cubicBezTo>
                      <a:pt x="12" y="35"/>
                      <a:pt x="13" y="34"/>
                      <a:pt x="13" y="34"/>
                    </a:cubicBezTo>
                    <a:cubicBezTo>
                      <a:pt x="13" y="34"/>
                      <a:pt x="13" y="34"/>
                      <a:pt x="13" y="33"/>
                    </a:cubicBezTo>
                    <a:cubicBezTo>
                      <a:pt x="13" y="33"/>
                      <a:pt x="14" y="33"/>
                      <a:pt x="14" y="33"/>
                    </a:cubicBezTo>
                    <a:cubicBezTo>
                      <a:pt x="14" y="32"/>
                      <a:pt x="14" y="32"/>
                      <a:pt x="15" y="31"/>
                    </a:cubicBezTo>
                    <a:cubicBezTo>
                      <a:pt x="16" y="31"/>
                      <a:pt x="16" y="30"/>
                      <a:pt x="16" y="30"/>
                    </a:cubicBezTo>
                    <a:cubicBezTo>
                      <a:pt x="17" y="29"/>
                      <a:pt x="18" y="29"/>
                      <a:pt x="19" y="29"/>
                    </a:cubicBezTo>
                    <a:cubicBezTo>
                      <a:pt x="19" y="29"/>
                      <a:pt x="20" y="29"/>
                      <a:pt x="21" y="29"/>
                    </a:cubicBezTo>
                    <a:cubicBezTo>
                      <a:pt x="22" y="29"/>
                      <a:pt x="22" y="30"/>
                      <a:pt x="23" y="30"/>
                    </a:cubicBezTo>
                    <a:cubicBezTo>
                      <a:pt x="22" y="29"/>
                      <a:pt x="24" y="30"/>
                      <a:pt x="24" y="31"/>
                    </a:cubicBezTo>
                    <a:cubicBezTo>
                      <a:pt x="26" y="31"/>
                      <a:pt x="27" y="32"/>
                      <a:pt x="28" y="33"/>
                    </a:cubicBezTo>
                    <a:cubicBezTo>
                      <a:pt x="28" y="33"/>
                      <a:pt x="28" y="32"/>
                      <a:pt x="28" y="32"/>
                    </a:cubicBezTo>
                    <a:cubicBezTo>
                      <a:pt x="28" y="32"/>
                      <a:pt x="29" y="33"/>
                      <a:pt x="29" y="33"/>
                    </a:cubicBezTo>
                    <a:cubicBezTo>
                      <a:pt x="30" y="33"/>
                      <a:pt x="30" y="33"/>
                      <a:pt x="31" y="34"/>
                    </a:cubicBezTo>
                    <a:cubicBezTo>
                      <a:pt x="32" y="35"/>
                      <a:pt x="32" y="36"/>
                      <a:pt x="32" y="37"/>
                    </a:cubicBezTo>
                    <a:cubicBezTo>
                      <a:pt x="32" y="37"/>
                      <a:pt x="32" y="39"/>
                      <a:pt x="32" y="39"/>
                    </a:cubicBezTo>
                    <a:cubicBezTo>
                      <a:pt x="33" y="40"/>
                      <a:pt x="34" y="41"/>
                      <a:pt x="34" y="42"/>
                    </a:cubicBezTo>
                    <a:cubicBezTo>
                      <a:pt x="34" y="42"/>
                      <a:pt x="34" y="43"/>
                      <a:pt x="34" y="43"/>
                    </a:cubicBezTo>
                    <a:cubicBezTo>
                      <a:pt x="34" y="44"/>
                      <a:pt x="34" y="44"/>
                      <a:pt x="34" y="44"/>
                    </a:cubicBezTo>
                    <a:cubicBezTo>
                      <a:pt x="34" y="45"/>
                      <a:pt x="35" y="45"/>
                      <a:pt x="36" y="45"/>
                    </a:cubicBezTo>
                    <a:cubicBezTo>
                      <a:pt x="36" y="45"/>
                      <a:pt x="37" y="46"/>
                      <a:pt x="36" y="46"/>
                    </a:cubicBezTo>
                    <a:cubicBezTo>
                      <a:pt x="36" y="47"/>
                      <a:pt x="38" y="47"/>
                      <a:pt x="38" y="47"/>
                    </a:cubicBezTo>
                    <a:cubicBezTo>
                      <a:pt x="38" y="48"/>
                      <a:pt x="39" y="48"/>
                      <a:pt x="39" y="48"/>
                    </a:cubicBezTo>
                    <a:cubicBezTo>
                      <a:pt x="39" y="49"/>
                      <a:pt x="39" y="49"/>
                      <a:pt x="40" y="49"/>
                    </a:cubicBezTo>
                    <a:cubicBezTo>
                      <a:pt x="40" y="49"/>
                      <a:pt x="40" y="50"/>
                      <a:pt x="40" y="50"/>
                    </a:cubicBezTo>
                    <a:cubicBezTo>
                      <a:pt x="40" y="50"/>
                      <a:pt x="39" y="50"/>
                      <a:pt x="39" y="50"/>
                    </a:cubicBezTo>
                    <a:cubicBezTo>
                      <a:pt x="39" y="51"/>
                      <a:pt x="40" y="51"/>
                      <a:pt x="40" y="51"/>
                    </a:cubicBezTo>
                    <a:cubicBezTo>
                      <a:pt x="40" y="51"/>
                      <a:pt x="40" y="51"/>
                      <a:pt x="40" y="51"/>
                    </a:cubicBezTo>
                    <a:cubicBezTo>
                      <a:pt x="41" y="50"/>
                      <a:pt x="43" y="52"/>
                      <a:pt x="44" y="52"/>
                    </a:cubicBezTo>
                    <a:cubicBezTo>
                      <a:pt x="45" y="53"/>
                      <a:pt x="45" y="53"/>
                      <a:pt x="45" y="54"/>
                    </a:cubicBezTo>
                    <a:cubicBezTo>
                      <a:pt x="46" y="55"/>
                      <a:pt x="46" y="55"/>
                      <a:pt x="47" y="55"/>
                    </a:cubicBezTo>
                    <a:cubicBezTo>
                      <a:pt x="48" y="55"/>
                      <a:pt x="48" y="56"/>
                      <a:pt x="49" y="57"/>
                    </a:cubicBezTo>
                    <a:cubicBezTo>
                      <a:pt x="49" y="58"/>
                      <a:pt x="49" y="58"/>
                      <a:pt x="50" y="58"/>
                    </a:cubicBezTo>
                    <a:cubicBezTo>
                      <a:pt x="51" y="59"/>
                      <a:pt x="52" y="59"/>
                      <a:pt x="52" y="60"/>
                    </a:cubicBezTo>
                    <a:cubicBezTo>
                      <a:pt x="53" y="61"/>
                      <a:pt x="53" y="61"/>
                      <a:pt x="54" y="61"/>
                    </a:cubicBezTo>
                    <a:cubicBezTo>
                      <a:pt x="54" y="62"/>
                      <a:pt x="55" y="61"/>
                      <a:pt x="56" y="62"/>
                    </a:cubicBezTo>
                    <a:cubicBezTo>
                      <a:pt x="56" y="63"/>
                      <a:pt x="56" y="64"/>
                      <a:pt x="57" y="63"/>
                    </a:cubicBezTo>
                    <a:cubicBezTo>
                      <a:pt x="58" y="63"/>
                      <a:pt x="59" y="63"/>
                      <a:pt x="59" y="63"/>
                    </a:cubicBezTo>
                    <a:cubicBezTo>
                      <a:pt x="60" y="63"/>
                      <a:pt x="61" y="64"/>
                      <a:pt x="61" y="64"/>
                    </a:cubicBezTo>
                    <a:cubicBezTo>
                      <a:pt x="61" y="63"/>
                      <a:pt x="62" y="63"/>
                      <a:pt x="62" y="63"/>
                    </a:cubicBezTo>
                    <a:cubicBezTo>
                      <a:pt x="63" y="63"/>
                      <a:pt x="63" y="64"/>
                      <a:pt x="64" y="64"/>
                    </a:cubicBezTo>
                    <a:cubicBezTo>
                      <a:pt x="64" y="65"/>
                      <a:pt x="65" y="66"/>
                      <a:pt x="65" y="66"/>
                    </a:cubicBezTo>
                    <a:cubicBezTo>
                      <a:pt x="65" y="67"/>
                      <a:pt x="66" y="68"/>
                      <a:pt x="66" y="68"/>
                    </a:cubicBezTo>
                    <a:cubicBezTo>
                      <a:pt x="66" y="68"/>
                      <a:pt x="66" y="68"/>
                      <a:pt x="67" y="68"/>
                    </a:cubicBezTo>
                    <a:cubicBezTo>
                      <a:pt x="67" y="68"/>
                      <a:pt x="67" y="68"/>
                      <a:pt x="67" y="68"/>
                    </a:cubicBezTo>
                    <a:cubicBezTo>
                      <a:pt x="68" y="68"/>
                      <a:pt x="70" y="69"/>
                      <a:pt x="69" y="69"/>
                    </a:cubicBezTo>
                    <a:cubicBezTo>
                      <a:pt x="69" y="70"/>
                      <a:pt x="68" y="70"/>
                      <a:pt x="68" y="70"/>
                    </a:cubicBezTo>
                    <a:cubicBezTo>
                      <a:pt x="68" y="71"/>
                      <a:pt x="69" y="70"/>
                      <a:pt x="69" y="70"/>
                    </a:cubicBezTo>
                    <a:cubicBezTo>
                      <a:pt x="70" y="70"/>
                      <a:pt x="70" y="70"/>
                      <a:pt x="70" y="70"/>
                    </a:cubicBezTo>
                    <a:cubicBezTo>
                      <a:pt x="71" y="70"/>
                      <a:pt x="71" y="70"/>
                      <a:pt x="71" y="70"/>
                    </a:cubicBezTo>
                    <a:cubicBezTo>
                      <a:pt x="71" y="70"/>
                      <a:pt x="71" y="70"/>
                      <a:pt x="72" y="70"/>
                    </a:cubicBezTo>
                    <a:cubicBezTo>
                      <a:pt x="73" y="69"/>
                      <a:pt x="73" y="71"/>
                      <a:pt x="74" y="72"/>
                    </a:cubicBezTo>
                    <a:cubicBezTo>
                      <a:pt x="74" y="73"/>
                      <a:pt x="74" y="73"/>
                      <a:pt x="74" y="74"/>
                    </a:cubicBezTo>
                    <a:cubicBezTo>
                      <a:pt x="74" y="74"/>
                      <a:pt x="73" y="74"/>
                      <a:pt x="74" y="74"/>
                    </a:cubicBezTo>
                    <a:cubicBezTo>
                      <a:pt x="74" y="75"/>
                      <a:pt x="74" y="75"/>
                      <a:pt x="75" y="75"/>
                    </a:cubicBezTo>
                    <a:cubicBezTo>
                      <a:pt x="75" y="75"/>
                      <a:pt x="77" y="76"/>
                      <a:pt x="77" y="77"/>
                    </a:cubicBezTo>
                    <a:cubicBezTo>
                      <a:pt x="77" y="76"/>
                      <a:pt x="78" y="77"/>
                      <a:pt x="78" y="77"/>
                    </a:cubicBezTo>
                    <a:cubicBezTo>
                      <a:pt x="78" y="76"/>
                      <a:pt x="79" y="76"/>
                      <a:pt x="79" y="76"/>
                    </a:cubicBezTo>
                    <a:cubicBezTo>
                      <a:pt x="80" y="76"/>
                      <a:pt x="80" y="77"/>
                      <a:pt x="81" y="77"/>
                    </a:cubicBezTo>
                    <a:cubicBezTo>
                      <a:pt x="81" y="78"/>
                      <a:pt x="81" y="78"/>
                      <a:pt x="81" y="79"/>
                    </a:cubicBezTo>
                    <a:cubicBezTo>
                      <a:pt x="81" y="79"/>
                      <a:pt x="81" y="80"/>
                      <a:pt x="82" y="80"/>
                    </a:cubicBezTo>
                    <a:cubicBezTo>
                      <a:pt x="82" y="81"/>
                      <a:pt x="82" y="81"/>
                      <a:pt x="82" y="82"/>
                    </a:cubicBezTo>
                    <a:cubicBezTo>
                      <a:pt x="83" y="82"/>
                      <a:pt x="83" y="83"/>
                      <a:pt x="83" y="83"/>
                    </a:cubicBezTo>
                    <a:cubicBezTo>
                      <a:pt x="84" y="84"/>
                      <a:pt x="84" y="85"/>
                      <a:pt x="84" y="85"/>
                    </a:cubicBezTo>
                    <a:cubicBezTo>
                      <a:pt x="84" y="86"/>
                      <a:pt x="84" y="88"/>
                      <a:pt x="85" y="89"/>
                    </a:cubicBezTo>
                    <a:cubicBezTo>
                      <a:pt x="86" y="89"/>
                      <a:pt x="85" y="91"/>
                      <a:pt x="84" y="91"/>
                    </a:cubicBezTo>
                    <a:cubicBezTo>
                      <a:pt x="84" y="91"/>
                      <a:pt x="82" y="91"/>
                      <a:pt x="82" y="92"/>
                    </a:cubicBezTo>
                    <a:cubicBezTo>
                      <a:pt x="82" y="93"/>
                      <a:pt x="83" y="92"/>
                      <a:pt x="83" y="93"/>
                    </a:cubicBezTo>
                    <a:cubicBezTo>
                      <a:pt x="83" y="94"/>
                      <a:pt x="82" y="94"/>
                      <a:pt x="82" y="95"/>
                    </a:cubicBezTo>
                    <a:cubicBezTo>
                      <a:pt x="82" y="96"/>
                      <a:pt x="81" y="96"/>
                      <a:pt x="81" y="96"/>
                    </a:cubicBezTo>
                    <a:cubicBezTo>
                      <a:pt x="80" y="96"/>
                      <a:pt x="80" y="96"/>
                      <a:pt x="80" y="97"/>
                    </a:cubicBezTo>
                    <a:cubicBezTo>
                      <a:pt x="80" y="97"/>
                      <a:pt x="80" y="97"/>
                      <a:pt x="80" y="97"/>
                    </a:cubicBezTo>
                    <a:cubicBezTo>
                      <a:pt x="80" y="98"/>
                      <a:pt x="80" y="98"/>
                      <a:pt x="80" y="98"/>
                    </a:cubicBezTo>
                    <a:cubicBezTo>
                      <a:pt x="81" y="99"/>
                      <a:pt x="80" y="99"/>
                      <a:pt x="81" y="99"/>
                    </a:cubicBezTo>
                    <a:cubicBezTo>
                      <a:pt x="82" y="100"/>
                      <a:pt x="84" y="100"/>
                      <a:pt x="84" y="99"/>
                    </a:cubicBezTo>
                    <a:cubicBezTo>
                      <a:pt x="85" y="99"/>
                      <a:pt x="85" y="98"/>
                      <a:pt x="85" y="98"/>
                    </a:cubicBezTo>
                    <a:cubicBezTo>
                      <a:pt x="85" y="97"/>
                      <a:pt x="86" y="97"/>
                      <a:pt x="86" y="96"/>
                    </a:cubicBezTo>
                    <a:cubicBezTo>
                      <a:pt x="87" y="95"/>
                      <a:pt x="88" y="95"/>
                      <a:pt x="88" y="94"/>
                    </a:cubicBezTo>
                    <a:cubicBezTo>
                      <a:pt x="89" y="94"/>
                      <a:pt x="89" y="92"/>
                      <a:pt x="88" y="91"/>
                    </a:cubicBezTo>
                    <a:cubicBezTo>
                      <a:pt x="88" y="90"/>
                      <a:pt x="89" y="89"/>
                      <a:pt x="90" y="89"/>
                    </a:cubicBezTo>
                    <a:cubicBezTo>
                      <a:pt x="91" y="89"/>
                      <a:pt x="92" y="88"/>
                      <a:pt x="92" y="89"/>
                    </a:cubicBezTo>
                    <a:cubicBezTo>
                      <a:pt x="93" y="89"/>
                      <a:pt x="93" y="88"/>
                      <a:pt x="93" y="89"/>
                    </a:cubicBezTo>
                    <a:cubicBezTo>
                      <a:pt x="94" y="89"/>
                      <a:pt x="94" y="88"/>
                      <a:pt x="94" y="88"/>
                    </a:cubicBezTo>
                    <a:cubicBezTo>
                      <a:pt x="94" y="88"/>
                      <a:pt x="94" y="88"/>
                      <a:pt x="94" y="87"/>
                    </a:cubicBezTo>
                    <a:cubicBezTo>
                      <a:pt x="93" y="87"/>
                      <a:pt x="94" y="86"/>
                      <a:pt x="93" y="85"/>
                    </a:cubicBezTo>
                    <a:cubicBezTo>
                      <a:pt x="93" y="84"/>
                      <a:pt x="94" y="84"/>
                      <a:pt x="94" y="84"/>
                    </a:cubicBezTo>
                    <a:cubicBezTo>
                      <a:pt x="94" y="83"/>
                      <a:pt x="93" y="83"/>
                      <a:pt x="93" y="83"/>
                    </a:cubicBezTo>
                    <a:cubicBezTo>
                      <a:pt x="92" y="82"/>
                      <a:pt x="92" y="82"/>
                      <a:pt x="91" y="82"/>
                    </a:cubicBezTo>
                    <a:cubicBezTo>
                      <a:pt x="90" y="81"/>
                      <a:pt x="90" y="81"/>
                      <a:pt x="89" y="81"/>
                    </a:cubicBezTo>
                    <a:cubicBezTo>
                      <a:pt x="88" y="81"/>
                      <a:pt x="88" y="81"/>
                      <a:pt x="88" y="80"/>
                    </a:cubicBezTo>
                    <a:cubicBezTo>
                      <a:pt x="87" y="79"/>
                      <a:pt x="88" y="78"/>
                      <a:pt x="88" y="78"/>
                    </a:cubicBezTo>
                    <a:cubicBezTo>
                      <a:pt x="89" y="77"/>
                      <a:pt x="89" y="77"/>
                      <a:pt x="89" y="77"/>
                    </a:cubicBezTo>
                    <a:cubicBezTo>
                      <a:pt x="88" y="76"/>
                      <a:pt x="89" y="76"/>
                      <a:pt x="89" y="75"/>
                    </a:cubicBezTo>
                    <a:cubicBezTo>
                      <a:pt x="90" y="75"/>
                      <a:pt x="90" y="74"/>
                      <a:pt x="90" y="74"/>
                    </a:cubicBezTo>
                    <a:cubicBezTo>
                      <a:pt x="91" y="73"/>
                      <a:pt x="92" y="71"/>
                      <a:pt x="93" y="71"/>
                    </a:cubicBezTo>
                    <a:cubicBezTo>
                      <a:pt x="93" y="71"/>
                      <a:pt x="93" y="72"/>
                      <a:pt x="94" y="72"/>
                    </a:cubicBezTo>
                    <a:cubicBezTo>
                      <a:pt x="94" y="72"/>
                      <a:pt x="94" y="71"/>
                      <a:pt x="94" y="71"/>
                    </a:cubicBezTo>
                    <a:cubicBezTo>
                      <a:pt x="94" y="71"/>
                      <a:pt x="95" y="71"/>
                      <a:pt x="95" y="72"/>
                    </a:cubicBezTo>
                    <a:cubicBezTo>
                      <a:pt x="95" y="72"/>
                      <a:pt x="94" y="72"/>
                      <a:pt x="94" y="72"/>
                    </a:cubicBezTo>
                    <a:cubicBezTo>
                      <a:pt x="94" y="72"/>
                      <a:pt x="94" y="72"/>
                      <a:pt x="94" y="72"/>
                    </a:cubicBezTo>
                    <a:cubicBezTo>
                      <a:pt x="94" y="73"/>
                      <a:pt x="96" y="73"/>
                      <a:pt x="96" y="73"/>
                    </a:cubicBezTo>
                    <a:cubicBezTo>
                      <a:pt x="97" y="74"/>
                      <a:pt x="98" y="73"/>
                      <a:pt x="99" y="74"/>
                    </a:cubicBezTo>
                    <a:cubicBezTo>
                      <a:pt x="100" y="74"/>
                      <a:pt x="102" y="76"/>
                      <a:pt x="101" y="76"/>
                    </a:cubicBezTo>
                    <a:cubicBezTo>
                      <a:pt x="101" y="76"/>
                      <a:pt x="101" y="77"/>
                      <a:pt x="101" y="77"/>
                    </a:cubicBezTo>
                    <a:cubicBezTo>
                      <a:pt x="102" y="78"/>
                      <a:pt x="103" y="78"/>
                      <a:pt x="104" y="79"/>
                    </a:cubicBezTo>
                    <a:cubicBezTo>
                      <a:pt x="105" y="79"/>
                      <a:pt x="104" y="78"/>
                      <a:pt x="105" y="77"/>
                    </a:cubicBezTo>
                    <a:cubicBezTo>
                      <a:pt x="105" y="76"/>
                      <a:pt x="106" y="76"/>
                      <a:pt x="106" y="75"/>
                    </a:cubicBezTo>
                    <a:cubicBezTo>
                      <a:pt x="105" y="75"/>
                      <a:pt x="105" y="74"/>
                      <a:pt x="104" y="73"/>
                    </a:cubicBezTo>
                    <a:close/>
                    <a:moveTo>
                      <a:pt x="51" y="34"/>
                    </a:moveTo>
                    <a:cubicBezTo>
                      <a:pt x="51" y="35"/>
                      <a:pt x="50" y="34"/>
                      <a:pt x="51" y="34"/>
                    </a:cubicBezTo>
                    <a:cubicBezTo>
                      <a:pt x="51" y="33"/>
                      <a:pt x="52" y="33"/>
                      <a:pt x="51" y="34"/>
                    </a:cubicBezTo>
                    <a:close/>
                    <a:moveTo>
                      <a:pt x="48" y="112"/>
                    </a:moveTo>
                    <a:cubicBezTo>
                      <a:pt x="48" y="112"/>
                      <a:pt x="47" y="111"/>
                      <a:pt x="48" y="111"/>
                    </a:cubicBezTo>
                    <a:cubicBezTo>
                      <a:pt x="48" y="111"/>
                      <a:pt x="49" y="112"/>
                      <a:pt x="48" y="112"/>
                    </a:cubicBezTo>
                    <a:close/>
                    <a:moveTo>
                      <a:pt x="80" y="96"/>
                    </a:moveTo>
                    <a:cubicBezTo>
                      <a:pt x="79" y="96"/>
                      <a:pt x="79" y="97"/>
                      <a:pt x="79" y="98"/>
                    </a:cubicBezTo>
                    <a:cubicBezTo>
                      <a:pt x="78" y="99"/>
                      <a:pt x="78" y="99"/>
                      <a:pt x="78" y="100"/>
                    </a:cubicBezTo>
                    <a:cubicBezTo>
                      <a:pt x="77" y="100"/>
                      <a:pt x="77" y="101"/>
                      <a:pt x="76" y="102"/>
                    </a:cubicBezTo>
                    <a:cubicBezTo>
                      <a:pt x="76" y="102"/>
                      <a:pt x="76" y="103"/>
                      <a:pt x="76" y="104"/>
                    </a:cubicBezTo>
                    <a:cubicBezTo>
                      <a:pt x="76" y="104"/>
                      <a:pt x="75" y="105"/>
                      <a:pt x="76" y="105"/>
                    </a:cubicBezTo>
                    <a:cubicBezTo>
                      <a:pt x="76" y="106"/>
                      <a:pt x="76" y="106"/>
                      <a:pt x="77" y="107"/>
                    </a:cubicBezTo>
                    <a:cubicBezTo>
                      <a:pt x="77" y="107"/>
                      <a:pt x="77" y="107"/>
                      <a:pt x="77" y="107"/>
                    </a:cubicBezTo>
                    <a:cubicBezTo>
                      <a:pt x="77" y="107"/>
                      <a:pt x="76" y="108"/>
                      <a:pt x="77" y="108"/>
                    </a:cubicBezTo>
                    <a:cubicBezTo>
                      <a:pt x="77" y="108"/>
                      <a:pt x="77" y="108"/>
                      <a:pt x="78" y="109"/>
                    </a:cubicBezTo>
                    <a:cubicBezTo>
                      <a:pt x="78" y="109"/>
                      <a:pt x="78" y="109"/>
                      <a:pt x="77" y="109"/>
                    </a:cubicBezTo>
                    <a:cubicBezTo>
                      <a:pt x="77" y="109"/>
                      <a:pt x="78" y="109"/>
                      <a:pt x="78" y="110"/>
                    </a:cubicBezTo>
                    <a:cubicBezTo>
                      <a:pt x="78" y="109"/>
                      <a:pt x="77" y="110"/>
                      <a:pt x="77" y="110"/>
                    </a:cubicBezTo>
                    <a:cubicBezTo>
                      <a:pt x="76" y="111"/>
                      <a:pt x="76" y="112"/>
                      <a:pt x="76" y="112"/>
                    </a:cubicBezTo>
                    <a:cubicBezTo>
                      <a:pt x="76" y="113"/>
                      <a:pt x="76" y="113"/>
                      <a:pt x="76" y="113"/>
                    </a:cubicBezTo>
                    <a:cubicBezTo>
                      <a:pt x="76" y="113"/>
                      <a:pt x="75" y="114"/>
                      <a:pt x="75" y="113"/>
                    </a:cubicBezTo>
                    <a:cubicBezTo>
                      <a:pt x="75" y="113"/>
                      <a:pt x="74" y="113"/>
                      <a:pt x="74" y="113"/>
                    </a:cubicBezTo>
                    <a:cubicBezTo>
                      <a:pt x="73" y="113"/>
                      <a:pt x="72" y="113"/>
                      <a:pt x="72" y="112"/>
                    </a:cubicBezTo>
                    <a:cubicBezTo>
                      <a:pt x="71" y="112"/>
                      <a:pt x="71" y="112"/>
                      <a:pt x="70" y="112"/>
                    </a:cubicBezTo>
                    <a:cubicBezTo>
                      <a:pt x="70" y="111"/>
                      <a:pt x="70" y="111"/>
                      <a:pt x="69" y="110"/>
                    </a:cubicBezTo>
                    <a:cubicBezTo>
                      <a:pt x="69" y="109"/>
                      <a:pt x="68" y="109"/>
                      <a:pt x="67" y="109"/>
                    </a:cubicBezTo>
                    <a:cubicBezTo>
                      <a:pt x="66" y="108"/>
                      <a:pt x="66" y="109"/>
                      <a:pt x="65" y="108"/>
                    </a:cubicBezTo>
                    <a:cubicBezTo>
                      <a:pt x="64" y="108"/>
                      <a:pt x="64" y="108"/>
                      <a:pt x="63" y="108"/>
                    </a:cubicBezTo>
                    <a:cubicBezTo>
                      <a:pt x="63" y="108"/>
                      <a:pt x="62" y="107"/>
                      <a:pt x="62" y="107"/>
                    </a:cubicBezTo>
                    <a:cubicBezTo>
                      <a:pt x="61" y="106"/>
                      <a:pt x="61" y="106"/>
                      <a:pt x="60" y="106"/>
                    </a:cubicBezTo>
                    <a:cubicBezTo>
                      <a:pt x="59" y="106"/>
                      <a:pt x="59" y="105"/>
                      <a:pt x="58" y="105"/>
                    </a:cubicBezTo>
                    <a:cubicBezTo>
                      <a:pt x="58" y="104"/>
                      <a:pt x="57" y="105"/>
                      <a:pt x="57" y="104"/>
                    </a:cubicBezTo>
                    <a:cubicBezTo>
                      <a:pt x="56" y="104"/>
                      <a:pt x="56" y="103"/>
                      <a:pt x="56" y="103"/>
                    </a:cubicBezTo>
                    <a:cubicBezTo>
                      <a:pt x="55" y="103"/>
                      <a:pt x="54" y="104"/>
                      <a:pt x="54" y="103"/>
                    </a:cubicBezTo>
                    <a:cubicBezTo>
                      <a:pt x="53" y="103"/>
                      <a:pt x="53" y="103"/>
                      <a:pt x="52" y="102"/>
                    </a:cubicBezTo>
                    <a:cubicBezTo>
                      <a:pt x="52" y="102"/>
                      <a:pt x="52" y="102"/>
                      <a:pt x="52" y="101"/>
                    </a:cubicBezTo>
                    <a:cubicBezTo>
                      <a:pt x="52" y="101"/>
                      <a:pt x="51" y="101"/>
                      <a:pt x="52" y="101"/>
                    </a:cubicBezTo>
                    <a:cubicBezTo>
                      <a:pt x="52" y="101"/>
                      <a:pt x="52" y="100"/>
                      <a:pt x="52" y="100"/>
                    </a:cubicBezTo>
                    <a:cubicBezTo>
                      <a:pt x="52" y="100"/>
                      <a:pt x="52" y="99"/>
                      <a:pt x="52" y="98"/>
                    </a:cubicBezTo>
                    <a:cubicBezTo>
                      <a:pt x="52" y="98"/>
                      <a:pt x="53" y="98"/>
                      <a:pt x="53" y="98"/>
                    </a:cubicBezTo>
                    <a:cubicBezTo>
                      <a:pt x="53" y="98"/>
                      <a:pt x="53" y="98"/>
                      <a:pt x="54" y="98"/>
                    </a:cubicBezTo>
                    <a:cubicBezTo>
                      <a:pt x="54" y="97"/>
                      <a:pt x="54" y="97"/>
                      <a:pt x="54" y="97"/>
                    </a:cubicBezTo>
                    <a:cubicBezTo>
                      <a:pt x="55" y="97"/>
                      <a:pt x="55" y="98"/>
                      <a:pt x="55" y="98"/>
                    </a:cubicBezTo>
                    <a:cubicBezTo>
                      <a:pt x="56" y="99"/>
                      <a:pt x="56" y="98"/>
                      <a:pt x="57" y="98"/>
                    </a:cubicBezTo>
                    <a:cubicBezTo>
                      <a:pt x="57" y="98"/>
                      <a:pt x="57" y="97"/>
                      <a:pt x="57" y="97"/>
                    </a:cubicBezTo>
                    <a:cubicBezTo>
                      <a:pt x="58" y="97"/>
                      <a:pt x="58" y="97"/>
                      <a:pt x="59" y="97"/>
                    </a:cubicBezTo>
                    <a:cubicBezTo>
                      <a:pt x="60" y="96"/>
                      <a:pt x="59" y="98"/>
                      <a:pt x="61" y="98"/>
                    </a:cubicBezTo>
                    <a:cubicBezTo>
                      <a:pt x="62" y="97"/>
                      <a:pt x="61" y="98"/>
                      <a:pt x="62" y="98"/>
                    </a:cubicBezTo>
                    <a:cubicBezTo>
                      <a:pt x="62" y="99"/>
                      <a:pt x="63" y="99"/>
                      <a:pt x="64" y="99"/>
                    </a:cubicBezTo>
                    <a:cubicBezTo>
                      <a:pt x="64" y="99"/>
                      <a:pt x="65" y="99"/>
                      <a:pt x="65" y="98"/>
                    </a:cubicBezTo>
                    <a:cubicBezTo>
                      <a:pt x="66" y="98"/>
                      <a:pt x="67" y="98"/>
                      <a:pt x="67" y="98"/>
                    </a:cubicBezTo>
                    <a:cubicBezTo>
                      <a:pt x="68" y="99"/>
                      <a:pt x="69" y="98"/>
                      <a:pt x="70" y="98"/>
                    </a:cubicBezTo>
                    <a:cubicBezTo>
                      <a:pt x="71" y="98"/>
                      <a:pt x="72" y="97"/>
                      <a:pt x="73" y="97"/>
                    </a:cubicBezTo>
                    <a:cubicBezTo>
                      <a:pt x="74" y="97"/>
                      <a:pt x="74" y="97"/>
                      <a:pt x="75" y="97"/>
                    </a:cubicBezTo>
                    <a:cubicBezTo>
                      <a:pt x="76" y="97"/>
                      <a:pt x="77" y="97"/>
                      <a:pt x="77" y="96"/>
                    </a:cubicBezTo>
                    <a:cubicBezTo>
                      <a:pt x="77" y="96"/>
                      <a:pt x="77" y="96"/>
                      <a:pt x="77" y="96"/>
                    </a:cubicBezTo>
                    <a:cubicBezTo>
                      <a:pt x="77" y="97"/>
                      <a:pt x="78" y="96"/>
                      <a:pt x="78" y="96"/>
                    </a:cubicBezTo>
                    <a:cubicBezTo>
                      <a:pt x="79" y="96"/>
                      <a:pt x="79" y="96"/>
                      <a:pt x="79" y="96"/>
                    </a:cubicBezTo>
                    <a:cubicBezTo>
                      <a:pt x="80" y="95"/>
                      <a:pt x="80" y="96"/>
                      <a:pt x="80" y="96"/>
                    </a:cubicBezTo>
                    <a:close/>
                    <a:moveTo>
                      <a:pt x="27" y="68"/>
                    </a:moveTo>
                    <a:cubicBezTo>
                      <a:pt x="27" y="69"/>
                      <a:pt x="28" y="70"/>
                      <a:pt x="28" y="71"/>
                    </a:cubicBezTo>
                    <a:cubicBezTo>
                      <a:pt x="28" y="72"/>
                      <a:pt x="28" y="72"/>
                      <a:pt x="27" y="73"/>
                    </a:cubicBezTo>
                    <a:cubicBezTo>
                      <a:pt x="26" y="74"/>
                      <a:pt x="26" y="75"/>
                      <a:pt x="27" y="75"/>
                    </a:cubicBezTo>
                    <a:cubicBezTo>
                      <a:pt x="27" y="76"/>
                      <a:pt x="27" y="76"/>
                      <a:pt x="27" y="77"/>
                    </a:cubicBezTo>
                    <a:cubicBezTo>
                      <a:pt x="27" y="77"/>
                      <a:pt x="27" y="77"/>
                      <a:pt x="27" y="77"/>
                    </a:cubicBezTo>
                    <a:cubicBezTo>
                      <a:pt x="27" y="77"/>
                      <a:pt x="27" y="78"/>
                      <a:pt x="27" y="78"/>
                    </a:cubicBezTo>
                    <a:cubicBezTo>
                      <a:pt x="27" y="79"/>
                      <a:pt x="26" y="81"/>
                      <a:pt x="26" y="83"/>
                    </a:cubicBezTo>
                    <a:cubicBezTo>
                      <a:pt x="26" y="83"/>
                      <a:pt x="26" y="84"/>
                      <a:pt x="26" y="84"/>
                    </a:cubicBezTo>
                    <a:cubicBezTo>
                      <a:pt x="26" y="84"/>
                      <a:pt x="26" y="84"/>
                      <a:pt x="26" y="85"/>
                    </a:cubicBezTo>
                    <a:cubicBezTo>
                      <a:pt x="26" y="85"/>
                      <a:pt x="26" y="87"/>
                      <a:pt x="25" y="87"/>
                    </a:cubicBezTo>
                    <a:cubicBezTo>
                      <a:pt x="25" y="87"/>
                      <a:pt x="25" y="86"/>
                      <a:pt x="25" y="86"/>
                    </a:cubicBezTo>
                    <a:cubicBezTo>
                      <a:pt x="25" y="86"/>
                      <a:pt x="24" y="86"/>
                      <a:pt x="24" y="86"/>
                    </a:cubicBezTo>
                    <a:cubicBezTo>
                      <a:pt x="24" y="86"/>
                      <a:pt x="23" y="85"/>
                      <a:pt x="22" y="85"/>
                    </a:cubicBezTo>
                    <a:cubicBezTo>
                      <a:pt x="22" y="86"/>
                      <a:pt x="22" y="86"/>
                      <a:pt x="21" y="86"/>
                    </a:cubicBezTo>
                    <a:cubicBezTo>
                      <a:pt x="21" y="85"/>
                      <a:pt x="21" y="85"/>
                      <a:pt x="21" y="85"/>
                    </a:cubicBezTo>
                    <a:cubicBezTo>
                      <a:pt x="20" y="85"/>
                      <a:pt x="21" y="86"/>
                      <a:pt x="21" y="85"/>
                    </a:cubicBezTo>
                    <a:cubicBezTo>
                      <a:pt x="21" y="86"/>
                      <a:pt x="21" y="86"/>
                      <a:pt x="21" y="86"/>
                    </a:cubicBezTo>
                    <a:cubicBezTo>
                      <a:pt x="21" y="87"/>
                      <a:pt x="21" y="87"/>
                      <a:pt x="21" y="88"/>
                    </a:cubicBezTo>
                    <a:cubicBezTo>
                      <a:pt x="21" y="88"/>
                      <a:pt x="20" y="88"/>
                      <a:pt x="20" y="89"/>
                    </a:cubicBezTo>
                    <a:cubicBezTo>
                      <a:pt x="19" y="89"/>
                      <a:pt x="19" y="89"/>
                      <a:pt x="19" y="89"/>
                    </a:cubicBezTo>
                    <a:cubicBezTo>
                      <a:pt x="18" y="89"/>
                      <a:pt x="17" y="88"/>
                      <a:pt x="17" y="89"/>
                    </a:cubicBezTo>
                    <a:cubicBezTo>
                      <a:pt x="17" y="89"/>
                      <a:pt x="17" y="89"/>
                      <a:pt x="17" y="89"/>
                    </a:cubicBezTo>
                    <a:cubicBezTo>
                      <a:pt x="17" y="88"/>
                      <a:pt x="17" y="88"/>
                      <a:pt x="17" y="88"/>
                    </a:cubicBezTo>
                    <a:cubicBezTo>
                      <a:pt x="16" y="87"/>
                      <a:pt x="16" y="87"/>
                      <a:pt x="16" y="87"/>
                    </a:cubicBezTo>
                    <a:cubicBezTo>
                      <a:pt x="16" y="87"/>
                      <a:pt x="16" y="88"/>
                      <a:pt x="16" y="88"/>
                    </a:cubicBezTo>
                    <a:cubicBezTo>
                      <a:pt x="15" y="89"/>
                      <a:pt x="14" y="87"/>
                      <a:pt x="15" y="87"/>
                    </a:cubicBezTo>
                    <a:cubicBezTo>
                      <a:pt x="15" y="86"/>
                      <a:pt x="16" y="87"/>
                      <a:pt x="16" y="87"/>
                    </a:cubicBezTo>
                    <a:cubicBezTo>
                      <a:pt x="16" y="86"/>
                      <a:pt x="15" y="86"/>
                      <a:pt x="15" y="85"/>
                    </a:cubicBezTo>
                    <a:cubicBezTo>
                      <a:pt x="15" y="85"/>
                      <a:pt x="15" y="85"/>
                      <a:pt x="15" y="84"/>
                    </a:cubicBezTo>
                    <a:cubicBezTo>
                      <a:pt x="15" y="84"/>
                      <a:pt x="15" y="84"/>
                      <a:pt x="15" y="84"/>
                    </a:cubicBezTo>
                    <a:cubicBezTo>
                      <a:pt x="15" y="83"/>
                      <a:pt x="15" y="83"/>
                      <a:pt x="15" y="83"/>
                    </a:cubicBezTo>
                    <a:cubicBezTo>
                      <a:pt x="15" y="82"/>
                      <a:pt x="15" y="82"/>
                      <a:pt x="15" y="82"/>
                    </a:cubicBezTo>
                    <a:cubicBezTo>
                      <a:pt x="16" y="81"/>
                      <a:pt x="16" y="81"/>
                      <a:pt x="16" y="80"/>
                    </a:cubicBezTo>
                    <a:cubicBezTo>
                      <a:pt x="16" y="79"/>
                      <a:pt x="16" y="80"/>
                      <a:pt x="17" y="80"/>
                    </a:cubicBezTo>
                    <a:cubicBezTo>
                      <a:pt x="16" y="80"/>
                      <a:pt x="16" y="80"/>
                      <a:pt x="16" y="80"/>
                    </a:cubicBezTo>
                    <a:cubicBezTo>
                      <a:pt x="16" y="80"/>
                      <a:pt x="17" y="79"/>
                      <a:pt x="16" y="79"/>
                    </a:cubicBezTo>
                    <a:cubicBezTo>
                      <a:pt x="17" y="79"/>
                      <a:pt x="16" y="77"/>
                      <a:pt x="15" y="78"/>
                    </a:cubicBezTo>
                    <a:cubicBezTo>
                      <a:pt x="16" y="78"/>
                      <a:pt x="16" y="78"/>
                      <a:pt x="15" y="78"/>
                    </a:cubicBezTo>
                    <a:cubicBezTo>
                      <a:pt x="15" y="78"/>
                      <a:pt x="15" y="78"/>
                      <a:pt x="15" y="78"/>
                    </a:cubicBezTo>
                    <a:cubicBezTo>
                      <a:pt x="15" y="78"/>
                      <a:pt x="15" y="77"/>
                      <a:pt x="15" y="77"/>
                    </a:cubicBezTo>
                    <a:cubicBezTo>
                      <a:pt x="15" y="77"/>
                      <a:pt x="15" y="76"/>
                      <a:pt x="15" y="76"/>
                    </a:cubicBezTo>
                    <a:cubicBezTo>
                      <a:pt x="16" y="76"/>
                      <a:pt x="16" y="76"/>
                      <a:pt x="16" y="75"/>
                    </a:cubicBezTo>
                    <a:cubicBezTo>
                      <a:pt x="16" y="75"/>
                      <a:pt x="16" y="74"/>
                      <a:pt x="16" y="74"/>
                    </a:cubicBezTo>
                    <a:cubicBezTo>
                      <a:pt x="16" y="73"/>
                      <a:pt x="15" y="73"/>
                      <a:pt x="15" y="73"/>
                    </a:cubicBezTo>
                    <a:cubicBezTo>
                      <a:pt x="15" y="72"/>
                      <a:pt x="15" y="72"/>
                      <a:pt x="14" y="71"/>
                    </a:cubicBezTo>
                    <a:cubicBezTo>
                      <a:pt x="14" y="71"/>
                      <a:pt x="14" y="70"/>
                      <a:pt x="14" y="70"/>
                    </a:cubicBezTo>
                    <a:cubicBezTo>
                      <a:pt x="13" y="71"/>
                      <a:pt x="14" y="70"/>
                      <a:pt x="13" y="70"/>
                    </a:cubicBezTo>
                    <a:cubicBezTo>
                      <a:pt x="13" y="70"/>
                      <a:pt x="13" y="70"/>
                      <a:pt x="13" y="71"/>
                    </a:cubicBezTo>
                    <a:cubicBezTo>
                      <a:pt x="13" y="70"/>
                      <a:pt x="14" y="70"/>
                      <a:pt x="13" y="69"/>
                    </a:cubicBezTo>
                    <a:cubicBezTo>
                      <a:pt x="13" y="69"/>
                      <a:pt x="13" y="68"/>
                      <a:pt x="13" y="68"/>
                    </a:cubicBezTo>
                    <a:cubicBezTo>
                      <a:pt x="13" y="68"/>
                      <a:pt x="14" y="67"/>
                      <a:pt x="14" y="67"/>
                    </a:cubicBezTo>
                    <a:cubicBezTo>
                      <a:pt x="14" y="67"/>
                      <a:pt x="13" y="67"/>
                      <a:pt x="13" y="66"/>
                    </a:cubicBezTo>
                    <a:cubicBezTo>
                      <a:pt x="14" y="66"/>
                      <a:pt x="14" y="67"/>
                      <a:pt x="14" y="67"/>
                    </a:cubicBezTo>
                    <a:cubicBezTo>
                      <a:pt x="14" y="67"/>
                      <a:pt x="15" y="68"/>
                      <a:pt x="15" y="68"/>
                    </a:cubicBezTo>
                    <a:cubicBezTo>
                      <a:pt x="16" y="68"/>
                      <a:pt x="16" y="68"/>
                      <a:pt x="17" y="67"/>
                    </a:cubicBezTo>
                    <a:cubicBezTo>
                      <a:pt x="17" y="67"/>
                      <a:pt x="18" y="67"/>
                      <a:pt x="18" y="67"/>
                    </a:cubicBezTo>
                    <a:cubicBezTo>
                      <a:pt x="18" y="67"/>
                      <a:pt x="19" y="67"/>
                      <a:pt x="19" y="67"/>
                    </a:cubicBezTo>
                    <a:cubicBezTo>
                      <a:pt x="20" y="66"/>
                      <a:pt x="20" y="65"/>
                      <a:pt x="21" y="65"/>
                    </a:cubicBezTo>
                    <a:cubicBezTo>
                      <a:pt x="21" y="65"/>
                      <a:pt x="22" y="65"/>
                      <a:pt x="22" y="64"/>
                    </a:cubicBezTo>
                    <a:cubicBezTo>
                      <a:pt x="22" y="64"/>
                      <a:pt x="22" y="63"/>
                      <a:pt x="22" y="63"/>
                    </a:cubicBezTo>
                    <a:cubicBezTo>
                      <a:pt x="22" y="63"/>
                      <a:pt x="22" y="63"/>
                      <a:pt x="23" y="63"/>
                    </a:cubicBezTo>
                    <a:cubicBezTo>
                      <a:pt x="23" y="63"/>
                      <a:pt x="23" y="64"/>
                      <a:pt x="23" y="64"/>
                    </a:cubicBezTo>
                    <a:cubicBezTo>
                      <a:pt x="23" y="63"/>
                      <a:pt x="23" y="63"/>
                      <a:pt x="23" y="64"/>
                    </a:cubicBezTo>
                    <a:cubicBezTo>
                      <a:pt x="23" y="64"/>
                      <a:pt x="24" y="64"/>
                      <a:pt x="24" y="64"/>
                    </a:cubicBezTo>
                    <a:cubicBezTo>
                      <a:pt x="24" y="64"/>
                      <a:pt x="24" y="65"/>
                      <a:pt x="25" y="65"/>
                    </a:cubicBezTo>
                    <a:cubicBezTo>
                      <a:pt x="25" y="64"/>
                      <a:pt x="25" y="64"/>
                      <a:pt x="25" y="65"/>
                    </a:cubicBezTo>
                    <a:cubicBezTo>
                      <a:pt x="26" y="65"/>
                      <a:pt x="25" y="66"/>
                      <a:pt x="25" y="66"/>
                    </a:cubicBezTo>
                    <a:cubicBezTo>
                      <a:pt x="25" y="66"/>
                      <a:pt x="25" y="66"/>
                      <a:pt x="26" y="66"/>
                    </a:cubicBezTo>
                    <a:cubicBezTo>
                      <a:pt x="25" y="66"/>
                      <a:pt x="27" y="66"/>
                      <a:pt x="26" y="66"/>
                    </a:cubicBezTo>
                    <a:cubicBezTo>
                      <a:pt x="26" y="66"/>
                      <a:pt x="26" y="66"/>
                      <a:pt x="26" y="66"/>
                    </a:cubicBezTo>
                    <a:cubicBezTo>
                      <a:pt x="26" y="66"/>
                      <a:pt x="26" y="66"/>
                      <a:pt x="26" y="66"/>
                    </a:cubicBezTo>
                    <a:cubicBezTo>
                      <a:pt x="25" y="67"/>
                      <a:pt x="25" y="67"/>
                      <a:pt x="25" y="67"/>
                    </a:cubicBezTo>
                    <a:cubicBezTo>
                      <a:pt x="25" y="67"/>
                      <a:pt x="26" y="67"/>
                      <a:pt x="26" y="67"/>
                    </a:cubicBezTo>
                    <a:cubicBezTo>
                      <a:pt x="26" y="67"/>
                      <a:pt x="26" y="67"/>
                      <a:pt x="26" y="67"/>
                    </a:cubicBezTo>
                    <a:cubicBezTo>
                      <a:pt x="26" y="67"/>
                      <a:pt x="26" y="67"/>
                      <a:pt x="26" y="67"/>
                    </a:cubicBezTo>
                    <a:cubicBezTo>
                      <a:pt x="26" y="68"/>
                      <a:pt x="27" y="67"/>
                      <a:pt x="27" y="68"/>
                    </a:cubicBezTo>
                    <a:cubicBezTo>
                      <a:pt x="27" y="68"/>
                      <a:pt x="27" y="68"/>
                      <a:pt x="27" y="68"/>
                    </a:cubicBezTo>
                    <a:close/>
                    <a:moveTo>
                      <a:pt x="33" y="47"/>
                    </a:moveTo>
                    <a:cubicBezTo>
                      <a:pt x="33" y="47"/>
                      <a:pt x="33" y="47"/>
                      <a:pt x="33" y="47"/>
                    </a:cubicBezTo>
                    <a:cubicBezTo>
                      <a:pt x="33" y="47"/>
                      <a:pt x="33" y="47"/>
                      <a:pt x="32" y="47"/>
                    </a:cubicBezTo>
                    <a:cubicBezTo>
                      <a:pt x="32" y="47"/>
                      <a:pt x="32" y="47"/>
                      <a:pt x="32" y="47"/>
                    </a:cubicBezTo>
                    <a:cubicBezTo>
                      <a:pt x="31" y="47"/>
                      <a:pt x="30" y="47"/>
                      <a:pt x="30" y="46"/>
                    </a:cubicBezTo>
                    <a:cubicBezTo>
                      <a:pt x="31" y="46"/>
                      <a:pt x="31" y="47"/>
                      <a:pt x="32" y="46"/>
                    </a:cubicBezTo>
                    <a:cubicBezTo>
                      <a:pt x="32" y="46"/>
                      <a:pt x="32" y="46"/>
                      <a:pt x="33" y="46"/>
                    </a:cubicBezTo>
                    <a:cubicBezTo>
                      <a:pt x="33" y="46"/>
                      <a:pt x="33" y="45"/>
                      <a:pt x="33" y="46"/>
                    </a:cubicBezTo>
                    <a:cubicBezTo>
                      <a:pt x="33" y="46"/>
                      <a:pt x="33" y="47"/>
                      <a:pt x="33" y="4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6" name="Israel">
                <a:extLst>
                  <a:ext uri="{FF2B5EF4-FFF2-40B4-BE49-F238E27FC236}">
                    <a16:creationId xmlns:a16="http://schemas.microsoft.com/office/drawing/2014/main" id="{E31F5CC8-3D26-8CB1-C69C-7ABAD2321B46}"/>
                  </a:ext>
                </a:extLst>
              </p:cNvPr>
              <p:cNvSpPr>
                <a:spLocks/>
              </p:cNvSpPr>
              <p:nvPr/>
            </p:nvSpPr>
            <p:spPr bwMode="auto">
              <a:xfrm>
                <a:off x="6837595" y="2746612"/>
                <a:ext cx="42147" cy="148985"/>
              </a:xfrm>
              <a:custGeom>
                <a:avLst/>
                <a:gdLst/>
                <a:ahLst/>
                <a:cxnLst>
                  <a:cxn ang="0">
                    <a:pos x="11" y="7"/>
                  </a:cxn>
                  <a:cxn ang="0">
                    <a:pos x="12" y="7"/>
                  </a:cxn>
                  <a:cxn ang="0">
                    <a:pos x="11" y="6"/>
                  </a:cxn>
                  <a:cxn ang="0">
                    <a:pos x="11" y="6"/>
                  </a:cxn>
                  <a:cxn ang="0">
                    <a:pos x="11" y="5"/>
                  </a:cxn>
                  <a:cxn ang="0">
                    <a:pos x="11" y="3"/>
                  </a:cxn>
                  <a:cxn ang="0">
                    <a:pos x="11" y="1"/>
                  </a:cxn>
                  <a:cxn ang="0">
                    <a:pos x="11" y="1"/>
                  </a:cxn>
                  <a:cxn ang="0">
                    <a:pos x="11" y="1"/>
                  </a:cxn>
                  <a:cxn ang="0">
                    <a:pos x="10" y="0"/>
                  </a:cxn>
                  <a:cxn ang="0">
                    <a:pos x="10" y="2"/>
                  </a:cxn>
                  <a:cxn ang="0">
                    <a:pos x="8" y="3"/>
                  </a:cxn>
                  <a:cxn ang="0">
                    <a:pos x="6" y="3"/>
                  </a:cxn>
                  <a:cxn ang="0">
                    <a:pos x="6" y="5"/>
                  </a:cxn>
                  <a:cxn ang="0">
                    <a:pos x="5" y="6"/>
                  </a:cxn>
                  <a:cxn ang="0">
                    <a:pos x="4" y="11"/>
                  </a:cxn>
                  <a:cxn ang="0">
                    <a:pos x="3" y="14"/>
                  </a:cxn>
                  <a:cxn ang="0">
                    <a:pos x="2" y="18"/>
                  </a:cxn>
                  <a:cxn ang="0">
                    <a:pos x="2" y="19"/>
                  </a:cxn>
                  <a:cxn ang="0">
                    <a:pos x="2" y="19"/>
                  </a:cxn>
                  <a:cxn ang="0">
                    <a:pos x="1" y="21"/>
                  </a:cxn>
                  <a:cxn ang="0">
                    <a:pos x="1" y="22"/>
                  </a:cxn>
                  <a:cxn ang="0">
                    <a:pos x="0" y="23"/>
                  </a:cxn>
                  <a:cxn ang="0">
                    <a:pos x="1" y="26"/>
                  </a:cxn>
                  <a:cxn ang="0">
                    <a:pos x="2" y="28"/>
                  </a:cxn>
                  <a:cxn ang="0">
                    <a:pos x="3" y="31"/>
                  </a:cxn>
                  <a:cxn ang="0">
                    <a:pos x="4" y="33"/>
                  </a:cxn>
                  <a:cxn ang="0">
                    <a:pos x="5" y="36"/>
                  </a:cxn>
                  <a:cxn ang="0">
                    <a:pos x="6" y="39"/>
                  </a:cxn>
                  <a:cxn ang="0">
                    <a:pos x="7" y="42"/>
                  </a:cxn>
                  <a:cxn ang="0">
                    <a:pos x="8" y="42"/>
                  </a:cxn>
                  <a:cxn ang="0">
                    <a:pos x="8" y="39"/>
                  </a:cxn>
                  <a:cxn ang="0">
                    <a:pos x="8" y="37"/>
                  </a:cxn>
                  <a:cxn ang="0">
                    <a:pos x="9" y="35"/>
                  </a:cxn>
                  <a:cxn ang="0">
                    <a:pos x="9" y="32"/>
                  </a:cxn>
                  <a:cxn ang="0">
                    <a:pos x="9" y="31"/>
                  </a:cxn>
                  <a:cxn ang="0">
                    <a:pos x="9" y="30"/>
                  </a:cxn>
                  <a:cxn ang="0">
                    <a:pos x="10" y="27"/>
                  </a:cxn>
                  <a:cxn ang="0">
                    <a:pos x="10" y="26"/>
                  </a:cxn>
                  <a:cxn ang="0">
                    <a:pos x="10" y="25"/>
                  </a:cxn>
                  <a:cxn ang="0">
                    <a:pos x="11" y="24"/>
                  </a:cxn>
                  <a:cxn ang="0">
                    <a:pos x="10" y="22"/>
                  </a:cxn>
                  <a:cxn ang="0">
                    <a:pos x="11" y="20"/>
                  </a:cxn>
                  <a:cxn ang="0">
                    <a:pos x="9" y="21"/>
                  </a:cxn>
                  <a:cxn ang="0">
                    <a:pos x="7" y="22"/>
                  </a:cxn>
                  <a:cxn ang="0">
                    <a:pos x="5" y="21"/>
                  </a:cxn>
                  <a:cxn ang="0">
                    <a:pos x="6" y="19"/>
                  </a:cxn>
                  <a:cxn ang="0">
                    <a:pos x="8" y="17"/>
                  </a:cxn>
                  <a:cxn ang="0">
                    <a:pos x="7" y="16"/>
                  </a:cxn>
                  <a:cxn ang="0">
                    <a:pos x="6" y="16"/>
                  </a:cxn>
                  <a:cxn ang="0">
                    <a:pos x="6" y="16"/>
                  </a:cxn>
                  <a:cxn ang="0">
                    <a:pos x="6" y="15"/>
                  </a:cxn>
                  <a:cxn ang="0">
                    <a:pos x="6" y="14"/>
                  </a:cxn>
                  <a:cxn ang="0">
                    <a:pos x="6" y="12"/>
                  </a:cxn>
                  <a:cxn ang="0">
                    <a:pos x="6" y="11"/>
                  </a:cxn>
                  <a:cxn ang="0">
                    <a:pos x="6" y="10"/>
                  </a:cxn>
                  <a:cxn ang="0">
                    <a:pos x="7" y="9"/>
                  </a:cxn>
                  <a:cxn ang="0">
                    <a:pos x="9" y="9"/>
                  </a:cxn>
                  <a:cxn ang="0">
                    <a:pos x="11" y="10"/>
                  </a:cxn>
                  <a:cxn ang="0">
                    <a:pos x="11" y="9"/>
                  </a:cxn>
                  <a:cxn ang="0">
                    <a:pos x="11" y="8"/>
                  </a:cxn>
                  <a:cxn ang="0">
                    <a:pos x="11" y="7"/>
                  </a:cxn>
                </a:cxnLst>
                <a:rect l="0" t="0" r="r" b="b"/>
                <a:pathLst>
                  <a:path w="12" h="42">
                    <a:moveTo>
                      <a:pt x="11" y="7"/>
                    </a:moveTo>
                    <a:cubicBezTo>
                      <a:pt x="11" y="7"/>
                      <a:pt x="11" y="7"/>
                      <a:pt x="12" y="7"/>
                    </a:cubicBezTo>
                    <a:cubicBezTo>
                      <a:pt x="11" y="7"/>
                      <a:pt x="11" y="6"/>
                      <a:pt x="11" y="6"/>
                    </a:cubicBezTo>
                    <a:cubicBezTo>
                      <a:pt x="11" y="6"/>
                      <a:pt x="11" y="6"/>
                      <a:pt x="11" y="6"/>
                    </a:cubicBezTo>
                    <a:cubicBezTo>
                      <a:pt x="11" y="5"/>
                      <a:pt x="11" y="5"/>
                      <a:pt x="11" y="5"/>
                    </a:cubicBezTo>
                    <a:cubicBezTo>
                      <a:pt x="11" y="4"/>
                      <a:pt x="11" y="4"/>
                      <a:pt x="11" y="3"/>
                    </a:cubicBezTo>
                    <a:cubicBezTo>
                      <a:pt x="11" y="2"/>
                      <a:pt x="11" y="2"/>
                      <a:pt x="11" y="1"/>
                    </a:cubicBezTo>
                    <a:cubicBezTo>
                      <a:pt x="11" y="1"/>
                      <a:pt x="11" y="1"/>
                      <a:pt x="11" y="1"/>
                    </a:cubicBezTo>
                    <a:cubicBezTo>
                      <a:pt x="11" y="1"/>
                      <a:pt x="11" y="1"/>
                      <a:pt x="11" y="1"/>
                    </a:cubicBezTo>
                    <a:cubicBezTo>
                      <a:pt x="10" y="1"/>
                      <a:pt x="10" y="0"/>
                      <a:pt x="10" y="0"/>
                    </a:cubicBezTo>
                    <a:cubicBezTo>
                      <a:pt x="10" y="0"/>
                      <a:pt x="10" y="2"/>
                      <a:pt x="10" y="2"/>
                    </a:cubicBezTo>
                    <a:cubicBezTo>
                      <a:pt x="10" y="3"/>
                      <a:pt x="8" y="3"/>
                      <a:pt x="8" y="3"/>
                    </a:cubicBezTo>
                    <a:cubicBezTo>
                      <a:pt x="8" y="2"/>
                      <a:pt x="6" y="3"/>
                      <a:pt x="6" y="3"/>
                    </a:cubicBezTo>
                    <a:cubicBezTo>
                      <a:pt x="6" y="3"/>
                      <a:pt x="6" y="5"/>
                      <a:pt x="6" y="5"/>
                    </a:cubicBezTo>
                    <a:cubicBezTo>
                      <a:pt x="5" y="6"/>
                      <a:pt x="5" y="5"/>
                      <a:pt x="5" y="6"/>
                    </a:cubicBezTo>
                    <a:cubicBezTo>
                      <a:pt x="4" y="8"/>
                      <a:pt x="4" y="10"/>
                      <a:pt x="4" y="11"/>
                    </a:cubicBezTo>
                    <a:cubicBezTo>
                      <a:pt x="4" y="12"/>
                      <a:pt x="4" y="13"/>
                      <a:pt x="3" y="14"/>
                    </a:cubicBezTo>
                    <a:cubicBezTo>
                      <a:pt x="3" y="16"/>
                      <a:pt x="3" y="17"/>
                      <a:pt x="2" y="18"/>
                    </a:cubicBezTo>
                    <a:cubicBezTo>
                      <a:pt x="2" y="18"/>
                      <a:pt x="2" y="19"/>
                      <a:pt x="2" y="19"/>
                    </a:cubicBezTo>
                    <a:cubicBezTo>
                      <a:pt x="2" y="19"/>
                      <a:pt x="2" y="19"/>
                      <a:pt x="2" y="19"/>
                    </a:cubicBezTo>
                    <a:cubicBezTo>
                      <a:pt x="2" y="20"/>
                      <a:pt x="1" y="21"/>
                      <a:pt x="1" y="21"/>
                    </a:cubicBezTo>
                    <a:cubicBezTo>
                      <a:pt x="1" y="21"/>
                      <a:pt x="1" y="22"/>
                      <a:pt x="1" y="22"/>
                    </a:cubicBezTo>
                    <a:cubicBezTo>
                      <a:pt x="0" y="23"/>
                      <a:pt x="0" y="23"/>
                      <a:pt x="0" y="23"/>
                    </a:cubicBezTo>
                    <a:cubicBezTo>
                      <a:pt x="0" y="24"/>
                      <a:pt x="0" y="25"/>
                      <a:pt x="1" y="26"/>
                    </a:cubicBezTo>
                    <a:cubicBezTo>
                      <a:pt x="1" y="26"/>
                      <a:pt x="2" y="27"/>
                      <a:pt x="2" y="28"/>
                    </a:cubicBezTo>
                    <a:cubicBezTo>
                      <a:pt x="2" y="29"/>
                      <a:pt x="2" y="30"/>
                      <a:pt x="3" y="31"/>
                    </a:cubicBezTo>
                    <a:cubicBezTo>
                      <a:pt x="3" y="32"/>
                      <a:pt x="4" y="33"/>
                      <a:pt x="4" y="33"/>
                    </a:cubicBezTo>
                    <a:cubicBezTo>
                      <a:pt x="4" y="34"/>
                      <a:pt x="5" y="35"/>
                      <a:pt x="5" y="36"/>
                    </a:cubicBezTo>
                    <a:cubicBezTo>
                      <a:pt x="5" y="37"/>
                      <a:pt x="6" y="38"/>
                      <a:pt x="6" y="39"/>
                    </a:cubicBezTo>
                    <a:cubicBezTo>
                      <a:pt x="6" y="40"/>
                      <a:pt x="6" y="41"/>
                      <a:pt x="7" y="42"/>
                    </a:cubicBezTo>
                    <a:cubicBezTo>
                      <a:pt x="7" y="42"/>
                      <a:pt x="7" y="41"/>
                      <a:pt x="8" y="42"/>
                    </a:cubicBezTo>
                    <a:cubicBezTo>
                      <a:pt x="7" y="41"/>
                      <a:pt x="8" y="40"/>
                      <a:pt x="8" y="39"/>
                    </a:cubicBezTo>
                    <a:cubicBezTo>
                      <a:pt x="8" y="39"/>
                      <a:pt x="8" y="38"/>
                      <a:pt x="8" y="37"/>
                    </a:cubicBezTo>
                    <a:cubicBezTo>
                      <a:pt x="8" y="36"/>
                      <a:pt x="9" y="35"/>
                      <a:pt x="9" y="35"/>
                    </a:cubicBezTo>
                    <a:cubicBezTo>
                      <a:pt x="9" y="34"/>
                      <a:pt x="9" y="33"/>
                      <a:pt x="9" y="32"/>
                    </a:cubicBezTo>
                    <a:cubicBezTo>
                      <a:pt x="9" y="32"/>
                      <a:pt x="9" y="32"/>
                      <a:pt x="9" y="31"/>
                    </a:cubicBezTo>
                    <a:cubicBezTo>
                      <a:pt x="9" y="31"/>
                      <a:pt x="9" y="30"/>
                      <a:pt x="9" y="30"/>
                    </a:cubicBezTo>
                    <a:cubicBezTo>
                      <a:pt x="9" y="29"/>
                      <a:pt x="10" y="28"/>
                      <a:pt x="10" y="27"/>
                    </a:cubicBezTo>
                    <a:cubicBezTo>
                      <a:pt x="10" y="27"/>
                      <a:pt x="10" y="27"/>
                      <a:pt x="10" y="26"/>
                    </a:cubicBezTo>
                    <a:cubicBezTo>
                      <a:pt x="11" y="26"/>
                      <a:pt x="10" y="26"/>
                      <a:pt x="10" y="25"/>
                    </a:cubicBezTo>
                    <a:cubicBezTo>
                      <a:pt x="11" y="25"/>
                      <a:pt x="11" y="24"/>
                      <a:pt x="11" y="24"/>
                    </a:cubicBezTo>
                    <a:cubicBezTo>
                      <a:pt x="10" y="23"/>
                      <a:pt x="10" y="23"/>
                      <a:pt x="10" y="22"/>
                    </a:cubicBezTo>
                    <a:cubicBezTo>
                      <a:pt x="11" y="21"/>
                      <a:pt x="11" y="20"/>
                      <a:pt x="11" y="20"/>
                    </a:cubicBezTo>
                    <a:cubicBezTo>
                      <a:pt x="10" y="20"/>
                      <a:pt x="9" y="21"/>
                      <a:pt x="9" y="21"/>
                    </a:cubicBezTo>
                    <a:cubicBezTo>
                      <a:pt x="9" y="21"/>
                      <a:pt x="8" y="22"/>
                      <a:pt x="7" y="22"/>
                    </a:cubicBezTo>
                    <a:cubicBezTo>
                      <a:pt x="7" y="22"/>
                      <a:pt x="6" y="22"/>
                      <a:pt x="5" y="21"/>
                    </a:cubicBezTo>
                    <a:cubicBezTo>
                      <a:pt x="5" y="21"/>
                      <a:pt x="6" y="20"/>
                      <a:pt x="6" y="19"/>
                    </a:cubicBezTo>
                    <a:cubicBezTo>
                      <a:pt x="6" y="19"/>
                      <a:pt x="7" y="17"/>
                      <a:pt x="8" y="17"/>
                    </a:cubicBezTo>
                    <a:cubicBezTo>
                      <a:pt x="8" y="17"/>
                      <a:pt x="7" y="16"/>
                      <a:pt x="7" y="16"/>
                    </a:cubicBezTo>
                    <a:cubicBezTo>
                      <a:pt x="6" y="16"/>
                      <a:pt x="6" y="17"/>
                      <a:pt x="6" y="16"/>
                    </a:cubicBezTo>
                    <a:cubicBezTo>
                      <a:pt x="5" y="16"/>
                      <a:pt x="6" y="16"/>
                      <a:pt x="6" y="16"/>
                    </a:cubicBezTo>
                    <a:cubicBezTo>
                      <a:pt x="6" y="16"/>
                      <a:pt x="6" y="16"/>
                      <a:pt x="6" y="15"/>
                    </a:cubicBezTo>
                    <a:cubicBezTo>
                      <a:pt x="6" y="15"/>
                      <a:pt x="6" y="14"/>
                      <a:pt x="6" y="14"/>
                    </a:cubicBezTo>
                    <a:cubicBezTo>
                      <a:pt x="6" y="13"/>
                      <a:pt x="5" y="13"/>
                      <a:pt x="6" y="12"/>
                    </a:cubicBezTo>
                    <a:cubicBezTo>
                      <a:pt x="6" y="12"/>
                      <a:pt x="6" y="12"/>
                      <a:pt x="6" y="11"/>
                    </a:cubicBezTo>
                    <a:cubicBezTo>
                      <a:pt x="6" y="11"/>
                      <a:pt x="6" y="10"/>
                      <a:pt x="6" y="10"/>
                    </a:cubicBezTo>
                    <a:cubicBezTo>
                      <a:pt x="6" y="10"/>
                      <a:pt x="7" y="9"/>
                      <a:pt x="7" y="9"/>
                    </a:cubicBezTo>
                    <a:cubicBezTo>
                      <a:pt x="8" y="9"/>
                      <a:pt x="9" y="9"/>
                      <a:pt x="9" y="9"/>
                    </a:cubicBezTo>
                    <a:cubicBezTo>
                      <a:pt x="9" y="10"/>
                      <a:pt x="10" y="10"/>
                      <a:pt x="11" y="10"/>
                    </a:cubicBezTo>
                    <a:cubicBezTo>
                      <a:pt x="11" y="10"/>
                      <a:pt x="11" y="10"/>
                      <a:pt x="11" y="9"/>
                    </a:cubicBezTo>
                    <a:cubicBezTo>
                      <a:pt x="11" y="9"/>
                      <a:pt x="11" y="9"/>
                      <a:pt x="11" y="8"/>
                    </a:cubicBezTo>
                    <a:cubicBezTo>
                      <a:pt x="11" y="8"/>
                      <a:pt x="10" y="8"/>
                      <a:pt x="11" y="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7" name="Ireland">
                <a:extLst>
                  <a:ext uri="{FF2B5EF4-FFF2-40B4-BE49-F238E27FC236}">
                    <a16:creationId xmlns:a16="http://schemas.microsoft.com/office/drawing/2014/main" id="{0DFB0996-538A-3AA3-9A18-E722323826FA}"/>
                  </a:ext>
                </a:extLst>
              </p:cNvPr>
              <p:cNvSpPr>
                <a:spLocks noEditPoints="1"/>
              </p:cNvSpPr>
              <p:nvPr/>
            </p:nvSpPr>
            <p:spPr bwMode="auto">
              <a:xfrm>
                <a:off x="5438900" y="1902691"/>
                <a:ext cx="134283" cy="148985"/>
              </a:xfrm>
              <a:custGeom>
                <a:avLst/>
                <a:gdLst/>
                <a:ahLst/>
                <a:cxnLst>
                  <a:cxn ang="0">
                    <a:pos x="37" y="24"/>
                  </a:cxn>
                  <a:cxn ang="0">
                    <a:pos x="34" y="32"/>
                  </a:cxn>
                  <a:cxn ang="0">
                    <a:pos x="32" y="34"/>
                  </a:cxn>
                  <a:cxn ang="0">
                    <a:pos x="29" y="34"/>
                  </a:cxn>
                  <a:cxn ang="0">
                    <a:pos x="27" y="34"/>
                  </a:cxn>
                  <a:cxn ang="0">
                    <a:pos x="21" y="37"/>
                  </a:cxn>
                  <a:cxn ang="0">
                    <a:pos x="18" y="37"/>
                  </a:cxn>
                  <a:cxn ang="0">
                    <a:pos x="15" y="39"/>
                  </a:cxn>
                  <a:cxn ang="0">
                    <a:pos x="12" y="40"/>
                  </a:cxn>
                  <a:cxn ang="0">
                    <a:pos x="8" y="41"/>
                  </a:cxn>
                  <a:cxn ang="0">
                    <a:pos x="4" y="41"/>
                  </a:cxn>
                  <a:cxn ang="0">
                    <a:pos x="6" y="39"/>
                  </a:cxn>
                  <a:cxn ang="0">
                    <a:pos x="5" y="38"/>
                  </a:cxn>
                  <a:cxn ang="0">
                    <a:pos x="1" y="38"/>
                  </a:cxn>
                  <a:cxn ang="0">
                    <a:pos x="1" y="37"/>
                  </a:cxn>
                  <a:cxn ang="0">
                    <a:pos x="4" y="34"/>
                  </a:cxn>
                  <a:cxn ang="0">
                    <a:pos x="1" y="35"/>
                  </a:cxn>
                  <a:cxn ang="0">
                    <a:pos x="1" y="33"/>
                  </a:cxn>
                  <a:cxn ang="0">
                    <a:pos x="4" y="33"/>
                  </a:cxn>
                  <a:cxn ang="0">
                    <a:pos x="5" y="32"/>
                  </a:cxn>
                  <a:cxn ang="0">
                    <a:pos x="10" y="30"/>
                  </a:cxn>
                  <a:cxn ang="0">
                    <a:pos x="12" y="29"/>
                  </a:cxn>
                  <a:cxn ang="0">
                    <a:pos x="7" y="29"/>
                  </a:cxn>
                  <a:cxn ang="0">
                    <a:pos x="8" y="28"/>
                  </a:cxn>
                  <a:cxn ang="0">
                    <a:pos x="12" y="24"/>
                  </a:cxn>
                  <a:cxn ang="0">
                    <a:pos x="14" y="23"/>
                  </a:cxn>
                  <a:cxn ang="0">
                    <a:pos x="9" y="23"/>
                  </a:cxn>
                  <a:cxn ang="0">
                    <a:pos x="8" y="21"/>
                  </a:cxn>
                  <a:cxn ang="0">
                    <a:pos x="6" y="21"/>
                  </a:cxn>
                  <a:cxn ang="0">
                    <a:pos x="5" y="20"/>
                  </a:cxn>
                  <a:cxn ang="0">
                    <a:pos x="8" y="19"/>
                  </a:cxn>
                  <a:cxn ang="0">
                    <a:pos x="8" y="16"/>
                  </a:cxn>
                  <a:cxn ang="0">
                    <a:pos x="6" y="14"/>
                  </a:cxn>
                  <a:cxn ang="0">
                    <a:pos x="6" y="14"/>
                  </a:cxn>
                  <a:cxn ang="0">
                    <a:pos x="7" y="12"/>
                  </a:cxn>
                  <a:cxn ang="0">
                    <a:pos x="10" y="12"/>
                  </a:cxn>
                  <a:cxn ang="0">
                    <a:pos x="15" y="12"/>
                  </a:cxn>
                  <a:cxn ang="0">
                    <a:pos x="18" y="11"/>
                  </a:cxn>
                  <a:cxn ang="0">
                    <a:pos x="22" y="8"/>
                  </a:cxn>
                  <a:cxn ang="0">
                    <a:pos x="19" y="8"/>
                  </a:cxn>
                  <a:cxn ang="0">
                    <a:pos x="19" y="7"/>
                  </a:cxn>
                  <a:cxn ang="0">
                    <a:pos x="21" y="6"/>
                  </a:cxn>
                  <a:cxn ang="0">
                    <a:pos x="22" y="3"/>
                  </a:cxn>
                  <a:cxn ang="0">
                    <a:pos x="25" y="2"/>
                  </a:cxn>
                  <a:cxn ang="0">
                    <a:pos x="26" y="2"/>
                  </a:cxn>
                  <a:cxn ang="0">
                    <a:pos x="26" y="5"/>
                  </a:cxn>
                  <a:cxn ang="0">
                    <a:pos x="30" y="1"/>
                  </a:cxn>
                  <a:cxn ang="0">
                    <a:pos x="28" y="4"/>
                  </a:cxn>
                  <a:cxn ang="0">
                    <a:pos x="25" y="8"/>
                  </a:cxn>
                  <a:cxn ang="0">
                    <a:pos x="24" y="13"/>
                  </a:cxn>
                  <a:cxn ang="0">
                    <a:pos x="28" y="13"/>
                  </a:cxn>
                  <a:cxn ang="0">
                    <a:pos x="30" y="11"/>
                  </a:cxn>
                  <a:cxn ang="0">
                    <a:pos x="33" y="14"/>
                  </a:cxn>
                  <a:cxn ang="0">
                    <a:pos x="37" y="15"/>
                  </a:cxn>
                  <a:cxn ang="0">
                    <a:pos x="37" y="20"/>
                  </a:cxn>
                  <a:cxn ang="0">
                    <a:pos x="6" y="15"/>
                  </a:cxn>
                </a:cxnLst>
                <a:rect l="0" t="0" r="r" b="b"/>
                <a:pathLst>
                  <a:path w="38" h="42">
                    <a:moveTo>
                      <a:pt x="37" y="20"/>
                    </a:moveTo>
                    <a:cubicBezTo>
                      <a:pt x="37" y="20"/>
                      <a:pt x="37" y="21"/>
                      <a:pt x="38" y="21"/>
                    </a:cubicBezTo>
                    <a:cubicBezTo>
                      <a:pt x="37" y="22"/>
                      <a:pt x="37" y="21"/>
                      <a:pt x="36" y="22"/>
                    </a:cubicBezTo>
                    <a:cubicBezTo>
                      <a:pt x="36" y="22"/>
                      <a:pt x="37" y="22"/>
                      <a:pt x="37" y="22"/>
                    </a:cubicBezTo>
                    <a:cubicBezTo>
                      <a:pt x="37" y="23"/>
                      <a:pt x="37" y="23"/>
                      <a:pt x="37" y="24"/>
                    </a:cubicBezTo>
                    <a:cubicBezTo>
                      <a:pt x="38" y="24"/>
                      <a:pt x="37" y="25"/>
                      <a:pt x="37" y="26"/>
                    </a:cubicBezTo>
                    <a:cubicBezTo>
                      <a:pt x="38" y="26"/>
                      <a:pt x="37" y="27"/>
                      <a:pt x="36" y="27"/>
                    </a:cubicBezTo>
                    <a:cubicBezTo>
                      <a:pt x="36" y="27"/>
                      <a:pt x="36" y="29"/>
                      <a:pt x="35" y="29"/>
                    </a:cubicBezTo>
                    <a:cubicBezTo>
                      <a:pt x="35" y="30"/>
                      <a:pt x="36" y="30"/>
                      <a:pt x="35" y="31"/>
                    </a:cubicBezTo>
                    <a:cubicBezTo>
                      <a:pt x="34" y="31"/>
                      <a:pt x="34" y="31"/>
                      <a:pt x="34" y="32"/>
                    </a:cubicBezTo>
                    <a:cubicBezTo>
                      <a:pt x="34" y="32"/>
                      <a:pt x="33" y="32"/>
                      <a:pt x="33" y="32"/>
                    </a:cubicBezTo>
                    <a:cubicBezTo>
                      <a:pt x="33" y="32"/>
                      <a:pt x="34" y="33"/>
                      <a:pt x="34" y="32"/>
                    </a:cubicBezTo>
                    <a:cubicBezTo>
                      <a:pt x="34" y="33"/>
                      <a:pt x="34" y="33"/>
                      <a:pt x="34" y="33"/>
                    </a:cubicBezTo>
                    <a:cubicBezTo>
                      <a:pt x="34" y="34"/>
                      <a:pt x="33" y="34"/>
                      <a:pt x="34" y="34"/>
                    </a:cubicBezTo>
                    <a:cubicBezTo>
                      <a:pt x="33" y="34"/>
                      <a:pt x="32" y="34"/>
                      <a:pt x="32" y="34"/>
                    </a:cubicBezTo>
                    <a:cubicBezTo>
                      <a:pt x="32" y="34"/>
                      <a:pt x="31" y="34"/>
                      <a:pt x="30" y="34"/>
                    </a:cubicBezTo>
                    <a:cubicBezTo>
                      <a:pt x="30" y="33"/>
                      <a:pt x="30" y="33"/>
                      <a:pt x="31" y="33"/>
                    </a:cubicBezTo>
                    <a:cubicBezTo>
                      <a:pt x="30" y="33"/>
                      <a:pt x="30" y="33"/>
                      <a:pt x="30" y="33"/>
                    </a:cubicBezTo>
                    <a:cubicBezTo>
                      <a:pt x="30" y="33"/>
                      <a:pt x="30" y="34"/>
                      <a:pt x="30" y="34"/>
                    </a:cubicBezTo>
                    <a:cubicBezTo>
                      <a:pt x="30" y="34"/>
                      <a:pt x="29" y="34"/>
                      <a:pt x="29" y="34"/>
                    </a:cubicBezTo>
                    <a:cubicBezTo>
                      <a:pt x="29" y="34"/>
                      <a:pt x="29" y="33"/>
                      <a:pt x="29" y="33"/>
                    </a:cubicBezTo>
                    <a:cubicBezTo>
                      <a:pt x="29" y="33"/>
                      <a:pt x="29" y="34"/>
                      <a:pt x="29" y="34"/>
                    </a:cubicBezTo>
                    <a:cubicBezTo>
                      <a:pt x="28" y="34"/>
                      <a:pt x="28" y="34"/>
                      <a:pt x="28" y="34"/>
                    </a:cubicBezTo>
                    <a:cubicBezTo>
                      <a:pt x="28" y="34"/>
                      <a:pt x="28" y="34"/>
                      <a:pt x="28" y="34"/>
                    </a:cubicBezTo>
                    <a:cubicBezTo>
                      <a:pt x="28" y="34"/>
                      <a:pt x="27" y="34"/>
                      <a:pt x="27" y="34"/>
                    </a:cubicBezTo>
                    <a:cubicBezTo>
                      <a:pt x="27" y="34"/>
                      <a:pt x="26" y="34"/>
                      <a:pt x="26" y="34"/>
                    </a:cubicBezTo>
                    <a:cubicBezTo>
                      <a:pt x="25" y="34"/>
                      <a:pt x="23" y="35"/>
                      <a:pt x="23" y="35"/>
                    </a:cubicBezTo>
                    <a:cubicBezTo>
                      <a:pt x="24" y="35"/>
                      <a:pt x="23" y="36"/>
                      <a:pt x="23" y="36"/>
                    </a:cubicBezTo>
                    <a:cubicBezTo>
                      <a:pt x="23" y="36"/>
                      <a:pt x="22" y="37"/>
                      <a:pt x="21" y="36"/>
                    </a:cubicBezTo>
                    <a:cubicBezTo>
                      <a:pt x="21" y="36"/>
                      <a:pt x="21" y="37"/>
                      <a:pt x="21" y="37"/>
                    </a:cubicBezTo>
                    <a:cubicBezTo>
                      <a:pt x="21" y="37"/>
                      <a:pt x="20" y="37"/>
                      <a:pt x="20" y="37"/>
                    </a:cubicBezTo>
                    <a:cubicBezTo>
                      <a:pt x="20" y="37"/>
                      <a:pt x="19" y="38"/>
                      <a:pt x="19" y="38"/>
                    </a:cubicBezTo>
                    <a:cubicBezTo>
                      <a:pt x="19" y="38"/>
                      <a:pt x="18" y="38"/>
                      <a:pt x="18" y="38"/>
                    </a:cubicBezTo>
                    <a:cubicBezTo>
                      <a:pt x="18" y="37"/>
                      <a:pt x="18" y="37"/>
                      <a:pt x="18" y="37"/>
                    </a:cubicBezTo>
                    <a:cubicBezTo>
                      <a:pt x="18" y="37"/>
                      <a:pt x="18" y="37"/>
                      <a:pt x="18" y="37"/>
                    </a:cubicBezTo>
                    <a:cubicBezTo>
                      <a:pt x="18" y="37"/>
                      <a:pt x="17" y="37"/>
                      <a:pt x="16" y="37"/>
                    </a:cubicBezTo>
                    <a:cubicBezTo>
                      <a:pt x="17" y="37"/>
                      <a:pt x="17" y="37"/>
                      <a:pt x="17" y="37"/>
                    </a:cubicBezTo>
                    <a:cubicBezTo>
                      <a:pt x="17" y="37"/>
                      <a:pt x="17" y="38"/>
                      <a:pt x="17" y="38"/>
                    </a:cubicBezTo>
                    <a:cubicBezTo>
                      <a:pt x="17" y="38"/>
                      <a:pt x="16" y="39"/>
                      <a:pt x="16" y="39"/>
                    </a:cubicBezTo>
                    <a:cubicBezTo>
                      <a:pt x="16" y="39"/>
                      <a:pt x="15" y="39"/>
                      <a:pt x="15" y="39"/>
                    </a:cubicBezTo>
                    <a:cubicBezTo>
                      <a:pt x="15" y="39"/>
                      <a:pt x="15" y="39"/>
                      <a:pt x="15" y="39"/>
                    </a:cubicBezTo>
                    <a:cubicBezTo>
                      <a:pt x="15" y="39"/>
                      <a:pt x="15" y="39"/>
                      <a:pt x="15" y="40"/>
                    </a:cubicBezTo>
                    <a:cubicBezTo>
                      <a:pt x="15" y="39"/>
                      <a:pt x="14" y="40"/>
                      <a:pt x="13" y="40"/>
                    </a:cubicBezTo>
                    <a:cubicBezTo>
                      <a:pt x="14" y="40"/>
                      <a:pt x="14" y="40"/>
                      <a:pt x="14" y="40"/>
                    </a:cubicBezTo>
                    <a:cubicBezTo>
                      <a:pt x="14" y="40"/>
                      <a:pt x="13" y="40"/>
                      <a:pt x="12" y="40"/>
                    </a:cubicBezTo>
                    <a:cubicBezTo>
                      <a:pt x="12" y="40"/>
                      <a:pt x="12" y="41"/>
                      <a:pt x="12" y="40"/>
                    </a:cubicBezTo>
                    <a:cubicBezTo>
                      <a:pt x="12" y="40"/>
                      <a:pt x="10" y="40"/>
                      <a:pt x="10" y="40"/>
                    </a:cubicBezTo>
                    <a:cubicBezTo>
                      <a:pt x="10" y="41"/>
                      <a:pt x="8" y="41"/>
                      <a:pt x="8" y="41"/>
                    </a:cubicBezTo>
                    <a:cubicBezTo>
                      <a:pt x="8" y="41"/>
                      <a:pt x="8" y="41"/>
                      <a:pt x="8" y="41"/>
                    </a:cubicBezTo>
                    <a:cubicBezTo>
                      <a:pt x="8" y="41"/>
                      <a:pt x="8" y="41"/>
                      <a:pt x="8" y="41"/>
                    </a:cubicBezTo>
                    <a:cubicBezTo>
                      <a:pt x="8" y="41"/>
                      <a:pt x="8" y="41"/>
                      <a:pt x="8" y="41"/>
                    </a:cubicBezTo>
                    <a:cubicBezTo>
                      <a:pt x="8" y="40"/>
                      <a:pt x="7" y="41"/>
                      <a:pt x="7" y="41"/>
                    </a:cubicBezTo>
                    <a:cubicBezTo>
                      <a:pt x="7" y="41"/>
                      <a:pt x="6" y="41"/>
                      <a:pt x="6" y="41"/>
                    </a:cubicBezTo>
                    <a:cubicBezTo>
                      <a:pt x="6" y="41"/>
                      <a:pt x="6" y="41"/>
                      <a:pt x="5" y="41"/>
                    </a:cubicBezTo>
                    <a:cubicBezTo>
                      <a:pt x="5" y="41"/>
                      <a:pt x="4" y="42"/>
                      <a:pt x="4" y="41"/>
                    </a:cubicBezTo>
                    <a:cubicBezTo>
                      <a:pt x="4" y="41"/>
                      <a:pt x="6" y="40"/>
                      <a:pt x="7" y="40"/>
                    </a:cubicBezTo>
                    <a:cubicBezTo>
                      <a:pt x="6" y="40"/>
                      <a:pt x="5" y="41"/>
                      <a:pt x="4" y="41"/>
                    </a:cubicBezTo>
                    <a:cubicBezTo>
                      <a:pt x="5" y="40"/>
                      <a:pt x="8" y="39"/>
                      <a:pt x="8" y="39"/>
                    </a:cubicBezTo>
                    <a:cubicBezTo>
                      <a:pt x="8" y="39"/>
                      <a:pt x="7" y="38"/>
                      <a:pt x="7" y="38"/>
                    </a:cubicBezTo>
                    <a:cubicBezTo>
                      <a:pt x="7" y="38"/>
                      <a:pt x="6" y="39"/>
                      <a:pt x="6" y="39"/>
                    </a:cubicBezTo>
                    <a:cubicBezTo>
                      <a:pt x="5" y="39"/>
                      <a:pt x="3" y="40"/>
                      <a:pt x="2" y="40"/>
                    </a:cubicBezTo>
                    <a:cubicBezTo>
                      <a:pt x="2" y="40"/>
                      <a:pt x="3" y="40"/>
                      <a:pt x="2" y="39"/>
                    </a:cubicBezTo>
                    <a:cubicBezTo>
                      <a:pt x="3" y="39"/>
                      <a:pt x="3" y="39"/>
                      <a:pt x="3" y="39"/>
                    </a:cubicBezTo>
                    <a:cubicBezTo>
                      <a:pt x="3" y="39"/>
                      <a:pt x="4" y="38"/>
                      <a:pt x="4" y="38"/>
                    </a:cubicBezTo>
                    <a:cubicBezTo>
                      <a:pt x="4" y="38"/>
                      <a:pt x="5" y="38"/>
                      <a:pt x="5" y="38"/>
                    </a:cubicBezTo>
                    <a:cubicBezTo>
                      <a:pt x="5" y="38"/>
                      <a:pt x="5" y="38"/>
                      <a:pt x="5" y="38"/>
                    </a:cubicBezTo>
                    <a:cubicBezTo>
                      <a:pt x="6" y="37"/>
                      <a:pt x="6" y="37"/>
                      <a:pt x="7" y="37"/>
                    </a:cubicBezTo>
                    <a:cubicBezTo>
                      <a:pt x="6" y="37"/>
                      <a:pt x="5" y="38"/>
                      <a:pt x="4" y="38"/>
                    </a:cubicBezTo>
                    <a:cubicBezTo>
                      <a:pt x="3" y="38"/>
                      <a:pt x="3" y="38"/>
                      <a:pt x="2" y="38"/>
                    </a:cubicBezTo>
                    <a:cubicBezTo>
                      <a:pt x="2" y="38"/>
                      <a:pt x="2" y="38"/>
                      <a:pt x="1" y="38"/>
                    </a:cubicBezTo>
                    <a:cubicBezTo>
                      <a:pt x="2" y="38"/>
                      <a:pt x="2" y="37"/>
                      <a:pt x="1" y="37"/>
                    </a:cubicBezTo>
                    <a:cubicBezTo>
                      <a:pt x="1" y="37"/>
                      <a:pt x="1" y="38"/>
                      <a:pt x="0" y="38"/>
                    </a:cubicBezTo>
                    <a:cubicBezTo>
                      <a:pt x="0" y="38"/>
                      <a:pt x="0" y="38"/>
                      <a:pt x="0" y="37"/>
                    </a:cubicBezTo>
                    <a:cubicBezTo>
                      <a:pt x="0" y="37"/>
                      <a:pt x="0" y="37"/>
                      <a:pt x="0" y="37"/>
                    </a:cubicBezTo>
                    <a:cubicBezTo>
                      <a:pt x="0" y="37"/>
                      <a:pt x="1" y="37"/>
                      <a:pt x="1" y="37"/>
                    </a:cubicBezTo>
                    <a:cubicBezTo>
                      <a:pt x="1" y="36"/>
                      <a:pt x="2" y="36"/>
                      <a:pt x="2" y="35"/>
                    </a:cubicBezTo>
                    <a:cubicBezTo>
                      <a:pt x="3" y="35"/>
                      <a:pt x="4" y="35"/>
                      <a:pt x="4" y="35"/>
                    </a:cubicBezTo>
                    <a:cubicBezTo>
                      <a:pt x="4" y="35"/>
                      <a:pt x="4" y="35"/>
                      <a:pt x="4" y="34"/>
                    </a:cubicBezTo>
                    <a:cubicBezTo>
                      <a:pt x="5" y="35"/>
                      <a:pt x="5" y="34"/>
                      <a:pt x="6" y="34"/>
                    </a:cubicBezTo>
                    <a:cubicBezTo>
                      <a:pt x="5" y="34"/>
                      <a:pt x="5" y="34"/>
                      <a:pt x="4" y="34"/>
                    </a:cubicBezTo>
                    <a:cubicBezTo>
                      <a:pt x="4" y="34"/>
                      <a:pt x="4" y="34"/>
                      <a:pt x="4" y="34"/>
                    </a:cubicBezTo>
                    <a:cubicBezTo>
                      <a:pt x="4" y="34"/>
                      <a:pt x="4" y="34"/>
                      <a:pt x="4" y="34"/>
                    </a:cubicBezTo>
                    <a:cubicBezTo>
                      <a:pt x="4" y="34"/>
                      <a:pt x="3" y="34"/>
                      <a:pt x="3" y="34"/>
                    </a:cubicBezTo>
                    <a:cubicBezTo>
                      <a:pt x="2" y="35"/>
                      <a:pt x="2" y="34"/>
                      <a:pt x="2" y="34"/>
                    </a:cubicBezTo>
                    <a:cubicBezTo>
                      <a:pt x="2" y="34"/>
                      <a:pt x="1" y="34"/>
                      <a:pt x="1" y="35"/>
                    </a:cubicBezTo>
                    <a:cubicBezTo>
                      <a:pt x="1" y="35"/>
                      <a:pt x="1" y="34"/>
                      <a:pt x="1" y="35"/>
                    </a:cubicBezTo>
                    <a:cubicBezTo>
                      <a:pt x="0" y="35"/>
                      <a:pt x="0" y="35"/>
                      <a:pt x="0" y="35"/>
                    </a:cubicBezTo>
                    <a:cubicBezTo>
                      <a:pt x="0" y="34"/>
                      <a:pt x="0" y="34"/>
                      <a:pt x="0" y="34"/>
                    </a:cubicBezTo>
                    <a:cubicBezTo>
                      <a:pt x="0" y="34"/>
                      <a:pt x="0" y="34"/>
                      <a:pt x="0" y="34"/>
                    </a:cubicBezTo>
                    <a:cubicBezTo>
                      <a:pt x="0" y="34"/>
                      <a:pt x="1" y="33"/>
                      <a:pt x="1" y="33"/>
                    </a:cubicBezTo>
                    <a:cubicBezTo>
                      <a:pt x="2" y="33"/>
                      <a:pt x="2" y="33"/>
                      <a:pt x="2" y="33"/>
                    </a:cubicBezTo>
                    <a:cubicBezTo>
                      <a:pt x="3" y="33"/>
                      <a:pt x="2" y="33"/>
                      <a:pt x="2" y="33"/>
                    </a:cubicBezTo>
                    <a:cubicBezTo>
                      <a:pt x="3" y="33"/>
                      <a:pt x="4" y="33"/>
                      <a:pt x="3" y="32"/>
                    </a:cubicBezTo>
                    <a:cubicBezTo>
                      <a:pt x="3" y="32"/>
                      <a:pt x="4" y="32"/>
                      <a:pt x="4" y="32"/>
                    </a:cubicBezTo>
                    <a:cubicBezTo>
                      <a:pt x="4" y="33"/>
                      <a:pt x="4" y="33"/>
                      <a:pt x="4" y="33"/>
                    </a:cubicBezTo>
                    <a:cubicBezTo>
                      <a:pt x="5" y="33"/>
                      <a:pt x="5" y="33"/>
                      <a:pt x="5" y="33"/>
                    </a:cubicBezTo>
                    <a:cubicBezTo>
                      <a:pt x="5" y="33"/>
                      <a:pt x="6" y="33"/>
                      <a:pt x="6" y="33"/>
                    </a:cubicBezTo>
                    <a:cubicBezTo>
                      <a:pt x="6" y="33"/>
                      <a:pt x="5" y="33"/>
                      <a:pt x="5" y="33"/>
                    </a:cubicBezTo>
                    <a:cubicBezTo>
                      <a:pt x="5" y="33"/>
                      <a:pt x="5" y="33"/>
                      <a:pt x="5" y="33"/>
                    </a:cubicBezTo>
                    <a:cubicBezTo>
                      <a:pt x="5" y="33"/>
                      <a:pt x="6" y="32"/>
                      <a:pt x="5" y="32"/>
                    </a:cubicBezTo>
                    <a:cubicBezTo>
                      <a:pt x="5" y="32"/>
                      <a:pt x="4" y="31"/>
                      <a:pt x="5" y="31"/>
                    </a:cubicBezTo>
                    <a:cubicBezTo>
                      <a:pt x="5" y="31"/>
                      <a:pt x="5" y="31"/>
                      <a:pt x="6" y="31"/>
                    </a:cubicBezTo>
                    <a:cubicBezTo>
                      <a:pt x="6" y="31"/>
                      <a:pt x="7" y="31"/>
                      <a:pt x="7" y="31"/>
                    </a:cubicBezTo>
                    <a:cubicBezTo>
                      <a:pt x="6" y="30"/>
                      <a:pt x="7" y="30"/>
                      <a:pt x="8" y="30"/>
                    </a:cubicBezTo>
                    <a:cubicBezTo>
                      <a:pt x="8" y="30"/>
                      <a:pt x="9" y="30"/>
                      <a:pt x="10" y="30"/>
                    </a:cubicBezTo>
                    <a:cubicBezTo>
                      <a:pt x="11" y="30"/>
                      <a:pt x="12" y="29"/>
                      <a:pt x="13" y="29"/>
                    </a:cubicBezTo>
                    <a:cubicBezTo>
                      <a:pt x="13" y="29"/>
                      <a:pt x="14" y="29"/>
                      <a:pt x="15" y="29"/>
                    </a:cubicBezTo>
                    <a:cubicBezTo>
                      <a:pt x="14" y="29"/>
                      <a:pt x="13" y="29"/>
                      <a:pt x="13" y="28"/>
                    </a:cubicBezTo>
                    <a:cubicBezTo>
                      <a:pt x="13" y="28"/>
                      <a:pt x="13" y="28"/>
                      <a:pt x="13" y="28"/>
                    </a:cubicBezTo>
                    <a:cubicBezTo>
                      <a:pt x="12" y="28"/>
                      <a:pt x="12" y="28"/>
                      <a:pt x="12" y="29"/>
                    </a:cubicBezTo>
                    <a:cubicBezTo>
                      <a:pt x="11" y="29"/>
                      <a:pt x="10" y="30"/>
                      <a:pt x="10" y="29"/>
                    </a:cubicBezTo>
                    <a:cubicBezTo>
                      <a:pt x="10" y="29"/>
                      <a:pt x="10" y="29"/>
                      <a:pt x="10" y="29"/>
                    </a:cubicBezTo>
                    <a:cubicBezTo>
                      <a:pt x="10" y="29"/>
                      <a:pt x="9" y="29"/>
                      <a:pt x="9" y="29"/>
                    </a:cubicBezTo>
                    <a:cubicBezTo>
                      <a:pt x="8" y="29"/>
                      <a:pt x="8" y="29"/>
                      <a:pt x="8" y="29"/>
                    </a:cubicBezTo>
                    <a:cubicBezTo>
                      <a:pt x="8" y="29"/>
                      <a:pt x="7" y="29"/>
                      <a:pt x="7" y="29"/>
                    </a:cubicBezTo>
                    <a:cubicBezTo>
                      <a:pt x="6" y="30"/>
                      <a:pt x="5" y="30"/>
                      <a:pt x="5" y="30"/>
                    </a:cubicBezTo>
                    <a:cubicBezTo>
                      <a:pt x="5" y="30"/>
                      <a:pt x="5" y="30"/>
                      <a:pt x="6" y="29"/>
                    </a:cubicBezTo>
                    <a:cubicBezTo>
                      <a:pt x="6" y="29"/>
                      <a:pt x="6" y="29"/>
                      <a:pt x="7" y="29"/>
                    </a:cubicBezTo>
                    <a:cubicBezTo>
                      <a:pt x="7" y="28"/>
                      <a:pt x="7" y="28"/>
                      <a:pt x="8" y="28"/>
                    </a:cubicBezTo>
                    <a:cubicBezTo>
                      <a:pt x="8" y="28"/>
                      <a:pt x="8" y="28"/>
                      <a:pt x="8" y="28"/>
                    </a:cubicBezTo>
                    <a:cubicBezTo>
                      <a:pt x="9" y="27"/>
                      <a:pt x="9" y="27"/>
                      <a:pt x="10" y="26"/>
                    </a:cubicBezTo>
                    <a:cubicBezTo>
                      <a:pt x="10" y="26"/>
                      <a:pt x="9" y="26"/>
                      <a:pt x="9" y="26"/>
                    </a:cubicBezTo>
                    <a:cubicBezTo>
                      <a:pt x="9" y="26"/>
                      <a:pt x="10" y="25"/>
                      <a:pt x="10" y="25"/>
                    </a:cubicBezTo>
                    <a:cubicBezTo>
                      <a:pt x="10" y="25"/>
                      <a:pt x="10" y="24"/>
                      <a:pt x="11" y="24"/>
                    </a:cubicBezTo>
                    <a:cubicBezTo>
                      <a:pt x="11" y="24"/>
                      <a:pt x="12" y="24"/>
                      <a:pt x="12" y="24"/>
                    </a:cubicBezTo>
                    <a:cubicBezTo>
                      <a:pt x="12" y="24"/>
                      <a:pt x="12" y="24"/>
                      <a:pt x="12" y="24"/>
                    </a:cubicBezTo>
                    <a:cubicBezTo>
                      <a:pt x="12" y="23"/>
                      <a:pt x="13" y="24"/>
                      <a:pt x="13" y="24"/>
                    </a:cubicBezTo>
                    <a:cubicBezTo>
                      <a:pt x="13" y="24"/>
                      <a:pt x="13" y="24"/>
                      <a:pt x="13" y="23"/>
                    </a:cubicBezTo>
                    <a:cubicBezTo>
                      <a:pt x="13" y="23"/>
                      <a:pt x="13" y="24"/>
                      <a:pt x="14" y="24"/>
                    </a:cubicBezTo>
                    <a:cubicBezTo>
                      <a:pt x="13" y="23"/>
                      <a:pt x="14" y="23"/>
                      <a:pt x="14" y="23"/>
                    </a:cubicBezTo>
                    <a:cubicBezTo>
                      <a:pt x="14" y="23"/>
                      <a:pt x="13" y="23"/>
                      <a:pt x="13" y="23"/>
                    </a:cubicBezTo>
                    <a:cubicBezTo>
                      <a:pt x="13" y="23"/>
                      <a:pt x="13" y="23"/>
                      <a:pt x="13" y="23"/>
                    </a:cubicBezTo>
                    <a:cubicBezTo>
                      <a:pt x="13" y="23"/>
                      <a:pt x="14" y="23"/>
                      <a:pt x="14" y="22"/>
                    </a:cubicBezTo>
                    <a:cubicBezTo>
                      <a:pt x="13" y="22"/>
                      <a:pt x="12" y="23"/>
                      <a:pt x="11" y="23"/>
                    </a:cubicBezTo>
                    <a:cubicBezTo>
                      <a:pt x="10" y="23"/>
                      <a:pt x="10" y="23"/>
                      <a:pt x="9" y="23"/>
                    </a:cubicBezTo>
                    <a:cubicBezTo>
                      <a:pt x="9" y="23"/>
                      <a:pt x="9" y="22"/>
                      <a:pt x="9" y="22"/>
                    </a:cubicBezTo>
                    <a:cubicBezTo>
                      <a:pt x="8" y="22"/>
                      <a:pt x="8" y="23"/>
                      <a:pt x="8" y="23"/>
                    </a:cubicBezTo>
                    <a:cubicBezTo>
                      <a:pt x="8" y="22"/>
                      <a:pt x="9" y="22"/>
                      <a:pt x="9" y="22"/>
                    </a:cubicBezTo>
                    <a:cubicBezTo>
                      <a:pt x="9" y="22"/>
                      <a:pt x="8" y="21"/>
                      <a:pt x="9" y="21"/>
                    </a:cubicBezTo>
                    <a:cubicBezTo>
                      <a:pt x="8" y="21"/>
                      <a:pt x="8" y="22"/>
                      <a:pt x="8" y="21"/>
                    </a:cubicBezTo>
                    <a:cubicBezTo>
                      <a:pt x="8" y="21"/>
                      <a:pt x="7" y="22"/>
                      <a:pt x="7" y="22"/>
                    </a:cubicBezTo>
                    <a:cubicBezTo>
                      <a:pt x="7" y="22"/>
                      <a:pt x="6" y="22"/>
                      <a:pt x="6" y="22"/>
                    </a:cubicBezTo>
                    <a:cubicBezTo>
                      <a:pt x="6" y="22"/>
                      <a:pt x="7" y="21"/>
                      <a:pt x="7" y="21"/>
                    </a:cubicBezTo>
                    <a:cubicBezTo>
                      <a:pt x="7" y="21"/>
                      <a:pt x="7" y="21"/>
                      <a:pt x="6" y="21"/>
                    </a:cubicBezTo>
                    <a:cubicBezTo>
                      <a:pt x="6" y="21"/>
                      <a:pt x="6" y="21"/>
                      <a:pt x="6" y="21"/>
                    </a:cubicBezTo>
                    <a:cubicBezTo>
                      <a:pt x="6" y="21"/>
                      <a:pt x="6" y="21"/>
                      <a:pt x="5" y="21"/>
                    </a:cubicBezTo>
                    <a:cubicBezTo>
                      <a:pt x="5" y="21"/>
                      <a:pt x="5" y="21"/>
                      <a:pt x="5" y="21"/>
                    </a:cubicBezTo>
                    <a:cubicBezTo>
                      <a:pt x="4" y="21"/>
                      <a:pt x="4" y="21"/>
                      <a:pt x="4" y="21"/>
                    </a:cubicBezTo>
                    <a:cubicBezTo>
                      <a:pt x="4" y="21"/>
                      <a:pt x="5" y="21"/>
                      <a:pt x="5" y="20"/>
                    </a:cubicBezTo>
                    <a:cubicBezTo>
                      <a:pt x="5" y="20"/>
                      <a:pt x="5" y="20"/>
                      <a:pt x="5" y="20"/>
                    </a:cubicBezTo>
                    <a:cubicBezTo>
                      <a:pt x="5" y="20"/>
                      <a:pt x="5" y="20"/>
                      <a:pt x="4" y="20"/>
                    </a:cubicBezTo>
                    <a:cubicBezTo>
                      <a:pt x="4" y="20"/>
                      <a:pt x="4" y="19"/>
                      <a:pt x="4" y="20"/>
                    </a:cubicBezTo>
                    <a:cubicBezTo>
                      <a:pt x="4" y="19"/>
                      <a:pt x="5" y="20"/>
                      <a:pt x="6" y="19"/>
                    </a:cubicBezTo>
                    <a:cubicBezTo>
                      <a:pt x="6" y="19"/>
                      <a:pt x="5" y="19"/>
                      <a:pt x="5" y="19"/>
                    </a:cubicBezTo>
                    <a:cubicBezTo>
                      <a:pt x="6" y="18"/>
                      <a:pt x="7" y="19"/>
                      <a:pt x="8" y="19"/>
                    </a:cubicBezTo>
                    <a:cubicBezTo>
                      <a:pt x="7" y="19"/>
                      <a:pt x="6" y="19"/>
                      <a:pt x="6" y="17"/>
                    </a:cubicBezTo>
                    <a:cubicBezTo>
                      <a:pt x="7" y="16"/>
                      <a:pt x="9" y="18"/>
                      <a:pt x="9" y="17"/>
                    </a:cubicBezTo>
                    <a:cubicBezTo>
                      <a:pt x="9" y="17"/>
                      <a:pt x="9" y="17"/>
                      <a:pt x="9" y="17"/>
                    </a:cubicBezTo>
                    <a:cubicBezTo>
                      <a:pt x="9" y="16"/>
                      <a:pt x="9" y="16"/>
                      <a:pt x="9" y="16"/>
                    </a:cubicBezTo>
                    <a:cubicBezTo>
                      <a:pt x="9" y="16"/>
                      <a:pt x="8" y="16"/>
                      <a:pt x="8" y="16"/>
                    </a:cubicBezTo>
                    <a:cubicBezTo>
                      <a:pt x="8" y="16"/>
                      <a:pt x="7" y="16"/>
                      <a:pt x="7" y="16"/>
                    </a:cubicBezTo>
                    <a:cubicBezTo>
                      <a:pt x="6" y="16"/>
                      <a:pt x="7" y="16"/>
                      <a:pt x="7" y="16"/>
                    </a:cubicBezTo>
                    <a:cubicBezTo>
                      <a:pt x="7" y="15"/>
                      <a:pt x="8" y="16"/>
                      <a:pt x="8" y="15"/>
                    </a:cubicBezTo>
                    <a:cubicBezTo>
                      <a:pt x="7" y="15"/>
                      <a:pt x="6" y="14"/>
                      <a:pt x="7" y="14"/>
                    </a:cubicBezTo>
                    <a:cubicBezTo>
                      <a:pt x="7" y="13"/>
                      <a:pt x="7" y="15"/>
                      <a:pt x="6" y="14"/>
                    </a:cubicBezTo>
                    <a:cubicBezTo>
                      <a:pt x="6" y="13"/>
                      <a:pt x="7" y="14"/>
                      <a:pt x="7" y="13"/>
                    </a:cubicBezTo>
                    <a:cubicBezTo>
                      <a:pt x="7" y="13"/>
                      <a:pt x="7" y="12"/>
                      <a:pt x="6" y="12"/>
                    </a:cubicBezTo>
                    <a:cubicBezTo>
                      <a:pt x="6" y="12"/>
                      <a:pt x="6" y="13"/>
                      <a:pt x="6" y="13"/>
                    </a:cubicBezTo>
                    <a:cubicBezTo>
                      <a:pt x="6" y="13"/>
                      <a:pt x="6" y="13"/>
                      <a:pt x="6" y="13"/>
                    </a:cubicBezTo>
                    <a:cubicBezTo>
                      <a:pt x="6" y="13"/>
                      <a:pt x="6" y="14"/>
                      <a:pt x="6" y="14"/>
                    </a:cubicBezTo>
                    <a:cubicBezTo>
                      <a:pt x="5" y="14"/>
                      <a:pt x="5" y="14"/>
                      <a:pt x="5" y="14"/>
                    </a:cubicBezTo>
                    <a:cubicBezTo>
                      <a:pt x="5" y="13"/>
                      <a:pt x="6" y="13"/>
                      <a:pt x="6" y="12"/>
                    </a:cubicBezTo>
                    <a:cubicBezTo>
                      <a:pt x="6" y="12"/>
                      <a:pt x="5" y="13"/>
                      <a:pt x="6" y="12"/>
                    </a:cubicBezTo>
                    <a:cubicBezTo>
                      <a:pt x="6" y="12"/>
                      <a:pt x="6" y="12"/>
                      <a:pt x="7" y="12"/>
                    </a:cubicBezTo>
                    <a:cubicBezTo>
                      <a:pt x="8" y="12"/>
                      <a:pt x="6" y="12"/>
                      <a:pt x="7" y="12"/>
                    </a:cubicBezTo>
                    <a:cubicBezTo>
                      <a:pt x="7" y="13"/>
                      <a:pt x="7" y="12"/>
                      <a:pt x="7" y="12"/>
                    </a:cubicBezTo>
                    <a:cubicBezTo>
                      <a:pt x="8" y="12"/>
                      <a:pt x="8" y="12"/>
                      <a:pt x="8" y="12"/>
                    </a:cubicBezTo>
                    <a:cubicBezTo>
                      <a:pt x="8" y="12"/>
                      <a:pt x="8" y="12"/>
                      <a:pt x="8" y="12"/>
                    </a:cubicBezTo>
                    <a:cubicBezTo>
                      <a:pt x="8" y="12"/>
                      <a:pt x="7" y="12"/>
                      <a:pt x="8" y="11"/>
                    </a:cubicBezTo>
                    <a:cubicBezTo>
                      <a:pt x="8" y="11"/>
                      <a:pt x="9" y="12"/>
                      <a:pt x="10" y="12"/>
                    </a:cubicBezTo>
                    <a:cubicBezTo>
                      <a:pt x="10" y="12"/>
                      <a:pt x="11" y="11"/>
                      <a:pt x="11" y="11"/>
                    </a:cubicBezTo>
                    <a:cubicBezTo>
                      <a:pt x="12" y="11"/>
                      <a:pt x="12" y="12"/>
                      <a:pt x="13" y="12"/>
                    </a:cubicBezTo>
                    <a:cubicBezTo>
                      <a:pt x="13" y="12"/>
                      <a:pt x="13" y="12"/>
                      <a:pt x="13" y="13"/>
                    </a:cubicBezTo>
                    <a:cubicBezTo>
                      <a:pt x="13" y="13"/>
                      <a:pt x="13" y="13"/>
                      <a:pt x="13" y="13"/>
                    </a:cubicBezTo>
                    <a:cubicBezTo>
                      <a:pt x="14" y="12"/>
                      <a:pt x="14" y="12"/>
                      <a:pt x="15" y="12"/>
                    </a:cubicBezTo>
                    <a:cubicBezTo>
                      <a:pt x="16" y="12"/>
                      <a:pt x="17" y="12"/>
                      <a:pt x="17" y="12"/>
                    </a:cubicBezTo>
                    <a:cubicBezTo>
                      <a:pt x="18" y="12"/>
                      <a:pt x="18" y="13"/>
                      <a:pt x="18" y="13"/>
                    </a:cubicBezTo>
                    <a:cubicBezTo>
                      <a:pt x="17" y="12"/>
                      <a:pt x="18" y="12"/>
                      <a:pt x="19" y="12"/>
                    </a:cubicBezTo>
                    <a:cubicBezTo>
                      <a:pt x="19" y="12"/>
                      <a:pt x="18" y="12"/>
                      <a:pt x="18" y="11"/>
                    </a:cubicBezTo>
                    <a:cubicBezTo>
                      <a:pt x="18" y="11"/>
                      <a:pt x="18" y="12"/>
                      <a:pt x="18" y="11"/>
                    </a:cubicBezTo>
                    <a:cubicBezTo>
                      <a:pt x="18" y="11"/>
                      <a:pt x="16" y="11"/>
                      <a:pt x="18" y="11"/>
                    </a:cubicBezTo>
                    <a:cubicBezTo>
                      <a:pt x="18" y="11"/>
                      <a:pt x="19" y="10"/>
                      <a:pt x="19" y="10"/>
                    </a:cubicBezTo>
                    <a:cubicBezTo>
                      <a:pt x="19" y="10"/>
                      <a:pt x="19" y="10"/>
                      <a:pt x="19" y="10"/>
                    </a:cubicBezTo>
                    <a:cubicBezTo>
                      <a:pt x="20" y="10"/>
                      <a:pt x="21" y="10"/>
                      <a:pt x="21" y="9"/>
                    </a:cubicBezTo>
                    <a:cubicBezTo>
                      <a:pt x="20" y="10"/>
                      <a:pt x="22" y="8"/>
                      <a:pt x="22" y="8"/>
                    </a:cubicBezTo>
                    <a:cubicBezTo>
                      <a:pt x="22" y="8"/>
                      <a:pt x="21" y="8"/>
                      <a:pt x="21" y="8"/>
                    </a:cubicBezTo>
                    <a:cubicBezTo>
                      <a:pt x="21" y="8"/>
                      <a:pt x="20" y="9"/>
                      <a:pt x="19" y="9"/>
                    </a:cubicBezTo>
                    <a:cubicBezTo>
                      <a:pt x="19" y="9"/>
                      <a:pt x="20" y="9"/>
                      <a:pt x="20" y="8"/>
                    </a:cubicBezTo>
                    <a:cubicBezTo>
                      <a:pt x="20" y="8"/>
                      <a:pt x="20" y="8"/>
                      <a:pt x="20" y="8"/>
                    </a:cubicBezTo>
                    <a:cubicBezTo>
                      <a:pt x="20" y="9"/>
                      <a:pt x="19" y="8"/>
                      <a:pt x="19" y="8"/>
                    </a:cubicBezTo>
                    <a:cubicBezTo>
                      <a:pt x="19" y="8"/>
                      <a:pt x="19" y="8"/>
                      <a:pt x="18" y="8"/>
                    </a:cubicBezTo>
                    <a:cubicBezTo>
                      <a:pt x="18" y="8"/>
                      <a:pt x="18" y="8"/>
                      <a:pt x="17" y="8"/>
                    </a:cubicBezTo>
                    <a:cubicBezTo>
                      <a:pt x="17" y="8"/>
                      <a:pt x="16" y="8"/>
                      <a:pt x="17" y="7"/>
                    </a:cubicBezTo>
                    <a:cubicBezTo>
                      <a:pt x="18" y="7"/>
                      <a:pt x="19" y="7"/>
                      <a:pt x="20" y="7"/>
                    </a:cubicBezTo>
                    <a:cubicBezTo>
                      <a:pt x="19" y="7"/>
                      <a:pt x="19" y="7"/>
                      <a:pt x="19" y="7"/>
                    </a:cubicBezTo>
                    <a:cubicBezTo>
                      <a:pt x="19" y="6"/>
                      <a:pt x="20" y="7"/>
                      <a:pt x="20" y="7"/>
                    </a:cubicBezTo>
                    <a:cubicBezTo>
                      <a:pt x="20" y="7"/>
                      <a:pt x="19" y="6"/>
                      <a:pt x="19" y="6"/>
                    </a:cubicBezTo>
                    <a:cubicBezTo>
                      <a:pt x="19" y="6"/>
                      <a:pt x="19" y="6"/>
                      <a:pt x="19" y="6"/>
                    </a:cubicBezTo>
                    <a:cubicBezTo>
                      <a:pt x="20" y="6"/>
                      <a:pt x="20" y="6"/>
                      <a:pt x="21" y="6"/>
                    </a:cubicBezTo>
                    <a:cubicBezTo>
                      <a:pt x="20" y="6"/>
                      <a:pt x="20" y="5"/>
                      <a:pt x="21" y="6"/>
                    </a:cubicBezTo>
                    <a:cubicBezTo>
                      <a:pt x="21" y="5"/>
                      <a:pt x="20" y="6"/>
                      <a:pt x="20" y="5"/>
                    </a:cubicBezTo>
                    <a:cubicBezTo>
                      <a:pt x="20" y="5"/>
                      <a:pt x="20" y="5"/>
                      <a:pt x="20" y="5"/>
                    </a:cubicBezTo>
                    <a:cubicBezTo>
                      <a:pt x="19" y="4"/>
                      <a:pt x="21" y="4"/>
                      <a:pt x="21" y="4"/>
                    </a:cubicBezTo>
                    <a:cubicBezTo>
                      <a:pt x="21" y="4"/>
                      <a:pt x="21" y="3"/>
                      <a:pt x="21" y="3"/>
                    </a:cubicBezTo>
                    <a:cubicBezTo>
                      <a:pt x="21" y="3"/>
                      <a:pt x="23" y="2"/>
                      <a:pt x="22" y="3"/>
                    </a:cubicBezTo>
                    <a:cubicBezTo>
                      <a:pt x="23" y="3"/>
                      <a:pt x="24" y="2"/>
                      <a:pt x="24" y="2"/>
                    </a:cubicBezTo>
                    <a:cubicBezTo>
                      <a:pt x="24" y="2"/>
                      <a:pt x="24" y="3"/>
                      <a:pt x="24" y="3"/>
                    </a:cubicBezTo>
                    <a:cubicBezTo>
                      <a:pt x="24" y="2"/>
                      <a:pt x="25" y="3"/>
                      <a:pt x="25" y="3"/>
                    </a:cubicBezTo>
                    <a:cubicBezTo>
                      <a:pt x="25" y="3"/>
                      <a:pt x="25" y="3"/>
                      <a:pt x="25" y="3"/>
                    </a:cubicBezTo>
                    <a:cubicBezTo>
                      <a:pt x="25" y="3"/>
                      <a:pt x="25" y="3"/>
                      <a:pt x="25" y="2"/>
                    </a:cubicBezTo>
                    <a:cubicBezTo>
                      <a:pt x="25" y="2"/>
                      <a:pt x="25" y="2"/>
                      <a:pt x="25" y="2"/>
                    </a:cubicBezTo>
                    <a:cubicBezTo>
                      <a:pt x="25" y="2"/>
                      <a:pt x="25" y="3"/>
                      <a:pt x="26" y="2"/>
                    </a:cubicBezTo>
                    <a:cubicBezTo>
                      <a:pt x="26" y="2"/>
                      <a:pt x="26" y="3"/>
                      <a:pt x="26" y="3"/>
                    </a:cubicBezTo>
                    <a:cubicBezTo>
                      <a:pt x="27" y="3"/>
                      <a:pt x="26" y="3"/>
                      <a:pt x="26" y="2"/>
                    </a:cubicBezTo>
                    <a:cubicBezTo>
                      <a:pt x="26" y="2"/>
                      <a:pt x="26" y="3"/>
                      <a:pt x="26" y="2"/>
                    </a:cubicBezTo>
                    <a:cubicBezTo>
                      <a:pt x="25" y="2"/>
                      <a:pt x="26" y="2"/>
                      <a:pt x="27" y="2"/>
                    </a:cubicBezTo>
                    <a:cubicBezTo>
                      <a:pt x="27" y="1"/>
                      <a:pt x="27" y="2"/>
                      <a:pt x="27" y="3"/>
                    </a:cubicBezTo>
                    <a:cubicBezTo>
                      <a:pt x="28" y="3"/>
                      <a:pt x="27" y="4"/>
                      <a:pt x="27" y="4"/>
                    </a:cubicBezTo>
                    <a:cubicBezTo>
                      <a:pt x="27" y="4"/>
                      <a:pt x="27" y="4"/>
                      <a:pt x="27" y="4"/>
                    </a:cubicBezTo>
                    <a:cubicBezTo>
                      <a:pt x="27" y="4"/>
                      <a:pt x="26" y="5"/>
                      <a:pt x="26" y="5"/>
                    </a:cubicBezTo>
                    <a:cubicBezTo>
                      <a:pt x="27" y="5"/>
                      <a:pt x="28" y="4"/>
                      <a:pt x="28" y="3"/>
                    </a:cubicBezTo>
                    <a:cubicBezTo>
                      <a:pt x="28" y="3"/>
                      <a:pt x="27" y="2"/>
                      <a:pt x="28" y="1"/>
                    </a:cubicBezTo>
                    <a:cubicBezTo>
                      <a:pt x="28" y="1"/>
                      <a:pt x="29" y="1"/>
                      <a:pt x="29" y="1"/>
                    </a:cubicBezTo>
                    <a:cubicBezTo>
                      <a:pt x="29" y="1"/>
                      <a:pt x="30" y="1"/>
                      <a:pt x="29" y="1"/>
                    </a:cubicBezTo>
                    <a:cubicBezTo>
                      <a:pt x="30" y="1"/>
                      <a:pt x="30" y="1"/>
                      <a:pt x="30" y="1"/>
                    </a:cubicBezTo>
                    <a:cubicBezTo>
                      <a:pt x="30" y="1"/>
                      <a:pt x="29" y="1"/>
                      <a:pt x="29" y="0"/>
                    </a:cubicBezTo>
                    <a:cubicBezTo>
                      <a:pt x="29" y="0"/>
                      <a:pt x="32" y="2"/>
                      <a:pt x="32" y="2"/>
                    </a:cubicBezTo>
                    <a:cubicBezTo>
                      <a:pt x="32" y="2"/>
                      <a:pt x="31" y="3"/>
                      <a:pt x="30" y="3"/>
                    </a:cubicBezTo>
                    <a:cubicBezTo>
                      <a:pt x="30" y="3"/>
                      <a:pt x="30" y="4"/>
                      <a:pt x="29" y="4"/>
                    </a:cubicBezTo>
                    <a:cubicBezTo>
                      <a:pt x="29" y="4"/>
                      <a:pt x="29" y="4"/>
                      <a:pt x="28" y="4"/>
                    </a:cubicBezTo>
                    <a:cubicBezTo>
                      <a:pt x="28" y="5"/>
                      <a:pt x="27" y="6"/>
                      <a:pt x="27" y="7"/>
                    </a:cubicBezTo>
                    <a:cubicBezTo>
                      <a:pt x="27" y="7"/>
                      <a:pt x="26" y="7"/>
                      <a:pt x="26" y="7"/>
                    </a:cubicBezTo>
                    <a:cubicBezTo>
                      <a:pt x="25" y="7"/>
                      <a:pt x="25" y="7"/>
                      <a:pt x="25" y="7"/>
                    </a:cubicBezTo>
                    <a:cubicBezTo>
                      <a:pt x="24" y="7"/>
                      <a:pt x="24" y="7"/>
                      <a:pt x="24" y="7"/>
                    </a:cubicBezTo>
                    <a:cubicBezTo>
                      <a:pt x="24" y="8"/>
                      <a:pt x="25" y="9"/>
                      <a:pt x="25" y="8"/>
                    </a:cubicBezTo>
                    <a:cubicBezTo>
                      <a:pt x="26" y="9"/>
                      <a:pt x="24" y="9"/>
                      <a:pt x="24" y="9"/>
                    </a:cubicBezTo>
                    <a:cubicBezTo>
                      <a:pt x="23" y="9"/>
                      <a:pt x="22" y="10"/>
                      <a:pt x="22" y="10"/>
                    </a:cubicBezTo>
                    <a:cubicBezTo>
                      <a:pt x="22" y="10"/>
                      <a:pt x="22" y="11"/>
                      <a:pt x="23" y="11"/>
                    </a:cubicBezTo>
                    <a:cubicBezTo>
                      <a:pt x="23" y="12"/>
                      <a:pt x="23" y="12"/>
                      <a:pt x="23" y="12"/>
                    </a:cubicBezTo>
                    <a:cubicBezTo>
                      <a:pt x="24" y="12"/>
                      <a:pt x="24" y="12"/>
                      <a:pt x="24" y="13"/>
                    </a:cubicBezTo>
                    <a:cubicBezTo>
                      <a:pt x="25" y="13"/>
                      <a:pt x="25" y="13"/>
                      <a:pt x="25" y="13"/>
                    </a:cubicBezTo>
                    <a:cubicBezTo>
                      <a:pt x="26" y="13"/>
                      <a:pt x="26" y="13"/>
                      <a:pt x="26" y="13"/>
                    </a:cubicBezTo>
                    <a:cubicBezTo>
                      <a:pt x="27" y="13"/>
                      <a:pt x="27" y="13"/>
                      <a:pt x="27" y="13"/>
                    </a:cubicBezTo>
                    <a:cubicBezTo>
                      <a:pt x="28" y="13"/>
                      <a:pt x="28" y="14"/>
                      <a:pt x="28" y="14"/>
                    </a:cubicBezTo>
                    <a:cubicBezTo>
                      <a:pt x="28" y="13"/>
                      <a:pt x="28" y="13"/>
                      <a:pt x="28" y="13"/>
                    </a:cubicBezTo>
                    <a:cubicBezTo>
                      <a:pt x="28" y="13"/>
                      <a:pt x="28" y="13"/>
                      <a:pt x="28" y="13"/>
                    </a:cubicBezTo>
                    <a:cubicBezTo>
                      <a:pt x="29" y="13"/>
                      <a:pt x="29" y="13"/>
                      <a:pt x="29" y="13"/>
                    </a:cubicBezTo>
                    <a:cubicBezTo>
                      <a:pt x="29" y="13"/>
                      <a:pt x="29" y="13"/>
                      <a:pt x="29" y="12"/>
                    </a:cubicBezTo>
                    <a:cubicBezTo>
                      <a:pt x="30" y="12"/>
                      <a:pt x="29" y="12"/>
                      <a:pt x="29" y="12"/>
                    </a:cubicBezTo>
                    <a:cubicBezTo>
                      <a:pt x="29" y="11"/>
                      <a:pt x="30" y="11"/>
                      <a:pt x="30" y="11"/>
                    </a:cubicBezTo>
                    <a:cubicBezTo>
                      <a:pt x="31" y="10"/>
                      <a:pt x="31" y="10"/>
                      <a:pt x="32" y="11"/>
                    </a:cubicBezTo>
                    <a:cubicBezTo>
                      <a:pt x="32" y="11"/>
                      <a:pt x="32" y="11"/>
                      <a:pt x="32" y="12"/>
                    </a:cubicBezTo>
                    <a:cubicBezTo>
                      <a:pt x="32" y="12"/>
                      <a:pt x="32" y="12"/>
                      <a:pt x="32" y="12"/>
                    </a:cubicBezTo>
                    <a:cubicBezTo>
                      <a:pt x="33" y="13"/>
                      <a:pt x="33" y="12"/>
                      <a:pt x="34" y="13"/>
                    </a:cubicBezTo>
                    <a:cubicBezTo>
                      <a:pt x="34" y="13"/>
                      <a:pt x="33" y="14"/>
                      <a:pt x="33" y="14"/>
                    </a:cubicBezTo>
                    <a:cubicBezTo>
                      <a:pt x="33" y="15"/>
                      <a:pt x="35" y="14"/>
                      <a:pt x="35" y="14"/>
                    </a:cubicBezTo>
                    <a:cubicBezTo>
                      <a:pt x="35" y="14"/>
                      <a:pt x="35" y="14"/>
                      <a:pt x="36" y="14"/>
                    </a:cubicBezTo>
                    <a:cubicBezTo>
                      <a:pt x="36" y="14"/>
                      <a:pt x="36" y="14"/>
                      <a:pt x="36" y="14"/>
                    </a:cubicBezTo>
                    <a:cubicBezTo>
                      <a:pt x="36" y="13"/>
                      <a:pt x="37" y="14"/>
                      <a:pt x="37" y="14"/>
                    </a:cubicBezTo>
                    <a:cubicBezTo>
                      <a:pt x="37" y="14"/>
                      <a:pt x="38" y="15"/>
                      <a:pt x="37" y="15"/>
                    </a:cubicBezTo>
                    <a:cubicBezTo>
                      <a:pt x="37" y="15"/>
                      <a:pt x="36" y="14"/>
                      <a:pt x="36" y="15"/>
                    </a:cubicBezTo>
                    <a:cubicBezTo>
                      <a:pt x="35" y="15"/>
                      <a:pt x="36" y="16"/>
                      <a:pt x="36" y="16"/>
                    </a:cubicBezTo>
                    <a:cubicBezTo>
                      <a:pt x="37" y="16"/>
                      <a:pt x="36" y="17"/>
                      <a:pt x="36" y="18"/>
                    </a:cubicBezTo>
                    <a:cubicBezTo>
                      <a:pt x="36" y="19"/>
                      <a:pt x="37" y="19"/>
                      <a:pt x="37" y="19"/>
                    </a:cubicBezTo>
                    <a:cubicBezTo>
                      <a:pt x="38" y="19"/>
                      <a:pt x="38" y="20"/>
                      <a:pt x="37" y="20"/>
                    </a:cubicBezTo>
                    <a:cubicBezTo>
                      <a:pt x="37" y="20"/>
                      <a:pt x="37" y="20"/>
                      <a:pt x="37" y="20"/>
                    </a:cubicBezTo>
                    <a:close/>
                    <a:moveTo>
                      <a:pt x="5" y="15"/>
                    </a:moveTo>
                    <a:cubicBezTo>
                      <a:pt x="5" y="16"/>
                      <a:pt x="6" y="16"/>
                      <a:pt x="6" y="16"/>
                    </a:cubicBezTo>
                    <a:cubicBezTo>
                      <a:pt x="6" y="16"/>
                      <a:pt x="7" y="15"/>
                      <a:pt x="6" y="15"/>
                    </a:cubicBezTo>
                    <a:cubicBezTo>
                      <a:pt x="6" y="15"/>
                      <a:pt x="6" y="14"/>
                      <a:pt x="6" y="15"/>
                    </a:cubicBezTo>
                    <a:cubicBezTo>
                      <a:pt x="5" y="15"/>
                      <a:pt x="5" y="15"/>
                      <a:pt x="5" y="15"/>
                    </a:cubicBezTo>
                    <a:cubicBezTo>
                      <a:pt x="5" y="15"/>
                      <a:pt x="5" y="15"/>
                      <a:pt x="5" y="15"/>
                    </a:cubicBezTo>
                    <a:cubicBezTo>
                      <a:pt x="4" y="15"/>
                      <a:pt x="4" y="15"/>
                      <a:pt x="4" y="15"/>
                    </a:cubicBezTo>
                    <a:cubicBezTo>
                      <a:pt x="4" y="15"/>
                      <a:pt x="5" y="15"/>
                      <a:pt x="5" y="1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8" name="Iraq">
                <a:extLst>
                  <a:ext uri="{FF2B5EF4-FFF2-40B4-BE49-F238E27FC236}">
                    <a16:creationId xmlns:a16="http://schemas.microsoft.com/office/drawing/2014/main" id="{ABB8BA62-6E75-3126-2760-FD2AFC0589C4}"/>
                  </a:ext>
                </a:extLst>
              </p:cNvPr>
              <p:cNvSpPr>
                <a:spLocks/>
              </p:cNvSpPr>
              <p:nvPr/>
            </p:nvSpPr>
            <p:spPr bwMode="auto">
              <a:xfrm>
                <a:off x="6978737" y="2586845"/>
                <a:ext cx="333256" cy="326395"/>
              </a:xfrm>
              <a:custGeom>
                <a:avLst/>
                <a:gdLst/>
                <a:ahLst/>
                <a:cxnLst>
                  <a:cxn ang="0">
                    <a:pos x="90" y="78"/>
                  </a:cxn>
                  <a:cxn ang="0">
                    <a:pos x="88" y="73"/>
                  </a:cxn>
                  <a:cxn ang="0">
                    <a:pos x="85" y="71"/>
                  </a:cxn>
                  <a:cxn ang="0">
                    <a:pos x="85" y="62"/>
                  </a:cxn>
                  <a:cxn ang="0">
                    <a:pos x="82" y="57"/>
                  </a:cxn>
                  <a:cxn ang="0">
                    <a:pos x="80" y="54"/>
                  </a:cxn>
                  <a:cxn ang="0">
                    <a:pos x="73" y="51"/>
                  </a:cxn>
                  <a:cxn ang="0">
                    <a:pos x="68" y="48"/>
                  </a:cxn>
                  <a:cxn ang="0">
                    <a:pos x="67" y="45"/>
                  </a:cxn>
                  <a:cxn ang="0">
                    <a:pos x="65" y="43"/>
                  </a:cxn>
                  <a:cxn ang="0">
                    <a:pos x="62" y="41"/>
                  </a:cxn>
                  <a:cxn ang="0">
                    <a:pos x="60" y="38"/>
                  </a:cxn>
                  <a:cxn ang="0">
                    <a:pos x="60" y="33"/>
                  </a:cxn>
                  <a:cxn ang="0">
                    <a:pos x="61" y="31"/>
                  </a:cxn>
                  <a:cxn ang="0">
                    <a:pos x="61" y="29"/>
                  </a:cxn>
                  <a:cxn ang="0">
                    <a:pos x="63" y="27"/>
                  </a:cxn>
                  <a:cxn ang="0">
                    <a:pos x="65" y="24"/>
                  </a:cxn>
                  <a:cxn ang="0">
                    <a:pos x="63" y="20"/>
                  </a:cxn>
                  <a:cxn ang="0">
                    <a:pos x="66" y="18"/>
                  </a:cxn>
                  <a:cxn ang="0">
                    <a:pos x="61" y="18"/>
                  </a:cxn>
                  <a:cxn ang="0">
                    <a:pos x="57" y="16"/>
                  </a:cxn>
                  <a:cxn ang="0">
                    <a:pos x="56" y="12"/>
                  </a:cxn>
                  <a:cxn ang="0">
                    <a:pos x="53" y="9"/>
                  </a:cxn>
                  <a:cxn ang="0">
                    <a:pos x="51" y="5"/>
                  </a:cxn>
                  <a:cxn ang="0">
                    <a:pos x="50" y="4"/>
                  </a:cxn>
                  <a:cxn ang="0">
                    <a:pos x="48" y="3"/>
                  </a:cxn>
                  <a:cxn ang="0">
                    <a:pos x="45" y="3"/>
                  </a:cxn>
                  <a:cxn ang="0">
                    <a:pos x="42" y="2"/>
                  </a:cxn>
                  <a:cxn ang="0">
                    <a:pos x="36" y="1"/>
                  </a:cxn>
                  <a:cxn ang="0">
                    <a:pos x="33" y="1"/>
                  </a:cxn>
                  <a:cxn ang="0">
                    <a:pos x="28" y="4"/>
                  </a:cxn>
                  <a:cxn ang="0">
                    <a:pos x="19" y="12"/>
                  </a:cxn>
                  <a:cxn ang="0">
                    <a:pos x="20" y="23"/>
                  </a:cxn>
                  <a:cxn ang="0">
                    <a:pos x="20" y="30"/>
                  </a:cxn>
                  <a:cxn ang="0">
                    <a:pos x="13" y="36"/>
                  </a:cxn>
                  <a:cxn ang="0">
                    <a:pos x="0" y="45"/>
                  </a:cxn>
                  <a:cxn ang="0">
                    <a:pos x="3" y="54"/>
                  </a:cxn>
                  <a:cxn ang="0">
                    <a:pos x="5" y="56"/>
                  </a:cxn>
                  <a:cxn ang="0">
                    <a:pos x="11" y="59"/>
                  </a:cxn>
                  <a:cxn ang="0">
                    <a:pos x="26" y="67"/>
                  </a:cxn>
                  <a:cxn ang="0">
                    <a:pos x="55" y="88"/>
                  </a:cxn>
                  <a:cxn ang="0">
                    <a:pos x="71" y="91"/>
                  </a:cxn>
                  <a:cxn ang="0">
                    <a:pos x="80" y="83"/>
                  </a:cxn>
                  <a:cxn ang="0">
                    <a:pos x="88" y="81"/>
                  </a:cxn>
                  <a:cxn ang="0">
                    <a:pos x="94" y="82"/>
                  </a:cxn>
                </a:cxnLst>
                <a:rect l="0" t="0" r="r" b="b"/>
                <a:pathLst>
                  <a:path w="94" h="92">
                    <a:moveTo>
                      <a:pt x="93" y="81"/>
                    </a:moveTo>
                    <a:cubicBezTo>
                      <a:pt x="92" y="81"/>
                      <a:pt x="92" y="80"/>
                      <a:pt x="92" y="80"/>
                    </a:cubicBezTo>
                    <a:cubicBezTo>
                      <a:pt x="92" y="79"/>
                      <a:pt x="91" y="78"/>
                      <a:pt x="90" y="78"/>
                    </a:cubicBezTo>
                    <a:cubicBezTo>
                      <a:pt x="90" y="78"/>
                      <a:pt x="90" y="77"/>
                      <a:pt x="89" y="77"/>
                    </a:cubicBezTo>
                    <a:cubicBezTo>
                      <a:pt x="89" y="77"/>
                      <a:pt x="89" y="76"/>
                      <a:pt x="88" y="76"/>
                    </a:cubicBezTo>
                    <a:cubicBezTo>
                      <a:pt x="88" y="75"/>
                      <a:pt x="88" y="74"/>
                      <a:pt x="88" y="73"/>
                    </a:cubicBezTo>
                    <a:cubicBezTo>
                      <a:pt x="88" y="72"/>
                      <a:pt x="88" y="71"/>
                      <a:pt x="88" y="71"/>
                    </a:cubicBezTo>
                    <a:cubicBezTo>
                      <a:pt x="88" y="70"/>
                      <a:pt x="87" y="71"/>
                      <a:pt x="87" y="71"/>
                    </a:cubicBezTo>
                    <a:cubicBezTo>
                      <a:pt x="86" y="71"/>
                      <a:pt x="85" y="71"/>
                      <a:pt x="85" y="71"/>
                    </a:cubicBezTo>
                    <a:cubicBezTo>
                      <a:pt x="84" y="71"/>
                      <a:pt x="84" y="70"/>
                      <a:pt x="84" y="69"/>
                    </a:cubicBezTo>
                    <a:cubicBezTo>
                      <a:pt x="84" y="68"/>
                      <a:pt x="84" y="66"/>
                      <a:pt x="84" y="65"/>
                    </a:cubicBezTo>
                    <a:cubicBezTo>
                      <a:pt x="85" y="64"/>
                      <a:pt x="85" y="63"/>
                      <a:pt x="85" y="62"/>
                    </a:cubicBezTo>
                    <a:cubicBezTo>
                      <a:pt x="85" y="61"/>
                      <a:pt x="83" y="60"/>
                      <a:pt x="83" y="59"/>
                    </a:cubicBezTo>
                    <a:cubicBezTo>
                      <a:pt x="82" y="59"/>
                      <a:pt x="82" y="58"/>
                      <a:pt x="82" y="58"/>
                    </a:cubicBezTo>
                    <a:cubicBezTo>
                      <a:pt x="81" y="58"/>
                      <a:pt x="82" y="58"/>
                      <a:pt x="82" y="57"/>
                    </a:cubicBezTo>
                    <a:cubicBezTo>
                      <a:pt x="82" y="57"/>
                      <a:pt x="81" y="57"/>
                      <a:pt x="81" y="57"/>
                    </a:cubicBezTo>
                    <a:cubicBezTo>
                      <a:pt x="81" y="56"/>
                      <a:pt x="81" y="56"/>
                      <a:pt x="80" y="56"/>
                    </a:cubicBezTo>
                    <a:cubicBezTo>
                      <a:pt x="80" y="55"/>
                      <a:pt x="80" y="55"/>
                      <a:pt x="80" y="54"/>
                    </a:cubicBezTo>
                    <a:cubicBezTo>
                      <a:pt x="79" y="54"/>
                      <a:pt x="79" y="54"/>
                      <a:pt x="78" y="54"/>
                    </a:cubicBezTo>
                    <a:cubicBezTo>
                      <a:pt x="78" y="55"/>
                      <a:pt x="77" y="54"/>
                      <a:pt x="77" y="54"/>
                    </a:cubicBezTo>
                    <a:cubicBezTo>
                      <a:pt x="76" y="53"/>
                      <a:pt x="74" y="52"/>
                      <a:pt x="73" y="51"/>
                    </a:cubicBezTo>
                    <a:cubicBezTo>
                      <a:pt x="72" y="50"/>
                      <a:pt x="71" y="49"/>
                      <a:pt x="70" y="49"/>
                    </a:cubicBezTo>
                    <a:cubicBezTo>
                      <a:pt x="69" y="49"/>
                      <a:pt x="68" y="50"/>
                      <a:pt x="67" y="49"/>
                    </a:cubicBezTo>
                    <a:cubicBezTo>
                      <a:pt x="67" y="48"/>
                      <a:pt x="68" y="48"/>
                      <a:pt x="68" y="48"/>
                    </a:cubicBezTo>
                    <a:cubicBezTo>
                      <a:pt x="68" y="48"/>
                      <a:pt x="67" y="48"/>
                      <a:pt x="67" y="48"/>
                    </a:cubicBezTo>
                    <a:cubicBezTo>
                      <a:pt x="67" y="48"/>
                      <a:pt x="68" y="47"/>
                      <a:pt x="68" y="46"/>
                    </a:cubicBezTo>
                    <a:cubicBezTo>
                      <a:pt x="68" y="46"/>
                      <a:pt x="67" y="45"/>
                      <a:pt x="67" y="45"/>
                    </a:cubicBezTo>
                    <a:cubicBezTo>
                      <a:pt x="66" y="44"/>
                      <a:pt x="66" y="43"/>
                      <a:pt x="66" y="43"/>
                    </a:cubicBezTo>
                    <a:cubicBezTo>
                      <a:pt x="65" y="43"/>
                      <a:pt x="65" y="43"/>
                      <a:pt x="65" y="43"/>
                    </a:cubicBezTo>
                    <a:cubicBezTo>
                      <a:pt x="65" y="43"/>
                      <a:pt x="65" y="43"/>
                      <a:pt x="65" y="43"/>
                    </a:cubicBezTo>
                    <a:cubicBezTo>
                      <a:pt x="65" y="42"/>
                      <a:pt x="65" y="42"/>
                      <a:pt x="64" y="42"/>
                    </a:cubicBezTo>
                    <a:cubicBezTo>
                      <a:pt x="64" y="42"/>
                      <a:pt x="64" y="42"/>
                      <a:pt x="63" y="42"/>
                    </a:cubicBezTo>
                    <a:cubicBezTo>
                      <a:pt x="63" y="41"/>
                      <a:pt x="63" y="41"/>
                      <a:pt x="62" y="41"/>
                    </a:cubicBezTo>
                    <a:cubicBezTo>
                      <a:pt x="62" y="40"/>
                      <a:pt x="62" y="40"/>
                      <a:pt x="62" y="39"/>
                    </a:cubicBezTo>
                    <a:cubicBezTo>
                      <a:pt x="61" y="39"/>
                      <a:pt x="61" y="39"/>
                      <a:pt x="61" y="38"/>
                    </a:cubicBezTo>
                    <a:cubicBezTo>
                      <a:pt x="60" y="38"/>
                      <a:pt x="60" y="38"/>
                      <a:pt x="60" y="38"/>
                    </a:cubicBezTo>
                    <a:cubicBezTo>
                      <a:pt x="60" y="38"/>
                      <a:pt x="61" y="36"/>
                      <a:pt x="61" y="36"/>
                    </a:cubicBezTo>
                    <a:cubicBezTo>
                      <a:pt x="61" y="35"/>
                      <a:pt x="61" y="34"/>
                      <a:pt x="60" y="34"/>
                    </a:cubicBezTo>
                    <a:cubicBezTo>
                      <a:pt x="60" y="34"/>
                      <a:pt x="60" y="33"/>
                      <a:pt x="60" y="33"/>
                    </a:cubicBezTo>
                    <a:cubicBezTo>
                      <a:pt x="60" y="32"/>
                      <a:pt x="60" y="32"/>
                      <a:pt x="60" y="32"/>
                    </a:cubicBezTo>
                    <a:cubicBezTo>
                      <a:pt x="60" y="32"/>
                      <a:pt x="60" y="32"/>
                      <a:pt x="60" y="31"/>
                    </a:cubicBezTo>
                    <a:cubicBezTo>
                      <a:pt x="60" y="31"/>
                      <a:pt x="61" y="31"/>
                      <a:pt x="61" y="31"/>
                    </a:cubicBezTo>
                    <a:cubicBezTo>
                      <a:pt x="61" y="31"/>
                      <a:pt x="62" y="32"/>
                      <a:pt x="62" y="31"/>
                    </a:cubicBezTo>
                    <a:cubicBezTo>
                      <a:pt x="62" y="31"/>
                      <a:pt x="62" y="30"/>
                      <a:pt x="62" y="30"/>
                    </a:cubicBezTo>
                    <a:cubicBezTo>
                      <a:pt x="61" y="30"/>
                      <a:pt x="61" y="30"/>
                      <a:pt x="61" y="29"/>
                    </a:cubicBezTo>
                    <a:cubicBezTo>
                      <a:pt x="61" y="29"/>
                      <a:pt x="61" y="28"/>
                      <a:pt x="62" y="28"/>
                    </a:cubicBezTo>
                    <a:cubicBezTo>
                      <a:pt x="62" y="28"/>
                      <a:pt x="62" y="28"/>
                      <a:pt x="62" y="28"/>
                    </a:cubicBezTo>
                    <a:cubicBezTo>
                      <a:pt x="63" y="27"/>
                      <a:pt x="63" y="28"/>
                      <a:pt x="63" y="27"/>
                    </a:cubicBezTo>
                    <a:cubicBezTo>
                      <a:pt x="63" y="27"/>
                      <a:pt x="63" y="26"/>
                      <a:pt x="63" y="26"/>
                    </a:cubicBezTo>
                    <a:cubicBezTo>
                      <a:pt x="63" y="26"/>
                      <a:pt x="66" y="26"/>
                      <a:pt x="65" y="25"/>
                    </a:cubicBezTo>
                    <a:cubicBezTo>
                      <a:pt x="65" y="25"/>
                      <a:pt x="66" y="24"/>
                      <a:pt x="65" y="24"/>
                    </a:cubicBezTo>
                    <a:cubicBezTo>
                      <a:pt x="65" y="24"/>
                      <a:pt x="65" y="23"/>
                      <a:pt x="65" y="23"/>
                    </a:cubicBezTo>
                    <a:cubicBezTo>
                      <a:pt x="65" y="23"/>
                      <a:pt x="64" y="23"/>
                      <a:pt x="64" y="22"/>
                    </a:cubicBezTo>
                    <a:cubicBezTo>
                      <a:pt x="63" y="22"/>
                      <a:pt x="63" y="21"/>
                      <a:pt x="63" y="20"/>
                    </a:cubicBezTo>
                    <a:cubicBezTo>
                      <a:pt x="63" y="20"/>
                      <a:pt x="63" y="20"/>
                      <a:pt x="63" y="19"/>
                    </a:cubicBezTo>
                    <a:cubicBezTo>
                      <a:pt x="63" y="19"/>
                      <a:pt x="64" y="19"/>
                      <a:pt x="64" y="19"/>
                    </a:cubicBezTo>
                    <a:cubicBezTo>
                      <a:pt x="65" y="19"/>
                      <a:pt x="66" y="18"/>
                      <a:pt x="66" y="18"/>
                    </a:cubicBezTo>
                    <a:cubicBezTo>
                      <a:pt x="66" y="17"/>
                      <a:pt x="65" y="18"/>
                      <a:pt x="65" y="18"/>
                    </a:cubicBezTo>
                    <a:cubicBezTo>
                      <a:pt x="64" y="18"/>
                      <a:pt x="64" y="17"/>
                      <a:pt x="63" y="17"/>
                    </a:cubicBezTo>
                    <a:cubicBezTo>
                      <a:pt x="63" y="17"/>
                      <a:pt x="62" y="17"/>
                      <a:pt x="61" y="18"/>
                    </a:cubicBezTo>
                    <a:cubicBezTo>
                      <a:pt x="60" y="18"/>
                      <a:pt x="60" y="17"/>
                      <a:pt x="60" y="17"/>
                    </a:cubicBezTo>
                    <a:cubicBezTo>
                      <a:pt x="60" y="16"/>
                      <a:pt x="59" y="16"/>
                      <a:pt x="58" y="16"/>
                    </a:cubicBezTo>
                    <a:cubicBezTo>
                      <a:pt x="58" y="15"/>
                      <a:pt x="57" y="16"/>
                      <a:pt x="57" y="16"/>
                    </a:cubicBezTo>
                    <a:cubicBezTo>
                      <a:pt x="56" y="15"/>
                      <a:pt x="57" y="15"/>
                      <a:pt x="57" y="15"/>
                    </a:cubicBezTo>
                    <a:cubicBezTo>
                      <a:pt x="57" y="14"/>
                      <a:pt x="56" y="14"/>
                      <a:pt x="56" y="14"/>
                    </a:cubicBezTo>
                    <a:cubicBezTo>
                      <a:pt x="56" y="13"/>
                      <a:pt x="56" y="13"/>
                      <a:pt x="56" y="12"/>
                    </a:cubicBezTo>
                    <a:cubicBezTo>
                      <a:pt x="56" y="12"/>
                      <a:pt x="56" y="11"/>
                      <a:pt x="55" y="11"/>
                    </a:cubicBezTo>
                    <a:cubicBezTo>
                      <a:pt x="55" y="11"/>
                      <a:pt x="54" y="11"/>
                      <a:pt x="54" y="11"/>
                    </a:cubicBezTo>
                    <a:cubicBezTo>
                      <a:pt x="53" y="10"/>
                      <a:pt x="53" y="10"/>
                      <a:pt x="53" y="9"/>
                    </a:cubicBezTo>
                    <a:cubicBezTo>
                      <a:pt x="53" y="9"/>
                      <a:pt x="53" y="8"/>
                      <a:pt x="53" y="8"/>
                    </a:cubicBezTo>
                    <a:cubicBezTo>
                      <a:pt x="52" y="7"/>
                      <a:pt x="50" y="7"/>
                      <a:pt x="51" y="6"/>
                    </a:cubicBezTo>
                    <a:cubicBezTo>
                      <a:pt x="51" y="6"/>
                      <a:pt x="51" y="6"/>
                      <a:pt x="51" y="5"/>
                    </a:cubicBezTo>
                    <a:cubicBezTo>
                      <a:pt x="51" y="5"/>
                      <a:pt x="51" y="5"/>
                      <a:pt x="51" y="4"/>
                    </a:cubicBezTo>
                    <a:cubicBezTo>
                      <a:pt x="51" y="4"/>
                      <a:pt x="51" y="4"/>
                      <a:pt x="50" y="4"/>
                    </a:cubicBezTo>
                    <a:cubicBezTo>
                      <a:pt x="50" y="4"/>
                      <a:pt x="50" y="4"/>
                      <a:pt x="50" y="4"/>
                    </a:cubicBezTo>
                    <a:cubicBezTo>
                      <a:pt x="50" y="3"/>
                      <a:pt x="50" y="3"/>
                      <a:pt x="50" y="3"/>
                    </a:cubicBezTo>
                    <a:cubicBezTo>
                      <a:pt x="50" y="3"/>
                      <a:pt x="49" y="3"/>
                      <a:pt x="49" y="3"/>
                    </a:cubicBezTo>
                    <a:cubicBezTo>
                      <a:pt x="48" y="3"/>
                      <a:pt x="48" y="3"/>
                      <a:pt x="48" y="3"/>
                    </a:cubicBezTo>
                    <a:cubicBezTo>
                      <a:pt x="47" y="4"/>
                      <a:pt x="46" y="4"/>
                      <a:pt x="46" y="4"/>
                    </a:cubicBezTo>
                    <a:cubicBezTo>
                      <a:pt x="46" y="5"/>
                      <a:pt x="46" y="5"/>
                      <a:pt x="45" y="5"/>
                    </a:cubicBezTo>
                    <a:cubicBezTo>
                      <a:pt x="45" y="4"/>
                      <a:pt x="45" y="4"/>
                      <a:pt x="45" y="3"/>
                    </a:cubicBezTo>
                    <a:cubicBezTo>
                      <a:pt x="45" y="3"/>
                      <a:pt x="45" y="3"/>
                      <a:pt x="45" y="2"/>
                    </a:cubicBezTo>
                    <a:cubicBezTo>
                      <a:pt x="45" y="1"/>
                      <a:pt x="44" y="1"/>
                      <a:pt x="43" y="1"/>
                    </a:cubicBezTo>
                    <a:cubicBezTo>
                      <a:pt x="42" y="1"/>
                      <a:pt x="42" y="2"/>
                      <a:pt x="42" y="2"/>
                    </a:cubicBezTo>
                    <a:cubicBezTo>
                      <a:pt x="41" y="3"/>
                      <a:pt x="40" y="2"/>
                      <a:pt x="40" y="2"/>
                    </a:cubicBezTo>
                    <a:cubicBezTo>
                      <a:pt x="39" y="2"/>
                      <a:pt x="38" y="2"/>
                      <a:pt x="37" y="2"/>
                    </a:cubicBezTo>
                    <a:cubicBezTo>
                      <a:pt x="37" y="1"/>
                      <a:pt x="37" y="1"/>
                      <a:pt x="36" y="1"/>
                    </a:cubicBezTo>
                    <a:cubicBezTo>
                      <a:pt x="36" y="1"/>
                      <a:pt x="36" y="1"/>
                      <a:pt x="36" y="1"/>
                    </a:cubicBezTo>
                    <a:cubicBezTo>
                      <a:pt x="35" y="1"/>
                      <a:pt x="35" y="1"/>
                      <a:pt x="34" y="1"/>
                    </a:cubicBezTo>
                    <a:cubicBezTo>
                      <a:pt x="33" y="1"/>
                      <a:pt x="33" y="1"/>
                      <a:pt x="33" y="1"/>
                    </a:cubicBezTo>
                    <a:cubicBezTo>
                      <a:pt x="32" y="1"/>
                      <a:pt x="32" y="0"/>
                      <a:pt x="31" y="1"/>
                    </a:cubicBezTo>
                    <a:cubicBezTo>
                      <a:pt x="31" y="1"/>
                      <a:pt x="30" y="3"/>
                      <a:pt x="30" y="3"/>
                    </a:cubicBezTo>
                    <a:cubicBezTo>
                      <a:pt x="29" y="3"/>
                      <a:pt x="28" y="3"/>
                      <a:pt x="28" y="4"/>
                    </a:cubicBezTo>
                    <a:cubicBezTo>
                      <a:pt x="28" y="4"/>
                      <a:pt x="26" y="7"/>
                      <a:pt x="25" y="7"/>
                    </a:cubicBezTo>
                    <a:cubicBezTo>
                      <a:pt x="24" y="9"/>
                      <a:pt x="24" y="9"/>
                      <a:pt x="22" y="10"/>
                    </a:cubicBezTo>
                    <a:cubicBezTo>
                      <a:pt x="20" y="10"/>
                      <a:pt x="20" y="10"/>
                      <a:pt x="19" y="12"/>
                    </a:cubicBezTo>
                    <a:cubicBezTo>
                      <a:pt x="19" y="13"/>
                      <a:pt x="19" y="15"/>
                      <a:pt x="20" y="16"/>
                    </a:cubicBezTo>
                    <a:cubicBezTo>
                      <a:pt x="21" y="17"/>
                      <a:pt x="21" y="19"/>
                      <a:pt x="20" y="21"/>
                    </a:cubicBezTo>
                    <a:cubicBezTo>
                      <a:pt x="20" y="21"/>
                      <a:pt x="20" y="22"/>
                      <a:pt x="20" y="23"/>
                    </a:cubicBezTo>
                    <a:cubicBezTo>
                      <a:pt x="20" y="24"/>
                      <a:pt x="20" y="24"/>
                      <a:pt x="20" y="25"/>
                    </a:cubicBezTo>
                    <a:cubicBezTo>
                      <a:pt x="20" y="26"/>
                      <a:pt x="20" y="27"/>
                      <a:pt x="20" y="28"/>
                    </a:cubicBezTo>
                    <a:cubicBezTo>
                      <a:pt x="21" y="29"/>
                      <a:pt x="20" y="30"/>
                      <a:pt x="20" y="30"/>
                    </a:cubicBezTo>
                    <a:cubicBezTo>
                      <a:pt x="19" y="32"/>
                      <a:pt x="19" y="33"/>
                      <a:pt x="18" y="34"/>
                    </a:cubicBezTo>
                    <a:cubicBezTo>
                      <a:pt x="17" y="34"/>
                      <a:pt x="16" y="34"/>
                      <a:pt x="16" y="34"/>
                    </a:cubicBezTo>
                    <a:cubicBezTo>
                      <a:pt x="15" y="35"/>
                      <a:pt x="14" y="35"/>
                      <a:pt x="13" y="36"/>
                    </a:cubicBezTo>
                    <a:cubicBezTo>
                      <a:pt x="12" y="37"/>
                      <a:pt x="10" y="38"/>
                      <a:pt x="8" y="39"/>
                    </a:cubicBezTo>
                    <a:cubicBezTo>
                      <a:pt x="6" y="40"/>
                      <a:pt x="5" y="41"/>
                      <a:pt x="3" y="43"/>
                    </a:cubicBezTo>
                    <a:cubicBezTo>
                      <a:pt x="2" y="43"/>
                      <a:pt x="0" y="44"/>
                      <a:pt x="0" y="45"/>
                    </a:cubicBezTo>
                    <a:cubicBezTo>
                      <a:pt x="0" y="46"/>
                      <a:pt x="1" y="48"/>
                      <a:pt x="2" y="50"/>
                    </a:cubicBezTo>
                    <a:cubicBezTo>
                      <a:pt x="2" y="51"/>
                      <a:pt x="2" y="52"/>
                      <a:pt x="3" y="53"/>
                    </a:cubicBezTo>
                    <a:cubicBezTo>
                      <a:pt x="3" y="53"/>
                      <a:pt x="3" y="54"/>
                      <a:pt x="3" y="54"/>
                    </a:cubicBezTo>
                    <a:cubicBezTo>
                      <a:pt x="3" y="54"/>
                      <a:pt x="3" y="54"/>
                      <a:pt x="3" y="54"/>
                    </a:cubicBezTo>
                    <a:cubicBezTo>
                      <a:pt x="2" y="55"/>
                      <a:pt x="3" y="56"/>
                      <a:pt x="3" y="56"/>
                    </a:cubicBezTo>
                    <a:cubicBezTo>
                      <a:pt x="4" y="56"/>
                      <a:pt x="4" y="56"/>
                      <a:pt x="5" y="56"/>
                    </a:cubicBezTo>
                    <a:cubicBezTo>
                      <a:pt x="5" y="56"/>
                      <a:pt x="5" y="56"/>
                      <a:pt x="5" y="57"/>
                    </a:cubicBezTo>
                    <a:cubicBezTo>
                      <a:pt x="5" y="57"/>
                      <a:pt x="5" y="58"/>
                      <a:pt x="4" y="58"/>
                    </a:cubicBezTo>
                    <a:cubicBezTo>
                      <a:pt x="6" y="58"/>
                      <a:pt x="9" y="59"/>
                      <a:pt x="11" y="59"/>
                    </a:cubicBezTo>
                    <a:cubicBezTo>
                      <a:pt x="13" y="60"/>
                      <a:pt x="15" y="60"/>
                      <a:pt x="17" y="61"/>
                    </a:cubicBezTo>
                    <a:cubicBezTo>
                      <a:pt x="18" y="62"/>
                      <a:pt x="20" y="63"/>
                      <a:pt x="22" y="64"/>
                    </a:cubicBezTo>
                    <a:cubicBezTo>
                      <a:pt x="23" y="65"/>
                      <a:pt x="25" y="66"/>
                      <a:pt x="26" y="67"/>
                    </a:cubicBezTo>
                    <a:cubicBezTo>
                      <a:pt x="28" y="68"/>
                      <a:pt x="30" y="68"/>
                      <a:pt x="32" y="69"/>
                    </a:cubicBezTo>
                    <a:cubicBezTo>
                      <a:pt x="33" y="70"/>
                      <a:pt x="34" y="71"/>
                      <a:pt x="36" y="72"/>
                    </a:cubicBezTo>
                    <a:cubicBezTo>
                      <a:pt x="42" y="78"/>
                      <a:pt x="49" y="82"/>
                      <a:pt x="55" y="88"/>
                    </a:cubicBezTo>
                    <a:cubicBezTo>
                      <a:pt x="57" y="89"/>
                      <a:pt x="58" y="90"/>
                      <a:pt x="60" y="90"/>
                    </a:cubicBezTo>
                    <a:cubicBezTo>
                      <a:pt x="61" y="90"/>
                      <a:pt x="63" y="91"/>
                      <a:pt x="65" y="91"/>
                    </a:cubicBezTo>
                    <a:cubicBezTo>
                      <a:pt x="67" y="91"/>
                      <a:pt x="69" y="91"/>
                      <a:pt x="71" y="91"/>
                    </a:cubicBezTo>
                    <a:cubicBezTo>
                      <a:pt x="73" y="92"/>
                      <a:pt x="75" y="92"/>
                      <a:pt x="76" y="91"/>
                    </a:cubicBezTo>
                    <a:cubicBezTo>
                      <a:pt x="77" y="90"/>
                      <a:pt x="78" y="89"/>
                      <a:pt x="79" y="87"/>
                    </a:cubicBezTo>
                    <a:cubicBezTo>
                      <a:pt x="79" y="86"/>
                      <a:pt x="80" y="84"/>
                      <a:pt x="80" y="83"/>
                    </a:cubicBezTo>
                    <a:cubicBezTo>
                      <a:pt x="81" y="79"/>
                      <a:pt x="85" y="80"/>
                      <a:pt x="88" y="81"/>
                    </a:cubicBezTo>
                    <a:cubicBezTo>
                      <a:pt x="88" y="81"/>
                      <a:pt x="88" y="81"/>
                      <a:pt x="88" y="80"/>
                    </a:cubicBezTo>
                    <a:cubicBezTo>
                      <a:pt x="88" y="81"/>
                      <a:pt x="88" y="81"/>
                      <a:pt x="88" y="81"/>
                    </a:cubicBezTo>
                    <a:cubicBezTo>
                      <a:pt x="89" y="82"/>
                      <a:pt x="89" y="81"/>
                      <a:pt x="89" y="81"/>
                    </a:cubicBezTo>
                    <a:cubicBezTo>
                      <a:pt x="89" y="81"/>
                      <a:pt x="90" y="81"/>
                      <a:pt x="90" y="81"/>
                    </a:cubicBezTo>
                    <a:cubicBezTo>
                      <a:pt x="91" y="81"/>
                      <a:pt x="93" y="83"/>
                      <a:pt x="94" y="82"/>
                    </a:cubicBezTo>
                    <a:cubicBezTo>
                      <a:pt x="94" y="82"/>
                      <a:pt x="93" y="82"/>
                      <a:pt x="93" y="8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599" name="Iran">
                <a:extLst>
                  <a:ext uri="{FF2B5EF4-FFF2-40B4-BE49-F238E27FC236}">
                    <a16:creationId xmlns:a16="http://schemas.microsoft.com/office/drawing/2014/main" id="{8804F7B5-2AA2-7A10-6C77-1608F7B0B3CE}"/>
                  </a:ext>
                </a:extLst>
              </p:cNvPr>
              <p:cNvSpPr>
                <a:spLocks noEditPoints="1"/>
              </p:cNvSpPr>
              <p:nvPr/>
            </p:nvSpPr>
            <p:spPr bwMode="auto">
              <a:xfrm>
                <a:off x="7116941" y="2494708"/>
                <a:ext cx="697877" cy="574376"/>
              </a:xfrm>
              <a:custGeom>
                <a:avLst/>
                <a:gdLst/>
                <a:ahLst/>
                <a:cxnLst>
                  <a:cxn ang="0">
                    <a:pos x="188" y="146"/>
                  </a:cxn>
                  <a:cxn ang="0">
                    <a:pos x="184" y="153"/>
                  </a:cxn>
                  <a:cxn ang="0">
                    <a:pos x="182" y="160"/>
                  </a:cxn>
                  <a:cxn ang="0">
                    <a:pos x="172" y="158"/>
                  </a:cxn>
                  <a:cxn ang="0">
                    <a:pos x="167" y="158"/>
                  </a:cxn>
                  <a:cxn ang="0">
                    <a:pos x="156" y="156"/>
                  </a:cxn>
                  <a:cxn ang="0">
                    <a:pos x="146" y="155"/>
                  </a:cxn>
                  <a:cxn ang="0">
                    <a:pos x="139" y="149"/>
                  </a:cxn>
                  <a:cxn ang="0">
                    <a:pos x="136" y="140"/>
                  </a:cxn>
                  <a:cxn ang="0">
                    <a:pos x="124" y="142"/>
                  </a:cxn>
                  <a:cxn ang="0">
                    <a:pos x="115" y="145"/>
                  </a:cxn>
                  <a:cxn ang="0">
                    <a:pos x="104" y="142"/>
                  </a:cxn>
                  <a:cxn ang="0">
                    <a:pos x="96" y="136"/>
                  </a:cxn>
                  <a:cxn ang="0">
                    <a:pos x="84" y="130"/>
                  </a:cxn>
                  <a:cxn ang="0">
                    <a:pos x="79" y="121"/>
                  </a:cxn>
                  <a:cxn ang="0">
                    <a:pos x="76" y="116"/>
                  </a:cxn>
                  <a:cxn ang="0">
                    <a:pos x="68" y="105"/>
                  </a:cxn>
                  <a:cxn ang="0">
                    <a:pos x="60" y="103"/>
                  </a:cxn>
                  <a:cxn ang="0">
                    <a:pos x="58" y="106"/>
                  </a:cxn>
                  <a:cxn ang="0">
                    <a:pos x="52" y="104"/>
                  </a:cxn>
                  <a:cxn ang="0">
                    <a:pos x="45" y="96"/>
                  </a:cxn>
                  <a:cxn ang="0">
                    <a:pos x="42" y="82"/>
                  </a:cxn>
                  <a:cxn ang="0">
                    <a:pos x="29" y="75"/>
                  </a:cxn>
                  <a:cxn ang="0">
                    <a:pos x="26" y="69"/>
                  </a:cxn>
                  <a:cxn ang="0">
                    <a:pos x="23" y="66"/>
                  </a:cxn>
                  <a:cxn ang="0">
                    <a:pos x="21" y="58"/>
                  </a:cxn>
                  <a:cxn ang="0">
                    <a:pos x="24" y="53"/>
                  </a:cxn>
                  <a:cxn ang="0">
                    <a:pos x="26" y="50"/>
                  </a:cxn>
                  <a:cxn ang="0">
                    <a:pos x="26" y="44"/>
                  </a:cxn>
                  <a:cxn ang="0">
                    <a:pos x="17" y="41"/>
                  </a:cxn>
                  <a:cxn ang="0">
                    <a:pos x="15" y="37"/>
                  </a:cxn>
                  <a:cxn ang="0">
                    <a:pos x="11" y="29"/>
                  </a:cxn>
                  <a:cxn ang="0">
                    <a:pos x="6" y="21"/>
                  </a:cxn>
                  <a:cxn ang="0">
                    <a:pos x="5" y="15"/>
                  </a:cxn>
                  <a:cxn ang="0">
                    <a:pos x="2" y="6"/>
                  </a:cxn>
                  <a:cxn ang="0">
                    <a:pos x="7" y="1"/>
                  </a:cxn>
                  <a:cxn ang="0">
                    <a:pos x="14" y="9"/>
                  </a:cxn>
                  <a:cxn ang="0">
                    <a:pos x="25" y="9"/>
                  </a:cxn>
                  <a:cxn ang="0">
                    <a:pos x="33" y="2"/>
                  </a:cxn>
                  <a:cxn ang="0">
                    <a:pos x="37" y="10"/>
                  </a:cxn>
                  <a:cxn ang="0">
                    <a:pos x="46" y="15"/>
                  </a:cxn>
                  <a:cxn ang="0">
                    <a:pos x="59" y="26"/>
                  </a:cxn>
                  <a:cxn ang="0">
                    <a:pos x="75" y="35"/>
                  </a:cxn>
                  <a:cxn ang="0">
                    <a:pos x="91" y="32"/>
                  </a:cxn>
                  <a:cxn ang="0">
                    <a:pos x="93" y="27"/>
                  </a:cxn>
                  <a:cxn ang="0">
                    <a:pos x="108" y="18"/>
                  </a:cxn>
                  <a:cxn ang="0">
                    <a:pos x="118" y="17"/>
                  </a:cxn>
                  <a:cxn ang="0">
                    <a:pos x="130" y="22"/>
                  </a:cxn>
                  <a:cxn ang="0">
                    <a:pos x="137" y="23"/>
                  </a:cxn>
                  <a:cxn ang="0">
                    <a:pos x="143" y="27"/>
                  </a:cxn>
                  <a:cxn ang="0">
                    <a:pos x="154" y="35"/>
                  </a:cxn>
                  <a:cxn ang="0">
                    <a:pos x="162" y="42"/>
                  </a:cxn>
                  <a:cxn ang="0">
                    <a:pos x="163" y="54"/>
                  </a:cxn>
                  <a:cxn ang="0">
                    <a:pos x="160" y="65"/>
                  </a:cxn>
                  <a:cxn ang="0">
                    <a:pos x="164" y="70"/>
                  </a:cxn>
                  <a:cxn ang="0">
                    <a:pos x="166" y="86"/>
                  </a:cxn>
                  <a:cxn ang="0">
                    <a:pos x="177" y="97"/>
                  </a:cxn>
                  <a:cxn ang="0">
                    <a:pos x="172" y="112"/>
                  </a:cxn>
                  <a:cxn ang="0">
                    <a:pos x="178" y="121"/>
                  </a:cxn>
                  <a:cxn ang="0">
                    <a:pos x="190" y="130"/>
                  </a:cxn>
                  <a:cxn ang="0">
                    <a:pos x="196" y="141"/>
                  </a:cxn>
                  <a:cxn ang="0">
                    <a:pos x="122" y="144"/>
                  </a:cxn>
                  <a:cxn ang="0">
                    <a:pos x="128" y="144"/>
                  </a:cxn>
                </a:cxnLst>
                <a:rect l="0" t="0" r="r" b="b"/>
                <a:pathLst>
                  <a:path w="197" h="162">
                    <a:moveTo>
                      <a:pt x="196" y="141"/>
                    </a:moveTo>
                    <a:cubicBezTo>
                      <a:pt x="197" y="142"/>
                      <a:pt x="196" y="142"/>
                      <a:pt x="196" y="143"/>
                    </a:cubicBezTo>
                    <a:cubicBezTo>
                      <a:pt x="196" y="143"/>
                      <a:pt x="196" y="144"/>
                      <a:pt x="196" y="144"/>
                    </a:cubicBezTo>
                    <a:cubicBezTo>
                      <a:pt x="195" y="145"/>
                      <a:pt x="194" y="144"/>
                      <a:pt x="193" y="144"/>
                    </a:cubicBezTo>
                    <a:cubicBezTo>
                      <a:pt x="192" y="144"/>
                      <a:pt x="191" y="145"/>
                      <a:pt x="190" y="145"/>
                    </a:cubicBezTo>
                    <a:cubicBezTo>
                      <a:pt x="190" y="145"/>
                      <a:pt x="189" y="145"/>
                      <a:pt x="188" y="146"/>
                    </a:cubicBezTo>
                    <a:cubicBezTo>
                      <a:pt x="188" y="146"/>
                      <a:pt x="188" y="146"/>
                      <a:pt x="188" y="147"/>
                    </a:cubicBezTo>
                    <a:cubicBezTo>
                      <a:pt x="187" y="147"/>
                      <a:pt x="188" y="147"/>
                      <a:pt x="188" y="147"/>
                    </a:cubicBezTo>
                    <a:cubicBezTo>
                      <a:pt x="188" y="148"/>
                      <a:pt x="187" y="147"/>
                      <a:pt x="186" y="148"/>
                    </a:cubicBezTo>
                    <a:cubicBezTo>
                      <a:pt x="186" y="148"/>
                      <a:pt x="186" y="148"/>
                      <a:pt x="186" y="148"/>
                    </a:cubicBezTo>
                    <a:cubicBezTo>
                      <a:pt x="185" y="148"/>
                      <a:pt x="185" y="148"/>
                      <a:pt x="185" y="149"/>
                    </a:cubicBezTo>
                    <a:cubicBezTo>
                      <a:pt x="183" y="149"/>
                      <a:pt x="184" y="152"/>
                      <a:pt x="184" y="153"/>
                    </a:cubicBezTo>
                    <a:cubicBezTo>
                      <a:pt x="184" y="154"/>
                      <a:pt x="183" y="153"/>
                      <a:pt x="183" y="154"/>
                    </a:cubicBezTo>
                    <a:cubicBezTo>
                      <a:pt x="183" y="155"/>
                      <a:pt x="183" y="155"/>
                      <a:pt x="183" y="155"/>
                    </a:cubicBezTo>
                    <a:cubicBezTo>
                      <a:pt x="183" y="156"/>
                      <a:pt x="183" y="156"/>
                      <a:pt x="183" y="156"/>
                    </a:cubicBezTo>
                    <a:cubicBezTo>
                      <a:pt x="183" y="157"/>
                      <a:pt x="183" y="159"/>
                      <a:pt x="183" y="160"/>
                    </a:cubicBezTo>
                    <a:cubicBezTo>
                      <a:pt x="183" y="160"/>
                      <a:pt x="183" y="160"/>
                      <a:pt x="182" y="160"/>
                    </a:cubicBezTo>
                    <a:cubicBezTo>
                      <a:pt x="182" y="160"/>
                      <a:pt x="182" y="160"/>
                      <a:pt x="182" y="160"/>
                    </a:cubicBezTo>
                    <a:cubicBezTo>
                      <a:pt x="181" y="160"/>
                      <a:pt x="182" y="160"/>
                      <a:pt x="182" y="161"/>
                    </a:cubicBezTo>
                    <a:cubicBezTo>
                      <a:pt x="182" y="161"/>
                      <a:pt x="181" y="161"/>
                      <a:pt x="181" y="162"/>
                    </a:cubicBezTo>
                    <a:cubicBezTo>
                      <a:pt x="181" y="162"/>
                      <a:pt x="180" y="161"/>
                      <a:pt x="179" y="161"/>
                    </a:cubicBezTo>
                    <a:cubicBezTo>
                      <a:pt x="179" y="161"/>
                      <a:pt x="179" y="161"/>
                      <a:pt x="178" y="160"/>
                    </a:cubicBezTo>
                    <a:cubicBezTo>
                      <a:pt x="177" y="160"/>
                      <a:pt x="175" y="160"/>
                      <a:pt x="174" y="160"/>
                    </a:cubicBezTo>
                    <a:cubicBezTo>
                      <a:pt x="173" y="159"/>
                      <a:pt x="173" y="158"/>
                      <a:pt x="172" y="158"/>
                    </a:cubicBezTo>
                    <a:cubicBezTo>
                      <a:pt x="172" y="158"/>
                      <a:pt x="171" y="158"/>
                      <a:pt x="171" y="158"/>
                    </a:cubicBezTo>
                    <a:cubicBezTo>
                      <a:pt x="171" y="159"/>
                      <a:pt x="172" y="159"/>
                      <a:pt x="172" y="159"/>
                    </a:cubicBezTo>
                    <a:cubicBezTo>
                      <a:pt x="172" y="159"/>
                      <a:pt x="171" y="159"/>
                      <a:pt x="171" y="159"/>
                    </a:cubicBezTo>
                    <a:cubicBezTo>
                      <a:pt x="170" y="159"/>
                      <a:pt x="170" y="159"/>
                      <a:pt x="170" y="158"/>
                    </a:cubicBezTo>
                    <a:cubicBezTo>
                      <a:pt x="169" y="158"/>
                      <a:pt x="169" y="159"/>
                      <a:pt x="168" y="159"/>
                    </a:cubicBezTo>
                    <a:cubicBezTo>
                      <a:pt x="168" y="158"/>
                      <a:pt x="168" y="158"/>
                      <a:pt x="167" y="158"/>
                    </a:cubicBezTo>
                    <a:cubicBezTo>
                      <a:pt x="167" y="159"/>
                      <a:pt x="166" y="159"/>
                      <a:pt x="166" y="158"/>
                    </a:cubicBezTo>
                    <a:cubicBezTo>
                      <a:pt x="165" y="157"/>
                      <a:pt x="164" y="159"/>
                      <a:pt x="163" y="158"/>
                    </a:cubicBezTo>
                    <a:cubicBezTo>
                      <a:pt x="162" y="157"/>
                      <a:pt x="162" y="157"/>
                      <a:pt x="160" y="158"/>
                    </a:cubicBezTo>
                    <a:cubicBezTo>
                      <a:pt x="160" y="158"/>
                      <a:pt x="159" y="158"/>
                      <a:pt x="158" y="158"/>
                    </a:cubicBezTo>
                    <a:cubicBezTo>
                      <a:pt x="158" y="158"/>
                      <a:pt x="157" y="157"/>
                      <a:pt x="157" y="157"/>
                    </a:cubicBezTo>
                    <a:cubicBezTo>
                      <a:pt x="157" y="157"/>
                      <a:pt x="156" y="156"/>
                      <a:pt x="156" y="156"/>
                    </a:cubicBezTo>
                    <a:cubicBezTo>
                      <a:pt x="155" y="156"/>
                      <a:pt x="154" y="156"/>
                      <a:pt x="154" y="156"/>
                    </a:cubicBezTo>
                    <a:cubicBezTo>
                      <a:pt x="153" y="156"/>
                      <a:pt x="153" y="156"/>
                      <a:pt x="152" y="156"/>
                    </a:cubicBezTo>
                    <a:cubicBezTo>
                      <a:pt x="152" y="156"/>
                      <a:pt x="151" y="156"/>
                      <a:pt x="150" y="156"/>
                    </a:cubicBezTo>
                    <a:cubicBezTo>
                      <a:pt x="149" y="157"/>
                      <a:pt x="149" y="156"/>
                      <a:pt x="148" y="155"/>
                    </a:cubicBezTo>
                    <a:cubicBezTo>
                      <a:pt x="147" y="154"/>
                      <a:pt x="147" y="156"/>
                      <a:pt x="146" y="155"/>
                    </a:cubicBezTo>
                    <a:cubicBezTo>
                      <a:pt x="146" y="155"/>
                      <a:pt x="146" y="155"/>
                      <a:pt x="146" y="155"/>
                    </a:cubicBezTo>
                    <a:cubicBezTo>
                      <a:pt x="146" y="154"/>
                      <a:pt x="145" y="154"/>
                      <a:pt x="145" y="154"/>
                    </a:cubicBezTo>
                    <a:cubicBezTo>
                      <a:pt x="144" y="154"/>
                      <a:pt x="142" y="154"/>
                      <a:pt x="141" y="153"/>
                    </a:cubicBezTo>
                    <a:cubicBezTo>
                      <a:pt x="141" y="153"/>
                      <a:pt x="141" y="152"/>
                      <a:pt x="141" y="152"/>
                    </a:cubicBezTo>
                    <a:cubicBezTo>
                      <a:pt x="140" y="151"/>
                      <a:pt x="140" y="151"/>
                      <a:pt x="140" y="150"/>
                    </a:cubicBezTo>
                    <a:cubicBezTo>
                      <a:pt x="140" y="150"/>
                      <a:pt x="140" y="150"/>
                      <a:pt x="140" y="149"/>
                    </a:cubicBezTo>
                    <a:cubicBezTo>
                      <a:pt x="140" y="149"/>
                      <a:pt x="140" y="149"/>
                      <a:pt x="139" y="149"/>
                    </a:cubicBezTo>
                    <a:cubicBezTo>
                      <a:pt x="139" y="148"/>
                      <a:pt x="139" y="148"/>
                      <a:pt x="139" y="148"/>
                    </a:cubicBezTo>
                    <a:cubicBezTo>
                      <a:pt x="139" y="147"/>
                      <a:pt x="139" y="145"/>
                      <a:pt x="138" y="144"/>
                    </a:cubicBezTo>
                    <a:cubicBezTo>
                      <a:pt x="138" y="143"/>
                      <a:pt x="138" y="142"/>
                      <a:pt x="137" y="141"/>
                    </a:cubicBezTo>
                    <a:cubicBezTo>
                      <a:pt x="137" y="141"/>
                      <a:pt x="137" y="141"/>
                      <a:pt x="137" y="141"/>
                    </a:cubicBezTo>
                    <a:cubicBezTo>
                      <a:pt x="137" y="141"/>
                      <a:pt x="136" y="140"/>
                      <a:pt x="136" y="140"/>
                    </a:cubicBezTo>
                    <a:cubicBezTo>
                      <a:pt x="136" y="140"/>
                      <a:pt x="136" y="140"/>
                      <a:pt x="136" y="140"/>
                    </a:cubicBezTo>
                    <a:cubicBezTo>
                      <a:pt x="136" y="139"/>
                      <a:pt x="135" y="139"/>
                      <a:pt x="135" y="139"/>
                    </a:cubicBezTo>
                    <a:cubicBezTo>
                      <a:pt x="135" y="139"/>
                      <a:pt x="134" y="139"/>
                      <a:pt x="133" y="139"/>
                    </a:cubicBezTo>
                    <a:cubicBezTo>
                      <a:pt x="132" y="139"/>
                      <a:pt x="132" y="139"/>
                      <a:pt x="131" y="138"/>
                    </a:cubicBezTo>
                    <a:cubicBezTo>
                      <a:pt x="130" y="138"/>
                      <a:pt x="130" y="138"/>
                      <a:pt x="129" y="139"/>
                    </a:cubicBezTo>
                    <a:cubicBezTo>
                      <a:pt x="129" y="139"/>
                      <a:pt x="128" y="140"/>
                      <a:pt x="128" y="140"/>
                    </a:cubicBezTo>
                    <a:cubicBezTo>
                      <a:pt x="127" y="141"/>
                      <a:pt x="125" y="140"/>
                      <a:pt x="124" y="142"/>
                    </a:cubicBezTo>
                    <a:cubicBezTo>
                      <a:pt x="124" y="142"/>
                      <a:pt x="124" y="142"/>
                      <a:pt x="124" y="143"/>
                    </a:cubicBezTo>
                    <a:cubicBezTo>
                      <a:pt x="124" y="143"/>
                      <a:pt x="124" y="143"/>
                      <a:pt x="123" y="143"/>
                    </a:cubicBezTo>
                    <a:cubicBezTo>
                      <a:pt x="123" y="144"/>
                      <a:pt x="122" y="142"/>
                      <a:pt x="121" y="143"/>
                    </a:cubicBezTo>
                    <a:cubicBezTo>
                      <a:pt x="120" y="144"/>
                      <a:pt x="119" y="144"/>
                      <a:pt x="119" y="145"/>
                    </a:cubicBezTo>
                    <a:cubicBezTo>
                      <a:pt x="118" y="146"/>
                      <a:pt x="117" y="146"/>
                      <a:pt x="116" y="146"/>
                    </a:cubicBezTo>
                    <a:cubicBezTo>
                      <a:pt x="115" y="146"/>
                      <a:pt x="115" y="145"/>
                      <a:pt x="115" y="145"/>
                    </a:cubicBezTo>
                    <a:cubicBezTo>
                      <a:pt x="114" y="145"/>
                      <a:pt x="114" y="145"/>
                      <a:pt x="113" y="145"/>
                    </a:cubicBezTo>
                    <a:cubicBezTo>
                      <a:pt x="113" y="145"/>
                      <a:pt x="113" y="144"/>
                      <a:pt x="113" y="144"/>
                    </a:cubicBezTo>
                    <a:cubicBezTo>
                      <a:pt x="112" y="143"/>
                      <a:pt x="112" y="144"/>
                      <a:pt x="111" y="144"/>
                    </a:cubicBezTo>
                    <a:cubicBezTo>
                      <a:pt x="110" y="144"/>
                      <a:pt x="110" y="143"/>
                      <a:pt x="109" y="143"/>
                    </a:cubicBezTo>
                    <a:cubicBezTo>
                      <a:pt x="108" y="144"/>
                      <a:pt x="108" y="144"/>
                      <a:pt x="107" y="144"/>
                    </a:cubicBezTo>
                    <a:cubicBezTo>
                      <a:pt x="106" y="144"/>
                      <a:pt x="105" y="143"/>
                      <a:pt x="104" y="142"/>
                    </a:cubicBezTo>
                    <a:cubicBezTo>
                      <a:pt x="104" y="141"/>
                      <a:pt x="104" y="141"/>
                      <a:pt x="104" y="141"/>
                    </a:cubicBezTo>
                    <a:cubicBezTo>
                      <a:pt x="103" y="141"/>
                      <a:pt x="103" y="140"/>
                      <a:pt x="102" y="140"/>
                    </a:cubicBezTo>
                    <a:cubicBezTo>
                      <a:pt x="101" y="140"/>
                      <a:pt x="99" y="139"/>
                      <a:pt x="98" y="138"/>
                    </a:cubicBezTo>
                    <a:cubicBezTo>
                      <a:pt x="97" y="138"/>
                      <a:pt x="97" y="137"/>
                      <a:pt x="96" y="137"/>
                    </a:cubicBezTo>
                    <a:cubicBezTo>
                      <a:pt x="96" y="137"/>
                      <a:pt x="95" y="136"/>
                      <a:pt x="96" y="136"/>
                    </a:cubicBezTo>
                    <a:cubicBezTo>
                      <a:pt x="96" y="136"/>
                      <a:pt x="96" y="136"/>
                      <a:pt x="96" y="136"/>
                    </a:cubicBezTo>
                    <a:cubicBezTo>
                      <a:pt x="96" y="135"/>
                      <a:pt x="95" y="135"/>
                      <a:pt x="95" y="135"/>
                    </a:cubicBezTo>
                    <a:cubicBezTo>
                      <a:pt x="94" y="133"/>
                      <a:pt x="93" y="133"/>
                      <a:pt x="92" y="133"/>
                    </a:cubicBezTo>
                    <a:cubicBezTo>
                      <a:pt x="91" y="133"/>
                      <a:pt x="91" y="132"/>
                      <a:pt x="90" y="132"/>
                    </a:cubicBezTo>
                    <a:cubicBezTo>
                      <a:pt x="90" y="131"/>
                      <a:pt x="89" y="131"/>
                      <a:pt x="88" y="131"/>
                    </a:cubicBezTo>
                    <a:cubicBezTo>
                      <a:pt x="87" y="131"/>
                      <a:pt x="86" y="132"/>
                      <a:pt x="85" y="130"/>
                    </a:cubicBezTo>
                    <a:cubicBezTo>
                      <a:pt x="84" y="130"/>
                      <a:pt x="84" y="130"/>
                      <a:pt x="84" y="130"/>
                    </a:cubicBezTo>
                    <a:cubicBezTo>
                      <a:pt x="83" y="130"/>
                      <a:pt x="83" y="129"/>
                      <a:pt x="83" y="128"/>
                    </a:cubicBezTo>
                    <a:cubicBezTo>
                      <a:pt x="83" y="129"/>
                      <a:pt x="83" y="129"/>
                      <a:pt x="83" y="129"/>
                    </a:cubicBezTo>
                    <a:cubicBezTo>
                      <a:pt x="82" y="129"/>
                      <a:pt x="82" y="128"/>
                      <a:pt x="82" y="127"/>
                    </a:cubicBezTo>
                    <a:cubicBezTo>
                      <a:pt x="82" y="127"/>
                      <a:pt x="82" y="126"/>
                      <a:pt x="82" y="126"/>
                    </a:cubicBezTo>
                    <a:cubicBezTo>
                      <a:pt x="81" y="125"/>
                      <a:pt x="80" y="124"/>
                      <a:pt x="80" y="123"/>
                    </a:cubicBezTo>
                    <a:cubicBezTo>
                      <a:pt x="80" y="122"/>
                      <a:pt x="80" y="122"/>
                      <a:pt x="79" y="121"/>
                    </a:cubicBezTo>
                    <a:cubicBezTo>
                      <a:pt x="79" y="121"/>
                      <a:pt x="78" y="121"/>
                      <a:pt x="78" y="120"/>
                    </a:cubicBezTo>
                    <a:cubicBezTo>
                      <a:pt x="77" y="120"/>
                      <a:pt x="77" y="119"/>
                      <a:pt x="77" y="119"/>
                    </a:cubicBezTo>
                    <a:cubicBezTo>
                      <a:pt x="77" y="119"/>
                      <a:pt x="78" y="119"/>
                      <a:pt x="78" y="119"/>
                    </a:cubicBezTo>
                    <a:cubicBezTo>
                      <a:pt x="78" y="119"/>
                      <a:pt x="78" y="118"/>
                      <a:pt x="78" y="118"/>
                    </a:cubicBezTo>
                    <a:cubicBezTo>
                      <a:pt x="77" y="117"/>
                      <a:pt x="76" y="117"/>
                      <a:pt x="76" y="117"/>
                    </a:cubicBezTo>
                    <a:cubicBezTo>
                      <a:pt x="75" y="117"/>
                      <a:pt x="75" y="116"/>
                      <a:pt x="76" y="116"/>
                    </a:cubicBezTo>
                    <a:cubicBezTo>
                      <a:pt x="76" y="115"/>
                      <a:pt x="75" y="115"/>
                      <a:pt x="75" y="114"/>
                    </a:cubicBezTo>
                    <a:cubicBezTo>
                      <a:pt x="75" y="114"/>
                      <a:pt x="74" y="113"/>
                      <a:pt x="75" y="113"/>
                    </a:cubicBezTo>
                    <a:cubicBezTo>
                      <a:pt x="74" y="113"/>
                      <a:pt x="73" y="112"/>
                      <a:pt x="73" y="111"/>
                    </a:cubicBezTo>
                    <a:cubicBezTo>
                      <a:pt x="72" y="111"/>
                      <a:pt x="71" y="110"/>
                      <a:pt x="70" y="109"/>
                    </a:cubicBezTo>
                    <a:cubicBezTo>
                      <a:pt x="70" y="108"/>
                      <a:pt x="70" y="108"/>
                      <a:pt x="69" y="107"/>
                    </a:cubicBezTo>
                    <a:cubicBezTo>
                      <a:pt x="69" y="106"/>
                      <a:pt x="69" y="105"/>
                      <a:pt x="68" y="105"/>
                    </a:cubicBezTo>
                    <a:cubicBezTo>
                      <a:pt x="67" y="105"/>
                      <a:pt x="64" y="109"/>
                      <a:pt x="64" y="107"/>
                    </a:cubicBezTo>
                    <a:cubicBezTo>
                      <a:pt x="63" y="105"/>
                      <a:pt x="60" y="107"/>
                      <a:pt x="61" y="105"/>
                    </a:cubicBezTo>
                    <a:cubicBezTo>
                      <a:pt x="60" y="105"/>
                      <a:pt x="60" y="105"/>
                      <a:pt x="59" y="105"/>
                    </a:cubicBezTo>
                    <a:cubicBezTo>
                      <a:pt x="59" y="104"/>
                      <a:pt x="59" y="104"/>
                      <a:pt x="59" y="104"/>
                    </a:cubicBezTo>
                    <a:cubicBezTo>
                      <a:pt x="58" y="104"/>
                      <a:pt x="58" y="104"/>
                      <a:pt x="58" y="103"/>
                    </a:cubicBezTo>
                    <a:cubicBezTo>
                      <a:pt x="58" y="103"/>
                      <a:pt x="60" y="103"/>
                      <a:pt x="60" y="103"/>
                    </a:cubicBezTo>
                    <a:cubicBezTo>
                      <a:pt x="61" y="104"/>
                      <a:pt x="61" y="102"/>
                      <a:pt x="60" y="102"/>
                    </a:cubicBezTo>
                    <a:cubicBezTo>
                      <a:pt x="60" y="102"/>
                      <a:pt x="60" y="102"/>
                      <a:pt x="60" y="102"/>
                    </a:cubicBezTo>
                    <a:cubicBezTo>
                      <a:pt x="59" y="102"/>
                      <a:pt x="59" y="102"/>
                      <a:pt x="58" y="102"/>
                    </a:cubicBezTo>
                    <a:cubicBezTo>
                      <a:pt x="57" y="102"/>
                      <a:pt x="60" y="103"/>
                      <a:pt x="58" y="103"/>
                    </a:cubicBezTo>
                    <a:cubicBezTo>
                      <a:pt x="58" y="103"/>
                      <a:pt x="57" y="103"/>
                      <a:pt x="57" y="104"/>
                    </a:cubicBezTo>
                    <a:cubicBezTo>
                      <a:pt x="57" y="105"/>
                      <a:pt x="58" y="105"/>
                      <a:pt x="58" y="106"/>
                    </a:cubicBezTo>
                    <a:cubicBezTo>
                      <a:pt x="58" y="106"/>
                      <a:pt x="58" y="107"/>
                      <a:pt x="58" y="107"/>
                    </a:cubicBezTo>
                    <a:cubicBezTo>
                      <a:pt x="58" y="108"/>
                      <a:pt x="56" y="107"/>
                      <a:pt x="56" y="107"/>
                    </a:cubicBezTo>
                    <a:cubicBezTo>
                      <a:pt x="55" y="107"/>
                      <a:pt x="56" y="107"/>
                      <a:pt x="56" y="108"/>
                    </a:cubicBezTo>
                    <a:cubicBezTo>
                      <a:pt x="56" y="108"/>
                      <a:pt x="55" y="108"/>
                      <a:pt x="55" y="108"/>
                    </a:cubicBezTo>
                    <a:cubicBezTo>
                      <a:pt x="53" y="108"/>
                      <a:pt x="54" y="106"/>
                      <a:pt x="53" y="105"/>
                    </a:cubicBezTo>
                    <a:cubicBezTo>
                      <a:pt x="52" y="104"/>
                      <a:pt x="52" y="104"/>
                      <a:pt x="52" y="104"/>
                    </a:cubicBezTo>
                    <a:cubicBezTo>
                      <a:pt x="52" y="104"/>
                      <a:pt x="51" y="104"/>
                      <a:pt x="51" y="104"/>
                    </a:cubicBezTo>
                    <a:cubicBezTo>
                      <a:pt x="51" y="104"/>
                      <a:pt x="51" y="103"/>
                      <a:pt x="50" y="103"/>
                    </a:cubicBezTo>
                    <a:cubicBezTo>
                      <a:pt x="49" y="102"/>
                      <a:pt x="49" y="99"/>
                      <a:pt x="49" y="98"/>
                    </a:cubicBezTo>
                    <a:cubicBezTo>
                      <a:pt x="49" y="98"/>
                      <a:pt x="49" y="97"/>
                      <a:pt x="49" y="97"/>
                    </a:cubicBezTo>
                    <a:cubicBezTo>
                      <a:pt x="48" y="96"/>
                      <a:pt x="47" y="97"/>
                      <a:pt x="46" y="97"/>
                    </a:cubicBezTo>
                    <a:cubicBezTo>
                      <a:pt x="46" y="97"/>
                      <a:pt x="46" y="96"/>
                      <a:pt x="45" y="96"/>
                    </a:cubicBezTo>
                    <a:cubicBezTo>
                      <a:pt x="45" y="95"/>
                      <a:pt x="45" y="94"/>
                      <a:pt x="45" y="93"/>
                    </a:cubicBezTo>
                    <a:cubicBezTo>
                      <a:pt x="45" y="91"/>
                      <a:pt x="46" y="90"/>
                      <a:pt x="46" y="88"/>
                    </a:cubicBezTo>
                    <a:cubicBezTo>
                      <a:pt x="46" y="87"/>
                      <a:pt x="45" y="87"/>
                      <a:pt x="45" y="86"/>
                    </a:cubicBezTo>
                    <a:cubicBezTo>
                      <a:pt x="44" y="86"/>
                      <a:pt x="44" y="85"/>
                      <a:pt x="43" y="84"/>
                    </a:cubicBezTo>
                    <a:cubicBezTo>
                      <a:pt x="43" y="84"/>
                      <a:pt x="43" y="84"/>
                      <a:pt x="43" y="83"/>
                    </a:cubicBezTo>
                    <a:cubicBezTo>
                      <a:pt x="43" y="83"/>
                      <a:pt x="42" y="82"/>
                      <a:pt x="42" y="82"/>
                    </a:cubicBezTo>
                    <a:cubicBezTo>
                      <a:pt x="41" y="82"/>
                      <a:pt x="42" y="81"/>
                      <a:pt x="41" y="80"/>
                    </a:cubicBezTo>
                    <a:cubicBezTo>
                      <a:pt x="40" y="80"/>
                      <a:pt x="40" y="80"/>
                      <a:pt x="39" y="80"/>
                    </a:cubicBezTo>
                    <a:cubicBezTo>
                      <a:pt x="38" y="81"/>
                      <a:pt x="37" y="80"/>
                      <a:pt x="37" y="79"/>
                    </a:cubicBezTo>
                    <a:cubicBezTo>
                      <a:pt x="36" y="79"/>
                      <a:pt x="35" y="78"/>
                      <a:pt x="34" y="77"/>
                    </a:cubicBezTo>
                    <a:cubicBezTo>
                      <a:pt x="34" y="77"/>
                      <a:pt x="33" y="76"/>
                      <a:pt x="32" y="76"/>
                    </a:cubicBezTo>
                    <a:cubicBezTo>
                      <a:pt x="31" y="75"/>
                      <a:pt x="30" y="75"/>
                      <a:pt x="29" y="75"/>
                    </a:cubicBezTo>
                    <a:cubicBezTo>
                      <a:pt x="28" y="75"/>
                      <a:pt x="29" y="74"/>
                      <a:pt x="28" y="74"/>
                    </a:cubicBezTo>
                    <a:cubicBezTo>
                      <a:pt x="28" y="74"/>
                      <a:pt x="28" y="73"/>
                      <a:pt x="28" y="73"/>
                    </a:cubicBezTo>
                    <a:cubicBezTo>
                      <a:pt x="29" y="73"/>
                      <a:pt x="29" y="72"/>
                      <a:pt x="29" y="72"/>
                    </a:cubicBezTo>
                    <a:cubicBezTo>
                      <a:pt x="29" y="71"/>
                      <a:pt x="28" y="71"/>
                      <a:pt x="28" y="71"/>
                    </a:cubicBezTo>
                    <a:cubicBezTo>
                      <a:pt x="27" y="70"/>
                      <a:pt x="27" y="70"/>
                      <a:pt x="27" y="69"/>
                    </a:cubicBezTo>
                    <a:cubicBezTo>
                      <a:pt x="27" y="69"/>
                      <a:pt x="26" y="69"/>
                      <a:pt x="26" y="69"/>
                    </a:cubicBezTo>
                    <a:cubicBezTo>
                      <a:pt x="25" y="69"/>
                      <a:pt x="26" y="69"/>
                      <a:pt x="26" y="69"/>
                    </a:cubicBezTo>
                    <a:cubicBezTo>
                      <a:pt x="26" y="68"/>
                      <a:pt x="26" y="68"/>
                      <a:pt x="26" y="68"/>
                    </a:cubicBezTo>
                    <a:cubicBezTo>
                      <a:pt x="26" y="67"/>
                      <a:pt x="25" y="68"/>
                      <a:pt x="25" y="68"/>
                    </a:cubicBezTo>
                    <a:cubicBezTo>
                      <a:pt x="24" y="68"/>
                      <a:pt x="24" y="68"/>
                      <a:pt x="24" y="67"/>
                    </a:cubicBezTo>
                    <a:cubicBezTo>
                      <a:pt x="24" y="67"/>
                      <a:pt x="24" y="67"/>
                      <a:pt x="24" y="67"/>
                    </a:cubicBezTo>
                    <a:cubicBezTo>
                      <a:pt x="23" y="67"/>
                      <a:pt x="23" y="66"/>
                      <a:pt x="23" y="66"/>
                    </a:cubicBezTo>
                    <a:cubicBezTo>
                      <a:pt x="23" y="66"/>
                      <a:pt x="22" y="65"/>
                      <a:pt x="22" y="64"/>
                    </a:cubicBezTo>
                    <a:cubicBezTo>
                      <a:pt x="22" y="64"/>
                      <a:pt x="21" y="64"/>
                      <a:pt x="21" y="64"/>
                    </a:cubicBezTo>
                    <a:cubicBezTo>
                      <a:pt x="21" y="64"/>
                      <a:pt x="21" y="63"/>
                      <a:pt x="22" y="62"/>
                    </a:cubicBezTo>
                    <a:cubicBezTo>
                      <a:pt x="22" y="62"/>
                      <a:pt x="22" y="61"/>
                      <a:pt x="22" y="61"/>
                    </a:cubicBezTo>
                    <a:cubicBezTo>
                      <a:pt x="22" y="60"/>
                      <a:pt x="21" y="60"/>
                      <a:pt x="21" y="59"/>
                    </a:cubicBezTo>
                    <a:cubicBezTo>
                      <a:pt x="20" y="58"/>
                      <a:pt x="21" y="59"/>
                      <a:pt x="21" y="58"/>
                    </a:cubicBezTo>
                    <a:cubicBezTo>
                      <a:pt x="21" y="58"/>
                      <a:pt x="21" y="57"/>
                      <a:pt x="21" y="57"/>
                    </a:cubicBezTo>
                    <a:cubicBezTo>
                      <a:pt x="22" y="57"/>
                      <a:pt x="22" y="57"/>
                      <a:pt x="23" y="57"/>
                    </a:cubicBezTo>
                    <a:cubicBezTo>
                      <a:pt x="23" y="57"/>
                      <a:pt x="23" y="57"/>
                      <a:pt x="23" y="56"/>
                    </a:cubicBezTo>
                    <a:cubicBezTo>
                      <a:pt x="22" y="56"/>
                      <a:pt x="22" y="56"/>
                      <a:pt x="22" y="55"/>
                    </a:cubicBezTo>
                    <a:cubicBezTo>
                      <a:pt x="23" y="54"/>
                      <a:pt x="23" y="54"/>
                      <a:pt x="23" y="54"/>
                    </a:cubicBezTo>
                    <a:cubicBezTo>
                      <a:pt x="23" y="53"/>
                      <a:pt x="24" y="54"/>
                      <a:pt x="24" y="53"/>
                    </a:cubicBezTo>
                    <a:cubicBezTo>
                      <a:pt x="24" y="53"/>
                      <a:pt x="24" y="52"/>
                      <a:pt x="24" y="52"/>
                    </a:cubicBezTo>
                    <a:cubicBezTo>
                      <a:pt x="24" y="51"/>
                      <a:pt x="25" y="52"/>
                      <a:pt x="25" y="52"/>
                    </a:cubicBezTo>
                    <a:cubicBezTo>
                      <a:pt x="26" y="52"/>
                      <a:pt x="26" y="52"/>
                      <a:pt x="26" y="52"/>
                    </a:cubicBezTo>
                    <a:cubicBezTo>
                      <a:pt x="26" y="51"/>
                      <a:pt x="26" y="51"/>
                      <a:pt x="26" y="51"/>
                    </a:cubicBezTo>
                    <a:cubicBezTo>
                      <a:pt x="26" y="51"/>
                      <a:pt x="27" y="50"/>
                      <a:pt x="26" y="50"/>
                    </a:cubicBezTo>
                    <a:cubicBezTo>
                      <a:pt x="26" y="50"/>
                      <a:pt x="26" y="50"/>
                      <a:pt x="26" y="50"/>
                    </a:cubicBezTo>
                    <a:cubicBezTo>
                      <a:pt x="26" y="49"/>
                      <a:pt x="26" y="49"/>
                      <a:pt x="25" y="49"/>
                    </a:cubicBezTo>
                    <a:cubicBezTo>
                      <a:pt x="24" y="48"/>
                      <a:pt x="24" y="47"/>
                      <a:pt x="24" y="46"/>
                    </a:cubicBezTo>
                    <a:cubicBezTo>
                      <a:pt x="24" y="46"/>
                      <a:pt x="24" y="45"/>
                      <a:pt x="24" y="45"/>
                    </a:cubicBezTo>
                    <a:cubicBezTo>
                      <a:pt x="24" y="45"/>
                      <a:pt x="26" y="45"/>
                      <a:pt x="26" y="45"/>
                    </a:cubicBezTo>
                    <a:cubicBezTo>
                      <a:pt x="26" y="45"/>
                      <a:pt x="27" y="44"/>
                      <a:pt x="27" y="44"/>
                    </a:cubicBezTo>
                    <a:cubicBezTo>
                      <a:pt x="27" y="43"/>
                      <a:pt x="26" y="44"/>
                      <a:pt x="26" y="44"/>
                    </a:cubicBezTo>
                    <a:cubicBezTo>
                      <a:pt x="25" y="44"/>
                      <a:pt x="25" y="43"/>
                      <a:pt x="25" y="43"/>
                    </a:cubicBezTo>
                    <a:cubicBezTo>
                      <a:pt x="24" y="43"/>
                      <a:pt x="24" y="43"/>
                      <a:pt x="23" y="43"/>
                    </a:cubicBezTo>
                    <a:cubicBezTo>
                      <a:pt x="23" y="43"/>
                      <a:pt x="22" y="44"/>
                      <a:pt x="22" y="44"/>
                    </a:cubicBezTo>
                    <a:cubicBezTo>
                      <a:pt x="22" y="44"/>
                      <a:pt x="21" y="43"/>
                      <a:pt x="21" y="43"/>
                    </a:cubicBezTo>
                    <a:cubicBezTo>
                      <a:pt x="21" y="42"/>
                      <a:pt x="19" y="41"/>
                      <a:pt x="19" y="42"/>
                    </a:cubicBezTo>
                    <a:cubicBezTo>
                      <a:pt x="18" y="42"/>
                      <a:pt x="17" y="42"/>
                      <a:pt x="17" y="41"/>
                    </a:cubicBezTo>
                    <a:cubicBezTo>
                      <a:pt x="17" y="41"/>
                      <a:pt x="18" y="41"/>
                      <a:pt x="18" y="41"/>
                    </a:cubicBezTo>
                    <a:cubicBezTo>
                      <a:pt x="18" y="40"/>
                      <a:pt x="17" y="40"/>
                      <a:pt x="17" y="39"/>
                    </a:cubicBezTo>
                    <a:cubicBezTo>
                      <a:pt x="17" y="39"/>
                      <a:pt x="17" y="39"/>
                      <a:pt x="17" y="39"/>
                    </a:cubicBezTo>
                    <a:cubicBezTo>
                      <a:pt x="17" y="39"/>
                      <a:pt x="17" y="39"/>
                      <a:pt x="17" y="38"/>
                    </a:cubicBezTo>
                    <a:cubicBezTo>
                      <a:pt x="16" y="38"/>
                      <a:pt x="17" y="37"/>
                      <a:pt x="16" y="37"/>
                    </a:cubicBezTo>
                    <a:cubicBezTo>
                      <a:pt x="16" y="37"/>
                      <a:pt x="15" y="37"/>
                      <a:pt x="15" y="37"/>
                    </a:cubicBezTo>
                    <a:cubicBezTo>
                      <a:pt x="15" y="37"/>
                      <a:pt x="14" y="36"/>
                      <a:pt x="14" y="35"/>
                    </a:cubicBezTo>
                    <a:cubicBezTo>
                      <a:pt x="14" y="35"/>
                      <a:pt x="14" y="34"/>
                      <a:pt x="14" y="34"/>
                    </a:cubicBezTo>
                    <a:cubicBezTo>
                      <a:pt x="13" y="33"/>
                      <a:pt x="13" y="33"/>
                      <a:pt x="12" y="33"/>
                    </a:cubicBezTo>
                    <a:cubicBezTo>
                      <a:pt x="12" y="33"/>
                      <a:pt x="12" y="32"/>
                      <a:pt x="12" y="32"/>
                    </a:cubicBezTo>
                    <a:cubicBezTo>
                      <a:pt x="12" y="31"/>
                      <a:pt x="12" y="30"/>
                      <a:pt x="12" y="30"/>
                    </a:cubicBezTo>
                    <a:cubicBezTo>
                      <a:pt x="12" y="30"/>
                      <a:pt x="11" y="30"/>
                      <a:pt x="11" y="29"/>
                    </a:cubicBezTo>
                    <a:cubicBezTo>
                      <a:pt x="11" y="29"/>
                      <a:pt x="11" y="28"/>
                      <a:pt x="11" y="28"/>
                    </a:cubicBezTo>
                    <a:cubicBezTo>
                      <a:pt x="12" y="27"/>
                      <a:pt x="9" y="26"/>
                      <a:pt x="9" y="26"/>
                    </a:cubicBezTo>
                    <a:cubicBezTo>
                      <a:pt x="9" y="25"/>
                      <a:pt x="9" y="24"/>
                      <a:pt x="8" y="24"/>
                    </a:cubicBezTo>
                    <a:cubicBezTo>
                      <a:pt x="8" y="23"/>
                      <a:pt x="9" y="23"/>
                      <a:pt x="8" y="23"/>
                    </a:cubicBezTo>
                    <a:cubicBezTo>
                      <a:pt x="8" y="22"/>
                      <a:pt x="8" y="22"/>
                      <a:pt x="7" y="22"/>
                    </a:cubicBezTo>
                    <a:cubicBezTo>
                      <a:pt x="7" y="22"/>
                      <a:pt x="7" y="22"/>
                      <a:pt x="6" y="21"/>
                    </a:cubicBezTo>
                    <a:cubicBezTo>
                      <a:pt x="6" y="21"/>
                      <a:pt x="6" y="21"/>
                      <a:pt x="5" y="21"/>
                    </a:cubicBezTo>
                    <a:cubicBezTo>
                      <a:pt x="5" y="21"/>
                      <a:pt x="5" y="20"/>
                      <a:pt x="5" y="20"/>
                    </a:cubicBezTo>
                    <a:cubicBezTo>
                      <a:pt x="5" y="19"/>
                      <a:pt x="6" y="18"/>
                      <a:pt x="6" y="17"/>
                    </a:cubicBezTo>
                    <a:cubicBezTo>
                      <a:pt x="6" y="17"/>
                      <a:pt x="6" y="17"/>
                      <a:pt x="6" y="17"/>
                    </a:cubicBezTo>
                    <a:cubicBezTo>
                      <a:pt x="6" y="16"/>
                      <a:pt x="7" y="16"/>
                      <a:pt x="6" y="16"/>
                    </a:cubicBezTo>
                    <a:cubicBezTo>
                      <a:pt x="6" y="15"/>
                      <a:pt x="5" y="16"/>
                      <a:pt x="5" y="15"/>
                    </a:cubicBezTo>
                    <a:cubicBezTo>
                      <a:pt x="5" y="14"/>
                      <a:pt x="5" y="14"/>
                      <a:pt x="5" y="13"/>
                    </a:cubicBezTo>
                    <a:cubicBezTo>
                      <a:pt x="4" y="13"/>
                      <a:pt x="4" y="13"/>
                      <a:pt x="4" y="12"/>
                    </a:cubicBezTo>
                    <a:cubicBezTo>
                      <a:pt x="4" y="11"/>
                      <a:pt x="4" y="11"/>
                      <a:pt x="3" y="10"/>
                    </a:cubicBezTo>
                    <a:cubicBezTo>
                      <a:pt x="2" y="9"/>
                      <a:pt x="3" y="8"/>
                      <a:pt x="3" y="7"/>
                    </a:cubicBezTo>
                    <a:cubicBezTo>
                      <a:pt x="3" y="7"/>
                      <a:pt x="3" y="7"/>
                      <a:pt x="2" y="7"/>
                    </a:cubicBezTo>
                    <a:cubicBezTo>
                      <a:pt x="2" y="7"/>
                      <a:pt x="2" y="6"/>
                      <a:pt x="2" y="6"/>
                    </a:cubicBezTo>
                    <a:cubicBezTo>
                      <a:pt x="1" y="5"/>
                      <a:pt x="0" y="4"/>
                      <a:pt x="2" y="4"/>
                    </a:cubicBezTo>
                    <a:cubicBezTo>
                      <a:pt x="3" y="4"/>
                      <a:pt x="4" y="5"/>
                      <a:pt x="4" y="4"/>
                    </a:cubicBezTo>
                    <a:cubicBezTo>
                      <a:pt x="5" y="4"/>
                      <a:pt x="4" y="3"/>
                      <a:pt x="4" y="2"/>
                    </a:cubicBezTo>
                    <a:cubicBezTo>
                      <a:pt x="4" y="2"/>
                      <a:pt x="5" y="2"/>
                      <a:pt x="4" y="1"/>
                    </a:cubicBezTo>
                    <a:cubicBezTo>
                      <a:pt x="5" y="1"/>
                      <a:pt x="5" y="0"/>
                      <a:pt x="6" y="0"/>
                    </a:cubicBezTo>
                    <a:cubicBezTo>
                      <a:pt x="6" y="0"/>
                      <a:pt x="7" y="1"/>
                      <a:pt x="7" y="1"/>
                    </a:cubicBezTo>
                    <a:cubicBezTo>
                      <a:pt x="7" y="2"/>
                      <a:pt x="8" y="2"/>
                      <a:pt x="8" y="3"/>
                    </a:cubicBezTo>
                    <a:cubicBezTo>
                      <a:pt x="9" y="3"/>
                      <a:pt x="9" y="4"/>
                      <a:pt x="10" y="4"/>
                    </a:cubicBezTo>
                    <a:cubicBezTo>
                      <a:pt x="10" y="5"/>
                      <a:pt x="11" y="5"/>
                      <a:pt x="11" y="6"/>
                    </a:cubicBezTo>
                    <a:cubicBezTo>
                      <a:pt x="11" y="7"/>
                      <a:pt x="12" y="6"/>
                      <a:pt x="13" y="7"/>
                    </a:cubicBezTo>
                    <a:cubicBezTo>
                      <a:pt x="13" y="7"/>
                      <a:pt x="13" y="8"/>
                      <a:pt x="14" y="8"/>
                    </a:cubicBezTo>
                    <a:cubicBezTo>
                      <a:pt x="14" y="8"/>
                      <a:pt x="14" y="9"/>
                      <a:pt x="14" y="9"/>
                    </a:cubicBezTo>
                    <a:cubicBezTo>
                      <a:pt x="15" y="9"/>
                      <a:pt x="16" y="9"/>
                      <a:pt x="17" y="9"/>
                    </a:cubicBezTo>
                    <a:cubicBezTo>
                      <a:pt x="17" y="10"/>
                      <a:pt x="18" y="10"/>
                      <a:pt x="19" y="10"/>
                    </a:cubicBezTo>
                    <a:cubicBezTo>
                      <a:pt x="19" y="10"/>
                      <a:pt x="20" y="11"/>
                      <a:pt x="21" y="10"/>
                    </a:cubicBezTo>
                    <a:cubicBezTo>
                      <a:pt x="22" y="10"/>
                      <a:pt x="22" y="10"/>
                      <a:pt x="23" y="10"/>
                    </a:cubicBezTo>
                    <a:cubicBezTo>
                      <a:pt x="24" y="10"/>
                      <a:pt x="24" y="10"/>
                      <a:pt x="24" y="10"/>
                    </a:cubicBezTo>
                    <a:cubicBezTo>
                      <a:pt x="25" y="9"/>
                      <a:pt x="25" y="9"/>
                      <a:pt x="25" y="9"/>
                    </a:cubicBezTo>
                    <a:cubicBezTo>
                      <a:pt x="26" y="8"/>
                      <a:pt x="26" y="8"/>
                      <a:pt x="26" y="8"/>
                    </a:cubicBezTo>
                    <a:cubicBezTo>
                      <a:pt x="26" y="7"/>
                      <a:pt x="27" y="7"/>
                      <a:pt x="27" y="7"/>
                    </a:cubicBezTo>
                    <a:cubicBezTo>
                      <a:pt x="28" y="7"/>
                      <a:pt x="28" y="6"/>
                      <a:pt x="28" y="6"/>
                    </a:cubicBezTo>
                    <a:cubicBezTo>
                      <a:pt x="29" y="5"/>
                      <a:pt x="29" y="5"/>
                      <a:pt x="30" y="5"/>
                    </a:cubicBezTo>
                    <a:cubicBezTo>
                      <a:pt x="30" y="4"/>
                      <a:pt x="31" y="4"/>
                      <a:pt x="31" y="4"/>
                    </a:cubicBezTo>
                    <a:cubicBezTo>
                      <a:pt x="32" y="3"/>
                      <a:pt x="33" y="3"/>
                      <a:pt x="33" y="2"/>
                    </a:cubicBezTo>
                    <a:cubicBezTo>
                      <a:pt x="34" y="2"/>
                      <a:pt x="34" y="1"/>
                      <a:pt x="35" y="1"/>
                    </a:cubicBezTo>
                    <a:cubicBezTo>
                      <a:pt x="35" y="1"/>
                      <a:pt x="35" y="1"/>
                      <a:pt x="36" y="1"/>
                    </a:cubicBezTo>
                    <a:cubicBezTo>
                      <a:pt x="36" y="1"/>
                      <a:pt x="39" y="4"/>
                      <a:pt x="39" y="4"/>
                    </a:cubicBezTo>
                    <a:cubicBezTo>
                      <a:pt x="41" y="5"/>
                      <a:pt x="38" y="5"/>
                      <a:pt x="38" y="6"/>
                    </a:cubicBezTo>
                    <a:cubicBezTo>
                      <a:pt x="38" y="7"/>
                      <a:pt x="40" y="7"/>
                      <a:pt x="40" y="8"/>
                    </a:cubicBezTo>
                    <a:cubicBezTo>
                      <a:pt x="40" y="10"/>
                      <a:pt x="37" y="9"/>
                      <a:pt x="37" y="10"/>
                    </a:cubicBezTo>
                    <a:cubicBezTo>
                      <a:pt x="37" y="11"/>
                      <a:pt x="39" y="11"/>
                      <a:pt x="40" y="12"/>
                    </a:cubicBezTo>
                    <a:cubicBezTo>
                      <a:pt x="40" y="12"/>
                      <a:pt x="40" y="12"/>
                      <a:pt x="40" y="12"/>
                    </a:cubicBezTo>
                    <a:cubicBezTo>
                      <a:pt x="40" y="13"/>
                      <a:pt x="40" y="13"/>
                      <a:pt x="40" y="13"/>
                    </a:cubicBezTo>
                    <a:cubicBezTo>
                      <a:pt x="41" y="13"/>
                      <a:pt x="42" y="13"/>
                      <a:pt x="42" y="13"/>
                    </a:cubicBezTo>
                    <a:cubicBezTo>
                      <a:pt x="42" y="14"/>
                      <a:pt x="43" y="15"/>
                      <a:pt x="44" y="15"/>
                    </a:cubicBezTo>
                    <a:cubicBezTo>
                      <a:pt x="45" y="15"/>
                      <a:pt x="45" y="15"/>
                      <a:pt x="46" y="15"/>
                    </a:cubicBezTo>
                    <a:cubicBezTo>
                      <a:pt x="46" y="15"/>
                      <a:pt x="46" y="16"/>
                      <a:pt x="46" y="16"/>
                    </a:cubicBezTo>
                    <a:cubicBezTo>
                      <a:pt x="46" y="18"/>
                      <a:pt x="47" y="20"/>
                      <a:pt x="48" y="21"/>
                    </a:cubicBezTo>
                    <a:cubicBezTo>
                      <a:pt x="48" y="23"/>
                      <a:pt x="49" y="24"/>
                      <a:pt x="51" y="25"/>
                    </a:cubicBezTo>
                    <a:cubicBezTo>
                      <a:pt x="52" y="25"/>
                      <a:pt x="54" y="25"/>
                      <a:pt x="56" y="26"/>
                    </a:cubicBezTo>
                    <a:cubicBezTo>
                      <a:pt x="56" y="26"/>
                      <a:pt x="57" y="25"/>
                      <a:pt x="57" y="26"/>
                    </a:cubicBezTo>
                    <a:cubicBezTo>
                      <a:pt x="58" y="26"/>
                      <a:pt x="58" y="26"/>
                      <a:pt x="59" y="26"/>
                    </a:cubicBezTo>
                    <a:cubicBezTo>
                      <a:pt x="59" y="26"/>
                      <a:pt x="60" y="26"/>
                      <a:pt x="60" y="27"/>
                    </a:cubicBezTo>
                    <a:cubicBezTo>
                      <a:pt x="60" y="28"/>
                      <a:pt x="61" y="28"/>
                      <a:pt x="61" y="29"/>
                    </a:cubicBezTo>
                    <a:cubicBezTo>
                      <a:pt x="62" y="30"/>
                      <a:pt x="63" y="31"/>
                      <a:pt x="65" y="31"/>
                    </a:cubicBezTo>
                    <a:cubicBezTo>
                      <a:pt x="65" y="32"/>
                      <a:pt x="66" y="32"/>
                      <a:pt x="67" y="33"/>
                    </a:cubicBezTo>
                    <a:cubicBezTo>
                      <a:pt x="68" y="33"/>
                      <a:pt x="69" y="34"/>
                      <a:pt x="70" y="34"/>
                    </a:cubicBezTo>
                    <a:cubicBezTo>
                      <a:pt x="71" y="34"/>
                      <a:pt x="73" y="35"/>
                      <a:pt x="75" y="35"/>
                    </a:cubicBezTo>
                    <a:cubicBezTo>
                      <a:pt x="77" y="35"/>
                      <a:pt x="78" y="35"/>
                      <a:pt x="80" y="34"/>
                    </a:cubicBezTo>
                    <a:cubicBezTo>
                      <a:pt x="82" y="34"/>
                      <a:pt x="84" y="34"/>
                      <a:pt x="85" y="33"/>
                    </a:cubicBezTo>
                    <a:cubicBezTo>
                      <a:pt x="87" y="33"/>
                      <a:pt x="89" y="32"/>
                      <a:pt x="91" y="32"/>
                    </a:cubicBezTo>
                    <a:cubicBezTo>
                      <a:pt x="92" y="32"/>
                      <a:pt x="93" y="32"/>
                      <a:pt x="94" y="32"/>
                    </a:cubicBezTo>
                    <a:cubicBezTo>
                      <a:pt x="94" y="32"/>
                      <a:pt x="95" y="31"/>
                      <a:pt x="95" y="32"/>
                    </a:cubicBezTo>
                    <a:cubicBezTo>
                      <a:pt x="94" y="33"/>
                      <a:pt x="92" y="32"/>
                      <a:pt x="91" y="32"/>
                    </a:cubicBezTo>
                    <a:cubicBezTo>
                      <a:pt x="92" y="32"/>
                      <a:pt x="92" y="32"/>
                      <a:pt x="92" y="32"/>
                    </a:cubicBezTo>
                    <a:cubicBezTo>
                      <a:pt x="91" y="33"/>
                      <a:pt x="93" y="33"/>
                      <a:pt x="93" y="33"/>
                    </a:cubicBezTo>
                    <a:cubicBezTo>
                      <a:pt x="93" y="33"/>
                      <a:pt x="95" y="33"/>
                      <a:pt x="95" y="32"/>
                    </a:cubicBezTo>
                    <a:cubicBezTo>
                      <a:pt x="95" y="32"/>
                      <a:pt x="95" y="31"/>
                      <a:pt x="95" y="31"/>
                    </a:cubicBezTo>
                    <a:cubicBezTo>
                      <a:pt x="95" y="31"/>
                      <a:pt x="95" y="31"/>
                      <a:pt x="95" y="30"/>
                    </a:cubicBezTo>
                    <a:cubicBezTo>
                      <a:pt x="94" y="29"/>
                      <a:pt x="94" y="28"/>
                      <a:pt x="93" y="27"/>
                    </a:cubicBezTo>
                    <a:cubicBezTo>
                      <a:pt x="95" y="27"/>
                      <a:pt x="96" y="27"/>
                      <a:pt x="97" y="27"/>
                    </a:cubicBezTo>
                    <a:cubicBezTo>
                      <a:pt x="98" y="26"/>
                      <a:pt x="98" y="26"/>
                      <a:pt x="99" y="26"/>
                    </a:cubicBezTo>
                    <a:cubicBezTo>
                      <a:pt x="100" y="26"/>
                      <a:pt x="100" y="26"/>
                      <a:pt x="101" y="25"/>
                    </a:cubicBezTo>
                    <a:cubicBezTo>
                      <a:pt x="102" y="24"/>
                      <a:pt x="100" y="23"/>
                      <a:pt x="101" y="22"/>
                    </a:cubicBezTo>
                    <a:cubicBezTo>
                      <a:pt x="102" y="22"/>
                      <a:pt x="103" y="20"/>
                      <a:pt x="104" y="20"/>
                    </a:cubicBezTo>
                    <a:cubicBezTo>
                      <a:pt x="106" y="19"/>
                      <a:pt x="107" y="18"/>
                      <a:pt x="108" y="18"/>
                    </a:cubicBezTo>
                    <a:cubicBezTo>
                      <a:pt x="109" y="18"/>
                      <a:pt x="109" y="18"/>
                      <a:pt x="110" y="19"/>
                    </a:cubicBezTo>
                    <a:cubicBezTo>
                      <a:pt x="111" y="19"/>
                      <a:pt x="112" y="19"/>
                      <a:pt x="112" y="19"/>
                    </a:cubicBezTo>
                    <a:cubicBezTo>
                      <a:pt x="113" y="19"/>
                      <a:pt x="115" y="19"/>
                      <a:pt x="114" y="18"/>
                    </a:cubicBezTo>
                    <a:cubicBezTo>
                      <a:pt x="113" y="18"/>
                      <a:pt x="114" y="17"/>
                      <a:pt x="114" y="17"/>
                    </a:cubicBezTo>
                    <a:cubicBezTo>
                      <a:pt x="115" y="17"/>
                      <a:pt x="115" y="17"/>
                      <a:pt x="116" y="17"/>
                    </a:cubicBezTo>
                    <a:cubicBezTo>
                      <a:pt x="116" y="17"/>
                      <a:pt x="117" y="16"/>
                      <a:pt x="118" y="17"/>
                    </a:cubicBezTo>
                    <a:cubicBezTo>
                      <a:pt x="118" y="17"/>
                      <a:pt x="119" y="17"/>
                      <a:pt x="119" y="17"/>
                    </a:cubicBezTo>
                    <a:cubicBezTo>
                      <a:pt x="119" y="17"/>
                      <a:pt x="120" y="18"/>
                      <a:pt x="120" y="17"/>
                    </a:cubicBezTo>
                    <a:cubicBezTo>
                      <a:pt x="121" y="17"/>
                      <a:pt x="121" y="16"/>
                      <a:pt x="122" y="17"/>
                    </a:cubicBezTo>
                    <a:cubicBezTo>
                      <a:pt x="122" y="17"/>
                      <a:pt x="123" y="19"/>
                      <a:pt x="123" y="19"/>
                    </a:cubicBezTo>
                    <a:cubicBezTo>
                      <a:pt x="123" y="21"/>
                      <a:pt x="126" y="21"/>
                      <a:pt x="127" y="21"/>
                    </a:cubicBezTo>
                    <a:cubicBezTo>
                      <a:pt x="128" y="21"/>
                      <a:pt x="129" y="21"/>
                      <a:pt x="130" y="22"/>
                    </a:cubicBezTo>
                    <a:cubicBezTo>
                      <a:pt x="131" y="22"/>
                      <a:pt x="131" y="22"/>
                      <a:pt x="131" y="22"/>
                    </a:cubicBezTo>
                    <a:cubicBezTo>
                      <a:pt x="132" y="23"/>
                      <a:pt x="132" y="23"/>
                      <a:pt x="133" y="23"/>
                    </a:cubicBezTo>
                    <a:cubicBezTo>
                      <a:pt x="133" y="23"/>
                      <a:pt x="133" y="24"/>
                      <a:pt x="134" y="24"/>
                    </a:cubicBezTo>
                    <a:cubicBezTo>
                      <a:pt x="134" y="24"/>
                      <a:pt x="134" y="23"/>
                      <a:pt x="135" y="23"/>
                    </a:cubicBezTo>
                    <a:cubicBezTo>
                      <a:pt x="135" y="23"/>
                      <a:pt x="136" y="24"/>
                      <a:pt x="136" y="24"/>
                    </a:cubicBezTo>
                    <a:cubicBezTo>
                      <a:pt x="137" y="24"/>
                      <a:pt x="137" y="23"/>
                      <a:pt x="137" y="23"/>
                    </a:cubicBezTo>
                    <a:cubicBezTo>
                      <a:pt x="137" y="23"/>
                      <a:pt x="137" y="23"/>
                      <a:pt x="137" y="23"/>
                    </a:cubicBezTo>
                    <a:cubicBezTo>
                      <a:pt x="137" y="23"/>
                      <a:pt x="138" y="23"/>
                      <a:pt x="138" y="23"/>
                    </a:cubicBezTo>
                    <a:cubicBezTo>
                      <a:pt x="138" y="23"/>
                      <a:pt x="139" y="24"/>
                      <a:pt x="139" y="24"/>
                    </a:cubicBezTo>
                    <a:cubicBezTo>
                      <a:pt x="140" y="24"/>
                      <a:pt x="140" y="24"/>
                      <a:pt x="141" y="25"/>
                    </a:cubicBezTo>
                    <a:cubicBezTo>
                      <a:pt x="141" y="25"/>
                      <a:pt x="142" y="25"/>
                      <a:pt x="142" y="25"/>
                    </a:cubicBezTo>
                    <a:cubicBezTo>
                      <a:pt x="143" y="26"/>
                      <a:pt x="143" y="27"/>
                      <a:pt x="143" y="27"/>
                    </a:cubicBezTo>
                    <a:cubicBezTo>
                      <a:pt x="144" y="28"/>
                      <a:pt x="144" y="28"/>
                      <a:pt x="145" y="29"/>
                    </a:cubicBezTo>
                    <a:cubicBezTo>
                      <a:pt x="145" y="29"/>
                      <a:pt x="145" y="29"/>
                      <a:pt x="145" y="29"/>
                    </a:cubicBezTo>
                    <a:cubicBezTo>
                      <a:pt x="146" y="29"/>
                      <a:pt x="146" y="29"/>
                      <a:pt x="146" y="29"/>
                    </a:cubicBezTo>
                    <a:cubicBezTo>
                      <a:pt x="148" y="29"/>
                      <a:pt x="150" y="30"/>
                      <a:pt x="151" y="32"/>
                    </a:cubicBezTo>
                    <a:cubicBezTo>
                      <a:pt x="151" y="32"/>
                      <a:pt x="152" y="33"/>
                      <a:pt x="152" y="33"/>
                    </a:cubicBezTo>
                    <a:cubicBezTo>
                      <a:pt x="153" y="34"/>
                      <a:pt x="153" y="34"/>
                      <a:pt x="154" y="35"/>
                    </a:cubicBezTo>
                    <a:cubicBezTo>
                      <a:pt x="156" y="35"/>
                      <a:pt x="157" y="35"/>
                      <a:pt x="159" y="34"/>
                    </a:cubicBezTo>
                    <a:cubicBezTo>
                      <a:pt x="160" y="34"/>
                      <a:pt x="161" y="34"/>
                      <a:pt x="161" y="35"/>
                    </a:cubicBezTo>
                    <a:cubicBezTo>
                      <a:pt x="161" y="36"/>
                      <a:pt x="161" y="37"/>
                      <a:pt x="161" y="38"/>
                    </a:cubicBezTo>
                    <a:cubicBezTo>
                      <a:pt x="161" y="39"/>
                      <a:pt x="162" y="39"/>
                      <a:pt x="162" y="40"/>
                    </a:cubicBezTo>
                    <a:cubicBezTo>
                      <a:pt x="162" y="41"/>
                      <a:pt x="162" y="42"/>
                      <a:pt x="161" y="42"/>
                    </a:cubicBezTo>
                    <a:cubicBezTo>
                      <a:pt x="162" y="42"/>
                      <a:pt x="162" y="42"/>
                      <a:pt x="162" y="42"/>
                    </a:cubicBezTo>
                    <a:cubicBezTo>
                      <a:pt x="163" y="43"/>
                      <a:pt x="163" y="44"/>
                      <a:pt x="163" y="44"/>
                    </a:cubicBezTo>
                    <a:cubicBezTo>
                      <a:pt x="163" y="45"/>
                      <a:pt x="163" y="45"/>
                      <a:pt x="163" y="46"/>
                    </a:cubicBezTo>
                    <a:cubicBezTo>
                      <a:pt x="164" y="46"/>
                      <a:pt x="164" y="46"/>
                      <a:pt x="164" y="47"/>
                    </a:cubicBezTo>
                    <a:cubicBezTo>
                      <a:pt x="163" y="48"/>
                      <a:pt x="163" y="49"/>
                      <a:pt x="163" y="49"/>
                    </a:cubicBezTo>
                    <a:cubicBezTo>
                      <a:pt x="162" y="50"/>
                      <a:pt x="163" y="50"/>
                      <a:pt x="163" y="51"/>
                    </a:cubicBezTo>
                    <a:cubicBezTo>
                      <a:pt x="163" y="52"/>
                      <a:pt x="163" y="53"/>
                      <a:pt x="163" y="54"/>
                    </a:cubicBezTo>
                    <a:cubicBezTo>
                      <a:pt x="163" y="55"/>
                      <a:pt x="163" y="55"/>
                      <a:pt x="163" y="55"/>
                    </a:cubicBezTo>
                    <a:cubicBezTo>
                      <a:pt x="163" y="56"/>
                      <a:pt x="163" y="56"/>
                      <a:pt x="162" y="57"/>
                    </a:cubicBezTo>
                    <a:cubicBezTo>
                      <a:pt x="162" y="57"/>
                      <a:pt x="161" y="58"/>
                      <a:pt x="161" y="58"/>
                    </a:cubicBezTo>
                    <a:cubicBezTo>
                      <a:pt x="161" y="59"/>
                      <a:pt x="162" y="59"/>
                      <a:pt x="163" y="60"/>
                    </a:cubicBezTo>
                    <a:cubicBezTo>
                      <a:pt x="161" y="60"/>
                      <a:pt x="160" y="60"/>
                      <a:pt x="160" y="61"/>
                    </a:cubicBezTo>
                    <a:cubicBezTo>
                      <a:pt x="159" y="63"/>
                      <a:pt x="160" y="64"/>
                      <a:pt x="160" y="65"/>
                    </a:cubicBezTo>
                    <a:cubicBezTo>
                      <a:pt x="160" y="66"/>
                      <a:pt x="160" y="66"/>
                      <a:pt x="160" y="67"/>
                    </a:cubicBezTo>
                    <a:cubicBezTo>
                      <a:pt x="160" y="67"/>
                      <a:pt x="160" y="68"/>
                      <a:pt x="161" y="68"/>
                    </a:cubicBezTo>
                    <a:cubicBezTo>
                      <a:pt x="162" y="68"/>
                      <a:pt x="162" y="68"/>
                      <a:pt x="163" y="68"/>
                    </a:cubicBezTo>
                    <a:cubicBezTo>
                      <a:pt x="163" y="68"/>
                      <a:pt x="164" y="68"/>
                      <a:pt x="164" y="69"/>
                    </a:cubicBezTo>
                    <a:cubicBezTo>
                      <a:pt x="164" y="69"/>
                      <a:pt x="165" y="69"/>
                      <a:pt x="164" y="69"/>
                    </a:cubicBezTo>
                    <a:cubicBezTo>
                      <a:pt x="163" y="69"/>
                      <a:pt x="164" y="70"/>
                      <a:pt x="164" y="70"/>
                    </a:cubicBezTo>
                    <a:cubicBezTo>
                      <a:pt x="163" y="71"/>
                      <a:pt x="163" y="71"/>
                      <a:pt x="162" y="72"/>
                    </a:cubicBezTo>
                    <a:cubicBezTo>
                      <a:pt x="161" y="73"/>
                      <a:pt x="162" y="75"/>
                      <a:pt x="163" y="76"/>
                    </a:cubicBezTo>
                    <a:cubicBezTo>
                      <a:pt x="164" y="78"/>
                      <a:pt x="165" y="80"/>
                      <a:pt x="165" y="82"/>
                    </a:cubicBezTo>
                    <a:cubicBezTo>
                      <a:pt x="166" y="82"/>
                      <a:pt x="166" y="83"/>
                      <a:pt x="166" y="84"/>
                    </a:cubicBezTo>
                    <a:cubicBezTo>
                      <a:pt x="166" y="84"/>
                      <a:pt x="166" y="85"/>
                      <a:pt x="166" y="85"/>
                    </a:cubicBezTo>
                    <a:cubicBezTo>
                      <a:pt x="166" y="85"/>
                      <a:pt x="166" y="86"/>
                      <a:pt x="166" y="86"/>
                    </a:cubicBezTo>
                    <a:cubicBezTo>
                      <a:pt x="166" y="88"/>
                      <a:pt x="166" y="89"/>
                      <a:pt x="167" y="90"/>
                    </a:cubicBezTo>
                    <a:cubicBezTo>
                      <a:pt x="167" y="91"/>
                      <a:pt x="167" y="91"/>
                      <a:pt x="168" y="91"/>
                    </a:cubicBezTo>
                    <a:cubicBezTo>
                      <a:pt x="169" y="91"/>
                      <a:pt x="170" y="92"/>
                      <a:pt x="171" y="92"/>
                    </a:cubicBezTo>
                    <a:cubicBezTo>
                      <a:pt x="172" y="92"/>
                      <a:pt x="175" y="92"/>
                      <a:pt x="176" y="93"/>
                    </a:cubicBezTo>
                    <a:cubicBezTo>
                      <a:pt x="176" y="94"/>
                      <a:pt x="176" y="95"/>
                      <a:pt x="177" y="95"/>
                    </a:cubicBezTo>
                    <a:cubicBezTo>
                      <a:pt x="177" y="96"/>
                      <a:pt x="177" y="96"/>
                      <a:pt x="177" y="97"/>
                    </a:cubicBezTo>
                    <a:cubicBezTo>
                      <a:pt x="177" y="98"/>
                      <a:pt x="177" y="98"/>
                      <a:pt x="177" y="99"/>
                    </a:cubicBezTo>
                    <a:cubicBezTo>
                      <a:pt x="176" y="100"/>
                      <a:pt x="176" y="100"/>
                      <a:pt x="175" y="101"/>
                    </a:cubicBezTo>
                    <a:cubicBezTo>
                      <a:pt x="175" y="101"/>
                      <a:pt x="175" y="102"/>
                      <a:pt x="174" y="102"/>
                    </a:cubicBezTo>
                    <a:cubicBezTo>
                      <a:pt x="173" y="104"/>
                      <a:pt x="173" y="105"/>
                      <a:pt x="172" y="106"/>
                    </a:cubicBezTo>
                    <a:cubicBezTo>
                      <a:pt x="171" y="107"/>
                      <a:pt x="169" y="109"/>
                      <a:pt x="170" y="109"/>
                    </a:cubicBezTo>
                    <a:cubicBezTo>
                      <a:pt x="171" y="110"/>
                      <a:pt x="171" y="111"/>
                      <a:pt x="172" y="112"/>
                    </a:cubicBezTo>
                    <a:cubicBezTo>
                      <a:pt x="173" y="112"/>
                      <a:pt x="173" y="113"/>
                      <a:pt x="174" y="114"/>
                    </a:cubicBezTo>
                    <a:cubicBezTo>
                      <a:pt x="174" y="114"/>
                      <a:pt x="174" y="114"/>
                      <a:pt x="175" y="114"/>
                    </a:cubicBezTo>
                    <a:cubicBezTo>
                      <a:pt x="175" y="114"/>
                      <a:pt x="175" y="115"/>
                      <a:pt x="175" y="115"/>
                    </a:cubicBezTo>
                    <a:cubicBezTo>
                      <a:pt x="175" y="116"/>
                      <a:pt x="176" y="117"/>
                      <a:pt x="176" y="117"/>
                    </a:cubicBezTo>
                    <a:cubicBezTo>
                      <a:pt x="177" y="117"/>
                      <a:pt x="177" y="118"/>
                      <a:pt x="177" y="118"/>
                    </a:cubicBezTo>
                    <a:cubicBezTo>
                      <a:pt x="178" y="119"/>
                      <a:pt x="178" y="120"/>
                      <a:pt x="178" y="121"/>
                    </a:cubicBezTo>
                    <a:cubicBezTo>
                      <a:pt x="180" y="122"/>
                      <a:pt x="181" y="124"/>
                      <a:pt x="183" y="124"/>
                    </a:cubicBezTo>
                    <a:cubicBezTo>
                      <a:pt x="184" y="124"/>
                      <a:pt x="185" y="125"/>
                      <a:pt x="186" y="125"/>
                    </a:cubicBezTo>
                    <a:cubicBezTo>
                      <a:pt x="187" y="125"/>
                      <a:pt x="187" y="126"/>
                      <a:pt x="188" y="126"/>
                    </a:cubicBezTo>
                    <a:cubicBezTo>
                      <a:pt x="188" y="127"/>
                      <a:pt x="189" y="127"/>
                      <a:pt x="189" y="127"/>
                    </a:cubicBezTo>
                    <a:cubicBezTo>
                      <a:pt x="190" y="126"/>
                      <a:pt x="190" y="127"/>
                      <a:pt x="190" y="128"/>
                    </a:cubicBezTo>
                    <a:cubicBezTo>
                      <a:pt x="190" y="129"/>
                      <a:pt x="190" y="129"/>
                      <a:pt x="190" y="130"/>
                    </a:cubicBezTo>
                    <a:cubicBezTo>
                      <a:pt x="190" y="131"/>
                      <a:pt x="191" y="132"/>
                      <a:pt x="191" y="133"/>
                    </a:cubicBezTo>
                    <a:cubicBezTo>
                      <a:pt x="191" y="134"/>
                      <a:pt x="192" y="135"/>
                      <a:pt x="191" y="136"/>
                    </a:cubicBezTo>
                    <a:cubicBezTo>
                      <a:pt x="191" y="136"/>
                      <a:pt x="191" y="137"/>
                      <a:pt x="191" y="138"/>
                    </a:cubicBezTo>
                    <a:cubicBezTo>
                      <a:pt x="192" y="138"/>
                      <a:pt x="193" y="138"/>
                      <a:pt x="194" y="138"/>
                    </a:cubicBezTo>
                    <a:cubicBezTo>
                      <a:pt x="196" y="138"/>
                      <a:pt x="196" y="138"/>
                      <a:pt x="197" y="139"/>
                    </a:cubicBezTo>
                    <a:cubicBezTo>
                      <a:pt x="196" y="139"/>
                      <a:pt x="196" y="141"/>
                      <a:pt x="196" y="141"/>
                    </a:cubicBezTo>
                    <a:close/>
                    <a:moveTo>
                      <a:pt x="129" y="141"/>
                    </a:moveTo>
                    <a:cubicBezTo>
                      <a:pt x="128" y="141"/>
                      <a:pt x="127" y="142"/>
                      <a:pt x="126" y="141"/>
                    </a:cubicBezTo>
                    <a:cubicBezTo>
                      <a:pt x="125" y="140"/>
                      <a:pt x="126" y="142"/>
                      <a:pt x="126" y="143"/>
                    </a:cubicBezTo>
                    <a:cubicBezTo>
                      <a:pt x="125" y="143"/>
                      <a:pt x="124" y="144"/>
                      <a:pt x="123" y="144"/>
                    </a:cubicBezTo>
                    <a:cubicBezTo>
                      <a:pt x="123" y="144"/>
                      <a:pt x="123" y="144"/>
                      <a:pt x="122" y="144"/>
                    </a:cubicBezTo>
                    <a:cubicBezTo>
                      <a:pt x="122" y="144"/>
                      <a:pt x="122" y="144"/>
                      <a:pt x="122" y="144"/>
                    </a:cubicBezTo>
                    <a:cubicBezTo>
                      <a:pt x="121" y="145"/>
                      <a:pt x="122" y="145"/>
                      <a:pt x="122" y="146"/>
                    </a:cubicBezTo>
                    <a:cubicBezTo>
                      <a:pt x="122" y="145"/>
                      <a:pt x="123" y="145"/>
                      <a:pt x="123" y="145"/>
                    </a:cubicBezTo>
                    <a:cubicBezTo>
                      <a:pt x="124" y="145"/>
                      <a:pt x="124" y="144"/>
                      <a:pt x="125" y="144"/>
                    </a:cubicBezTo>
                    <a:cubicBezTo>
                      <a:pt x="125" y="144"/>
                      <a:pt x="126" y="144"/>
                      <a:pt x="126" y="144"/>
                    </a:cubicBezTo>
                    <a:cubicBezTo>
                      <a:pt x="126" y="144"/>
                      <a:pt x="126" y="144"/>
                      <a:pt x="127" y="144"/>
                    </a:cubicBezTo>
                    <a:cubicBezTo>
                      <a:pt x="127" y="143"/>
                      <a:pt x="127" y="144"/>
                      <a:pt x="128" y="144"/>
                    </a:cubicBezTo>
                    <a:cubicBezTo>
                      <a:pt x="128" y="144"/>
                      <a:pt x="128" y="143"/>
                      <a:pt x="129" y="143"/>
                    </a:cubicBezTo>
                    <a:cubicBezTo>
                      <a:pt x="129" y="143"/>
                      <a:pt x="129" y="143"/>
                      <a:pt x="129" y="143"/>
                    </a:cubicBezTo>
                    <a:cubicBezTo>
                      <a:pt x="130" y="142"/>
                      <a:pt x="129" y="141"/>
                      <a:pt x="130" y="141"/>
                    </a:cubicBezTo>
                    <a:cubicBezTo>
                      <a:pt x="130" y="141"/>
                      <a:pt x="131" y="141"/>
                      <a:pt x="130" y="141"/>
                    </a:cubicBezTo>
                    <a:cubicBezTo>
                      <a:pt x="130" y="140"/>
                      <a:pt x="130" y="141"/>
                      <a:pt x="129" y="14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0" name="Indonesia">
                <a:extLst>
                  <a:ext uri="{FF2B5EF4-FFF2-40B4-BE49-F238E27FC236}">
                    <a16:creationId xmlns:a16="http://schemas.microsoft.com/office/drawing/2014/main" id="{AA70B789-D23B-1F66-9E31-072B7393B8D3}"/>
                  </a:ext>
                </a:extLst>
              </p:cNvPr>
              <p:cNvSpPr>
                <a:spLocks noEditPoints="1"/>
              </p:cNvSpPr>
              <p:nvPr/>
            </p:nvSpPr>
            <p:spPr bwMode="auto">
              <a:xfrm>
                <a:off x="8954748" y="3814013"/>
                <a:ext cx="1585905" cy="658671"/>
              </a:xfrm>
              <a:custGeom>
                <a:avLst/>
                <a:gdLst/>
                <a:ahLst/>
                <a:cxnLst>
                  <a:cxn ang="0">
                    <a:pos x="442" y="92"/>
                  </a:cxn>
                  <a:cxn ang="0">
                    <a:pos x="384" y="93"/>
                  </a:cxn>
                  <a:cxn ang="0">
                    <a:pos x="359" y="83"/>
                  </a:cxn>
                  <a:cxn ang="0">
                    <a:pos x="373" y="93"/>
                  </a:cxn>
                  <a:cxn ang="0">
                    <a:pos x="379" y="100"/>
                  </a:cxn>
                  <a:cxn ang="0">
                    <a:pos x="410" y="120"/>
                  </a:cxn>
                  <a:cxn ang="0">
                    <a:pos x="423" y="155"/>
                  </a:cxn>
                  <a:cxn ang="0">
                    <a:pos x="338" y="97"/>
                  </a:cxn>
                  <a:cxn ang="0">
                    <a:pos x="205" y="109"/>
                  </a:cxn>
                  <a:cxn ang="0">
                    <a:pos x="346" y="71"/>
                  </a:cxn>
                  <a:cxn ang="0">
                    <a:pos x="171" y="145"/>
                  </a:cxn>
                  <a:cxn ang="0">
                    <a:pos x="109" y="131"/>
                  </a:cxn>
                  <a:cxn ang="0">
                    <a:pos x="154" y="156"/>
                  </a:cxn>
                  <a:cxn ang="0">
                    <a:pos x="236" y="160"/>
                  </a:cxn>
                  <a:cxn ang="0">
                    <a:pos x="354" y="67"/>
                  </a:cxn>
                  <a:cxn ang="0">
                    <a:pos x="275" y="175"/>
                  </a:cxn>
                  <a:cxn ang="0">
                    <a:pos x="233" y="97"/>
                  </a:cxn>
                  <a:cxn ang="0">
                    <a:pos x="248" y="106"/>
                  </a:cxn>
                  <a:cxn ang="0">
                    <a:pos x="269" y="111"/>
                  </a:cxn>
                  <a:cxn ang="0">
                    <a:pos x="272" y="75"/>
                  </a:cxn>
                  <a:cxn ang="0">
                    <a:pos x="262" y="60"/>
                  </a:cxn>
                  <a:cxn ang="0">
                    <a:pos x="274" y="55"/>
                  </a:cxn>
                  <a:cxn ang="0">
                    <a:pos x="237" y="87"/>
                  </a:cxn>
                  <a:cxn ang="0">
                    <a:pos x="276" y="80"/>
                  </a:cxn>
                  <a:cxn ang="0">
                    <a:pos x="268" y="122"/>
                  </a:cxn>
                  <a:cxn ang="0">
                    <a:pos x="268" y="128"/>
                  </a:cxn>
                  <a:cxn ang="0">
                    <a:pos x="357" y="94"/>
                  </a:cxn>
                  <a:cxn ang="0">
                    <a:pos x="14" y="39"/>
                  </a:cxn>
                  <a:cxn ang="0">
                    <a:pos x="141" y="75"/>
                  </a:cxn>
                  <a:cxn ang="0">
                    <a:pos x="177" y="99"/>
                  </a:cxn>
                  <a:cxn ang="0">
                    <a:pos x="208" y="89"/>
                  </a:cxn>
                  <a:cxn ang="0">
                    <a:pos x="227" y="56"/>
                  </a:cxn>
                  <a:cxn ang="0">
                    <a:pos x="221" y="24"/>
                  </a:cxn>
                  <a:cxn ang="0">
                    <a:pos x="197" y="37"/>
                  </a:cxn>
                  <a:cxn ang="0">
                    <a:pos x="147" y="50"/>
                  </a:cxn>
                  <a:cxn ang="0">
                    <a:pos x="268" y="155"/>
                  </a:cxn>
                  <a:cxn ang="0">
                    <a:pos x="257" y="163"/>
                  </a:cxn>
                  <a:cxn ang="0">
                    <a:pos x="219" y="155"/>
                  </a:cxn>
                  <a:cxn ang="0">
                    <a:pos x="24" y="49"/>
                  </a:cxn>
                  <a:cxn ang="0">
                    <a:pos x="320" y="84"/>
                  </a:cxn>
                  <a:cxn ang="0">
                    <a:pos x="384" y="135"/>
                  </a:cxn>
                  <a:cxn ang="0">
                    <a:pos x="171" y="143"/>
                  </a:cxn>
                  <a:cxn ang="0">
                    <a:pos x="72" y="53"/>
                  </a:cxn>
                  <a:cxn ang="0">
                    <a:pos x="105" y="89"/>
                  </a:cxn>
                  <a:cxn ang="0">
                    <a:pos x="129" y="94"/>
                  </a:cxn>
                  <a:cxn ang="0">
                    <a:pos x="323" y="60"/>
                  </a:cxn>
                  <a:cxn ang="0">
                    <a:pos x="316" y="52"/>
                  </a:cxn>
                  <a:cxn ang="0">
                    <a:pos x="306" y="151"/>
                  </a:cxn>
                  <a:cxn ang="0">
                    <a:pos x="172" y="129"/>
                  </a:cxn>
                  <a:cxn ang="0">
                    <a:pos x="97" y="90"/>
                  </a:cxn>
                  <a:cxn ang="0">
                    <a:pos x="75" y="64"/>
                  </a:cxn>
                  <a:cxn ang="0">
                    <a:pos x="30" y="15"/>
                  </a:cxn>
                  <a:cxn ang="0">
                    <a:pos x="34" y="43"/>
                  </a:cxn>
                  <a:cxn ang="0">
                    <a:pos x="80" y="116"/>
                  </a:cxn>
                  <a:cxn ang="0">
                    <a:pos x="340" y="79"/>
                  </a:cxn>
                  <a:cxn ang="0">
                    <a:pos x="309" y="20"/>
                  </a:cxn>
                  <a:cxn ang="0">
                    <a:pos x="94" y="63"/>
                  </a:cxn>
                  <a:cxn ang="0">
                    <a:pos x="248" y="132"/>
                  </a:cxn>
                  <a:cxn ang="0">
                    <a:pos x="264" y="70"/>
                  </a:cxn>
                  <a:cxn ang="0">
                    <a:pos x="35" y="66"/>
                  </a:cxn>
                  <a:cxn ang="0">
                    <a:pos x="298" y="28"/>
                  </a:cxn>
                  <a:cxn ang="0">
                    <a:pos x="72" y="125"/>
                  </a:cxn>
                  <a:cxn ang="0">
                    <a:pos x="278" y="82"/>
                  </a:cxn>
                </a:cxnLst>
                <a:rect l="0" t="0" r="r" b="b"/>
                <a:pathLst>
                  <a:path w="448" h="186">
                    <a:moveTo>
                      <a:pt x="295" y="155"/>
                    </a:moveTo>
                    <a:cubicBezTo>
                      <a:pt x="296" y="155"/>
                      <a:pt x="295" y="157"/>
                      <a:pt x="294" y="156"/>
                    </a:cubicBezTo>
                    <a:cubicBezTo>
                      <a:pt x="294" y="156"/>
                      <a:pt x="295" y="155"/>
                      <a:pt x="295" y="155"/>
                    </a:cubicBezTo>
                    <a:close/>
                    <a:moveTo>
                      <a:pt x="0" y="2"/>
                    </a:moveTo>
                    <a:cubicBezTo>
                      <a:pt x="0" y="2"/>
                      <a:pt x="1" y="2"/>
                      <a:pt x="1" y="2"/>
                    </a:cubicBezTo>
                    <a:cubicBezTo>
                      <a:pt x="1" y="2"/>
                      <a:pt x="0" y="3"/>
                      <a:pt x="1" y="3"/>
                    </a:cubicBezTo>
                    <a:cubicBezTo>
                      <a:pt x="1" y="3"/>
                      <a:pt x="2" y="3"/>
                      <a:pt x="1" y="3"/>
                    </a:cubicBezTo>
                    <a:cubicBezTo>
                      <a:pt x="1" y="2"/>
                      <a:pt x="1" y="2"/>
                      <a:pt x="0" y="2"/>
                    </a:cubicBezTo>
                    <a:close/>
                    <a:moveTo>
                      <a:pt x="223" y="21"/>
                    </a:moveTo>
                    <a:cubicBezTo>
                      <a:pt x="223" y="20"/>
                      <a:pt x="223" y="20"/>
                      <a:pt x="223" y="19"/>
                    </a:cubicBezTo>
                    <a:cubicBezTo>
                      <a:pt x="222" y="19"/>
                      <a:pt x="222" y="19"/>
                      <a:pt x="221" y="19"/>
                    </a:cubicBezTo>
                    <a:cubicBezTo>
                      <a:pt x="221" y="20"/>
                      <a:pt x="223" y="22"/>
                      <a:pt x="223" y="21"/>
                    </a:cubicBezTo>
                    <a:close/>
                    <a:moveTo>
                      <a:pt x="126" y="14"/>
                    </a:moveTo>
                    <a:cubicBezTo>
                      <a:pt x="127" y="15"/>
                      <a:pt x="127" y="11"/>
                      <a:pt x="126" y="14"/>
                    </a:cubicBezTo>
                    <a:close/>
                    <a:moveTo>
                      <a:pt x="208" y="104"/>
                    </a:moveTo>
                    <a:cubicBezTo>
                      <a:pt x="208" y="104"/>
                      <a:pt x="208" y="105"/>
                      <a:pt x="208" y="105"/>
                    </a:cubicBezTo>
                    <a:cubicBezTo>
                      <a:pt x="209" y="105"/>
                      <a:pt x="209" y="103"/>
                      <a:pt x="209" y="103"/>
                    </a:cubicBezTo>
                    <a:cubicBezTo>
                      <a:pt x="209" y="102"/>
                      <a:pt x="208" y="104"/>
                      <a:pt x="208" y="104"/>
                    </a:cubicBezTo>
                    <a:close/>
                    <a:moveTo>
                      <a:pt x="328" y="105"/>
                    </a:moveTo>
                    <a:cubicBezTo>
                      <a:pt x="328" y="105"/>
                      <a:pt x="328" y="106"/>
                      <a:pt x="329" y="106"/>
                    </a:cubicBezTo>
                    <a:cubicBezTo>
                      <a:pt x="329" y="106"/>
                      <a:pt x="329" y="105"/>
                      <a:pt x="328" y="105"/>
                    </a:cubicBezTo>
                    <a:close/>
                    <a:moveTo>
                      <a:pt x="313" y="102"/>
                    </a:moveTo>
                    <a:cubicBezTo>
                      <a:pt x="312" y="102"/>
                      <a:pt x="312" y="102"/>
                      <a:pt x="312" y="101"/>
                    </a:cubicBezTo>
                    <a:cubicBezTo>
                      <a:pt x="312" y="101"/>
                      <a:pt x="312" y="102"/>
                      <a:pt x="313" y="101"/>
                    </a:cubicBezTo>
                    <a:cubicBezTo>
                      <a:pt x="313" y="101"/>
                      <a:pt x="313" y="101"/>
                      <a:pt x="312" y="100"/>
                    </a:cubicBezTo>
                    <a:cubicBezTo>
                      <a:pt x="312" y="100"/>
                      <a:pt x="311" y="100"/>
                      <a:pt x="311" y="100"/>
                    </a:cubicBezTo>
                    <a:cubicBezTo>
                      <a:pt x="310" y="99"/>
                      <a:pt x="309" y="99"/>
                      <a:pt x="308" y="99"/>
                    </a:cubicBezTo>
                    <a:cubicBezTo>
                      <a:pt x="308" y="99"/>
                      <a:pt x="307" y="99"/>
                      <a:pt x="306" y="99"/>
                    </a:cubicBezTo>
                    <a:cubicBezTo>
                      <a:pt x="306" y="99"/>
                      <a:pt x="305" y="99"/>
                      <a:pt x="305" y="100"/>
                    </a:cubicBezTo>
                    <a:cubicBezTo>
                      <a:pt x="304" y="100"/>
                      <a:pt x="304" y="100"/>
                      <a:pt x="304" y="100"/>
                    </a:cubicBezTo>
                    <a:cubicBezTo>
                      <a:pt x="303" y="100"/>
                      <a:pt x="303" y="99"/>
                      <a:pt x="302" y="100"/>
                    </a:cubicBezTo>
                    <a:cubicBezTo>
                      <a:pt x="302" y="100"/>
                      <a:pt x="302" y="101"/>
                      <a:pt x="302" y="102"/>
                    </a:cubicBezTo>
                    <a:cubicBezTo>
                      <a:pt x="302" y="103"/>
                      <a:pt x="303" y="103"/>
                      <a:pt x="303" y="104"/>
                    </a:cubicBezTo>
                    <a:cubicBezTo>
                      <a:pt x="303" y="105"/>
                      <a:pt x="304" y="105"/>
                      <a:pt x="305" y="106"/>
                    </a:cubicBezTo>
                    <a:cubicBezTo>
                      <a:pt x="306" y="106"/>
                      <a:pt x="306" y="107"/>
                      <a:pt x="307" y="107"/>
                    </a:cubicBezTo>
                    <a:cubicBezTo>
                      <a:pt x="309" y="108"/>
                      <a:pt x="311" y="107"/>
                      <a:pt x="312" y="106"/>
                    </a:cubicBezTo>
                    <a:cubicBezTo>
                      <a:pt x="313" y="105"/>
                      <a:pt x="314" y="106"/>
                      <a:pt x="314" y="104"/>
                    </a:cubicBezTo>
                    <a:cubicBezTo>
                      <a:pt x="314" y="104"/>
                      <a:pt x="314" y="103"/>
                      <a:pt x="314" y="103"/>
                    </a:cubicBezTo>
                    <a:cubicBezTo>
                      <a:pt x="314" y="102"/>
                      <a:pt x="313" y="102"/>
                      <a:pt x="313" y="102"/>
                    </a:cubicBezTo>
                    <a:close/>
                    <a:moveTo>
                      <a:pt x="447" y="94"/>
                    </a:moveTo>
                    <a:cubicBezTo>
                      <a:pt x="446" y="94"/>
                      <a:pt x="446" y="94"/>
                      <a:pt x="445" y="94"/>
                    </a:cubicBezTo>
                    <a:cubicBezTo>
                      <a:pt x="445" y="94"/>
                      <a:pt x="445" y="94"/>
                      <a:pt x="445" y="94"/>
                    </a:cubicBezTo>
                    <a:cubicBezTo>
                      <a:pt x="444" y="94"/>
                      <a:pt x="445" y="93"/>
                      <a:pt x="445" y="93"/>
                    </a:cubicBezTo>
                    <a:cubicBezTo>
                      <a:pt x="445" y="92"/>
                      <a:pt x="443" y="92"/>
                      <a:pt x="442" y="92"/>
                    </a:cubicBezTo>
                    <a:cubicBezTo>
                      <a:pt x="442" y="92"/>
                      <a:pt x="442" y="92"/>
                      <a:pt x="442" y="92"/>
                    </a:cubicBezTo>
                    <a:cubicBezTo>
                      <a:pt x="442" y="93"/>
                      <a:pt x="440" y="92"/>
                      <a:pt x="440" y="92"/>
                    </a:cubicBezTo>
                    <a:cubicBezTo>
                      <a:pt x="440" y="92"/>
                      <a:pt x="440" y="91"/>
                      <a:pt x="439" y="91"/>
                    </a:cubicBezTo>
                    <a:cubicBezTo>
                      <a:pt x="439" y="91"/>
                      <a:pt x="438" y="91"/>
                      <a:pt x="438" y="91"/>
                    </a:cubicBezTo>
                    <a:cubicBezTo>
                      <a:pt x="436" y="92"/>
                      <a:pt x="435" y="91"/>
                      <a:pt x="434" y="90"/>
                    </a:cubicBezTo>
                    <a:cubicBezTo>
                      <a:pt x="434" y="90"/>
                      <a:pt x="433" y="90"/>
                      <a:pt x="433" y="90"/>
                    </a:cubicBezTo>
                    <a:cubicBezTo>
                      <a:pt x="433" y="89"/>
                      <a:pt x="432" y="89"/>
                      <a:pt x="432" y="89"/>
                    </a:cubicBezTo>
                    <a:cubicBezTo>
                      <a:pt x="431" y="89"/>
                      <a:pt x="431" y="88"/>
                      <a:pt x="430" y="88"/>
                    </a:cubicBezTo>
                    <a:cubicBezTo>
                      <a:pt x="429" y="87"/>
                      <a:pt x="428" y="87"/>
                      <a:pt x="427" y="87"/>
                    </a:cubicBezTo>
                    <a:cubicBezTo>
                      <a:pt x="427" y="87"/>
                      <a:pt x="426" y="86"/>
                      <a:pt x="426" y="85"/>
                    </a:cubicBezTo>
                    <a:cubicBezTo>
                      <a:pt x="425" y="84"/>
                      <a:pt x="423" y="84"/>
                      <a:pt x="422" y="84"/>
                    </a:cubicBezTo>
                    <a:cubicBezTo>
                      <a:pt x="421" y="83"/>
                      <a:pt x="420" y="83"/>
                      <a:pt x="419" y="83"/>
                    </a:cubicBezTo>
                    <a:cubicBezTo>
                      <a:pt x="419" y="82"/>
                      <a:pt x="419" y="82"/>
                      <a:pt x="418" y="82"/>
                    </a:cubicBezTo>
                    <a:cubicBezTo>
                      <a:pt x="417" y="81"/>
                      <a:pt x="415" y="82"/>
                      <a:pt x="414" y="83"/>
                    </a:cubicBezTo>
                    <a:cubicBezTo>
                      <a:pt x="413" y="84"/>
                      <a:pt x="412" y="84"/>
                      <a:pt x="411" y="85"/>
                    </a:cubicBezTo>
                    <a:cubicBezTo>
                      <a:pt x="411" y="85"/>
                      <a:pt x="410" y="85"/>
                      <a:pt x="410" y="86"/>
                    </a:cubicBezTo>
                    <a:cubicBezTo>
                      <a:pt x="410" y="86"/>
                      <a:pt x="411" y="87"/>
                      <a:pt x="411" y="87"/>
                    </a:cubicBezTo>
                    <a:cubicBezTo>
                      <a:pt x="411" y="87"/>
                      <a:pt x="411" y="88"/>
                      <a:pt x="411" y="88"/>
                    </a:cubicBezTo>
                    <a:cubicBezTo>
                      <a:pt x="411" y="89"/>
                      <a:pt x="410" y="89"/>
                      <a:pt x="409" y="89"/>
                    </a:cubicBezTo>
                    <a:cubicBezTo>
                      <a:pt x="409" y="89"/>
                      <a:pt x="408" y="89"/>
                      <a:pt x="408" y="90"/>
                    </a:cubicBezTo>
                    <a:cubicBezTo>
                      <a:pt x="407" y="90"/>
                      <a:pt x="406" y="90"/>
                      <a:pt x="405" y="90"/>
                    </a:cubicBezTo>
                    <a:cubicBezTo>
                      <a:pt x="405" y="90"/>
                      <a:pt x="405" y="90"/>
                      <a:pt x="405" y="90"/>
                    </a:cubicBezTo>
                    <a:cubicBezTo>
                      <a:pt x="404" y="90"/>
                      <a:pt x="405" y="89"/>
                      <a:pt x="404" y="89"/>
                    </a:cubicBezTo>
                    <a:cubicBezTo>
                      <a:pt x="404" y="89"/>
                      <a:pt x="403" y="90"/>
                      <a:pt x="403" y="90"/>
                    </a:cubicBezTo>
                    <a:cubicBezTo>
                      <a:pt x="402" y="91"/>
                      <a:pt x="402" y="93"/>
                      <a:pt x="401" y="94"/>
                    </a:cubicBezTo>
                    <a:cubicBezTo>
                      <a:pt x="401" y="94"/>
                      <a:pt x="400" y="95"/>
                      <a:pt x="400" y="95"/>
                    </a:cubicBezTo>
                    <a:cubicBezTo>
                      <a:pt x="399" y="95"/>
                      <a:pt x="399" y="95"/>
                      <a:pt x="399" y="95"/>
                    </a:cubicBezTo>
                    <a:cubicBezTo>
                      <a:pt x="399" y="96"/>
                      <a:pt x="399" y="96"/>
                      <a:pt x="399" y="96"/>
                    </a:cubicBezTo>
                    <a:cubicBezTo>
                      <a:pt x="399" y="96"/>
                      <a:pt x="398" y="97"/>
                      <a:pt x="398" y="97"/>
                    </a:cubicBezTo>
                    <a:cubicBezTo>
                      <a:pt x="398" y="97"/>
                      <a:pt x="399" y="98"/>
                      <a:pt x="398" y="98"/>
                    </a:cubicBezTo>
                    <a:cubicBezTo>
                      <a:pt x="397" y="98"/>
                      <a:pt x="397" y="99"/>
                      <a:pt x="397" y="99"/>
                    </a:cubicBezTo>
                    <a:cubicBezTo>
                      <a:pt x="396" y="99"/>
                      <a:pt x="397" y="99"/>
                      <a:pt x="396" y="100"/>
                    </a:cubicBezTo>
                    <a:cubicBezTo>
                      <a:pt x="396" y="100"/>
                      <a:pt x="395" y="100"/>
                      <a:pt x="395" y="101"/>
                    </a:cubicBezTo>
                    <a:cubicBezTo>
                      <a:pt x="395" y="101"/>
                      <a:pt x="395" y="101"/>
                      <a:pt x="394" y="102"/>
                    </a:cubicBezTo>
                    <a:cubicBezTo>
                      <a:pt x="394" y="103"/>
                      <a:pt x="392" y="102"/>
                      <a:pt x="391" y="102"/>
                    </a:cubicBezTo>
                    <a:cubicBezTo>
                      <a:pt x="390" y="102"/>
                      <a:pt x="390" y="102"/>
                      <a:pt x="389" y="102"/>
                    </a:cubicBezTo>
                    <a:cubicBezTo>
                      <a:pt x="389" y="102"/>
                      <a:pt x="389" y="101"/>
                      <a:pt x="389" y="101"/>
                    </a:cubicBezTo>
                    <a:cubicBezTo>
                      <a:pt x="389" y="101"/>
                      <a:pt x="388" y="101"/>
                      <a:pt x="388" y="101"/>
                    </a:cubicBezTo>
                    <a:cubicBezTo>
                      <a:pt x="388" y="101"/>
                      <a:pt x="388" y="100"/>
                      <a:pt x="388" y="100"/>
                    </a:cubicBezTo>
                    <a:cubicBezTo>
                      <a:pt x="388" y="99"/>
                      <a:pt x="387" y="99"/>
                      <a:pt x="388" y="98"/>
                    </a:cubicBezTo>
                    <a:cubicBezTo>
                      <a:pt x="388" y="98"/>
                      <a:pt x="388" y="97"/>
                      <a:pt x="387" y="98"/>
                    </a:cubicBezTo>
                    <a:cubicBezTo>
                      <a:pt x="387" y="98"/>
                      <a:pt x="387" y="98"/>
                      <a:pt x="386" y="98"/>
                    </a:cubicBezTo>
                    <a:cubicBezTo>
                      <a:pt x="386" y="97"/>
                      <a:pt x="387" y="92"/>
                      <a:pt x="385" y="92"/>
                    </a:cubicBezTo>
                    <a:cubicBezTo>
                      <a:pt x="385" y="92"/>
                      <a:pt x="384" y="93"/>
                      <a:pt x="384" y="93"/>
                    </a:cubicBezTo>
                    <a:cubicBezTo>
                      <a:pt x="384" y="94"/>
                      <a:pt x="384" y="95"/>
                      <a:pt x="385" y="95"/>
                    </a:cubicBezTo>
                    <a:cubicBezTo>
                      <a:pt x="385" y="95"/>
                      <a:pt x="385" y="97"/>
                      <a:pt x="384" y="97"/>
                    </a:cubicBezTo>
                    <a:cubicBezTo>
                      <a:pt x="384" y="97"/>
                      <a:pt x="384" y="96"/>
                      <a:pt x="384" y="95"/>
                    </a:cubicBezTo>
                    <a:cubicBezTo>
                      <a:pt x="383" y="94"/>
                      <a:pt x="383" y="93"/>
                      <a:pt x="383" y="93"/>
                    </a:cubicBezTo>
                    <a:cubicBezTo>
                      <a:pt x="382" y="92"/>
                      <a:pt x="382" y="92"/>
                      <a:pt x="382" y="91"/>
                    </a:cubicBezTo>
                    <a:cubicBezTo>
                      <a:pt x="381" y="90"/>
                      <a:pt x="382" y="90"/>
                      <a:pt x="381" y="89"/>
                    </a:cubicBezTo>
                    <a:cubicBezTo>
                      <a:pt x="381" y="88"/>
                      <a:pt x="381" y="88"/>
                      <a:pt x="381" y="87"/>
                    </a:cubicBezTo>
                    <a:cubicBezTo>
                      <a:pt x="381" y="86"/>
                      <a:pt x="380" y="84"/>
                      <a:pt x="381" y="83"/>
                    </a:cubicBezTo>
                    <a:cubicBezTo>
                      <a:pt x="382" y="83"/>
                      <a:pt x="382" y="83"/>
                      <a:pt x="382" y="82"/>
                    </a:cubicBezTo>
                    <a:cubicBezTo>
                      <a:pt x="382" y="82"/>
                      <a:pt x="382" y="81"/>
                      <a:pt x="382" y="81"/>
                    </a:cubicBezTo>
                    <a:cubicBezTo>
                      <a:pt x="382" y="81"/>
                      <a:pt x="383" y="81"/>
                      <a:pt x="383" y="80"/>
                    </a:cubicBezTo>
                    <a:cubicBezTo>
                      <a:pt x="383" y="80"/>
                      <a:pt x="382" y="79"/>
                      <a:pt x="382" y="78"/>
                    </a:cubicBezTo>
                    <a:cubicBezTo>
                      <a:pt x="381" y="78"/>
                      <a:pt x="381" y="77"/>
                      <a:pt x="381" y="77"/>
                    </a:cubicBezTo>
                    <a:cubicBezTo>
                      <a:pt x="381" y="76"/>
                      <a:pt x="380" y="76"/>
                      <a:pt x="381" y="75"/>
                    </a:cubicBezTo>
                    <a:cubicBezTo>
                      <a:pt x="381" y="75"/>
                      <a:pt x="382" y="75"/>
                      <a:pt x="382" y="75"/>
                    </a:cubicBezTo>
                    <a:cubicBezTo>
                      <a:pt x="382" y="75"/>
                      <a:pt x="380" y="74"/>
                      <a:pt x="380" y="74"/>
                    </a:cubicBezTo>
                    <a:cubicBezTo>
                      <a:pt x="380" y="73"/>
                      <a:pt x="379" y="73"/>
                      <a:pt x="379" y="73"/>
                    </a:cubicBezTo>
                    <a:cubicBezTo>
                      <a:pt x="379" y="73"/>
                      <a:pt x="378" y="73"/>
                      <a:pt x="378" y="73"/>
                    </a:cubicBezTo>
                    <a:cubicBezTo>
                      <a:pt x="378" y="73"/>
                      <a:pt x="378" y="74"/>
                      <a:pt x="378" y="74"/>
                    </a:cubicBezTo>
                    <a:cubicBezTo>
                      <a:pt x="377" y="74"/>
                      <a:pt x="377" y="73"/>
                      <a:pt x="376" y="73"/>
                    </a:cubicBezTo>
                    <a:cubicBezTo>
                      <a:pt x="374" y="73"/>
                      <a:pt x="374" y="73"/>
                      <a:pt x="373" y="72"/>
                    </a:cubicBezTo>
                    <a:cubicBezTo>
                      <a:pt x="372" y="71"/>
                      <a:pt x="372" y="71"/>
                      <a:pt x="371" y="71"/>
                    </a:cubicBezTo>
                    <a:cubicBezTo>
                      <a:pt x="371" y="71"/>
                      <a:pt x="370" y="70"/>
                      <a:pt x="370" y="70"/>
                    </a:cubicBezTo>
                    <a:cubicBezTo>
                      <a:pt x="367" y="69"/>
                      <a:pt x="364" y="68"/>
                      <a:pt x="362" y="71"/>
                    </a:cubicBezTo>
                    <a:cubicBezTo>
                      <a:pt x="361" y="71"/>
                      <a:pt x="361" y="71"/>
                      <a:pt x="360" y="72"/>
                    </a:cubicBezTo>
                    <a:cubicBezTo>
                      <a:pt x="360" y="72"/>
                      <a:pt x="360" y="73"/>
                      <a:pt x="359" y="73"/>
                    </a:cubicBezTo>
                    <a:cubicBezTo>
                      <a:pt x="359" y="73"/>
                      <a:pt x="356" y="74"/>
                      <a:pt x="356" y="74"/>
                    </a:cubicBezTo>
                    <a:cubicBezTo>
                      <a:pt x="356" y="74"/>
                      <a:pt x="357" y="74"/>
                      <a:pt x="356" y="73"/>
                    </a:cubicBezTo>
                    <a:cubicBezTo>
                      <a:pt x="356" y="73"/>
                      <a:pt x="356" y="74"/>
                      <a:pt x="355" y="74"/>
                    </a:cubicBezTo>
                    <a:cubicBezTo>
                      <a:pt x="355" y="74"/>
                      <a:pt x="354" y="74"/>
                      <a:pt x="353" y="74"/>
                    </a:cubicBezTo>
                    <a:cubicBezTo>
                      <a:pt x="353" y="74"/>
                      <a:pt x="354" y="76"/>
                      <a:pt x="354" y="76"/>
                    </a:cubicBezTo>
                    <a:cubicBezTo>
                      <a:pt x="353" y="77"/>
                      <a:pt x="353" y="78"/>
                      <a:pt x="353" y="79"/>
                    </a:cubicBezTo>
                    <a:cubicBezTo>
                      <a:pt x="352" y="79"/>
                      <a:pt x="352" y="79"/>
                      <a:pt x="351" y="80"/>
                    </a:cubicBezTo>
                    <a:cubicBezTo>
                      <a:pt x="351" y="80"/>
                      <a:pt x="350" y="81"/>
                      <a:pt x="351" y="81"/>
                    </a:cubicBezTo>
                    <a:cubicBezTo>
                      <a:pt x="351" y="81"/>
                      <a:pt x="352" y="81"/>
                      <a:pt x="352" y="81"/>
                    </a:cubicBezTo>
                    <a:cubicBezTo>
                      <a:pt x="353" y="82"/>
                      <a:pt x="353" y="82"/>
                      <a:pt x="354" y="82"/>
                    </a:cubicBezTo>
                    <a:cubicBezTo>
                      <a:pt x="355" y="81"/>
                      <a:pt x="354" y="81"/>
                      <a:pt x="354" y="81"/>
                    </a:cubicBezTo>
                    <a:cubicBezTo>
                      <a:pt x="354" y="81"/>
                      <a:pt x="355" y="81"/>
                      <a:pt x="355" y="81"/>
                    </a:cubicBezTo>
                    <a:cubicBezTo>
                      <a:pt x="355" y="81"/>
                      <a:pt x="355" y="82"/>
                      <a:pt x="355" y="82"/>
                    </a:cubicBezTo>
                    <a:cubicBezTo>
                      <a:pt x="355" y="82"/>
                      <a:pt x="355" y="82"/>
                      <a:pt x="356" y="81"/>
                    </a:cubicBezTo>
                    <a:cubicBezTo>
                      <a:pt x="356" y="81"/>
                      <a:pt x="356" y="82"/>
                      <a:pt x="356" y="82"/>
                    </a:cubicBezTo>
                    <a:cubicBezTo>
                      <a:pt x="357" y="82"/>
                      <a:pt x="357" y="82"/>
                      <a:pt x="358" y="82"/>
                    </a:cubicBezTo>
                    <a:cubicBezTo>
                      <a:pt x="358" y="83"/>
                      <a:pt x="359" y="83"/>
                      <a:pt x="359" y="82"/>
                    </a:cubicBezTo>
                    <a:cubicBezTo>
                      <a:pt x="359" y="82"/>
                      <a:pt x="358" y="83"/>
                      <a:pt x="359" y="83"/>
                    </a:cubicBezTo>
                    <a:cubicBezTo>
                      <a:pt x="359" y="83"/>
                      <a:pt x="359" y="82"/>
                      <a:pt x="359" y="82"/>
                    </a:cubicBezTo>
                    <a:cubicBezTo>
                      <a:pt x="359" y="82"/>
                      <a:pt x="360" y="82"/>
                      <a:pt x="360" y="82"/>
                    </a:cubicBezTo>
                    <a:cubicBezTo>
                      <a:pt x="360" y="82"/>
                      <a:pt x="360" y="82"/>
                      <a:pt x="360" y="82"/>
                    </a:cubicBezTo>
                    <a:cubicBezTo>
                      <a:pt x="360" y="83"/>
                      <a:pt x="359" y="83"/>
                      <a:pt x="360" y="84"/>
                    </a:cubicBezTo>
                    <a:cubicBezTo>
                      <a:pt x="360" y="84"/>
                      <a:pt x="361" y="83"/>
                      <a:pt x="361" y="84"/>
                    </a:cubicBezTo>
                    <a:cubicBezTo>
                      <a:pt x="361" y="84"/>
                      <a:pt x="360" y="85"/>
                      <a:pt x="360" y="85"/>
                    </a:cubicBezTo>
                    <a:cubicBezTo>
                      <a:pt x="360" y="85"/>
                      <a:pt x="360" y="86"/>
                      <a:pt x="360" y="86"/>
                    </a:cubicBezTo>
                    <a:cubicBezTo>
                      <a:pt x="360" y="87"/>
                      <a:pt x="360" y="87"/>
                      <a:pt x="361" y="87"/>
                    </a:cubicBezTo>
                    <a:cubicBezTo>
                      <a:pt x="361" y="88"/>
                      <a:pt x="361" y="87"/>
                      <a:pt x="362" y="87"/>
                    </a:cubicBezTo>
                    <a:cubicBezTo>
                      <a:pt x="361" y="88"/>
                      <a:pt x="361" y="88"/>
                      <a:pt x="362" y="89"/>
                    </a:cubicBezTo>
                    <a:cubicBezTo>
                      <a:pt x="362" y="89"/>
                      <a:pt x="363" y="89"/>
                      <a:pt x="363" y="90"/>
                    </a:cubicBezTo>
                    <a:cubicBezTo>
                      <a:pt x="364" y="91"/>
                      <a:pt x="365" y="90"/>
                      <a:pt x="365" y="89"/>
                    </a:cubicBezTo>
                    <a:cubicBezTo>
                      <a:pt x="366" y="89"/>
                      <a:pt x="366" y="90"/>
                      <a:pt x="367" y="90"/>
                    </a:cubicBezTo>
                    <a:cubicBezTo>
                      <a:pt x="367" y="91"/>
                      <a:pt x="368" y="90"/>
                      <a:pt x="368" y="90"/>
                    </a:cubicBezTo>
                    <a:cubicBezTo>
                      <a:pt x="368" y="90"/>
                      <a:pt x="369" y="90"/>
                      <a:pt x="369" y="90"/>
                    </a:cubicBezTo>
                    <a:cubicBezTo>
                      <a:pt x="370" y="91"/>
                      <a:pt x="371" y="90"/>
                      <a:pt x="371" y="90"/>
                    </a:cubicBezTo>
                    <a:cubicBezTo>
                      <a:pt x="372" y="90"/>
                      <a:pt x="372" y="90"/>
                      <a:pt x="373" y="90"/>
                    </a:cubicBezTo>
                    <a:cubicBezTo>
                      <a:pt x="373" y="89"/>
                      <a:pt x="373" y="90"/>
                      <a:pt x="374" y="90"/>
                    </a:cubicBezTo>
                    <a:cubicBezTo>
                      <a:pt x="374" y="90"/>
                      <a:pt x="375" y="90"/>
                      <a:pt x="375" y="90"/>
                    </a:cubicBezTo>
                    <a:cubicBezTo>
                      <a:pt x="375" y="90"/>
                      <a:pt x="376" y="90"/>
                      <a:pt x="376" y="89"/>
                    </a:cubicBezTo>
                    <a:cubicBezTo>
                      <a:pt x="376" y="90"/>
                      <a:pt x="378" y="89"/>
                      <a:pt x="378" y="89"/>
                    </a:cubicBezTo>
                    <a:cubicBezTo>
                      <a:pt x="378" y="89"/>
                      <a:pt x="379" y="88"/>
                      <a:pt x="379" y="89"/>
                    </a:cubicBezTo>
                    <a:cubicBezTo>
                      <a:pt x="379" y="89"/>
                      <a:pt x="378" y="90"/>
                      <a:pt x="379" y="89"/>
                    </a:cubicBezTo>
                    <a:cubicBezTo>
                      <a:pt x="379" y="89"/>
                      <a:pt x="378" y="90"/>
                      <a:pt x="378" y="90"/>
                    </a:cubicBezTo>
                    <a:cubicBezTo>
                      <a:pt x="378" y="91"/>
                      <a:pt x="379" y="90"/>
                      <a:pt x="379" y="90"/>
                    </a:cubicBezTo>
                    <a:cubicBezTo>
                      <a:pt x="379" y="90"/>
                      <a:pt x="379" y="90"/>
                      <a:pt x="379" y="90"/>
                    </a:cubicBezTo>
                    <a:cubicBezTo>
                      <a:pt x="380" y="90"/>
                      <a:pt x="379" y="91"/>
                      <a:pt x="379" y="91"/>
                    </a:cubicBezTo>
                    <a:cubicBezTo>
                      <a:pt x="379" y="91"/>
                      <a:pt x="379" y="91"/>
                      <a:pt x="379" y="91"/>
                    </a:cubicBezTo>
                    <a:cubicBezTo>
                      <a:pt x="379" y="91"/>
                      <a:pt x="379" y="91"/>
                      <a:pt x="379" y="91"/>
                    </a:cubicBezTo>
                    <a:cubicBezTo>
                      <a:pt x="379" y="91"/>
                      <a:pt x="380" y="92"/>
                      <a:pt x="380" y="92"/>
                    </a:cubicBezTo>
                    <a:cubicBezTo>
                      <a:pt x="380" y="92"/>
                      <a:pt x="379" y="92"/>
                      <a:pt x="379" y="92"/>
                    </a:cubicBezTo>
                    <a:cubicBezTo>
                      <a:pt x="378" y="92"/>
                      <a:pt x="379" y="92"/>
                      <a:pt x="379" y="92"/>
                    </a:cubicBezTo>
                    <a:cubicBezTo>
                      <a:pt x="378" y="92"/>
                      <a:pt x="378" y="92"/>
                      <a:pt x="378" y="92"/>
                    </a:cubicBezTo>
                    <a:cubicBezTo>
                      <a:pt x="377" y="92"/>
                      <a:pt x="378" y="93"/>
                      <a:pt x="378" y="93"/>
                    </a:cubicBezTo>
                    <a:cubicBezTo>
                      <a:pt x="378" y="93"/>
                      <a:pt x="378" y="94"/>
                      <a:pt x="378" y="94"/>
                    </a:cubicBezTo>
                    <a:cubicBezTo>
                      <a:pt x="378" y="94"/>
                      <a:pt x="377" y="93"/>
                      <a:pt x="377" y="93"/>
                    </a:cubicBezTo>
                    <a:cubicBezTo>
                      <a:pt x="376" y="93"/>
                      <a:pt x="377" y="95"/>
                      <a:pt x="377" y="95"/>
                    </a:cubicBezTo>
                    <a:cubicBezTo>
                      <a:pt x="376" y="95"/>
                      <a:pt x="377" y="93"/>
                      <a:pt x="376" y="93"/>
                    </a:cubicBezTo>
                    <a:cubicBezTo>
                      <a:pt x="376" y="93"/>
                      <a:pt x="375" y="94"/>
                      <a:pt x="375" y="94"/>
                    </a:cubicBezTo>
                    <a:cubicBezTo>
                      <a:pt x="375" y="94"/>
                      <a:pt x="375" y="93"/>
                      <a:pt x="375" y="93"/>
                    </a:cubicBezTo>
                    <a:cubicBezTo>
                      <a:pt x="375" y="93"/>
                      <a:pt x="375" y="94"/>
                      <a:pt x="374" y="94"/>
                    </a:cubicBezTo>
                    <a:cubicBezTo>
                      <a:pt x="374" y="94"/>
                      <a:pt x="375" y="93"/>
                      <a:pt x="374" y="93"/>
                    </a:cubicBezTo>
                    <a:cubicBezTo>
                      <a:pt x="374" y="93"/>
                      <a:pt x="374" y="95"/>
                      <a:pt x="374" y="95"/>
                    </a:cubicBezTo>
                    <a:cubicBezTo>
                      <a:pt x="374" y="94"/>
                      <a:pt x="374" y="92"/>
                      <a:pt x="373" y="93"/>
                    </a:cubicBezTo>
                    <a:cubicBezTo>
                      <a:pt x="373" y="92"/>
                      <a:pt x="372" y="92"/>
                      <a:pt x="371" y="92"/>
                    </a:cubicBezTo>
                    <a:cubicBezTo>
                      <a:pt x="370" y="93"/>
                      <a:pt x="370" y="94"/>
                      <a:pt x="369" y="95"/>
                    </a:cubicBezTo>
                    <a:cubicBezTo>
                      <a:pt x="368" y="95"/>
                      <a:pt x="367" y="97"/>
                      <a:pt x="367" y="96"/>
                    </a:cubicBezTo>
                    <a:cubicBezTo>
                      <a:pt x="366" y="95"/>
                      <a:pt x="366" y="95"/>
                      <a:pt x="365" y="95"/>
                    </a:cubicBezTo>
                    <a:cubicBezTo>
                      <a:pt x="365" y="95"/>
                      <a:pt x="365" y="96"/>
                      <a:pt x="364" y="95"/>
                    </a:cubicBezTo>
                    <a:cubicBezTo>
                      <a:pt x="364" y="95"/>
                      <a:pt x="364" y="95"/>
                      <a:pt x="364" y="95"/>
                    </a:cubicBezTo>
                    <a:cubicBezTo>
                      <a:pt x="364" y="95"/>
                      <a:pt x="364" y="95"/>
                      <a:pt x="363" y="95"/>
                    </a:cubicBezTo>
                    <a:cubicBezTo>
                      <a:pt x="363" y="95"/>
                      <a:pt x="362" y="95"/>
                      <a:pt x="361" y="95"/>
                    </a:cubicBezTo>
                    <a:cubicBezTo>
                      <a:pt x="361" y="95"/>
                      <a:pt x="362" y="95"/>
                      <a:pt x="362" y="95"/>
                    </a:cubicBezTo>
                    <a:cubicBezTo>
                      <a:pt x="362" y="95"/>
                      <a:pt x="361" y="96"/>
                      <a:pt x="360" y="96"/>
                    </a:cubicBezTo>
                    <a:cubicBezTo>
                      <a:pt x="359" y="96"/>
                      <a:pt x="362" y="96"/>
                      <a:pt x="360" y="97"/>
                    </a:cubicBezTo>
                    <a:cubicBezTo>
                      <a:pt x="361" y="97"/>
                      <a:pt x="360" y="97"/>
                      <a:pt x="360" y="97"/>
                    </a:cubicBezTo>
                    <a:cubicBezTo>
                      <a:pt x="360" y="97"/>
                      <a:pt x="361" y="98"/>
                      <a:pt x="361" y="98"/>
                    </a:cubicBezTo>
                    <a:cubicBezTo>
                      <a:pt x="361" y="98"/>
                      <a:pt x="362" y="98"/>
                      <a:pt x="362" y="97"/>
                    </a:cubicBezTo>
                    <a:cubicBezTo>
                      <a:pt x="362" y="98"/>
                      <a:pt x="363" y="97"/>
                      <a:pt x="363" y="98"/>
                    </a:cubicBezTo>
                    <a:cubicBezTo>
                      <a:pt x="364" y="98"/>
                      <a:pt x="364" y="98"/>
                      <a:pt x="364" y="99"/>
                    </a:cubicBezTo>
                    <a:cubicBezTo>
                      <a:pt x="365" y="99"/>
                      <a:pt x="366" y="100"/>
                      <a:pt x="366" y="101"/>
                    </a:cubicBezTo>
                    <a:cubicBezTo>
                      <a:pt x="366" y="101"/>
                      <a:pt x="367" y="103"/>
                      <a:pt x="367" y="102"/>
                    </a:cubicBezTo>
                    <a:cubicBezTo>
                      <a:pt x="367" y="102"/>
                      <a:pt x="367" y="101"/>
                      <a:pt x="367" y="101"/>
                    </a:cubicBezTo>
                    <a:cubicBezTo>
                      <a:pt x="368" y="101"/>
                      <a:pt x="368" y="102"/>
                      <a:pt x="368" y="102"/>
                    </a:cubicBezTo>
                    <a:cubicBezTo>
                      <a:pt x="368" y="102"/>
                      <a:pt x="368" y="103"/>
                      <a:pt x="368" y="103"/>
                    </a:cubicBezTo>
                    <a:cubicBezTo>
                      <a:pt x="368" y="104"/>
                      <a:pt x="368" y="103"/>
                      <a:pt x="369" y="104"/>
                    </a:cubicBezTo>
                    <a:cubicBezTo>
                      <a:pt x="369" y="104"/>
                      <a:pt x="369" y="105"/>
                      <a:pt x="368" y="105"/>
                    </a:cubicBezTo>
                    <a:cubicBezTo>
                      <a:pt x="368" y="106"/>
                      <a:pt x="367" y="105"/>
                      <a:pt x="367" y="106"/>
                    </a:cubicBezTo>
                    <a:cubicBezTo>
                      <a:pt x="367" y="107"/>
                      <a:pt x="368" y="108"/>
                      <a:pt x="368" y="108"/>
                    </a:cubicBezTo>
                    <a:cubicBezTo>
                      <a:pt x="368" y="109"/>
                      <a:pt x="367" y="108"/>
                      <a:pt x="367" y="109"/>
                    </a:cubicBezTo>
                    <a:cubicBezTo>
                      <a:pt x="368" y="109"/>
                      <a:pt x="368" y="109"/>
                      <a:pt x="368" y="109"/>
                    </a:cubicBezTo>
                    <a:cubicBezTo>
                      <a:pt x="368" y="110"/>
                      <a:pt x="368" y="110"/>
                      <a:pt x="369" y="110"/>
                    </a:cubicBezTo>
                    <a:cubicBezTo>
                      <a:pt x="369" y="111"/>
                      <a:pt x="369" y="110"/>
                      <a:pt x="370" y="110"/>
                    </a:cubicBezTo>
                    <a:cubicBezTo>
                      <a:pt x="370" y="110"/>
                      <a:pt x="370" y="110"/>
                      <a:pt x="371" y="110"/>
                    </a:cubicBezTo>
                    <a:cubicBezTo>
                      <a:pt x="372" y="110"/>
                      <a:pt x="372" y="110"/>
                      <a:pt x="373" y="109"/>
                    </a:cubicBezTo>
                    <a:cubicBezTo>
                      <a:pt x="373" y="109"/>
                      <a:pt x="374" y="108"/>
                      <a:pt x="374" y="108"/>
                    </a:cubicBezTo>
                    <a:cubicBezTo>
                      <a:pt x="374" y="107"/>
                      <a:pt x="374" y="107"/>
                      <a:pt x="373" y="107"/>
                    </a:cubicBezTo>
                    <a:cubicBezTo>
                      <a:pt x="373" y="107"/>
                      <a:pt x="374" y="106"/>
                      <a:pt x="374" y="106"/>
                    </a:cubicBezTo>
                    <a:cubicBezTo>
                      <a:pt x="374" y="105"/>
                      <a:pt x="375" y="105"/>
                      <a:pt x="375" y="104"/>
                    </a:cubicBezTo>
                    <a:cubicBezTo>
                      <a:pt x="376" y="104"/>
                      <a:pt x="375" y="103"/>
                      <a:pt x="374" y="103"/>
                    </a:cubicBezTo>
                    <a:cubicBezTo>
                      <a:pt x="375" y="103"/>
                      <a:pt x="375" y="103"/>
                      <a:pt x="375" y="102"/>
                    </a:cubicBezTo>
                    <a:cubicBezTo>
                      <a:pt x="375" y="103"/>
                      <a:pt x="375" y="103"/>
                      <a:pt x="375" y="103"/>
                    </a:cubicBezTo>
                    <a:cubicBezTo>
                      <a:pt x="376" y="103"/>
                      <a:pt x="376" y="102"/>
                      <a:pt x="376" y="102"/>
                    </a:cubicBezTo>
                    <a:cubicBezTo>
                      <a:pt x="376" y="101"/>
                      <a:pt x="376" y="99"/>
                      <a:pt x="377" y="99"/>
                    </a:cubicBezTo>
                    <a:cubicBezTo>
                      <a:pt x="378" y="98"/>
                      <a:pt x="378" y="98"/>
                      <a:pt x="378" y="98"/>
                    </a:cubicBezTo>
                    <a:cubicBezTo>
                      <a:pt x="378" y="97"/>
                      <a:pt x="378" y="97"/>
                      <a:pt x="378" y="98"/>
                    </a:cubicBezTo>
                    <a:cubicBezTo>
                      <a:pt x="378" y="98"/>
                      <a:pt x="378" y="98"/>
                      <a:pt x="378" y="99"/>
                    </a:cubicBezTo>
                    <a:cubicBezTo>
                      <a:pt x="378" y="99"/>
                      <a:pt x="379" y="99"/>
                      <a:pt x="379" y="100"/>
                    </a:cubicBezTo>
                    <a:cubicBezTo>
                      <a:pt x="378" y="99"/>
                      <a:pt x="377" y="100"/>
                      <a:pt x="377" y="100"/>
                    </a:cubicBezTo>
                    <a:cubicBezTo>
                      <a:pt x="377" y="100"/>
                      <a:pt x="376" y="101"/>
                      <a:pt x="376" y="101"/>
                    </a:cubicBezTo>
                    <a:cubicBezTo>
                      <a:pt x="376" y="101"/>
                      <a:pt x="376" y="102"/>
                      <a:pt x="376" y="102"/>
                    </a:cubicBezTo>
                    <a:cubicBezTo>
                      <a:pt x="377" y="103"/>
                      <a:pt x="376" y="103"/>
                      <a:pt x="376" y="104"/>
                    </a:cubicBezTo>
                    <a:cubicBezTo>
                      <a:pt x="376" y="104"/>
                      <a:pt x="376" y="105"/>
                      <a:pt x="376" y="105"/>
                    </a:cubicBezTo>
                    <a:cubicBezTo>
                      <a:pt x="376" y="106"/>
                      <a:pt x="377" y="105"/>
                      <a:pt x="377" y="105"/>
                    </a:cubicBezTo>
                    <a:cubicBezTo>
                      <a:pt x="377" y="106"/>
                      <a:pt x="377" y="106"/>
                      <a:pt x="377" y="106"/>
                    </a:cubicBezTo>
                    <a:cubicBezTo>
                      <a:pt x="378" y="106"/>
                      <a:pt x="377" y="105"/>
                      <a:pt x="378" y="105"/>
                    </a:cubicBezTo>
                    <a:cubicBezTo>
                      <a:pt x="378" y="105"/>
                      <a:pt x="378" y="107"/>
                      <a:pt x="379" y="107"/>
                    </a:cubicBezTo>
                    <a:cubicBezTo>
                      <a:pt x="379" y="108"/>
                      <a:pt x="379" y="107"/>
                      <a:pt x="380" y="107"/>
                    </a:cubicBezTo>
                    <a:cubicBezTo>
                      <a:pt x="380" y="107"/>
                      <a:pt x="380" y="107"/>
                      <a:pt x="380" y="107"/>
                    </a:cubicBezTo>
                    <a:cubicBezTo>
                      <a:pt x="380" y="106"/>
                      <a:pt x="381" y="107"/>
                      <a:pt x="381" y="107"/>
                    </a:cubicBezTo>
                    <a:cubicBezTo>
                      <a:pt x="381" y="108"/>
                      <a:pt x="381" y="108"/>
                      <a:pt x="381" y="108"/>
                    </a:cubicBezTo>
                    <a:cubicBezTo>
                      <a:pt x="381" y="108"/>
                      <a:pt x="382" y="109"/>
                      <a:pt x="382" y="109"/>
                    </a:cubicBezTo>
                    <a:cubicBezTo>
                      <a:pt x="382" y="110"/>
                      <a:pt x="383" y="109"/>
                      <a:pt x="382" y="109"/>
                    </a:cubicBezTo>
                    <a:cubicBezTo>
                      <a:pt x="383" y="109"/>
                      <a:pt x="383" y="108"/>
                      <a:pt x="382" y="108"/>
                    </a:cubicBezTo>
                    <a:cubicBezTo>
                      <a:pt x="383" y="108"/>
                      <a:pt x="383" y="109"/>
                      <a:pt x="384" y="109"/>
                    </a:cubicBezTo>
                    <a:cubicBezTo>
                      <a:pt x="384" y="110"/>
                      <a:pt x="385" y="110"/>
                      <a:pt x="385" y="109"/>
                    </a:cubicBezTo>
                    <a:cubicBezTo>
                      <a:pt x="385" y="108"/>
                      <a:pt x="386" y="108"/>
                      <a:pt x="387" y="108"/>
                    </a:cubicBezTo>
                    <a:cubicBezTo>
                      <a:pt x="387" y="108"/>
                      <a:pt x="388" y="109"/>
                      <a:pt x="388" y="109"/>
                    </a:cubicBezTo>
                    <a:cubicBezTo>
                      <a:pt x="388" y="110"/>
                      <a:pt x="386" y="108"/>
                      <a:pt x="386" y="109"/>
                    </a:cubicBezTo>
                    <a:cubicBezTo>
                      <a:pt x="386" y="110"/>
                      <a:pt x="386" y="110"/>
                      <a:pt x="385" y="110"/>
                    </a:cubicBezTo>
                    <a:cubicBezTo>
                      <a:pt x="385" y="111"/>
                      <a:pt x="386" y="111"/>
                      <a:pt x="386" y="111"/>
                    </a:cubicBezTo>
                    <a:cubicBezTo>
                      <a:pt x="386" y="112"/>
                      <a:pt x="387" y="112"/>
                      <a:pt x="388" y="112"/>
                    </a:cubicBezTo>
                    <a:cubicBezTo>
                      <a:pt x="388" y="112"/>
                      <a:pt x="389" y="113"/>
                      <a:pt x="389" y="113"/>
                    </a:cubicBezTo>
                    <a:cubicBezTo>
                      <a:pt x="390" y="114"/>
                      <a:pt x="390" y="114"/>
                      <a:pt x="391" y="114"/>
                    </a:cubicBezTo>
                    <a:cubicBezTo>
                      <a:pt x="392" y="114"/>
                      <a:pt x="393" y="114"/>
                      <a:pt x="394" y="114"/>
                    </a:cubicBezTo>
                    <a:cubicBezTo>
                      <a:pt x="394" y="114"/>
                      <a:pt x="395" y="114"/>
                      <a:pt x="395" y="115"/>
                    </a:cubicBezTo>
                    <a:cubicBezTo>
                      <a:pt x="396" y="115"/>
                      <a:pt x="396" y="115"/>
                      <a:pt x="397" y="115"/>
                    </a:cubicBezTo>
                    <a:cubicBezTo>
                      <a:pt x="398" y="115"/>
                      <a:pt x="398" y="115"/>
                      <a:pt x="398" y="116"/>
                    </a:cubicBezTo>
                    <a:cubicBezTo>
                      <a:pt x="399" y="116"/>
                      <a:pt x="400" y="116"/>
                      <a:pt x="400" y="117"/>
                    </a:cubicBezTo>
                    <a:cubicBezTo>
                      <a:pt x="401" y="117"/>
                      <a:pt x="401" y="116"/>
                      <a:pt x="402" y="117"/>
                    </a:cubicBezTo>
                    <a:cubicBezTo>
                      <a:pt x="402" y="117"/>
                      <a:pt x="403" y="118"/>
                      <a:pt x="404" y="118"/>
                    </a:cubicBezTo>
                    <a:cubicBezTo>
                      <a:pt x="404" y="118"/>
                      <a:pt x="404" y="118"/>
                      <a:pt x="405" y="118"/>
                    </a:cubicBezTo>
                    <a:cubicBezTo>
                      <a:pt x="405" y="119"/>
                      <a:pt x="405" y="119"/>
                      <a:pt x="405" y="119"/>
                    </a:cubicBezTo>
                    <a:cubicBezTo>
                      <a:pt x="405" y="119"/>
                      <a:pt x="406" y="119"/>
                      <a:pt x="406" y="119"/>
                    </a:cubicBezTo>
                    <a:cubicBezTo>
                      <a:pt x="406" y="119"/>
                      <a:pt x="406" y="119"/>
                      <a:pt x="406" y="119"/>
                    </a:cubicBezTo>
                    <a:cubicBezTo>
                      <a:pt x="406" y="119"/>
                      <a:pt x="407" y="119"/>
                      <a:pt x="407" y="119"/>
                    </a:cubicBezTo>
                    <a:cubicBezTo>
                      <a:pt x="407" y="119"/>
                      <a:pt x="407" y="119"/>
                      <a:pt x="407" y="120"/>
                    </a:cubicBezTo>
                    <a:cubicBezTo>
                      <a:pt x="408" y="120"/>
                      <a:pt x="408" y="119"/>
                      <a:pt x="409" y="119"/>
                    </a:cubicBezTo>
                    <a:cubicBezTo>
                      <a:pt x="409" y="119"/>
                      <a:pt x="408" y="120"/>
                      <a:pt x="408" y="120"/>
                    </a:cubicBezTo>
                    <a:cubicBezTo>
                      <a:pt x="409" y="120"/>
                      <a:pt x="409" y="120"/>
                      <a:pt x="409" y="120"/>
                    </a:cubicBezTo>
                    <a:cubicBezTo>
                      <a:pt x="409" y="121"/>
                      <a:pt x="410" y="120"/>
                      <a:pt x="410" y="120"/>
                    </a:cubicBezTo>
                    <a:cubicBezTo>
                      <a:pt x="410" y="120"/>
                      <a:pt x="410" y="120"/>
                      <a:pt x="410" y="120"/>
                    </a:cubicBezTo>
                    <a:cubicBezTo>
                      <a:pt x="410" y="121"/>
                      <a:pt x="411" y="120"/>
                      <a:pt x="411" y="120"/>
                    </a:cubicBezTo>
                    <a:cubicBezTo>
                      <a:pt x="411" y="121"/>
                      <a:pt x="411" y="120"/>
                      <a:pt x="411" y="121"/>
                    </a:cubicBezTo>
                    <a:cubicBezTo>
                      <a:pt x="411" y="121"/>
                      <a:pt x="411" y="121"/>
                      <a:pt x="412" y="121"/>
                    </a:cubicBezTo>
                    <a:cubicBezTo>
                      <a:pt x="412" y="122"/>
                      <a:pt x="413" y="122"/>
                      <a:pt x="413" y="121"/>
                    </a:cubicBezTo>
                    <a:cubicBezTo>
                      <a:pt x="413" y="122"/>
                      <a:pt x="413" y="122"/>
                      <a:pt x="413" y="122"/>
                    </a:cubicBezTo>
                    <a:cubicBezTo>
                      <a:pt x="414" y="123"/>
                      <a:pt x="414" y="123"/>
                      <a:pt x="414" y="123"/>
                    </a:cubicBezTo>
                    <a:cubicBezTo>
                      <a:pt x="415" y="122"/>
                      <a:pt x="414" y="124"/>
                      <a:pt x="415" y="123"/>
                    </a:cubicBezTo>
                    <a:cubicBezTo>
                      <a:pt x="415" y="124"/>
                      <a:pt x="415" y="125"/>
                      <a:pt x="416" y="124"/>
                    </a:cubicBezTo>
                    <a:cubicBezTo>
                      <a:pt x="416" y="124"/>
                      <a:pt x="417" y="125"/>
                      <a:pt x="417" y="125"/>
                    </a:cubicBezTo>
                    <a:cubicBezTo>
                      <a:pt x="417" y="125"/>
                      <a:pt x="418" y="126"/>
                      <a:pt x="417" y="125"/>
                    </a:cubicBezTo>
                    <a:cubicBezTo>
                      <a:pt x="418" y="125"/>
                      <a:pt x="418" y="125"/>
                      <a:pt x="418" y="125"/>
                    </a:cubicBezTo>
                    <a:cubicBezTo>
                      <a:pt x="418" y="125"/>
                      <a:pt x="417" y="125"/>
                      <a:pt x="418" y="126"/>
                    </a:cubicBezTo>
                    <a:cubicBezTo>
                      <a:pt x="418" y="126"/>
                      <a:pt x="418" y="126"/>
                      <a:pt x="418" y="126"/>
                    </a:cubicBezTo>
                    <a:cubicBezTo>
                      <a:pt x="417" y="127"/>
                      <a:pt x="417" y="128"/>
                      <a:pt x="418" y="128"/>
                    </a:cubicBezTo>
                    <a:cubicBezTo>
                      <a:pt x="418" y="129"/>
                      <a:pt x="419" y="127"/>
                      <a:pt x="420" y="128"/>
                    </a:cubicBezTo>
                    <a:cubicBezTo>
                      <a:pt x="420" y="128"/>
                      <a:pt x="419" y="128"/>
                      <a:pt x="419" y="129"/>
                    </a:cubicBezTo>
                    <a:cubicBezTo>
                      <a:pt x="419" y="130"/>
                      <a:pt x="421" y="130"/>
                      <a:pt x="421" y="129"/>
                    </a:cubicBezTo>
                    <a:cubicBezTo>
                      <a:pt x="421" y="130"/>
                      <a:pt x="419" y="130"/>
                      <a:pt x="419" y="130"/>
                    </a:cubicBezTo>
                    <a:cubicBezTo>
                      <a:pt x="420" y="132"/>
                      <a:pt x="420" y="132"/>
                      <a:pt x="420" y="134"/>
                    </a:cubicBezTo>
                    <a:cubicBezTo>
                      <a:pt x="421" y="136"/>
                      <a:pt x="422" y="137"/>
                      <a:pt x="424" y="139"/>
                    </a:cubicBezTo>
                    <a:cubicBezTo>
                      <a:pt x="424" y="139"/>
                      <a:pt x="423" y="138"/>
                      <a:pt x="423" y="138"/>
                    </a:cubicBezTo>
                    <a:cubicBezTo>
                      <a:pt x="422" y="139"/>
                      <a:pt x="423" y="139"/>
                      <a:pt x="424" y="140"/>
                    </a:cubicBezTo>
                    <a:cubicBezTo>
                      <a:pt x="424" y="140"/>
                      <a:pt x="425" y="140"/>
                      <a:pt x="426" y="141"/>
                    </a:cubicBezTo>
                    <a:cubicBezTo>
                      <a:pt x="426" y="141"/>
                      <a:pt x="427" y="142"/>
                      <a:pt x="427" y="142"/>
                    </a:cubicBezTo>
                    <a:cubicBezTo>
                      <a:pt x="427" y="142"/>
                      <a:pt x="426" y="141"/>
                      <a:pt x="426" y="141"/>
                    </a:cubicBezTo>
                    <a:cubicBezTo>
                      <a:pt x="425" y="140"/>
                      <a:pt x="425" y="141"/>
                      <a:pt x="424" y="141"/>
                    </a:cubicBezTo>
                    <a:cubicBezTo>
                      <a:pt x="424" y="141"/>
                      <a:pt x="423" y="141"/>
                      <a:pt x="423" y="141"/>
                    </a:cubicBezTo>
                    <a:cubicBezTo>
                      <a:pt x="423" y="141"/>
                      <a:pt x="422" y="141"/>
                      <a:pt x="422" y="141"/>
                    </a:cubicBezTo>
                    <a:cubicBezTo>
                      <a:pt x="421" y="141"/>
                      <a:pt x="422" y="142"/>
                      <a:pt x="422" y="142"/>
                    </a:cubicBezTo>
                    <a:cubicBezTo>
                      <a:pt x="422" y="142"/>
                      <a:pt x="423" y="143"/>
                      <a:pt x="423" y="143"/>
                    </a:cubicBezTo>
                    <a:cubicBezTo>
                      <a:pt x="424" y="144"/>
                      <a:pt x="424" y="144"/>
                      <a:pt x="425" y="144"/>
                    </a:cubicBezTo>
                    <a:cubicBezTo>
                      <a:pt x="426" y="144"/>
                      <a:pt x="426" y="144"/>
                      <a:pt x="427" y="144"/>
                    </a:cubicBezTo>
                    <a:cubicBezTo>
                      <a:pt x="427" y="144"/>
                      <a:pt x="427" y="144"/>
                      <a:pt x="428" y="144"/>
                    </a:cubicBezTo>
                    <a:cubicBezTo>
                      <a:pt x="427" y="144"/>
                      <a:pt x="427" y="145"/>
                      <a:pt x="426" y="145"/>
                    </a:cubicBezTo>
                    <a:cubicBezTo>
                      <a:pt x="426" y="145"/>
                      <a:pt x="425" y="144"/>
                      <a:pt x="425" y="144"/>
                    </a:cubicBezTo>
                    <a:cubicBezTo>
                      <a:pt x="424" y="144"/>
                      <a:pt x="421" y="144"/>
                      <a:pt x="423" y="145"/>
                    </a:cubicBezTo>
                    <a:cubicBezTo>
                      <a:pt x="423" y="145"/>
                      <a:pt x="424" y="146"/>
                      <a:pt x="424" y="146"/>
                    </a:cubicBezTo>
                    <a:cubicBezTo>
                      <a:pt x="425" y="147"/>
                      <a:pt x="424" y="147"/>
                      <a:pt x="425" y="148"/>
                    </a:cubicBezTo>
                    <a:cubicBezTo>
                      <a:pt x="425" y="148"/>
                      <a:pt x="426" y="148"/>
                      <a:pt x="426" y="148"/>
                    </a:cubicBezTo>
                    <a:cubicBezTo>
                      <a:pt x="426" y="149"/>
                      <a:pt x="425" y="150"/>
                      <a:pt x="425" y="150"/>
                    </a:cubicBezTo>
                    <a:cubicBezTo>
                      <a:pt x="425" y="151"/>
                      <a:pt x="425" y="151"/>
                      <a:pt x="425" y="152"/>
                    </a:cubicBezTo>
                    <a:cubicBezTo>
                      <a:pt x="424" y="152"/>
                      <a:pt x="424" y="153"/>
                      <a:pt x="424" y="153"/>
                    </a:cubicBezTo>
                    <a:cubicBezTo>
                      <a:pt x="424" y="154"/>
                      <a:pt x="424" y="154"/>
                      <a:pt x="424" y="154"/>
                    </a:cubicBezTo>
                    <a:cubicBezTo>
                      <a:pt x="424" y="154"/>
                      <a:pt x="423" y="154"/>
                      <a:pt x="423" y="155"/>
                    </a:cubicBezTo>
                    <a:cubicBezTo>
                      <a:pt x="423" y="155"/>
                      <a:pt x="424" y="156"/>
                      <a:pt x="424" y="156"/>
                    </a:cubicBezTo>
                    <a:cubicBezTo>
                      <a:pt x="424" y="157"/>
                      <a:pt x="424" y="156"/>
                      <a:pt x="425" y="156"/>
                    </a:cubicBezTo>
                    <a:cubicBezTo>
                      <a:pt x="425" y="155"/>
                      <a:pt x="426" y="155"/>
                      <a:pt x="426" y="154"/>
                    </a:cubicBezTo>
                    <a:cubicBezTo>
                      <a:pt x="427" y="154"/>
                      <a:pt x="427" y="154"/>
                      <a:pt x="427" y="153"/>
                    </a:cubicBezTo>
                    <a:cubicBezTo>
                      <a:pt x="427" y="152"/>
                      <a:pt x="428" y="153"/>
                      <a:pt x="428" y="153"/>
                    </a:cubicBezTo>
                    <a:cubicBezTo>
                      <a:pt x="427" y="153"/>
                      <a:pt x="427" y="153"/>
                      <a:pt x="427" y="153"/>
                    </a:cubicBezTo>
                    <a:cubicBezTo>
                      <a:pt x="427" y="153"/>
                      <a:pt x="427" y="154"/>
                      <a:pt x="427" y="154"/>
                    </a:cubicBezTo>
                    <a:cubicBezTo>
                      <a:pt x="427" y="155"/>
                      <a:pt x="428" y="155"/>
                      <a:pt x="428" y="155"/>
                    </a:cubicBezTo>
                    <a:cubicBezTo>
                      <a:pt x="429" y="156"/>
                      <a:pt x="430" y="155"/>
                      <a:pt x="431" y="154"/>
                    </a:cubicBezTo>
                    <a:cubicBezTo>
                      <a:pt x="432" y="154"/>
                      <a:pt x="434" y="155"/>
                      <a:pt x="435" y="154"/>
                    </a:cubicBezTo>
                    <a:cubicBezTo>
                      <a:pt x="435" y="154"/>
                      <a:pt x="435" y="153"/>
                      <a:pt x="435" y="153"/>
                    </a:cubicBezTo>
                    <a:cubicBezTo>
                      <a:pt x="435" y="152"/>
                      <a:pt x="435" y="152"/>
                      <a:pt x="436" y="152"/>
                    </a:cubicBezTo>
                    <a:cubicBezTo>
                      <a:pt x="436" y="152"/>
                      <a:pt x="436" y="152"/>
                      <a:pt x="436" y="152"/>
                    </a:cubicBezTo>
                    <a:cubicBezTo>
                      <a:pt x="436" y="153"/>
                      <a:pt x="435" y="152"/>
                      <a:pt x="435" y="153"/>
                    </a:cubicBezTo>
                    <a:cubicBezTo>
                      <a:pt x="435" y="154"/>
                      <a:pt x="435" y="154"/>
                      <a:pt x="434" y="154"/>
                    </a:cubicBezTo>
                    <a:cubicBezTo>
                      <a:pt x="433" y="155"/>
                      <a:pt x="436" y="158"/>
                      <a:pt x="437" y="158"/>
                    </a:cubicBezTo>
                    <a:cubicBezTo>
                      <a:pt x="438" y="159"/>
                      <a:pt x="439" y="161"/>
                      <a:pt x="440" y="162"/>
                    </a:cubicBezTo>
                    <a:cubicBezTo>
                      <a:pt x="441" y="163"/>
                      <a:pt x="441" y="164"/>
                      <a:pt x="442" y="164"/>
                    </a:cubicBezTo>
                    <a:cubicBezTo>
                      <a:pt x="442" y="165"/>
                      <a:pt x="443" y="165"/>
                      <a:pt x="443" y="166"/>
                    </a:cubicBezTo>
                    <a:cubicBezTo>
                      <a:pt x="444" y="157"/>
                      <a:pt x="445" y="149"/>
                      <a:pt x="445" y="141"/>
                    </a:cubicBezTo>
                    <a:cubicBezTo>
                      <a:pt x="444" y="142"/>
                      <a:pt x="444" y="139"/>
                      <a:pt x="444" y="139"/>
                    </a:cubicBezTo>
                    <a:cubicBezTo>
                      <a:pt x="444" y="138"/>
                      <a:pt x="444" y="138"/>
                      <a:pt x="444" y="137"/>
                    </a:cubicBezTo>
                    <a:cubicBezTo>
                      <a:pt x="445" y="137"/>
                      <a:pt x="445" y="137"/>
                      <a:pt x="445" y="137"/>
                    </a:cubicBezTo>
                    <a:cubicBezTo>
                      <a:pt x="445" y="136"/>
                      <a:pt x="445" y="136"/>
                      <a:pt x="445" y="136"/>
                    </a:cubicBezTo>
                    <a:cubicBezTo>
                      <a:pt x="445" y="136"/>
                      <a:pt x="445" y="135"/>
                      <a:pt x="445" y="135"/>
                    </a:cubicBezTo>
                    <a:cubicBezTo>
                      <a:pt x="446" y="135"/>
                      <a:pt x="446" y="134"/>
                      <a:pt x="446" y="134"/>
                    </a:cubicBezTo>
                    <a:cubicBezTo>
                      <a:pt x="446" y="132"/>
                      <a:pt x="446" y="130"/>
                      <a:pt x="446" y="128"/>
                    </a:cubicBezTo>
                    <a:cubicBezTo>
                      <a:pt x="446" y="120"/>
                      <a:pt x="447" y="112"/>
                      <a:pt x="447" y="104"/>
                    </a:cubicBezTo>
                    <a:cubicBezTo>
                      <a:pt x="447" y="102"/>
                      <a:pt x="447" y="99"/>
                      <a:pt x="448" y="97"/>
                    </a:cubicBezTo>
                    <a:cubicBezTo>
                      <a:pt x="448" y="96"/>
                      <a:pt x="448" y="96"/>
                      <a:pt x="448" y="95"/>
                    </a:cubicBezTo>
                    <a:cubicBezTo>
                      <a:pt x="448" y="94"/>
                      <a:pt x="447" y="94"/>
                      <a:pt x="447" y="94"/>
                    </a:cubicBezTo>
                    <a:close/>
                    <a:moveTo>
                      <a:pt x="347" y="107"/>
                    </a:moveTo>
                    <a:cubicBezTo>
                      <a:pt x="347" y="107"/>
                      <a:pt x="348" y="108"/>
                      <a:pt x="348" y="108"/>
                    </a:cubicBezTo>
                    <a:cubicBezTo>
                      <a:pt x="349" y="108"/>
                      <a:pt x="348" y="106"/>
                      <a:pt x="349" y="106"/>
                    </a:cubicBezTo>
                    <a:cubicBezTo>
                      <a:pt x="349" y="105"/>
                      <a:pt x="349" y="105"/>
                      <a:pt x="349" y="104"/>
                    </a:cubicBezTo>
                    <a:cubicBezTo>
                      <a:pt x="348" y="104"/>
                      <a:pt x="349" y="104"/>
                      <a:pt x="349" y="103"/>
                    </a:cubicBezTo>
                    <a:cubicBezTo>
                      <a:pt x="348" y="102"/>
                      <a:pt x="347" y="103"/>
                      <a:pt x="347" y="102"/>
                    </a:cubicBezTo>
                    <a:cubicBezTo>
                      <a:pt x="347" y="102"/>
                      <a:pt x="347" y="101"/>
                      <a:pt x="347" y="100"/>
                    </a:cubicBezTo>
                    <a:cubicBezTo>
                      <a:pt x="346" y="100"/>
                      <a:pt x="346" y="100"/>
                      <a:pt x="346" y="99"/>
                    </a:cubicBezTo>
                    <a:cubicBezTo>
                      <a:pt x="345" y="99"/>
                      <a:pt x="345" y="99"/>
                      <a:pt x="345" y="98"/>
                    </a:cubicBezTo>
                    <a:cubicBezTo>
                      <a:pt x="344" y="98"/>
                      <a:pt x="343" y="98"/>
                      <a:pt x="342" y="98"/>
                    </a:cubicBezTo>
                    <a:cubicBezTo>
                      <a:pt x="342" y="98"/>
                      <a:pt x="341" y="98"/>
                      <a:pt x="340" y="98"/>
                    </a:cubicBezTo>
                    <a:cubicBezTo>
                      <a:pt x="340" y="98"/>
                      <a:pt x="339" y="98"/>
                      <a:pt x="339" y="97"/>
                    </a:cubicBezTo>
                    <a:cubicBezTo>
                      <a:pt x="339" y="97"/>
                      <a:pt x="338" y="97"/>
                      <a:pt x="338" y="97"/>
                    </a:cubicBezTo>
                    <a:cubicBezTo>
                      <a:pt x="338" y="96"/>
                      <a:pt x="337" y="96"/>
                      <a:pt x="337" y="96"/>
                    </a:cubicBezTo>
                    <a:cubicBezTo>
                      <a:pt x="337" y="96"/>
                      <a:pt x="336" y="96"/>
                      <a:pt x="335" y="96"/>
                    </a:cubicBezTo>
                    <a:cubicBezTo>
                      <a:pt x="335" y="96"/>
                      <a:pt x="335" y="96"/>
                      <a:pt x="334" y="97"/>
                    </a:cubicBezTo>
                    <a:cubicBezTo>
                      <a:pt x="334" y="97"/>
                      <a:pt x="334" y="97"/>
                      <a:pt x="333" y="97"/>
                    </a:cubicBezTo>
                    <a:cubicBezTo>
                      <a:pt x="333" y="97"/>
                      <a:pt x="332" y="98"/>
                      <a:pt x="332" y="98"/>
                    </a:cubicBezTo>
                    <a:cubicBezTo>
                      <a:pt x="332" y="98"/>
                      <a:pt x="332" y="97"/>
                      <a:pt x="332" y="96"/>
                    </a:cubicBezTo>
                    <a:cubicBezTo>
                      <a:pt x="332" y="96"/>
                      <a:pt x="329" y="97"/>
                      <a:pt x="329" y="97"/>
                    </a:cubicBezTo>
                    <a:cubicBezTo>
                      <a:pt x="328" y="97"/>
                      <a:pt x="327" y="96"/>
                      <a:pt x="326" y="97"/>
                    </a:cubicBezTo>
                    <a:cubicBezTo>
                      <a:pt x="325" y="97"/>
                      <a:pt x="324" y="96"/>
                      <a:pt x="323" y="97"/>
                    </a:cubicBezTo>
                    <a:cubicBezTo>
                      <a:pt x="323" y="97"/>
                      <a:pt x="323" y="97"/>
                      <a:pt x="322" y="98"/>
                    </a:cubicBezTo>
                    <a:cubicBezTo>
                      <a:pt x="322" y="98"/>
                      <a:pt x="322" y="98"/>
                      <a:pt x="322" y="98"/>
                    </a:cubicBezTo>
                    <a:cubicBezTo>
                      <a:pt x="322" y="98"/>
                      <a:pt x="322" y="98"/>
                      <a:pt x="322" y="98"/>
                    </a:cubicBezTo>
                    <a:cubicBezTo>
                      <a:pt x="322" y="99"/>
                      <a:pt x="322" y="99"/>
                      <a:pt x="321" y="99"/>
                    </a:cubicBezTo>
                    <a:cubicBezTo>
                      <a:pt x="321" y="99"/>
                      <a:pt x="320" y="100"/>
                      <a:pt x="320" y="100"/>
                    </a:cubicBezTo>
                    <a:cubicBezTo>
                      <a:pt x="320" y="100"/>
                      <a:pt x="320" y="102"/>
                      <a:pt x="320" y="102"/>
                    </a:cubicBezTo>
                    <a:cubicBezTo>
                      <a:pt x="320" y="103"/>
                      <a:pt x="320" y="104"/>
                      <a:pt x="320" y="104"/>
                    </a:cubicBezTo>
                    <a:cubicBezTo>
                      <a:pt x="321" y="104"/>
                      <a:pt x="321" y="103"/>
                      <a:pt x="321" y="103"/>
                    </a:cubicBezTo>
                    <a:cubicBezTo>
                      <a:pt x="321" y="102"/>
                      <a:pt x="322" y="102"/>
                      <a:pt x="322" y="102"/>
                    </a:cubicBezTo>
                    <a:cubicBezTo>
                      <a:pt x="322" y="101"/>
                      <a:pt x="322" y="100"/>
                      <a:pt x="322" y="100"/>
                    </a:cubicBezTo>
                    <a:cubicBezTo>
                      <a:pt x="322" y="99"/>
                      <a:pt x="323" y="99"/>
                      <a:pt x="323" y="99"/>
                    </a:cubicBezTo>
                    <a:cubicBezTo>
                      <a:pt x="323" y="100"/>
                      <a:pt x="323" y="100"/>
                      <a:pt x="323" y="100"/>
                    </a:cubicBezTo>
                    <a:cubicBezTo>
                      <a:pt x="323" y="101"/>
                      <a:pt x="324" y="100"/>
                      <a:pt x="324" y="101"/>
                    </a:cubicBezTo>
                    <a:cubicBezTo>
                      <a:pt x="325" y="101"/>
                      <a:pt x="325" y="103"/>
                      <a:pt x="325" y="103"/>
                    </a:cubicBezTo>
                    <a:cubicBezTo>
                      <a:pt x="326" y="103"/>
                      <a:pt x="328" y="103"/>
                      <a:pt x="328" y="103"/>
                    </a:cubicBezTo>
                    <a:cubicBezTo>
                      <a:pt x="327" y="102"/>
                      <a:pt x="329" y="101"/>
                      <a:pt x="330" y="101"/>
                    </a:cubicBezTo>
                    <a:cubicBezTo>
                      <a:pt x="330" y="100"/>
                      <a:pt x="331" y="101"/>
                      <a:pt x="330" y="102"/>
                    </a:cubicBezTo>
                    <a:cubicBezTo>
                      <a:pt x="330" y="102"/>
                      <a:pt x="331" y="102"/>
                      <a:pt x="331" y="102"/>
                    </a:cubicBezTo>
                    <a:cubicBezTo>
                      <a:pt x="332" y="102"/>
                      <a:pt x="332" y="102"/>
                      <a:pt x="333" y="103"/>
                    </a:cubicBezTo>
                    <a:cubicBezTo>
                      <a:pt x="333" y="103"/>
                      <a:pt x="334" y="103"/>
                      <a:pt x="335" y="103"/>
                    </a:cubicBezTo>
                    <a:cubicBezTo>
                      <a:pt x="335" y="103"/>
                      <a:pt x="335" y="103"/>
                      <a:pt x="336" y="103"/>
                    </a:cubicBezTo>
                    <a:cubicBezTo>
                      <a:pt x="337" y="104"/>
                      <a:pt x="336" y="102"/>
                      <a:pt x="336" y="102"/>
                    </a:cubicBezTo>
                    <a:cubicBezTo>
                      <a:pt x="336" y="101"/>
                      <a:pt x="337" y="102"/>
                      <a:pt x="337" y="102"/>
                    </a:cubicBezTo>
                    <a:cubicBezTo>
                      <a:pt x="338" y="102"/>
                      <a:pt x="340" y="102"/>
                      <a:pt x="340" y="103"/>
                    </a:cubicBezTo>
                    <a:cubicBezTo>
                      <a:pt x="340" y="104"/>
                      <a:pt x="341" y="104"/>
                      <a:pt x="342" y="104"/>
                    </a:cubicBezTo>
                    <a:cubicBezTo>
                      <a:pt x="343" y="105"/>
                      <a:pt x="344" y="105"/>
                      <a:pt x="344" y="105"/>
                    </a:cubicBezTo>
                    <a:cubicBezTo>
                      <a:pt x="345" y="106"/>
                      <a:pt x="345" y="106"/>
                      <a:pt x="346" y="106"/>
                    </a:cubicBezTo>
                    <a:cubicBezTo>
                      <a:pt x="346" y="106"/>
                      <a:pt x="346" y="107"/>
                      <a:pt x="347" y="107"/>
                    </a:cubicBezTo>
                    <a:close/>
                    <a:moveTo>
                      <a:pt x="207" y="103"/>
                    </a:moveTo>
                    <a:cubicBezTo>
                      <a:pt x="207" y="102"/>
                      <a:pt x="207" y="102"/>
                      <a:pt x="207" y="101"/>
                    </a:cubicBezTo>
                    <a:cubicBezTo>
                      <a:pt x="208" y="100"/>
                      <a:pt x="206" y="102"/>
                      <a:pt x="206" y="102"/>
                    </a:cubicBezTo>
                    <a:cubicBezTo>
                      <a:pt x="205" y="103"/>
                      <a:pt x="205" y="104"/>
                      <a:pt x="205" y="105"/>
                    </a:cubicBezTo>
                    <a:cubicBezTo>
                      <a:pt x="205" y="106"/>
                      <a:pt x="205" y="106"/>
                      <a:pt x="205" y="107"/>
                    </a:cubicBezTo>
                    <a:cubicBezTo>
                      <a:pt x="205" y="107"/>
                      <a:pt x="205" y="108"/>
                      <a:pt x="205" y="108"/>
                    </a:cubicBezTo>
                    <a:cubicBezTo>
                      <a:pt x="206" y="109"/>
                      <a:pt x="205" y="109"/>
                      <a:pt x="205" y="109"/>
                    </a:cubicBezTo>
                    <a:cubicBezTo>
                      <a:pt x="205" y="110"/>
                      <a:pt x="205" y="110"/>
                      <a:pt x="205" y="110"/>
                    </a:cubicBezTo>
                    <a:cubicBezTo>
                      <a:pt x="206" y="109"/>
                      <a:pt x="207" y="109"/>
                      <a:pt x="207" y="108"/>
                    </a:cubicBezTo>
                    <a:cubicBezTo>
                      <a:pt x="208" y="108"/>
                      <a:pt x="207" y="107"/>
                      <a:pt x="208" y="107"/>
                    </a:cubicBezTo>
                    <a:cubicBezTo>
                      <a:pt x="208" y="106"/>
                      <a:pt x="208" y="107"/>
                      <a:pt x="208" y="106"/>
                    </a:cubicBezTo>
                    <a:cubicBezTo>
                      <a:pt x="207" y="106"/>
                      <a:pt x="207" y="105"/>
                      <a:pt x="207" y="104"/>
                    </a:cubicBezTo>
                    <a:cubicBezTo>
                      <a:pt x="207" y="104"/>
                      <a:pt x="208" y="104"/>
                      <a:pt x="208" y="104"/>
                    </a:cubicBezTo>
                    <a:cubicBezTo>
                      <a:pt x="208" y="103"/>
                      <a:pt x="207" y="103"/>
                      <a:pt x="207" y="103"/>
                    </a:cubicBezTo>
                    <a:close/>
                    <a:moveTo>
                      <a:pt x="197" y="161"/>
                    </a:moveTo>
                    <a:cubicBezTo>
                      <a:pt x="196" y="161"/>
                      <a:pt x="197" y="162"/>
                      <a:pt x="198" y="162"/>
                    </a:cubicBezTo>
                    <a:cubicBezTo>
                      <a:pt x="198" y="161"/>
                      <a:pt x="198" y="160"/>
                      <a:pt x="197" y="161"/>
                    </a:cubicBezTo>
                    <a:close/>
                    <a:moveTo>
                      <a:pt x="222" y="26"/>
                    </a:moveTo>
                    <a:cubicBezTo>
                      <a:pt x="222" y="27"/>
                      <a:pt x="223" y="28"/>
                      <a:pt x="223" y="27"/>
                    </a:cubicBezTo>
                    <a:cubicBezTo>
                      <a:pt x="223" y="27"/>
                      <a:pt x="223" y="25"/>
                      <a:pt x="222" y="26"/>
                    </a:cubicBezTo>
                    <a:close/>
                    <a:moveTo>
                      <a:pt x="422" y="155"/>
                    </a:moveTo>
                    <a:cubicBezTo>
                      <a:pt x="422" y="155"/>
                      <a:pt x="424" y="154"/>
                      <a:pt x="424" y="154"/>
                    </a:cubicBezTo>
                    <a:cubicBezTo>
                      <a:pt x="424" y="154"/>
                      <a:pt x="424" y="152"/>
                      <a:pt x="424" y="152"/>
                    </a:cubicBezTo>
                    <a:cubicBezTo>
                      <a:pt x="424" y="152"/>
                      <a:pt x="424" y="152"/>
                      <a:pt x="425" y="151"/>
                    </a:cubicBezTo>
                    <a:cubicBezTo>
                      <a:pt x="425" y="151"/>
                      <a:pt x="425" y="151"/>
                      <a:pt x="425" y="150"/>
                    </a:cubicBezTo>
                    <a:cubicBezTo>
                      <a:pt x="425" y="150"/>
                      <a:pt x="426" y="149"/>
                      <a:pt x="426" y="149"/>
                    </a:cubicBezTo>
                    <a:cubicBezTo>
                      <a:pt x="425" y="148"/>
                      <a:pt x="424" y="148"/>
                      <a:pt x="424" y="147"/>
                    </a:cubicBezTo>
                    <a:cubicBezTo>
                      <a:pt x="423" y="145"/>
                      <a:pt x="420" y="146"/>
                      <a:pt x="419" y="147"/>
                    </a:cubicBezTo>
                    <a:cubicBezTo>
                      <a:pt x="418" y="147"/>
                      <a:pt x="417" y="148"/>
                      <a:pt x="416" y="149"/>
                    </a:cubicBezTo>
                    <a:cubicBezTo>
                      <a:pt x="415" y="150"/>
                      <a:pt x="415" y="150"/>
                      <a:pt x="414" y="151"/>
                    </a:cubicBezTo>
                    <a:cubicBezTo>
                      <a:pt x="414" y="152"/>
                      <a:pt x="414" y="152"/>
                      <a:pt x="413" y="153"/>
                    </a:cubicBezTo>
                    <a:cubicBezTo>
                      <a:pt x="413" y="153"/>
                      <a:pt x="413" y="154"/>
                      <a:pt x="413" y="154"/>
                    </a:cubicBezTo>
                    <a:cubicBezTo>
                      <a:pt x="412" y="154"/>
                      <a:pt x="412" y="156"/>
                      <a:pt x="412" y="156"/>
                    </a:cubicBezTo>
                    <a:cubicBezTo>
                      <a:pt x="412" y="157"/>
                      <a:pt x="411" y="158"/>
                      <a:pt x="412" y="158"/>
                    </a:cubicBezTo>
                    <a:cubicBezTo>
                      <a:pt x="413" y="158"/>
                      <a:pt x="413" y="157"/>
                      <a:pt x="414" y="157"/>
                    </a:cubicBezTo>
                    <a:cubicBezTo>
                      <a:pt x="415" y="157"/>
                      <a:pt x="416" y="157"/>
                      <a:pt x="418" y="158"/>
                    </a:cubicBezTo>
                    <a:cubicBezTo>
                      <a:pt x="418" y="158"/>
                      <a:pt x="419" y="157"/>
                      <a:pt x="420" y="157"/>
                    </a:cubicBezTo>
                    <a:cubicBezTo>
                      <a:pt x="420" y="156"/>
                      <a:pt x="421" y="155"/>
                      <a:pt x="422" y="155"/>
                    </a:cubicBezTo>
                    <a:close/>
                    <a:moveTo>
                      <a:pt x="280" y="158"/>
                    </a:moveTo>
                    <a:cubicBezTo>
                      <a:pt x="280" y="159"/>
                      <a:pt x="280" y="160"/>
                      <a:pt x="280" y="159"/>
                    </a:cubicBezTo>
                    <a:cubicBezTo>
                      <a:pt x="281" y="159"/>
                      <a:pt x="281" y="159"/>
                      <a:pt x="281" y="158"/>
                    </a:cubicBezTo>
                    <a:cubicBezTo>
                      <a:pt x="282" y="158"/>
                      <a:pt x="283" y="156"/>
                      <a:pt x="282" y="155"/>
                    </a:cubicBezTo>
                    <a:cubicBezTo>
                      <a:pt x="282" y="155"/>
                      <a:pt x="281" y="157"/>
                      <a:pt x="280" y="157"/>
                    </a:cubicBezTo>
                    <a:cubicBezTo>
                      <a:pt x="280" y="157"/>
                      <a:pt x="280" y="157"/>
                      <a:pt x="280" y="157"/>
                    </a:cubicBezTo>
                    <a:cubicBezTo>
                      <a:pt x="280" y="156"/>
                      <a:pt x="280" y="157"/>
                      <a:pt x="279" y="157"/>
                    </a:cubicBezTo>
                    <a:cubicBezTo>
                      <a:pt x="279" y="157"/>
                      <a:pt x="278" y="158"/>
                      <a:pt x="279" y="158"/>
                    </a:cubicBezTo>
                    <a:cubicBezTo>
                      <a:pt x="279" y="159"/>
                      <a:pt x="280" y="157"/>
                      <a:pt x="280" y="158"/>
                    </a:cubicBezTo>
                    <a:close/>
                    <a:moveTo>
                      <a:pt x="347" y="71"/>
                    </a:moveTo>
                    <a:cubicBezTo>
                      <a:pt x="348" y="72"/>
                      <a:pt x="349" y="70"/>
                      <a:pt x="348" y="70"/>
                    </a:cubicBezTo>
                    <a:cubicBezTo>
                      <a:pt x="347" y="70"/>
                      <a:pt x="347" y="71"/>
                      <a:pt x="346" y="70"/>
                    </a:cubicBezTo>
                    <a:cubicBezTo>
                      <a:pt x="346" y="70"/>
                      <a:pt x="345" y="71"/>
                      <a:pt x="346" y="71"/>
                    </a:cubicBezTo>
                    <a:cubicBezTo>
                      <a:pt x="346" y="71"/>
                      <a:pt x="346" y="71"/>
                      <a:pt x="346" y="71"/>
                    </a:cubicBezTo>
                    <a:cubicBezTo>
                      <a:pt x="346" y="71"/>
                      <a:pt x="347" y="71"/>
                      <a:pt x="347" y="71"/>
                    </a:cubicBezTo>
                    <a:cubicBezTo>
                      <a:pt x="347" y="71"/>
                      <a:pt x="347" y="71"/>
                      <a:pt x="347" y="71"/>
                    </a:cubicBezTo>
                    <a:close/>
                    <a:moveTo>
                      <a:pt x="276" y="158"/>
                    </a:moveTo>
                    <a:cubicBezTo>
                      <a:pt x="276" y="157"/>
                      <a:pt x="276" y="158"/>
                      <a:pt x="276" y="158"/>
                    </a:cubicBezTo>
                    <a:cubicBezTo>
                      <a:pt x="277" y="158"/>
                      <a:pt x="277" y="157"/>
                      <a:pt x="277" y="157"/>
                    </a:cubicBezTo>
                    <a:cubicBezTo>
                      <a:pt x="277" y="156"/>
                      <a:pt x="278" y="157"/>
                      <a:pt x="279" y="156"/>
                    </a:cubicBezTo>
                    <a:cubicBezTo>
                      <a:pt x="279" y="156"/>
                      <a:pt x="279" y="156"/>
                      <a:pt x="278" y="156"/>
                    </a:cubicBezTo>
                    <a:cubicBezTo>
                      <a:pt x="278" y="155"/>
                      <a:pt x="278" y="155"/>
                      <a:pt x="277" y="156"/>
                    </a:cubicBezTo>
                    <a:cubicBezTo>
                      <a:pt x="276" y="156"/>
                      <a:pt x="277" y="156"/>
                      <a:pt x="276" y="156"/>
                    </a:cubicBezTo>
                    <a:cubicBezTo>
                      <a:pt x="276" y="156"/>
                      <a:pt x="276" y="156"/>
                      <a:pt x="276" y="156"/>
                    </a:cubicBezTo>
                    <a:cubicBezTo>
                      <a:pt x="276" y="157"/>
                      <a:pt x="276" y="156"/>
                      <a:pt x="276" y="157"/>
                    </a:cubicBezTo>
                    <a:cubicBezTo>
                      <a:pt x="275" y="157"/>
                      <a:pt x="276" y="158"/>
                      <a:pt x="275" y="157"/>
                    </a:cubicBezTo>
                    <a:cubicBezTo>
                      <a:pt x="275" y="157"/>
                      <a:pt x="275" y="156"/>
                      <a:pt x="275" y="156"/>
                    </a:cubicBezTo>
                    <a:cubicBezTo>
                      <a:pt x="275" y="156"/>
                      <a:pt x="274" y="156"/>
                      <a:pt x="274" y="156"/>
                    </a:cubicBezTo>
                    <a:cubicBezTo>
                      <a:pt x="274" y="156"/>
                      <a:pt x="273" y="156"/>
                      <a:pt x="273" y="157"/>
                    </a:cubicBezTo>
                    <a:cubicBezTo>
                      <a:pt x="274" y="157"/>
                      <a:pt x="275" y="157"/>
                      <a:pt x="274" y="157"/>
                    </a:cubicBezTo>
                    <a:cubicBezTo>
                      <a:pt x="274" y="158"/>
                      <a:pt x="273" y="158"/>
                      <a:pt x="273" y="158"/>
                    </a:cubicBezTo>
                    <a:cubicBezTo>
                      <a:pt x="273" y="158"/>
                      <a:pt x="272" y="159"/>
                      <a:pt x="272" y="159"/>
                    </a:cubicBezTo>
                    <a:cubicBezTo>
                      <a:pt x="272" y="160"/>
                      <a:pt x="273" y="159"/>
                      <a:pt x="273" y="159"/>
                    </a:cubicBezTo>
                    <a:cubicBezTo>
                      <a:pt x="274" y="160"/>
                      <a:pt x="274" y="159"/>
                      <a:pt x="275" y="159"/>
                    </a:cubicBezTo>
                    <a:cubicBezTo>
                      <a:pt x="275" y="159"/>
                      <a:pt x="275" y="160"/>
                      <a:pt x="275" y="159"/>
                    </a:cubicBezTo>
                    <a:cubicBezTo>
                      <a:pt x="275" y="159"/>
                      <a:pt x="275" y="158"/>
                      <a:pt x="275" y="158"/>
                    </a:cubicBezTo>
                    <a:cubicBezTo>
                      <a:pt x="276" y="158"/>
                      <a:pt x="276" y="158"/>
                      <a:pt x="276" y="158"/>
                    </a:cubicBezTo>
                    <a:close/>
                    <a:moveTo>
                      <a:pt x="187" y="160"/>
                    </a:moveTo>
                    <a:cubicBezTo>
                      <a:pt x="186" y="160"/>
                      <a:pt x="187" y="159"/>
                      <a:pt x="187" y="158"/>
                    </a:cubicBezTo>
                    <a:cubicBezTo>
                      <a:pt x="187" y="158"/>
                      <a:pt x="186" y="159"/>
                      <a:pt x="186" y="159"/>
                    </a:cubicBezTo>
                    <a:cubicBezTo>
                      <a:pt x="186" y="159"/>
                      <a:pt x="187" y="155"/>
                      <a:pt x="187" y="154"/>
                    </a:cubicBezTo>
                    <a:cubicBezTo>
                      <a:pt x="187" y="153"/>
                      <a:pt x="187" y="153"/>
                      <a:pt x="187" y="152"/>
                    </a:cubicBezTo>
                    <a:cubicBezTo>
                      <a:pt x="188" y="151"/>
                      <a:pt x="187" y="151"/>
                      <a:pt x="186" y="150"/>
                    </a:cubicBezTo>
                    <a:cubicBezTo>
                      <a:pt x="186" y="150"/>
                      <a:pt x="186" y="150"/>
                      <a:pt x="185" y="150"/>
                    </a:cubicBezTo>
                    <a:cubicBezTo>
                      <a:pt x="185" y="150"/>
                      <a:pt x="184" y="150"/>
                      <a:pt x="184" y="150"/>
                    </a:cubicBezTo>
                    <a:cubicBezTo>
                      <a:pt x="184" y="149"/>
                      <a:pt x="184" y="149"/>
                      <a:pt x="183" y="149"/>
                    </a:cubicBezTo>
                    <a:cubicBezTo>
                      <a:pt x="183" y="149"/>
                      <a:pt x="183" y="150"/>
                      <a:pt x="183" y="150"/>
                    </a:cubicBezTo>
                    <a:cubicBezTo>
                      <a:pt x="182" y="150"/>
                      <a:pt x="182" y="150"/>
                      <a:pt x="182" y="150"/>
                    </a:cubicBezTo>
                    <a:cubicBezTo>
                      <a:pt x="181" y="150"/>
                      <a:pt x="181" y="150"/>
                      <a:pt x="181" y="150"/>
                    </a:cubicBezTo>
                    <a:cubicBezTo>
                      <a:pt x="180" y="150"/>
                      <a:pt x="180" y="150"/>
                      <a:pt x="180" y="150"/>
                    </a:cubicBezTo>
                    <a:cubicBezTo>
                      <a:pt x="179" y="150"/>
                      <a:pt x="178" y="150"/>
                      <a:pt x="177" y="150"/>
                    </a:cubicBezTo>
                    <a:cubicBezTo>
                      <a:pt x="177" y="151"/>
                      <a:pt x="176" y="151"/>
                      <a:pt x="176" y="151"/>
                    </a:cubicBezTo>
                    <a:cubicBezTo>
                      <a:pt x="176" y="150"/>
                      <a:pt x="175" y="150"/>
                      <a:pt x="175" y="150"/>
                    </a:cubicBezTo>
                    <a:cubicBezTo>
                      <a:pt x="175" y="150"/>
                      <a:pt x="174" y="150"/>
                      <a:pt x="174" y="150"/>
                    </a:cubicBezTo>
                    <a:cubicBezTo>
                      <a:pt x="174" y="149"/>
                      <a:pt x="173" y="149"/>
                      <a:pt x="172" y="149"/>
                    </a:cubicBezTo>
                    <a:cubicBezTo>
                      <a:pt x="170" y="148"/>
                      <a:pt x="172" y="147"/>
                      <a:pt x="172" y="146"/>
                    </a:cubicBezTo>
                    <a:cubicBezTo>
                      <a:pt x="172" y="145"/>
                      <a:pt x="171" y="144"/>
                      <a:pt x="171" y="145"/>
                    </a:cubicBezTo>
                    <a:cubicBezTo>
                      <a:pt x="171" y="145"/>
                      <a:pt x="170" y="145"/>
                      <a:pt x="170" y="144"/>
                    </a:cubicBezTo>
                    <a:cubicBezTo>
                      <a:pt x="170" y="144"/>
                      <a:pt x="171" y="144"/>
                      <a:pt x="170" y="144"/>
                    </a:cubicBezTo>
                    <a:cubicBezTo>
                      <a:pt x="170" y="144"/>
                      <a:pt x="170" y="143"/>
                      <a:pt x="170" y="143"/>
                    </a:cubicBezTo>
                    <a:cubicBezTo>
                      <a:pt x="170" y="143"/>
                      <a:pt x="170" y="143"/>
                      <a:pt x="171" y="143"/>
                    </a:cubicBezTo>
                    <a:cubicBezTo>
                      <a:pt x="169" y="143"/>
                      <a:pt x="171" y="141"/>
                      <a:pt x="170" y="141"/>
                    </a:cubicBezTo>
                    <a:cubicBezTo>
                      <a:pt x="170" y="141"/>
                      <a:pt x="170" y="142"/>
                      <a:pt x="169" y="141"/>
                    </a:cubicBezTo>
                    <a:cubicBezTo>
                      <a:pt x="169" y="141"/>
                      <a:pt x="169" y="141"/>
                      <a:pt x="168" y="141"/>
                    </a:cubicBezTo>
                    <a:cubicBezTo>
                      <a:pt x="167" y="141"/>
                      <a:pt x="165" y="142"/>
                      <a:pt x="165" y="141"/>
                    </a:cubicBezTo>
                    <a:cubicBezTo>
                      <a:pt x="164" y="140"/>
                      <a:pt x="164" y="140"/>
                      <a:pt x="163" y="140"/>
                    </a:cubicBezTo>
                    <a:cubicBezTo>
                      <a:pt x="163" y="140"/>
                      <a:pt x="162" y="140"/>
                      <a:pt x="162" y="140"/>
                    </a:cubicBezTo>
                    <a:cubicBezTo>
                      <a:pt x="161" y="139"/>
                      <a:pt x="161" y="139"/>
                      <a:pt x="160" y="138"/>
                    </a:cubicBezTo>
                    <a:cubicBezTo>
                      <a:pt x="160" y="138"/>
                      <a:pt x="160" y="138"/>
                      <a:pt x="159" y="139"/>
                    </a:cubicBezTo>
                    <a:cubicBezTo>
                      <a:pt x="158" y="139"/>
                      <a:pt x="156" y="139"/>
                      <a:pt x="156" y="138"/>
                    </a:cubicBezTo>
                    <a:cubicBezTo>
                      <a:pt x="155" y="137"/>
                      <a:pt x="156" y="136"/>
                      <a:pt x="153" y="136"/>
                    </a:cubicBezTo>
                    <a:cubicBezTo>
                      <a:pt x="152" y="136"/>
                      <a:pt x="152" y="137"/>
                      <a:pt x="151" y="138"/>
                    </a:cubicBezTo>
                    <a:cubicBezTo>
                      <a:pt x="151" y="138"/>
                      <a:pt x="151" y="139"/>
                      <a:pt x="151" y="139"/>
                    </a:cubicBezTo>
                    <a:cubicBezTo>
                      <a:pt x="151" y="140"/>
                      <a:pt x="150" y="142"/>
                      <a:pt x="148" y="142"/>
                    </a:cubicBezTo>
                    <a:cubicBezTo>
                      <a:pt x="148" y="142"/>
                      <a:pt x="147" y="141"/>
                      <a:pt x="147" y="141"/>
                    </a:cubicBezTo>
                    <a:cubicBezTo>
                      <a:pt x="146" y="141"/>
                      <a:pt x="146" y="141"/>
                      <a:pt x="145" y="141"/>
                    </a:cubicBezTo>
                    <a:cubicBezTo>
                      <a:pt x="144" y="142"/>
                      <a:pt x="142" y="141"/>
                      <a:pt x="141" y="140"/>
                    </a:cubicBezTo>
                    <a:cubicBezTo>
                      <a:pt x="140" y="140"/>
                      <a:pt x="140" y="141"/>
                      <a:pt x="139" y="141"/>
                    </a:cubicBezTo>
                    <a:cubicBezTo>
                      <a:pt x="138" y="141"/>
                      <a:pt x="137" y="141"/>
                      <a:pt x="137" y="141"/>
                    </a:cubicBezTo>
                    <a:cubicBezTo>
                      <a:pt x="136" y="141"/>
                      <a:pt x="136" y="140"/>
                      <a:pt x="135" y="140"/>
                    </a:cubicBezTo>
                    <a:cubicBezTo>
                      <a:pt x="135" y="140"/>
                      <a:pt x="135" y="141"/>
                      <a:pt x="134" y="140"/>
                    </a:cubicBezTo>
                    <a:cubicBezTo>
                      <a:pt x="134" y="140"/>
                      <a:pt x="133" y="140"/>
                      <a:pt x="133" y="140"/>
                    </a:cubicBezTo>
                    <a:cubicBezTo>
                      <a:pt x="133" y="140"/>
                      <a:pt x="132" y="140"/>
                      <a:pt x="132" y="139"/>
                    </a:cubicBezTo>
                    <a:cubicBezTo>
                      <a:pt x="131" y="139"/>
                      <a:pt x="131" y="137"/>
                      <a:pt x="130" y="136"/>
                    </a:cubicBezTo>
                    <a:cubicBezTo>
                      <a:pt x="130" y="136"/>
                      <a:pt x="128" y="133"/>
                      <a:pt x="128" y="135"/>
                    </a:cubicBezTo>
                    <a:cubicBezTo>
                      <a:pt x="127" y="136"/>
                      <a:pt x="125" y="134"/>
                      <a:pt x="125" y="134"/>
                    </a:cubicBezTo>
                    <a:cubicBezTo>
                      <a:pt x="124" y="133"/>
                      <a:pt x="124" y="133"/>
                      <a:pt x="123" y="134"/>
                    </a:cubicBezTo>
                    <a:cubicBezTo>
                      <a:pt x="123" y="134"/>
                      <a:pt x="122" y="134"/>
                      <a:pt x="122" y="133"/>
                    </a:cubicBezTo>
                    <a:cubicBezTo>
                      <a:pt x="121" y="133"/>
                      <a:pt x="121" y="133"/>
                      <a:pt x="120" y="132"/>
                    </a:cubicBezTo>
                    <a:cubicBezTo>
                      <a:pt x="120" y="132"/>
                      <a:pt x="120" y="131"/>
                      <a:pt x="120" y="131"/>
                    </a:cubicBezTo>
                    <a:cubicBezTo>
                      <a:pt x="119" y="130"/>
                      <a:pt x="119" y="131"/>
                      <a:pt x="118" y="131"/>
                    </a:cubicBezTo>
                    <a:cubicBezTo>
                      <a:pt x="118" y="131"/>
                      <a:pt x="117" y="130"/>
                      <a:pt x="117" y="130"/>
                    </a:cubicBezTo>
                    <a:cubicBezTo>
                      <a:pt x="116" y="131"/>
                      <a:pt x="116" y="131"/>
                      <a:pt x="116" y="132"/>
                    </a:cubicBezTo>
                    <a:cubicBezTo>
                      <a:pt x="116" y="132"/>
                      <a:pt x="116" y="132"/>
                      <a:pt x="115" y="132"/>
                    </a:cubicBezTo>
                    <a:cubicBezTo>
                      <a:pt x="115" y="132"/>
                      <a:pt x="114" y="133"/>
                      <a:pt x="114" y="132"/>
                    </a:cubicBezTo>
                    <a:cubicBezTo>
                      <a:pt x="114" y="132"/>
                      <a:pt x="114" y="132"/>
                      <a:pt x="113" y="131"/>
                    </a:cubicBezTo>
                    <a:cubicBezTo>
                      <a:pt x="113" y="131"/>
                      <a:pt x="113" y="131"/>
                      <a:pt x="113" y="131"/>
                    </a:cubicBezTo>
                    <a:cubicBezTo>
                      <a:pt x="112" y="131"/>
                      <a:pt x="112" y="131"/>
                      <a:pt x="112" y="131"/>
                    </a:cubicBezTo>
                    <a:cubicBezTo>
                      <a:pt x="112" y="131"/>
                      <a:pt x="112" y="132"/>
                      <a:pt x="111" y="132"/>
                    </a:cubicBezTo>
                    <a:cubicBezTo>
                      <a:pt x="111" y="132"/>
                      <a:pt x="110" y="131"/>
                      <a:pt x="110" y="131"/>
                    </a:cubicBezTo>
                    <a:cubicBezTo>
                      <a:pt x="109" y="131"/>
                      <a:pt x="109" y="131"/>
                      <a:pt x="109" y="131"/>
                    </a:cubicBezTo>
                    <a:cubicBezTo>
                      <a:pt x="108" y="131"/>
                      <a:pt x="108" y="131"/>
                      <a:pt x="108" y="131"/>
                    </a:cubicBezTo>
                    <a:cubicBezTo>
                      <a:pt x="108" y="131"/>
                      <a:pt x="108" y="130"/>
                      <a:pt x="107" y="130"/>
                    </a:cubicBezTo>
                    <a:cubicBezTo>
                      <a:pt x="106" y="130"/>
                      <a:pt x="106" y="132"/>
                      <a:pt x="105" y="133"/>
                    </a:cubicBezTo>
                    <a:cubicBezTo>
                      <a:pt x="105" y="133"/>
                      <a:pt x="105" y="134"/>
                      <a:pt x="105" y="135"/>
                    </a:cubicBezTo>
                    <a:cubicBezTo>
                      <a:pt x="105" y="135"/>
                      <a:pt x="105" y="136"/>
                      <a:pt x="104" y="136"/>
                    </a:cubicBezTo>
                    <a:cubicBezTo>
                      <a:pt x="104" y="137"/>
                      <a:pt x="103" y="137"/>
                      <a:pt x="103" y="136"/>
                    </a:cubicBezTo>
                    <a:cubicBezTo>
                      <a:pt x="103" y="136"/>
                      <a:pt x="103" y="136"/>
                      <a:pt x="103" y="137"/>
                    </a:cubicBezTo>
                    <a:cubicBezTo>
                      <a:pt x="103" y="137"/>
                      <a:pt x="103" y="138"/>
                      <a:pt x="103" y="138"/>
                    </a:cubicBezTo>
                    <a:cubicBezTo>
                      <a:pt x="102" y="138"/>
                      <a:pt x="101" y="140"/>
                      <a:pt x="101" y="140"/>
                    </a:cubicBezTo>
                    <a:cubicBezTo>
                      <a:pt x="100" y="140"/>
                      <a:pt x="101" y="139"/>
                      <a:pt x="100" y="139"/>
                    </a:cubicBezTo>
                    <a:cubicBezTo>
                      <a:pt x="99" y="139"/>
                      <a:pt x="99" y="140"/>
                      <a:pt x="99" y="140"/>
                    </a:cubicBezTo>
                    <a:cubicBezTo>
                      <a:pt x="99" y="140"/>
                      <a:pt x="99" y="141"/>
                      <a:pt x="99" y="140"/>
                    </a:cubicBezTo>
                    <a:cubicBezTo>
                      <a:pt x="99" y="140"/>
                      <a:pt x="100" y="140"/>
                      <a:pt x="100" y="140"/>
                    </a:cubicBezTo>
                    <a:cubicBezTo>
                      <a:pt x="101" y="140"/>
                      <a:pt x="102" y="141"/>
                      <a:pt x="103" y="141"/>
                    </a:cubicBezTo>
                    <a:cubicBezTo>
                      <a:pt x="103" y="140"/>
                      <a:pt x="104" y="141"/>
                      <a:pt x="105" y="141"/>
                    </a:cubicBezTo>
                    <a:cubicBezTo>
                      <a:pt x="105" y="140"/>
                      <a:pt x="105" y="140"/>
                      <a:pt x="106" y="140"/>
                    </a:cubicBezTo>
                    <a:cubicBezTo>
                      <a:pt x="107" y="140"/>
                      <a:pt x="107" y="141"/>
                      <a:pt x="108" y="141"/>
                    </a:cubicBezTo>
                    <a:cubicBezTo>
                      <a:pt x="109" y="142"/>
                      <a:pt x="109" y="142"/>
                      <a:pt x="109" y="142"/>
                    </a:cubicBezTo>
                    <a:cubicBezTo>
                      <a:pt x="110" y="142"/>
                      <a:pt x="110" y="142"/>
                      <a:pt x="110" y="142"/>
                    </a:cubicBezTo>
                    <a:cubicBezTo>
                      <a:pt x="111" y="142"/>
                      <a:pt x="112" y="142"/>
                      <a:pt x="111" y="143"/>
                    </a:cubicBezTo>
                    <a:cubicBezTo>
                      <a:pt x="110" y="144"/>
                      <a:pt x="109" y="145"/>
                      <a:pt x="110" y="146"/>
                    </a:cubicBezTo>
                    <a:cubicBezTo>
                      <a:pt x="110" y="146"/>
                      <a:pt x="111" y="146"/>
                      <a:pt x="111" y="146"/>
                    </a:cubicBezTo>
                    <a:cubicBezTo>
                      <a:pt x="111" y="147"/>
                      <a:pt x="112" y="147"/>
                      <a:pt x="112" y="147"/>
                    </a:cubicBezTo>
                    <a:cubicBezTo>
                      <a:pt x="114" y="147"/>
                      <a:pt x="115" y="147"/>
                      <a:pt x="116" y="147"/>
                    </a:cubicBezTo>
                    <a:cubicBezTo>
                      <a:pt x="117" y="147"/>
                      <a:pt x="118" y="148"/>
                      <a:pt x="119" y="148"/>
                    </a:cubicBezTo>
                    <a:cubicBezTo>
                      <a:pt x="120" y="148"/>
                      <a:pt x="121" y="148"/>
                      <a:pt x="122" y="149"/>
                    </a:cubicBezTo>
                    <a:cubicBezTo>
                      <a:pt x="122" y="149"/>
                      <a:pt x="122" y="149"/>
                      <a:pt x="122" y="149"/>
                    </a:cubicBezTo>
                    <a:cubicBezTo>
                      <a:pt x="123" y="150"/>
                      <a:pt x="123" y="150"/>
                      <a:pt x="123" y="150"/>
                    </a:cubicBezTo>
                    <a:cubicBezTo>
                      <a:pt x="124" y="150"/>
                      <a:pt x="125" y="150"/>
                      <a:pt x="126" y="151"/>
                    </a:cubicBezTo>
                    <a:cubicBezTo>
                      <a:pt x="127" y="151"/>
                      <a:pt x="128" y="151"/>
                      <a:pt x="129" y="151"/>
                    </a:cubicBezTo>
                    <a:cubicBezTo>
                      <a:pt x="130" y="151"/>
                      <a:pt x="130" y="150"/>
                      <a:pt x="130" y="150"/>
                    </a:cubicBezTo>
                    <a:cubicBezTo>
                      <a:pt x="131" y="150"/>
                      <a:pt x="132" y="150"/>
                      <a:pt x="132" y="150"/>
                    </a:cubicBezTo>
                    <a:cubicBezTo>
                      <a:pt x="132" y="150"/>
                      <a:pt x="132" y="150"/>
                      <a:pt x="133" y="150"/>
                    </a:cubicBezTo>
                    <a:cubicBezTo>
                      <a:pt x="133" y="150"/>
                      <a:pt x="133" y="149"/>
                      <a:pt x="133" y="149"/>
                    </a:cubicBezTo>
                    <a:cubicBezTo>
                      <a:pt x="134" y="149"/>
                      <a:pt x="134" y="150"/>
                      <a:pt x="134" y="150"/>
                    </a:cubicBezTo>
                    <a:cubicBezTo>
                      <a:pt x="134" y="150"/>
                      <a:pt x="135" y="150"/>
                      <a:pt x="135" y="150"/>
                    </a:cubicBezTo>
                    <a:cubicBezTo>
                      <a:pt x="135" y="150"/>
                      <a:pt x="135" y="150"/>
                      <a:pt x="136" y="150"/>
                    </a:cubicBezTo>
                    <a:cubicBezTo>
                      <a:pt x="136" y="150"/>
                      <a:pt x="137" y="150"/>
                      <a:pt x="138" y="150"/>
                    </a:cubicBezTo>
                    <a:cubicBezTo>
                      <a:pt x="138" y="150"/>
                      <a:pt x="138" y="150"/>
                      <a:pt x="139" y="151"/>
                    </a:cubicBezTo>
                    <a:cubicBezTo>
                      <a:pt x="139" y="151"/>
                      <a:pt x="139" y="151"/>
                      <a:pt x="140" y="151"/>
                    </a:cubicBezTo>
                    <a:cubicBezTo>
                      <a:pt x="142" y="151"/>
                      <a:pt x="144" y="151"/>
                      <a:pt x="146" y="152"/>
                    </a:cubicBezTo>
                    <a:cubicBezTo>
                      <a:pt x="147" y="153"/>
                      <a:pt x="148" y="154"/>
                      <a:pt x="150" y="155"/>
                    </a:cubicBezTo>
                    <a:cubicBezTo>
                      <a:pt x="151" y="155"/>
                      <a:pt x="152" y="155"/>
                      <a:pt x="153" y="156"/>
                    </a:cubicBezTo>
                    <a:cubicBezTo>
                      <a:pt x="153" y="156"/>
                      <a:pt x="154" y="156"/>
                      <a:pt x="154" y="156"/>
                    </a:cubicBezTo>
                    <a:cubicBezTo>
                      <a:pt x="155" y="155"/>
                      <a:pt x="155" y="156"/>
                      <a:pt x="155" y="156"/>
                    </a:cubicBezTo>
                    <a:cubicBezTo>
                      <a:pt x="156" y="156"/>
                      <a:pt x="156" y="156"/>
                      <a:pt x="157" y="156"/>
                    </a:cubicBezTo>
                    <a:cubicBezTo>
                      <a:pt x="157" y="156"/>
                      <a:pt x="158" y="156"/>
                      <a:pt x="158" y="157"/>
                    </a:cubicBezTo>
                    <a:cubicBezTo>
                      <a:pt x="159" y="157"/>
                      <a:pt x="160" y="156"/>
                      <a:pt x="160" y="157"/>
                    </a:cubicBezTo>
                    <a:cubicBezTo>
                      <a:pt x="161" y="158"/>
                      <a:pt x="160" y="157"/>
                      <a:pt x="161" y="157"/>
                    </a:cubicBezTo>
                    <a:cubicBezTo>
                      <a:pt x="161" y="157"/>
                      <a:pt x="161" y="157"/>
                      <a:pt x="161" y="156"/>
                    </a:cubicBezTo>
                    <a:cubicBezTo>
                      <a:pt x="161" y="156"/>
                      <a:pt x="162" y="156"/>
                      <a:pt x="162" y="156"/>
                    </a:cubicBezTo>
                    <a:cubicBezTo>
                      <a:pt x="163" y="157"/>
                      <a:pt x="163" y="156"/>
                      <a:pt x="164" y="156"/>
                    </a:cubicBezTo>
                    <a:cubicBezTo>
                      <a:pt x="165" y="157"/>
                      <a:pt x="166" y="156"/>
                      <a:pt x="167" y="157"/>
                    </a:cubicBezTo>
                    <a:cubicBezTo>
                      <a:pt x="168" y="158"/>
                      <a:pt x="168" y="158"/>
                      <a:pt x="169" y="158"/>
                    </a:cubicBezTo>
                    <a:cubicBezTo>
                      <a:pt x="170" y="158"/>
                      <a:pt x="170" y="158"/>
                      <a:pt x="171" y="157"/>
                    </a:cubicBezTo>
                    <a:cubicBezTo>
                      <a:pt x="171" y="157"/>
                      <a:pt x="172" y="157"/>
                      <a:pt x="172" y="157"/>
                    </a:cubicBezTo>
                    <a:cubicBezTo>
                      <a:pt x="172" y="158"/>
                      <a:pt x="173" y="157"/>
                      <a:pt x="173" y="157"/>
                    </a:cubicBezTo>
                    <a:cubicBezTo>
                      <a:pt x="174" y="156"/>
                      <a:pt x="175" y="156"/>
                      <a:pt x="175" y="156"/>
                    </a:cubicBezTo>
                    <a:cubicBezTo>
                      <a:pt x="176" y="156"/>
                      <a:pt x="176" y="157"/>
                      <a:pt x="177" y="157"/>
                    </a:cubicBezTo>
                    <a:cubicBezTo>
                      <a:pt x="177" y="157"/>
                      <a:pt x="177" y="157"/>
                      <a:pt x="178" y="157"/>
                    </a:cubicBezTo>
                    <a:cubicBezTo>
                      <a:pt x="178" y="157"/>
                      <a:pt x="178" y="158"/>
                      <a:pt x="178" y="158"/>
                    </a:cubicBezTo>
                    <a:cubicBezTo>
                      <a:pt x="179" y="158"/>
                      <a:pt x="179" y="158"/>
                      <a:pt x="179" y="158"/>
                    </a:cubicBezTo>
                    <a:cubicBezTo>
                      <a:pt x="180" y="159"/>
                      <a:pt x="180" y="159"/>
                      <a:pt x="180" y="159"/>
                    </a:cubicBezTo>
                    <a:cubicBezTo>
                      <a:pt x="180" y="159"/>
                      <a:pt x="180" y="159"/>
                      <a:pt x="181" y="159"/>
                    </a:cubicBezTo>
                    <a:cubicBezTo>
                      <a:pt x="181" y="159"/>
                      <a:pt x="181" y="159"/>
                      <a:pt x="181" y="159"/>
                    </a:cubicBezTo>
                    <a:cubicBezTo>
                      <a:pt x="181" y="159"/>
                      <a:pt x="181" y="159"/>
                      <a:pt x="182" y="159"/>
                    </a:cubicBezTo>
                    <a:cubicBezTo>
                      <a:pt x="182" y="160"/>
                      <a:pt x="182" y="159"/>
                      <a:pt x="182" y="160"/>
                    </a:cubicBezTo>
                    <a:cubicBezTo>
                      <a:pt x="182" y="160"/>
                      <a:pt x="182" y="160"/>
                      <a:pt x="183" y="160"/>
                    </a:cubicBezTo>
                    <a:cubicBezTo>
                      <a:pt x="183" y="160"/>
                      <a:pt x="183" y="160"/>
                      <a:pt x="183" y="160"/>
                    </a:cubicBezTo>
                    <a:cubicBezTo>
                      <a:pt x="183" y="160"/>
                      <a:pt x="184" y="160"/>
                      <a:pt x="184" y="160"/>
                    </a:cubicBezTo>
                    <a:cubicBezTo>
                      <a:pt x="184" y="160"/>
                      <a:pt x="185" y="160"/>
                      <a:pt x="185" y="160"/>
                    </a:cubicBezTo>
                    <a:cubicBezTo>
                      <a:pt x="186" y="160"/>
                      <a:pt x="187" y="161"/>
                      <a:pt x="186" y="161"/>
                    </a:cubicBezTo>
                    <a:cubicBezTo>
                      <a:pt x="186" y="161"/>
                      <a:pt x="187" y="161"/>
                      <a:pt x="187" y="161"/>
                    </a:cubicBezTo>
                    <a:cubicBezTo>
                      <a:pt x="187" y="162"/>
                      <a:pt x="189" y="162"/>
                      <a:pt x="188" y="161"/>
                    </a:cubicBezTo>
                    <a:cubicBezTo>
                      <a:pt x="188" y="160"/>
                      <a:pt x="188" y="160"/>
                      <a:pt x="187" y="160"/>
                    </a:cubicBezTo>
                    <a:close/>
                    <a:moveTo>
                      <a:pt x="236" y="160"/>
                    </a:moveTo>
                    <a:cubicBezTo>
                      <a:pt x="237" y="160"/>
                      <a:pt x="236" y="159"/>
                      <a:pt x="236" y="159"/>
                    </a:cubicBezTo>
                    <a:cubicBezTo>
                      <a:pt x="236" y="159"/>
                      <a:pt x="236" y="158"/>
                      <a:pt x="236" y="158"/>
                    </a:cubicBezTo>
                    <a:cubicBezTo>
                      <a:pt x="235" y="158"/>
                      <a:pt x="235" y="158"/>
                      <a:pt x="235" y="158"/>
                    </a:cubicBezTo>
                    <a:cubicBezTo>
                      <a:pt x="235" y="158"/>
                      <a:pt x="235" y="158"/>
                      <a:pt x="235" y="159"/>
                    </a:cubicBezTo>
                    <a:cubicBezTo>
                      <a:pt x="235" y="159"/>
                      <a:pt x="235" y="159"/>
                      <a:pt x="235" y="159"/>
                    </a:cubicBezTo>
                    <a:cubicBezTo>
                      <a:pt x="234" y="160"/>
                      <a:pt x="235" y="160"/>
                      <a:pt x="235" y="160"/>
                    </a:cubicBezTo>
                    <a:cubicBezTo>
                      <a:pt x="235" y="161"/>
                      <a:pt x="234" y="161"/>
                      <a:pt x="234" y="161"/>
                    </a:cubicBezTo>
                    <a:cubicBezTo>
                      <a:pt x="234" y="161"/>
                      <a:pt x="235" y="161"/>
                      <a:pt x="235" y="161"/>
                    </a:cubicBezTo>
                    <a:cubicBezTo>
                      <a:pt x="235" y="161"/>
                      <a:pt x="235" y="161"/>
                      <a:pt x="235" y="160"/>
                    </a:cubicBezTo>
                    <a:cubicBezTo>
                      <a:pt x="235" y="160"/>
                      <a:pt x="235" y="160"/>
                      <a:pt x="235" y="160"/>
                    </a:cubicBezTo>
                    <a:cubicBezTo>
                      <a:pt x="236" y="160"/>
                      <a:pt x="236" y="160"/>
                      <a:pt x="235" y="160"/>
                    </a:cubicBezTo>
                    <a:cubicBezTo>
                      <a:pt x="235" y="159"/>
                      <a:pt x="236" y="160"/>
                      <a:pt x="236" y="160"/>
                    </a:cubicBezTo>
                    <a:close/>
                    <a:moveTo>
                      <a:pt x="221" y="21"/>
                    </a:moveTo>
                    <a:cubicBezTo>
                      <a:pt x="222" y="20"/>
                      <a:pt x="221" y="19"/>
                      <a:pt x="220" y="20"/>
                    </a:cubicBezTo>
                    <a:cubicBezTo>
                      <a:pt x="219" y="21"/>
                      <a:pt x="221" y="22"/>
                      <a:pt x="221" y="21"/>
                    </a:cubicBezTo>
                    <a:close/>
                    <a:moveTo>
                      <a:pt x="130" y="24"/>
                    </a:moveTo>
                    <a:cubicBezTo>
                      <a:pt x="130" y="24"/>
                      <a:pt x="129" y="24"/>
                      <a:pt x="129" y="24"/>
                    </a:cubicBezTo>
                    <a:cubicBezTo>
                      <a:pt x="129" y="24"/>
                      <a:pt x="128" y="24"/>
                      <a:pt x="128" y="24"/>
                    </a:cubicBezTo>
                    <a:cubicBezTo>
                      <a:pt x="128" y="25"/>
                      <a:pt x="129" y="25"/>
                      <a:pt x="130" y="25"/>
                    </a:cubicBezTo>
                    <a:cubicBezTo>
                      <a:pt x="130" y="25"/>
                      <a:pt x="130" y="24"/>
                      <a:pt x="131" y="23"/>
                    </a:cubicBezTo>
                    <a:cubicBezTo>
                      <a:pt x="131" y="23"/>
                      <a:pt x="131" y="23"/>
                      <a:pt x="131" y="22"/>
                    </a:cubicBezTo>
                    <a:cubicBezTo>
                      <a:pt x="130" y="22"/>
                      <a:pt x="131" y="22"/>
                      <a:pt x="131" y="22"/>
                    </a:cubicBezTo>
                    <a:cubicBezTo>
                      <a:pt x="131" y="21"/>
                      <a:pt x="129" y="20"/>
                      <a:pt x="129" y="19"/>
                    </a:cubicBezTo>
                    <a:cubicBezTo>
                      <a:pt x="129" y="18"/>
                      <a:pt x="129" y="19"/>
                      <a:pt x="128" y="20"/>
                    </a:cubicBezTo>
                    <a:cubicBezTo>
                      <a:pt x="128" y="20"/>
                      <a:pt x="128" y="20"/>
                      <a:pt x="127" y="21"/>
                    </a:cubicBezTo>
                    <a:cubicBezTo>
                      <a:pt x="127" y="21"/>
                      <a:pt x="127" y="22"/>
                      <a:pt x="128" y="23"/>
                    </a:cubicBezTo>
                    <a:cubicBezTo>
                      <a:pt x="128" y="23"/>
                      <a:pt x="129" y="23"/>
                      <a:pt x="130" y="24"/>
                    </a:cubicBezTo>
                    <a:close/>
                    <a:moveTo>
                      <a:pt x="264" y="70"/>
                    </a:moveTo>
                    <a:cubicBezTo>
                      <a:pt x="265" y="70"/>
                      <a:pt x="265" y="69"/>
                      <a:pt x="265" y="69"/>
                    </a:cubicBezTo>
                    <a:cubicBezTo>
                      <a:pt x="265" y="69"/>
                      <a:pt x="265" y="69"/>
                      <a:pt x="265" y="68"/>
                    </a:cubicBezTo>
                    <a:cubicBezTo>
                      <a:pt x="264" y="68"/>
                      <a:pt x="264" y="69"/>
                      <a:pt x="264" y="70"/>
                    </a:cubicBezTo>
                    <a:close/>
                    <a:moveTo>
                      <a:pt x="94" y="65"/>
                    </a:moveTo>
                    <a:cubicBezTo>
                      <a:pt x="94" y="64"/>
                      <a:pt x="94" y="64"/>
                      <a:pt x="93" y="63"/>
                    </a:cubicBezTo>
                    <a:cubicBezTo>
                      <a:pt x="93" y="63"/>
                      <a:pt x="94" y="64"/>
                      <a:pt x="93" y="64"/>
                    </a:cubicBezTo>
                    <a:cubicBezTo>
                      <a:pt x="93" y="64"/>
                      <a:pt x="93" y="65"/>
                      <a:pt x="94" y="65"/>
                    </a:cubicBezTo>
                    <a:close/>
                    <a:moveTo>
                      <a:pt x="260" y="67"/>
                    </a:moveTo>
                    <a:cubicBezTo>
                      <a:pt x="260" y="68"/>
                      <a:pt x="260" y="67"/>
                      <a:pt x="260" y="67"/>
                    </a:cubicBezTo>
                    <a:cubicBezTo>
                      <a:pt x="260" y="66"/>
                      <a:pt x="259" y="67"/>
                      <a:pt x="260" y="67"/>
                    </a:cubicBezTo>
                    <a:close/>
                    <a:moveTo>
                      <a:pt x="346" y="68"/>
                    </a:moveTo>
                    <a:cubicBezTo>
                      <a:pt x="346" y="68"/>
                      <a:pt x="346" y="68"/>
                      <a:pt x="347" y="69"/>
                    </a:cubicBezTo>
                    <a:cubicBezTo>
                      <a:pt x="347" y="69"/>
                      <a:pt x="347" y="70"/>
                      <a:pt x="347" y="70"/>
                    </a:cubicBezTo>
                    <a:cubicBezTo>
                      <a:pt x="347" y="70"/>
                      <a:pt x="347" y="69"/>
                      <a:pt x="347" y="69"/>
                    </a:cubicBezTo>
                    <a:cubicBezTo>
                      <a:pt x="348" y="69"/>
                      <a:pt x="348" y="69"/>
                      <a:pt x="348" y="69"/>
                    </a:cubicBezTo>
                    <a:cubicBezTo>
                      <a:pt x="348" y="70"/>
                      <a:pt x="349" y="70"/>
                      <a:pt x="350" y="70"/>
                    </a:cubicBezTo>
                    <a:cubicBezTo>
                      <a:pt x="351" y="70"/>
                      <a:pt x="350" y="68"/>
                      <a:pt x="349" y="69"/>
                    </a:cubicBezTo>
                    <a:cubicBezTo>
                      <a:pt x="348" y="69"/>
                      <a:pt x="348" y="68"/>
                      <a:pt x="348" y="67"/>
                    </a:cubicBezTo>
                    <a:cubicBezTo>
                      <a:pt x="348" y="67"/>
                      <a:pt x="347" y="67"/>
                      <a:pt x="348" y="66"/>
                    </a:cubicBezTo>
                    <a:cubicBezTo>
                      <a:pt x="347" y="66"/>
                      <a:pt x="348" y="66"/>
                      <a:pt x="348" y="66"/>
                    </a:cubicBezTo>
                    <a:cubicBezTo>
                      <a:pt x="348" y="66"/>
                      <a:pt x="349" y="67"/>
                      <a:pt x="349" y="67"/>
                    </a:cubicBezTo>
                    <a:cubicBezTo>
                      <a:pt x="349" y="67"/>
                      <a:pt x="349" y="68"/>
                      <a:pt x="349" y="68"/>
                    </a:cubicBezTo>
                    <a:cubicBezTo>
                      <a:pt x="350" y="68"/>
                      <a:pt x="350" y="68"/>
                      <a:pt x="350" y="68"/>
                    </a:cubicBezTo>
                    <a:cubicBezTo>
                      <a:pt x="350" y="68"/>
                      <a:pt x="350" y="68"/>
                      <a:pt x="350" y="69"/>
                    </a:cubicBezTo>
                    <a:cubicBezTo>
                      <a:pt x="351" y="70"/>
                      <a:pt x="351" y="69"/>
                      <a:pt x="352" y="69"/>
                    </a:cubicBezTo>
                    <a:cubicBezTo>
                      <a:pt x="353" y="69"/>
                      <a:pt x="353" y="70"/>
                      <a:pt x="354" y="69"/>
                    </a:cubicBezTo>
                    <a:cubicBezTo>
                      <a:pt x="354" y="69"/>
                      <a:pt x="355" y="69"/>
                      <a:pt x="354" y="68"/>
                    </a:cubicBezTo>
                    <a:cubicBezTo>
                      <a:pt x="354" y="68"/>
                      <a:pt x="354" y="67"/>
                      <a:pt x="354" y="67"/>
                    </a:cubicBezTo>
                    <a:cubicBezTo>
                      <a:pt x="354" y="67"/>
                      <a:pt x="353" y="67"/>
                      <a:pt x="353" y="67"/>
                    </a:cubicBezTo>
                    <a:cubicBezTo>
                      <a:pt x="353" y="67"/>
                      <a:pt x="353" y="66"/>
                      <a:pt x="352" y="66"/>
                    </a:cubicBezTo>
                    <a:cubicBezTo>
                      <a:pt x="351" y="66"/>
                      <a:pt x="352" y="66"/>
                      <a:pt x="352" y="66"/>
                    </a:cubicBezTo>
                    <a:cubicBezTo>
                      <a:pt x="351" y="66"/>
                      <a:pt x="351" y="66"/>
                      <a:pt x="351" y="66"/>
                    </a:cubicBezTo>
                    <a:cubicBezTo>
                      <a:pt x="350" y="66"/>
                      <a:pt x="350" y="65"/>
                      <a:pt x="349" y="65"/>
                    </a:cubicBezTo>
                    <a:cubicBezTo>
                      <a:pt x="349" y="65"/>
                      <a:pt x="348" y="66"/>
                      <a:pt x="349" y="66"/>
                    </a:cubicBezTo>
                    <a:cubicBezTo>
                      <a:pt x="349" y="66"/>
                      <a:pt x="348" y="66"/>
                      <a:pt x="348" y="66"/>
                    </a:cubicBezTo>
                    <a:cubicBezTo>
                      <a:pt x="347" y="66"/>
                      <a:pt x="347" y="66"/>
                      <a:pt x="347" y="66"/>
                    </a:cubicBezTo>
                    <a:cubicBezTo>
                      <a:pt x="346" y="66"/>
                      <a:pt x="346" y="66"/>
                      <a:pt x="346" y="66"/>
                    </a:cubicBezTo>
                    <a:cubicBezTo>
                      <a:pt x="346" y="66"/>
                      <a:pt x="345" y="66"/>
                      <a:pt x="346" y="66"/>
                    </a:cubicBezTo>
                    <a:cubicBezTo>
                      <a:pt x="345" y="66"/>
                      <a:pt x="345" y="66"/>
                      <a:pt x="345" y="66"/>
                    </a:cubicBezTo>
                    <a:cubicBezTo>
                      <a:pt x="345" y="66"/>
                      <a:pt x="345" y="67"/>
                      <a:pt x="345" y="67"/>
                    </a:cubicBezTo>
                    <a:cubicBezTo>
                      <a:pt x="345" y="66"/>
                      <a:pt x="345" y="66"/>
                      <a:pt x="344" y="66"/>
                    </a:cubicBezTo>
                    <a:cubicBezTo>
                      <a:pt x="344" y="67"/>
                      <a:pt x="344" y="67"/>
                      <a:pt x="345" y="67"/>
                    </a:cubicBezTo>
                    <a:cubicBezTo>
                      <a:pt x="345" y="67"/>
                      <a:pt x="345" y="67"/>
                      <a:pt x="345" y="67"/>
                    </a:cubicBezTo>
                    <a:cubicBezTo>
                      <a:pt x="345" y="67"/>
                      <a:pt x="345" y="67"/>
                      <a:pt x="345" y="67"/>
                    </a:cubicBezTo>
                    <a:cubicBezTo>
                      <a:pt x="346" y="67"/>
                      <a:pt x="345" y="68"/>
                      <a:pt x="345" y="68"/>
                    </a:cubicBezTo>
                    <a:cubicBezTo>
                      <a:pt x="344" y="68"/>
                      <a:pt x="344" y="67"/>
                      <a:pt x="344" y="68"/>
                    </a:cubicBezTo>
                    <a:cubicBezTo>
                      <a:pt x="343" y="68"/>
                      <a:pt x="345" y="68"/>
                      <a:pt x="346" y="68"/>
                    </a:cubicBezTo>
                    <a:close/>
                    <a:moveTo>
                      <a:pt x="339" y="115"/>
                    </a:moveTo>
                    <a:cubicBezTo>
                      <a:pt x="339" y="115"/>
                      <a:pt x="339" y="115"/>
                      <a:pt x="339" y="115"/>
                    </a:cubicBezTo>
                    <a:cubicBezTo>
                      <a:pt x="339" y="115"/>
                      <a:pt x="339" y="115"/>
                      <a:pt x="339" y="115"/>
                    </a:cubicBezTo>
                    <a:close/>
                    <a:moveTo>
                      <a:pt x="356" y="115"/>
                    </a:moveTo>
                    <a:cubicBezTo>
                      <a:pt x="356" y="115"/>
                      <a:pt x="356" y="114"/>
                      <a:pt x="356" y="114"/>
                    </a:cubicBezTo>
                    <a:cubicBezTo>
                      <a:pt x="355" y="114"/>
                      <a:pt x="356" y="115"/>
                      <a:pt x="356" y="115"/>
                    </a:cubicBezTo>
                    <a:close/>
                    <a:moveTo>
                      <a:pt x="290" y="164"/>
                    </a:moveTo>
                    <a:cubicBezTo>
                      <a:pt x="289" y="164"/>
                      <a:pt x="289" y="165"/>
                      <a:pt x="288" y="165"/>
                    </a:cubicBezTo>
                    <a:cubicBezTo>
                      <a:pt x="288" y="165"/>
                      <a:pt x="288" y="164"/>
                      <a:pt x="288" y="164"/>
                    </a:cubicBezTo>
                    <a:cubicBezTo>
                      <a:pt x="287" y="164"/>
                      <a:pt x="286" y="164"/>
                      <a:pt x="286" y="165"/>
                    </a:cubicBezTo>
                    <a:cubicBezTo>
                      <a:pt x="285" y="166"/>
                      <a:pt x="285" y="166"/>
                      <a:pt x="284" y="166"/>
                    </a:cubicBezTo>
                    <a:cubicBezTo>
                      <a:pt x="283" y="166"/>
                      <a:pt x="283" y="167"/>
                      <a:pt x="283" y="168"/>
                    </a:cubicBezTo>
                    <a:cubicBezTo>
                      <a:pt x="283" y="168"/>
                      <a:pt x="282" y="168"/>
                      <a:pt x="282" y="169"/>
                    </a:cubicBezTo>
                    <a:cubicBezTo>
                      <a:pt x="282" y="169"/>
                      <a:pt x="282" y="170"/>
                      <a:pt x="281" y="170"/>
                    </a:cubicBezTo>
                    <a:cubicBezTo>
                      <a:pt x="281" y="170"/>
                      <a:pt x="281" y="169"/>
                      <a:pt x="281" y="169"/>
                    </a:cubicBezTo>
                    <a:cubicBezTo>
                      <a:pt x="281" y="169"/>
                      <a:pt x="281" y="168"/>
                      <a:pt x="280" y="168"/>
                    </a:cubicBezTo>
                    <a:cubicBezTo>
                      <a:pt x="280" y="169"/>
                      <a:pt x="280" y="169"/>
                      <a:pt x="280" y="169"/>
                    </a:cubicBezTo>
                    <a:cubicBezTo>
                      <a:pt x="279" y="168"/>
                      <a:pt x="279" y="168"/>
                      <a:pt x="278" y="168"/>
                    </a:cubicBezTo>
                    <a:cubicBezTo>
                      <a:pt x="278" y="169"/>
                      <a:pt x="277" y="169"/>
                      <a:pt x="277" y="170"/>
                    </a:cubicBezTo>
                    <a:cubicBezTo>
                      <a:pt x="276" y="170"/>
                      <a:pt x="275" y="171"/>
                      <a:pt x="275" y="171"/>
                    </a:cubicBezTo>
                    <a:cubicBezTo>
                      <a:pt x="275" y="172"/>
                      <a:pt x="275" y="172"/>
                      <a:pt x="275" y="172"/>
                    </a:cubicBezTo>
                    <a:cubicBezTo>
                      <a:pt x="275" y="173"/>
                      <a:pt x="275" y="173"/>
                      <a:pt x="275" y="173"/>
                    </a:cubicBezTo>
                    <a:cubicBezTo>
                      <a:pt x="275" y="174"/>
                      <a:pt x="274" y="174"/>
                      <a:pt x="274" y="175"/>
                    </a:cubicBezTo>
                    <a:cubicBezTo>
                      <a:pt x="274" y="175"/>
                      <a:pt x="274" y="175"/>
                      <a:pt x="274" y="176"/>
                    </a:cubicBezTo>
                    <a:cubicBezTo>
                      <a:pt x="274" y="176"/>
                      <a:pt x="275" y="175"/>
                      <a:pt x="275" y="175"/>
                    </a:cubicBezTo>
                    <a:cubicBezTo>
                      <a:pt x="275" y="175"/>
                      <a:pt x="276" y="176"/>
                      <a:pt x="275" y="176"/>
                    </a:cubicBezTo>
                    <a:cubicBezTo>
                      <a:pt x="275" y="177"/>
                      <a:pt x="274" y="177"/>
                      <a:pt x="274" y="177"/>
                    </a:cubicBezTo>
                    <a:cubicBezTo>
                      <a:pt x="273" y="177"/>
                      <a:pt x="273" y="179"/>
                      <a:pt x="273" y="179"/>
                    </a:cubicBezTo>
                    <a:cubicBezTo>
                      <a:pt x="273" y="179"/>
                      <a:pt x="274" y="179"/>
                      <a:pt x="274" y="179"/>
                    </a:cubicBezTo>
                    <a:cubicBezTo>
                      <a:pt x="275" y="179"/>
                      <a:pt x="276" y="179"/>
                      <a:pt x="276" y="179"/>
                    </a:cubicBezTo>
                    <a:cubicBezTo>
                      <a:pt x="277" y="179"/>
                      <a:pt x="277" y="178"/>
                      <a:pt x="277" y="178"/>
                    </a:cubicBezTo>
                    <a:cubicBezTo>
                      <a:pt x="278" y="178"/>
                      <a:pt x="278" y="178"/>
                      <a:pt x="278" y="178"/>
                    </a:cubicBezTo>
                    <a:cubicBezTo>
                      <a:pt x="279" y="177"/>
                      <a:pt x="279" y="177"/>
                      <a:pt x="280" y="177"/>
                    </a:cubicBezTo>
                    <a:cubicBezTo>
                      <a:pt x="281" y="177"/>
                      <a:pt x="282" y="177"/>
                      <a:pt x="282" y="177"/>
                    </a:cubicBezTo>
                    <a:cubicBezTo>
                      <a:pt x="283" y="177"/>
                      <a:pt x="283" y="176"/>
                      <a:pt x="283" y="176"/>
                    </a:cubicBezTo>
                    <a:cubicBezTo>
                      <a:pt x="284" y="175"/>
                      <a:pt x="285" y="175"/>
                      <a:pt x="285" y="174"/>
                    </a:cubicBezTo>
                    <a:cubicBezTo>
                      <a:pt x="286" y="174"/>
                      <a:pt x="286" y="173"/>
                      <a:pt x="286" y="173"/>
                    </a:cubicBezTo>
                    <a:cubicBezTo>
                      <a:pt x="286" y="173"/>
                      <a:pt x="287" y="172"/>
                      <a:pt x="287" y="172"/>
                    </a:cubicBezTo>
                    <a:cubicBezTo>
                      <a:pt x="288" y="171"/>
                      <a:pt x="288" y="171"/>
                      <a:pt x="288" y="170"/>
                    </a:cubicBezTo>
                    <a:cubicBezTo>
                      <a:pt x="288" y="170"/>
                      <a:pt x="289" y="170"/>
                      <a:pt x="289" y="169"/>
                    </a:cubicBezTo>
                    <a:cubicBezTo>
                      <a:pt x="289" y="168"/>
                      <a:pt x="288" y="168"/>
                      <a:pt x="288" y="167"/>
                    </a:cubicBezTo>
                    <a:cubicBezTo>
                      <a:pt x="288" y="166"/>
                      <a:pt x="289" y="166"/>
                      <a:pt x="289" y="166"/>
                    </a:cubicBezTo>
                    <a:cubicBezTo>
                      <a:pt x="289" y="166"/>
                      <a:pt x="290" y="166"/>
                      <a:pt x="290" y="166"/>
                    </a:cubicBezTo>
                    <a:cubicBezTo>
                      <a:pt x="290" y="165"/>
                      <a:pt x="291" y="164"/>
                      <a:pt x="290" y="164"/>
                    </a:cubicBezTo>
                    <a:close/>
                    <a:moveTo>
                      <a:pt x="125" y="32"/>
                    </a:moveTo>
                    <a:cubicBezTo>
                      <a:pt x="126" y="33"/>
                      <a:pt x="125" y="31"/>
                      <a:pt x="125" y="32"/>
                    </a:cubicBezTo>
                    <a:close/>
                    <a:moveTo>
                      <a:pt x="54" y="98"/>
                    </a:moveTo>
                    <a:cubicBezTo>
                      <a:pt x="54" y="98"/>
                      <a:pt x="53" y="97"/>
                      <a:pt x="53" y="97"/>
                    </a:cubicBezTo>
                    <a:cubicBezTo>
                      <a:pt x="52" y="96"/>
                      <a:pt x="52" y="95"/>
                      <a:pt x="51" y="96"/>
                    </a:cubicBezTo>
                    <a:cubicBezTo>
                      <a:pt x="51" y="96"/>
                      <a:pt x="51" y="97"/>
                      <a:pt x="52" y="97"/>
                    </a:cubicBezTo>
                    <a:cubicBezTo>
                      <a:pt x="52" y="98"/>
                      <a:pt x="52" y="99"/>
                      <a:pt x="52" y="99"/>
                    </a:cubicBezTo>
                    <a:cubicBezTo>
                      <a:pt x="53" y="99"/>
                      <a:pt x="53" y="100"/>
                      <a:pt x="53" y="101"/>
                    </a:cubicBezTo>
                    <a:cubicBezTo>
                      <a:pt x="53" y="101"/>
                      <a:pt x="53" y="101"/>
                      <a:pt x="53" y="101"/>
                    </a:cubicBezTo>
                    <a:cubicBezTo>
                      <a:pt x="54" y="101"/>
                      <a:pt x="54" y="102"/>
                      <a:pt x="54" y="102"/>
                    </a:cubicBezTo>
                    <a:cubicBezTo>
                      <a:pt x="55" y="102"/>
                      <a:pt x="53" y="100"/>
                      <a:pt x="54" y="100"/>
                    </a:cubicBezTo>
                    <a:cubicBezTo>
                      <a:pt x="54" y="99"/>
                      <a:pt x="54" y="99"/>
                      <a:pt x="54" y="98"/>
                    </a:cubicBezTo>
                    <a:close/>
                    <a:moveTo>
                      <a:pt x="260" y="123"/>
                    </a:moveTo>
                    <a:cubicBezTo>
                      <a:pt x="260" y="123"/>
                      <a:pt x="261" y="124"/>
                      <a:pt x="261" y="124"/>
                    </a:cubicBezTo>
                    <a:cubicBezTo>
                      <a:pt x="261" y="125"/>
                      <a:pt x="261" y="125"/>
                      <a:pt x="262" y="125"/>
                    </a:cubicBezTo>
                    <a:cubicBezTo>
                      <a:pt x="262" y="126"/>
                      <a:pt x="263" y="124"/>
                      <a:pt x="263" y="123"/>
                    </a:cubicBezTo>
                    <a:cubicBezTo>
                      <a:pt x="263" y="123"/>
                      <a:pt x="263" y="122"/>
                      <a:pt x="263" y="122"/>
                    </a:cubicBezTo>
                    <a:cubicBezTo>
                      <a:pt x="262" y="122"/>
                      <a:pt x="262" y="121"/>
                      <a:pt x="262" y="121"/>
                    </a:cubicBezTo>
                    <a:cubicBezTo>
                      <a:pt x="262" y="121"/>
                      <a:pt x="261" y="122"/>
                      <a:pt x="261" y="121"/>
                    </a:cubicBezTo>
                    <a:cubicBezTo>
                      <a:pt x="261" y="121"/>
                      <a:pt x="261" y="121"/>
                      <a:pt x="261" y="122"/>
                    </a:cubicBezTo>
                    <a:cubicBezTo>
                      <a:pt x="261" y="122"/>
                      <a:pt x="260" y="122"/>
                      <a:pt x="260" y="123"/>
                    </a:cubicBezTo>
                    <a:close/>
                    <a:moveTo>
                      <a:pt x="233" y="95"/>
                    </a:moveTo>
                    <a:cubicBezTo>
                      <a:pt x="233" y="94"/>
                      <a:pt x="233" y="94"/>
                      <a:pt x="232" y="94"/>
                    </a:cubicBezTo>
                    <a:cubicBezTo>
                      <a:pt x="232" y="94"/>
                      <a:pt x="231" y="96"/>
                      <a:pt x="232" y="97"/>
                    </a:cubicBezTo>
                    <a:cubicBezTo>
                      <a:pt x="232" y="97"/>
                      <a:pt x="233" y="96"/>
                      <a:pt x="233" y="97"/>
                    </a:cubicBezTo>
                    <a:cubicBezTo>
                      <a:pt x="233" y="98"/>
                      <a:pt x="233" y="99"/>
                      <a:pt x="232" y="99"/>
                    </a:cubicBezTo>
                    <a:cubicBezTo>
                      <a:pt x="231" y="99"/>
                      <a:pt x="232" y="101"/>
                      <a:pt x="232" y="101"/>
                    </a:cubicBezTo>
                    <a:cubicBezTo>
                      <a:pt x="232" y="102"/>
                      <a:pt x="233" y="105"/>
                      <a:pt x="234" y="104"/>
                    </a:cubicBezTo>
                    <a:cubicBezTo>
                      <a:pt x="234" y="104"/>
                      <a:pt x="234" y="104"/>
                      <a:pt x="234" y="104"/>
                    </a:cubicBezTo>
                    <a:cubicBezTo>
                      <a:pt x="234" y="104"/>
                      <a:pt x="234" y="104"/>
                      <a:pt x="235" y="104"/>
                    </a:cubicBezTo>
                    <a:cubicBezTo>
                      <a:pt x="235" y="104"/>
                      <a:pt x="236" y="104"/>
                      <a:pt x="236" y="103"/>
                    </a:cubicBezTo>
                    <a:cubicBezTo>
                      <a:pt x="237" y="103"/>
                      <a:pt x="237" y="103"/>
                      <a:pt x="237" y="103"/>
                    </a:cubicBezTo>
                    <a:cubicBezTo>
                      <a:pt x="238" y="103"/>
                      <a:pt x="238" y="103"/>
                      <a:pt x="239" y="104"/>
                    </a:cubicBezTo>
                    <a:cubicBezTo>
                      <a:pt x="239" y="104"/>
                      <a:pt x="238" y="105"/>
                      <a:pt x="238" y="106"/>
                    </a:cubicBezTo>
                    <a:cubicBezTo>
                      <a:pt x="238" y="107"/>
                      <a:pt x="239" y="108"/>
                      <a:pt x="239" y="109"/>
                    </a:cubicBezTo>
                    <a:cubicBezTo>
                      <a:pt x="239" y="109"/>
                      <a:pt x="240" y="109"/>
                      <a:pt x="240" y="109"/>
                    </a:cubicBezTo>
                    <a:cubicBezTo>
                      <a:pt x="240" y="109"/>
                      <a:pt x="240" y="110"/>
                      <a:pt x="240" y="110"/>
                    </a:cubicBezTo>
                    <a:cubicBezTo>
                      <a:pt x="240" y="110"/>
                      <a:pt x="240" y="110"/>
                      <a:pt x="240" y="111"/>
                    </a:cubicBezTo>
                    <a:cubicBezTo>
                      <a:pt x="240" y="111"/>
                      <a:pt x="239" y="112"/>
                      <a:pt x="239" y="112"/>
                    </a:cubicBezTo>
                    <a:cubicBezTo>
                      <a:pt x="240" y="113"/>
                      <a:pt x="239" y="114"/>
                      <a:pt x="239" y="115"/>
                    </a:cubicBezTo>
                    <a:cubicBezTo>
                      <a:pt x="239" y="116"/>
                      <a:pt x="238" y="116"/>
                      <a:pt x="238" y="117"/>
                    </a:cubicBezTo>
                    <a:cubicBezTo>
                      <a:pt x="238" y="118"/>
                      <a:pt x="238" y="119"/>
                      <a:pt x="238" y="120"/>
                    </a:cubicBezTo>
                    <a:cubicBezTo>
                      <a:pt x="238" y="120"/>
                      <a:pt x="238" y="121"/>
                      <a:pt x="237" y="121"/>
                    </a:cubicBezTo>
                    <a:cubicBezTo>
                      <a:pt x="237" y="122"/>
                      <a:pt x="237" y="122"/>
                      <a:pt x="237" y="122"/>
                    </a:cubicBezTo>
                    <a:cubicBezTo>
                      <a:pt x="236" y="123"/>
                      <a:pt x="236" y="124"/>
                      <a:pt x="237" y="125"/>
                    </a:cubicBezTo>
                    <a:cubicBezTo>
                      <a:pt x="237" y="125"/>
                      <a:pt x="237" y="127"/>
                      <a:pt x="237" y="127"/>
                    </a:cubicBezTo>
                    <a:cubicBezTo>
                      <a:pt x="237" y="126"/>
                      <a:pt x="238" y="126"/>
                      <a:pt x="238" y="126"/>
                    </a:cubicBezTo>
                    <a:cubicBezTo>
                      <a:pt x="238" y="127"/>
                      <a:pt x="238" y="127"/>
                      <a:pt x="238" y="127"/>
                    </a:cubicBezTo>
                    <a:cubicBezTo>
                      <a:pt x="238" y="128"/>
                      <a:pt x="239" y="127"/>
                      <a:pt x="239" y="127"/>
                    </a:cubicBezTo>
                    <a:cubicBezTo>
                      <a:pt x="239" y="127"/>
                      <a:pt x="239" y="127"/>
                      <a:pt x="239" y="128"/>
                    </a:cubicBezTo>
                    <a:cubicBezTo>
                      <a:pt x="239" y="128"/>
                      <a:pt x="239" y="128"/>
                      <a:pt x="240" y="128"/>
                    </a:cubicBezTo>
                    <a:cubicBezTo>
                      <a:pt x="241" y="128"/>
                      <a:pt x="241" y="127"/>
                      <a:pt x="241" y="127"/>
                    </a:cubicBezTo>
                    <a:cubicBezTo>
                      <a:pt x="242" y="126"/>
                      <a:pt x="242" y="126"/>
                      <a:pt x="243" y="127"/>
                    </a:cubicBezTo>
                    <a:cubicBezTo>
                      <a:pt x="244" y="127"/>
                      <a:pt x="244" y="126"/>
                      <a:pt x="245" y="126"/>
                    </a:cubicBezTo>
                    <a:cubicBezTo>
                      <a:pt x="245" y="126"/>
                      <a:pt x="246" y="126"/>
                      <a:pt x="246" y="126"/>
                    </a:cubicBezTo>
                    <a:cubicBezTo>
                      <a:pt x="246" y="126"/>
                      <a:pt x="246" y="127"/>
                      <a:pt x="247" y="127"/>
                    </a:cubicBezTo>
                    <a:cubicBezTo>
                      <a:pt x="247" y="127"/>
                      <a:pt x="247" y="126"/>
                      <a:pt x="247" y="125"/>
                    </a:cubicBezTo>
                    <a:cubicBezTo>
                      <a:pt x="247" y="125"/>
                      <a:pt x="246" y="124"/>
                      <a:pt x="246" y="124"/>
                    </a:cubicBezTo>
                    <a:cubicBezTo>
                      <a:pt x="246" y="123"/>
                      <a:pt x="245" y="122"/>
                      <a:pt x="246" y="121"/>
                    </a:cubicBezTo>
                    <a:cubicBezTo>
                      <a:pt x="246" y="120"/>
                      <a:pt x="246" y="119"/>
                      <a:pt x="246" y="118"/>
                    </a:cubicBezTo>
                    <a:cubicBezTo>
                      <a:pt x="247" y="118"/>
                      <a:pt x="247" y="116"/>
                      <a:pt x="247" y="116"/>
                    </a:cubicBezTo>
                    <a:cubicBezTo>
                      <a:pt x="247" y="116"/>
                      <a:pt x="247" y="115"/>
                      <a:pt x="247" y="115"/>
                    </a:cubicBezTo>
                    <a:cubicBezTo>
                      <a:pt x="247" y="114"/>
                      <a:pt x="247" y="114"/>
                      <a:pt x="247" y="114"/>
                    </a:cubicBezTo>
                    <a:cubicBezTo>
                      <a:pt x="247" y="113"/>
                      <a:pt x="247" y="113"/>
                      <a:pt x="247" y="112"/>
                    </a:cubicBezTo>
                    <a:cubicBezTo>
                      <a:pt x="247" y="112"/>
                      <a:pt x="247" y="111"/>
                      <a:pt x="247" y="111"/>
                    </a:cubicBezTo>
                    <a:cubicBezTo>
                      <a:pt x="247" y="111"/>
                      <a:pt x="247" y="110"/>
                      <a:pt x="247" y="110"/>
                    </a:cubicBezTo>
                    <a:cubicBezTo>
                      <a:pt x="247" y="110"/>
                      <a:pt x="247" y="110"/>
                      <a:pt x="247" y="109"/>
                    </a:cubicBezTo>
                    <a:cubicBezTo>
                      <a:pt x="247" y="109"/>
                      <a:pt x="247" y="108"/>
                      <a:pt x="247" y="108"/>
                    </a:cubicBezTo>
                    <a:cubicBezTo>
                      <a:pt x="247" y="107"/>
                      <a:pt x="248" y="107"/>
                      <a:pt x="248" y="106"/>
                    </a:cubicBezTo>
                    <a:cubicBezTo>
                      <a:pt x="247" y="105"/>
                      <a:pt x="247" y="103"/>
                      <a:pt x="247" y="102"/>
                    </a:cubicBezTo>
                    <a:cubicBezTo>
                      <a:pt x="247" y="102"/>
                      <a:pt x="248" y="101"/>
                      <a:pt x="248" y="101"/>
                    </a:cubicBezTo>
                    <a:cubicBezTo>
                      <a:pt x="247" y="101"/>
                      <a:pt x="247" y="100"/>
                      <a:pt x="247" y="100"/>
                    </a:cubicBezTo>
                    <a:cubicBezTo>
                      <a:pt x="246" y="100"/>
                      <a:pt x="246" y="100"/>
                      <a:pt x="246" y="99"/>
                    </a:cubicBezTo>
                    <a:cubicBezTo>
                      <a:pt x="246" y="99"/>
                      <a:pt x="246" y="99"/>
                      <a:pt x="246" y="98"/>
                    </a:cubicBezTo>
                    <a:cubicBezTo>
                      <a:pt x="246" y="98"/>
                      <a:pt x="246" y="98"/>
                      <a:pt x="247" y="97"/>
                    </a:cubicBezTo>
                    <a:cubicBezTo>
                      <a:pt x="248" y="96"/>
                      <a:pt x="248" y="96"/>
                      <a:pt x="249" y="95"/>
                    </a:cubicBezTo>
                    <a:cubicBezTo>
                      <a:pt x="250" y="95"/>
                      <a:pt x="251" y="94"/>
                      <a:pt x="252" y="94"/>
                    </a:cubicBezTo>
                    <a:cubicBezTo>
                      <a:pt x="253" y="94"/>
                      <a:pt x="254" y="94"/>
                      <a:pt x="254" y="95"/>
                    </a:cubicBezTo>
                    <a:cubicBezTo>
                      <a:pt x="254" y="96"/>
                      <a:pt x="254" y="96"/>
                      <a:pt x="254" y="96"/>
                    </a:cubicBezTo>
                    <a:cubicBezTo>
                      <a:pt x="254" y="96"/>
                      <a:pt x="253" y="96"/>
                      <a:pt x="253" y="96"/>
                    </a:cubicBezTo>
                    <a:cubicBezTo>
                      <a:pt x="253" y="97"/>
                      <a:pt x="254" y="97"/>
                      <a:pt x="254" y="96"/>
                    </a:cubicBezTo>
                    <a:cubicBezTo>
                      <a:pt x="254" y="97"/>
                      <a:pt x="254" y="96"/>
                      <a:pt x="254" y="97"/>
                    </a:cubicBezTo>
                    <a:cubicBezTo>
                      <a:pt x="254" y="97"/>
                      <a:pt x="254" y="97"/>
                      <a:pt x="254" y="98"/>
                    </a:cubicBezTo>
                    <a:cubicBezTo>
                      <a:pt x="254" y="99"/>
                      <a:pt x="254" y="99"/>
                      <a:pt x="254" y="100"/>
                    </a:cubicBezTo>
                    <a:cubicBezTo>
                      <a:pt x="254" y="101"/>
                      <a:pt x="253" y="101"/>
                      <a:pt x="253" y="102"/>
                    </a:cubicBezTo>
                    <a:cubicBezTo>
                      <a:pt x="253" y="102"/>
                      <a:pt x="252" y="103"/>
                      <a:pt x="252" y="103"/>
                    </a:cubicBezTo>
                    <a:cubicBezTo>
                      <a:pt x="252" y="105"/>
                      <a:pt x="253" y="105"/>
                      <a:pt x="254" y="106"/>
                    </a:cubicBezTo>
                    <a:cubicBezTo>
                      <a:pt x="254" y="107"/>
                      <a:pt x="255" y="107"/>
                      <a:pt x="255" y="107"/>
                    </a:cubicBezTo>
                    <a:cubicBezTo>
                      <a:pt x="256" y="107"/>
                      <a:pt x="256" y="108"/>
                      <a:pt x="256" y="108"/>
                    </a:cubicBezTo>
                    <a:cubicBezTo>
                      <a:pt x="256" y="108"/>
                      <a:pt x="256" y="108"/>
                      <a:pt x="256" y="109"/>
                    </a:cubicBezTo>
                    <a:cubicBezTo>
                      <a:pt x="257" y="109"/>
                      <a:pt x="257" y="109"/>
                      <a:pt x="258" y="109"/>
                    </a:cubicBezTo>
                    <a:cubicBezTo>
                      <a:pt x="258" y="110"/>
                      <a:pt x="259" y="110"/>
                      <a:pt x="259" y="110"/>
                    </a:cubicBezTo>
                    <a:cubicBezTo>
                      <a:pt x="259" y="111"/>
                      <a:pt x="259" y="112"/>
                      <a:pt x="258" y="112"/>
                    </a:cubicBezTo>
                    <a:cubicBezTo>
                      <a:pt x="258" y="112"/>
                      <a:pt x="258" y="111"/>
                      <a:pt x="258" y="112"/>
                    </a:cubicBezTo>
                    <a:cubicBezTo>
                      <a:pt x="258" y="113"/>
                      <a:pt x="258" y="113"/>
                      <a:pt x="258" y="114"/>
                    </a:cubicBezTo>
                    <a:cubicBezTo>
                      <a:pt x="258" y="115"/>
                      <a:pt x="257" y="116"/>
                      <a:pt x="258" y="117"/>
                    </a:cubicBezTo>
                    <a:cubicBezTo>
                      <a:pt x="258" y="117"/>
                      <a:pt x="259" y="118"/>
                      <a:pt x="260" y="118"/>
                    </a:cubicBezTo>
                    <a:cubicBezTo>
                      <a:pt x="261" y="118"/>
                      <a:pt x="261" y="119"/>
                      <a:pt x="262" y="119"/>
                    </a:cubicBezTo>
                    <a:cubicBezTo>
                      <a:pt x="263" y="119"/>
                      <a:pt x="264" y="118"/>
                      <a:pt x="263" y="117"/>
                    </a:cubicBezTo>
                    <a:cubicBezTo>
                      <a:pt x="262" y="116"/>
                      <a:pt x="263" y="115"/>
                      <a:pt x="264" y="115"/>
                    </a:cubicBezTo>
                    <a:cubicBezTo>
                      <a:pt x="265" y="114"/>
                      <a:pt x="265" y="114"/>
                      <a:pt x="266" y="114"/>
                    </a:cubicBezTo>
                    <a:cubicBezTo>
                      <a:pt x="266" y="114"/>
                      <a:pt x="266" y="114"/>
                      <a:pt x="267" y="114"/>
                    </a:cubicBezTo>
                    <a:cubicBezTo>
                      <a:pt x="267" y="114"/>
                      <a:pt x="267" y="114"/>
                      <a:pt x="267" y="114"/>
                    </a:cubicBezTo>
                    <a:cubicBezTo>
                      <a:pt x="268" y="114"/>
                      <a:pt x="268" y="113"/>
                      <a:pt x="269" y="114"/>
                    </a:cubicBezTo>
                    <a:cubicBezTo>
                      <a:pt x="269" y="114"/>
                      <a:pt x="269" y="114"/>
                      <a:pt x="269" y="114"/>
                    </a:cubicBezTo>
                    <a:cubicBezTo>
                      <a:pt x="269" y="114"/>
                      <a:pt x="270" y="115"/>
                      <a:pt x="270" y="114"/>
                    </a:cubicBezTo>
                    <a:cubicBezTo>
                      <a:pt x="270" y="114"/>
                      <a:pt x="269" y="113"/>
                      <a:pt x="269" y="113"/>
                    </a:cubicBezTo>
                    <a:cubicBezTo>
                      <a:pt x="270" y="113"/>
                      <a:pt x="270" y="114"/>
                      <a:pt x="270" y="114"/>
                    </a:cubicBezTo>
                    <a:cubicBezTo>
                      <a:pt x="271" y="114"/>
                      <a:pt x="271" y="114"/>
                      <a:pt x="271" y="113"/>
                    </a:cubicBezTo>
                    <a:cubicBezTo>
                      <a:pt x="271" y="112"/>
                      <a:pt x="272" y="110"/>
                      <a:pt x="271" y="110"/>
                    </a:cubicBezTo>
                    <a:cubicBezTo>
                      <a:pt x="270" y="109"/>
                      <a:pt x="270" y="110"/>
                      <a:pt x="271" y="110"/>
                    </a:cubicBezTo>
                    <a:cubicBezTo>
                      <a:pt x="271" y="111"/>
                      <a:pt x="270" y="111"/>
                      <a:pt x="270" y="111"/>
                    </a:cubicBezTo>
                    <a:cubicBezTo>
                      <a:pt x="269" y="110"/>
                      <a:pt x="270" y="111"/>
                      <a:pt x="269" y="111"/>
                    </a:cubicBezTo>
                    <a:cubicBezTo>
                      <a:pt x="269" y="110"/>
                      <a:pt x="269" y="110"/>
                      <a:pt x="269" y="110"/>
                    </a:cubicBezTo>
                    <a:cubicBezTo>
                      <a:pt x="269" y="109"/>
                      <a:pt x="269" y="109"/>
                      <a:pt x="268" y="109"/>
                    </a:cubicBezTo>
                    <a:cubicBezTo>
                      <a:pt x="268" y="109"/>
                      <a:pt x="270" y="109"/>
                      <a:pt x="269" y="108"/>
                    </a:cubicBezTo>
                    <a:cubicBezTo>
                      <a:pt x="269" y="108"/>
                      <a:pt x="268" y="108"/>
                      <a:pt x="268" y="108"/>
                    </a:cubicBezTo>
                    <a:cubicBezTo>
                      <a:pt x="268" y="107"/>
                      <a:pt x="267" y="107"/>
                      <a:pt x="267" y="106"/>
                    </a:cubicBezTo>
                    <a:cubicBezTo>
                      <a:pt x="266" y="106"/>
                      <a:pt x="266" y="106"/>
                      <a:pt x="266" y="106"/>
                    </a:cubicBezTo>
                    <a:cubicBezTo>
                      <a:pt x="265" y="105"/>
                      <a:pt x="264" y="105"/>
                      <a:pt x="265" y="104"/>
                    </a:cubicBezTo>
                    <a:cubicBezTo>
                      <a:pt x="265" y="104"/>
                      <a:pt x="265" y="104"/>
                      <a:pt x="265" y="104"/>
                    </a:cubicBezTo>
                    <a:cubicBezTo>
                      <a:pt x="266" y="104"/>
                      <a:pt x="266" y="104"/>
                      <a:pt x="266" y="103"/>
                    </a:cubicBezTo>
                    <a:cubicBezTo>
                      <a:pt x="266" y="103"/>
                      <a:pt x="265" y="102"/>
                      <a:pt x="266" y="102"/>
                    </a:cubicBezTo>
                    <a:cubicBezTo>
                      <a:pt x="266" y="102"/>
                      <a:pt x="267" y="103"/>
                      <a:pt x="267" y="103"/>
                    </a:cubicBezTo>
                    <a:cubicBezTo>
                      <a:pt x="267" y="102"/>
                      <a:pt x="266" y="102"/>
                      <a:pt x="266" y="102"/>
                    </a:cubicBezTo>
                    <a:cubicBezTo>
                      <a:pt x="266" y="101"/>
                      <a:pt x="266" y="101"/>
                      <a:pt x="267" y="101"/>
                    </a:cubicBezTo>
                    <a:cubicBezTo>
                      <a:pt x="267" y="101"/>
                      <a:pt x="267" y="101"/>
                      <a:pt x="267" y="101"/>
                    </a:cubicBezTo>
                    <a:cubicBezTo>
                      <a:pt x="267" y="101"/>
                      <a:pt x="267" y="100"/>
                      <a:pt x="267" y="100"/>
                    </a:cubicBezTo>
                    <a:cubicBezTo>
                      <a:pt x="268" y="100"/>
                      <a:pt x="267" y="100"/>
                      <a:pt x="267" y="100"/>
                    </a:cubicBezTo>
                    <a:cubicBezTo>
                      <a:pt x="267" y="99"/>
                      <a:pt x="267" y="100"/>
                      <a:pt x="266" y="99"/>
                    </a:cubicBezTo>
                    <a:cubicBezTo>
                      <a:pt x="266" y="99"/>
                      <a:pt x="266" y="99"/>
                      <a:pt x="266" y="98"/>
                    </a:cubicBezTo>
                    <a:cubicBezTo>
                      <a:pt x="266" y="98"/>
                      <a:pt x="266" y="97"/>
                      <a:pt x="266" y="97"/>
                    </a:cubicBezTo>
                    <a:cubicBezTo>
                      <a:pt x="266" y="97"/>
                      <a:pt x="265" y="97"/>
                      <a:pt x="265" y="97"/>
                    </a:cubicBezTo>
                    <a:cubicBezTo>
                      <a:pt x="265" y="96"/>
                      <a:pt x="265" y="96"/>
                      <a:pt x="264" y="96"/>
                    </a:cubicBezTo>
                    <a:cubicBezTo>
                      <a:pt x="264" y="95"/>
                      <a:pt x="263" y="95"/>
                      <a:pt x="263" y="95"/>
                    </a:cubicBezTo>
                    <a:cubicBezTo>
                      <a:pt x="263" y="94"/>
                      <a:pt x="263" y="93"/>
                      <a:pt x="262" y="92"/>
                    </a:cubicBezTo>
                    <a:cubicBezTo>
                      <a:pt x="262" y="92"/>
                      <a:pt x="262" y="91"/>
                      <a:pt x="262" y="91"/>
                    </a:cubicBezTo>
                    <a:cubicBezTo>
                      <a:pt x="262" y="90"/>
                      <a:pt x="261" y="89"/>
                      <a:pt x="260" y="89"/>
                    </a:cubicBezTo>
                    <a:cubicBezTo>
                      <a:pt x="260" y="89"/>
                      <a:pt x="259" y="89"/>
                      <a:pt x="259" y="89"/>
                    </a:cubicBezTo>
                    <a:cubicBezTo>
                      <a:pt x="259" y="88"/>
                      <a:pt x="259" y="88"/>
                      <a:pt x="259" y="88"/>
                    </a:cubicBezTo>
                    <a:cubicBezTo>
                      <a:pt x="258" y="88"/>
                      <a:pt x="258" y="87"/>
                      <a:pt x="258" y="87"/>
                    </a:cubicBezTo>
                    <a:cubicBezTo>
                      <a:pt x="258" y="87"/>
                      <a:pt x="258" y="86"/>
                      <a:pt x="258" y="86"/>
                    </a:cubicBezTo>
                    <a:cubicBezTo>
                      <a:pt x="257" y="87"/>
                      <a:pt x="257" y="87"/>
                      <a:pt x="257" y="87"/>
                    </a:cubicBezTo>
                    <a:cubicBezTo>
                      <a:pt x="257" y="87"/>
                      <a:pt x="257" y="86"/>
                      <a:pt x="257" y="86"/>
                    </a:cubicBezTo>
                    <a:cubicBezTo>
                      <a:pt x="257" y="85"/>
                      <a:pt x="257" y="86"/>
                      <a:pt x="257" y="86"/>
                    </a:cubicBezTo>
                    <a:cubicBezTo>
                      <a:pt x="256" y="85"/>
                      <a:pt x="257" y="85"/>
                      <a:pt x="258" y="85"/>
                    </a:cubicBezTo>
                    <a:cubicBezTo>
                      <a:pt x="258" y="85"/>
                      <a:pt x="258" y="85"/>
                      <a:pt x="258" y="85"/>
                    </a:cubicBezTo>
                    <a:cubicBezTo>
                      <a:pt x="258" y="85"/>
                      <a:pt x="258" y="86"/>
                      <a:pt x="258" y="86"/>
                    </a:cubicBezTo>
                    <a:cubicBezTo>
                      <a:pt x="259" y="86"/>
                      <a:pt x="259" y="86"/>
                      <a:pt x="259" y="86"/>
                    </a:cubicBezTo>
                    <a:cubicBezTo>
                      <a:pt x="260" y="87"/>
                      <a:pt x="261" y="86"/>
                      <a:pt x="261" y="85"/>
                    </a:cubicBezTo>
                    <a:cubicBezTo>
                      <a:pt x="261" y="84"/>
                      <a:pt x="262" y="84"/>
                      <a:pt x="262" y="84"/>
                    </a:cubicBezTo>
                    <a:cubicBezTo>
                      <a:pt x="263" y="84"/>
                      <a:pt x="263" y="83"/>
                      <a:pt x="264" y="83"/>
                    </a:cubicBezTo>
                    <a:cubicBezTo>
                      <a:pt x="264" y="83"/>
                      <a:pt x="265" y="83"/>
                      <a:pt x="265" y="83"/>
                    </a:cubicBezTo>
                    <a:cubicBezTo>
                      <a:pt x="266" y="83"/>
                      <a:pt x="266" y="82"/>
                      <a:pt x="266" y="82"/>
                    </a:cubicBezTo>
                    <a:cubicBezTo>
                      <a:pt x="267" y="81"/>
                      <a:pt x="268" y="81"/>
                      <a:pt x="269" y="80"/>
                    </a:cubicBezTo>
                    <a:cubicBezTo>
                      <a:pt x="270" y="79"/>
                      <a:pt x="270" y="78"/>
                      <a:pt x="271" y="77"/>
                    </a:cubicBezTo>
                    <a:cubicBezTo>
                      <a:pt x="271" y="76"/>
                      <a:pt x="271" y="75"/>
                      <a:pt x="272" y="75"/>
                    </a:cubicBezTo>
                    <a:cubicBezTo>
                      <a:pt x="273" y="75"/>
                      <a:pt x="273" y="75"/>
                      <a:pt x="274" y="75"/>
                    </a:cubicBezTo>
                    <a:cubicBezTo>
                      <a:pt x="274" y="75"/>
                      <a:pt x="274" y="74"/>
                      <a:pt x="274" y="75"/>
                    </a:cubicBezTo>
                    <a:cubicBezTo>
                      <a:pt x="275" y="75"/>
                      <a:pt x="275" y="76"/>
                      <a:pt x="275" y="76"/>
                    </a:cubicBezTo>
                    <a:cubicBezTo>
                      <a:pt x="275" y="76"/>
                      <a:pt x="276" y="76"/>
                      <a:pt x="276" y="77"/>
                    </a:cubicBezTo>
                    <a:cubicBezTo>
                      <a:pt x="277" y="77"/>
                      <a:pt x="277" y="76"/>
                      <a:pt x="277" y="75"/>
                    </a:cubicBezTo>
                    <a:cubicBezTo>
                      <a:pt x="277" y="74"/>
                      <a:pt x="278" y="73"/>
                      <a:pt x="277" y="72"/>
                    </a:cubicBezTo>
                    <a:cubicBezTo>
                      <a:pt x="276" y="72"/>
                      <a:pt x="275" y="71"/>
                      <a:pt x="274" y="71"/>
                    </a:cubicBezTo>
                    <a:cubicBezTo>
                      <a:pt x="274" y="71"/>
                      <a:pt x="274" y="72"/>
                      <a:pt x="273" y="72"/>
                    </a:cubicBezTo>
                    <a:cubicBezTo>
                      <a:pt x="273" y="72"/>
                      <a:pt x="272" y="72"/>
                      <a:pt x="272" y="72"/>
                    </a:cubicBezTo>
                    <a:cubicBezTo>
                      <a:pt x="272" y="72"/>
                      <a:pt x="270" y="73"/>
                      <a:pt x="271" y="73"/>
                    </a:cubicBezTo>
                    <a:cubicBezTo>
                      <a:pt x="272" y="73"/>
                      <a:pt x="272" y="73"/>
                      <a:pt x="273" y="73"/>
                    </a:cubicBezTo>
                    <a:cubicBezTo>
                      <a:pt x="273" y="73"/>
                      <a:pt x="272" y="74"/>
                      <a:pt x="272" y="74"/>
                    </a:cubicBezTo>
                    <a:cubicBezTo>
                      <a:pt x="271" y="74"/>
                      <a:pt x="271" y="74"/>
                      <a:pt x="270" y="74"/>
                    </a:cubicBezTo>
                    <a:cubicBezTo>
                      <a:pt x="270" y="73"/>
                      <a:pt x="269" y="74"/>
                      <a:pt x="268" y="74"/>
                    </a:cubicBezTo>
                    <a:cubicBezTo>
                      <a:pt x="268" y="73"/>
                      <a:pt x="266" y="73"/>
                      <a:pt x="265" y="74"/>
                    </a:cubicBezTo>
                    <a:cubicBezTo>
                      <a:pt x="265" y="75"/>
                      <a:pt x="265" y="76"/>
                      <a:pt x="264" y="75"/>
                    </a:cubicBezTo>
                    <a:cubicBezTo>
                      <a:pt x="264" y="75"/>
                      <a:pt x="263" y="76"/>
                      <a:pt x="263" y="76"/>
                    </a:cubicBezTo>
                    <a:cubicBezTo>
                      <a:pt x="262" y="76"/>
                      <a:pt x="260" y="76"/>
                      <a:pt x="260" y="74"/>
                    </a:cubicBezTo>
                    <a:cubicBezTo>
                      <a:pt x="260" y="74"/>
                      <a:pt x="260" y="74"/>
                      <a:pt x="259" y="75"/>
                    </a:cubicBezTo>
                    <a:cubicBezTo>
                      <a:pt x="259" y="75"/>
                      <a:pt x="258" y="75"/>
                      <a:pt x="258" y="76"/>
                    </a:cubicBezTo>
                    <a:cubicBezTo>
                      <a:pt x="258" y="77"/>
                      <a:pt x="257" y="77"/>
                      <a:pt x="256" y="78"/>
                    </a:cubicBezTo>
                    <a:cubicBezTo>
                      <a:pt x="256" y="79"/>
                      <a:pt x="256" y="79"/>
                      <a:pt x="255" y="80"/>
                    </a:cubicBezTo>
                    <a:cubicBezTo>
                      <a:pt x="255" y="80"/>
                      <a:pt x="255" y="81"/>
                      <a:pt x="254" y="81"/>
                    </a:cubicBezTo>
                    <a:cubicBezTo>
                      <a:pt x="254" y="80"/>
                      <a:pt x="253" y="81"/>
                      <a:pt x="253" y="81"/>
                    </a:cubicBezTo>
                    <a:cubicBezTo>
                      <a:pt x="252" y="81"/>
                      <a:pt x="252" y="80"/>
                      <a:pt x="251" y="80"/>
                    </a:cubicBezTo>
                    <a:cubicBezTo>
                      <a:pt x="251" y="81"/>
                      <a:pt x="251" y="81"/>
                      <a:pt x="250" y="80"/>
                    </a:cubicBezTo>
                    <a:cubicBezTo>
                      <a:pt x="250" y="79"/>
                      <a:pt x="250" y="79"/>
                      <a:pt x="250" y="78"/>
                    </a:cubicBezTo>
                    <a:cubicBezTo>
                      <a:pt x="250" y="78"/>
                      <a:pt x="250" y="77"/>
                      <a:pt x="249" y="77"/>
                    </a:cubicBezTo>
                    <a:cubicBezTo>
                      <a:pt x="249" y="76"/>
                      <a:pt x="249" y="76"/>
                      <a:pt x="248" y="75"/>
                    </a:cubicBezTo>
                    <a:cubicBezTo>
                      <a:pt x="248" y="75"/>
                      <a:pt x="248" y="76"/>
                      <a:pt x="247" y="76"/>
                    </a:cubicBezTo>
                    <a:cubicBezTo>
                      <a:pt x="246" y="75"/>
                      <a:pt x="245" y="73"/>
                      <a:pt x="245" y="72"/>
                    </a:cubicBezTo>
                    <a:cubicBezTo>
                      <a:pt x="245" y="71"/>
                      <a:pt x="245" y="71"/>
                      <a:pt x="245" y="70"/>
                    </a:cubicBezTo>
                    <a:cubicBezTo>
                      <a:pt x="244" y="69"/>
                      <a:pt x="244" y="68"/>
                      <a:pt x="244" y="68"/>
                    </a:cubicBezTo>
                    <a:cubicBezTo>
                      <a:pt x="244" y="67"/>
                      <a:pt x="244" y="66"/>
                      <a:pt x="245" y="66"/>
                    </a:cubicBezTo>
                    <a:cubicBezTo>
                      <a:pt x="245" y="65"/>
                      <a:pt x="245" y="64"/>
                      <a:pt x="246" y="63"/>
                    </a:cubicBezTo>
                    <a:cubicBezTo>
                      <a:pt x="246" y="62"/>
                      <a:pt x="247" y="60"/>
                      <a:pt x="249" y="60"/>
                    </a:cubicBezTo>
                    <a:cubicBezTo>
                      <a:pt x="250" y="59"/>
                      <a:pt x="250" y="59"/>
                      <a:pt x="251" y="60"/>
                    </a:cubicBezTo>
                    <a:cubicBezTo>
                      <a:pt x="252" y="60"/>
                      <a:pt x="252" y="60"/>
                      <a:pt x="253" y="61"/>
                    </a:cubicBezTo>
                    <a:cubicBezTo>
                      <a:pt x="254" y="61"/>
                      <a:pt x="254" y="60"/>
                      <a:pt x="255" y="61"/>
                    </a:cubicBezTo>
                    <a:cubicBezTo>
                      <a:pt x="255" y="61"/>
                      <a:pt x="256" y="60"/>
                      <a:pt x="256" y="60"/>
                    </a:cubicBezTo>
                    <a:cubicBezTo>
                      <a:pt x="257" y="60"/>
                      <a:pt x="257" y="60"/>
                      <a:pt x="258" y="60"/>
                    </a:cubicBezTo>
                    <a:cubicBezTo>
                      <a:pt x="258" y="60"/>
                      <a:pt x="259" y="60"/>
                      <a:pt x="259" y="60"/>
                    </a:cubicBezTo>
                    <a:cubicBezTo>
                      <a:pt x="259" y="59"/>
                      <a:pt x="260" y="59"/>
                      <a:pt x="260" y="59"/>
                    </a:cubicBezTo>
                    <a:cubicBezTo>
                      <a:pt x="261" y="60"/>
                      <a:pt x="261" y="60"/>
                      <a:pt x="262" y="60"/>
                    </a:cubicBezTo>
                    <a:cubicBezTo>
                      <a:pt x="262" y="61"/>
                      <a:pt x="263" y="61"/>
                      <a:pt x="263" y="60"/>
                    </a:cubicBezTo>
                    <a:cubicBezTo>
                      <a:pt x="264" y="60"/>
                      <a:pt x="264" y="60"/>
                      <a:pt x="264" y="60"/>
                    </a:cubicBezTo>
                    <a:cubicBezTo>
                      <a:pt x="265" y="60"/>
                      <a:pt x="265" y="60"/>
                      <a:pt x="265" y="60"/>
                    </a:cubicBezTo>
                    <a:cubicBezTo>
                      <a:pt x="266" y="60"/>
                      <a:pt x="267" y="60"/>
                      <a:pt x="268" y="60"/>
                    </a:cubicBezTo>
                    <a:cubicBezTo>
                      <a:pt x="269" y="60"/>
                      <a:pt x="270" y="60"/>
                      <a:pt x="270" y="60"/>
                    </a:cubicBezTo>
                    <a:cubicBezTo>
                      <a:pt x="270" y="60"/>
                      <a:pt x="270" y="60"/>
                      <a:pt x="270" y="60"/>
                    </a:cubicBezTo>
                    <a:cubicBezTo>
                      <a:pt x="270" y="59"/>
                      <a:pt x="270" y="60"/>
                      <a:pt x="270" y="60"/>
                    </a:cubicBezTo>
                    <a:cubicBezTo>
                      <a:pt x="271" y="60"/>
                      <a:pt x="272" y="60"/>
                      <a:pt x="273" y="60"/>
                    </a:cubicBezTo>
                    <a:cubicBezTo>
                      <a:pt x="274" y="60"/>
                      <a:pt x="274" y="59"/>
                      <a:pt x="275" y="60"/>
                    </a:cubicBezTo>
                    <a:cubicBezTo>
                      <a:pt x="275" y="61"/>
                      <a:pt x="275" y="61"/>
                      <a:pt x="276" y="62"/>
                    </a:cubicBezTo>
                    <a:cubicBezTo>
                      <a:pt x="276" y="62"/>
                      <a:pt x="277" y="62"/>
                      <a:pt x="278" y="62"/>
                    </a:cubicBezTo>
                    <a:cubicBezTo>
                      <a:pt x="278" y="62"/>
                      <a:pt x="279" y="62"/>
                      <a:pt x="279" y="62"/>
                    </a:cubicBezTo>
                    <a:cubicBezTo>
                      <a:pt x="280" y="62"/>
                      <a:pt x="280" y="62"/>
                      <a:pt x="281" y="62"/>
                    </a:cubicBezTo>
                    <a:cubicBezTo>
                      <a:pt x="282" y="62"/>
                      <a:pt x="282" y="62"/>
                      <a:pt x="283" y="62"/>
                    </a:cubicBezTo>
                    <a:cubicBezTo>
                      <a:pt x="284" y="61"/>
                      <a:pt x="284" y="61"/>
                      <a:pt x="285" y="61"/>
                    </a:cubicBezTo>
                    <a:cubicBezTo>
                      <a:pt x="285" y="61"/>
                      <a:pt x="286" y="61"/>
                      <a:pt x="286" y="61"/>
                    </a:cubicBezTo>
                    <a:cubicBezTo>
                      <a:pt x="287" y="60"/>
                      <a:pt x="288" y="60"/>
                      <a:pt x="288" y="60"/>
                    </a:cubicBezTo>
                    <a:cubicBezTo>
                      <a:pt x="288" y="59"/>
                      <a:pt x="289" y="59"/>
                      <a:pt x="289" y="58"/>
                    </a:cubicBezTo>
                    <a:cubicBezTo>
                      <a:pt x="289" y="58"/>
                      <a:pt x="289" y="58"/>
                      <a:pt x="289" y="58"/>
                    </a:cubicBezTo>
                    <a:cubicBezTo>
                      <a:pt x="289" y="58"/>
                      <a:pt x="289" y="57"/>
                      <a:pt x="289" y="57"/>
                    </a:cubicBezTo>
                    <a:cubicBezTo>
                      <a:pt x="290" y="56"/>
                      <a:pt x="290" y="56"/>
                      <a:pt x="291" y="55"/>
                    </a:cubicBezTo>
                    <a:cubicBezTo>
                      <a:pt x="292" y="54"/>
                      <a:pt x="293" y="53"/>
                      <a:pt x="293" y="51"/>
                    </a:cubicBezTo>
                    <a:cubicBezTo>
                      <a:pt x="294" y="51"/>
                      <a:pt x="294" y="49"/>
                      <a:pt x="295" y="49"/>
                    </a:cubicBezTo>
                    <a:cubicBezTo>
                      <a:pt x="295" y="49"/>
                      <a:pt x="295" y="49"/>
                      <a:pt x="295" y="48"/>
                    </a:cubicBezTo>
                    <a:cubicBezTo>
                      <a:pt x="294" y="48"/>
                      <a:pt x="294" y="48"/>
                      <a:pt x="294" y="48"/>
                    </a:cubicBezTo>
                    <a:cubicBezTo>
                      <a:pt x="294" y="47"/>
                      <a:pt x="295" y="47"/>
                      <a:pt x="294" y="47"/>
                    </a:cubicBezTo>
                    <a:cubicBezTo>
                      <a:pt x="294" y="47"/>
                      <a:pt x="293" y="47"/>
                      <a:pt x="293" y="47"/>
                    </a:cubicBezTo>
                    <a:cubicBezTo>
                      <a:pt x="293" y="46"/>
                      <a:pt x="293" y="46"/>
                      <a:pt x="292" y="46"/>
                    </a:cubicBezTo>
                    <a:cubicBezTo>
                      <a:pt x="292" y="47"/>
                      <a:pt x="292" y="47"/>
                      <a:pt x="291" y="48"/>
                    </a:cubicBezTo>
                    <a:cubicBezTo>
                      <a:pt x="291" y="48"/>
                      <a:pt x="291" y="49"/>
                      <a:pt x="291" y="49"/>
                    </a:cubicBezTo>
                    <a:cubicBezTo>
                      <a:pt x="291" y="49"/>
                      <a:pt x="290" y="49"/>
                      <a:pt x="290" y="50"/>
                    </a:cubicBezTo>
                    <a:cubicBezTo>
                      <a:pt x="290" y="50"/>
                      <a:pt x="289" y="50"/>
                      <a:pt x="289" y="50"/>
                    </a:cubicBezTo>
                    <a:cubicBezTo>
                      <a:pt x="288" y="50"/>
                      <a:pt x="288" y="51"/>
                      <a:pt x="288" y="51"/>
                    </a:cubicBezTo>
                    <a:cubicBezTo>
                      <a:pt x="288" y="51"/>
                      <a:pt x="289" y="51"/>
                      <a:pt x="289" y="52"/>
                    </a:cubicBezTo>
                    <a:cubicBezTo>
                      <a:pt x="289" y="52"/>
                      <a:pt x="289" y="52"/>
                      <a:pt x="289" y="52"/>
                    </a:cubicBezTo>
                    <a:cubicBezTo>
                      <a:pt x="288" y="52"/>
                      <a:pt x="287" y="52"/>
                      <a:pt x="286" y="53"/>
                    </a:cubicBezTo>
                    <a:cubicBezTo>
                      <a:pt x="286" y="54"/>
                      <a:pt x="285" y="55"/>
                      <a:pt x="284" y="55"/>
                    </a:cubicBezTo>
                    <a:cubicBezTo>
                      <a:pt x="283" y="55"/>
                      <a:pt x="283" y="56"/>
                      <a:pt x="282" y="56"/>
                    </a:cubicBezTo>
                    <a:cubicBezTo>
                      <a:pt x="281" y="56"/>
                      <a:pt x="280" y="56"/>
                      <a:pt x="280" y="56"/>
                    </a:cubicBezTo>
                    <a:cubicBezTo>
                      <a:pt x="279" y="56"/>
                      <a:pt x="279" y="56"/>
                      <a:pt x="278" y="56"/>
                    </a:cubicBezTo>
                    <a:cubicBezTo>
                      <a:pt x="278" y="55"/>
                      <a:pt x="277" y="55"/>
                      <a:pt x="276" y="55"/>
                    </a:cubicBezTo>
                    <a:cubicBezTo>
                      <a:pt x="276" y="55"/>
                      <a:pt x="276" y="54"/>
                      <a:pt x="275" y="55"/>
                    </a:cubicBezTo>
                    <a:cubicBezTo>
                      <a:pt x="275" y="55"/>
                      <a:pt x="275" y="55"/>
                      <a:pt x="275" y="55"/>
                    </a:cubicBezTo>
                    <a:cubicBezTo>
                      <a:pt x="275" y="55"/>
                      <a:pt x="274" y="55"/>
                      <a:pt x="274" y="55"/>
                    </a:cubicBezTo>
                    <a:cubicBezTo>
                      <a:pt x="273" y="54"/>
                      <a:pt x="273" y="55"/>
                      <a:pt x="273" y="55"/>
                    </a:cubicBezTo>
                    <a:cubicBezTo>
                      <a:pt x="272" y="57"/>
                      <a:pt x="271" y="55"/>
                      <a:pt x="270" y="55"/>
                    </a:cubicBezTo>
                    <a:cubicBezTo>
                      <a:pt x="269" y="54"/>
                      <a:pt x="268" y="54"/>
                      <a:pt x="268" y="54"/>
                    </a:cubicBezTo>
                    <a:cubicBezTo>
                      <a:pt x="267" y="54"/>
                      <a:pt x="267" y="54"/>
                      <a:pt x="266" y="54"/>
                    </a:cubicBezTo>
                    <a:cubicBezTo>
                      <a:pt x="265" y="54"/>
                      <a:pt x="265" y="54"/>
                      <a:pt x="264" y="54"/>
                    </a:cubicBezTo>
                    <a:cubicBezTo>
                      <a:pt x="264" y="54"/>
                      <a:pt x="264" y="54"/>
                      <a:pt x="263" y="54"/>
                    </a:cubicBezTo>
                    <a:cubicBezTo>
                      <a:pt x="263" y="53"/>
                      <a:pt x="261" y="54"/>
                      <a:pt x="260" y="54"/>
                    </a:cubicBezTo>
                    <a:cubicBezTo>
                      <a:pt x="259" y="54"/>
                      <a:pt x="259" y="53"/>
                      <a:pt x="258" y="53"/>
                    </a:cubicBezTo>
                    <a:cubicBezTo>
                      <a:pt x="258" y="52"/>
                      <a:pt x="258" y="52"/>
                      <a:pt x="259" y="51"/>
                    </a:cubicBezTo>
                    <a:cubicBezTo>
                      <a:pt x="259" y="51"/>
                      <a:pt x="257" y="52"/>
                      <a:pt x="257" y="52"/>
                    </a:cubicBezTo>
                    <a:cubicBezTo>
                      <a:pt x="257" y="52"/>
                      <a:pt x="256" y="52"/>
                      <a:pt x="255" y="51"/>
                    </a:cubicBezTo>
                    <a:cubicBezTo>
                      <a:pt x="255" y="51"/>
                      <a:pt x="254" y="50"/>
                      <a:pt x="253" y="51"/>
                    </a:cubicBezTo>
                    <a:cubicBezTo>
                      <a:pt x="253" y="51"/>
                      <a:pt x="253" y="51"/>
                      <a:pt x="253" y="50"/>
                    </a:cubicBezTo>
                    <a:cubicBezTo>
                      <a:pt x="253" y="51"/>
                      <a:pt x="252" y="51"/>
                      <a:pt x="252" y="51"/>
                    </a:cubicBezTo>
                    <a:cubicBezTo>
                      <a:pt x="252" y="52"/>
                      <a:pt x="252" y="52"/>
                      <a:pt x="252" y="53"/>
                    </a:cubicBezTo>
                    <a:cubicBezTo>
                      <a:pt x="252" y="53"/>
                      <a:pt x="252" y="54"/>
                      <a:pt x="251" y="54"/>
                    </a:cubicBezTo>
                    <a:cubicBezTo>
                      <a:pt x="251" y="54"/>
                      <a:pt x="251" y="55"/>
                      <a:pt x="251" y="54"/>
                    </a:cubicBezTo>
                    <a:cubicBezTo>
                      <a:pt x="251" y="54"/>
                      <a:pt x="251" y="54"/>
                      <a:pt x="251" y="54"/>
                    </a:cubicBezTo>
                    <a:cubicBezTo>
                      <a:pt x="250" y="55"/>
                      <a:pt x="250" y="57"/>
                      <a:pt x="250" y="57"/>
                    </a:cubicBezTo>
                    <a:cubicBezTo>
                      <a:pt x="249" y="56"/>
                      <a:pt x="248" y="57"/>
                      <a:pt x="248" y="56"/>
                    </a:cubicBezTo>
                    <a:cubicBezTo>
                      <a:pt x="247" y="55"/>
                      <a:pt x="248" y="54"/>
                      <a:pt x="247" y="54"/>
                    </a:cubicBezTo>
                    <a:cubicBezTo>
                      <a:pt x="247" y="54"/>
                      <a:pt x="247" y="55"/>
                      <a:pt x="247" y="56"/>
                    </a:cubicBezTo>
                    <a:cubicBezTo>
                      <a:pt x="247" y="57"/>
                      <a:pt x="245" y="57"/>
                      <a:pt x="245" y="58"/>
                    </a:cubicBezTo>
                    <a:cubicBezTo>
                      <a:pt x="244" y="58"/>
                      <a:pt x="245" y="59"/>
                      <a:pt x="245" y="59"/>
                    </a:cubicBezTo>
                    <a:cubicBezTo>
                      <a:pt x="244" y="60"/>
                      <a:pt x="244" y="60"/>
                      <a:pt x="244" y="60"/>
                    </a:cubicBezTo>
                    <a:cubicBezTo>
                      <a:pt x="243" y="60"/>
                      <a:pt x="243" y="61"/>
                      <a:pt x="243" y="61"/>
                    </a:cubicBezTo>
                    <a:cubicBezTo>
                      <a:pt x="243" y="62"/>
                      <a:pt x="243" y="62"/>
                      <a:pt x="243" y="62"/>
                    </a:cubicBezTo>
                    <a:cubicBezTo>
                      <a:pt x="243" y="63"/>
                      <a:pt x="242" y="62"/>
                      <a:pt x="242" y="63"/>
                    </a:cubicBezTo>
                    <a:cubicBezTo>
                      <a:pt x="242" y="63"/>
                      <a:pt x="243" y="64"/>
                      <a:pt x="243" y="64"/>
                    </a:cubicBezTo>
                    <a:cubicBezTo>
                      <a:pt x="243" y="65"/>
                      <a:pt x="243" y="67"/>
                      <a:pt x="242" y="66"/>
                    </a:cubicBezTo>
                    <a:cubicBezTo>
                      <a:pt x="242" y="66"/>
                      <a:pt x="242" y="65"/>
                      <a:pt x="241" y="65"/>
                    </a:cubicBezTo>
                    <a:cubicBezTo>
                      <a:pt x="241" y="65"/>
                      <a:pt x="241" y="65"/>
                      <a:pt x="241" y="66"/>
                    </a:cubicBezTo>
                    <a:cubicBezTo>
                      <a:pt x="241" y="66"/>
                      <a:pt x="241" y="67"/>
                      <a:pt x="242" y="67"/>
                    </a:cubicBezTo>
                    <a:cubicBezTo>
                      <a:pt x="242" y="66"/>
                      <a:pt x="243" y="67"/>
                      <a:pt x="242" y="67"/>
                    </a:cubicBezTo>
                    <a:cubicBezTo>
                      <a:pt x="242" y="69"/>
                      <a:pt x="242" y="70"/>
                      <a:pt x="242" y="71"/>
                    </a:cubicBezTo>
                    <a:cubicBezTo>
                      <a:pt x="242" y="72"/>
                      <a:pt x="243" y="73"/>
                      <a:pt x="243" y="74"/>
                    </a:cubicBezTo>
                    <a:cubicBezTo>
                      <a:pt x="243" y="74"/>
                      <a:pt x="243" y="75"/>
                      <a:pt x="242" y="74"/>
                    </a:cubicBezTo>
                    <a:cubicBezTo>
                      <a:pt x="242" y="74"/>
                      <a:pt x="242" y="73"/>
                      <a:pt x="242" y="72"/>
                    </a:cubicBezTo>
                    <a:cubicBezTo>
                      <a:pt x="241" y="73"/>
                      <a:pt x="241" y="74"/>
                      <a:pt x="240" y="74"/>
                    </a:cubicBezTo>
                    <a:cubicBezTo>
                      <a:pt x="239" y="75"/>
                      <a:pt x="239" y="76"/>
                      <a:pt x="239" y="77"/>
                    </a:cubicBezTo>
                    <a:cubicBezTo>
                      <a:pt x="239" y="78"/>
                      <a:pt x="238" y="78"/>
                      <a:pt x="238" y="79"/>
                    </a:cubicBezTo>
                    <a:cubicBezTo>
                      <a:pt x="238" y="80"/>
                      <a:pt x="237" y="81"/>
                      <a:pt x="237" y="82"/>
                    </a:cubicBezTo>
                    <a:cubicBezTo>
                      <a:pt x="238" y="83"/>
                      <a:pt x="237" y="84"/>
                      <a:pt x="238" y="85"/>
                    </a:cubicBezTo>
                    <a:cubicBezTo>
                      <a:pt x="238" y="85"/>
                      <a:pt x="238" y="87"/>
                      <a:pt x="237" y="87"/>
                    </a:cubicBezTo>
                    <a:cubicBezTo>
                      <a:pt x="236" y="87"/>
                      <a:pt x="236" y="88"/>
                      <a:pt x="236" y="89"/>
                    </a:cubicBezTo>
                    <a:cubicBezTo>
                      <a:pt x="235" y="90"/>
                      <a:pt x="236" y="91"/>
                      <a:pt x="236" y="92"/>
                    </a:cubicBezTo>
                    <a:cubicBezTo>
                      <a:pt x="236" y="92"/>
                      <a:pt x="235" y="93"/>
                      <a:pt x="235" y="93"/>
                    </a:cubicBezTo>
                    <a:cubicBezTo>
                      <a:pt x="234" y="93"/>
                      <a:pt x="234" y="94"/>
                      <a:pt x="234" y="94"/>
                    </a:cubicBezTo>
                    <a:cubicBezTo>
                      <a:pt x="234" y="94"/>
                      <a:pt x="233" y="95"/>
                      <a:pt x="233" y="95"/>
                    </a:cubicBezTo>
                    <a:close/>
                    <a:moveTo>
                      <a:pt x="95" y="129"/>
                    </a:moveTo>
                    <a:cubicBezTo>
                      <a:pt x="96" y="129"/>
                      <a:pt x="95" y="128"/>
                      <a:pt x="95" y="128"/>
                    </a:cubicBezTo>
                    <a:cubicBezTo>
                      <a:pt x="95" y="128"/>
                      <a:pt x="95" y="129"/>
                      <a:pt x="95" y="129"/>
                    </a:cubicBezTo>
                    <a:close/>
                    <a:moveTo>
                      <a:pt x="133" y="150"/>
                    </a:moveTo>
                    <a:cubicBezTo>
                      <a:pt x="133" y="150"/>
                      <a:pt x="133" y="150"/>
                      <a:pt x="133" y="150"/>
                    </a:cubicBezTo>
                    <a:cubicBezTo>
                      <a:pt x="133" y="150"/>
                      <a:pt x="134" y="150"/>
                      <a:pt x="134" y="150"/>
                    </a:cubicBezTo>
                    <a:cubicBezTo>
                      <a:pt x="134" y="150"/>
                      <a:pt x="135" y="151"/>
                      <a:pt x="135" y="151"/>
                    </a:cubicBezTo>
                    <a:cubicBezTo>
                      <a:pt x="135" y="150"/>
                      <a:pt x="133" y="150"/>
                      <a:pt x="133" y="150"/>
                    </a:cubicBezTo>
                    <a:close/>
                    <a:moveTo>
                      <a:pt x="36" y="47"/>
                    </a:moveTo>
                    <a:cubicBezTo>
                      <a:pt x="36" y="47"/>
                      <a:pt x="35" y="47"/>
                      <a:pt x="35" y="47"/>
                    </a:cubicBezTo>
                    <a:cubicBezTo>
                      <a:pt x="35" y="46"/>
                      <a:pt x="35" y="47"/>
                      <a:pt x="35" y="47"/>
                    </a:cubicBezTo>
                    <a:cubicBezTo>
                      <a:pt x="35" y="47"/>
                      <a:pt x="36" y="47"/>
                      <a:pt x="36" y="47"/>
                    </a:cubicBezTo>
                    <a:cubicBezTo>
                      <a:pt x="37" y="47"/>
                      <a:pt x="36" y="47"/>
                      <a:pt x="36" y="47"/>
                    </a:cubicBezTo>
                    <a:close/>
                    <a:moveTo>
                      <a:pt x="47" y="89"/>
                    </a:moveTo>
                    <a:cubicBezTo>
                      <a:pt x="47" y="88"/>
                      <a:pt x="46" y="87"/>
                      <a:pt x="45" y="88"/>
                    </a:cubicBezTo>
                    <a:cubicBezTo>
                      <a:pt x="45" y="88"/>
                      <a:pt x="46" y="89"/>
                      <a:pt x="46" y="89"/>
                    </a:cubicBezTo>
                    <a:cubicBezTo>
                      <a:pt x="46" y="89"/>
                      <a:pt x="45" y="89"/>
                      <a:pt x="45" y="89"/>
                    </a:cubicBezTo>
                    <a:cubicBezTo>
                      <a:pt x="45" y="89"/>
                      <a:pt x="46" y="90"/>
                      <a:pt x="46" y="90"/>
                    </a:cubicBezTo>
                    <a:cubicBezTo>
                      <a:pt x="46" y="90"/>
                      <a:pt x="48" y="91"/>
                      <a:pt x="48" y="91"/>
                    </a:cubicBezTo>
                    <a:cubicBezTo>
                      <a:pt x="49" y="91"/>
                      <a:pt x="48" y="90"/>
                      <a:pt x="48" y="90"/>
                    </a:cubicBezTo>
                    <a:cubicBezTo>
                      <a:pt x="47" y="89"/>
                      <a:pt x="47" y="89"/>
                      <a:pt x="47" y="89"/>
                    </a:cubicBezTo>
                    <a:close/>
                    <a:moveTo>
                      <a:pt x="275" y="78"/>
                    </a:moveTo>
                    <a:cubicBezTo>
                      <a:pt x="275" y="78"/>
                      <a:pt x="275" y="78"/>
                      <a:pt x="274" y="78"/>
                    </a:cubicBezTo>
                    <a:cubicBezTo>
                      <a:pt x="274" y="78"/>
                      <a:pt x="274" y="78"/>
                      <a:pt x="273" y="78"/>
                    </a:cubicBezTo>
                    <a:cubicBezTo>
                      <a:pt x="273" y="78"/>
                      <a:pt x="272" y="78"/>
                      <a:pt x="272" y="79"/>
                    </a:cubicBezTo>
                    <a:cubicBezTo>
                      <a:pt x="272" y="79"/>
                      <a:pt x="271" y="80"/>
                      <a:pt x="272" y="81"/>
                    </a:cubicBezTo>
                    <a:cubicBezTo>
                      <a:pt x="272" y="82"/>
                      <a:pt x="272" y="83"/>
                      <a:pt x="273" y="83"/>
                    </a:cubicBezTo>
                    <a:cubicBezTo>
                      <a:pt x="273" y="82"/>
                      <a:pt x="273" y="81"/>
                      <a:pt x="274" y="81"/>
                    </a:cubicBezTo>
                    <a:cubicBezTo>
                      <a:pt x="274" y="80"/>
                      <a:pt x="274" y="80"/>
                      <a:pt x="274" y="80"/>
                    </a:cubicBezTo>
                    <a:cubicBezTo>
                      <a:pt x="274" y="80"/>
                      <a:pt x="275" y="80"/>
                      <a:pt x="275" y="80"/>
                    </a:cubicBezTo>
                    <a:cubicBezTo>
                      <a:pt x="275" y="80"/>
                      <a:pt x="275" y="81"/>
                      <a:pt x="275" y="81"/>
                    </a:cubicBezTo>
                    <a:cubicBezTo>
                      <a:pt x="275" y="82"/>
                      <a:pt x="275" y="82"/>
                      <a:pt x="275" y="82"/>
                    </a:cubicBezTo>
                    <a:cubicBezTo>
                      <a:pt x="274" y="83"/>
                      <a:pt x="276" y="83"/>
                      <a:pt x="276" y="83"/>
                    </a:cubicBezTo>
                    <a:cubicBezTo>
                      <a:pt x="276" y="83"/>
                      <a:pt x="276" y="82"/>
                      <a:pt x="276" y="81"/>
                    </a:cubicBezTo>
                    <a:cubicBezTo>
                      <a:pt x="276" y="81"/>
                      <a:pt x="277" y="83"/>
                      <a:pt x="278" y="81"/>
                    </a:cubicBezTo>
                    <a:cubicBezTo>
                      <a:pt x="278" y="81"/>
                      <a:pt x="279" y="80"/>
                      <a:pt x="279" y="79"/>
                    </a:cubicBezTo>
                    <a:cubicBezTo>
                      <a:pt x="278" y="79"/>
                      <a:pt x="278" y="79"/>
                      <a:pt x="278" y="79"/>
                    </a:cubicBezTo>
                    <a:cubicBezTo>
                      <a:pt x="277" y="79"/>
                      <a:pt x="277" y="78"/>
                      <a:pt x="277" y="79"/>
                    </a:cubicBezTo>
                    <a:cubicBezTo>
                      <a:pt x="277" y="79"/>
                      <a:pt x="276" y="81"/>
                      <a:pt x="276" y="80"/>
                    </a:cubicBezTo>
                    <a:cubicBezTo>
                      <a:pt x="275" y="80"/>
                      <a:pt x="275" y="79"/>
                      <a:pt x="275" y="79"/>
                    </a:cubicBezTo>
                    <a:cubicBezTo>
                      <a:pt x="276" y="79"/>
                      <a:pt x="275" y="78"/>
                      <a:pt x="275" y="78"/>
                    </a:cubicBezTo>
                    <a:close/>
                    <a:moveTo>
                      <a:pt x="289" y="155"/>
                    </a:moveTo>
                    <a:cubicBezTo>
                      <a:pt x="288" y="155"/>
                      <a:pt x="287" y="155"/>
                      <a:pt x="287" y="155"/>
                    </a:cubicBezTo>
                    <a:cubicBezTo>
                      <a:pt x="286" y="155"/>
                      <a:pt x="286" y="155"/>
                      <a:pt x="286" y="155"/>
                    </a:cubicBezTo>
                    <a:cubicBezTo>
                      <a:pt x="285" y="155"/>
                      <a:pt x="286" y="155"/>
                      <a:pt x="285" y="155"/>
                    </a:cubicBezTo>
                    <a:cubicBezTo>
                      <a:pt x="285" y="155"/>
                      <a:pt x="285" y="155"/>
                      <a:pt x="284" y="155"/>
                    </a:cubicBezTo>
                    <a:cubicBezTo>
                      <a:pt x="284" y="155"/>
                      <a:pt x="283" y="156"/>
                      <a:pt x="283" y="156"/>
                    </a:cubicBezTo>
                    <a:cubicBezTo>
                      <a:pt x="284" y="156"/>
                      <a:pt x="285" y="155"/>
                      <a:pt x="285" y="156"/>
                    </a:cubicBezTo>
                    <a:cubicBezTo>
                      <a:pt x="285" y="156"/>
                      <a:pt x="283" y="157"/>
                      <a:pt x="283" y="157"/>
                    </a:cubicBezTo>
                    <a:cubicBezTo>
                      <a:pt x="282" y="158"/>
                      <a:pt x="283" y="159"/>
                      <a:pt x="284" y="158"/>
                    </a:cubicBezTo>
                    <a:cubicBezTo>
                      <a:pt x="284" y="158"/>
                      <a:pt x="284" y="158"/>
                      <a:pt x="285" y="158"/>
                    </a:cubicBezTo>
                    <a:cubicBezTo>
                      <a:pt x="285" y="158"/>
                      <a:pt x="286" y="158"/>
                      <a:pt x="286" y="158"/>
                    </a:cubicBezTo>
                    <a:cubicBezTo>
                      <a:pt x="287" y="158"/>
                      <a:pt x="288" y="157"/>
                      <a:pt x="289" y="157"/>
                    </a:cubicBezTo>
                    <a:cubicBezTo>
                      <a:pt x="290" y="157"/>
                      <a:pt x="291" y="157"/>
                      <a:pt x="291" y="156"/>
                    </a:cubicBezTo>
                    <a:cubicBezTo>
                      <a:pt x="290" y="155"/>
                      <a:pt x="289" y="155"/>
                      <a:pt x="289" y="155"/>
                    </a:cubicBezTo>
                    <a:close/>
                    <a:moveTo>
                      <a:pt x="92" y="61"/>
                    </a:moveTo>
                    <a:cubicBezTo>
                      <a:pt x="92" y="61"/>
                      <a:pt x="92" y="61"/>
                      <a:pt x="92" y="61"/>
                    </a:cubicBezTo>
                    <a:cubicBezTo>
                      <a:pt x="92" y="62"/>
                      <a:pt x="94" y="62"/>
                      <a:pt x="92" y="61"/>
                    </a:cubicBezTo>
                    <a:close/>
                    <a:moveTo>
                      <a:pt x="357" y="118"/>
                    </a:moveTo>
                    <a:cubicBezTo>
                      <a:pt x="357" y="117"/>
                      <a:pt x="357" y="117"/>
                      <a:pt x="357" y="117"/>
                    </a:cubicBezTo>
                    <a:cubicBezTo>
                      <a:pt x="357" y="117"/>
                      <a:pt x="357" y="117"/>
                      <a:pt x="357" y="118"/>
                    </a:cubicBezTo>
                    <a:close/>
                    <a:moveTo>
                      <a:pt x="115" y="98"/>
                    </a:moveTo>
                    <a:cubicBezTo>
                      <a:pt x="115" y="98"/>
                      <a:pt x="116" y="99"/>
                      <a:pt x="116" y="99"/>
                    </a:cubicBezTo>
                    <a:cubicBezTo>
                      <a:pt x="116" y="99"/>
                      <a:pt x="117" y="98"/>
                      <a:pt x="117" y="98"/>
                    </a:cubicBezTo>
                    <a:cubicBezTo>
                      <a:pt x="117" y="97"/>
                      <a:pt x="116" y="97"/>
                      <a:pt x="116" y="97"/>
                    </a:cubicBezTo>
                    <a:cubicBezTo>
                      <a:pt x="116" y="97"/>
                      <a:pt x="115" y="97"/>
                      <a:pt x="115" y="98"/>
                    </a:cubicBezTo>
                    <a:close/>
                    <a:moveTo>
                      <a:pt x="354" y="109"/>
                    </a:moveTo>
                    <a:cubicBezTo>
                      <a:pt x="354" y="108"/>
                      <a:pt x="354" y="110"/>
                      <a:pt x="354" y="110"/>
                    </a:cubicBezTo>
                    <a:cubicBezTo>
                      <a:pt x="354" y="110"/>
                      <a:pt x="354" y="109"/>
                      <a:pt x="354" y="109"/>
                    </a:cubicBezTo>
                    <a:close/>
                    <a:moveTo>
                      <a:pt x="83" y="54"/>
                    </a:moveTo>
                    <a:cubicBezTo>
                      <a:pt x="83" y="54"/>
                      <a:pt x="83" y="54"/>
                      <a:pt x="83" y="53"/>
                    </a:cubicBezTo>
                    <a:cubicBezTo>
                      <a:pt x="83" y="53"/>
                      <a:pt x="83" y="53"/>
                      <a:pt x="83" y="53"/>
                    </a:cubicBezTo>
                    <a:cubicBezTo>
                      <a:pt x="83" y="53"/>
                      <a:pt x="82" y="53"/>
                      <a:pt x="82" y="54"/>
                    </a:cubicBezTo>
                    <a:cubicBezTo>
                      <a:pt x="82" y="54"/>
                      <a:pt x="84" y="55"/>
                      <a:pt x="83" y="54"/>
                    </a:cubicBezTo>
                    <a:close/>
                    <a:moveTo>
                      <a:pt x="201" y="119"/>
                    </a:moveTo>
                    <a:cubicBezTo>
                      <a:pt x="201" y="118"/>
                      <a:pt x="200" y="121"/>
                      <a:pt x="201" y="119"/>
                    </a:cubicBezTo>
                    <a:close/>
                    <a:moveTo>
                      <a:pt x="266" y="125"/>
                    </a:moveTo>
                    <a:cubicBezTo>
                      <a:pt x="267" y="125"/>
                      <a:pt x="267" y="124"/>
                      <a:pt x="267" y="123"/>
                    </a:cubicBezTo>
                    <a:cubicBezTo>
                      <a:pt x="267" y="123"/>
                      <a:pt x="267" y="125"/>
                      <a:pt x="267" y="125"/>
                    </a:cubicBezTo>
                    <a:cubicBezTo>
                      <a:pt x="268" y="125"/>
                      <a:pt x="268" y="125"/>
                      <a:pt x="268" y="125"/>
                    </a:cubicBezTo>
                    <a:cubicBezTo>
                      <a:pt x="268" y="124"/>
                      <a:pt x="268" y="124"/>
                      <a:pt x="268" y="124"/>
                    </a:cubicBezTo>
                    <a:cubicBezTo>
                      <a:pt x="268" y="123"/>
                      <a:pt x="268" y="123"/>
                      <a:pt x="268" y="123"/>
                    </a:cubicBezTo>
                    <a:cubicBezTo>
                      <a:pt x="268" y="123"/>
                      <a:pt x="268" y="123"/>
                      <a:pt x="268" y="122"/>
                    </a:cubicBezTo>
                    <a:cubicBezTo>
                      <a:pt x="268" y="122"/>
                      <a:pt x="268" y="122"/>
                      <a:pt x="268" y="122"/>
                    </a:cubicBezTo>
                    <a:cubicBezTo>
                      <a:pt x="268" y="122"/>
                      <a:pt x="268" y="122"/>
                      <a:pt x="268" y="121"/>
                    </a:cubicBezTo>
                    <a:cubicBezTo>
                      <a:pt x="268" y="121"/>
                      <a:pt x="269" y="121"/>
                      <a:pt x="269" y="120"/>
                    </a:cubicBezTo>
                    <a:cubicBezTo>
                      <a:pt x="270" y="119"/>
                      <a:pt x="270" y="119"/>
                      <a:pt x="270" y="117"/>
                    </a:cubicBezTo>
                    <a:cubicBezTo>
                      <a:pt x="270" y="117"/>
                      <a:pt x="270" y="116"/>
                      <a:pt x="269" y="116"/>
                    </a:cubicBezTo>
                    <a:cubicBezTo>
                      <a:pt x="268" y="117"/>
                      <a:pt x="268" y="117"/>
                      <a:pt x="267" y="117"/>
                    </a:cubicBezTo>
                    <a:cubicBezTo>
                      <a:pt x="266" y="117"/>
                      <a:pt x="265" y="119"/>
                      <a:pt x="266" y="119"/>
                    </a:cubicBezTo>
                    <a:cubicBezTo>
                      <a:pt x="266" y="120"/>
                      <a:pt x="266" y="120"/>
                      <a:pt x="266" y="121"/>
                    </a:cubicBezTo>
                    <a:cubicBezTo>
                      <a:pt x="266" y="121"/>
                      <a:pt x="265" y="122"/>
                      <a:pt x="265" y="122"/>
                    </a:cubicBezTo>
                    <a:cubicBezTo>
                      <a:pt x="265" y="123"/>
                      <a:pt x="264" y="125"/>
                      <a:pt x="265" y="125"/>
                    </a:cubicBezTo>
                    <a:cubicBezTo>
                      <a:pt x="266" y="125"/>
                      <a:pt x="266" y="123"/>
                      <a:pt x="266" y="124"/>
                    </a:cubicBezTo>
                    <a:cubicBezTo>
                      <a:pt x="266" y="124"/>
                      <a:pt x="266" y="125"/>
                      <a:pt x="266" y="125"/>
                    </a:cubicBezTo>
                    <a:close/>
                    <a:moveTo>
                      <a:pt x="269" y="127"/>
                    </a:moveTo>
                    <a:cubicBezTo>
                      <a:pt x="269" y="127"/>
                      <a:pt x="269" y="128"/>
                      <a:pt x="269" y="128"/>
                    </a:cubicBezTo>
                    <a:cubicBezTo>
                      <a:pt x="269" y="127"/>
                      <a:pt x="270" y="128"/>
                      <a:pt x="270" y="127"/>
                    </a:cubicBezTo>
                    <a:cubicBezTo>
                      <a:pt x="270" y="127"/>
                      <a:pt x="271" y="127"/>
                      <a:pt x="271" y="126"/>
                    </a:cubicBezTo>
                    <a:cubicBezTo>
                      <a:pt x="271" y="126"/>
                      <a:pt x="271" y="126"/>
                      <a:pt x="270" y="126"/>
                    </a:cubicBezTo>
                    <a:cubicBezTo>
                      <a:pt x="270" y="125"/>
                      <a:pt x="271" y="124"/>
                      <a:pt x="272" y="125"/>
                    </a:cubicBezTo>
                    <a:cubicBezTo>
                      <a:pt x="272" y="125"/>
                      <a:pt x="274" y="124"/>
                      <a:pt x="274" y="123"/>
                    </a:cubicBezTo>
                    <a:cubicBezTo>
                      <a:pt x="274" y="123"/>
                      <a:pt x="272" y="122"/>
                      <a:pt x="272" y="122"/>
                    </a:cubicBezTo>
                    <a:cubicBezTo>
                      <a:pt x="272" y="122"/>
                      <a:pt x="272" y="123"/>
                      <a:pt x="271" y="122"/>
                    </a:cubicBezTo>
                    <a:cubicBezTo>
                      <a:pt x="271" y="122"/>
                      <a:pt x="272" y="121"/>
                      <a:pt x="272" y="121"/>
                    </a:cubicBezTo>
                    <a:cubicBezTo>
                      <a:pt x="272" y="121"/>
                      <a:pt x="271" y="120"/>
                      <a:pt x="272" y="120"/>
                    </a:cubicBezTo>
                    <a:cubicBezTo>
                      <a:pt x="272" y="119"/>
                      <a:pt x="272" y="120"/>
                      <a:pt x="272" y="119"/>
                    </a:cubicBezTo>
                    <a:cubicBezTo>
                      <a:pt x="272" y="119"/>
                      <a:pt x="272" y="119"/>
                      <a:pt x="272" y="119"/>
                    </a:cubicBezTo>
                    <a:cubicBezTo>
                      <a:pt x="272" y="118"/>
                      <a:pt x="272" y="118"/>
                      <a:pt x="273" y="117"/>
                    </a:cubicBezTo>
                    <a:cubicBezTo>
                      <a:pt x="273" y="117"/>
                      <a:pt x="273" y="118"/>
                      <a:pt x="273" y="118"/>
                    </a:cubicBezTo>
                    <a:cubicBezTo>
                      <a:pt x="273" y="118"/>
                      <a:pt x="273" y="117"/>
                      <a:pt x="273" y="117"/>
                    </a:cubicBezTo>
                    <a:cubicBezTo>
                      <a:pt x="274" y="117"/>
                      <a:pt x="274" y="118"/>
                      <a:pt x="274" y="118"/>
                    </a:cubicBezTo>
                    <a:cubicBezTo>
                      <a:pt x="274" y="119"/>
                      <a:pt x="274" y="118"/>
                      <a:pt x="274" y="118"/>
                    </a:cubicBezTo>
                    <a:cubicBezTo>
                      <a:pt x="274" y="117"/>
                      <a:pt x="274" y="117"/>
                      <a:pt x="274" y="116"/>
                    </a:cubicBezTo>
                    <a:cubicBezTo>
                      <a:pt x="274" y="116"/>
                      <a:pt x="274" y="116"/>
                      <a:pt x="274" y="115"/>
                    </a:cubicBezTo>
                    <a:cubicBezTo>
                      <a:pt x="274" y="115"/>
                      <a:pt x="273" y="114"/>
                      <a:pt x="273" y="114"/>
                    </a:cubicBezTo>
                    <a:cubicBezTo>
                      <a:pt x="273" y="113"/>
                      <a:pt x="272" y="114"/>
                      <a:pt x="272" y="114"/>
                    </a:cubicBezTo>
                    <a:cubicBezTo>
                      <a:pt x="271" y="114"/>
                      <a:pt x="271" y="115"/>
                      <a:pt x="271" y="116"/>
                    </a:cubicBezTo>
                    <a:cubicBezTo>
                      <a:pt x="270" y="117"/>
                      <a:pt x="271" y="118"/>
                      <a:pt x="270" y="119"/>
                    </a:cubicBezTo>
                    <a:cubicBezTo>
                      <a:pt x="270" y="119"/>
                      <a:pt x="270" y="120"/>
                      <a:pt x="270" y="120"/>
                    </a:cubicBezTo>
                    <a:cubicBezTo>
                      <a:pt x="270" y="120"/>
                      <a:pt x="270" y="120"/>
                      <a:pt x="270" y="121"/>
                    </a:cubicBezTo>
                    <a:cubicBezTo>
                      <a:pt x="270" y="120"/>
                      <a:pt x="269" y="122"/>
                      <a:pt x="269" y="123"/>
                    </a:cubicBezTo>
                    <a:cubicBezTo>
                      <a:pt x="270" y="122"/>
                      <a:pt x="270" y="122"/>
                      <a:pt x="270" y="122"/>
                    </a:cubicBezTo>
                    <a:cubicBezTo>
                      <a:pt x="270" y="123"/>
                      <a:pt x="269" y="123"/>
                      <a:pt x="269" y="123"/>
                    </a:cubicBezTo>
                    <a:cubicBezTo>
                      <a:pt x="269" y="123"/>
                      <a:pt x="269" y="124"/>
                      <a:pt x="269" y="124"/>
                    </a:cubicBezTo>
                    <a:cubicBezTo>
                      <a:pt x="268" y="124"/>
                      <a:pt x="268" y="125"/>
                      <a:pt x="268" y="125"/>
                    </a:cubicBezTo>
                    <a:cubicBezTo>
                      <a:pt x="267" y="126"/>
                      <a:pt x="268" y="127"/>
                      <a:pt x="268" y="128"/>
                    </a:cubicBezTo>
                    <a:cubicBezTo>
                      <a:pt x="268" y="128"/>
                      <a:pt x="269" y="127"/>
                      <a:pt x="269" y="127"/>
                    </a:cubicBezTo>
                    <a:close/>
                    <a:moveTo>
                      <a:pt x="123" y="54"/>
                    </a:moveTo>
                    <a:cubicBezTo>
                      <a:pt x="123" y="54"/>
                      <a:pt x="124" y="55"/>
                      <a:pt x="123" y="55"/>
                    </a:cubicBezTo>
                    <a:cubicBezTo>
                      <a:pt x="124" y="54"/>
                      <a:pt x="123" y="53"/>
                      <a:pt x="123" y="54"/>
                    </a:cubicBezTo>
                    <a:close/>
                    <a:moveTo>
                      <a:pt x="87" y="57"/>
                    </a:moveTo>
                    <a:cubicBezTo>
                      <a:pt x="87" y="56"/>
                      <a:pt x="86" y="55"/>
                      <a:pt x="86" y="56"/>
                    </a:cubicBezTo>
                    <a:cubicBezTo>
                      <a:pt x="86" y="56"/>
                      <a:pt x="87" y="57"/>
                      <a:pt x="87" y="57"/>
                    </a:cubicBezTo>
                    <a:close/>
                    <a:moveTo>
                      <a:pt x="398" y="76"/>
                    </a:moveTo>
                    <a:cubicBezTo>
                      <a:pt x="398" y="77"/>
                      <a:pt x="398" y="78"/>
                      <a:pt x="398" y="78"/>
                    </a:cubicBezTo>
                    <a:cubicBezTo>
                      <a:pt x="399" y="79"/>
                      <a:pt x="399" y="78"/>
                      <a:pt x="400" y="78"/>
                    </a:cubicBezTo>
                    <a:cubicBezTo>
                      <a:pt x="400" y="79"/>
                      <a:pt x="401" y="79"/>
                      <a:pt x="401" y="79"/>
                    </a:cubicBezTo>
                    <a:cubicBezTo>
                      <a:pt x="401" y="79"/>
                      <a:pt x="403" y="78"/>
                      <a:pt x="403" y="78"/>
                    </a:cubicBezTo>
                    <a:cubicBezTo>
                      <a:pt x="403" y="77"/>
                      <a:pt x="403" y="78"/>
                      <a:pt x="403" y="77"/>
                    </a:cubicBezTo>
                    <a:cubicBezTo>
                      <a:pt x="403" y="77"/>
                      <a:pt x="402" y="77"/>
                      <a:pt x="402" y="77"/>
                    </a:cubicBezTo>
                    <a:cubicBezTo>
                      <a:pt x="402" y="77"/>
                      <a:pt x="402" y="77"/>
                      <a:pt x="401" y="77"/>
                    </a:cubicBezTo>
                    <a:cubicBezTo>
                      <a:pt x="401" y="77"/>
                      <a:pt x="401" y="75"/>
                      <a:pt x="400" y="75"/>
                    </a:cubicBezTo>
                    <a:cubicBezTo>
                      <a:pt x="401" y="75"/>
                      <a:pt x="399" y="74"/>
                      <a:pt x="399" y="74"/>
                    </a:cubicBezTo>
                    <a:cubicBezTo>
                      <a:pt x="399" y="74"/>
                      <a:pt x="399" y="73"/>
                      <a:pt x="398" y="73"/>
                    </a:cubicBezTo>
                    <a:cubicBezTo>
                      <a:pt x="398" y="73"/>
                      <a:pt x="398" y="73"/>
                      <a:pt x="397" y="74"/>
                    </a:cubicBezTo>
                    <a:cubicBezTo>
                      <a:pt x="397" y="74"/>
                      <a:pt x="398" y="75"/>
                      <a:pt x="398" y="76"/>
                    </a:cubicBezTo>
                    <a:close/>
                    <a:moveTo>
                      <a:pt x="370" y="124"/>
                    </a:moveTo>
                    <a:cubicBezTo>
                      <a:pt x="369" y="124"/>
                      <a:pt x="369" y="125"/>
                      <a:pt x="369" y="126"/>
                    </a:cubicBezTo>
                    <a:cubicBezTo>
                      <a:pt x="369" y="126"/>
                      <a:pt x="369" y="127"/>
                      <a:pt x="368" y="127"/>
                    </a:cubicBezTo>
                    <a:cubicBezTo>
                      <a:pt x="368" y="127"/>
                      <a:pt x="368" y="128"/>
                      <a:pt x="368" y="129"/>
                    </a:cubicBezTo>
                    <a:cubicBezTo>
                      <a:pt x="367" y="130"/>
                      <a:pt x="367" y="130"/>
                      <a:pt x="367" y="131"/>
                    </a:cubicBezTo>
                    <a:cubicBezTo>
                      <a:pt x="367" y="131"/>
                      <a:pt x="368" y="130"/>
                      <a:pt x="368" y="129"/>
                    </a:cubicBezTo>
                    <a:cubicBezTo>
                      <a:pt x="368" y="128"/>
                      <a:pt x="368" y="128"/>
                      <a:pt x="369" y="127"/>
                    </a:cubicBezTo>
                    <a:cubicBezTo>
                      <a:pt x="370" y="127"/>
                      <a:pt x="370" y="126"/>
                      <a:pt x="370" y="125"/>
                    </a:cubicBezTo>
                    <a:cubicBezTo>
                      <a:pt x="370" y="125"/>
                      <a:pt x="371" y="123"/>
                      <a:pt x="370" y="124"/>
                    </a:cubicBezTo>
                    <a:close/>
                    <a:moveTo>
                      <a:pt x="316" y="56"/>
                    </a:moveTo>
                    <a:cubicBezTo>
                      <a:pt x="315" y="55"/>
                      <a:pt x="315" y="57"/>
                      <a:pt x="315" y="57"/>
                    </a:cubicBezTo>
                    <a:cubicBezTo>
                      <a:pt x="316" y="57"/>
                      <a:pt x="316" y="56"/>
                      <a:pt x="316" y="56"/>
                    </a:cubicBezTo>
                    <a:close/>
                    <a:moveTo>
                      <a:pt x="74" y="55"/>
                    </a:moveTo>
                    <a:cubicBezTo>
                      <a:pt x="74" y="55"/>
                      <a:pt x="73" y="55"/>
                      <a:pt x="74" y="56"/>
                    </a:cubicBezTo>
                    <a:cubicBezTo>
                      <a:pt x="75" y="57"/>
                      <a:pt x="75" y="57"/>
                      <a:pt x="77" y="57"/>
                    </a:cubicBezTo>
                    <a:cubicBezTo>
                      <a:pt x="77" y="57"/>
                      <a:pt x="78" y="56"/>
                      <a:pt x="79" y="57"/>
                    </a:cubicBezTo>
                    <a:cubicBezTo>
                      <a:pt x="80" y="58"/>
                      <a:pt x="80" y="57"/>
                      <a:pt x="80" y="57"/>
                    </a:cubicBezTo>
                    <a:cubicBezTo>
                      <a:pt x="80" y="56"/>
                      <a:pt x="78" y="55"/>
                      <a:pt x="78" y="55"/>
                    </a:cubicBezTo>
                    <a:cubicBezTo>
                      <a:pt x="77" y="54"/>
                      <a:pt x="77" y="54"/>
                      <a:pt x="77" y="54"/>
                    </a:cubicBezTo>
                    <a:cubicBezTo>
                      <a:pt x="76" y="54"/>
                      <a:pt x="76" y="55"/>
                      <a:pt x="76" y="54"/>
                    </a:cubicBezTo>
                    <a:cubicBezTo>
                      <a:pt x="75" y="54"/>
                      <a:pt x="75" y="52"/>
                      <a:pt x="74" y="53"/>
                    </a:cubicBezTo>
                    <a:cubicBezTo>
                      <a:pt x="74" y="53"/>
                      <a:pt x="74" y="54"/>
                      <a:pt x="74" y="55"/>
                    </a:cubicBezTo>
                    <a:close/>
                    <a:moveTo>
                      <a:pt x="356" y="94"/>
                    </a:moveTo>
                    <a:cubicBezTo>
                      <a:pt x="356" y="94"/>
                      <a:pt x="357" y="94"/>
                      <a:pt x="357" y="94"/>
                    </a:cubicBezTo>
                    <a:cubicBezTo>
                      <a:pt x="357" y="94"/>
                      <a:pt x="356" y="94"/>
                      <a:pt x="356" y="94"/>
                    </a:cubicBezTo>
                    <a:close/>
                    <a:moveTo>
                      <a:pt x="246" y="174"/>
                    </a:moveTo>
                    <a:cubicBezTo>
                      <a:pt x="246" y="174"/>
                      <a:pt x="246" y="173"/>
                      <a:pt x="246" y="173"/>
                    </a:cubicBezTo>
                    <a:cubicBezTo>
                      <a:pt x="245" y="172"/>
                      <a:pt x="245" y="172"/>
                      <a:pt x="245" y="172"/>
                    </a:cubicBezTo>
                    <a:cubicBezTo>
                      <a:pt x="244" y="172"/>
                      <a:pt x="244" y="171"/>
                      <a:pt x="244" y="171"/>
                    </a:cubicBezTo>
                    <a:cubicBezTo>
                      <a:pt x="243" y="171"/>
                      <a:pt x="243" y="172"/>
                      <a:pt x="243" y="172"/>
                    </a:cubicBezTo>
                    <a:cubicBezTo>
                      <a:pt x="242" y="172"/>
                      <a:pt x="242" y="171"/>
                      <a:pt x="242" y="170"/>
                    </a:cubicBezTo>
                    <a:cubicBezTo>
                      <a:pt x="242" y="169"/>
                      <a:pt x="241" y="170"/>
                      <a:pt x="241" y="169"/>
                    </a:cubicBezTo>
                    <a:cubicBezTo>
                      <a:pt x="240" y="169"/>
                      <a:pt x="240" y="168"/>
                      <a:pt x="239" y="167"/>
                    </a:cubicBezTo>
                    <a:cubicBezTo>
                      <a:pt x="239" y="168"/>
                      <a:pt x="238" y="169"/>
                      <a:pt x="237" y="168"/>
                    </a:cubicBezTo>
                    <a:cubicBezTo>
                      <a:pt x="237" y="168"/>
                      <a:pt x="236" y="168"/>
                      <a:pt x="236" y="168"/>
                    </a:cubicBezTo>
                    <a:cubicBezTo>
                      <a:pt x="235" y="168"/>
                      <a:pt x="235" y="168"/>
                      <a:pt x="235" y="168"/>
                    </a:cubicBezTo>
                    <a:cubicBezTo>
                      <a:pt x="234" y="168"/>
                      <a:pt x="234" y="168"/>
                      <a:pt x="233" y="168"/>
                    </a:cubicBezTo>
                    <a:cubicBezTo>
                      <a:pt x="233" y="168"/>
                      <a:pt x="232" y="168"/>
                      <a:pt x="232" y="169"/>
                    </a:cubicBezTo>
                    <a:cubicBezTo>
                      <a:pt x="231" y="169"/>
                      <a:pt x="229" y="170"/>
                      <a:pt x="230" y="171"/>
                    </a:cubicBezTo>
                    <a:cubicBezTo>
                      <a:pt x="230" y="171"/>
                      <a:pt x="230" y="172"/>
                      <a:pt x="231" y="172"/>
                    </a:cubicBezTo>
                    <a:cubicBezTo>
                      <a:pt x="231" y="172"/>
                      <a:pt x="232" y="172"/>
                      <a:pt x="233" y="172"/>
                    </a:cubicBezTo>
                    <a:cubicBezTo>
                      <a:pt x="233" y="172"/>
                      <a:pt x="234" y="173"/>
                      <a:pt x="234" y="173"/>
                    </a:cubicBezTo>
                    <a:cubicBezTo>
                      <a:pt x="234" y="172"/>
                      <a:pt x="235" y="172"/>
                      <a:pt x="236" y="173"/>
                    </a:cubicBezTo>
                    <a:cubicBezTo>
                      <a:pt x="236" y="173"/>
                      <a:pt x="237" y="173"/>
                      <a:pt x="237" y="173"/>
                    </a:cubicBezTo>
                    <a:cubicBezTo>
                      <a:pt x="237" y="174"/>
                      <a:pt x="238" y="174"/>
                      <a:pt x="238" y="174"/>
                    </a:cubicBezTo>
                    <a:cubicBezTo>
                      <a:pt x="239" y="175"/>
                      <a:pt x="239" y="176"/>
                      <a:pt x="240" y="177"/>
                    </a:cubicBezTo>
                    <a:cubicBezTo>
                      <a:pt x="241" y="178"/>
                      <a:pt x="241" y="178"/>
                      <a:pt x="242" y="178"/>
                    </a:cubicBezTo>
                    <a:cubicBezTo>
                      <a:pt x="243" y="178"/>
                      <a:pt x="243" y="178"/>
                      <a:pt x="244" y="179"/>
                    </a:cubicBezTo>
                    <a:cubicBezTo>
                      <a:pt x="244" y="178"/>
                      <a:pt x="244" y="178"/>
                      <a:pt x="245" y="178"/>
                    </a:cubicBezTo>
                    <a:cubicBezTo>
                      <a:pt x="245" y="178"/>
                      <a:pt x="246" y="178"/>
                      <a:pt x="246" y="177"/>
                    </a:cubicBezTo>
                    <a:cubicBezTo>
                      <a:pt x="247" y="177"/>
                      <a:pt x="248" y="176"/>
                      <a:pt x="247" y="175"/>
                    </a:cubicBezTo>
                    <a:cubicBezTo>
                      <a:pt x="247" y="175"/>
                      <a:pt x="246" y="174"/>
                      <a:pt x="246" y="174"/>
                    </a:cubicBezTo>
                    <a:close/>
                    <a:moveTo>
                      <a:pt x="15" y="38"/>
                    </a:moveTo>
                    <a:cubicBezTo>
                      <a:pt x="14" y="38"/>
                      <a:pt x="14" y="37"/>
                      <a:pt x="13" y="37"/>
                    </a:cubicBezTo>
                    <a:cubicBezTo>
                      <a:pt x="13" y="36"/>
                      <a:pt x="12" y="36"/>
                      <a:pt x="12" y="36"/>
                    </a:cubicBezTo>
                    <a:cubicBezTo>
                      <a:pt x="12" y="36"/>
                      <a:pt x="12" y="36"/>
                      <a:pt x="13" y="36"/>
                    </a:cubicBezTo>
                    <a:cubicBezTo>
                      <a:pt x="12" y="36"/>
                      <a:pt x="12" y="36"/>
                      <a:pt x="12" y="36"/>
                    </a:cubicBezTo>
                    <a:cubicBezTo>
                      <a:pt x="12" y="36"/>
                      <a:pt x="12" y="35"/>
                      <a:pt x="12" y="35"/>
                    </a:cubicBezTo>
                    <a:cubicBezTo>
                      <a:pt x="11" y="35"/>
                      <a:pt x="10" y="34"/>
                      <a:pt x="10" y="34"/>
                    </a:cubicBezTo>
                    <a:cubicBezTo>
                      <a:pt x="10" y="34"/>
                      <a:pt x="10" y="34"/>
                      <a:pt x="10" y="34"/>
                    </a:cubicBezTo>
                    <a:cubicBezTo>
                      <a:pt x="10" y="33"/>
                      <a:pt x="9" y="33"/>
                      <a:pt x="9" y="33"/>
                    </a:cubicBezTo>
                    <a:cubicBezTo>
                      <a:pt x="9" y="33"/>
                      <a:pt x="9" y="33"/>
                      <a:pt x="9" y="34"/>
                    </a:cubicBezTo>
                    <a:cubicBezTo>
                      <a:pt x="9" y="34"/>
                      <a:pt x="9" y="34"/>
                      <a:pt x="8" y="34"/>
                    </a:cubicBezTo>
                    <a:cubicBezTo>
                      <a:pt x="8" y="34"/>
                      <a:pt x="8" y="35"/>
                      <a:pt x="8" y="35"/>
                    </a:cubicBezTo>
                    <a:cubicBezTo>
                      <a:pt x="8" y="35"/>
                      <a:pt x="9" y="35"/>
                      <a:pt x="9" y="36"/>
                    </a:cubicBezTo>
                    <a:cubicBezTo>
                      <a:pt x="9" y="36"/>
                      <a:pt x="9" y="36"/>
                      <a:pt x="10" y="36"/>
                    </a:cubicBezTo>
                    <a:cubicBezTo>
                      <a:pt x="10" y="36"/>
                      <a:pt x="11" y="37"/>
                      <a:pt x="11" y="37"/>
                    </a:cubicBezTo>
                    <a:cubicBezTo>
                      <a:pt x="12" y="37"/>
                      <a:pt x="13" y="38"/>
                      <a:pt x="14" y="39"/>
                    </a:cubicBezTo>
                    <a:cubicBezTo>
                      <a:pt x="14" y="39"/>
                      <a:pt x="14" y="39"/>
                      <a:pt x="14" y="39"/>
                    </a:cubicBezTo>
                    <a:cubicBezTo>
                      <a:pt x="14" y="39"/>
                      <a:pt x="15" y="39"/>
                      <a:pt x="15" y="40"/>
                    </a:cubicBezTo>
                    <a:cubicBezTo>
                      <a:pt x="16" y="39"/>
                      <a:pt x="16" y="39"/>
                      <a:pt x="15" y="38"/>
                    </a:cubicBezTo>
                    <a:cubicBezTo>
                      <a:pt x="15" y="38"/>
                      <a:pt x="15" y="38"/>
                      <a:pt x="15" y="38"/>
                    </a:cubicBezTo>
                    <a:close/>
                    <a:moveTo>
                      <a:pt x="349" y="79"/>
                    </a:moveTo>
                    <a:cubicBezTo>
                      <a:pt x="349" y="79"/>
                      <a:pt x="349" y="80"/>
                      <a:pt x="350" y="80"/>
                    </a:cubicBezTo>
                    <a:cubicBezTo>
                      <a:pt x="351" y="81"/>
                      <a:pt x="352" y="78"/>
                      <a:pt x="352" y="77"/>
                    </a:cubicBezTo>
                    <a:cubicBezTo>
                      <a:pt x="352" y="77"/>
                      <a:pt x="352" y="76"/>
                      <a:pt x="351" y="75"/>
                    </a:cubicBezTo>
                    <a:cubicBezTo>
                      <a:pt x="351" y="75"/>
                      <a:pt x="351" y="76"/>
                      <a:pt x="351" y="75"/>
                    </a:cubicBezTo>
                    <a:cubicBezTo>
                      <a:pt x="350" y="75"/>
                      <a:pt x="350" y="75"/>
                      <a:pt x="350" y="75"/>
                    </a:cubicBezTo>
                    <a:cubicBezTo>
                      <a:pt x="350" y="75"/>
                      <a:pt x="349" y="75"/>
                      <a:pt x="349" y="76"/>
                    </a:cubicBezTo>
                    <a:cubicBezTo>
                      <a:pt x="349" y="76"/>
                      <a:pt x="348" y="76"/>
                      <a:pt x="348" y="76"/>
                    </a:cubicBezTo>
                    <a:cubicBezTo>
                      <a:pt x="347" y="76"/>
                      <a:pt x="348" y="77"/>
                      <a:pt x="348" y="77"/>
                    </a:cubicBezTo>
                    <a:cubicBezTo>
                      <a:pt x="348" y="78"/>
                      <a:pt x="348" y="79"/>
                      <a:pt x="349" y="79"/>
                    </a:cubicBezTo>
                    <a:close/>
                    <a:moveTo>
                      <a:pt x="97" y="55"/>
                    </a:moveTo>
                    <a:cubicBezTo>
                      <a:pt x="97" y="54"/>
                      <a:pt x="97" y="54"/>
                      <a:pt x="97" y="54"/>
                    </a:cubicBezTo>
                    <a:cubicBezTo>
                      <a:pt x="97" y="54"/>
                      <a:pt x="97" y="55"/>
                      <a:pt x="97" y="55"/>
                    </a:cubicBezTo>
                    <a:close/>
                    <a:moveTo>
                      <a:pt x="35" y="69"/>
                    </a:moveTo>
                    <a:cubicBezTo>
                      <a:pt x="34" y="69"/>
                      <a:pt x="34" y="70"/>
                      <a:pt x="34" y="70"/>
                    </a:cubicBezTo>
                    <a:cubicBezTo>
                      <a:pt x="34" y="71"/>
                      <a:pt x="34" y="71"/>
                      <a:pt x="33" y="71"/>
                    </a:cubicBezTo>
                    <a:cubicBezTo>
                      <a:pt x="34" y="71"/>
                      <a:pt x="34" y="71"/>
                      <a:pt x="35" y="72"/>
                    </a:cubicBezTo>
                    <a:cubicBezTo>
                      <a:pt x="35" y="72"/>
                      <a:pt x="35" y="71"/>
                      <a:pt x="35" y="71"/>
                    </a:cubicBezTo>
                    <a:cubicBezTo>
                      <a:pt x="35" y="71"/>
                      <a:pt x="35" y="71"/>
                      <a:pt x="36" y="71"/>
                    </a:cubicBezTo>
                    <a:cubicBezTo>
                      <a:pt x="36" y="71"/>
                      <a:pt x="36" y="71"/>
                      <a:pt x="36" y="70"/>
                    </a:cubicBezTo>
                    <a:cubicBezTo>
                      <a:pt x="36" y="70"/>
                      <a:pt x="36" y="69"/>
                      <a:pt x="35" y="68"/>
                    </a:cubicBezTo>
                    <a:cubicBezTo>
                      <a:pt x="35" y="68"/>
                      <a:pt x="35" y="69"/>
                      <a:pt x="35" y="69"/>
                    </a:cubicBezTo>
                    <a:close/>
                    <a:moveTo>
                      <a:pt x="137" y="59"/>
                    </a:moveTo>
                    <a:cubicBezTo>
                      <a:pt x="137" y="59"/>
                      <a:pt x="137" y="60"/>
                      <a:pt x="137" y="60"/>
                    </a:cubicBezTo>
                    <a:cubicBezTo>
                      <a:pt x="137" y="61"/>
                      <a:pt x="137" y="61"/>
                      <a:pt x="137" y="62"/>
                    </a:cubicBezTo>
                    <a:cubicBezTo>
                      <a:pt x="137" y="62"/>
                      <a:pt x="137" y="62"/>
                      <a:pt x="138" y="62"/>
                    </a:cubicBezTo>
                    <a:cubicBezTo>
                      <a:pt x="138" y="62"/>
                      <a:pt x="138" y="62"/>
                      <a:pt x="139" y="63"/>
                    </a:cubicBezTo>
                    <a:cubicBezTo>
                      <a:pt x="139" y="63"/>
                      <a:pt x="139" y="64"/>
                      <a:pt x="139" y="64"/>
                    </a:cubicBezTo>
                    <a:cubicBezTo>
                      <a:pt x="140" y="65"/>
                      <a:pt x="140" y="65"/>
                      <a:pt x="140" y="65"/>
                    </a:cubicBezTo>
                    <a:cubicBezTo>
                      <a:pt x="140" y="65"/>
                      <a:pt x="139" y="65"/>
                      <a:pt x="139" y="65"/>
                    </a:cubicBezTo>
                    <a:cubicBezTo>
                      <a:pt x="139" y="66"/>
                      <a:pt x="139" y="67"/>
                      <a:pt x="140" y="68"/>
                    </a:cubicBezTo>
                    <a:cubicBezTo>
                      <a:pt x="139" y="67"/>
                      <a:pt x="138" y="67"/>
                      <a:pt x="138" y="68"/>
                    </a:cubicBezTo>
                    <a:cubicBezTo>
                      <a:pt x="138" y="68"/>
                      <a:pt x="138" y="68"/>
                      <a:pt x="138" y="68"/>
                    </a:cubicBezTo>
                    <a:cubicBezTo>
                      <a:pt x="138" y="69"/>
                      <a:pt x="139" y="69"/>
                      <a:pt x="139" y="69"/>
                    </a:cubicBezTo>
                    <a:cubicBezTo>
                      <a:pt x="139" y="69"/>
                      <a:pt x="138" y="69"/>
                      <a:pt x="138" y="70"/>
                    </a:cubicBezTo>
                    <a:cubicBezTo>
                      <a:pt x="139" y="70"/>
                      <a:pt x="139" y="71"/>
                      <a:pt x="139" y="71"/>
                    </a:cubicBezTo>
                    <a:cubicBezTo>
                      <a:pt x="140" y="72"/>
                      <a:pt x="141" y="71"/>
                      <a:pt x="142" y="72"/>
                    </a:cubicBezTo>
                    <a:cubicBezTo>
                      <a:pt x="141" y="72"/>
                      <a:pt x="142" y="73"/>
                      <a:pt x="142" y="73"/>
                    </a:cubicBezTo>
                    <a:cubicBezTo>
                      <a:pt x="142" y="74"/>
                      <a:pt x="141" y="72"/>
                      <a:pt x="140" y="73"/>
                    </a:cubicBezTo>
                    <a:cubicBezTo>
                      <a:pt x="139" y="73"/>
                      <a:pt x="140" y="75"/>
                      <a:pt x="141" y="75"/>
                    </a:cubicBezTo>
                    <a:cubicBezTo>
                      <a:pt x="142" y="76"/>
                      <a:pt x="141" y="75"/>
                      <a:pt x="142" y="75"/>
                    </a:cubicBezTo>
                    <a:cubicBezTo>
                      <a:pt x="142" y="75"/>
                      <a:pt x="143" y="75"/>
                      <a:pt x="143" y="75"/>
                    </a:cubicBezTo>
                    <a:cubicBezTo>
                      <a:pt x="143" y="76"/>
                      <a:pt x="144" y="76"/>
                      <a:pt x="144" y="76"/>
                    </a:cubicBezTo>
                    <a:cubicBezTo>
                      <a:pt x="145" y="76"/>
                      <a:pt x="144" y="75"/>
                      <a:pt x="145" y="75"/>
                    </a:cubicBezTo>
                    <a:cubicBezTo>
                      <a:pt x="144" y="75"/>
                      <a:pt x="145" y="77"/>
                      <a:pt x="146" y="77"/>
                    </a:cubicBezTo>
                    <a:cubicBezTo>
                      <a:pt x="146" y="77"/>
                      <a:pt x="147" y="77"/>
                      <a:pt x="147" y="78"/>
                    </a:cubicBezTo>
                    <a:cubicBezTo>
                      <a:pt x="146" y="78"/>
                      <a:pt x="146" y="79"/>
                      <a:pt x="147" y="79"/>
                    </a:cubicBezTo>
                    <a:cubicBezTo>
                      <a:pt x="148" y="80"/>
                      <a:pt x="148" y="81"/>
                      <a:pt x="148" y="82"/>
                    </a:cubicBezTo>
                    <a:cubicBezTo>
                      <a:pt x="148" y="83"/>
                      <a:pt x="147" y="83"/>
                      <a:pt x="147" y="84"/>
                    </a:cubicBezTo>
                    <a:cubicBezTo>
                      <a:pt x="147" y="84"/>
                      <a:pt x="147" y="84"/>
                      <a:pt x="146" y="85"/>
                    </a:cubicBezTo>
                    <a:cubicBezTo>
                      <a:pt x="145" y="86"/>
                      <a:pt x="148" y="86"/>
                      <a:pt x="148" y="87"/>
                    </a:cubicBezTo>
                    <a:cubicBezTo>
                      <a:pt x="148" y="88"/>
                      <a:pt x="148" y="88"/>
                      <a:pt x="148" y="89"/>
                    </a:cubicBezTo>
                    <a:cubicBezTo>
                      <a:pt x="148" y="90"/>
                      <a:pt x="148" y="90"/>
                      <a:pt x="148" y="91"/>
                    </a:cubicBezTo>
                    <a:cubicBezTo>
                      <a:pt x="148" y="91"/>
                      <a:pt x="149" y="94"/>
                      <a:pt x="150" y="93"/>
                    </a:cubicBezTo>
                    <a:cubicBezTo>
                      <a:pt x="150" y="94"/>
                      <a:pt x="149" y="93"/>
                      <a:pt x="149" y="94"/>
                    </a:cubicBezTo>
                    <a:cubicBezTo>
                      <a:pt x="148" y="94"/>
                      <a:pt x="149" y="95"/>
                      <a:pt x="149" y="95"/>
                    </a:cubicBezTo>
                    <a:cubicBezTo>
                      <a:pt x="149" y="96"/>
                      <a:pt x="149" y="96"/>
                      <a:pt x="149" y="96"/>
                    </a:cubicBezTo>
                    <a:cubicBezTo>
                      <a:pt x="149" y="97"/>
                      <a:pt x="149" y="97"/>
                      <a:pt x="149" y="98"/>
                    </a:cubicBezTo>
                    <a:cubicBezTo>
                      <a:pt x="149" y="99"/>
                      <a:pt x="150" y="98"/>
                      <a:pt x="151" y="97"/>
                    </a:cubicBezTo>
                    <a:cubicBezTo>
                      <a:pt x="151" y="97"/>
                      <a:pt x="152" y="96"/>
                      <a:pt x="153" y="98"/>
                    </a:cubicBezTo>
                    <a:cubicBezTo>
                      <a:pt x="153" y="98"/>
                      <a:pt x="153" y="99"/>
                      <a:pt x="153" y="99"/>
                    </a:cubicBezTo>
                    <a:cubicBezTo>
                      <a:pt x="154" y="99"/>
                      <a:pt x="154" y="98"/>
                      <a:pt x="155" y="98"/>
                    </a:cubicBezTo>
                    <a:cubicBezTo>
                      <a:pt x="155" y="98"/>
                      <a:pt x="156" y="97"/>
                      <a:pt x="156" y="97"/>
                    </a:cubicBezTo>
                    <a:cubicBezTo>
                      <a:pt x="156" y="97"/>
                      <a:pt x="154" y="98"/>
                      <a:pt x="154" y="98"/>
                    </a:cubicBezTo>
                    <a:cubicBezTo>
                      <a:pt x="154" y="99"/>
                      <a:pt x="155" y="99"/>
                      <a:pt x="155" y="99"/>
                    </a:cubicBezTo>
                    <a:cubicBezTo>
                      <a:pt x="156" y="100"/>
                      <a:pt x="158" y="98"/>
                      <a:pt x="159" y="98"/>
                    </a:cubicBezTo>
                    <a:cubicBezTo>
                      <a:pt x="160" y="97"/>
                      <a:pt x="161" y="97"/>
                      <a:pt x="161" y="98"/>
                    </a:cubicBezTo>
                    <a:cubicBezTo>
                      <a:pt x="162" y="99"/>
                      <a:pt x="162" y="98"/>
                      <a:pt x="163" y="98"/>
                    </a:cubicBezTo>
                    <a:cubicBezTo>
                      <a:pt x="163" y="98"/>
                      <a:pt x="163" y="98"/>
                      <a:pt x="163" y="97"/>
                    </a:cubicBezTo>
                    <a:cubicBezTo>
                      <a:pt x="163" y="97"/>
                      <a:pt x="163" y="97"/>
                      <a:pt x="163" y="97"/>
                    </a:cubicBezTo>
                    <a:cubicBezTo>
                      <a:pt x="163" y="96"/>
                      <a:pt x="163" y="96"/>
                      <a:pt x="164" y="96"/>
                    </a:cubicBezTo>
                    <a:cubicBezTo>
                      <a:pt x="163" y="96"/>
                      <a:pt x="164" y="98"/>
                      <a:pt x="164" y="99"/>
                    </a:cubicBezTo>
                    <a:cubicBezTo>
                      <a:pt x="164" y="99"/>
                      <a:pt x="164" y="100"/>
                      <a:pt x="164" y="101"/>
                    </a:cubicBezTo>
                    <a:cubicBezTo>
                      <a:pt x="164" y="101"/>
                      <a:pt x="165" y="102"/>
                      <a:pt x="164" y="103"/>
                    </a:cubicBezTo>
                    <a:cubicBezTo>
                      <a:pt x="164" y="103"/>
                      <a:pt x="164" y="104"/>
                      <a:pt x="164" y="104"/>
                    </a:cubicBezTo>
                    <a:cubicBezTo>
                      <a:pt x="165" y="105"/>
                      <a:pt x="165" y="104"/>
                      <a:pt x="166" y="104"/>
                    </a:cubicBezTo>
                    <a:cubicBezTo>
                      <a:pt x="166" y="103"/>
                      <a:pt x="167" y="102"/>
                      <a:pt x="168" y="102"/>
                    </a:cubicBezTo>
                    <a:cubicBezTo>
                      <a:pt x="169" y="101"/>
                      <a:pt x="170" y="102"/>
                      <a:pt x="171" y="103"/>
                    </a:cubicBezTo>
                    <a:cubicBezTo>
                      <a:pt x="172" y="104"/>
                      <a:pt x="173" y="102"/>
                      <a:pt x="174" y="101"/>
                    </a:cubicBezTo>
                    <a:cubicBezTo>
                      <a:pt x="175" y="101"/>
                      <a:pt x="175" y="101"/>
                      <a:pt x="175" y="100"/>
                    </a:cubicBezTo>
                    <a:cubicBezTo>
                      <a:pt x="176" y="100"/>
                      <a:pt x="176" y="100"/>
                      <a:pt x="175" y="100"/>
                    </a:cubicBezTo>
                    <a:cubicBezTo>
                      <a:pt x="175" y="99"/>
                      <a:pt x="175" y="99"/>
                      <a:pt x="176" y="99"/>
                    </a:cubicBezTo>
                    <a:cubicBezTo>
                      <a:pt x="176" y="98"/>
                      <a:pt x="176" y="98"/>
                      <a:pt x="176" y="97"/>
                    </a:cubicBezTo>
                    <a:cubicBezTo>
                      <a:pt x="176" y="98"/>
                      <a:pt x="177" y="98"/>
                      <a:pt x="177" y="99"/>
                    </a:cubicBezTo>
                    <a:cubicBezTo>
                      <a:pt x="177" y="99"/>
                      <a:pt x="177" y="99"/>
                      <a:pt x="178" y="99"/>
                    </a:cubicBezTo>
                    <a:cubicBezTo>
                      <a:pt x="178" y="100"/>
                      <a:pt x="178" y="101"/>
                      <a:pt x="179" y="101"/>
                    </a:cubicBezTo>
                    <a:cubicBezTo>
                      <a:pt x="179" y="101"/>
                      <a:pt x="179" y="100"/>
                      <a:pt x="179" y="100"/>
                    </a:cubicBezTo>
                    <a:cubicBezTo>
                      <a:pt x="179" y="100"/>
                      <a:pt x="179" y="101"/>
                      <a:pt x="180" y="101"/>
                    </a:cubicBezTo>
                    <a:cubicBezTo>
                      <a:pt x="180" y="101"/>
                      <a:pt x="180" y="101"/>
                      <a:pt x="180" y="100"/>
                    </a:cubicBezTo>
                    <a:cubicBezTo>
                      <a:pt x="182" y="99"/>
                      <a:pt x="182" y="101"/>
                      <a:pt x="182" y="102"/>
                    </a:cubicBezTo>
                    <a:cubicBezTo>
                      <a:pt x="182" y="104"/>
                      <a:pt x="183" y="104"/>
                      <a:pt x="184" y="103"/>
                    </a:cubicBezTo>
                    <a:cubicBezTo>
                      <a:pt x="184" y="103"/>
                      <a:pt x="185" y="103"/>
                      <a:pt x="186" y="102"/>
                    </a:cubicBezTo>
                    <a:cubicBezTo>
                      <a:pt x="186" y="102"/>
                      <a:pt x="186" y="101"/>
                      <a:pt x="187" y="100"/>
                    </a:cubicBezTo>
                    <a:cubicBezTo>
                      <a:pt x="187" y="101"/>
                      <a:pt x="186" y="103"/>
                      <a:pt x="187" y="102"/>
                    </a:cubicBezTo>
                    <a:cubicBezTo>
                      <a:pt x="188" y="102"/>
                      <a:pt x="188" y="101"/>
                      <a:pt x="189" y="101"/>
                    </a:cubicBezTo>
                    <a:cubicBezTo>
                      <a:pt x="189" y="101"/>
                      <a:pt x="188" y="102"/>
                      <a:pt x="188" y="102"/>
                    </a:cubicBezTo>
                    <a:cubicBezTo>
                      <a:pt x="188" y="103"/>
                      <a:pt x="189" y="103"/>
                      <a:pt x="189" y="103"/>
                    </a:cubicBezTo>
                    <a:cubicBezTo>
                      <a:pt x="189" y="103"/>
                      <a:pt x="190" y="104"/>
                      <a:pt x="190" y="103"/>
                    </a:cubicBezTo>
                    <a:cubicBezTo>
                      <a:pt x="190" y="103"/>
                      <a:pt x="190" y="102"/>
                      <a:pt x="190" y="102"/>
                    </a:cubicBezTo>
                    <a:cubicBezTo>
                      <a:pt x="191" y="102"/>
                      <a:pt x="190" y="104"/>
                      <a:pt x="190" y="104"/>
                    </a:cubicBezTo>
                    <a:cubicBezTo>
                      <a:pt x="190" y="105"/>
                      <a:pt x="191" y="105"/>
                      <a:pt x="191" y="106"/>
                    </a:cubicBezTo>
                    <a:cubicBezTo>
                      <a:pt x="191" y="107"/>
                      <a:pt x="191" y="108"/>
                      <a:pt x="191" y="109"/>
                    </a:cubicBezTo>
                    <a:cubicBezTo>
                      <a:pt x="191" y="110"/>
                      <a:pt x="191" y="111"/>
                      <a:pt x="191" y="111"/>
                    </a:cubicBezTo>
                    <a:cubicBezTo>
                      <a:pt x="192" y="112"/>
                      <a:pt x="194" y="110"/>
                      <a:pt x="195" y="109"/>
                    </a:cubicBezTo>
                    <a:cubicBezTo>
                      <a:pt x="197" y="108"/>
                      <a:pt x="199" y="108"/>
                      <a:pt x="200" y="107"/>
                    </a:cubicBezTo>
                    <a:cubicBezTo>
                      <a:pt x="201" y="106"/>
                      <a:pt x="202" y="106"/>
                      <a:pt x="203" y="105"/>
                    </a:cubicBezTo>
                    <a:cubicBezTo>
                      <a:pt x="203" y="105"/>
                      <a:pt x="204" y="105"/>
                      <a:pt x="204" y="105"/>
                    </a:cubicBezTo>
                    <a:cubicBezTo>
                      <a:pt x="205" y="104"/>
                      <a:pt x="206" y="100"/>
                      <a:pt x="206" y="101"/>
                    </a:cubicBezTo>
                    <a:cubicBezTo>
                      <a:pt x="206" y="101"/>
                      <a:pt x="206" y="101"/>
                      <a:pt x="206" y="101"/>
                    </a:cubicBezTo>
                    <a:cubicBezTo>
                      <a:pt x="206" y="101"/>
                      <a:pt x="206" y="101"/>
                      <a:pt x="206" y="101"/>
                    </a:cubicBezTo>
                    <a:cubicBezTo>
                      <a:pt x="207" y="101"/>
                      <a:pt x="206" y="100"/>
                      <a:pt x="206" y="100"/>
                    </a:cubicBezTo>
                    <a:cubicBezTo>
                      <a:pt x="207" y="100"/>
                      <a:pt x="207" y="100"/>
                      <a:pt x="207" y="100"/>
                    </a:cubicBezTo>
                    <a:cubicBezTo>
                      <a:pt x="208" y="100"/>
                      <a:pt x="207" y="99"/>
                      <a:pt x="207" y="99"/>
                    </a:cubicBezTo>
                    <a:cubicBezTo>
                      <a:pt x="207" y="98"/>
                      <a:pt x="206" y="98"/>
                      <a:pt x="206" y="98"/>
                    </a:cubicBezTo>
                    <a:cubicBezTo>
                      <a:pt x="206" y="98"/>
                      <a:pt x="206" y="97"/>
                      <a:pt x="206" y="96"/>
                    </a:cubicBezTo>
                    <a:cubicBezTo>
                      <a:pt x="207" y="96"/>
                      <a:pt x="207" y="98"/>
                      <a:pt x="207" y="98"/>
                    </a:cubicBezTo>
                    <a:cubicBezTo>
                      <a:pt x="208" y="98"/>
                      <a:pt x="209" y="97"/>
                      <a:pt x="209" y="96"/>
                    </a:cubicBezTo>
                    <a:cubicBezTo>
                      <a:pt x="209" y="95"/>
                      <a:pt x="209" y="95"/>
                      <a:pt x="209" y="94"/>
                    </a:cubicBezTo>
                    <a:cubicBezTo>
                      <a:pt x="209" y="93"/>
                      <a:pt x="208" y="94"/>
                      <a:pt x="208" y="94"/>
                    </a:cubicBezTo>
                    <a:cubicBezTo>
                      <a:pt x="208" y="94"/>
                      <a:pt x="208" y="93"/>
                      <a:pt x="208" y="93"/>
                    </a:cubicBezTo>
                    <a:cubicBezTo>
                      <a:pt x="208" y="93"/>
                      <a:pt x="209" y="93"/>
                      <a:pt x="210" y="93"/>
                    </a:cubicBezTo>
                    <a:cubicBezTo>
                      <a:pt x="210" y="93"/>
                      <a:pt x="210" y="94"/>
                      <a:pt x="210" y="93"/>
                    </a:cubicBezTo>
                    <a:cubicBezTo>
                      <a:pt x="210" y="93"/>
                      <a:pt x="210" y="93"/>
                      <a:pt x="210" y="93"/>
                    </a:cubicBezTo>
                    <a:cubicBezTo>
                      <a:pt x="210" y="92"/>
                      <a:pt x="211" y="92"/>
                      <a:pt x="211" y="91"/>
                    </a:cubicBezTo>
                    <a:cubicBezTo>
                      <a:pt x="211" y="91"/>
                      <a:pt x="211" y="89"/>
                      <a:pt x="211" y="89"/>
                    </a:cubicBezTo>
                    <a:cubicBezTo>
                      <a:pt x="210" y="90"/>
                      <a:pt x="210" y="89"/>
                      <a:pt x="210" y="89"/>
                    </a:cubicBezTo>
                    <a:cubicBezTo>
                      <a:pt x="210" y="89"/>
                      <a:pt x="209" y="90"/>
                      <a:pt x="209" y="89"/>
                    </a:cubicBezTo>
                    <a:cubicBezTo>
                      <a:pt x="209" y="89"/>
                      <a:pt x="208" y="89"/>
                      <a:pt x="208" y="89"/>
                    </a:cubicBezTo>
                    <a:cubicBezTo>
                      <a:pt x="208" y="88"/>
                      <a:pt x="210" y="88"/>
                      <a:pt x="210" y="87"/>
                    </a:cubicBezTo>
                    <a:cubicBezTo>
                      <a:pt x="210" y="87"/>
                      <a:pt x="210" y="86"/>
                      <a:pt x="210" y="86"/>
                    </a:cubicBezTo>
                    <a:cubicBezTo>
                      <a:pt x="209" y="85"/>
                      <a:pt x="210" y="85"/>
                      <a:pt x="209" y="85"/>
                    </a:cubicBezTo>
                    <a:cubicBezTo>
                      <a:pt x="209" y="84"/>
                      <a:pt x="208" y="85"/>
                      <a:pt x="208" y="85"/>
                    </a:cubicBezTo>
                    <a:cubicBezTo>
                      <a:pt x="207" y="85"/>
                      <a:pt x="208" y="84"/>
                      <a:pt x="209" y="84"/>
                    </a:cubicBezTo>
                    <a:cubicBezTo>
                      <a:pt x="209" y="84"/>
                      <a:pt x="211" y="83"/>
                      <a:pt x="211" y="82"/>
                    </a:cubicBezTo>
                    <a:cubicBezTo>
                      <a:pt x="210" y="81"/>
                      <a:pt x="212" y="81"/>
                      <a:pt x="212" y="80"/>
                    </a:cubicBezTo>
                    <a:cubicBezTo>
                      <a:pt x="213" y="80"/>
                      <a:pt x="213" y="79"/>
                      <a:pt x="213" y="79"/>
                    </a:cubicBezTo>
                    <a:cubicBezTo>
                      <a:pt x="213" y="79"/>
                      <a:pt x="213" y="79"/>
                      <a:pt x="213" y="79"/>
                    </a:cubicBezTo>
                    <a:cubicBezTo>
                      <a:pt x="213" y="79"/>
                      <a:pt x="213" y="78"/>
                      <a:pt x="213" y="78"/>
                    </a:cubicBezTo>
                    <a:cubicBezTo>
                      <a:pt x="213" y="78"/>
                      <a:pt x="212" y="77"/>
                      <a:pt x="213" y="76"/>
                    </a:cubicBezTo>
                    <a:cubicBezTo>
                      <a:pt x="213" y="77"/>
                      <a:pt x="212" y="77"/>
                      <a:pt x="213" y="78"/>
                    </a:cubicBezTo>
                    <a:cubicBezTo>
                      <a:pt x="213" y="78"/>
                      <a:pt x="213" y="78"/>
                      <a:pt x="213" y="79"/>
                    </a:cubicBezTo>
                    <a:cubicBezTo>
                      <a:pt x="213" y="78"/>
                      <a:pt x="213" y="79"/>
                      <a:pt x="214" y="79"/>
                    </a:cubicBezTo>
                    <a:cubicBezTo>
                      <a:pt x="215" y="79"/>
                      <a:pt x="215" y="78"/>
                      <a:pt x="216" y="77"/>
                    </a:cubicBezTo>
                    <a:cubicBezTo>
                      <a:pt x="216" y="77"/>
                      <a:pt x="216" y="76"/>
                      <a:pt x="217" y="76"/>
                    </a:cubicBezTo>
                    <a:cubicBezTo>
                      <a:pt x="217" y="75"/>
                      <a:pt x="218" y="75"/>
                      <a:pt x="218" y="75"/>
                    </a:cubicBezTo>
                    <a:cubicBezTo>
                      <a:pt x="218" y="73"/>
                      <a:pt x="218" y="75"/>
                      <a:pt x="219" y="75"/>
                    </a:cubicBezTo>
                    <a:cubicBezTo>
                      <a:pt x="218" y="75"/>
                      <a:pt x="219" y="75"/>
                      <a:pt x="219" y="75"/>
                    </a:cubicBezTo>
                    <a:cubicBezTo>
                      <a:pt x="219" y="75"/>
                      <a:pt x="220" y="75"/>
                      <a:pt x="220" y="75"/>
                    </a:cubicBezTo>
                    <a:cubicBezTo>
                      <a:pt x="220" y="74"/>
                      <a:pt x="220" y="74"/>
                      <a:pt x="220" y="74"/>
                    </a:cubicBezTo>
                    <a:cubicBezTo>
                      <a:pt x="220" y="74"/>
                      <a:pt x="221" y="74"/>
                      <a:pt x="221" y="74"/>
                    </a:cubicBezTo>
                    <a:cubicBezTo>
                      <a:pt x="221" y="73"/>
                      <a:pt x="220" y="73"/>
                      <a:pt x="220" y="73"/>
                    </a:cubicBezTo>
                    <a:cubicBezTo>
                      <a:pt x="220" y="73"/>
                      <a:pt x="221" y="73"/>
                      <a:pt x="221" y="72"/>
                    </a:cubicBezTo>
                    <a:cubicBezTo>
                      <a:pt x="221" y="72"/>
                      <a:pt x="220" y="72"/>
                      <a:pt x="220" y="72"/>
                    </a:cubicBezTo>
                    <a:cubicBezTo>
                      <a:pt x="220" y="72"/>
                      <a:pt x="221" y="72"/>
                      <a:pt x="221" y="71"/>
                    </a:cubicBezTo>
                    <a:cubicBezTo>
                      <a:pt x="221" y="71"/>
                      <a:pt x="221" y="70"/>
                      <a:pt x="221" y="71"/>
                    </a:cubicBezTo>
                    <a:cubicBezTo>
                      <a:pt x="221" y="71"/>
                      <a:pt x="222" y="70"/>
                      <a:pt x="221" y="70"/>
                    </a:cubicBezTo>
                    <a:cubicBezTo>
                      <a:pt x="220" y="70"/>
                      <a:pt x="220" y="71"/>
                      <a:pt x="220" y="71"/>
                    </a:cubicBezTo>
                    <a:cubicBezTo>
                      <a:pt x="220" y="70"/>
                      <a:pt x="220" y="70"/>
                      <a:pt x="220" y="69"/>
                    </a:cubicBezTo>
                    <a:cubicBezTo>
                      <a:pt x="220" y="69"/>
                      <a:pt x="220" y="69"/>
                      <a:pt x="220" y="69"/>
                    </a:cubicBezTo>
                    <a:cubicBezTo>
                      <a:pt x="219" y="68"/>
                      <a:pt x="220" y="67"/>
                      <a:pt x="220" y="66"/>
                    </a:cubicBezTo>
                    <a:cubicBezTo>
                      <a:pt x="220" y="66"/>
                      <a:pt x="220" y="66"/>
                      <a:pt x="220" y="65"/>
                    </a:cubicBezTo>
                    <a:cubicBezTo>
                      <a:pt x="220" y="65"/>
                      <a:pt x="220" y="64"/>
                      <a:pt x="220" y="64"/>
                    </a:cubicBezTo>
                    <a:cubicBezTo>
                      <a:pt x="220" y="63"/>
                      <a:pt x="220" y="62"/>
                      <a:pt x="221" y="61"/>
                    </a:cubicBezTo>
                    <a:cubicBezTo>
                      <a:pt x="221" y="60"/>
                      <a:pt x="221" y="60"/>
                      <a:pt x="221" y="60"/>
                    </a:cubicBezTo>
                    <a:cubicBezTo>
                      <a:pt x="222" y="59"/>
                      <a:pt x="222" y="58"/>
                      <a:pt x="222" y="58"/>
                    </a:cubicBezTo>
                    <a:cubicBezTo>
                      <a:pt x="222" y="57"/>
                      <a:pt x="223" y="56"/>
                      <a:pt x="224" y="56"/>
                    </a:cubicBezTo>
                    <a:cubicBezTo>
                      <a:pt x="224" y="56"/>
                      <a:pt x="224" y="57"/>
                      <a:pt x="225" y="57"/>
                    </a:cubicBezTo>
                    <a:cubicBezTo>
                      <a:pt x="226" y="57"/>
                      <a:pt x="225" y="55"/>
                      <a:pt x="225" y="55"/>
                    </a:cubicBezTo>
                    <a:cubicBezTo>
                      <a:pt x="224" y="54"/>
                      <a:pt x="224" y="54"/>
                      <a:pt x="224" y="53"/>
                    </a:cubicBezTo>
                    <a:cubicBezTo>
                      <a:pt x="224" y="53"/>
                      <a:pt x="224" y="53"/>
                      <a:pt x="225" y="53"/>
                    </a:cubicBezTo>
                    <a:cubicBezTo>
                      <a:pt x="225" y="54"/>
                      <a:pt x="225" y="54"/>
                      <a:pt x="225" y="55"/>
                    </a:cubicBezTo>
                    <a:cubicBezTo>
                      <a:pt x="226" y="55"/>
                      <a:pt x="226" y="56"/>
                      <a:pt x="227" y="56"/>
                    </a:cubicBezTo>
                    <a:cubicBezTo>
                      <a:pt x="227" y="56"/>
                      <a:pt x="228" y="56"/>
                      <a:pt x="228" y="56"/>
                    </a:cubicBezTo>
                    <a:cubicBezTo>
                      <a:pt x="228" y="56"/>
                      <a:pt x="229" y="56"/>
                      <a:pt x="229" y="56"/>
                    </a:cubicBezTo>
                    <a:cubicBezTo>
                      <a:pt x="229" y="56"/>
                      <a:pt x="230" y="56"/>
                      <a:pt x="230" y="56"/>
                    </a:cubicBezTo>
                    <a:cubicBezTo>
                      <a:pt x="231" y="56"/>
                      <a:pt x="231" y="56"/>
                      <a:pt x="232" y="56"/>
                    </a:cubicBezTo>
                    <a:cubicBezTo>
                      <a:pt x="233" y="57"/>
                      <a:pt x="233" y="56"/>
                      <a:pt x="233" y="56"/>
                    </a:cubicBezTo>
                    <a:cubicBezTo>
                      <a:pt x="234" y="55"/>
                      <a:pt x="234" y="55"/>
                      <a:pt x="235" y="54"/>
                    </a:cubicBezTo>
                    <a:cubicBezTo>
                      <a:pt x="235" y="54"/>
                      <a:pt x="234" y="53"/>
                      <a:pt x="234" y="54"/>
                    </a:cubicBezTo>
                    <a:cubicBezTo>
                      <a:pt x="233" y="54"/>
                      <a:pt x="232" y="52"/>
                      <a:pt x="232" y="51"/>
                    </a:cubicBezTo>
                    <a:cubicBezTo>
                      <a:pt x="231" y="51"/>
                      <a:pt x="230" y="50"/>
                      <a:pt x="230" y="50"/>
                    </a:cubicBezTo>
                    <a:cubicBezTo>
                      <a:pt x="229" y="50"/>
                      <a:pt x="229" y="50"/>
                      <a:pt x="229" y="49"/>
                    </a:cubicBezTo>
                    <a:cubicBezTo>
                      <a:pt x="228" y="49"/>
                      <a:pt x="229" y="49"/>
                      <a:pt x="229" y="49"/>
                    </a:cubicBezTo>
                    <a:cubicBezTo>
                      <a:pt x="229" y="49"/>
                      <a:pt x="228" y="48"/>
                      <a:pt x="227" y="48"/>
                    </a:cubicBezTo>
                    <a:cubicBezTo>
                      <a:pt x="227" y="48"/>
                      <a:pt x="226" y="47"/>
                      <a:pt x="226" y="47"/>
                    </a:cubicBezTo>
                    <a:cubicBezTo>
                      <a:pt x="225" y="46"/>
                      <a:pt x="225" y="46"/>
                      <a:pt x="225" y="45"/>
                    </a:cubicBezTo>
                    <a:cubicBezTo>
                      <a:pt x="224" y="45"/>
                      <a:pt x="223" y="45"/>
                      <a:pt x="223" y="45"/>
                    </a:cubicBezTo>
                    <a:cubicBezTo>
                      <a:pt x="223" y="45"/>
                      <a:pt x="223" y="44"/>
                      <a:pt x="223" y="43"/>
                    </a:cubicBezTo>
                    <a:cubicBezTo>
                      <a:pt x="223" y="43"/>
                      <a:pt x="222" y="43"/>
                      <a:pt x="222" y="43"/>
                    </a:cubicBezTo>
                    <a:cubicBezTo>
                      <a:pt x="222" y="43"/>
                      <a:pt x="223" y="43"/>
                      <a:pt x="224" y="43"/>
                    </a:cubicBezTo>
                    <a:cubicBezTo>
                      <a:pt x="224" y="43"/>
                      <a:pt x="223" y="42"/>
                      <a:pt x="223" y="42"/>
                    </a:cubicBezTo>
                    <a:cubicBezTo>
                      <a:pt x="223" y="42"/>
                      <a:pt x="224" y="43"/>
                      <a:pt x="224" y="42"/>
                    </a:cubicBezTo>
                    <a:cubicBezTo>
                      <a:pt x="224" y="41"/>
                      <a:pt x="225" y="41"/>
                      <a:pt x="225" y="41"/>
                    </a:cubicBezTo>
                    <a:cubicBezTo>
                      <a:pt x="226" y="40"/>
                      <a:pt x="224" y="38"/>
                      <a:pt x="224" y="38"/>
                    </a:cubicBezTo>
                    <a:cubicBezTo>
                      <a:pt x="223" y="37"/>
                      <a:pt x="223" y="37"/>
                      <a:pt x="223" y="36"/>
                    </a:cubicBezTo>
                    <a:cubicBezTo>
                      <a:pt x="222" y="35"/>
                      <a:pt x="222" y="35"/>
                      <a:pt x="222" y="35"/>
                    </a:cubicBezTo>
                    <a:cubicBezTo>
                      <a:pt x="221" y="34"/>
                      <a:pt x="220" y="34"/>
                      <a:pt x="221" y="34"/>
                    </a:cubicBezTo>
                    <a:cubicBezTo>
                      <a:pt x="221" y="34"/>
                      <a:pt x="222" y="34"/>
                      <a:pt x="222" y="33"/>
                    </a:cubicBezTo>
                    <a:cubicBezTo>
                      <a:pt x="222" y="33"/>
                      <a:pt x="220" y="33"/>
                      <a:pt x="220" y="33"/>
                    </a:cubicBezTo>
                    <a:cubicBezTo>
                      <a:pt x="220" y="33"/>
                      <a:pt x="221" y="33"/>
                      <a:pt x="221" y="33"/>
                    </a:cubicBezTo>
                    <a:cubicBezTo>
                      <a:pt x="221" y="33"/>
                      <a:pt x="221" y="32"/>
                      <a:pt x="221" y="32"/>
                    </a:cubicBezTo>
                    <a:cubicBezTo>
                      <a:pt x="220" y="32"/>
                      <a:pt x="220" y="33"/>
                      <a:pt x="221" y="32"/>
                    </a:cubicBezTo>
                    <a:cubicBezTo>
                      <a:pt x="221" y="31"/>
                      <a:pt x="219" y="31"/>
                      <a:pt x="219" y="31"/>
                    </a:cubicBezTo>
                    <a:cubicBezTo>
                      <a:pt x="219" y="31"/>
                      <a:pt x="217" y="30"/>
                      <a:pt x="217" y="29"/>
                    </a:cubicBezTo>
                    <a:cubicBezTo>
                      <a:pt x="218" y="29"/>
                      <a:pt x="218" y="30"/>
                      <a:pt x="218" y="29"/>
                    </a:cubicBezTo>
                    <a:cubicBezTo>
                      <a:pt x="218" y="29"/>
                      <a:pt x="219" y="28"/>
                      <a:pt x="218" y="27"/>
                    </a:cubicBezTo>
                    <a:cubicBezTo>
                      <a:pt x="218" y="27"/>
                      <a:pt x="217" y="27"/>
                      <a:pt x="216" y="26"/>
                    </a:cubicBezTo>
                    <a:cubicBezTo>
                      <a:pt x="216" y="26"/>
                      <a:pt x="217" y="26"/>
                      <a:pt x="216" y="26"/>
                    </a:cubicBezTo>
                    <a:cubicBezTo>
                      <a:pt x="216" y="25"/>
                      <a:pt x="215" y="26"/>
                      <a:pt x="215" y="26"/>
                    </a:cubicBezTo>
                    <a:cubicBezTo>
                      <a:pt x="215" y="25"/>
                      <a:pt x="218" y="25"/>
                      <a:pt x="218" y="25"/>
                    </a:cubicBezTo>
                    <a:cubicBezTo>
                      <a:pt x="219" y="25"/>
                      <a:pt x="219" y="26"/>
                      <a:pt x="219" y="25"/>
                    </a:cubicBezTo>
                    <a:cubicBezTo>
                      <a:pt x="219" y="25"/>
                      <a:pt x="219" y="24"/>
                      <a:pt x="219" y="24"/>
                    </a:cubicBezTo>
                    <a:cubicBezTo>
                      <a:pt x="219" y="24"/>
                      <a:pt x="219" y="24"/>
                      <a:pt x="220" y="25"/>
                    </a:cubicBezTo>
                    <a:cubicBezTo>
                      <a:pt x="220" y="25"/>
                      <a:pt x="221" y="25"/>
                      <a:pt x="221" y="25"/>
                    </a:cubicBezTo>
                    <a:cubicBezTo>
                      <a:pt x="221" y="25"/>
                      <a:pt x="222" y="25"/>
                      <a:pt x="222" y="24"/>
                    </a:cubicBezTo>
                    <a:cubicBezTo>
                      <a:pt x="222" y="24"/>
                      <a:pt x="221" y="24"/>
                      <a:pt x="221" y="24"/>
                    </a:cubicBezTo>
                    <a:cubicBezTo>
                      <a:pt x="221" y="24"/>
                      <a:pt x="222" y="24"/>
                      <a:pt x="222" y="24"/>
                    </a:cubicBezTo>
                    <a:cubicBezTo>
                      <a:pt x="222" y="23"/>
                      <a:pt x="221" y="23"/>
                      <a:pt x="221" y="23"/>
                    </a:cubicBezTo>
                    <a:cubicBezTo>
                      <a:pt x="220" y="23"/>
                      <a:pt x="220" y="22"/>
                      <a:pt x="219" y="22"/>
                    </a:cubicBezTo>
                    <a:cubicBezTo>
                      <a:pt x="220" y="22"/>
                      <a:pt x="221" y="23"/>
                      <a:pt x="221" y="22"/>
                    </a:cubicBezTo>
                    <a:cubicBezTo>
                      <a:pt x="221" y="22"/>
                      <a:pt x="220" y="22"/>
                      <a:pt x="220" y="21"/>
                    </a:cubicBezTo>
                    <a:cubicBezTo>
                      <a:pt x="220" y="21"/>
                      <a:pt x="220" y="21"/>
                      <a:pt x="219" y="21"/>
                    </a:cubicBezTo>
                    <a:cubicBezTo>
                      <a:pt x="219" y="21"/>
                      <a:pt x="219" y="21"/>
                      <a:pt x="219" y="21"/>
                    </a:cubicBezTo>
                    <a:cubicBezTo>
                      <a:pt x="219" y="21"/>
                      <a:pt x="219" y="21"/>
                      <a:pt x="219" y="21"/>
                    </a:cubicBezTo>
                    <a:cubicBezTo>
                      <a:pt x="218" y="20"/>
                      <a:pt x="218" y="20"/>
                      <a:pt x="218" y="20"/>
                    </a:cubicBezTo>
                    <a:cubicBezTo>
                      <a:pt x="218" y="20"/>
                      <a:pt x="218" y="20"/>
                      <a:pt x="218" y="19"/>
                    </a:cubicBezTo>
                    <a:cubicBezTo>
                      <a:pt x="219" y="20"/>
                      <a:pt x="219" y="20"/>
                      <a:pt x="220" y="19"/>
                    </a:cubicBezTo>
                    <a:cubicBezTo>
                      <a:pt x="219" y="19"/>
                      <a:pt x="219" y="20"/>
                      <a:pt x="218" y="19"/>
                    </a:cubicBezTo>
                    <a:cubicBezTo>
                      <a:pt x="218" y="18"/>
                      <a:pt x="217" y="18"/>
                      <a:pt x="217" y="18"/>
                    </a:cubicBezTo>
                    <a:cubicBezTo>
                      <a:pt x="217" y="18"/>
                      <a:pt x="217" y="17"/>
                      <a:pt x="216" y="17"/>
                    </a:cubicBezTo>
                    <a:cubicBezTo>
                      <a:pt x="216" y="17"/>
                      <a:pt x="216" y="18"/>
                      <a:pt x="215" y="18"/>
                    </a:cubicBezTo>
                    <a:cubicBezTo>
                      <a:pt x="215" y="18"/>
                      <a:pt x="214" y="18"/>
                      <a:pt x="213" y="18"/>
                    </a:cubicBezTo>
                    <a:cubicBezTo>
                      <a:pt x="213" y="17"/>
                      <a:pt x="212" y="18"/>
                      <a:pt x="212" y="17"/>
                    </a:cubicBezTo>
                    <a:cubicBezTo>
                      <a:pt x="211" y="17"/>
                      <a:pt x="211" y="18"/>
                      <a:pt x="211" y="18"/>
                    </a:cubicBezTo>
                    <a:cubicBezTo>
                      <a:pt x="210" y="17"/>
                      <a:pt x="210" y="17"/>
                      <a:pt x="210" y="17"/>
                    </a:cubicBezTo>
                    <a:cubicBezTo>
                      <a:pt x="209" y="17"/>
                      <a:pt x="210" y="18"/>
                      <a:pt x="209" y="18"/>
                    </a:cubicBezTo>
                    <a:cubicBezTo>
                      <a:pt x="209" y="18"/>
                      <a:pt x="209" y="18"/>
                      <a:pt x="208" y="18"/>
                    </a:cubicBezTo>
                    <a:cubicBezTo>
                      <a:pt x="208" y="17"/>
                      <a:pt x="208" y="17"/>
                      <a:pt x="207" y="17"/>
                    </a:cubicBezTo>
                    <a:cubicBezTo>
                      <a:pt x="206" y="17"/>
                      <a:pt x="206" y="17"/>
                      <a:pt x="205" y="18"/>
                    </a:cubicBezTo>
                    <a:cubicBezTo>
                      <a:pt x="205" y="18"/>
                      <a:pt x="205" y="18"/>
                      <a:pt x="204" y="18"/>
                    </a:cubicBezTo>
                    <a:cubicBezTo>
                      <a:pt x="204" y="17"/>
                      <a:pt x="204" y="17"/>
                      <a:pt x="204" y="17"/>
                    </a:cubicBezTo>
                    <a:cubicBezTo>
                      <a:pt x="203" y="17"/>
                      <a:pt x="203" y="17"/>
                      <a:pt x="203" y="17"/>
                    </a:cubicBezTo>
                    <a:cubicBezTo>
                      <a:pt x="203" y="17"/>
                      <a:pt x="203" y="18"/>
                      <a:pt x="203" y="18"/>
                    </a:cubicBezTo>
                    <a:cubicBezTo>
                      <a:pt x="203" y="19"/>
                      <a:pt x="202" y="19"/>
                      <a:pt x="202" y="19"/>
                    </a:cubicBezTo>
                    <a:cubicBezTo>
                      <a:pt x="201" y="19"/>
                      <a:pt x="201" y="20"/>
                      <a:pt x="201" y="20"/>
                    </a:cubicBezTo>
                    <a:cubicBezTo>
                      <a:pt x="201" y="21"/>
                      <a:pt x="201" y="21"/>
                      <a:pt x="201" y="22"/>
                    </a:cubicBezTo>
                    <a:cubicBezTo>
                      <a:pt x="201" y="22"/>
                      <a:pt x="200" y="22"/>
                      <a:pt x="200" y="22"/>
                    </a:cubicBezTo>
                    <a:cubicBezTo>
                      <a:pt x="201" y="23"/>
                      <a:pt x="201" y="23"/>
                      <a:pt x="201" y="23"/>
                    </a:cubicBezTo>
                    <a:cubicBezTo>
                      <a:pt x="201" y="24"/>
                      <a:pt x="201" y="24"/>
                      <a:pt x="201" y="25"/>
                    </a:cubicBezTo>
                    <a:cubicBezTo>
                      <a:pt x="200" y="25"/>
                      <a:pt x="201" y="26"/>
                      <a:pt x="201" y="27"/>
                    </a:cubicBezTo>
                    <a:cubicBezTo>
                      <a:pt x="201" y="27"/>
                      <a:pt x="201" y="27"/>
                      <a:pt x="201" y="28"/>
                    </a:cubicBezTo>
                    <a:cubicBezTo>
                      <a:pt x="201" y="28"/>
                      <a:pt x="200" y="29"/>
                      <a:pt x="200" y="30"/>
                    </a:cubicBezTo>
                    <a:cubicBezTo>
                      <a:pt x="200" y="30"/>
                      <a:pt x="200" y="30"/>
                      <a:pt x="200" y="31"/>
                    </a:cubicBezTo>
                    <a:cubicBezTo>
                      <a:pt x="200" y="31"/>
                      <a:pt x="200" y="31"/>
                      <a:pt x="200" y="31"/>
                    </a:cubicBezTo>
                    <a:cubicBezTo>
                      <a:pt x="200" y="32"/>
                      <a:pt x="199" y="33"/>
                      <a:pt x="198" y="32"/>
                    </a:cubicBezTo>
                    <a:cubicBezTo>
                      <a:pt x="198" y="32"/>
                      <a:pt x="198" y="32"/>
                      <a:pt x="197" y="32"/>
                    </a:cubicBezTo>
                    <a:cubicBezTo>
                      <a:pt x="197" y="33"/>
                      <a:pt x="197" y="34"/>
                      <a:pt x="196" y="34"/>
                    </a:cubicBezTo>
                    <a:cubicBezTo>
                      <a:pt x="197" y="34"/>
                      <a:pt x="197" y="35"/>
                      <a:pt x="196" y="35"/>
                    </a:cubicBezTo>
                    <a:cubicBezTo>
                      <a:pt x="196" y="35"/>
                      <a:pt x="196" y="37"/>
                      <a:pt x="196" y="37"/>
                    </a:cubicBezTo>
                    <a:cubicBezTo>
                      <a:pt x="197" y="37"/>
                      <a:pt x="197" y="37"/>
                      <a:pt x="197" y="37"/>
                    </a:cubicBezTo>
                    <a:cubicBezTo>
                      <a:pt x="198" y="37"/>
                      <a:pt x="198" y="38"/>
                      <a:pt x="197" y="38"/>
                    </a:cubicBezTo>
                    <a:cubicBezTo>
                      <a:pt x="197" y="38"/>
                      <a:pt x="196" y="38"/>
                      <a:pt x="196" y="39"/>
                    </a:cubicBezTo>
                    <a:cubicBezTo>
                      <a:pt x="196" y="39"/>
                      <a:pt x="195" y="39"/>
                      <a:pt x="195" y="40"/>
                    </a:cubicBezTo>
                    <a:cubicBezTo>
                      <a:pt x="195" y="40"/>
                      <a:pt x="194" y="40"/>
                      <a:pt x="194" y="40"/>
                    </a:cubicBezTo>
                    <a:cubicBezTo>
                      <a:pt x="193" y="40"/>
                      <a:pt x="193" y="41"/>
                      <a:pt x="193" y="42"/>
                    </a:cubicBezTo>
                    <a:cubicBezTo>
                      <a:pt x="193" y="42"/>
                      <a:pt x="193" y="43"/>
                      <a:pt x="194" y="43"/>
                    </a:cubicBezTo>
                    <a:cubicBezTo>
                      <a:pt x="194" y="43"/>
                      <a:pt x="194" y="44"/>
                      <a:pt x="194" y="44"/>
                    </a:cubicBezTo>
                    <a:cubicBezTo>
                      <a:pt x="194" y="45"/>
                      <a:pt x="194" y="45"/>
                      <a:pt x="193" y="45"/>
                    </a:cubicBezTo>
                    <a:cubicBezTo>
                      <a:pt x="192" y="45"/>
                      <a:pt x="193" y="46"/>
                      <a:pt x="193" y="46"/>
                    </a:cubicBezTo>
                    <a:cubicBezTo>
                      <a:pt x="192" y="47"/>
                      <a:pt x="192" y="48"/>
                      <a:pt x="192" y="49"/>
                    </a:cubicBezTo>
                    <a:cubicBezTo>
                      <a:pt x="192" y="49"/>
                      <a:pt x="191" y="50"/>
                      <a:pt x="191" y="49"/>
                    </a:cubicBezTo>
                    <a:cubicBezTo>
                      <a:pt x="190" y="49"/>
                      <a:pt x="190" y="49"/>
                      <a:pt x="189" y="49"/>
                    </a:cubicBezTo>
                    <a:cubicBezTo>
                      <a:pt x="189" y="49"/>
                      <a:pt x="188" y="49"/>
                      <a:pt x="188" y="49"/>
                    </a:cubicBezTo>
                    <a:cubicBezTo>
                      <a:pt x="187" y="50"/>
                      <a:pt x="187" y="49"/>
                      <a:pt x="187" y="49"/>
                    </a:cubicBezTo>
                    <a:cubicBezTo>
                      <a:pt x="187" y="49"/>
                      <a:pt x="186" y="49"/>
                      <a:pt x="186" y="49"/>
                    </a:cubicBezTo>
                    <a:cubicBezTo>
                      <a:pt x="185" y="49"/>
                      <a:pt x="185" y="50"/>
                      <a:pt x="184" y="51"/>
                    </a:cubicBezTo>
                    <a:cubicBezTo>
                      <a:pt x="184" y="51"/>
                      <a:pt x="183" y="52"/>
                      <a:pt x="183" y="52"/>
                    </a:cubicBezTo>
                    <a:cubicBezTo>
                      <a:pt x="182" y="52"/>
                      <a:pt x="182" y="51"/>
                      <a:pt x="181" y="51"/>
                    </a:cubicBezTo>
                    <a:cubicBezTo>
                      <a:pt x="180" y="51"/>
                      <a:pt x="181" y="51"/>
                      <a:pt x="180" y="50"/>
                    </a:cubicBezTo>
                    <a:cubicBezTo>
                      <a:pt x="179" y="50"/>
                      <a:pt x="178" y="50"/>
                      <a:pt x="178" y="50"/>
                    </a:cubicBezTo>
                    <a:cubicBezTo>
                      <a:pt x="177" y="50"/>
                      <a:pt x="177" y="49"/>
                      <a:pt x="177" y="50"/>
                    </a:cubicBezTo>
                    <a:cubicBezTo>
                      <a:pt x="176" y="50"/>
                      <a:pt x="176" y="49"/>
                      <a:pt x="177" y="49"/>
                    </a:cubicBezTo>
                    <a:cubicBezTo>
                      <a:pt x="178" y="48"/>
                      <a:pt x="174" y="48"/>
                      <a:pt x="174" y="48"/>
                    </a:cubicBezTo>
                    <a:cubicBezTo>
                      <a:pt x="173" y="48"/>
                      <a:pt x="172" y="48"/>
                      <a:pt x="172" y="48"/>
                    </a:cubicBezTo>
                    <a:cubicBezTo>
                      <a:pt x="171" y="48"/>
                      <a:pt x="171" y="48"/>
                      <a:pt x="170" y="49"/>
                    </a:cubicBezTo>
                    <a:cubicBezTo>
                      <a:pt x="170" y="49"/>
                      <a:pt x="169" y="49"/>
                      <a:pt x="168" y="49"/>
                    </a:cubicBezTo>
                    <a:cubicBezTo>
                      <a:pt x="168" y="50"/>
                      <a:pt x="169" y="50"/>
                      <a:pt x="169" y="50"/>
                    </a:cubicBezTo>
                    <a:cubicBezTo>
                      <a:pt x="168" y="51"/>
                      <a:pt x="168" y="51"/>
                      <a:pt x="168" y="52"/>
                    </a:cubicBezTo>
                    <a:cubicBezTo>
                      <a:pt x="168" y="53"/>
                      <a:pt x="168" y="53"/>
                      <a:pt x="167" y="53"/>
                    </a:cubicBezTo>
                    <a:cubicBezTo>
                      <a:pt x="166" y="53"/>
                      <a:pt x="166" y="53"/>
                      <a:pt x="165" y="54"/>
                    </a:cubicBezTo>
                    <a:cubicBezTo>
                      <a:pt x="165" y="54"/>
                      <a:pt x="165" y="54"/>
                      <a:pt x="165" y="54"/>
                    </a:cubicBezTo>
                    <a:cubicBezTo>
                      <a:pt x="164" y="54"/>
                      <a:pt x="164" y="54"/>
                      <a:pt x="163" y="54"/>
                    </a:cubicBezTo>
                    <a:cubicBezTo>
                      <a:pt x="163" y="54"/>
                      <a:pt x="162" y="55"/>
                      <a:pt x="162" y="55"/>
                    </a:cubicBezTo>
                    <a:cubicBezTo>
                      <a:pt x="162" y="55"/>
                      <a:pt x="162" y="54"/>
                      <a:pt x="162" y="54"/>
                    </a:cubicBezTo>
                    <a:cubicBezTo>
                      <a:pt x="162" y="54"/>
                      <a:pt x="161" y="54"/>
                      <a:pt x="161" y="54"/>
                    </a:cubicBezTo>
                    <a:cubicBezTo>
                      <a:pt x="160" y="54"/>
                      <a:pt x="160" y="53"/>
                      <a:pt x="159" y="54"/>
                    </a:cubicBezTo>
                    <a:cubicBezTo>
                      <a:pt x="158" y="54"/>
                      <a:pt x="156" y="54"/>
                      <a:pt x="155" y="55"/>
                    </a:cubicBezTo>
                    <a:cubicBezTo>
                      <a:pt x="155" y="56"/>
                      <a:pt x="153" y="55"/>
                      <a:pt x="153" y="56"/>
                    </a:cubicBezTo>
                    <a:cubicBezTo>
                      <a:pt x="153" y="56"/>
                      <a:pt x="152" y="56"/>
                      <a:pt x="152" y="55"/>
                    </a:cubicBezTo>
                    <a:cubicBezTo>
                      <a:pt x="151" y="55"/>
                      <a:pt x="151" y="55"/>
                      <a:pt x="151" y="55"/>
                    </a:cubicBezTo>
                    <a:cubicBezTo>
                      <a:pt x="151" y="54"/>
                      <a:pt x="150" y="55"/>
                      <a:pt x="150" y="54"/>
                    </a:cubicBezTo>
                    <a:cubicBezTo>
                      <a:pt x="150" y="54"/>
                      <a:pt x="149" y="53"/>
                      <a:pt x="149" y="52"/>
                    </a:cubicBezTo>
                    <a:cubicBezTo>
                      <a:pt x="149" y="52"/>
                      <a:pt x="148" y="52"/>
                      <a:pt x="148" y="52"/>
                    </a:cubicBezTo>
                    <a:cubicBezTo>
                      <a:pt x="147" y="51"/>
                      <a:pt x="147" y="50"/>
                      <a:pt x="147" y="50"/>
                    </a:cubicBezTo>
                    <a:cubicBezTo>
                      <a:pt x="146" y="50"/>
                      <a:pt x="146" y="49"/>
                      <a:pt x="145" y="49"/>
                    </a:cubicBezTo>
                    <a:cubicBezTo>
                      <a:pt x="145" y="48"/>
                      <a:pt x="144" y="48"/>
                      <a:pt x="144" y="47"/>
                    </a:cubicBezTo>
                    <a:cubicBezTo>
                      <a:pt x="144" y="47"/>
                      <a:pt x="144" y="46"/>
                      <a:pt x="144" y="46"/>
                    </a:cubicBezTo>
                    <a:cubicBezTo>
                      <a:pt x="143" y="45"/>
                      <a:pt x="142" y="45"/>
                      <a:pt x="143" y="44"/>
                    </a:cubicBezTo>
                    <a:cubicBezTo>
                      <a:pt x="143" y="44"/>
                      <a:pt x="144" y="43"/>
                      <a:pt x="144" y="42"/>
                    </a:cubicBezTo>
                    <a:cubicBezTo>
                      <a:pt x="143" y="43"/>
                      <a:pt x="143" y="43"/>
                      <a:pt x="143" y="43"/>
                    </a:cubicBezTo>
                    <a:cubicBezTo>
                      <a:pt x="142" y="43"/>
                      <a:pt x="142" y="44"/>
                      <a:pt x="141" y="44"/>
                    </a:cubicBezTo>
                    <a:cubicBezTo>
                      <a:pt x="140" y="44"/>
                      <a:pt x="141" y="45"/>
                      <a:pt x="140" y="46"/>
                    </a:cubicBezTo>
                    <a:cubicBezTo>
                      <a:pt x="140" y="45"/>
                      <a:pt x="140" y="45"/>
                      <a:pt x="141" y="45"/>
                    </a:cubicBezTo>
                    <a:cubicBezTo>
                      <a:pt x="140" y="47"/>
                      <a:pt x="139" y="47"/>
                      <a:pt x="138" y="48"/>
                    </a:cubicBezTo>
                    <a:cubicBezTo>
                      <a:pt x="138" y="49"/>
                      <a:pt x="138" y="50"/>
                      <a:pt x="138" y="51"/>
                    </a:cubicBezTo>
                    <a:cubicBezTo>
                      <a:pt x="137" y="52"/>
                      <a:pt x="138" y="52"/>
                      <a:pt x="138" y="52"/>
                    </a:cubicBezTo>
                    <a:cubicBezTo>
                      <a:pt x="139" y="51"/>
                      <a:pt x="140" y="50"/>
                      <a:pt x="140" y="50"/>
                    </a:cubicBezTo>
                    <a:cubicBezTo>
                      <a:pt x="140" y="50"/>
                      <a:pt x="139" y="51"/>
                      <a:pt x="139" y="51"/>
                    </a:cubicBezTo>
                    <a:cubicBezTo>
                      <a:pt x="138" y="52"/>
                      <a:pt x="138" y="52"/>
                      <a:pt x="138" y="52"/>
                    </a:cubicBezTo>
                    <a:cubicBezTo>
                      <a:pt x="137" y="52"/>
                      <a:pt x="137" y="52"/>
                      <a:pt x="137" y="52"/>
                    </a:cubicBezTo>
                    <a:cubicBezTo>
                      <a:pt x="136" y="53"/>
                      <a:pt x="137" y="54"/>
                      <a:pt x="137" y="55"/>
                    </a:cubicBezTo>
                    <a:cubicBezTo>
                      <a:pt x="137" y="55"/>
                      <a:pt x="136" y="56"/>
                      <a:pt x="136" y="56"/>
                    </a:cubicBezTo>
                    <a:cubicBezTo>
                      <a:pt x="136" y="57"/>
                      <a:pt x="136" y="57"/>
                      <a:pt x="136" y="57"/>
                    </a:cubicBezTo>
                    <a:cubicBezTo>
                      <a:pt x="136" y="58"/>
                      <a:pt x="137" y="58"/>
                      <a:pt x="137" y="59"/>
                    </a:cubicBezTo>
                    <a:close/>
                    <a:moveTo>
                      <a:pt x="197" y="155"/>
                    </a:moveTo>
                    <a:cubicBezTo>
                      <a:pt x="196" y="154"/>
                      <a:pt x="195" y="154"/>
                      <a:pt x="194" y="154"/>
                    </a:cubicBezTo>
                    <a:cubicBezTo>
                      <a:pt x="194" y="154"/>
                      <a:pt x="193" y="155"/>
                      <a:pt x="192" y="155"/>
                    </a:cubicBezTo>
                    <a:cubicBezTo>
                      <a:pt x="191" y="156"/>
                      <a:pt x="190" y="155"/>
                      <a:pt x="189" y="155"/>
                    </a:cubicBezTo>
                    <a:cubicBezTo>
                      <a:pt x="189" y="155"/>
                      <a:pt x="188" y="155"/>
                      <a:pt x="188" y="155"/>
                    </a:cubicBezTo>
                    <a:cubicBezTo>
                      <a:pt x="188" y="154"/>
                      <a:pt x="188" y="154"/>
                      <a:pt x="188" y="154"/>
                    </a:cubicBezTo>
                    <a:cubicBezTo>
                      <a:pt x="187" y="154"/>
                      <a:pt x="188" y="156"/>
                      <a:pt x="188" y="157"/>
                    </a:cubicBezTo>
                    <a:cubicBezTo>
                      <a:pt x="188" y="157"/>
                      <a:pt x="189" y="158"/>
                      <a:pt x="190" y="158"/>
                    </a:cubicBezTo>
                    <a:cubicBezTo>
                      <a:pt x="191" y="158"/>
                      <a:pt x="191" y="158"/>
                      <a:pt x="192" y="159"/>
                    </a:cubicBezTo>
                    <a:cubicBezTo>
                      <a:pt x="193" y="159"/>
                      <a:pt x="193" y="160"/>
                      <a:pt x="194" y="161"/>
                    </a:cubicBezTo>
                    <a:cubicBezTo>
                      <a:pt x="194" y="162"/>
                      <a:pt x="193" y="162"/>
                      <a:pt x="193" y="162"/>
                    </a:cubicBezTo>
                    <a:cubicBezTo>
                      <a:pt x="193" y="163"/>
                      <a:pt x="194" y="163"/>
                      <a:pt x="194" y="162"/>
                    </a:cubicBezTo>
                    <a:cubicBezTo>
                      <a:pt x="195" y="162"/>
                      <a:pt x="194" y="161"/>
                      <a:pt x="194" y="162"/>
                    </a:cubicBezTo>
                    <a:cubicBezTo>
                      <a:pt x="194" y="162"/>
                      <a:pt x="195" y="161"/>
                      <a:pt x="195" y="160"/>
                    </a:cubicBezTo>
                    <a:cubicBezTo>
                      <a:pt x="196" y="160"/>
                      <a:pt x="196" y="160"/>
                      <a:pt x="197" y="159"/>
                    </a:cubicBezTo>
                    <a:cubicBezTo>
                      <a:pt x="197" y="159"/>
                      <a:pt x="197" y="159"/>
                      <a:pt x="198" y="159"/>
                    </a:cubicBezTo>
                    <a:cubicBezTo>
                      <a:pt x="198" y="159"/>
                      <a:pt x="200" y="158"/>
                      <a:pt x="199" y="157"/>
                    </a:cubicBezTo>
                    <a:cubicBezTo>
                      <a:pt x="198" y="156"/>
                      <a:pt x="198" y="155"/>
                      <a:pt x="197" y="155"/>
                    </a:cubicBezTo>
                    <a:close/>
                    <a:moveTo>
                      <a:pt x="268" y="160"/>
                    </a:moveTo>
                    <a:cubicBezTo>
                      <a:pt x="268" y="159"/>
                      <a:pt x="267" y="158"/>
                      <a:pt x="268" y="158"/>
                    </a:cubicBezTo>
                    <a:cubicBezTo>
                      <a:pt x="268" y="158"/>
                      <a:pt x="269" y="159"/>
                      <a:pt x="269" y="158"/>
                    </a:cubicBezTo>
                    <a:cubicBezTo>
                      <a:pt x="269" y="157"/>
                      <a:pt x="269" y="157"/>
                      <a:pt x="270" y="157"/>
                    </a:cubicBezTo>
                    <a:cubicBezTo>
                      <a:pt x="270" y="157"/>
                      <a:pt x="270" y="156"/>
                      <a:pt x="270" y="156"/>
                    </a:cubicBezTo>
                    <a:cubicBezTo>
                      <a:pt x="270" y="154"/>
                      <a:pt x="268" y="153"/>
                      <a:pt x="268" y="155"/>
                    </a:cubicBezTo>
                    <a:cubicBezTo>
                      <a:pt x="267" y="156"/>
                      <a:pt x="268" y="156"/>
                      <a:pt x="268" y="156"/>
                    </a:cubicBezTo>
                    <a:cubicBezTo>
                      <a:pt x="268" y="155"/>
                      <a:pt x="269" y="155"/>
                      <a:pt x="269" y="156"/>
                    </a:cubicBezTo>
                    <a:cubicBezTo>
                      <a:pt x="269" y="157"/>
                      <a:pt x="267" y="157"/>
                      <a:pt x="266" y="157"/>
                    </a:cubicBezTo>
                    <a:cubicBezTo>
                      <a:pt x="266" y="158"/>
                      <a:pt x="265" y="158"/>
                      <a:pt x="265" y="159"/>
                    </a:cubicBezTo>
                    <a:cubicBezTo>
                      <a:pt x="265" y="159"/>
                      <a:pt x="265" y="160"/>
                      <a:pt x="264" y="160"/>
                    </a:cubicBezTo>
                    <a:cubicBezTo>
                      <a:pt x="264" y="160"/>
                      <a:pt x="263" y="160"/>
                      <a:pt x="262" y="160"/>
                    </a:cubicBezTo>
                    <a:cubicBezTo>
                      <a:pt x="262" y="160"/>
                      <a:pt x="262" y="159"/>
                      <a:pt x="261" y="159"/>
                    </a:cubicBezTo>
                    <a:cubicBezTo>
                      <a:pt x="260" y="159"/>
                      <a:pt x="260" y="159"/>
                      <a:pt x="260" y="158"/>
                    </a:cubicBezTo>
                    <a:cubicBezTo>
                      <a:pt x="261" y="158"/>
                      <a:pt x="260" y="158"/>
                      <a:pt x="260" y="158"/>
                    </a:cubicBezTo>
                    <a:cubicBezTo>
                      <a:pt x="259" y="159"/>
                      <a:pt x="257" y="159"/>
                      <a:pt x="256" y="158"/>
                    </a:cubicBezTo>
                    <a:cubicBezTo>
                      <a:pt x="256" y="159"/>
                      <a:pt x="256" y="159"/>
                      <a:pt x="256" y="159"/>
                    </a:cubicBezTo>
                    <a:cubicBezTo>
                      <a:pt x="256" y="159"/>
                      <a:pt x="255" y="160"/>
                      <a:pt x="255" y="160"/>
                    </a:cubicBezTo>
                    <a:cubicBezTo>
                      <a:pt x="255" y="159"/>
                      <a:pt x="255" y="160"/>
                      <a:pt x="254" y="160"/>
                    </a:cubicBezTo>
                    <a:cubicBezTo>
                      <a:pt x="254" y="160"/>
                      <a:pt x="254" y="159"/>
                      <a:pt x="253" y="159"/>
                    </a:cubicBezTo>
                    <a:cubicBezTo>
                      <a:pt x="253" y="158"/>
                      <a:pt x="252" y="158"/>
                      <a:pt x="251" y="157"/>
                    </a:cubicBezTo>
                    <a:cubicBezTo>
                      <a:pt x="250" y="157"/>
                      <a:pt x="249" y="157"/>
                      <a:pt x="248" y="157"/>
                    </a:cubicBezTo>
                    <a:cubicBezTo>
                      <a:pt x="248" y="157"/>
                      <a:pt x="247" y="156"/>
                      <a:pt x="247" y="156"/>
                    </a:cubicBezTo>
                    <a:cubicBezTo>
                      <a:pt x="247" y="156"/>
                      <a:pt x="246" y="156"/>
                      <a:pt x="246" y="156"/>
                    </a:cubicBezTo>
                    <a:cubicBezTo>
                      <a:pt x="246" y="156"/>
                      <a:pt x="246" y="156"/>
                      <a:pt x="246" y="156"/>
                    </a:cubicBezTo>
                    <a:cubicBezTo>
                      <a:pt x="245" y="156"/>
                      <a:pt x="245" y="156"/>
                      <a:pt x="245" y="156"/>
                    </a:cubicBezTo>
                    <a:cubicBezTo>
                      <a:pt x="245" y="156"/>
                      <a:pt x="245" y="156"/>
                      <a:pt x="245" y="156"/>
                    </a:cubicBezTo>
                    <a:cubicBezTo>
                      <a:pt x="244" y="156"/>
                      <a:pt x="243" y="156"/>
                      <a:pt x="243" y="156"/>
                    </a:cubicBezTo>
                    <a:cubicBezTo>
                      <a:pt x="243" y="157"/>
                      <a:pt x="242" y="157"/>
                      <a:pt x="242" y="157"/>
                    </a:cubicBezTo>
                    <a:cubicBezTo>
                      <a:pt x="242" y="158"/>
                      <a:pt x="241" y="157"/>
                      <a:pt x="241" y="158"/>
                    </a:cubicBezTo>
                    <a:cubicBezTo>
                      <a:pt x="241" y="158"/>
                      <a:pt x="241" y="158"/>
                      <a:pt x="240" y="158"/>
                    </a:cubicBezTo>
                    <a:cubicBezTo>
                      <a:pt x="240" y="158"/>
                      <a:pt x="240" y="158"/>
                      <a:pt x="239" y="158"/>
                    </a:cubicBezTo>
                    <a:cubicBezTo>
                      <a:pt x="239" y="158"/>
                      <a:pt x="240" y="158"/>
                      <a:pt x="239" y="159"/>
                    </a:cubicBezTo>
                    <a:cubicBezTo>
                      <a:pt x="239" y="159"/>
                      <a:pt x="239" y="159"/>
                      <a:pt x="239" y="159"/>
                    </a:cubicBezTo>
                    <a:cubicBezTo>
                      <a:pt x="238" y="160"/>
                      <a:pt x="238" y="160"/>
                      <a:pt x="238" y="161"/>
                    </a:cubicBezTo>
                    <a:cubicBezTo>
                      <a:pt x="239" y="161"/>
                      <a:pt x="239" y="162"/>
                      <a:pt x="239" y="162"/>
                    </a:cubicBezTo>
                    <a:cubicBezTo>
                      <a:pt x="240" y="162"/>
                      <a:pt x="239" y="163"/>
                      <a:pt x="240" y="163"/>
                    </a:cubicBezTo>
                    <a:cubicBezTo>
                      <a:pt x="240" y="163"/>
                      <a:pt x="240" y="162"/>
                      <a:pt x="240" y="162"/>
                    </a:cubicBezTo>
                    <a:cubicBezTo>
                      <a:pt x="240" y="162"/>
                      <a:pt x="241" y="162"/>
                      <a:pt x="241" y="162"/>
                    </a:cubicBezTo>
                    <a:cubicBezTo>
                      <a:pt x="242" y="162"/>
                      <a:pt x="242" y="162"/>
                      <a:pt x="242" y="162"/>
                    </a:cubicBezTo>
                    <a:cubicBezTo>
                      <a:pt x="243" y="163"/>
                      <a:pt x="244" y="162"/>
                      <a:pt x="244" y="162"/>
                    </a:cubicBezTo>
                    <a:cubicBezTo>
                      <a:pt x="245" y="162"/>
                      <a:pt x="246" y="162"/>
                      <a:pt x="246" y="162"/>
                    </a:cubicBezTo>
                    <a:cubicBezTo>
                      <a:pt x="246" y="162"/>
                      <a:pt x="247" y="163"/>
                      <a:pt x="248" y="163"/>
                    </a:cubicBezTo>
                    <a:cubicBezTo>
                      <a:pt x="248" y="162"/>
                      <a:pt x="249" y="162"/>
                      <a:pt x="249" y="163"/>
                    </a:cubicBezTo>
                    <a:cubicBezTo>
                      <a:pt x="249" y="164"/>
                      <a:pt x="251" y="163"/>
                      <a:pt x="252" y="163"/>
                    </a:cubicBezTo>
                    <a:cubicBezTo>
                      <a:pt x="252" y="163"/>
                      <a:pt x="253" y="164"/>
                      <a:pt x="254" y="163"/>
                    </a:cubicBezTo>
                    <a:cubicBezTo>
                      <a:pt x="254" y="163"/>
                      <a:pt x="254" y="162"/>
                      <a:pt x="254" y="162"/>
                    </a:cubicBezTo>
                    <a:cubicBezTo>
                      <a:pt x="254" y="162"/>
                      <a:pt x="256" y="162"/>
                      <a:pt x="256" y="162"/>
                    </a:cubicBezTo>
                    <a:cubicBezTo>
                      <a:pt x="256" y="162"/>
                      <a:pt x="256" y="163"/>
                      <a:pt x="256" y="163"/>
                    </a:cubicBezTo>
                    <a:cubicBezTo>
                      <a:pt x="256" y="163"/>
                      <a:pt x="257" y="163"/>
                      <a:pt x="257" y="163"/>
                    </a:cubicBezTo>
                    <a:cubicBezTo>
                      <a:pt x="257" y="163"/>
                      <a:pt x="257" y="163"/>
                      <a:pt x="257" y="163"/>
                    </a:cubicBezTo>
                    <a:cubicBezTo>
                      <a:pt x="258" y="163"/>
                      <a:pt x="259" y="162"/>
                      <a:pt x="259" y="162"/>
                    </a:cubicBezTo>
                    <a:cubicBezTo>
                      <a:pt x="260" y="162"/>
                      <a:pt x="261" y="161"/>
                      <a:pt x="262" y="161"/>
                    </a:cubicBezTo>
                    <a:cubicBezTo>
                      <a:pt x="262" y="161"/>
                      <a:pt x="263" y="162"/>
                      <a:pt x="264" y="161"/>
                    </a:cubicBezTo>
                    <a:cubicBezTo>
                      <a:pt x="265" y="161"/>
                      <a:pt x="266" y="160"/>
                      <a:pt x="266" y="160"/>
                    </a:cubicBezTo>
                    <a:cubicBezTo>
                      <a:pt x="267" y="160"/>
                      <a:pt x="268" y="160"/>
                      <a:pt x="268" y="160"/>
                    </a:cubicBezTo>
                    <a:close/>
                    <a:moveTo>
                      <a:pt x="208" y="160"/>
                    </a:moveTo>
                    <a:cubicBezTo>
                      <a:pt x="208" y="159"/>
                      <a:pt x="209" y="158"/>
                      <a:pt x="209" y="157"/>
                    </a:cubicBezTo>
                    <a:cubicBezTo>
                      <a:pt x="209" y="156"/>
                      <a:pt x="206" y="155"/>
                      <a:pt x="205" y="156"/>
                    </a:cubicBezTo>
                    <a:cubicBezTo>
                      <a:pt x="205" y="156"/>
                      <a:pt x="204" y="156"/>
                      <a:pt x="204" y="157"/>
                    </a:cubicBezTo>
                    <a:cubicBezTo>
                      <a:pt x="203" y="157"/>
                      <a:pt x="203" y="158"/>
                      <a:pt x="202" y="158"/>
                    </a:cubicBezTo>
                    <a:cubicBezTo>
                      <a:pt x="202" y="159"/>
                      <a:pt x="203" y="161"/>
                      <a:pt x="202" y="162"/>
                    </a:cubicBezTo>
                    <a:cubicBezTo>
                      <a:pt x="202" y="161"/>
                      <a:pt x="201" y="162"/>
                      <a:pt x="201" y="161"/>
                    </a:cubicBezTo>
                    <a:cubicBezTo>
                      <a:pt x="200" y="161"/>
                      <a:pt x="200" y="162"/>
                      <a:pt x="201" y="162"/>
                    </a:cubicBezTo>
                    <a:cubicBezTo>
                      <a:pt x="201" y="163"/>
                      <a:pt x="201" y="162"/>
                      <a:pt x="201" y="163"/>
                    </a:cubicBezTo>
                    <a:cubicBezTo>
                      <a:pt x="202" y="163"/>
                      <a:pt x="202" y="163"/>
                      <a:pt x="202" y="163"/>
                    </a:cubicBezTo>
                    <a:cubicBezTo>
                      <a:pt x="202" y="163"/>
                      <a:pt x="202" y="163"/>
                      <a:pt x="202" y="163"/>
                    </a:cubicBezTo>
                    <a:cubicBezTo>
                      <a:pt x="203" y="163"/>
                      <a:pt x="202" y="163"/>
                      <a:pt x="202" y="163"/>
                    </a:cubicBezTo>
                    <a:cubicBezTo>
                      <a:pt x="203" y="163"/>
                      <a:pt x="203" y="163"/>
                      <a:pt x="203" y="163"/>
                    </a:cubicBezTo>
                    <a:cubicBezTo>
                      <a:pt x="203" y="163"/>
                      <a:pt x="203" y="163"/>
                      <a:pt x="204" y="163"/>
                    </a:cubicBezTo>
                    <a:cubicBezTo>
                      <a:pt x="204" y="163"/>
                      <a:pt x="204" y="163"/>
                      <a:pt x="204" y="163"/>
                    </a:cubicBezTo>
                    <a:cubicBezTo>
                      <a:pt x="204" y="163"/>
                      <a:pt x="206" y="163"/>
                      <a:pt x="205" y="164"/>
                    </a:cubicBezTo>
                    <a:cubicBezTo>
                      <a:pt x="206" y="163"/>
                      <a:pt x="205" y="162"/>
                      <a:pt x="206" y="162"/>
                    </a:cubicBezTo>
                    <a:cubicBezTo>
                      <a:pt x="207" y="162"/>
                      <a:pt x="206" y="163"/>
                      <a:pt x="206" y="163"/>
                    </a:cubicBezTo>
                    <a:cubicBezTo>
                      <a:pt x="206" y="163"/>
                      <a:pt x="208" y="163"/>
                      <a:pt x="207" y="163"/>
                    </a:cubicBezTo>
                    <a:cubicBezTo>
                      <a:pt x="207" y="162"/>
                      <a:pt x="207" y="163"/>
                      <a:pt x="207" y="163"/>
                    </a:cubicBezTo>
                    <a:cubicBezTo>
                      <a:pt x="206" y="163"/>
                      <a:pt x="207" y="161"/>
                      <a:pt x="207" y="161"/>
                    </a:cubicBezTo>
                    <a:cubicBezTo>
                      <a:pt x="208" y="161"/>
                      <a:pt x="208" y="160"/>
                      <a:pt x="208" y="160"/>
                    </a:cubicBezTo>
                    <a:close/>
                    <a:moveTo>
                      <a:pt x="229" y="162"/>
                    </a:moveTo>
                    <a:cubicBezTo>
                      <a:pt x="229" y="162"/>
                      <a:pt x="228" y="162"/>
                      <a:pt x="228" y="162"/>
                    </a:cubicBezTo>
                    <a:cubicBezTo>
                      <a:pt x="228" y="162"/>
                      <a:pt x="228" y="161"/>
                      <a:pt x="228" y="161"/>
                    </a:cubicBezTo>
                    <a:cubicBezTo>
                      <a:pt x="229" y="161"/>
                      <a:pt x="229" y="161"/>
                      <a:pt x="229" y="161"/>
                    </a:cubicBezTo>
                    <a:cubicBezTo>
                      <a:pt x="229" y="161"/>
                      <a:pt x="230" y="161"/>
                      <a:pt x="230" y="161"/>
                    </a:cubicBezTo>
                    <a:cubicBezTo>
                      <a:pt x="231" y="161"/>
                      <a:pt x="231" y="162"/>
                      <a:pt x="232" y="161"/>
                    </a:cubicBezTo>
                    <a:cubicBezTo>
                      <a:pt x="233" y="161"/>
                      <a:pt x="233" y="160"/>
                      <a:pt x="233" y="159"/>
                    </a:cubicBezTo>
                    <a:cubicBezTo>
                      <a:pt x="232" y="160"/>
                      <a:pt x="231" y="161"/>
                      <a:pt x="231" y="159"/>
                    </a:cubicBezTo>
                    <a:cubicBezTo>
                      <a:pt x="231" y="159"/>
                      <a:pt x="232" y="158"/>
                      <a:pt x="231" y="158"/>
                    </a:cubicBezTo>
                    <a:cubicBezTo>
                      <a:pt x="231" y="157"/>
                      <a:pt x="231" y="157"/>
                      <a:pt x="231" y="157"/>
                    </a:cubicBezTo>
                    <a:cubicBezTo>
                      <a:pt x="231" y="156"/>
                      <a:pt x="229" y="156"/>
                      <a:pt x="229" y="157"/>
                    </a:cubicBezTo>
                    <a:cubicBezTo>
                      <a:pt x="228" y="158"/>
                      <a:pt x="228" y="159"/>
                      <a:pt x="228" y="159"/>
                    </a:cubicBezTo>
                    <a:cubicBezTo>
                      <a:pt x="228" y="158"/>
                      <a:pt x="229" y="157"/>
                      <a:pt x="227" y="156"/>
                    </a:cubicBezTo>
                    <a:cubicBezTo>
                      <a:pt x="225" y="156"/>
                      <a:pt x="226" y="157"/>
                      <a:pt x="225" y="157"/>
                    </a:cubicBezTo>
                    <a:cubicBezTo>
                      <a:pt x="223" y="157"/>
                      <a:pt x="224" y="155"/>
                      <a:pt x="223" y="154"/>
                    </a:cubicBezTo>
                    <a:cubicBezTo>
                      <a:pt x="222" y="154"/>
                      <a:pt x="220" y="154"/>
                      <a:pt x="219" y="155"/>
                    </a:cubicBezTo>
                    <a:cubicBezTo>
                      <a:pt x="218" y="155"/>
                      <a:pt x="219" y="156"/>
                      <a:pt x="219" y="156"/>
                    </a:cubicBezTo>
                    <a:cubicBezTo>
                      <a:pt x="219" y="157"/>
                      <a:pt x="220" y="157"/>
                      <a:pt x="220" y="158"/>
                    </a:cubicBezTo>
                    <a:cubicBezTo>
                      <a:pt x="220" y="158"/>
                      <a:pt x="221" y="158"/>
                      <a:pt x="221" y="158"/>
                    </a:cubicBezTo>
                    <a:cubicBezTo>
                      <a:pt x="221" y="158"/>
                      <a:pt x="222" y="158"/>
                      <a:pt x="222" y="158"/>
                    </a:cubicBezTo>
                    <a:cubicBezTo>
                      <a:pt x="222" y="159"/>
                      <a:pt x="223" y="159"/>
                      <a:pt x="223" y="159"/>
                    </a:cubicBezTo>
                    <a:cubicBezTo>
                      <a:pt x="224" y="159"/>
                      <a:pt x="224" y="161"/>
                      <a:pt x="223" y="160"/>
                    </a:cubicBezTo>
                    <a:cubicBezTo>
                      <a:pt x="222" y="160"/>
                      <a:pt x="222" y="161"/>
                      <a:pt x="221" y="161"/>
                    </a:cubicBezTo>
                    <a:cubicBezTo>
                      <a:pt x="221" y="162"/>
                      <a:pt x="220" y="161"/>
                      <a:pt x="220" y="161"/>
                    </a:cubicBezTo>
                    <a:cubicBezTo>
                      <a:pt x="219" y="161"/>
                      <a:pt x="219" y="160"/>
                      <a:pt x="219" y="160"/>
                    </a:cubicBezTo>
                    <a:cubicBezTo>
                      <a:pt x="219" y="160"/>
                      <a:pt x="219" y="160"/>
                      <a:pt x="218" y="159"/>
                    </a:cubicBezTo>
                    <a:cubicBezTo>
                      <a:pt x="218" y="159"/>
                      <a:pt x="218" y="159"/>
                      <a:pt x="218" y="159"/>
                    </a:cubicBezTo>
                    <a:cubicBezTo>
                      <a:pt x="218" y="158"/>
                      <a:pt x="218" y="158"/>
                      <a:pt x="217" y="159"/>
                    </a:cubicBezTo>
                    <a:cubicBezTo>
                      <a:pt x="217" y="159"/>
                      <a:pt x="217" y="158"/>
                      <a:pt x="217" y="158"/>
                    </a:cubicBezTo>
                    <a:cubicBezTo>
                      <a:pt x="217" y="158"/>
                      <a:pt x="217" y="158"/>
                      <a:pt x="217" y="158"/>
                    </a:cubicBezTo>
                    <a:cubicBezTo>
                      <a:pt x="216" y="158"/>
                      <a:pt x="216" y="158"/>
                      <a:pt x="216" y="158"/>
                    </a:cubicBezTo>
                    <a:cubicBezTo>
                      <a:pt x="214" y="158"/>
                      <a:pt x="214" y="157"/>
                      <a:pt x="212" y="158"/>
                    </a:cubicBezTo>
                    <a:cubicBezTo>
                      <a:pt x="212" y="158"/>
                      <a:pt x="211" y="160"/>
                      <a:pt x="210" y="159"/>
                    </a:cubicBezTo>
                    <a:cubicBezTo>
                      <a:pt x="210" y="159"/>
                      <a:pt x="209" y="160"/>
                      <a:pt x="209" y="160"/>
                    </a:cubicBezTo>
                    <a:cubicBezTo>
                      <a:pt x="209" y="161"/>
                      <a:pt x="209" y="161"/>
                      <a:pt x="210" y="162"/>
                    </a:cubicBezTo>
                    <a:cubicBezTo>
                      <a:pt x="210" y="162"/>
                      <a:pt x="209" y="162"/>
                      <a:pt x="209" y="163"/>
                    </a:cubicBezTo>
                    <a:cubicBezTo>
                      <a:pt x="209" y="163"/>
                      <a:pt x="209" y="164"/>
                      <a:pt x="209" y="164"/>
                    </a:cubicBezTo>
                    <a:cubicBezTo>
                      <a:pt x="209" y="164"/>
                      <a:pt x="210" y="165"/>
                      <a:pt x="210" y="165"/>
                    </a:cubicBezTo>
                    <a:cubicBezTo>
                      <a:pt x="211" y="165"/>
                      <a:pt x="211" y="165"/>
                      <a:pt x="212" y="165"/>
                    </a:cubicBezTo>
                    <a:cubicBezTo>
                      <a:pt x="213" y="166"/>
                      <a:pt x="213" y="164"/>
                      <a:pt x="214" y="165"/>
                    </a:cubicBezTo>
                    <a:cubicBezTo>
                      <a:pt x="215" y="165"/>
                      <a:pt x="216" y="165"/>
                      <a:pt x="216" y="164"/>
                    </a:cubicBezTo>
                    <a:cubicBezTo>
                      <a:pt x="217" y="164"/>
                      <a:pt x="218" y="163"/>
                      <a:pt x="218" y="163"/>
                    </a:cubicBezTo>
                    <a:cubicBezTo>
                      <a:pt x="218" y="163"/>
                      <a:pt x="219" y="164"/>
                      <a:pt x="219" y="163"/>
                    </a:cubicBezTo>
                    <a:cubicBezTo>
                      <a:pt x="219" y="163"/>
                      <a:pt x="219" y="163"/>
                      <a:pt x="220" y="163"/>
                    </a:cubicBezTo>
                    <a:cubicBezTo>
                      <a:pt x="220" y="164"/>
                      <a:pt x="220" y="163"/>
                      <a:pt x="221" y="163"/>
                    </a:cubicBezTo>
                    <a:cubicBezTo>
                      <a:pt x="222" y="162"/>
                      <a:pt x="223" y="163"/>
                      <a:pt x="224" y="162"/>
                    </a:cubicBezTo>
                    <a:cubicBezTo>
                      <a:pt x="224" y="161"/>
                      <a:pt x="224" y="161"/>
                      <a:pt x="225" y="161"/>
                    </a:cubicBezTo>
                    <a:cubicBezTo>
                      <a:pt x="225" y="160"/>
                      <a:pt x="225" y="160"/>
                      <a:pt x="225" y="160"/>
                    </a:cubicBezTo>
                    <a:cubicBezTo>
                      <a:pt x="225" y="160"/>
                      <a:pt x="226" y="161"/>
                      <a:pt x="225" y="161"/>
                    </a:cubicBezTo>
                    <a:cubicBezTo>
                      <a:pt x="225" y="162"/>
                      <a:pt x="225" y="162"/>
                      <a:pt x="225" y="162"/>
                    </a:cubicBezTo>
                    <a:cubicBezTo>
                      <a:pt x="225" y="163"/>
                      <a:pt x="227" y="162"/>
                      <a:pt x="227" y="162"/>
                    </a:cubicBezTo>
                    <a:cubicBezTo>
                      <a:pt x="228" y="162"/>
                      <a:pt x="229" y="162"/>
                      <a:pt x="230" y="163"/>
                    </a:cubicBezTo>
                    <a:cubicBezTo>
                      <a:pt x="231" y="163"/>
                      <a:pt x="230" y="162"/>
                      <a:pt x="229" y="162"/>
                    </a:cubicBezTo>
                    <a:close/>
                    <a:moveTo>
                      <a:pt x="29" y="54"/>
                    </a:moveTo>
                    <a:cubicBezTo>
                      <a:pt x="29" y="53"/>
                      <a:pt x="29" y="53"/>
                      <a:pt x="28" y="53"/>
                    </a:cubicBezTo>
                    <a:cubicBezTo>
                      <a:pt x="28" y="52"/>
                      <a:pt x="28" y="52"/>
                      <a:pt x="27" y="52"/>
                    </a:cubicBezTo>
                    <a:cubicBezTo>
                      <a:pt x="27" y="51"/>
                      <a:pt x="26" y="50"/>
                      <a:pt x="26" y="49"/>
                    </a:cubicBezTo>
                    <a:cubicBezTo>
                      <a:pt x="26" y="49"/>
                      <a:pt x="25" y="49"/>
                      <a:pt x="25" y="49"/>
                    </a:cubicBezTo>
                    <a:cubicBezTo>
                      <a:pt x="25" y="49"/>
                      <a:pt x="25" y="49"/>
                      <a:pt x="25" y="49"/>
                    </a:cubicBezTo>
                    <a:cubicBezTo>
                      <a:pt x="24" y="48"/>
                      <a:pt x="24" y="48"/>
                      <a:pt x="24" y="49"/>
                    </a:cubicBezTo>
                    <a:cubicBezTo>
                      <a:pt x="24" y="49"/>
                      <a:pt x="24" y="49"/>
                      <a:pt x="23" y="50"/>
                    </a:cubicBezTo>
                    <a:cubicBezTo>
                      <a:pt x="23" y="50"/>
                      <a:pt x="23" y="50"/>
                      <a:pt x="22" y="50"/>
                    </a:cubicBezTo>
                    <a:cubicBezTo>
                      <a:pt x="22" y="50"/>
                      <a:pt x="21" y="50"/>
                      <a:pt x="22" y="50"/>
                    </a:cubicBezTo>
                    <a:cubicBezTo>
                      <a:pt x="22" y="50"/>
                      <a:pt x="22" y="50"/>
                      <a:pt x="23" y="51"/>
                    </a:cubicBezTo>
                    <a:cubicBezTo>
                      <a:pt x="23" y="51"/>
                      <a:pt x="23" y="51"/>
                      <a:pt x="23" y="52"/>
                    </a:cubicBezTo>
                    <a:cubicBezTo>
                      <a:pt x="24" y="52"/>
                      <a:pt x="25" y="53"/>
                      <a:pt x="25" y="54"/>
                    </a:cubicBezTo>
                    <a:cubicBezTo>
                      <a:pt x="25" y="55"/>
                      <a:pt x="25" y="55"/>
                      <a:pt x="25" y="55"/>
                    </a:cubicBezTo>
                    <a:cubicBezTo>
                      <a:pt x="26" y="55"/>
                      <a:pt x="26" y="55"/>
                      <a:pt x="26" y="55"/>
                    </a:cubicBezTo>
                    <a:cubicBezTo>
                      <a:pt x="27" y="56"/>
                      <a:pt x="27" y="56"/>
                      <a:pt x="27" y="57"/>
                    </a:cubicBezTo>
                    <a:cubicBezTo>
                      <a:pt x="27" y="57"/>
                      <a:pt x="27" y="58"/>
                      <a:pt x="28" y="58"/>
                    </a:cubicBezTo>
                    <a:cubicBezTo>
                      <a:pt x="28" y="58"/>
                      <a:pt x="27" y="59"/>
                      <a:pt x="28" y="59"/>
                    </a:cubicBezTo>
                    <a:cubicBezTo>
                      <a:pt x="29" y="59"/>
                      <a:pt x="29" y="59"/>
                      <a:pt x="29" y="59"/>
                    </a:cubicBezTo>
                    <a:cubicBezTo>
                      <a:pt x="30" y="58"/>
                      <a:pt x="30" y="57"/>
                      <a:pt x="30" y="56"/>
                    </a:cubicBezTo>
                    <a:cubicBezTo>
                      <a:pt x="30" y="55"/>
                      <a:pt x="30" y="54"/>
                      <a:pt x="29" y="54"/>
                    </a:cubicBezTo>
                    <a:close/>
                    <a:moveTo>
                      <a:pt x="93" y="73"/>
                    </a:moveTo>
                    <a:cubicBezTo>
                      <a:pt x="93" y="73"/>
                      <a:pt x="93" y="72"/>
                      <a:pt x="93" y="72"/>
                    </a:cubicBezTo>
                    <a:cubicBezTo>
                      <a:pt x="93" y="72"/>
                      <a:pt x="93" y="72"/>
                      <a:pt x="94" y="72"/>
                    </a:cubicBezTo>
                    <a:cubicBezTo>
                      <a:pt x="94" y="72"/>
                      <a:pt x="94" y="71"/>
                      <a:pt x="94" y="71"/>
                    </a:cubicBezTo>
                    <a:cubicBezTo>
                      <a:pt x="94" y="71"/>
                      <a:pt x="95" y="71"/>
                      <a:pt x="95" y="70"/>
                    </a:cubicBezTo>
                    <a:cubicBezTo>
                      <a:pt x="95" y="70"/>
                      <a:pt x="94" y="69"/>
                      <a:pt x="94" y="69"/>
                    </a:cubicBezTo>
                    <a:cubicBezTo>
                      <a:pt x="93" y="69"/>
                      <a:pt x="93" y="69"/>
                      <a:pt x="93" y="70"/>
                    </a:cubicBezTo>
                    <a:cubicBezTo>
                      <a:pt x="93" y="70"/>
                      <a:pt x="92" y="69"/>
                      <a:pt x="92" y="70"/>
                    </a:cubicBezTo>
                    <a:cubicBezTo>
                      <a:pt x="92" y="70"/>
                      <a:pt x="92" y="69"/>
                      <a:pt x="92" y="69"/>
                    </a:cubicBezTo>
                    <a:cubicBezTo>
                      <a:pt x="92" y="70"/>
                      <a:pt x="91" y="70"/>
                      <a:pt x="92" y="71"/>
                    </a:cubicBezTo>
                    <a:cubicBezTo>
                      <a:pt x="92" y="71"/>
                      <a:pt x="93" y="73"/>
                      <a:pt x="93" y="73"/>
                    </a:cubicBezTo>
                    <a:close/>
                    <a:moveTo>
                      <a:pt x="198" y="142"/>
                    </a:moveTo>
                    <a:cubicBezTo>
                      <a:pt x="199" y="142"/>
                      <a:pt x="199" y="141"/>
                      <a:pt x="198" y="141"/>
                    </a:cubicBezTo>
                    <a:cubicBezTo>
                      <a:pt x="198" y="140"/>
                      <a:pt x="197" y="140"/>
                      <a:pt x="196" y="140"/>
                    </a:cubicBezTo>
                    <a:cubicBezTo>
                      <a:pt x="196" y="140"/>
                      <a:pt x="196" y="141"/>
                      <a:pt x="195" y="141"/>
                    </a:cubicBezTo>
                    <a:cubicBezTo>
                      <a:pt x="195" y="141"/>
                      <a:pt x="196" y="141"/>
                      <a:pt x="196" y="142"/>
                    </a:cubicBezTo>
                    <a:cubicBezTo>
                      <a:pt x="196" y="143"/>
                      <a:pt x="196" y="142"/>
                      <a:pt x="196" y="142"/>
                    </a:cubicBezTo>
                    <a:cubicBezTo>
                      <a:pt x="196" y="142"/>
                      <a:pt x="197" y="142"/>
                      <a:pt x="197" y="142"/>
                    </a:cubicBezTo>
                    <a:cubicBezTo>
                      <a:pt x="197" y="142"/>
                      <a:pt x="197" y="141"/>
                      <a:pt x="197" y="141"/>
                    </a:cubicBezTo>
                    <a:cubicBezTo>
                      <a:pt x="197" y="141"/>
                      <a:pt x="198" y="141"/>
                      <a:pt x="198" y="142"/>
                    </a:cubicBezTo>
                    <a:close/>
                    <a:moveTo>
                      <a:pt x="321" y="84"/>
                    </a:moveTo>
                    <a:cubicBezTo>
                      <a:pt x="322" y="84"/>
                      <a:pt x="322" y="84"/>
                      <a:pt x="322" y="84"/>
                    </a:cubicBezTo>
                    <a:cubicBezTo>
                      <a:pt x="324" y="84"/>
                      <a:pt x="324" y="83"/>
                      <a:pt x="322" y="82"/>
                    </a:cubicBezTo>
                    <a:cubicBezTo>
                      <a:pt x="322" y="82"/>
                      <a:pt x="322" y="82"/>
                      <a:pt x="321" y="81"/>
                    </a:cubicBezTo>
                    <a:cubicBezTo>
                      <a:pt x="321" y="81"/>
                      <a:pt x="321" y="81"/>
                      <a:pt x="320" y="81"/>
                    </a:cubicBezTo>
                    <a:cubicBezTo>
                      <a:pt x="320" y="81"/>
                      <a:pt x="319" y="79"/>
                      <a:pt x="318" y="80"/>
                    </a:cubicBezTo>
                    <a:cubicBezTo>
                      <a:pt x="318" y="80"/>
                      <a:pt x="317" y="81"/>
                      <a:pt x="317" y="81"/>
                    </a:cubicBezTo>
                    <a:cubicBezTo>
                      <a:pt x="316" y="80"/>
                      <a:pt x="316" y="82"/>
                      <a:pt x="316" y="82"/>
                    </a:cubicBezTo>
                    <a:cubicBezTo>
                      <a:pt x="316" y="83"/>
                      <a:pt x="316" y="84"/>
                      <a:pt x="317" y="84"/>
                    </a:cubicBezTo>
                    <a:cubicBezTo>
                      <a:pt x="318" y="85"/>
                      <a:pt x="319" y="84"/>
                      <a:pt x="320" y="84"/>
                    </a:cubicBezTo>
                    <a:cubicBezTo>
                      <a:pt x="320" y="84"/>
                      <a:pt x="321" y="84"/>
                      <a:pt x="321" y="84"/>
                    </a:cubicBezTo>
                    <a:close/>
                    <a:moveTo>
                      <a:pt x="43" y="83"/>
                    </a:moveTo>
                    <a:cubicBezTo>
                      <a:pt x="42" y="83"/>
                      <a:pt x="42" y="82"/>
                      <a:pt x="42" y="82"/>
                    </a:cubicBezTo>
                    <a:cubicBezTo>
                      <a:pt x="42" y="82"/>
                      <a:pt x="42" y="81"/>
                      <a:pt x="42" y="81"/>
                    </a:cubicBezTo>
                    <a:cubicBezTo>
                      <a:pt x="42" y="81"/>
                      <a:pt x="42" y="81"/>
                      <a:pt x="42" y="80"/>
                    </a:cubicBezTo>
                    <a:cubicBezTo>
                      <a:pt x="41" y="80"/>
                      <a:pt x="41" y="80"/>
                      <a:pt x="41" y="79"/>
                    </a:cubicBezTo>
                    <a:cubicBezTo>
                      <a:pt x="41" y="78"/>
                      <a:pt x="40" y="78"/>
                      <a:pt x="40" y="77"/>
                    </a:cubicBezTo>
                    <a:cubicBezTo>
                      <a:pt x="40" y="77"/>
                      <a:pt x="39" y="76"/>
                      <a:pt x="40" y="76"/>
                    </a:cubicBezTo>
                    <a:cubicBezTo>
                      <a:pt x="40" y="76"/>
                      <a:pt x="40" y="76"/>
                      <a:pt x="40" y="76"/>
                    </a:cubicBezTo>
                    <a:cubicBezTo>
                      <a:pt x="39" y="75"/>
                      <a:pt x="38" y="76"/>
                      <a:pt x="38" y="76"/>
                    </a:cubicBezTo>
                    <a:cubicBezTo>
                      <a:pt x="37" y="76"/>
                      <a:pt x="37" y="77"/>
                      <a:pt x="37" y="78"/>
                    </a:cubicBezTo>
                    <a:cubicBezTo>
                      <a:pt x="36" y="79"/>
                      <a:pt x="37" y="80"/>
                      <a:pt x="38" y="81"/>
                    </a:cubicBezTo>
                    <a:cubicBezTo>
                      <a:pt x="38" y="82"/>
                      <a:pt x="39" y="83"/>
                      <a:pt x="39" y="84"/>
                    </a:cubicBezTo>
                    <a:cubicBezTo>
                      <a:pt x="40" y="84"/>
                      <a:pt x="41" y="85"/>
                      <a:pt x="41" y="85"/>
                    </a:cubicBezTo>
                    <a:cubicBezTo>
                      <a:pt x="42" y="85"/>
                      <a:pt x="43" y="85"/>
                      <a:pt x="43" y="84"/>
                    </a:cubicBezTo>
                    <a:cubicBezTo>
                      <a:pt x="42" y="83"/>
                      <a:pt x="43" y="83"/>
                      <a:pt x="43" y="84"/>
                    </a:cubicBezTo>
                    <a:cubicBezTo>
                      <a:pt x="43" y="84"/>
                      <a:pt x="43" y="84"/>
                      <a:pt x="43" y="84"/>
                    </a:cubicBezTo>
                    <a:cubicBezTo>
                      <a:pt x="43" y="84"/>
                      <a:pt x="43" y="83"/>
                      <a:pt x="43" y="83"/>
                    </a:cubicBezTo>
                    <a:cubicBezTo>
                      <a:pt x="43" y="83"/>
                      <a:pt x="43" y="83"/>
                      <a:pt x="43" y="83"/>
                    </a:cubicBezTo>
                    <a:close/>
                    <a:moveTo>
                      <a:pt x="385" y="131"/>
                    </a:moveTo>
                    <a:cubicBezTo>
                      <a:pt x="384" y="131"/>
                      <a:pt x="384" y="131"/>
                      <a:pt x="384" y="131"/>
                    </a:cubicBezTo>
                    <a:cubicBezTo>
                      <a:pt x="384" y="130"/>
                      <a:pt x="385" y="131"/>
                      <a:pt x="385" y="131"/>
                    </a:cubicBezTo>
                    <a:cubicBezTo>
                      <a:pt x="385" y="131"/>
                      <a:pt x="385" y="130"/>
                      <a:pt x="385" y="130"/>
                    </a:cubicBezTo>
                    <a:cubicBezTo>
                      <a:pt x="385" y="130"/>
                      <a:pt x="385" y="130"/>
                      <a:pt x="385" y="130"/>
                    </a:cubicBezTo>
                    <a:cubicBezTo>
                      <a:pt x="385" y="129"/>
                      <a:pt x="385" y="129"/>
                      <a:pt x="385" y="129"/>
                    </a:cubicBezTo>
                    <a:cubicBezTo>
                      <a:pt x="385" y="128"/>
                      <a:pt x="385" y="128"/>
                      <a:pt x="385" y="128"/>
                    </a:cubicBezTo>
                    <a:cubicBezTo>
                      <a:pt x="385" y="127"/>
                      <a:pt x="385" y="127"/>
                      <a:pt x="384" y="127"/>
                    </a:cubicBezTo>
                    <a:cubicBezTo>
                      <a:pt x="385" y="127"/>
                      <a:pt x="385" y="126"/>
                      <a:pt x="385" y="126"/>
                    </a:cubicBezTo>
                    <a:cubicBezTo>
                      <a:pt x="384" y="125"/>
                      <a:pt x="384" y="125"/>
                      <a:pt x="383" y="125"/>
                    </a:cubicBezTo>
                    <a:cubicBezTo>
                      <a:pt x="383" y="125"/>
                      <a:pt x="383" y="126"/>
                      <a:pt x="383" y="126"/>
                    </a:cubicBezTo>
                    <a:cubicBezTo>
                      <a:pt x="383" y="126"/>
                      <a:pt x="383" y="126"/>
                      <a:pt x="382" y="127"/>
                    </a:cubicBezTo>
                    <a:cubicBezTo>
                      <a:pt x="382" y="127"/>
                      <a:pt x="382" y="127"/>
                      <a:pt x="382" y="128"/>
                    </a:cubicBezTo>
                    <a:cubicBezTo>
                      <a:pt x="382" y="128"/>
                      <a:pt x="382" y="128"/>
                      <a:pt x="382" y="128"/>
                    </a:cubicBezTo>
                    <a:cubicBezTo>
                      <a:pt x="381" y="128"/>
                      <a:pt x="381" y="128"/>
                      <a:pt x="380" y="128"/>
                    </a:cubicBezTo>
                    <a:cubicBezTo>
                      <a:pt x="380" y="128"/>
                      <a:pt x="380" y="128"/>
                      <a:pt x="381" y="129"/>
                    </a:cubicBezTo>
                    <a:cubicBezTo>
                      <a:pt x="381" y="129"/>
                      <a:pt x="381" y="129"/>
                      <a:pt x="381" y="129"/>
                    </a:cubicBezTo>
                    <a:cubicBezTo>
                      <a:pt x="381" y="129"/>
                      <a:pt x="381" y="129"/>
                      <a:pt x="381" y="129"/>
                    </a:cubicBezTo>
                    <a:cubicBezTo>
                      <a:pt x="381" y="129"/>
                      <a:pt x="382" y="129"/>
                      <a:pt x="382" y="129"/>
                    </a:cubicBezTo>
                    <a:cubicBezTo>
                      <a:pt x="382" y="130"/>
                      <a:pt x="380" y="130"/>
                      <a:pt x="381" y="131"/>
                    </a:cubicBezTo>
                    <a:cubicBezTo>
                      <a:pt x="381" y="131"/>
                      <a:pt x="381" y="132"/>
                      <a:pt x="382" y="131"/>
                    </a:cubicBezTo>
                    <a:cubicBezTo>
                      <a:pt x="381" y="132"/>
                      <a:pt x="381" y="132"/>
                      <a:pt x="381" y="132"/>
                    </a:cubicBezTo>
                    <a:cubicBezTo>
                      <a:pt x="380" y="132"/>
                      <a:pt x="381" y="133"/>
                      <a:pt x="381" y="133"/>
                    </a:cubicBezTo>
                    <a:cubicBezTo>
                      <a:pt x="381" y="134"/>
                      <a:pt x="382" y="134"/>
                      <a:pt x="383" y="135"/>
                    </a:cubicBezTo>
                    <a:cubicBezTo>
                      <a:pt x="383" y="135"/>
                      <a:pt x="384" y="135"/>
                      <a:pt x="384" y="135"/>
                    </a:cubicBezTo>
                    <a:cubicBezTo>
                      <a:pt x="385" y="134"/>
                      <a:pt x="385" y="134"/>
                      <a:pt x="385" y="133"/>
                    </a:cubicBezTo>
                    <a:cubicBezTo>
                      <a:pt x="385" y="133"/>
                      <a:pt x="385" y="133"/>
                      <a:pt x="384" y="133"/>
                    </a:cubicBezTo>
                    <a:cubicBezTo>
                      <a:pt x="385" y="133"/>
                      <a:pt x="385" y="133"/>
                      <a:pt x="385" y="132"/>
                    </a:cubicBezTo>
                    <a:cubicBezTo>
                      <a:pt x="385" y="132"/>
                      <a:pt x="385" y="131"/>
                      <a:pt x="385" y="131"/>
                    </a:cubicBezTo>
                    <a:close/>
                    <a:moveTo>
                      <a:pt x="274" y="86"/>
                    </a:moveTo>
                    <a:cubicBezTo>
                      <a:pt x="274" y="86"/>
                      <a:pt x="274" y="86"/>
                      <a:pt x="275" y="85"/>
                    </a:cubicBezTo>
                    <a:cubicBezTo>
                      <a:pt x="275" y="85"/>
                      <a:pt x="274" y="84"/>
                      <a:pt x="274" y="85"/>
                    </a:cubicBezTo>
                    <a:cubicBezTo>
                      <a:pt x="274" y="85"/>
                      <a:pt x="274" y="86"/>
                      <a:pt x="274" y="86"/>
                    </a:cubicBezTo>
                    <a:close/>
                    <a:moveTo>
                      <a:pt x="400" y="83"/>
                    </a:moveTo>
                    <a:cubicBezTo>
                      <a:pt x="399" y="83"/>
                      <a:pt x="398" y="83"/>
                      <a:pt x="397" y="83"/>
                    </a:cubicBezTo>
                    <a:cubicBezTo>
                      <a:pt x="396" y="83"/>
                      <a:pt x="395" y="83"/>
                      <a:pt x="395" y="83"/>
                    </a:cubicBezTo>
                    <a:cubicBezTo>
                      <a:pt x="394" y="83"/>
                      <a:pt x="394" y="83"/>
                      <a:pt x="394" y="83"/>
                    </a:cubicBezTo>
                    <a:cubicBezTo>
                      <a:pt x="395" y="84"/>
                      <a:pt x="395" y="84"/>
                      <a:pt x="395" y="84"/>
                    </a:cubicBezTo>
                    <a:cubicBezTo>
                      <a:pt x="396" y="84"/>
                      <a:pt x="398" y="84"/>
                      <a:pt x="399" y="85"/>
                    </a:cubicBezTo>
                    <a:cubicBezTo>
                      <a:pt x="400" y="85"/>
                      <a:pt x="401" y="85"/>
                      <a:pt x="402" y="86"/>
                    </a:cubicBezTo>
                    <a:cubicBezTo>
                      <a:pt x="402" y="86"/>
                      <a:pt x="402" y="86"/>
                      <a:pt x="403" y="86"/>
                    </a:cubicBezTo>
                    <a:cubicBezTo>
                      <a:pt x="403" y="86"/>
                      <a:pt x="404" y="86"/>
                      <a:pt x="405" y="86"/>
                    </a:cubicBezTo>
                    <a:cubicBezTo>
                      <a:pt x="405" y="86"/>
                      <a:pt x="404" y="86"/>
                      <a:pt x="405" y="86"/>
                    </a:cubicBezTo>
                    <a:cubicBezTo>
                      <a:pt x="406" y="86"/>
                      <a:pt x="406" y="86"/>
                      <a:pt x="406" y="85"/>
                    </a:cubicBezTo>
                    <a:cubicBezTo>
                      <a:pt x="407" y="85"/>
                      <a:pt x="408" y="86"/>
                      <a:pt x="408" y="85"/>
                    </a:cubicBezTo>
                    <a:cubicBezTo>
                      <a:pt x="408" y="84"/>
                      <a:pt x="406" y="84"/>
                      <a:pt x="405" y="84"/>
                    </a:cubicBezTo>
                    <a:cubicBezTo>
                      <a:pt x="404" y="84"/>
                      <a:pt x="403" y="84"/>
                      <a:pt x="402" y="84"/>
                    </a:cubicBezTo>
                    <a:cubicBezTo>
                      <a:pt x="402" y="84"/>
                      <a:pt x="401" y="83"/>
                      <a:pt x="400" y="83"/>
                    </a:cubicBezTo>
                    <a:close/>
                    <a:moveTo>
                      <a:pt x="300" y="86"/>
                    </a:moveTo>
                    <a:cubicBezTo>
                      <a:pt x="301" y="86"/>
                      <a:pt x="301" y="86"/>
                      <a:pt x="301" y="86"/>
                    </a:cubicBezTo>
                    <a:cubicBezTo>
                      <a:pt x="301" y="86"/>
                      <a:pt x="302" y="86"/>
                      <a:pt x="302" y="86"/>
                    </a:cubicBezTo>
                    <a:cubicBezTo>
                      <a:pt x="303" y="86"/>
                      <a:pt x="304" y="86"/>
                      <a:pt x="305" y="86"/>
                    </a:cubicBezTo>
                    <a:cubicBezTo>
                      <a:pt x="305" y="86"/>
                      <a:pt x="306" y="85"/>
                      <a:pt x="305" y="85"/>
                    </a:cubicBezTo>
                    <a:cubicBezTo>
                      <a:pt x="304" y="85"/>
                      <a:pt x="302" y="85"/>
                      <a:pt x="301" y="85"/>
                    </a:cubicBezTo>
                    <a:cubicBezTo>
                      <a:pt x="300" y="85"/>
                      <a:pt x="300" y="85"/>
                      <a:pt x="299" y="85"/>
                    </a:cubicBezTo>
                    <a:cubicBezTo>
                      <a:pt x="299" y="85"/>
                      <a:pt x="298" y="85"/>
                      <a:pt x="298" y="85"/>
                    </a:cubicBezTo>
                    <a:cubicBezTo>
                      <a:pt x="298" y="85"/>
                      <a:pt x="297" y="85"/>
                      <a:pt x="297" y="85"/>
                    </a:cubicBezTo>
                    <a:cubicBezTo>
                      <a:pt x="296" y="85"/>
                      <a:pt x="296" y="85"/>
                      <a:pt x="296" y="86"/>
                    </a:cubicBezTo>
                    <a:cubicBezTo>
                      <a:pt x="296" y="86"/>
                      <a:pt x="297" y="86"/>
                      <a:pt x="297" y="87"/>
                    </a:cubicBezTo>
                    <a:cubicBezTo>
                      <a:pt x="298" y="86"/>
                      <a:pt x="299" y="87"/>
                      <a:pt x="300" y="86"/>
                    </a:cubicBezTo>
                    <a:close/>
                    <a:moveTo>
                      <a:pt x="325" y="144"/>
                    </a:moveTo>
                    <a:cubicBezTo>
                      <a:pt x="325" y="144"/>
                      <a:pt x="326" y="143"/>
                      <a:pt x="326" y="143"/>
                    </a:cubicBezTo>
                    <a:cubicBezTo>
                      <a:pt x="326" y="143"/>
                      <a:pt x="325" y="143"/>
                      <a:pt x="325" y="143"/>
                    </a:cubicBezTo>
                    <a:cubicBezTo>
                      <a:pt x="324" y="143"/>
                      <a:pt x="325" y="145"/>
                      <a:pt x="325" y="144"/>
                    </a:cubicBezTo>
                    <a:close/>
                    <a:moveTo>
                      <a:pt x="185" y="142"/>
                    </a:moveTo>
                    <a:cubicBezTo>
                      <a:pt x="184" y="140"/>
                      <a:pt x="181" y="141"/>
                      <a:pt x="180" y="141"/>
                    </a:cubicBezTo>
                    <a:cubicBezTo>
                      <a:pt x="178" y="141"/>
                      <a:pt x="175" y="141"/>
                      <a:pt x="173" y="141"/>
                    </a:cubicBezTo>
                    <a:cubicBezTo>
                      <a:pt x="173" y="141"/>
                      <a:pt x="172" y="142"/>
                      <a:pt x="172" y="142"/>
                    </a:cubicBezTo>
                    <a:cubicBezTo>
                      <a:pt x="172" y="142"/>
                      <a:pt x="171" y="142"/>
                      <a:pt x="171" y="143"/>
                    </a:cubicBezTo>
                    <a:cubicBezTo>
                      <a:pt x="171" y="143"/>
                      <a:pt x="171" y="143"/>
                      <a:pt x="171" y="143"/>
                    </a:cubicBezTo>
                    <a:cubicBezTo>
                      <a:pt x="171" y="144"/>
                      <a:pt x="173" y="144"/>
                      <a:pt x="174" y="144"/>
                    </a:cubicBezTo>
                    <a:cubicBezTo>
                      <a:pt x="174" y="144"/>
                      <a:pt x="175" y="145"/>
                      <a:pt x="175" y="145"/>
                    </a:cubicBezTo>
                    <a:cubicBezTo>
                      <a:pt x="175" y="144"/>
                      <a:pt x="174" y="144"/>
                      <a:pt x="175" y="144"/>
                    </a:cubicBezTo>
                    <a:cubicBezTo>
                      <a:pt x="175" y="144"/>
                      <a:pt x="175" y="144"/>
                      <a:pt x="176" y="145"/>
                    </a:cubicBezTo>
                    <a:cubicBezTo>
                      <a:pt x="176" y="145"/>
                      <a:pt x="177" y="145"/>
                      <a:pt x="178" y="145"/>
                    </a:cubicBezTo>
                    <a:cubicBezTo>
                      <a:pt x="178" y="145"/>
                      <a:pt x="179" y="145"/>
                      <a:pt x="179" y="144"/>
                    </a:cubicBezTo>
                    <a:cubicBezTo>
                      <a:pt x="179" y="144"/>
                      <a:pt x="180" y="144"/>
                      <a:pt x="180" y="143"/>
                    </a:cubicBezTo>
                    <a:cubicBezTo>
                      <a:pt x="181" y="143"/>
                      <a:pt x="181" y="144"/>
                      <a:pt x="182" y="144"/>
                    </a:cubicBezTo>
                    <a:cubicBezTo>
                      <a:pt x="183" y="144"/>
                      <a:pt x="182" y="143"/>
                      <a:pt x="182" y="143"/>
                    </a:cubicBezTo>
                    <a:cubicBezTo>
                      <a:pt x="182" y="143"/>
                      <a:pt x="185" y="142"/>
                      <a:pt x="185" y="142"/>
                    </a:cubicBezTo>
                    <a:close/>
                    <a:moveTo>
                      <a:pt x="122" y="96"/>
                    </a:moveTo>
                    <a:cubicBezTo>
                      <a:pt x="122" y="96"/>
                      <a:pt x="121" y="97"/>
                      <a:pt x="122" y="97"/>
                    </a:cubicBezTo>
                    <a:cubicBezTo>
                      <a:pt x="122" y="98"/>
                      <a:pt x="123" y="97"/>
                      <a:pt x="122" y="96"/>
                    </a:cubicBezTo>
                    <a:close/>
                    <a:moveTo>
                      <a:pt x="95" y="66"/>
                    </a:moveTo>
                    <a:cubicBezTo>
                      <a:pt x="96" y="66"/>
                      <a:pt x="94" y="64"/>
                      <a:pt x="94" y="65"/>
                    </a:cubicBezTo>
                    <a:cubicBezTo>
                      <a:pt x="94" y="66"/>
                      <a:pt x="94" y="66"/>
                      <a:pt x="94" y="67"/>
                    </a:cubicBezTo>
                    <a:cubicBezTo>
                      <a:pt x="94" y="67"/>
                      <a:pt x="93" y="68"/>
                      <a:pt x="93" y="68"/>
                    </a:cubicBezTo>
                    <a:cubicBezTo>
                      <a:pt x="94" y="68"/>
                      <a:pt x="94" y="68"/>
                      <a:pt x="94" y="68"/>
                    </a:cubicBezTo>
                    <a:cubicBezTo>
                      <a:pt x="94" y="68"/>
                      <a:pt x="95" y="68"/>
                      <a:pt x="95" y="68"/>
                    </a:cubicBezTo>
                    <a:cubicBezTo>
                      <a:pt x="96" y="67"/>
                      <a:pt x="97" y="69"/>
                      <a:pt x="98" y="69"/>
                    </a:cubicBezTo>
                    <a:cubicBezTo>
                      <a:pt x="98" y="68"/>
                      <a:pt x="99" y="69"/>
                      <a:pt x="99" y="68"/>
                    </a:cubicBezTo>
                    <a:cubicBezTo>
                      <a:pt x="98" y="68"/>
                      <a:pt x="98" y="68"/>
                      <a:pt x="98" y="68"/>
                    </a:cubicBezTo>
                    <a:cubicBezTo>
                      <a:pt x="98" y="67"/>
                      <a:pt x="97" y="67"/>
                      <a:pt x="97" y="67"/>
                    </a:cubicBezTo>
                    <a:cubicBezTo>
                      <a:pt x="97" y="67"/>
                      <a:pt x="97" y="68"/>
                      <a:pt x="96" y="67"/>
                    </a:cubicBezTo>
                    <a:cubicBezTo>
                      <a:pt x="96" y="67"/>
                      <a:pt x="96" y="66"/>
                      <a:pt x="95" y="66"/>
                    </a:cubicBezTo>
                    <a:close/>
                    <a:moveTo>
                      <a:pt x="274" y="112"/>
                    </a:moveTo>
                    <a:cubicBezTo>
                      <a:pt x="274" y="111"/>
                      <a:pt x="275" y="110"/>
                      <a:pt x="275" y="110"/>
                    </a:cubicBezTo>
                    <a:cubicBezTo>
                      <a:pt x="274" y="109"/>
                      <a:pt x="273" y="110"/>
                      <a:pt x="273" y="109"/>
                    </a:cubicBezTo>
                    <a:cubicBezTo>
                      <a:pt x="271" y="109"/>
                      <a:pt x="272" y="113"/>
                      <a:pt x="274" y="112"/>
                    </a:cubicBezTo>
                    <a:close/>
                    <a:moveTo>
                      <a:pt x="296" y="39"/>
                    </a:moveTo>
                    <a:cubicBezTo>
                      <a:pt x="296" y="40"/>
                      <a:pt x="297" y="40"/>
                      <a:pt x="297" y="40"/>
                    </a:cubicBezTo>
                    <a:cubicBezTo>
                      <a:pt x="297" y="39"/>
                      <a:pt x="296" y="39"/>
                      <a:pt x="296" y="39"/>
                    </a:cubicBezTo>
                    <a:close/>
                    <a:moveTo>
                      <a:pt x="221" y="29"/>
                    </a:moveTo>
                    <a:cubicBezTo>
                      <a:pt x="221" y="29"/>
                      <a:pt x="221" y="28"/>
                      <a:pt x="221" y="28"/>
                    </a:cubicBezTo>
                    <a:cubicBezTo>
                      <a:pt x="221" y="27"/>
                      <a:pt x="220" y="28"/>
                      <a:pt x="220" y="28"/>
                    </a:cubicBezTo>
                    <a:cubicBezTo>
                      <a:pt x="219" y="28"/>
                      <a:pt x="221" y="30"/>
                      <a:pt x="221" y="29"/>
                    </a:cubicBezTo>
                    <a:close/>
                    <a:moveTo>
                      <a:pt x="313" y="149"/>
                    </a:moveTo>
                    <a:cubicBezTo>
                      <a:pt x="313" y="149"/>
                      <a:pt x="313" y="149"/>
                      <a:pt x="313" y="149"/>
                    </a:cubicBezTo>
                    <a:cubicBezTo>
                      <a:pt x="313" y="149"/>
                      <a:pt x="314" y="149"/>
                      <a:pt x="314" y="148"/>
                    </a:cubicBezTo>
                    <a:cubicBezTo>
                      <a:pt x="314" y="148"/>
                      <a:pt x="313" y="148"/>
                      <a:pt x="313" y="148"/>
                    </a:cubicBezTo>
                    <a:cubicBezTo>
                      <a:pt x="313" y="147"/>
                      <a:pt x="312" y="149"/>
                      <a:pt x="313" y="149"/>
                    </a:cubicBezTo>
                    <a:close/>
                    <a:moveTo>
                      <a:pt x="72" y="50"/>
                    </a:moveTo>
                    <a:cubicBezTo>
                      <a:pt x="71" y="49"/>
                      <a:pt x="72" y="52"/>
                      <a:pt x="72" y="53"/>
                    </a:cubicBezTo>
                    <a:cubicBezTo>
                      <a:pt x="72" y="53"/>
                      <a:pt x="72" y="55"/>
                      <a:pt x="73" y="55"/>
                    </a:cubicBezTo>
                    <a:cubicBezTo>
                      <a:pt x="74" y="55"/>
                      <a:pt x="74" y="54"/>
                      <a:pt x="74" y="54"/>
                    </a:cubicBezTo>
                    <a:cubicBezTo>
                      <a:pt x="74" y="53"/>
                      <a:pt x="74" y="53"/>
                      <a:pt x="74" y="52"/>
                    </a:cubicBezTo>
                    <a:cubicBezTo>
                      <a:pt x="74" y="51"/>
                      <a:pt x="73" y="50"/>
                      <a:pt x="72" y="50"/>
                    </a:cubicBezTo>
                    <a:close/>
                    <a:moveTo>
                      <a:pt x="295" y="85"/>
                    </a:moveTo>
                    <a:cubicBezTo>
                      <a:pt x="295" y="85"/>
                      <a:pt x="295" y="84"/>
                      <a:pt x="295" y="84"/>
                    </a:cubicBezTo>
                    <a:cubicBezTo>
                      <a:pt x="295" y="85"/>
                      <a:pt x="295" y="85"/>
                      <a:pt x="294" y="85"/>
                    </a:cubicBezTo>
                    <a:cubicBezTo>
                      <a:pt x="294" y="85"/>
                      <a:pt x="295" y="84"/>
                      <a:pt x="294" y="84"/>
                    </a:cubicBezTo>
                    <a:cubicBezTo>
                      <a:pt x="294" y="84"/>
                      <a:pt x="294" y="84"/>
                      <a:pt x="294" y="84"/>
                    </a:cubicBezTo>
                    <a:cubicBezTo>
                      <a:pt x="294" y="85"/>
                      <a:pt x="293" y="85"/>
                      <a:pt x="293" y="84"/>
                    </a:cubicBezTo>
                    <a:cubicBezTo>
                      <a:pt x="292" y="84"/>
                      <a:pt x="292" y="84"/>
                      <a:pt x="291" y="84"/>
                    </a:cubicBezTo>
                    <a:cubicBezTo>
                      <a:pt x="290" y="84"/>
                      <a:pt x="289" y="83"/>
                      <a:pt x="288" y="83"/>
                    </a:cubicBezTo>
                    <a:cubicBezTo>
                      <a:pt x="288" y="83"/>
                      <a:pt x="287" y="83"/>
                      <a:pt x="287" y="83"/>
                    </a:cubicBezTo>
                    <a:cubicBezTo>
                      <a:pt x="286" y="83"/>
                      <a:pt x="287" y="84"/>
                      <a:pt x="286" y="85"/>
                    </a:cubicBezTo>
                    <a:cubicBezTo>
                      <a:pt x="286" y="86"/>
                      <a:pt x="286" y="86"/>
                      <a:pt x="286" y="87"/>
                    </a:cubicBezTo>
                    <a:cubicBezTo>
                      <a:pt x="287" y="88"/>
                      <a:pt x="289" y="87"/>
                      <a:pt x="290" y="86"/>
                    </a:cubicBezTo>
                    <a:cubicBezTo>
                      <a:pt x="291" y="86"/>
                      <a:pt x="292" y="87"/>
                      <a:pt x="293" y="87"/>
                    </a:cubicBezTo>
                    <a:cubicBezTo>
                      <a:pt x="293" y="86"/>
                      <a:pt x="293" y="86"/>
                      <a:pt x="293" y="86"/>
                    </a:cubicBezTo>
                    <a:cubicBezTo>
                      <a:pt x="293" y="86"/>
                      <a:pt x="294" y="86"/>
                      <a:pt x="294" y="86"/>
                    </a:cubicBezTo>
                    <a:cubicBezTo>
                      <a:pt x="294" y="86"/>
                      <a:pt x="296" y="86"/>
                      <a:pt x="296" y="86"/>
                    </a:cubicBezTo>
                    <a:cubicBezTo>
                      <a:pt x="296" y="85"/>
                      <a:pt x="296" y="85"/>
                      <a:pt x="296" y="85"/>
                    </a:cubicBezTo>
                    <a:cubicBezTo>
                      <a:pt x="296" y="85"/>
                      <a:pt x="295" y="85"/>
                      <a:pt x="295" y="85"/>
                    </a:cubicBezTo>
                    <a:close/>
                    <a:moveTo>
                      <a:pt x="341" y="87"/>
                    </a:moveTo>
                    <a:cubicBezTo>
                      <a:pt x="341" y="87"/>
                      <a:pt x="342" y="87"/>
                      <a:pt x="342" y="88"/>
                    </a:cubicBezTo>
                    <a:cubicBezTo>
                      <a:pt x="343" y="88"/>
                      <a:pt x="343" y="88"/>
                      <a:pt x="344" y="87"/>
                    </a:cubicBezTo>
                    <a:cubicBezTo>
                      <a:pt x="344" y="87"/>
                      <a:pt x="344" y="87"/>
                      <a:pt x="344" y="87"/>
                    </a:cubicBezTo>
                    <a:cubicBezTo>
                      <a:pt x="345" y="87"/>
                      <a:pt x="344" y="87"/>
                      <a:pt x="345" y="87"/>
                    </a:cubicBezTo>
                    <a:cubicBezTo>
                      <a:pt x="345" y="87"/>
                      <a:pt x="345" y="87"/>
                      <a:pt x="345" y="87"/>
                    </a:cubicBezTo>
                    <a:cubicBezTo>
                      <a:pt x="345" y="87"/>
                      <a:pt x="344" y="87"/>
                      <a:pt x="345" y="86"/>
                    </a:cubicBezTo>
                    <a:cubicBezTo>
                      <a:pt x="345" y="86"/>
                      <a:pt x="345" y="86"/>
                      <a:pt x="345" y="86"/>
                    </a:cubicBezTo>
                    <a:cubicBezTo>
                      <a:pt x="346" y="85"/>
                      <a:pt x="345" y="85"/>
                      <a:pt x="345" y="84"/>
                    </a:cubicBezTo>
                    <a:cubicBezTo>
                      <a:pt x="344" y="83"/>
                      <a:pt x="344" y="84"/>
                      <a:pt x="344" y="84"/>
                    </a:cubicBezTo>
                    <a:cubicBezTo>
                      <a:pt x="343" y="84"/>
                      <a:pt x="343" y="84"/>
                      <a:pt x="342" y="84"/>
                    </a:cubicBezTo>
                    <a:cubicBezTo>
                      <a:pt x="342" y="84"/>
                      <a:pt x="341" y="85"/>
                      <a:pt x="341" y="85"/>
                    </a:cubicBezTo>
                    <a:cubicBezTo>
                      <a:pt x="340" y="85"/>
                      <a:pt x="339" y="85"/>
                      <a:pt x="339" y="86"/>
                    </a:cubicBezTo>
                    <a:cubicBezTo>
                      <a:pt x="338" y="86"/>
                      <a:pt x="340" y="87"/>
                      <a:pt x="341" y="87"/>
                    </a:cubicBezTo>
                    <a:close/>
                    <a:moveTo>
                      <a:pt x="384" y="87"/>
                    </a:moveTo>
                    <a:cubicBezTo>
                      <a:pt x="383" y="87"/>
                      <a:pt x="383" y="88"/>
                      <a:pt x="383" y="89"/>
                    </a:cubicBezTo>
                    <a:cubicBezTo>
                      <a:pt x="384" y="89"/>
                      <a:pt x="384" y="88"/>
                      <a:pt x="384" y="87"/>
                    </a:cubicBezTo>
                    <a:close/>
                    <a:moveTo>
                      <a:pt x="100" y="88"/>
                    </a:moveTo>
                    <a:cubicBezTo>
                      <a:pt x="101" y="88"/>
                      <a:pt x="101" y="88"/>
                      <a:pt x="101" y="88"/>
                    </a:cubicBezTo>
                    <a:cubicBezTo>
                      <a:pt x="102" y="89"/>
                      <a:pt x="103" y="88"/>
                      <a:pt x="104" y="88"/>
                    </a:cubicBezTo>
                    <a:cubicBezTo>
                      <a:pt x="104" y="88"/>
                      <a:pt x="104" y="89"/>
                      <a:pt x="104" y="89"/>
                    </a:cubicBezTo>
                    <a:cubicBezTo>
                      <a:pt x="105" y="89"/>
                      <a:pt x="105" y="89"/>
                      <a:pt x="105" y="89"/>
                    </a:cubicBezTo>
                    <a:cubicBezTo>
                      <a:pt x="105" y="89"/>
                      <a:pt x="106" y="89"/>
                      <a:pt x="106" y="89"/>
                    </a:cubicBezTo>
                    <a:cubicBezTo>
                      <a:pt x="107" y="90"/>
                      <a:pt x="106" y="91"/>
                      <a:pt x="107" y="92"/>
                    </a:cubicBezTo>
                    <a:cubicBezTo>
                      <a:pt x="108" y="93"/>
                      <a:pt x="107" y="94"/>
                      <a:pt x="107" y="95"/>
                    </a:cubicBezTo>
                    <a:cubicBezTo>
                      <a:pt x="108" y="96"/>
                      <a:pt x="109" y="96"/>
                      <a:pt x="110" y="97"/>
                    </a:cubicBezTo>
                    <a:cubicBezTo>
                      <a:pt x="110" y="97"/>
                      <a:pt x="111" y="97"/>
                      <a:pt x="111" y="98"/>
                    </a:cubicBezTo>
                    <a:cubicBezTo>
                      <a:pt x="112" y="98"/>
                      <a:pt x="112" y="98"/>
                      <a:pt x="112" y="98"/>
                    </a:cubicBezTo>
                    <a:cubicBezTo>
                      <a:pt x="112" y="98"/>
                      <a:pt x="113" y="99"/>
                      <a:pt x="113" y="99"/>
                    </a:cubicBezTo>
                    <a:cubicBezTo>
                      <a:pt x="113" y="99"/>
                      <a:pt x="114" y="99"/>
                      <a:pt x="114" y="99"/>
                    </a:cubicBezTo>
                    <a:cubicBezTo>
                      <a:pt x="115" y="100"/>
                      <a:pt x="115" y="98"/>
                      <a:pt x="115" y="98"/>
                    </a:cubicBezTo>
                    <a:cubicBezTo>
                      <a:pt x="114" y="98"/>
                      <a:pt x="114" y="98"/>
                      <a:pt x="114" y="98"/>
                    </a:cubicBezTo>
                    <a:cubicBezTo>
                      <a:pt x="114" y="97"/>
                      <a:pt x="114" y="97"/>
                      <a:pt x="114" y="96"/>
                    </a:cubicBezTo>
                    <a:cubicBezTo>
                      <a:pt x="115" y="95"/>
                      <a:pt x="115" y="94"/>
                      <a:pt x="116" y="94"/>
                    </a:cubicBezTo>
                    <a:cubicBezTo>
                      <a:pt x="115" y="92"/>
                      <a:pt x="112" y="93"/>
                      <a:pt x="111" y="92"/>
                    </a:cubicBezTo>
                    <a:cubicBezTo>
                      <a:pt x="110" y="91"/>
                      <a:pt x="110" y="89"/>
                      <a:pt x="110" y="88"/>
                    </a:cubicBezTo>
                    <a:cubicBezTo>
                      <a:pt x="110" y="87"/>
                      <a:pt x="110" y="86"/>
                      <a:pt x="109" y="85"/>
                    </a:cubicBezTo>
                    <a:cubicBezTo>
                      <a:pt x="109" y="84"/>
                      <a:pt x="108" y="84"/>
                      <a:pt x="109" y="83"/>
                    </a:cubicBezTo>
                    <a:cubicBezTo>
                      <a:pt x="109" y="83"/>
                      <a:pt x="109" y="83"/>
                      <a:pt x="108" y="82"/>
                    </a:cubicBezTo>
                    <a:cubicBezTo>
                      <a:pt x="108" y="82"/>
                      <a:pt x="108" y="82"/>
                      <a:pt x="108" y="82"/>
                    </a:cubicBezTo>
                    <a:cubicBezTo>
                      <a:pt x="108" y="82"/>
                      <a:pt x="107" y="82"/>
                      <a:pt x="107" y="82"/>
                    </a:cubicBezTo>
                    <a:cubicBezTo>
                      <a:pt x="107" y="82"/>
                      <a:pt x="106" y="82"/>
                      <a:pt x="106" y="82"/>
                    </a:cubicBezTo>
                    <a:cubicBezTo>
                      <a:pt x="105" y="82"/>
                      <a:pt x="106" y="83"/>
                      <a:pt x="106" y="84"/>
                    </a:cubicBezTo>
                    <a:cubicBezTo>
                      <a:pt x="106" y="84"/>
                      <a:pt x="107" y="85"/>
                      <a:pt x="106" y="85"/>
                    </a:cubicBezTo>
                    <a:cubicBezTo>
                      <a:pt x="106" y="84"/>
                      <a:pt x="105" y="85"/>
                      <a:pt x="105" y="84"/>
                    </a:cubicBezTo>
                    <a:cubicBezTo>
                      <a:pt x="105" y="84"/>
                      <a:pt x="105" y="84"/>
                      <a:pt x="105" y="83"/>
                    </a:cubicBezTo>
                    <a:cubicBezTo>
                      <a:pt x="105" y="83"/>
                      <a:pt x="105" y="83"/>
                      <a:pt x="104" y="82"/>
                    </a:cubicBezTo>
                    <a:cubicBezTo>
                      <a:pt x="104" y="82"/>
                      <a:pt x="104" y="82"/>
                      <a:pt x="104" y="82"/>
                    </a:cubicBezTo>
                    <a:cubicBezTo>
                      <a:pt x="103" y="83"/>
                      <a:pt x="103" y="82"/>
                      <a:pt x="102" y="83"/>
                    </a:cubicBezTo>
                    <a:cubicBezTo>
                      <a:pt x="102" y="83"/>
                      <a:pt x="102" y="84"/>
                      <a:pt x="102" y="84"/>
                    </a:cubicBezTo>
                    <a:cubicBezTo>
                      <a:pt x="102" y="84"/>
                      <a:pt x="102" y="84"/>
                      <a:pt x="102" y="85"/>
                    </a:cubicBezTo>
                    <a:cubicBezTo>
                      <a:pt x="102" y="85"/>
                      <a:pt x="102" y="86"/>
                      <a:pt x="102" y="86"/>
                    </a:cubicBezTo>
                    <a:cubicBezTo>
                      <a:pt x="101" y="86"/>
                      <a:pt x="99" y="86"/>
                      <a:pt x="100" y="88"/>
                    </a:cubicBezTo>
                    <a:cubicBezTo>
                      <a:pt x="100" y="88"/>
                      <a:pt x="100" y="88"/>
                      <a:pt x="100" y="88"/>
                    </a:cubicBezTo>
                    <a:close/>
                    <a:moveTo>
                      <a:pt x="124" y="98"/>
                    </a:moveTo>
                    <a:cubicBezTo>
                      <a:pt x="123" y="98"/>
                      <a:pt x="123" y="98"/>
                      <a:pt x="123" y="99"/>
                    </a:cubicBezTo>
                    <a:cubicBezTo>
                      <a:pt x="123" y="99"/>
                      <a:pt x="124" y="99"/>
                      <a:pt x="124" y="100"/>
                    </a:cubicBezTo>
                    <a:cubicBezTo>
                      <a:pt x="124" y="100"/>
                      <a:pt x="123" y="101"/>
                      <a:pt x="124" y="101"/>
                    </a:cubicBezTo>
                    <a:cubicBezTo>
                      <a:pt x="124" y="101"/>
                      <a:pt x="125" y="100"/>
                      <a:pt x="125" y="100"/>
                    </a:cubicBezTo>
                    <a:cubicBezTo>
                      <a:pt x="126" y="100"/>
                      <a:pt x="125" y="99"/>
                      <a:pt x="126" y="99"/>
                    </a:cubicBezTo>
                    <a:cubicBezTo>
                      <a:pt x="126" y="98"/>
                      <a:pt x="127" y="101"/>
                      <a:pt x="127" y="101"/>
                    </a:cubicBezTo>
                    <a:cubicBezTo>
                      <a:pt x="128" y="101"/>
                      <a:pt x="128" y="100"/>
                      <a:pt x="128" y="100"/>
                    </a:cubicBezTo>
                    <a:cubicBezTo>
                      <a:pt x="129" y="100"/>
                      <a:pt x="129" y="100"/>
                      <a:pt x="129" y="100"/>
                    </a:cubicBezTo>
                    <a:cubicBezTo>
                      <a:pt x="129" y="99"/>
                      <a:pt x="129" y="100"/>
                      <a:pt x="129" y="99"/>
                    </a:cubicBezTo>
                    <a:cubicBezTo>
                      <a:pt x="129" y="98"/>
                      <a:pt x="131" y="96"/>
                      <a:pt x="130" y="95"/>
                    </a:cubicBezTo>
                    <a:cubicBezTo>
                      <a:pt x="129" y="95"/>
                      <a:pt x="129" y="95"/>
                      <a:pt x="129" y="94"/>
                    </a:cubicBezTo>
                    <a:cubicBezTo>
                      <a:pt x="128" y="94"/>
                      <a:pt x="128" y="94"/>
                      <a:pt x="128" y="94"/>
                    </a:cubicBezTo>
                    <a:cubicBezTo>
                      <a:pt x="127" y="94"/>
                      <a:pt x="128" y="94"/>
                      <a:pt x="127" y="94"/>
                    </a:cubicBezTo>
                    <a:cubicBezTo>
                      <a:pt x="127" y="93"/>
                      <a:pt x="126" y="94"/>
                      <a:pt x="126" y="93"/>
                    </a:cubicBezTo>
                    <a:cubicBezTo>
                      <a:pt x="126" y="93"/>
                      <a:pt x="125" y="93"/>
                      <a:pt x="125" y="93"/>
                    </a:cubicBezTo>
                    <a:cubicBezTo>
                      <a:pt x="124" y="93"/>
                      <a:pt x="124" y="94"/>
                      <a:pt x="124" y="94"/>
                    </a:cubicBezTo>
                    <a:cubicBezTo>
                      <a:pt x="124" y="95"/>
                      <a:pt x="124" y="95"/>
                      <a:pt x="124" y="95"/>
                    </a:cubicBezTo>
                    <a:cubicBezTo>
                      <a:pt x="124" y="96"/>
                      <a:pt x="124" y="96"/>
                      <a:pt x="123" y="96"/>
                    </a:cubicBezTo>
                    <a:cubicBezTo>
                      <a:pt x="123" y="96"/>
                      <a:pt x="124" y="97"/>
                      <a:pt x="123" y="97"/>
                    </a:cubicBezTo>
                    <a:cubicBezTo>
                      <a:pt x="123" y="97"/>
                      <a:pt x="123" y="97"/>
                      <a:pt x="123" y="97"/>
                    </a:cubicBezTo>
                    <a:cubicBezTo>
                      <a:pt x="123" y="98"/>
                      <a:pt x="124" y="97"/>
                      <a:pt x="124" y="98"/>
                    </a:cubicBezTo>
                    <a:close/>
                    <a:moveTo>
                      <a:pt x="84" y="68"/>
                    </a:moveTo>
                    <a:cubicBezTo>
                      <a:pt x="84" y="69"/>
                      <a:pt x="84" y="69"/>
                      <a:pt x="84" y="69"/>
                    </a:cubicBezTo>
                    <a:cubicBezTo>
                      <a:pt x="85" y="69"/>
                      <a:pt x="88" y="69"/>
                      <a:pt x="86" y="68"/>
                    </a:cubicBezTo>
                    <a:cubicBezTo>
                      <a:pt x="86" y="68"/>
                      <a:pt x="85" y="67"/>
                      <a:pt x="84" y="68"/>
                    </a:cubicBezTo>
                    <a:close/>
                    <a:moveTo>
                      <a:pt x="395" y="74"/>
                    </a:moveTo>
                    <a:cubicBezTo>
                      <a:pt x="395" y="74"/>
                      <a:pt x="395" y="74"/>
                      <a:pt x="395" y="74"/>
                    </a:cubicBezTo>
                    <a:cubicBezTo>
                      <a:pt x="395" y="73"/>
                      <a:pt x="396" y="76"/>
                      <a:pt x="397" y="74"/>
                    </a:cubicBezTo>
                    <a:cubicBezTo>
                      <a:pt x="397" y="74"/>
                      <a:pt x="397" y="74"/>
                      <a:pt x="397" y="74"/>
                    </a:cubicBezTo>
                    <a:cubicBezTo>
                      <a:pt x="397" y="73"/>
                      <a:pt x="397" y="73"/>
                      <a:pt x="397" y="73"/>
                    </a:cubicBezTo>
                    <a:cubicBezTo>
                      <a:pt x="397" y="73"/>
                      <a:pt x="396" y="73"/>
                      <a:pt x="396" y="73"/>
                    </a:cubicBezTo>
                    <a:cubicBezTo>
                      <a:pt x="396" y="73"/>
                      <a:pt x="396" y="73"/>
                      <a:pt x="396" y="73"/>
                    </a:cubicBezTo>
                    <a:cubicBezTo>
                      <a:pt x="396" y="73"/>
                      <a:pt x="395" y="73"/>
                      <a:pt x="395" y="73"/>
                    </a:cubicBezTo>
                    <a:cubicBezTo>
                      <a:pt x="395" y="73"/>
                      <a:pt x="393" y="72"/>
                      <a:pt x="393" y="73"/>
                    </a:cubicBezTo>
                    <a:cubicBezTo>
                      <a:pt x="393" y="73"/>
                      <a:pt x="394" y="74"/>
                      <a:pt x="395" y="74"/>
                    </a:cubicBezTo>
                    <a:close/>
                    <a:moveTo>
                      <a:pt x="317" y="54"/>
                    </a:moveTo>
                    <a:cubicBezTo>
                      <a:pt x="317" y="54"/>
                      <a:pt x="317" y="55"/>
                      <a:pt x="317" y="55"/>
                    </a:cubicBezTo>
                    <a:cubicBezTo>
                      <a:pt x="317" y="56"/>
                      <a:pt x="318" y="56"/>
                      <a:pt x="318" y="56"/>
                    </a:cubicBezTo>
                    <a:cubicBezTo>
                      <a:pt x="318" y="56"/>
                      <a:pt x="318" y="57"/>
                      <a:pt x="318" y="57"/>
                    </a:cubicBezTo>
                    <a:cubicBezTo>
                      <a:pt x="317" y="58"/>
                      <a:pt x="317" y="59"/>
                      <a:pt x="317" y="59"/>
                    </a:cubicBezTo>
                    <a:cubicBezTo>
                      <a:pt x="318" y="60"/>
                      <a:pt x="318" y="61"/>
                      <a:pt x="318" y="61"/>
                    </a:cubicBezTo>
                    <a:cubicBezTo>
                      <a:pt x="319" y="62"/>
                      <a:pt x="319" y="62"/>
                      <a:pt x="319" y="63"/>
                    </a:cubicBezTo>
                    <a:cubicBezTo>
                      <a:pt x="319" y="64"/>
                      <a:pt x="319" y="64"/>
                      <a:pt x="319" y="65"/>
                    </a:cubicBezTo>
                    <a:cubicBezTo>
                      <a:pt x="319" y="66"/>
                      <a:pt x="318" y="68"/>
                      <a:pt x="320" y="69"/>
                    </a:cubicBezTo>
                    <a:cubicBezTo>
                      <a:pt x="321" y="70"/>
                      <a:pt x="321" y="71"/>
                      <a:pt x="322" y="72"/>
                    </a:cubicBezTo>
                    <a:cubicBezTo>
                      <a:pt x="322" y="73"/>
                      <a:pt x="322" y="73"/>
                      <a:pt x="323" y="73"/>
                    </a:cubicBezTo>
                    <a:cubicBezTo>
                      <a:pt x="323" y="74"/>
                      <a:pt x="325" y="74"/>
                      <a:pt x="325" y="74"/>
                    </a:cubicBezTo>
                    <a:cubicBezTo>
                      <a:pt x="325" y="74"/>
                      <a:pt x="324" y="74"/>
                      <a:pt x="324" y="74"/>
                    </a:cubicBezTo>
                    <a:cubicBezTo>
                      <a:pt x="324" y="75"/>
                      <a:pt x="326" y="75"/>
                      <a:pt x="326" y="75"/>
                    </a:cubicBezTo>
                    <a:cubicBezTo>
                      <a:pt x="326" y="75"/>
                      <a:pt x="325" y="74"/>
                      <a:pt x="324" y="73"/>
                    </a:cubicBezTo>
                    <a:cubicBezTo>
                      <a:pt x="323" y="72"/>
                      <a:pt x="323" y="71"/>
                      <a:pt x="322" y="69"/>
                    </a:cubicBezTo>
                    <a:cubicBezTo>
                      <a:pt x="322" y="68"/>
                      <a:pt x="321" y="67"/>
                      <a:pt x="321" y="66"/>
                    </a:cubicBezTo>
                    <a:cubicBezTo>
                      <a:pt x="321" y="65"/>
                      <a:pt x="321" y="63"/>
                      <a:pt x="321" y="62"/>
                    </a:cubicBezTo>
                    <a:cubicBezTo>
                      <a:pt x="321" y="62"/>
                      <a:pt x="321" y="60"/>
                      <a:pt x="322" y="60"/>
                    </a:cubicBezTo>
                    <a:cubicBezTo>
                      <a:pt x="322" y="60"/>
                      <a:pt x="323" y="60"/>
                      <a:pt x="323" y="60"/>
                    </a:cubicBezTo>
                    <a:cubicBezTo>
                      <a:pt x="324" y="60"/>
                      <a:pt x="324" y="61"/>
                      <a:pt x="324" y="61"/>
                    </a:cubicBezTo>
                    <a:cubicBezTo>
                      <a:pt x="325" y="61"/>
                      <a:pt x="326" y="61"/>
                      <a:pt x="326" y="61"/>
                    </a:cubicBezTo>
                    <a:cubicBezTo>
                      <a:pt x="327" y="61"/>
                      <a:pt x="327" y="62"/>
                      <a:pt x="327" y="62"/>
                    </a:cubicBezTo>
                    <a:cubicBezTo>
                      <a:pt x="328" y="62"/>
                      <a:pt x="329" y="62"/>
                      <a:pt x="329" y="62"/>
                    </a:cubicBezTo>
                    <a:cubicBezTo>
                      <a:pt x="330" y="62"/>
                      <a:pt x="330" y="63"/>
                      <a:pt x="331" y="63"/>
                    </a:cubicBezTo>
                    <a:cubicBezTo>
                      <a:pt x="331" y="63"/>
                      <a:pt x="330" y="62"/>
                      <a:pt x="330" y="62"/>
                    </a:cubicBezTo>
                    <a:cubicBezTo>
                      <a:pt x="329" y="62"/>
                      <a:pt x="329" y="62"/>
                      <a:pt x="329" y="61"/>
                    </a:cubicBezTo>
                    <a:cubicBezTo>
                      <a:pt x="329" y="61"/>
                      <a:pt x="329" y="59"/>
                      <a:pt x="328" y="59"/>
                    </a:cubicBezTo>
                    <a:cubicBezTo>
                      <a:pt x="328" y="59"/>
                      <a:pt x="327" y="59"/>
                      <a:pt x="326" y="58"/>
                    </a:cubicBezTo>
                    <a:cubicBezTo>
                      <a:pt x="325" y="58"/>
                      <a:pt x="324" y="58"/>
                      <a:pt x="324" y="57"/>
                    </a:cubicBezTo>
                    <a:cubicBezTo>
                      <a:pt x="324" y="56"/>
                      <a:pt x="325" y="56"/>
                      <a:pt x="325" y="56"/>
                    </a:cubicBezTo>
                    <a:cubicBezTo>
                      <a:pt x="325" y="56"/>
                      <a:pt x="325" y="56"/>
                      <a:pt x="325" y="56"/>
                    </a:cubicBezTo>
                    <a:cubicBezTo>
                      <a:pt x="325" y="55"/>
                      <a:pt x="326" y="55"/>
                      <a:pt x="326" y="55"/>
                    </a:cubicBezTo>
                    <a:cubicBezTo>
                      <a:pt x="327" y="55"/>
                      <a:pt x="327" y="54"/>
                      <a:pt x="328" y="54"/>
                    </a:cubicBezTo>
                    <a:cubicBezTo>
                      <a:pt x="328" y="54"/>
                      <a:pt x="329" y="54"/>
                      <a:pt x="329" y="53"/>
                    </a:cubicBezTo>
                    <a:cubicBezTo>
                      <a:pt x="329" y="52"/>
                      <a:pt x="329" y="52"/>
                      <a:pt x="329" y="51"/>
                    </a:cubicBezTo>
                    <a:cubicBezTo>
                      <a:pt x="329" y="51"/>
                      <a:pt x="329" y="50"/>
                      <a:pt x="329" y="50"/>
                    </a:cubicBezTo>
                    <a:cubicBezTo>
                      <a:pt x="329" y="50"/>
                      <a:pt x="328" y="49"/>
                      <a:pt x="329" y="49"/>
                    </a:cubicBezTo>
                    <a:cubicBezTo>
                      <a:pt x="329" y="49"/>
                      <a:pt x="329" y="48"/>
                      <a:pt x="329" y="48"/>
                    </a:cubicBezTo>
                    <a:cubicBezTo>
                      <a:pt x="328" y="48"/>
                      <a:pt x="328" y="48"/>
                      <a:pt x="327" y="48"/>
                    </a:cubicBezTo>
                    <a:cubicBezTo>
                      <a:pt x="327" y="48"/>
                      <a:pt x="327" y="48"/>
                      <a:pt x="327" y="48"/>
                    </a:cubicBezTo>
                    <a:cubicBezTo>
                      <a:pt x="327" y="48"/>
                      <a:pt x="326" y="48"/>
                      <a:pt x="326" y="48"/>
                    </a:cubicBezTo>
                    <a:cubicBezTo>
                      <a:pt x="326" y="48"/>
                      <a:pt x="325" y="49"/>
                      <a:pt x="325" y="49"/>
                    </a:cubicBezTo>
                    <a:cubicBezTo>
                      <a:pt x="325" y="50"/>
                      <a:pt x="324" y="50"/>
                      <a:pt x="323" y="51"/>
                    </a:cubicBezTo>
                    <a:cubicBezTo>
                      <a:pt x="323" y="51"/>
                      <a:pt x="323" y="51"/>
                      <a:pt x="323" y="52"/>
                    </a:cubicBezTo>
                    <a:cubicBezTo>
                      <a:pt x="324" y="52"/>
                      <a:pt x="323" y="53"/>
                      <a:pt x="323" y="53"/>
                    </a:cubicBezTo>
                    <a:cubicBezTo>
                      <a:pt x="322" y="53"/>
                      <a:pt x="321" y="54"/>
                      <a:pt x="321" y="55"/>
                    </a:cubicBezTo>
                    <a:cubicBezTo>
                      <a:pt x="321" y="55"/>
                      <a:pt x="321" y="56"/>
                      <a:pt x="320" y="56"/>
                    </a:cubicBezTo>
                    <a:cubicBezTo>
                      <a:pt x="320" y="56"/>
                      <a:pt x="319" y="56"/>
                      <a:pt x="319" y="56"/>
                    </a:cubicBezTo>
                    <a:cubicBezTo>
                      <a:pt x="318" y="54"/>
                      <a:pt x="319" y="54"/>
                      <a:pt x="320" y="53"/>
                    </a:cubicBezTo>
                    <a:cubicBezTo>
                      <a:pt x="320" y="53"/>
                      <a:pt x="321" y="53"/>
                      <a:pt x="321" y="53"/>
                    </a:cubicBezTo>
                    <a:cubicBezTo>
                      <a:pt x="321" y="52"/>
                      <a:pt x="321" y="52"/>
                      <a:pt x="321" y="52"/>
                    </a:cubicBezTo>
                    <a:cubicBezTo>
                      <a:pt x="321" y="52"/>
                      <a:pt x="322" y="51"/>
                      <a:pt x="322" y="51"/>
                    </a:cubicBezTo>
                    <a:cubicBezTo>
                      <a:pt x="322" y="50"/>
                      <a:pt x="322" y="49"/>
                      <a:pt x="322" y="49"/>
                    </a:cubicBezTo>
                    <a:cubicBezTo>
                      <a:pt x="322" y="48"/>
                      <a:pt x="322" y="48"/>
                      <a:pt x="322" y="47"/>
                    </a:cubicBezTo>
                    <a:cubicBezTo>
                      <a:pt x="322" y="46"/>
                      <a:pt x="322" y="46"/>
                      <a:pt x="321" y="46"/>
                    </a:cubicBezTo>
                    <a:cubicBezTo>
                      <a:pt x="320" y="45"/>
                      <a:pt x="320" y="45"/>
                      <a:pt x="320" y="44"/>
                    </a:cubicBezTo>
                    <a:cubicBezTo>
                      <a:pt x="320" y="44"/>
                      <a:pt x="323" y="42"/>
                      <a:pt x="322" y="41"/>
                    </a:cubicBezTo>
                    <a:cubicBezTo>
                      <a:pt x="322" y="41"/>
                      <a:pt x="322" y="41"/>
                      <a:pt x="321" y="41"/>
                    </a:cubicBezTo>
                    <a:cubicBezTo>
                      <a:pt x="321" y="41"/>
                      <a:pt x="320" y="42"/>
                      <a:pt x="320" y="42"/>
                    </a:cubicBezTo>
                    <a:cubicBezTo>
                      <a:pt x="319" y="43"/>
                      <a:pt x="318" y="45"/>
                      <a:pt x="318" y="46"/>
                    </a:cubicBezTo>
                    <a:cubicBezTo>
                      <a:pt x="317" y="47"/>
                      <a:pt x="318" y="47"/>
                      <a:pt x="317" y="48"/>
                    </a:cubicBezTo>
                    <a:cubicBezTo>
                      <a:pt x="317" y="48"/>
                      <a:pt x="317" y="49"/>
                      <a:pt x="317" y="50"/>
                    </a:cubicBezTo>
                    <a:cubicBezTo>
                      <a:pt x="317" y="50"/>
                      <a:pt x="316" y="51"/>
                      <a:pt x="316" y="52"/>
                    </a:cubicBezTo>
                    <a:cubicBezTo>
                      <a:pt x="316" y="52"/>
                      <a:pt x="316" y="53"/>
                      <a:pt x="316" y="53"/>
                    </a:cubicBezTo>
                    <a:cubicBezTo>
                      <a:pt x="316" y="53"/>
                      <a:pt x="316" y="53"/>
                      <a:pt x="316" y="54"/>
                    </a:cubicBezTo>
                    <a:cubicBezTo>
                      <a:pt x="316" y="54"/>
                      <a:pt x="317" y="53"/>
                      <a:pt x="317" y="54"/>
                    </a:cubicBezTo>
                    <a:close/>
                    <a:moveTo>
                      <a:pt x="136" y="82"/>
                    </a:moveTo>
                    <a:cubicBezTo>
                      <a:pt x="135" y="82"/>
                      <a:pt x="136" y="83"/>
                      <a:pt x="136" y="83"/>
                    </a:cubicBezTo>
                    <a:cubicBezTo>
                      <a:pt x="136" y="83"/>
                      <a:pt x="136" y="84"/>
                      <a:pt x="136" y="83"/>
                    </a:cubicBezTo>
                    <a:cubicBezTo>
                      <a:pt x="137" y="83"/>
                      <a:pt x="137" y="83"/>
                      <a:pt x="137" y="83"/>
                    </a:cubicBezTo>
                    <a:cubicBezTo>
                      <a:pt x="137" y="82"/>
                      <a:pt x="136" y="82"/>
                      <a:pt x="136" y="82"/>
                    </a:cubicBezTo>
                    <a:close/>
                    <a:moveTo>
                      <a:pt x="366" y="127"/>
                    </a:moveTo>
                    <a:cubicBezTo>
                      <a:pt x="366" y="127"/>
                      <a:pt x="365" y="127"/>
                      <a:pt x="365" y="127"/>
                    </a:cubicBezTo>
                    <a:cubicBezTo>
                      <a:pt x="365" y="128"/>
                      <a:pt x="365" y="128"/>
                      <a:pt x="365" y="129"/>
                    </a:cubicBezTo>
                    <a:cubicBezTo>
                      <a:pt x="365" y="129"/>
                      <a:pt x="365" y="131"/>
                      <a:pt x="366" y="130"/>
                    </a:cubicBezTo>
                    <a:cubicBezTo>
                      <a:pt x="366" y="131"/>
                      <a:pt x="366" y="131"/>
                      <a:pt x="366" y="130"/>
                    </a:cubicBezTo>
                    <a:cubicBezTo>
                      <a:pt x="366" y="130"/>
                      <a:pt x="366" y="130"/>
                      <a:pt x="366" y="130"/>
                    </a:cubicBezTo>
                    <a:cubicBezTo>
                      <a:pt x="367" y="129"/>
                      <a:pt x="366" y="128"/>
                      <a:pt x="366" y="128"/>
                    </a:cubicBezTo>
                    <a:cubicBezTo>
                      <a:pt x="366" y="127"/>
                      <a:pt x="366" y="128"/>
                      <a:pt x="366" y="127"/>
                    </a:cubicBezTo>
                    <a:close/>
                    <a:moveTo>
                      <a:pt x="381" y="135"/>
                    </a:moveTo>
                    <a:cubicBezTo>
                      <a:pt x="380" y="134"/>
                      <a:pt x="379" y="134"/>
                      <a:pt x="379" y="133"/>
                    </a:cubicBezTo>
                    <a:cubicBezTo>
                      <a:pt x="378" y="133"/>
                      <a:pt x="379" y="135"/>
                      <a:pt x="379" y="135"/>
                    </a:cubicBezTo>
                    <a:cubicBezTo>
                      <a:pt x="379" y="136"/>
                      <a:pt x="379" y="136"/>
                      <a:pt x="379" y="136"/>
                    </a:cubicBezTo>
                    <a:cubicBezTo>
                      <a:pt x="379" y="137"/>
                      <a:pt x="379" y="136"/>
                      <a:pt x="380" y="137"/>
                    </a:cubicBezTo>
                    <a:cubicBezTo>
                      <a:pt x="379" y="136"/>
                      <a:pt x="378" y="137"/>
                      <a:pt x="378" y="138"/>
                    </a:cubicBezTo>
                    <a:cubicBezTo>
                      <a:pt x="378" y="138"/>
                      <a:pt x="377" y="140"/>
                      <a:pt x="378" y="140"/>
                    </a:cubicBezTo>
                    <a:cubicBezTo>
                      <a:pt x="379" y="141"/>
                      <a:pt x="379" y="141"/>
                      <a:pt x="379" y="141"/>
                    </a:cubicBezTo>
                    <a:cubicBezTo>
                      <a:pt x="379" y="141"/>
                      <a:pt x="380" y="141"/>
                      <a:pt x="380" y="141"/>
                    </a:cubicBezTo>
                    <a:cubicBezTo>
                      <a:pt x="381" y="140"/>
                      <a:pt x="382" y="139"/>
                      <a:pt x="381" y="138"/>
                    </a:cubicBezTo>
                    <a:cubicBezTo>
                      <a:pt x="382" y="138"/>
                      <a:pt x="382" y="139"/>
                      <a:pt x="382" y="138"/>
                    </a:cubicBezTo>
                    <a:cubicBezTo>
                      <a:pt x="383" y="138"/>
                      <a:pt x="382" y="136"/>
                      <a:pt x="382" y="136"/>
                    </a:cubicBezTo>
                    <a:cubicBezTo>
                      <a:pt x="382" y="136"/>
                      <a:pt x="381" y="136"/>
                      <a:pt x="381" y="135"/>
                    </a:cubicBezTo>
                    <a:close/>
                    <a:moveTo>
                      <a:pt x="307" y="150"/>
                    </a:moveTo>
                    <a:cubicBezTo>
                      <a:pt x="306" y="150"/>
                      <a:pt x="306" y="149"/>
                      <a:pt x="305" y="149"/>
                    </a:cubicBezTo>
                    <a:cubicBezTo>
                      <a:pt x="305" y="148"/>
                      <a:pt x="304" y="149"/>
                      <a:pt x="304" y="149"/>
                    </a:cubicBezTo>
                    <a:cubicBezTo>
                      <a:pt x="303" y="149"/>
                      <a:pt x="303" y="150"/>
                      <a:pt x="302" y="150"/>
                    </a:cubicBezTo>
                    <a:cubicBezTo>
                      <a:pt x="301" y="150"/>
                      <a:pt x="301" y="150"/>
                      <a:pt x="300" y="150"/>
                    </a:cubicBezTo>
                    <a:cubicBezTo>
                      <a:pt x="300" y="150"/>
                      <a:pt x="299" y="149"/>
                      <a:pt x="299" y="150"/>
                    </a:cubicBezTo>
                    <a:cubicBezTo>
                      <a:pt x="298" y="150"/>
                      <a:pt x="298" y="150"/>
                      <a:pt x="298" y="151"/>
                    </a:cubicBezTo>
                    <a:cubicBezTo>
                      <a:pt x="298" y="151"/>
                      <a:pt x="297" y="153"/>
                      <a:pt x="297" y="153"/>
                    </a:cubicBezTo>
                    <a:cubicBezTo>
                      <a:pt x="298" y="153"/>
                      <a:pt x="298" y="152"/>
                      <a:pt x="299" y="152"/>
                    </a:cubicBezTo>
                    <a:cubicBezTo>
                      <a:pt x="299" y="152"/>
                      <a:pt x="300" y="152"/>
                      <a:pt x="300" y="152"/>
                    </a:cubicBezTo>
                    <a:cubicBezTo>
                      <a:pt x="300" y="152"/>
                      <a:pt x="300" y="152"/>
                      <a:pt x="301" y="152"/>
                    </a:cubicBezTo>
                    <a:cubicBezTo>
                      <a:pt x="301" y="152"/>
                      <a:pt x="302" y="152"/>
                      <a:pt x="303" y="152"/>
                    </a:cubicBezTo>
                    <a:cubicBezTo>
                      <a:pt x="303" y="152"/>
                      <a:pt x="304" y="153"/>
                      <a:pt x="304" y="153"/>
                    </a:cubicBezTo>
                    <a:cubicBezTo>
                      <a:pt x="304" y="152"/>
                      <a:pt x="304" y="152"/>
                      <a:pt x="304" y="151"/>
                    </a:cubicBezTo>
                    <a:cubicBezTo>
                      <a:pt x="305" y="151"/>
                      <a:pt x="305" y="151"/>
                      <a:pt x="306" y="151"/>
                    </a:cubicBezTo>
                    <a:cubicBezTo>
                      <a:pt x="307" y="151"/>
                      <a:pt x="307" y="151"/>
                      <a:pt x="307" y="150"/>
                    </a:cubicBezTo>
                    <a:cubicBezTo>
                      <a:pt x="307" y="150"/>
                      <a:pt x="307" y="150"/>
                      <a:pt x="307" y="150"/>
                    </a:cubicBezTo>
                    <a:close/>
                    <a:moveTo>
                      <a:pt x="354" y="144"/>
                    </a:moveTo>
                    <a:cubicBezTo>
                      <a:pt x="354" y="144"/>
                      <a:pt x="355" y="144"/>
                      <a:pt x="354" y="143"/>
                    </a:cubicBezTo>
                    <a:cubicBezTo>
                      <a:pt x="354" y="144"/>
                      <a:pt x="353" y="144"/>
                      <a:pt x="353" y="144"/>
                    </a:cubicBezTo>
                    <a:cubicBezTo>
                      <a:pt x="353" y="145"/>
                      <a:pt x="353" y="145"/>
                      <a:pt x="353" y="145"/>
                    </a:cubicBezTo>
                    <a:cubicBezTo>
                      <a:pt x="352" y="145"/>
                      <a:pt x="353" y="146"/>
                      <a:pt x="352" y="146"/>
                    </a:cubicBezTo>
                    <a:cubicBezTo>
                      <a:pt x="352" y="146"/>
                      <a:pt x="351" y="147"/>
                      <a:pt x="351" y="147"/>
                    </a:cubicBezTo>
                    <a:cubicBezTo>
                      <a:pt x="351" y="146"/>
                      <a:pt x="350" y="148"/>
                      <a:pt x="350" y="148"/>
                    </a:cubicBezTo>
                    <a:cubicBezTo>
                      <a:pt x="350" y="149"/>
                      <a:pt x="349" y="150"/>
                      <a:pt x="350" y="150"/>
                    </a:cubicBezTo>
                    <a:cubicBezTo>
                      <a:pt x="350" y="150"/>
                      <a:pt x="349" y="149"/>
                      <a:pt x="349" y="150"/>
                    </a:cubicBezTo>
                    <a:cubicBezTo>
                      <a:pt x="349" y="150"/>
                      <a:pt x="349" y="150"/>
                      <a:pt x="349" y="150"/>
                    </a:cubicBezTo>
                    <a:cubicBezTo>
                      <a:pt x="349" y="151"/>
                      <a:pt x="349" y="151"/>
                      <a:pt x="349" y="151"/>
                    </a:cubicBezTo>
                    <a:cubicBezTo>
                      <a:pt x="349" y="151"/>
                      <a:pt x="348" y="151"/>
                      <a:pt x="349" y="152"/>
                    </a:cubicBezTo>
                    <a:cubicBezTo>
                      <a:pt x="349" y="152"/>
                      <a:pt x="348" y="153"/>
                      <a:pt x="349" y="153"/>
                    </a:cubicBezTo>
                    <a:cubicBezTo>
                      <a:pt x="349" y="153"/>
                      <a:pt x="350" y="153"/>
                      <a:pt x="350" y="153"/>
                    </a:cubicBezTo>
                    <a:cubicBezTo>
                      <a:pt x="350" y="153"/>
                      <a:pt x="350" y="152"/>
                      <a:pt x="350" y="153"/>
                    </a:cubicBezTo>
                    <a:cubicBezTo>
                      <a:pt x="350" y="153"/>
                      <a:pt x="350" y="153"/>
                      <a:pt x="350" y="153"/>
                    </a:cubicBezTo>
                    <a:cubicBezTo>
                      <a:pt x="351" y="154"/>
                      <a:pt x="351" y="152"/>
                      <a:pt x="351" y="152"/>
                    </a:cubicBezTo>
                    <a:cubicBezTo>
                      <a:pt x="351" y="152"/>
                      <a:pt x="351" y="152"/>
                      <a:pt x="351" y="152"/>
                    </a:cubicBezTo>
                    <a:cubicBezTo>
                      <a:pt x="351" y="152"/>
                      <a:pt x="351" y="152"/>
                      <a:pt x="351" y="152"/>
                    </a:cubicBezTo>
                    <a:cubicBezTo>
                      <a:pt x="351" y="152"/>
                      <a:pt x="351" y="151"/>
                      <a:pt x="352" y="151"/>
                    </a:cubicBezTo>
                    <a:cubicBezTo>
                      <a:pt x="352" y="151"/>
                      <a:pt x="352" y="150"/>
                      <a:pt x="353" y="150"/>
                    </a:cubicBezTo>
                    <a:cubicBezTo>
                      <a:pt x="354" y="150"/>
                      <a:pt x="354" y="148"/>
                      <a:pt x="355" y="147"/>
                    </a:cubicBezTo>
                    <a:cubicBezTo>
                      <a:pt x="355" y="147"/>
                      <a:pt x="354" y="147"/>
                      <a:pt x="354" y="146"/>
                    </a:cubicBezTo>
                    <a:cubicBezTo>
                      <a:pt x="354" y="146"/>
                      <a:pt x="354" y="145"/>
                      <a:pt x="355" y="145"/>
                    </a:cubicBezTo>
                    <a:cubicBezTo>
                      <a:pt x="355" y="145"/>
                      <a:pt x="355" y="145"/>
                      <a:pt x="355" y="144"/>
                    </a:cubicBezTo>
                    <a:cubicBezTo>
                      <a:pt x="355" y="143"/>
                      <a:pt x="355" y="144"/>
                      <a:pt x="354" y="144"/>
                    </a:cubicBezTo>
                    <a:close/>
                    <a:moveTo>
                      <a:pt x="110" y="35"/>
                    </a:moveTo>
                    <a:cubicBezTo>
                      <a:pt x="110" y="35"/>
                      <a:pt x="110" y="34"/>
                      <a:pt x="110" y="34"/>
                    </a:cubicBezTo>
                    <a:cubicBezTo>
                      <a:pt x="110" y="34"/>
                      <a:pt x="110" y="35"/>
                      <a:pt x="110" y="35"/>
                    </a:cubicBezTo>
                    <a:close/>
                    <a:moveTo>
                      <a:pt x="317" y="73"/>
                    </a:moveTo>
                    <a:cubicBezTo>
                      <a:pt x="316" y="73"/>
                      <a:pt x="316" y="74"/>
                      <a:pt x="317" y="74"/>
                    </a:cubicBezTo>
                    <a:cubicBezTo>
                      <a:pt x="317" y="74"/>
                      <a:pt x="318" y="74"/>
                      <a:pt x="318" y="74"/>
                    </a:cubicBezTo>
                    <a:cubicBezTo>
                      <a:pt x="319" y="74"/>
                      <a:pt x="319" y="74"/>
                      <a:pt x="319" y="75"/>
                    </a:cubicBezTo>
                    <a:cubicBezTo>
                      <a:pt x="319" y="75"/>
                      <a:pt x="320" y="75"/>
                      <a:pt x="320" y="75"/>
                    </a:cubicBezTo>
                    <a:cubicBezTo>
                      <a:pt x="322" y="73"/>
                      <a:pt x="320" y="72"/>
                      <a:pt x="319" y="73"/>
                    </a:cubicBezTo>
                    <a:cubicBezTo>
                      <a:pt x="319" y="73"/>
                      <a:pt x="318" y="72"/>
                      <a:pt x="318" y="72"/>
                    </a:cubicBezTo>
                    <a:cubicBezTo>
                      <a:pt x="318" y="72"/>
                      <a:pt x="318" y="72"/>
                      <a:pt x="319" y="71"/>
                    </a:cubicBezTo>
                    <a:cubicBezTo>
                      <a:pt x="319" y="70"/>
                      <a:pt x="318" y="69"/>
                      <a:pt x="317" y="69"/>
                    </a:cubicBezTo>
                    <a:cubicBezTo>
                      <a:pt x="317" y="69"/>
                      <a:pt x="317" y="71"/>
                      <a:pt x="316" y="69"/>
                    </a:cubicBezTo>
                    <a:cubicBezTo>
                      <a:pt x="316" y="68"/>
                      <a:pt x="315" y="70"/>
                      <a:pt x="315" y="70"/>
                    </a:cubicBezTo>
                    <a:cubicBezTo>
                      <a:pt x="315" y="71"/>
                      <a:pt x="317" y="72"/>
                      <a:pt x="317" y="73"/>
                    </a:cubicBezTo>
                    <a:close/>
                    <a:moveTo>
                      <a:pt x="172" y="129"/>
                    </a:moveTo>
                    <a:cubicBezTo>
                      <a:pt x="172" y="129"/>
                      <a:pt x="172" y="128"/>
                      <a:pt x="172" y="128"/>
                    </a:cubicBezTo>
                    <a:cubicBezTo>
                      <a:pt x="171" y="128"/>
                      <a:pt x="170" y="130"/>
                      <a:pt x="171" y="130"/>
                    </a:cubicBezTo>
                    <a:cubicBezTo>
                      <a:pt x="171" y="130"/>
                      <a:pt x="172" y="130"/>
                      <a:pt x="172" y="129"/>
                    </a:cubicBezTo>
                    <a:close/>
                    <a:moveTo>
                      <a:pt x="99" y="129"/>
                    </a:moveTo>
                    <a:cubicBezTo>
                      <a:pt x="99" y="129"/>
                      <a:pt x="99" y="128"/>
                      <a:pt x="99" y="128"/>
                    </a:cubicBezTo>
                    <a:cubicBezTo>
                      <a:pt x="98" y="128"/>
                      <a:pt x="99" y="128"/>
                      <a:pt x="99" y="128"/>
                    </a:cubicBezTo>
                    <a:cubicBezTo>
                      <a:pt x="98" y="127"/>
                      <a:pt x="99" y="127"/>
                      <a:pt x="100" y="126"/>
                    </a:cubicBezTo>
                    <a:cubicBezTo>
                      <a:pt x="100" y="126"/>
                      <a:pt x="100" y="125"/>
                      <a:pt x="100" y="125"/>
                    </a:cubicBezTo>
                    <a:cubicBezTo>
                      <a:pt x="101" y="126"/>
                      <a:pt x="101" y="127"/>
                      <a:pt x="101" y="127"/>
                    </a:cubicBezTo>
                    <a:cubicBezTo>
                      <a:pt x="102" y="128"/>
                      <a:pt x="103" y="127"/>
                      <a:pt x="103" y="129"/>
                    </a:cubicBezTo>
                    <a:cubicBezTo>
                      <a:pt x="103" y="129"/>
                      <a:pt x="103" y="129"/>
                      <a:pt x="104" y="129"/>
                    </a:cubicBezTo>
                    <a:cubicBezTo>
                      <a:pt x="104" y="129"/>
                      <a:pt x="104" y="130"/>
                      <a:pt x="104" y="130"/>
                    </a:cubicBezTo>
                    <a:cubicBezTo>
                      <a:pt x="105" y="130"/>
                      <a:pt x="105" y="124"/>
                      <a:pt x="106" y="123"/>
                    </a:cubicBezTo>
                    <a:cubicBezTo>
                      <a:pt x="106" y="123"/>
                      <a:pt x="106" y="122"/>
                      <a:pt x="106" y="121"/>
                    </a:cubicBezTo>
                    <a:cubicBezTo>
                      <a:pt x="106" y="121"/>
                      <a:pt x="106" y="120"/>
                      <a:pt x="106" y="120"/>
                    </a:cubicBezTo>
                    <a:cubicBezTo>
                      <a:pt x="106" y="119"/>
                      <a:pt x="106" y="118"/>
                      <a:pt x="106" y="118"/>
                    </a:cubicBezTo>
                    <a:cubicBezTo>
                      <a:pt x="106" y="117"/>
                      <a:pt x="106" y="117"/>
                      <a:pt x="106" y="116"/>
                    </a:cubicBezTo>
                    <a:cubicBezTo>
                      <a:pt x="106" y="116"/>
                      <a:pt x="106" y="115"/>
                      <a:pt x="106" y="114"/>
                    </a:cubicBezTo>
                    <a:cubicBezTo>
                      <a:pt x="106" y="114"/>
                      <a:pt x="106" y="113"/>
                      <a:pt x="106" y="113"/>
                    </a:cubicBezTo>
                    <a:cubicBezTo>
                      <a:pt x="105" y="111"/>
                      <a:pt x="106" y="110"/>
                      <a:pt x="106" y="109"/>
                    </a:cubicBezTo>
                    <a:cubicBezTo>
                      <a:pt x="107" y="108"/>
                      <a:pt x="108" y="107"/>
                      <a:pt x="106" y="107"/>
                    </a:cubicBezTo>
                    <a:cubicBezTo>
                      <a:pt x="105" y="106"/>
                      <a:pt x="106" y="105"/>
                      <a:pt x="106" y="104"/>
                    </a:cubicBezTo>
                    <a:cubicBezTo>
                      <a:pt x="107" y="103"/>
                      <a:pt x="107" y="102"/>
                      <a:pt x="108" y="101"/>
                    </a:cubicBezTo>
                    <a:cubicBezTo>
                      <a:pt x="109" y="101"/>
                      <a:pt x="108" y="100"/>
                      <a:pt x="108" y="100"/>
                    </a:cubicBezTo>
                    <a:cubicBezTo>
                      <a:pt x="108" y="99"/>
                      <a:pt x="109" y="99"/>
                      <a:pt x="108" y="98"/>
                    </a:cubicBezTo>
                    <a:cubicBezTo>
                      <a:pt x="108" y="97"/>
                      <a:pt x="107" y="98"/>
                      <a:pt x="106" y="97"/>
                    </a:cubicBezTo>
                    <a:cubicBezTo>
                      <a:pt x="106" y="97"/>
                      <a:pt x="106" y="95"/>
                      <a:pt x="106" y="95"/>
                    </a:cubicBezTo>
                    <a:cubicBezTo>
                      <a:pt x="105" y="94"/>
                      <a:pt x="104" y="94"/>
                      <a:pt x="104" y="93"/>
                    </a:cubicBezTo>
                    <a:cubicBezTo>
                      <a:pt x="104" y="92"/>
                      <a:pt x="105" y="92"/>
                      <a:pt x="104" y="92"/>
                    </a:cubicBezTo>
                    <a:cubicBezTo>
                      <a:pt x="104" y="92"/>
                      <a:pt x="103" y="92"/>
                      <a:pt x="103" y="92"/>
                    </a:cubicBezTo>
                    <a:cubicBezTo>
                      <a:pt x="102" y="91"/>
                      <a:pt x="102" y="91"/>
                      <a:pt x="101" y="91"/>
                    </a:cubicBezTo>
                    <a:cubicBezTo>
                      <a:pt x="100" y="91"/>
                      <a:pt x="100" y="91"/>
                      <a:pt x="99" y="91"/>
                    </a:cubicBezTo>
                    <a:cubicBezTo>
                      <a:pt x="99" y="91"/>
                      <a:pt x="98" y="90"/>
                      <a:pt x="98" y="91"/>
                    </a:cubicBezTo>
                    <a:cubicBezTo>
                      <a:pt x="97" y="91"/>
                      <a:pt x="98" y="91"/>
                      <a:pt x="97" y="90"/>
                    </a:cubicBezTo>
                    <a:cubicBezTo>
                      <a:pt x="97" y="90"/>
                      <a:pt x="97" y="91"/>
                      <a:pt x="97" y="91"/>
                    </a:cubicBezTo>
                    <a:cubicBezTo>
                      <a:pt x="96" y="92"/>
                      <a:pt x="96" y="92"/>
                      <a:pt x="96" y="93"/>
                    </a:cubicBezTo>
                    <a:cubicBezTo>
                      <a:pt x="96" y="94"/>
                      <a:pt x="96" y="94"/>
                      <a:pt x="95" y="94"/>
                    </a:cubicBezTo>
                    <a:cubicBezTo>
                      <a:pt x="94" y="95"/>
                      <a:pt x="94" y="95"/>
                      <a:pt x="94" y="96"/>
                    </a:cubicBezTo>
                    <a:cubicBezTo>
                      <a:pt x="94" y="95"/>
                      <a:pt x="94" y="94"/>
                      <a:pt x="95" y="94"/>
                    </a:cubicBezTo>
                    <a:cubicBezTo>
                      <a:pt x="95" y="94"/>
                      <a:pt x="96" y="94"/>
                      <a:pt x="96" y="93"/>
                    </a:cubicBezTo>
                    <a:cubicBezTo>
                      <a:pt x="96" y="93"/>
                      <a:pt x="96" y="92"/>
                      <a:pt x="96" y="92"/>
                    </a:cubicBezTo>
                    <a:cubicBezTo>
                      <a:pt x="95" y="91"/>
                      <a:pt x="95" y="92"/>
                      <a:pt x="95" y="92"/>
                    </a:cubicBezTo>
                    <a:cubicBezTo>
                      <a:pt x="95" y="91"/>
                      <a:pt x="95" y="91"/>
                      <a:pt x="96" y="91"/>
                    </a:cubicBezTo>
                    <a:cubicBezTo>
                      <a:pt x="96" y="91"/>
                      <a:pt x="97" y="90"/>
                      <a:pt x="97" y="90"/>
                    </a:cubicBezTo>
                    <a:cubicBezTo>
                      <a:pt x="97" y="89"/>
                      <a:pt x="97" y="88"/>
                      <a:pt x="97" y="88"/>
                    </a:cubicBezTo>
                    <a:cubicBezTo>
                      <a:pt x="97" y="87"/>
                      <a:pt x="96" y="87"/>
                      <a:pt x="96" y="87"/>
                    </a:cubicBezTo>
                    <a:cubicBezTo>
                      <a:pt x="96" y="87"/>
                      <a:pt x="95" y="88"/>
                      <a:pt x="95" y="88"/>
                    </a:cubicBezTo>
                    <a:cubicBezTo>
                      <a:pt x="95" y="87"/>
                      <a:pt x="95" y="87"/>
                      <a:pt x="95" y="87"/>
                    </a:cubicBezTo>
                    <a:cubicBezTo>
                      <a:pt x="95" y="87"/>
                      <a:pt x="94" y="88"/>
                      <a:pt x="94" y="87"/>
                    </a:cubicBezTo>
                    <a:cubicBezTo>
                      <a:pt x="95" y="87"/>
                      <a:pt x="95" y="86"/>
                      <a:pt x="94" y="86"/>
                    </a:cubicBezTo>
                    <a:cubicBezTo>
                      <a:pt x="94" y="86"/>
                      <a:pt x="94" y="87"/>
                      <a:pt x="93" y="86"/>
                    </a:cubicBezTo>
                    <a:cubicBezTo>
                      <a:pt x="93" y="86"/>
                      <a:pt x="94" y="85"/>
                      <a:pt x="94" y="84"/>
                    </a:cubicBezTo>
                    <a:cubicBezTo>
                      <a:pt x="94" y="83"/>
                      <a:pt x="93" y="83"/>
                      <a:pt x="93" y="82"/>
                    </a:cubicBezTo>
                    <a:cubicBezTo>
                      <a:pt x="93" y="81"/>
                      <a:pt x="93" y="80"/>
                      <a:pt x="93" y="80"/>
                    </a:cubicBezTo>
                    <a:cubicBezTo>
                      <a:pt x="93" y="79"/>
                      <a:pt x="93" y="79"/>
                      <a:pt x="93" y="78"/>
                    </a:cubicBezTo>
                    <a:cubicBezTo>
                      <a:pt x="93" y="78"/>
                      <a:pt x="93" y="76"/>
                      <a:pt x="92" y="77"/>
                    </a:cubicBezTo>
                    <a:cubicBezTo>
                      <a:pt x="91" y="77"/>
                      <a:pt x="90" y="77"/>
                      <a:pt x="89" y="76"/>
                    </a:cubicBezTo>
                    <a:cubicBezTo>
                      <a:pt x="89" y="76"/>
                      <a:pt x="88" y="76"/>
                      <a:pt x="88" y="76"/>
                    </a:cubicBezTo>
                    <a:cubicBezTo>
                      <a:pt x="88" y="76"/>
                      <a:pt x="87" y="77"/>
                      <a:pt x="87" y="77"/>
                    </a:cubicBezTo>
                    <a:cubicBezTo>
                      <a:pt x="87" y="77"/>
                      <a:pt x="87" y="76"/>
                      <a:pt x="86" y="76"/>
                    </a:cubicBezTo>
                    <a:cubicBezTo>
                      <a:pt x="86" y="76"/>
                      <a:pt x="86" y="76"/>
                      <a:pt x="85" y="75"/>
                    </a:cubicBezTo>
                    <a:cubicBezTo>
                      <a:pt x="85" y="75"/>
                      <a:pt x="85" y="75"/>
                      <a:pt x="84" y="74"/>
                    </a:cubicBezTo>
                    <a:cubicBezTo>
                      <a:pt x="84" y="74"/>
                      <a:pt x="84" y="74"/>
                      <a:pt x="84" y="74"/>
                    </a:cubicBezTo>
                    <a:cubicBezTo>
                      <a:pt x="83" y="74"/>
                      <a:pt x="84" y="74"/>
                      <a:pt x="84" y="74"/>
                    </a:cubicBezTo>
                    <a:cubicBezTo>
                      <a:pt x="83" y="73"/>
                      <a:pt x="83" y="73"/>
                      <a:pt x="83" y="73"/>
                    </a:cubicBezTo>
                    <a:cubicBezTo>
                      <a:pt x="83" y="73"/>
                      <a:pt x="83" y="72"/>
                      <a:pt x="83" y="72"/>
                    </a:cubicBezTo>
                    <a:cubicBezTo>
                      <a:pt x="84" y="71"/>
                      <a:pt x="83" y="71"/>
                      <a:pt x="83" y="70"/>
                    </a:cubicBezTo>
                    <a:cubicBezTo>
                      <a:pt x="83" y="71"/>
                      <a:pt x="83" y="71"/>
                      <a:pt x="84" y="71"/>
                    </a:cubicBezTo>
                    <a:cubicBezTo>
                      <a:pt x="85" y="71"/>
                      <a:pt x="85" y="70"/>
                      <a:pt x="85" y="70"/>
                    </a:cubicBezTo>
                    <a:cubicBezTo>
                      <a:pt x="85" y="69"/>
                      <a:pt x="83" y="70"/>
                      <a:pt x="83" y="69"/>
                    </a:cubicBezTo>
                    <a:cubicBezTo>
                      <a:pt x="83" y="69"/>
                      <a:pt x="84" y="69"/>
                      <a:pt x="84" y="69"/>
                    </a:cubicBezTo>
                    <a:cubicBezTo>
                      <a:pt x="84" y="68"/>
                      <a:pt x="84" y="68"/>
                      <a:pt x="84" y="68"/>
                    </a:cubicBezTo>
                    <a:cubicBezTo>
                      <a:pt x="83" y="68"/>
                      <a:pt x="83" y="68"/>
                      <a:pt x="82" y="68"/>
                    </a:cubicBezTo>
                    <a:cubicBezTo>
                      <a:pt x="82" y="68"/>
                      <a:pt x="83" y="68"/>
                      <a:pt x="84" y="68"/>
                    </a:cubicBezTo>
                    <a:cubicBezTo>
                      <a:pt x="84" y="67"/>
                      <a:pt x="84" y="67"/>
                      <a:pt x="84" y="66"/>
                    </a:cubicBezTo>
                    <a:cubicBezTo>
                      <a:pt x="85" y="66"/>
                      <a:pt x="85" y="66"/>
                      <a:pt x="85" y="66"/>
                    </a:cubicBezTo>
                    <a:cubicBezTo>
                      <a:pt x="85" y="66"/>
                      <a:pt x="85" y="65"/>
                      <a:pt x="85" y="65"/>
                    </a:cubicBezTo>
                    <a:cubicBezTo>
                      <a:pt x="85" y="65"/>
                      <a:pt x="85" y="66"/>
                      <a:pt x="85" y="66"/>
                    </a:cubicBezTo>
                    <a:cubicBezTo>
                      <a:pt x="86" y="66"/>
                      <a:pt x="86" y="66"/>
                      <a:pt x="86" y="66"/>
                    </a:cubicBezTo>
                    <a:cubicBezTo>
                      <a:pt x="87" y="65"/>
                      <a:pt x="87" y="66"/>
                      <a:pt x="87" y="65"/>
                    </a:cubicBezTo>
                    <a:cubicBezTo>
                      <a:pt x="87" y="64"/>
                      <a:pt x="87" y="63"/>
                      <a:pt x="87" y="62"/>
                    </a:cubicBezTo>
                    <a:cubicBezTo>
                      <a:pt x="86" y="62"/>
                      <a:pt x="85" y="61"/>
                      <a:pt x="85" y="62"/>
                    </a:cubicBezTo>
                    <a:cubicBezTo>
                      <a:pt x="85" y="61"/>
                      <a:pt x="84" y="59"/>
                      <a:pt x="83" y="59"/>
                    </a:cubicBezTo>
                    <a:cubicBezTo>
                      <a:pt x="82" y="60"/>
                      <a:pt x="81" y="60"/>
                      <a:pt x="81" y="61"/>
                    </a:cubicBezTo>
                    <a:cubicBezTo>
                      <a:pt x="81" y="61"/>
                      <a:pt x="80" y="61"/>
                      <a:pt x="80" y="61"/>
                    </a:cubicBezTo>
                    <a:cubicBezTo>
                      <a:pt x="79" y="62"/>
                      <a:pt x="79" y="62"/>
                      <a:pt x="78" y="62"/>
                    </a:cubicBezTo>
                    <a:cubicBezTo>
                      <a:pt x="77" y="63"/>
                      <a:pt x="76" y="63"/>
                      <a:pt x="76" y="63"/>
                    </a:cubicBezTo>
                    <a:cubicBezTo>
                      <a:pt x="76" y="63"/>
                      <a:pt x="75" y="64"/>
                      <a:pt x="75" y="64"/>
                    </a:cubicBezTo>
                    <a:cubicBezTo>
                      <a:pt x="75" y="63"/>
                      <a:pt x="75" y="63"/>
                      <a:pt x="74" y="63"/>
                    </a:cubicBezTo>
                    <a:cubicBezTo>
                      <a:pt x="74" y="63"/>
                      <a:pt x="74" y="63"/>
                      <a:pt x="74" y="63"/>
                    </a:cubicBezTo>
                    <a:cubicBezTo>
                      <a:pt x="75" y="64"/>
                      <a:pt x="76" y="62"/>
                      <a:pt x="77" y="62"/>
                    </a:cubicBezTo>
                    <a:cubicBezTo>
                      <a:pt x="78" y="62"/>
                      <a:pt x="79" y="61"/>
                      <a:pt x="80" y="61"/>
                    </a:cubicBezTo>
                    <a:cubicBezTo>
                      <a:pt x="81" y="60"/>
                      <a:pt x="79" y="58"/>
                      <a:pt x="79" y="58"/>
                    </a:cubicBezTo>
                    <a:cubicBezTo>
                      <a:pt x="78" y="57"/>
                      <a:pt x="76" y="57"/>
                      <a:pt x="75" y="57"/>
                    </a:cubicBezTo>
                    <a:cubicBezTo>
                      <a:pt x="74" y="57"/>
                      <a:pt x="73" y="56"/>
                      <a:pt x="73" y="55"/>
                    </a:cubicBezTo>
                    <a:cubicBezTo>
                      <a:pt x="72" y="55"/>
                      <a:pt x="72" y="55"/>
                      <a:pt x="72" y="54"/>
                    </a:cubicBezTo>
                    <a:cubicBezTo>
                      <a:pt x="71" y="53"/>
                      <a:pt x="72" y="53"/>
                      <a:pt x="71" y="52"/>
                    </a:cubicBezTo>
                    <a:cubicBezTo>
                      <a:pt x="71" y="51"/>
                      <a:pt x="71" y="51"/>
                      <a:pt x="71" y="50"/>
                    </a:cubicBezTo>
                    <a:cubicBezTo>
                      <a:pt x="70" y="50"/>
                      <a:pt x="69" y="49"/>
                      <a:pt x="69" y="48"/>
                    </a:cubicBezTo>
                    <a:cubicBezTo>
                      <a:pt x="68" y="48"/>
                      <a:pt x="68" y="47"/>
                      <a:pt x="67" y="47"/>
                    </a:cubicBezTo>
                    <a:cubicBezTo>
                      <a:pt x="66" y="47"/>
                      <a:pt x="66" y="47"/>
                      <a:pt x="65" y="47"/>
                    </a:cubicBezTo>
                    <a:cubicBezTo>
                      <a:pt x="65" y="47"/>
                      <a:pt x="64" y="47"/>
                      <a:pt x="64" y="46"/>
                    </a:cubicBezTo>
                    <a:cubicBezTo>
                      <a:pt x="63" y="45"/>
                      <a:pt x="63" y="44"/>
                      <a:pt x="62" y="43"/>
                    </a:cubicBezTo>
                    <a:cubicBezTo>
                      <a:pt x="62" y="42"/>
                      <a:pt x="61" y="42"/>
                      <a:pt x="60" y="41"/>
                    </a:cubicBezTo>
                    <a:cubicBezTo>
                      <a:pt x="60" y="41"/>
                      <a:pt x="60" y="40"/>
                      <a:pt x="60" y="40"/>
                    </a:cubicBezTo>
                    <a:cubicBezTo>
                      <a:pt x="59" y="40"/>
                      <a:pt x="57" y="40"/>
                      <a:pt x="58" y="42"/>
                    </a:cubicBezTo>
                    <a:cubicBezTo>
                      <a:pt x="58" y="43"/>
                      <a:pt x="59" y="44"/>
                      <a:pt x="59" y="45"/>
                    </a:cubicBezTo>
                    <a:cubicBezTo>
                      <a:pt x="59" y="46"/>
                      <a:pt x="59" y="45"/>
                      <a:pt x="59" y="44"/>
                    </a:cubicBezTo>
                    <a:cubicBezTo>
                      <a:pt x="59" y="44"/>
                      <a:pt x="58" y="44"/>
                      <a:pt x="58" y="43"/>
                    </a:cubicBezTo>
                    <a:cubicBezTo>
                      <a:pt x="57" y="42"/>
                      <a:pt x="56" y="42"/>
                      <a:pt x="55" y="41"/>
                    </a:cubicBezTo>
                    <a:cubicBezTo>
                      <a:pt x="53" y="40"/>
                      <a:pt x="54" y="38"/>
                      <a:pt x="53" y="37"/>
                    </a:cubicBezTo>
                    <a:cubicBezTo>
                      <a:pt x="52" y="36"/>
                      <a:pt x="52" y="35"/>
                      <a:pt x="51" y="36"/>
                    </a:cubicBezTo>
                    <a:cubicBezTo>
                      <a:pt x="51" y="36"/>
                      <a:pt x="51" y="37"/>
                      <a:pt x="51" y="37"/>
                    </a:cubicBezTo>
                    <a:cubicBezTo>
                      <a:pt x="50" y="37"/>
                      <a:pt x="51" y="36"/>
                      <a:pt x="50" y="35"/>
                    </a:cubicBezTo>
                    <a:cubicBezTo>
                      <a:pt x="49" y="35"/>
                      <a:pt x="50" y="36"/>
                      <a:pt x="50" y="36"/>
                    </a:cubicBezTo>
                    <a:cubicBezTo>
                      <a:pt x="50" y="36"/>
                      <a:pt x="50" y="37"/>
                      <a:pt x="50" y="37"/>
                    </a:cubicBezTo>
                    <a:cubicBezTo>
                      <a:pt x="49" y="36"/>
                      <a:pt x="50" y="35"/>
                      <a:pt x="50" y="34"/>
                    </a:cubicBezTo>
                    <a:cubicBezTo>
                      <a:pt x="50" y="33"/>
                      <a:pt x="49" y="32"/>
                      <a:pt x="48" y="32"/>
                    </a:cubicBezTo>
                    <a:cubicBezTo>
                      <a:pt x="48" y="32"/>
                      <a:pt x="47" y="30"/>
                      <a:pt x="47" y="30"/>
                    </a:cubicBezTo>
                    <a:cubicBezTo>
                      <a:pt x="47" y="30"/>
                      <a:pt x="46" y="30"/>
                      <a:pt x="46" y="30"/>
                    </a:cubicBezTo>
                    <a:cubicBezTo>
                      <a:pt x="45" y="30"/>
                      <a:pt x="45" y="29"/>
                      <a:pt x="45" y="29"/>
                    </a:cubicBezTo>
                    <a:cubicBezTo>
                      <a:pt x="44" y="28"/>
                      <a:pt x="43" y="27"/>
                      <a:pt x="42" y="27"/>
                    </a:cubicBezTo>
                    <a:cubicBezTo>
                      <a:pt x="41" y="26"/>
                      <a:pt x="40" y="25"/>
                      <a:pt x="39" y="25"/>
                    </a:cubicBezTo>
                    <a:cubicBezTo>
                      <a:pt x="39" y="25"/>
                      <a:pt x="37" y="24"/>
                      <a:pt x="37" y="23"/>
                    </a:cubicBezTo>
                    <a:cubicBezTo>
                      <a:pt x="37" y="22"/>
                      <a:pt x="36" y="22"/>
                      <a:pt x="35" y="22"/>
                    </a:cubicBezTo>
                    <a:cubicBezTo>
                      <a:pt x="35" y="21"/>
                      <a:pt x="34" y="21"/>
                      <a:pt x="33" y="20"/>
                    </a:cubicBezTo>
                    <a:cubicBezTo>
                      <a:pt x="33" y="20"/>
                      <a:pt x="33" y="20"/>
                      <a:pt x="33" y="20"/>
                    </a:cubicBezTo>
                    <a:cubicBezTo>
                      <a:pt x="32" y="19"/>
                      <a:pt x="32" y="20"/>
                      <a:pt x="32" y="20"/>
                    </a:cubicBezTo>
                    <a:cubicBezTo>
                      <a:pt x="32" y="20"/>
                      <a:pt x="32" y="20"/>
                      <a:pt x="32" y="19"/>
                    </a:cubicBezTo>
                    <a:cubicBezTo>
                      <a:pt x="32" y="19"/>
                      <a:pt x="32" y="19"/>
                      <a:pt x="32" y="18"/>
                    </a:cubicBezTo>
                    <a:cubicBezTo>
                      <a:pt x="32" y="18"/>
                      <a:pt x="33" y="17"/>
                      <a:pt x="32" y="16"/>
                    </a:cubicBezTo>
                    <a:cubicBezTo>
                      <a:pt x="31" y="16"/>
                      <a:pt x="31" y="15"/>
                      <a:pt x="30" y="15"/>
                    </a:cubicBezTo>
                    <a:cubicBezTo>
                      <a:pt x="30" y="15"/>
                      <a:pt x="30" y="14"/>
                      <a:pt x="30" y="14"/>
                    </a:cubicBezTo>
                    <a:cubicBezTo>
                      <a:pt x="29" y="13"/>
                      <a:pt x="29" y="12"/>
                      <a:pt x="29" y="12"/>
                    </a:cubicBezTo>
                    <a:cubicBezTo>
                      <a:pt x="28" y="11"/>
                      <a:pt x="27" y="10"/>
                      <a:pt x="26" y="9"/>
                    </a:cubicBezTo>
                    <a:cubicBezTo>
                      <a:pt x="26" y="9"/>
                      <a:pt x="25" y="7"/>
                      <a:pt x="24" y="8"/>
                    </a:cubicBezTo>
                    <a:cubicBezTo>
                      <a:pt x="24" y="8"/>
                      <a:pt x="23" y="9"/>
                      <a:pt x="22" y="9"/>
                    </a:cubicBezTo>
                    <a:cubicBezTo>
                      <a:pt x="22" y="9"/>
                      <a:pt x="21" y="8"/>
                      <a:pt x="21" y="8"/>
                    </a:cubicBezTo>
                    <a:cubicBezTo>
                      <a:pt x="21" y="8"/>
                      <a:pt x="21" y="7"/>
                      <a:pt x="20" y="7"/>
                    </a:cubicBezTo>
                    <a:cubicBezTo>
                      <a:pt x="19" y="7"/>
                      <a:pt x="18" y="7"/>
                      <a:pt x="17" y="8"/>
                    </a:cubicBezTo>
                    <a:cubicBezTo>
                      <a:pt x="16" y="8"/>
                      <a:pt x="15" y="8"/>
                      <a:pt x="14" y="8"/>
                    </a:cubicBezTo>
                    <a:cubicBezTo>
                      <a:pt x="13" y="8"/>
                      <a:pt x="13" y="8"/>
                      <a:pt x="12" y="7"/>
                    </a:cubicBezTo>
                    <a:cubicBezTo>
                      <a:pt x="11" y="7"/>
                      <a:pt x="10" y="6"/>
                      <a:pt x="9" y="6"/>
                    </a:cubicBezTo>
                    <a:cubicBezTo>
                      <a:pt x="9" y="5"/>
                      <a:pt x="8" y="5"/>
                      <a:pt x="8" y="4"/>
                    </a:cubicBezTo>
                    <a:cubicBezTo>
                      <a:pt x="7" y="4"/>
                      <a:pt x="7" y="4"/>
                      <a:pt x="6" y="4"/>
                    </a:cubicBezTo>
                    <a:cubicBezTo>
                      <a:pt x="6" y="3"/>
                      <a:pt x="6" y="4"/>
                      <a:pt x="5" y="4"/>
                    </a:cubicBezTo>
                    <a:cubicBezTo>
                      <a:pt x="5" y="4"/>
                      <a:pt x="4" y="3"/>
                      <a:pt x="4" y="3"/>
                    </a:cubicBezTo>
                    <a:cubicBezTo>
                      <a:pt x="4" y="4"/>
                      <a:pt x="3" y="4"/>
                      <a:pt x="3" y="4"/>
                    </a:cubicBezTo>
                    <a:cubicBezTo>
                      <a:pt x="3" y="4"/>
                      <a:pt x="3" y="4"/>
                      <a:pt x="3" y="4"/>
                    </a:cubicBezTo>
                    <a:cubicBezTo>
                      <a:pt x="2" y="4"/>
                      <a:pt x="2" y="4"/>
                      <a:pt x="2" y="5"/>
                    </a:cubicBezTo>
                    <a:cubicBezTo>
                      <a:pt x="3" y="6"/>
                      <a:pt x="3" y="6"/>
                      <a:pt x="2" y="7"/>
                    </a:cubicBezTo>
                    <a:cubicBezTo>
                      <a:pt x="2" y="7"/>
                      <a:pt x="3" y="8"/>
                      <a:pt x="3" y="8"/>
                    </a:cubicBezTo>
                    <a:cubicBezTo>
                      <a:pt x="3" y="8"/>
                      <a:pt x="3" y="9"/>
                      <a:pt x="3" y="9"/>
                    </a:cubicBezTo>
                    <a:cubicBezTo>
                      <a:pt x="4" y="10"/>
                      <a:pt x="4" y="10"/>
                      <a:pt x="4" y="10"/>
                    </a:cubicBezTo>
                    <a:cubicBezTo>
                      <a:pt x="4" y="11"/>
                      <a:pt x="4" y="12"/>
                      <a:pt x="5" y="12"/>
                    </a:cubicBezTo>
                    <a:cubicBezTo>
                      <a:pt x="5" y="13"/>
                      <a:pt x="6" y="14"/>
                      <a:pt x="6" y="14"/>
                    </a:cubicBezTo>
                    <a:cubicBezTo>
                      <a:pt x="6" y="14"/>
                      <a:pt x="6" y="14"/>
                      <a:pt x="6" y="14"/>
                    </a:cubicBezTo>
                    <a:cubicBezTo>
                      <a:pt x="6" y="14"/>
                      <a:pt x="7" y="14"/>
                      <a:pt x="7" y="15"/>
                    </a:cubicBezTo>
                    <a:cubicBezTo>
                      <a:pt x="7" y="15"/>
                      <a:pt x="8" y="16"/>
                      <a:pt x="9" y="17"/>
                    </a:cubicBezTo>
                    <a:cubicBezTo>
                      <a:pt x="9" y="17"/>
                      <a:pt x="10" y="18"/>
                      <a:pt x="10" y="19"/>
                    </a:cubicBezTo>
                    <a:cubicBezTo>
                      <a:pt x="11" y="19"/>
                      <a:pt x="11" y="20"/>
                      <a:pt x="12" y="20"/>
                    </a:cubicBezTo>
                    <a:cubicBezTo>
                      <a:pt x="12" y="20"/>
                      <a:pt x="13" y="20"/>
                      <a:pt x="13" y="21"/>
                    </a:cubicBezTo>
                    <a:cubicBezTo>
                      <a:pt x="14" y="22"/>
                      <a:pt x="15" y="24"/>
                      <a:pt x="17" y="24"/>
                    </a:cubicBezTo>
                    <a:cubicBezTo>
                      <a:pt x="17" y="24"/>
                      <a:pt x="18" y="24"/>
                      <a:pt x="19" y="24"/>
                    </a:cubicBezTo>
                    <a:cubicBezTo>
                      <a:pt x="19" y="25"/>
                      <a:pt x="20" y="26"/>
                      <a:pt x="20" y="26"/>
                    </a:cubicBezTo>
                    <a:cubicBezTo>
                      <a:pt x="21" y="27"/>
                      <a:pt x="21" y="29"/>
                      <a:pt x="22" y="30"/>
                    </a:cubicBezTo>
                    <a:cubicBezTo>
                      <a:pt x="23" y="30"/>
                      <a:pt x="23" y="30"/>
                      <a:pt x="23" y="30"/>
                    </a:cubicBezTo>
                    <a:cubicBezTo>
                      <a:pt x="24" y="31"/>
                      <a:pt x="24" y="32"/>
                      <a:pt x="24" y="33"/>
                    </a:cubicBezTo>
                    <a:cubicBezTo>
                      <a:pt x="25" y="33"/>
                      <a:pt x="25" y="33"/>
                      <a:pt x="26" y="34"/>
                    </a:cubicBezTo>
                    <a:cubicBezTo>
                      <a:pt x="27" y="34"/>
                      <a:pt x="27" y="34"/>
                      <a:pt x="27" y="35"/>
                    </a:cubicBezTo>
                    <a:cubicBezTo>
                      <a:pt x="27" y="36"/>
                      <a:pt x="27" y="38"/>
                      <a:pt x="27" y="39"/>
                    </a:cubicBezTo>
                    <a:cubicBezTo>
                      <a:pt x="28" y="40"/>
                      <a:pt x="28" y="40"/>
                      <a:pt x="29" y="40"/>
                    </a:cubicBezTo>
                    <a:cubicBezTo>
                      <a:pt x="29" y="41"/>
                      <a:pt x="30" y="40"/>
                      <a:pt x="30" y="40"/>
                    </a:cubicBezTo>
                    <a:cubicBezTo>
                      <a:pt x="31" y="41"/>
                      <a:pt x="33" y="42"/>
                      <a:pt x="33" y="43"/>
                    </a:cubicBezTo>
                    <a:cubicBezTo>
                      <a:pt x="33" y="43"/>
                      <a:pt x="34" y="43"/>
                      <a:pt x="34" y="43"/>
                    </a:cubicBezTo>
                    <a:cubicBezTo>
                      <a:pt x="34" y="43"/>
                      <a:pt x="34" y="43"/>
                      <a:pt x="34" y="43"/>
                    </a:cubicBezTo>
                    <a:cubicBezTo>
                      <a:pt x="35" y="43"/>
                      <a:pt x="36" y="44"/>
                      <a:pt x="36" y="44"/>
                    </a:cubicBezTo>
                    <a:cubicBezTo>
                      <a:pt x="36" y="45"/>
                      <a:pt x="36" y="45"/>
                      <a:pt x="37" y="46"/>
                    </a:cubicBezTo>
                    <a:cubicBezTo>
                      <a:pt x="37" y="46"/>
                      <a:pt x="38" y="47"/>
                      <a:pt x="38" y="46"/>
                    </a:cubicBezTo>
                    <a:cubicBezTo>
                      <a:pt x="38" y="45"/>
                      <a:pt x="39" y="47"/>
                      <a:pt x="39" y="47"/>
                    </a:cubicBezTo>
                    <a:cubicBezTo>
                      <a:pt x="39" y="47"/>
                      <a:pt x="38" y="48"/>
                      <a:pt x="38" y="48"/>
                    </a:cubicBezTo>
                    <a:cubicBezTo>
                      <a:pt x="38" y="48"/>
                      <a:pt x="38" y="48"/>
                      <a:pt x="37" y="48"/>
                    </a:cubicBezTo>
                    <a:cubicBezTo>
                      <a:pt x="37" y="48"/>
                      <a:pt x="38" y="49"/>
                      <a:pt x="38" y="49"/>
                    </a:cubicBezTo>
                    <a:cubicBezTo>
                      <a:pt x="39" y="50"/>
                      <a:pt x="39" y="51"/>
                      <a:pt x="39" y="52"/>
                    </a:cubicBezTo>
                    <a:cubicBezTo>
                      <a:pt x="39" y="53"/>
                      <a:pt x="40" y="55"/>
                      <a:pt x="41" y="56"/>
                    </a:cubicBezTo>
                    <a:cubicBezTo>
                      <a:pt x="41" y="57"/>
                      <a:pt x="41" y="58"/>
                      <a:pt x="41" y="58"/>
                    </a:cubicBezTo>
                    <a:cubicBezTo>
                      <a:pt x="42" y="59"/>
                      <a:pt x="41" y="59"/>
                      <a:pt x="42" y="60"/>
                    </a:cubicBezTo>
                    <a:cubicBezTo>
                      <a:pt x="42" y="61"/>
                      <a:pt x="42" y="61"/>
                      <a:pt x="42" y="62"/>
                    </a:cubicBezTo>
                    <a:cubicBezTo>
                      <a:pt x="42" y="62"/>
                      <a:pt x="42" y="62"/>
                      <a:pt x="42" y="63"/>
                    </a:cubicBezTo>
                    <a:cubicBezTo>
                      <a:pt x="43" y="63"/>
                      <a:pt x="43" y="63"/>
                      <a:pt x="44" y="63"/>
                    </a:cubicBezTo>
                    <a:cubicBezTo>
                      <a:pt x="44" y="63"/>
                      <a:pt x="44" y="63"/>
                      <a:pt x="44" y="63"/>
                    </a:cubicBezTo>
                    <a:cubicBezTo>
                      <a:pt x="46" y="64"/>
                      <a:pt x="46" y="64"/>
                      <a:pt x="47" y="65"/>
                    </a:cubicBezTo>
                    <a:cubicBezTo>
                      <a:pt x="48" y="66"/>
                      <a:pt x="47" y="67"/>
                      <a:pt x="48" y="67"/>
                    </a:cubicBezTo>
                    <a:cubicBezTo>
                      <a:pt x="48" y="68"/>
                      <a:pt x="48" y="68"/>
                      <a:pt x="49" y="69"/>
                    </a:cubicBezTo>
                    <a:cubicBezTo>
                      <a:pt x="49" y="69"/>
                      <a:pt x="50" y="70"/>
                      <a:pt x="50" y="70"/>
                    </a:cubicBezTo>
                    <a:cubicBezTo>
                      <a:pt x="51" y="71"/>
                      <a:pt x="51" y="71"/>
                      <a:pt x="51" y="72"/>
                    </a:cubicBezTo>
                    <a:cubicBezTo>
                      <a:pt x="52" y="73"/>
                      <a:pt x="53" y="75"/>
                      <a:pt x="54" y="76"/>
                    </a:cubicBezTo>
                    <a:cubicBezTo>
                      <a:pt x="54" y="76"/>
                      <a:pt x="54" y="77"/>
                      <a:pt x="54" y="77"/>
                    </a:cubicBezTo>
                    <a:cubicBezTo>
                      <a:pt x="54" y="77"/>
                      <a:pt x="54" y="78"/>
                      <a:pt x="54" y="78"/>
                    </a:cubicBezTo>
                    <a:cubicBezTo>
                      <a:pt x="54" y="78"/>
                      <a:pt x="54" y="79"/>
                      <a:pt x="54" y="79"/>
                    </a:cubicBezTo>
                    <a:cubicBezTo>
                      <a:pt x="54" y="79"/>
                      <a:pt x="55" y="79"/>
                      <a:pt x="55" y="80"/>
                    </a:cubicBezTo>
                    <a:cubicBezTo>
                      <a:pt x="56" y="80"/>
                      <a:pt x="56" y="81"/>
                      <a:pt x="56" y="82"/>
                    </a:cubicBezTo>
                    <a:cubicBezTo>
                      <a:pt x="56" y="82"/>
                      <a:pt x="56" y="82"/>
                      <a:pt x="56" y="82"/>
                    </a:cubicBezTo>
                    <a:cubicBezTo>
                      <a:pt x="56" y="82"/>
                      <a:pt x="56" y="82"/>
                      <a:pt x="56" y="82"/>
                    </a:cubicBezTo>
                    <a:cubicBezTo>
                      <a:pt x="56" y="84"/>
                      <a:pt x="58" y="85"/>
                      <a:pt x="58" y="86"/>
                    </a:cubicBezTo>
                    <a:cubicBezTo>
                      <a:pt x="58" y="87"/>
                      <a:pt x="59" y="87"/>
                      <a:pt x="58" y="88"/>
                    </a:cubicBezTo>
                    <a:cubicBezTo>
                      <a:pt x="58" y="88"/>
                      <a:pt x="58" y="89"/>
                      <a:pt x="58" y="89"/>
                    </a:cubicBezTo>
                    <a:cubicBezTo>
                      <a:pt x="59" y="91"/>
                      <a:pt x="59" y="93"/>
                      <a:pt x="60" y="94"/>
                    </a:cubicBezTo>
                    <a:cubicBezTo>
                      <a:pt x="61" y="94"/>
                      <a:pt x="62" y="94"/>
                      <a:pt x="62" y="95"/>
                    </a:cubicBezTo>
                    <a:cubicBezTo>
                      <a:pt x="63" y="95"/>
                      <a:pt x="63" y="96"/>
                      <a:pt x="63" y="96"/>
                    </a:cubicBezTo>
                    <a:cubicBezTo>
                      <a:pt x="64" y="98"/>
                      <a:pt x="64" y="100"/>
                      <a:pt x="65" y="101"/>
                    </a:cubicBezTo>
                    <a:cubicBezTo>
                      <a:pt x="66" y="102"/>
                      <a:pt x="68" y="103"/>
                      <a:pt x="69" y="104"/>
                    </a:cubicBezTo>
                    <a:cubicBezTo>
                      <a:pt x="70" y="104"/>
                      <a:pt x="71" y="105"/>
                      <a:pt x="71" y="105"/>
                    </a:cubicBezTo>
                    <a:cubicBezTo>
                      <a:pt x="71" y="106"/>
                      <a:pt x="71" y="107"/>
                      <a:pt x="72" y="107"/>
                    </a:cubicBezTo>
                    <a:cubicBezTo>
                      <a:pt x="72" y="108"/>
                      <a:pt x="71" y="108"/>
                      <a:pt x="72" y="109"/>
                    </a:cubicBezTo>
                    <a:cubicBezTo>
                      <a:pt x="72" y="109"/>
                      <a:pt x="72" y="110"/>
                      <a:pt x="73" y="110"/>
                    </a:cubicBezTo>
                    <a:cubicBezTo>
                      <a:pt x="74" y="111"/>
                      <a:pt x="76" y="112"/>
                      <a:pt x="77" y="114"/>
                    </a:cubicBezTo>
                    <a:cubicBezTo>
                      <a:pt x="77" y="114"/>
                      <a:pt x="77" y="115"/>
                      <a:pt x="78" y="115"/>
                    </a:cubicBezTo>
                    <a:cubicBezTo>
                      <a:pt x="78" y="115"/>
                      <a:pt x="78" y="115"/>
                      <a:pt x="78" y="115"/>
                    </a:cubicBezTo>
                    <a:cubicBezTo>
                      <a:pt x="79" y="115"/>
                      <a:pt x="80" y="116"/>
                      <a:pt x="80" y="116"/>
                    </a:cubicBezTo>
                    <a:cubicBezTo>
                      <a:pt x="81" y="117"/>
                      <a:pt x="81" y="118"/>
                      <a:pt x="82" y="118"/>
                    </a:cubicBezTo>
                    <a:cubicBezTo>
                      <a:pt x="82" y="118"/>
                      <a:pt x="82" y="118"/>
                      <a:pt x="82" y="119"/>
                    </a:cubicBezTo>
                    <a:cubicBezTo>
                      <a:pt x="82" y="119"/>
                      <a:pt x="82" y="119"/>
                      <a:pt x="83" y="119"/>
                    </a:cubicBezTo>
                    <a:cubicBezTo>
                      <a:pt x="83" y="119"/>
                      <a:pt x="84" y="119"/>
                      <a:pt x="84" y="120"/>
                    </a:cubicBezTo>
                    <a:cubicBezTo>
                      <a:pt x="84" y="120"/>
                      <a:pt x="85" y="120"/>
                      <a:pt x="85" y="120"/>
                    </a:cubicBezTo>
                    <a:cubicBezTo>
                      <a:pt x="85" y="120"/>
                      <a:pt x="86" y="121"/>
                      <a:pt x="87" y="121"/>
                    </a:cubicBezTo>
                    <a:cubicBezTo>
                      <a:pt x="87" y="122"/>
                      <a:pt x="86" y="123"/>
                      <a:pt x="87" y="123"/>
                    </a:cubicBezTo>
                    <a:cubicBezTo>
                      <a:pt x="87" y="123"/>
                      <a:pt x="88" y="123"/>
                      <a:pt x="88" y="123"/>
                    </a:cubicBezTo>
                    <a:cubicBezTo>
                      <a:pt x="87" y="124"/>
                      <a:pt x="88" y="125"/>
                      <a:pt x="89" y="125"/>
                    </a:cubicBezTo>
                    <a:cubicBezTo>
                      <a:pt x="89" y="126"/>
                      <a:pt x="89" y="126"/>
                      <a:pt x="90" y="126"/>
                    </a:cubicBezTo>
                    <a:cubicBezTo>
                      <a:pt x="90" y="126"/>
                      <a:pt x="90" y="126"/>
                      <a:pt x="90" y="127"/>
                    </a:cubicBezTo>
                    <a:cubicBezTo>
                      <a:pt x="90" y="127"/>
                      <a:pt x="90" y="127"/>
                      <a:pt x="90" y="127"/>
                    </a:cubicBezTo>
                    <a:cubicBezTo>
                      <a:pt x="90" y="127"/>
                      <a:pt x="91" y="127"/>
                      <a:pt x="91" y="128"/>
                    </a:cubicBezTo>
                    <a:cubicBezTo>
                      <a:pt x="91" y="128"/>
                      <a:pt x="91" y="128"/>
                      <a:pt x="92" y="128"/>
                    </a:cubicBezTo>
                    <a:cubicBezTo>
                      <a:pt x="92" y="129"/>
                      <a:pt x="92" y="129"/>
                      <a:pt x="93" y="130"/>
                    </a:cubicBezTo>
                    <a:cubicBezTo>
                      <a:pt x="93" y="131"/>
                      <a:pt x="93" y="130"/>
                      <a:pt x="94" y="130"/>
                    </a:cubicBezTo>
                    <a:cubicBezTo>
                      <a:pt x="94" y="130"/>
                      <a:pt x="94" y="130"/>
                      <a:pt x="94" y="129"/>
                    </a:cubicBezTo>
                    <a:cubicBezTo>
                      <a:pt x="94" y="128"/>
                      <a:pt x="93" y="127"/>
                      <a:pt x="93" y="126"/>
                    </a:cubicBezTo>
                    <a:cubicBezTo>
                      <a:pt x="93" y="126"/>
                      <a:pt x="93" y="126"/>
                      <a:pt x="94" y="126"/>
                    </a:cubicBezTo>
                    <a:cubicBezTo>
                      <a:pt x="94" y="126"/>
                      <a:pt x="95" y="127"/>
                      <a:pt x="95" y="127"/>
                    </a:cubicBezTo>
                    <a:cubicBezTo>
                      <a:pt x="96" y="127"/>
                      <a:pt x="97" y="128"/>
                      <a:pt x="98" y="128"/>
                    </a:cubicBezTo>
                    <a:cubicBezTo>
                      <a:pt x="98" y="129"/>
                      <a:pt x="98" y="129"/>
                      <a:pt x="98" y="129"/>
                    </a:cubicBezTo>
                    <a:cubicBezTo>
                      <a:pt x="98" y="129"/>
                      <a:pt x="99" y="129"/>
                      <a:pt x="99" y="129"/>
                    </a:cubicBezTo>
                    <a:close/>
                    <a:moveTo>
                      <a:pt x="21" y="43"/>
                    </a:moveTo>
                    <a:cubicBezTo>
                      <a:pt x="22" y="43"/>
                      <a:pt x="22" y="43"/>
                      <a:pt x="22" y="43"/>
                    </a:cubicBezTo>
                    <a:cubicBezTo>
                      <a:pt x="22" y="42"/>
                      <a:pt x="21" y="42"/>
                      <a:pt x="21" y="43"/>
                    </a:cubicBezTo>
                    <a:close/>
                    <a:moveTo>
                      <a:pt x="324" y="43"/>
                    </a:moveTo>
                    <a:cubicBezTo>
                      <a:pt x="325" y="43"/>
                      <a:pt x="324" y="43"/>
                      <a:pt x="324" y="43"/>
                    </a:cubicBezTo>
                    <a:cubicBezTo>
                      <a:pt x="325" y="43"/>
                      <a:pt x="326" y="43"/>
                      <a:pt x="326" y="43"/>
                    </a:cubicBezTo>
                    <a:cubicBezTo>
                      <a:pt x="327" y="43"/>
                      <a:pt x="328" y="41"/>
                      <a:pt x="328" y="40"/>
                    </a:cubicBezTo>
                    <a:cubicBezTo>
                      <a:pt x="328" y="39"/>
                      <a:pt x="329" y="39"/>
                      <a:pt x="328" y="38"/>
                    </a:cubicBezTo>
                    <a:cubicBezTo>
                      <a:pt x="328" y="37"/>
                      <a:pt x="327" y="37"/>
                      <a:pt x="327" y="36"/>
                    </a:cubicBezTo>
                    <a:cubicBezTo>
                      <a:pt x="327" y="36"/>
                      <a:pt x="327" y="37"/>
                      <a:pt x="326" y="37"/>
                    </a:cubicBezTo>
                    <a:cubicBezTo>
                      <a:pt x="326" y="37"/>
                      <a:pt x="326" y="37"/>
                      <a:pt x="326" y="37"/>
                    </a:cubicBezTo>
                    <a:cubicBezTo>
                      <a:pt x="325" y="38"/>
                      <a:pt x="325" y="38"/>
                      <a:pt x="324" y="39"/>
                    </a:cubicBezTo>
                    <a:cubicBezTo>
                      <a:pt x="324" y="39"/>
                      <a:pt x="324" y="40"/>
                      <a:pt x="324" y="40"/>
                    </a:cubicBezTo>
                    <a:cubicBezTo>
                      <a:pt x="324" y="41"/>
                      <a:pt x="324" y="41"/>
                      <a:pt x="324" y="41"/>
                    </a:cubicBezTo>
                    <a:cubicBezTo>
                      <a:pt x="324" y="42"/>
                      <a:pt x="324" y="42"/>
                      <a:pt x="324" y="43"/>
                    </a:cubicBezTo>
                    <a:close/>
                    <a:moveTo>
                      <a:pt x="340" y="79"/>
                    </a:moveTo>
                    <a:cubicBezTo>
                      <a:pt x="340" y="79"/>
                      <a:pt x="340" y="79"/>
                      <a:pt x="340" y="79"/>
                    </a:cubicBezTo>
                    <a:cubicBezTo>
                      <a:pt x="340" y="79"/>
                      <a:pt x="340" y="79"/>
                      <a:pt x="341" y="78"/>
                    </a:cubicBezTo>
                    <a:cubicBezTo>
                      <a:pt x="341" y="78"/>
                      <a:pt x="340" y="78"/>
                      <a:pt x="340" y="78"/>
                    </a:cubicBezTo>
                    <a:cubicBezTo>
                      <a:pt x="340" y="78"/>
                      <a:pt x="339" y="78"/>
                      <a:pt x="339" y="78"/>
                    </a:cubicBezTo>
                    <a:cubicBezTo>
                      <a:pt x="339" y="79"/>
                      <a:pt x="340" y="79"/>
                      <a:pt x="340" y="79"/>
                    </a:cubicBezTo>
                    <a:close/>
                    <a:moveTo>
                      <a:pt x="231" y="156"/>
                    </a:moveTo>
                    <a:cubicBezTo>
                      <a:pt x="232" y="157"/>
                      <a:pt x="233" y="155"/>
                      <a:pt x="232" y="155"/>
                    </a:cubicBezTo>
                    <a:cubicBezTo>
                      <a:pt x="231" y="155"/>
                      <a:pt x="231" y="155"/>
                      <a:pt x="231" y="156"/>
                    </a:cubicBezTo>
                    <a:close/>
                    <a:moveTo>
                      <a:pt x="93" y="54"/>
                    </a:moveTo>
                    <a:cubicBezTo>
                      <a:pt x="94" y="54"/>
                      <a:pt x="93" y="54"/>
                      <a:pt x="93" y="55"/>
                    </a:cubicBezTo>
                    <a:cubicBezTo>
                      <a:pt x="93" y="55"/>
                      <a:pt x="94" y="55"/>
                      <a:pt x="94" y="55"/>
                    </a:cubicBezTo>
                    <a:cubicBezTo>
                      <a:pt x="94" y="55"/>
                      <a:pt x="93" y="55"/>
                      <a:pt x="93" y="55"/>
                    </a:cubicBezTo>
                    <a:cubicBezTo>
                      <a:pt x="93" y="55"/>
                      <a:pt x="95" y="57"/>
                      <a:pt x="95" y="56"/>
                    </a:cubicBezTo>
                    <a:cubicBezTo>
                      <a:pt x="95" y="56"/>
                      <a:pt x="95" y="55"/>
                      <a:pt x="95" y="55"/>
                    </a:cubicBezTo>
                    <a:cubicBezTo>
                      <a:pt x="95" y="55"/>
                      <a:pt x="95" y="55"/>
                      <a:pt x="95" y="55"/>
                    </a:cubicBezTo>
                    <a:cubicBezTo>
                      <a:pt x="95" y="55"/>
                      <a:pt x="95" y="54"/>
                      <a:pt x="95" y="54"/>
                    </a:cubicBezTo>
                    <a:cubicBezTo>
                      <a:pt x="95" y="53"/>
                      <a:pt x="95" y="53"/>
                      <a:pt x="95" y="53"/>
                    </a:cubicBezTo>
                    <a:cubicBezTo>
                      <a:pt x="95" y="53"/>
                      <a:pt x="95" y="52"/>
                      <a:pt x="95" y="52"/>
                    </a:cubicBezTo>
                    <a:cubicBezTo>
                      <a:pt x="94" y="52"/>
                      <a:pt x="94" y="52"/>
                      <a:pt x="94" y="52"/>
                    </a:cubicBezTo>
                    <a:cubicBezTo>
                      <a:pt x="94" y="52"/>
                      <a:pt x="93" y="52"/>
                      <a:pt x="93" y="52"/>
                    </a:cubicBezTo>
                    <a:cubicBezTo>
                      <a:pt x="93" y="52"/>
                      <a:pt x="92" y="52"/>
                      <a:pt x="92" y="52"/>
                    </a:cubicBezTo>
                    <a:cubicBezTo>
                      <a:pt x="92" y="53"/>
                      <a:pt x="92" y="53"/>
                      <a:pt x="92" y="53"/>
                    </a:cubicBezTo>
                    <a:cubicBezTo>
                      <a:pt x="92" y="53"/>
                      <a:pt x="91" y="53"/>
                      <a:pt x="91" y="53"/>
                    </a:cubicBezTo>
                    <a:cubicBezTo>
                      <a:pt x="91" y="54"/>
                      <a:pt x="91" y="54"/>
                      <a:pt x="92" y="54"/>
                    </a:cubicBezTo>
                    <a:cubicBezTo>
                      <a:pt x="92" y="54"/>
                      <a:pt x="93" y="53"/>
                      <a:pt x="93" y="54"/>
                    </a:cubicBezTo>
                    <a:close/>
                    <a:moveTo>
                      <a:pt x="324" y="104"/>
                    </a:moveTo>
                    <a:cubicBezTo>
                      <a:pt x="323" y="104"/>
                      <a:pt x="323" y="104"/>
                      <a:pt x="323" y="104"/>
                    </a:cubicBezTo>
                    <a:cubicBezTo>
                      <a:pt x="322" y="105"/>
                      <a:pt x="322" y="105"/>
                      <a:pt x="321" y="105"/>
                    </a:cubicBezTo>
                    <a:cubicBezTo>
                      <a:pt x="321" y="105"/>
                      <a:pt x="320" y="105"/>
                      <a:pt x="320" y="106"/>
                    </a:cubicBezTo>
                    <a:cubicBezTo>
                      <a:pt x="320" y="107"/>
                      <a:pt x="321" y="107"/>
                      <a:pt x="321" y="106"/>
                    </a:cubicBezTo>
                    <a:cubicBezTo>
                      <a:pt x="321" y="106"/>
                      <a:pt x="323" y="105"/>
                      <a:pt x="323" y="105"/>
                    </a:cubicBezTo>
                    <a:cubicBezTo>
                      <a:pt x="323" y="106"/>
                      <a:pt x="322" y="107"/>
                      <a:pt x="322" y="107"/>
                    </a:cubicBezTo>
                    <a:cubicBezTo>
                      <a:pt x="322" y="107"/>
                      <a:pt x="324" y="106"/>
                      <a:pt x="324" y="106"/>
                    </a:cubicBezTo>
                    <a:cubicBezTo>
                      <a:pt x="323" y="104"/>
                      <a:pt x="324" y="106"/>
                      <a:pt x="324" y="105"/>
                    </a:cubicBezTo>
                    <a:cubicBezTo>
                      <a:pt x="324" y="105"/>
                      <a:pt x="325" y="104"/>
                      <a:pt x="324" y="104"/>
                    </a:cubicBezTo>
                    <a:close/>
                    <a:moveTo>
                      <a:pt x="349" y="75"/>
                    </a:moveTo>
                    <a:cubicBezTo>
                      <a:pt x="349" y="75"/>
                      <a:pt x="350" y="74"/>
                      <a:pt x="350" y="74"/>
                    </a:cubicBezTo>
                    <a:cubicBezTo>
                      <a:pt x="350" y="74"/>
                      <a:pt x="350" y="74"/>
                      <a:pt x="350" y="74"/>
                    </a:cubicBezTo>
                    <a:cubicBezTo>
                      <a:pt x="350" y="74"/>
                      <a:pt x="350" y="74"/>
                      <a:pt x="350" y="74"/>
                    </a:cubicBezTo>
                    <a:cubicBezTo>
                      <a:pt x="349" y="74"/>
                      <a:pt x="349" y="74"/>
                      <a:pt x="349" y="74"/>
                    </a:cubicBezTo>
                    <a:cubicBezTo>
                      <a:pt x="349" y="74"/>
                      <a:pt x="348" y="74"/>
                      <a:pt x="348" y="74"/>
                    </a:cubicBezTo>
                    <a:cubicBezTo>
                      <a:pt x="348" y="74"/>
                      <a:pt x="348" y="74"/>
                      <a:pt x="347" y="74"/>
                    </a:cubicBezTo>
                    <a:cubicBezTo>
                      <a:pt x="347" y="74"/>
                      <a:pt x="347" y="74"/>
                      <a:pt x="347" y="74"/>
                    </a:cubicBezTo>
                    <a:cubicBezTo>
                      <a:pt x="347" y="74"/>
                      <a:pt x="347" y="74"/>
                      <a:pt x="347" y="74"/>
                    </a:cubicBezTo>
                    <a:cubicBezTo>
                      <a:pt x="346" y="75"/>
                      <a:pt x="346" y="74"/>
                      <a:pt x="346" y="74"/>
                    </a:cubicBezTo>
                    <a:cubicBezTo>
                      <a:pt x="346" y="74"/>
                      <a:pt x="345" y="75"/>
                      <a:pt x="345" y="75"/>
                    </a:cubicBezTo>
                    <a:cubicBezTo>
                      <a:pt x="346" y="75"/>
                      <a:pt x="348" y="75"/>
                      <a:pt x="349" y="75"/>
                    </a:cubicBezTo>
                    <a:close/>
                    <a:moveTo>
                      <a:pt x="309" y="21"/>
                    </a:moveTo>
                    <a:cubicBezTo>
                      <a:pt x="310" y="21"/>
                      <a:pt x="309" y="20"/>
                      <a:pt x="309" y="20"/>
                    </a:cubicBezTo>
                    <a:cubicBezTo>
                      <a:pt x="309" y="19"/>
                      <a:pt x="310" y="19"/>
                      <a:pt x="310" y="19"/>
                    </a:cubicBezTo>
                    <a:cubicBezTo>
                      <a:pt x="310" y="19"/>
                      <a:pt x="310" y="19"/>
                      <a:pt x="310" y="19"/>
                    </a:cubicBezTo>
                    <a:cubicBezTo>
                      <a:pt x="310" y="18"/>
                      <a:pt x="310" y="18"/>
                      <a:pt x="310" y="18"/>
                    </a:cubicBezTo>
                    <a:cubicBezTo>
                      <a:pt x="310" y="18"/>
                      <a:pt x="310" y="17"/>
                      <a:pt x="310" y="17"/>
                    </a:cubicBezTo>
                    <a:cubicBezTo>
                      <a:pt x="310" y="17"/>
                      <a:pt x="310" y="16"/>
                      <a:pt x="310" y="16"/>
                    </a:cubicBezTo>
                    <a:cubicBezTo>
                      <a:pt x="309" y="16"/>
                      <a:pt x="308" y="15"/>
                      <a:pt x="308" y="16"/>
                    </a:cubicBezTo>
                    <a:cubicBezTo>
                      <a:pt x="308" y="16"/>
                      <a:pt x="308" y="16"/>
                      <a:pt x="308" y="17"/>
                    </a:cubicBezTo>
                    <a:cubicBezTo>
                      <a:pt x="308" y="17"/>
                      <a:pt x="308" y="18"/>
                      <a:pt x="308" y="18"/>
                    </a:cubicBezTo>
                    <a:cubicBezTo>
                      <a:pt x="308" y="18"/>
                      <a:pt x="308" y="18"/>
                      <a:pt x="308" y="18"/>
                    </a:cubicBezTo>
                    <a:cubicBezTo>
                      <a:pt x="309" y="18"/>
                      <a:pt x="309" y="19"/>
                      <a:pt x="309" y="19"/>
                    </a:cubicBezTo>
                    <a:cubicBezTo>
                      <a:pt x="309" y="19"/>
                      <a:pt x="308" y="20"/>
                      <a:pt x="308" y="20"/>
                    </a:cubicBezTo>
                    <a:cubicBezTo>
                      <a:pt x="307" y="21"/>
                      <a:pt x="308" y="21"/>
                      <a:pt x="309" y="21"/>
                    </a:cubicBezTo>
                    <a:close/>
                    <a:moveTo>
                      <a:pt x="316" y="58"/>
                    </a:moveTo>
                    <a:cubicBezTo>
                      <a:pt x="316" y="59"/>
                      <a:pt x="317" y="57"/>
                      <a:pt x="317" y="57"/>
                    </a:cubicBezTo>
                    <a:cubicBezTo>
                      <a:pt x="316" y="57"/>
                      <a:pt x="315" y="58"/>
                      <a:pt x="316" y="58"/>
                    </a:cubicBezTo>
                    <a:close/>
                    <a:moveTo>
                      <a:pt x="348" y="155"/>
                    </a:moveTo>
                    <a:cubicBezTo>
                      <a:pt x="348" y="154"/>
                      <a:pt x="348" y="154"/>
                      <a:pt x="348" y="154"/>
                    </a:cubicBezTo>
                    <a:cubicBezTo>
                      <a:pt x="347" y="154"/>
                      <a:pt x="347" y="155"/>
                      <a:pt x="347" y="155"/>
                    </a:cubicBezTo>
                    <a:cubicBezTo>
                      <a:pt x="347" y="155"/>
                      <a:pt x="347" y="155"/>
                      <a:pt x="347" y="155"/>
                    </a:cubicBezTo>
                    <a:cubicBezTo>
                      <a:pt x="346" y="155"/>
                      <a:pt x="347" y="155"/>
                      <a:pt x="347" y="155"/>
                    </a:cubicBezTo>
                    <a:cubicBezTo>
                      <a:pt x="347" y="156"/>
                      <a:pt x="346" y="156"/>
                      <a:pt x="346" y="156"/>
                    </a:cubicBezTo>
                    <a:cubicBezTo>
                      <a:pt x="346" y="156"/>
                      <a:pt x="345" y="157"/>
                      <a:pt x="345" y="157"/>
                    </a:cubicBezTo>
                    <a:cubicBezTo>
                      <a:pt x="345" y="157"/>
                      <a:pt x="346" y="157"/>
                      <a:pt x="346" y="157"/>
                    </a:cubicBezTo>
                    <a:cubicBezTo>
                      <a:pt x="346" y="156"/>
                      <a:pt x="346" y="156"/>
                      <a:pt x="347" y="156"/>
                    </a:cubicBezTo>
                    <a:cubicBezTo>
                      <a:pt x="347" y="156"/>
                      <a:pt x="347" y="156"/>
                      <a:pt x="348" y="156"/>
                    </a:cubicBezTo>
                    <a:cubicBezTo>
                      <a:pt x="348" y="155"/>
                      <a:pt x="349" y="155"/>
                      <a:pt x="349" y="155"/>
                    </a:cubicBezTo>
                    <a:cubicBezTo>
                      <a:pt x="349" y="154"/>
                      <a:pt x="348" y="155"/>
                      <a:pt x="348" y="155"/>
                    </a:cubicBezTo>
                    <a:close/>
                    <a:moveTo>
                      <a:pt x="318" y="155"/>
                    </a:moveTo>
                    <a:cubicBezTo>
                      <a:pt x="317" y="155"/>
                      <a:pt x="317" y="154"/>
                      <a:pt x="316" y="154"/>
                    </a:cubicBezTo>
                    <a:cubicBezTo>
                      <a:pt x="316" y="154"/>
                      <a:pt x="317" y="155"/>
                      <a:pt x="317" y="155"/>
                    </a:cubicBezTo>
                    <a:cubicBezTo>
                      <a:pt x="317" y="156"/>
                      <a:pt x="318" y="156"/>
                      <a:pt x="319" y="156"/>
                    </a:cubicBezTo>
                    <a:cubicBezTo>
                      <a:pt x="319" y="156"/>
                      <a:pt x="320" y="155"/>
                      <a:pt x="319" y="155"/>
                    </a:cubicBezTo>
                    <a:cubicBezTo>
                      <a:pt x="319" y="155"/>
                      <a:pt x="318" y="155"/>
                      <a:pt x="318" y="155"/>
                    </a:cubicBezTo>
                    <a:close/>
                    <a:moveTo>
                      <a:pt x="77" y="54"/>
                    </a:moveTo>
                    <a:cubicBezTo>
                      <a:pt x="77" y="54"/>
                      <a:pt x="78" y="54"/>
                      <a:pt x="78" y="55"/>
                    </a:cubicBezTo>
                    <a:cubicBezTo>
                      <a:pt x="79" y="55"/>
                      <a:pt x="80" y="57"/>
                      <a:pt x="81" y="56"/>
                    </a:cubicBezTo>
                    <a:cubicBezTo>
                      <a:pt x="81" y="55"/>
                      <a:pt x="79" y="54"/>
                      <a:pt x="79" y="53"/>
                    </a:cubicBezTo>
                    <a:cubicBezTo>
                      <a:pt x="78" y="53"/>
                      <a:pt x="77" y="52"/>
                      <a:pt x="77" y="52"/>
                    </a:cubicBezTo>
                    <a:cubicBezTo>
                      <a:pt x="76" y="53"/>
                      <a:pt x="76" y="53"/>
                      <a:pt x="76" y="53"/>
                    </a:cubicBezTo>
                    <a:cubicBezTo>
                      <a:pt x="75" y="54"/>
                      <a:pt x="76" y="54"/>
                      <a:pt x="77" y="54"/>
                    </a:cubicBezTo>
                    <a:close/>
                    <a:moveTo>
                      <a:pt x="94" y="63"/>
                    </a:moveTo>
                    <a:cubicBezTo>
                      <a:pt x="94" y="63"/>
                      <a:pt x="95" y="65"/>
                      <a:pt x="96" y="65"/>
                    </a:cubicBezTo>
                    <a:cubicBezTo>
                      <a:pt x="96" y="65"/>
                      <a:pt x="95" y="63"/>
                      <a:pt x="94" y="63"/>
                    </a:cubicBezTo>
                    <a:cubicBezTo>
                      <a:pt x="94" y="63"/>
                      <a:pt x="94" y="63"/>
                      <a:pt x="94" y="63"/>
                    </a:cubicBezTo>
                    <a:close/>
                    <a:moveTo>
                      <a:pt x="83" y="56"/>
                    </a:moveTo>
                    <a:cubicBezTo>
                      <a:pt x="82" y="57"/>
                      <a:pt x="83" y="58"/>
                      <a:pt x="83" y="58"/>
                    </a:cubicBezTo>
                    <a:cubicBezTo>
                      <a:pt x="84" y="58"/>
                      <a:pt x="84" y="57"/>
                      <a:pt x="84" y="57"/>
                    </a:cubicBezTo>
                    <a:cubicBezTo>
                      <a:pt x="84" y="57"/>
                      <a:pt x="83" y="55"/>
                      <a:pt x="83" y="56"/>
                    </a:cubicBezTo>
                    <a:close/>
                    <a:moveTo>
                      <a:pt x="82" y="59"/>
                    </a:moveTo>
                    <a:cubicBezTo>
                      <a:pt x="82" y="58"/>
                      <a:pt x="81" y="57"/>
                      <a:pt x="81" y="59"/>
                    </a:cubicBezTo>
                    <a:cubicBezTo>
                      <a:pt x="80" y="60"/>
                      <a:pt x="82" y="60"/>
                      <a:pt x="82" y="59"/>
                    </a:cubicBezTo>
                    <a:close/>
                    <a:moveTo>
                      <a:pt x="272" y="180"/>
                    </a:moveTo>
                    <a:cubicBezTo>
                      <a:pt x="272" y="180"/>
                      <a:pt x="271" y="180"/>
                      <a:pt x="271" y="181"/>
                    </a:cubicBezTo>
                    <a:cubicBezTo>
                      <a:pt x="271" y="181"/>
                      <a:pt x="270" y="181"/>
                      <a:pt x="270" y="181"/>
                    </a:cubicBezTo>
                    <a:cubicBezTo>
                      <a:pt x="270" y="181"/>
                      <a:pt x="270" y="182"/>
                      <a:pt x="269" y="182"/>
                    </a:cubicBezTo>
                    <a:cubicBezTo>
                      <a:pt x="269" y="182"/>
                      <a:pt x="269" y="182"/>
                      <a:pt x="269" y="182"/>
                    </a:cubicBezTo>
                    <a:cubicBezTo>
                      <a:pt x="268" y="183"/>
                      <a:pt x="267" y="183"/>
                      <a:pt x="266" y="184"/>
                    </a:cubicBezTo>
                    <a:cubicBezTo>
                      <a:pt x="266" y="184"/>
                      <a:pt x="266" y="185"/>
                      <a:pt x="266" y="185"/>
                    </a:cubicBezTo>
                    <a:cubicBezTo>
                      <a:pt x="266" y="186"/>
                      <a:pt x="268" y="185"/>
                      <a:pt x="268" y="184"/>
                    </a:cubicBezTo>
                    <a:cubicBezTo>
                      <a:pt x="269" y="184"/>
                      <a:pt x="269" y="184"/>
                      <a:pt x="270" y="184"/>
                    </a:cubicBezTo>
                    <a:cubicBezTo>
                      <a:pt x="270" y="184"/>
                      <a:pt x="270" y="183"/>
                      <a:pt x="270" y="183"/>
                    </a:cubicBezTo>
                    <a:cubicBezTo>
                      <a:pt x="271" y="183"/>
                      <a:pt x="271" y="183"/>
                      <a:pt x="271" y="183"/>
                    </a:cubicBezTo>
                    <a:cubicBezTo>
                      <a:pt x="271" y="182"/>
                      <a:pt x="271" y="183"/>
                      <a:pt x="271" y="183"/>
                    </a:cubicBezTo>
                    <a:cubicBezTo>
                      <a:pt x="272" y="183"/>
                      <a:pt x="272" y="182"/>
                      <a:pt x="272" y="182"/>
                    </a:cubicBezTo>
                    <a:cubicBezTo>
                      <a:pt x="271" y="182"/>
                      <a:pt x="272" y="180"/>
                      <a:pt x="272" y="180"/>
                    </a:cubicBezTo>
                    <a:close/>
                    <a:moveTo>
                      <a:pt x="88" y="57"/>
                    </a:moveTo>
                    <a:cubicBezTo>
                      <a:pt x="88" y="56"/>
                      <a:pt x="88" y="56"/>
                      <a:pt x="88" y="56"/>
                    </a:cubicBezTo>
                    <a:cubicBezTo>
                      <a:pt x="88" y="56"/>
                      <a:pt x="87" y="55"/>
                      <a:pt x="87" y="56"/>
                    </a:cubicBezTo>
                    <a:cubicBezTo>
                      <a:pt x="87" y="56"/>
                      <a:pt x="88" y="57"/>
                      <a:pt x="88" y="57"/>
                    </a:cubicBezTo>
                    <a:close/>
                    <a:moveTo>
                      <a:pt x="91" y="57"/>
                    </a:moveTo>
                    <a:cubicBezTo>
                      <a:pt x="91" y="57"/>
                      <a:pt x="91" y="58"/>
                      <a:pt x="92" y="57"/>
                    </a:cubicBezTo>
                    <a:cubicBezTo>
                      <a:pt x="92" y="57"/>
                      <a:pt x="92" y="56"/>
                      <a:pt x="91" y="57"/>
                    </a:cubicBezTo>
                    <a:close/>
                    <a:moveTo>
                      <a:pt x="271" y="158"/>
                    </a:moveTo>
                    <a:cubicBezTo>
                      <a:pt x="271" y="158"/>
                      <a:pt x="271" y="157"/>
                      <a:pt x="272" y="158"/>
                    </a:cubicBezTo>
                    <a:cubicBezTo>
                      <a:pt x="272" y="158"/>
                      <a:pt x="273" y="158"/>
                      <a:pt x="273" y="157"/>
                    </a:cubicBezTo>
                    <a:cubicBezTo>
                      <a:pt x="273" y="157"/>
                      <a:pt x="273" y="156"/>
                      <a:pt x="273" y="156"/>
                    </a:cubicBezTo>
                    <a:cubicBezTo>
                      <a:pt x="272" y="156"/>
                      <a:pt x="271" y="156"/>
                      <a:pt x="271" y="156"/>
                    </a:cubicBezTo>
                    <a:cubicBezTo>
                      <a:pt x="270" y="157"/>
                      <a:pt x="269" y="158"/>
                      <a:pt x="271" y="158"/>
                    </a:cubicBezTo>
                    <a:close/>
                    <a:moveTo>
                      <a:pt x="281" y="87"/>
                    </a:moveTo>
                    <a:cubicBezTo>
                      <a:pt x="281" y="87"/>
                      <a:pt x="282" y="87"/>
                      <a:pt x="281" y="87"/>
                    </a:cubicBezTo>
                    <a:cubicBezTo>
                      <a:pt x="281" y="86"/>
                      <a:pt x="280" y="86"/>
                      <a:pt x="281" y="87"/>
                    </a:cubicBezTo>
                    <a:cubicBezTo>
                      <a:pt x="281" y="87"/>
                      <a:pt x="281" y="88"/>
                      <a:pt x="281" y="87"/>
                    </a:cubicBezTo>
                    <a:close/>
                    <a:moveTo>
                      <a:pt x="4" y="1"/>
                    </a:moveTo>
                    <a:cubicBezTo>
                      <a:pt x="4" y="1"/>
                      <a:pt x="3" y="0"/>
                      <a:pt x="3" y="1"/>
                    </a:cubicBezTo>
                    <a:cubicBezTo>
                      <a:pt x="3" y="1"/>
                      <a:pt x="2" y="0"/>
                      <a:pt x="2" y="0"/>
                    </a:cubicBezTo>
                    <a:cubicBezTo>
                      <a:pt x="2" y="1"/>
                      <a:pt x="4" y="3"/>
                      <a:pt x="4" y="1"/>
                    </a:cubicBezTo>
                    <a:close/>
                    <a:moveTo>
                      <a:pt x="247" y="136"/>
                    </a:moveTo>
                    <a:cubicBezTo>
                      <a:pt x="247" y="135"/>
                      <a:pt x="247" y="134"/>
                      <a:pt x="248" y="132"/>
                    </a:cubicBezTo>
                    <a:cubicBezTo>
                      <a:pt x="248" y="131"/>
                      <a:pt x="247" y="130"/>
                      <a:pt x="247" y="129"/>
                    </a:cubicBezTo>
                    <a:cubicBezTo>
                      <a:pt x="247" y="128"/>
                      <a:pt x="247" y="129"/>
                      <a:pt x="247" y="130"/>
                    </a:cubicBezTo>
                    <a:cubicBezTo>
                      <a:pt x="247" y="130"/>
                      <a:pt x="247" y="131"/>
                      <a:pt x="247" y="132"/>
                    </a:cubicBezTo>
                    <a:cubicBezTo>
                      <a:pt x="247" y="132"/>
                      <a:pt x="246" y="133"/>
                      <a:pt x="247" y="134"/>
                    </a:cubicBezTo>
                    <a:cubicBezTo>
                      <a:pt x="247" y="135"/>
                      <a:pt x="247" y="136"/>
                      <a:pt x="247" y="136"/>
                    </a:cubicBezTo>
                    <a:close/>
                    <a:moveTo>
                      <a:pt x="138" y="38"/>
                    </a:moveTo>
                    <a:cubicBezTo>
                      <a:pt x="138" y="37"/>
                      <a:pt x="137" y="37"/>
                      <a:pt x="137" y="37"/>
                    </a:cubicBezTo>
                    <a:cubicBezTo>
                      <a:pt x="137" y="38"/>
                      <a:pt x="138" y="38"/>
                      <a:pt x="138" y="38"/>
                    </a:cubicBezTo>
                    <a:close/>
                    <a:moveTo>
                      <a:pt x="296" y="36"/>
                    </a:moveTo>
                    <a:cubicBezTo>
                      <a:pt x="296" y="36"/>
                      <a:pt x="296" y="35"/>
                      <a:pt x="297" y="35"/>
                    </a:cubicBezTo>
                    <a:cubicBezTo>
                      <a:pt x="297" y="34"/>
                      <a:pt x="296" y="34"/>
                      <a:pt x="296" y="35"/>
                    </a:cubicBezTo>
                    <a:cubicBezTo>
                      <a:pt x="296" y="35"/>
                      <a:pt x="296" y="36"/>
                      <a:pt x="296" y="36"/>
                    </a:cubicBezTo>
                    <a:cubicBezTo>
                      <a:pt x="296" y="36"/>
                      <a:pt x="297" y="36"/>
                      <a:pt x="296" y="36"/>
                    </a:cubicBezTo>
                    <a:close/>
                    <a:moveTo>
                      <a:pt x="257" y="180"/>
                    </a:moveTo>
                    <a:cubicBezTo>
                      <a:pt x="257" y="180"/>
                      <a:pt x="256" y="181"/>
                      <a:pt x="256" y="181"/>
                    </a:cubicBezTo>
                    <a:cubicBezTo>
                      <a:pt x="255" y="181"/>
                      <a:pt x="256" y="182"/>
                      <a:pt x="256" y="182"/>
                    </a:cubicBezTo>
                    <a:cubicBezTo>
                      <a:pt x="257" y="182"/>
                      <a:pt x="258" y="182"/>
                      <a:pt x="258" y="181"/>
                    </a:cubicBezTo>
                    <a:cubicBezTo>
                      <a:pt x="259" y="180"/>
                      <a:pt x="258" y="180"/>
                      <a:pt x="257" y="180"/>
                    </a:cubicBezTo>
                    <a:close/>
                    <a:moveTo>
                      <a:pt x="355" y="143"/>
                    </a:moveTo>
                    <a:cubicBezTo>
                      <a:pt x="355" y="144"/>
                      <a:pt x="355" y="144"/>
                      <a:pt x="355" y="144"/>
                    </a:cubicBezTo>
                    <a:cubicBezTo>
                      <a:pt x="356" y="144"/>
                      <a:pt x="356" y="144"/>
                      <a:pt x="356" y="144"/>
                    </a:cubicBezTo>
                    <a:cubicBezTo>
                      <a:pt x="357" y="144"/>
                      <a:pt x="357" y="145"/>
                      <a:pt x="357" y="145"/>
                    </a:cubicBezTo>
                    <a:cubicBezTo>
                      <a:pt x="358" y="145"/>
                      <a:pt x="357" y="144"/>
                      <a:pt x="357" y="144"/>
                    </a:cubicBezTo>
                    <a:cubicBezTo>
                      <a:pt x="357" y="143"/>
                      <a:pt x="356" y="143"/>
                      <a:pt x="355" y="143"/>
                    </a:cubicBezTo>
                    <a:close/>
                    <a:moveTo>
                      <a:pt x="90" y="54"/>
                    </a:moveTo>
                    <a:cubicBezTo>
                      <a:pt x="90" y="54"/>
                      <a:pt x="90" y="53"/>
                      <a:pt x="90" y="53"/>
                    </a:cubicBezTo>
                    <a:cubicBezTo>
                      <a:pt x="90" y="52"/>
                      <a:pt x="90" y="52"/>
                      <a:pt x="90" y="52"/>
                    </a:cubicBezTo>
                    <a:cubicBezTo>
                      <a:pt x="90" y="53"/>
                      <a:pt x="90" y="53"/>
                      <a:pt x="89" y="53"/>
                    </a:cubicBezTo>
                    <a:cubicBezTo>
                      <a:pt x="89" y="52"/>
                      <a:pt x="89" y="52"/>
                      <a:pt x="89" y="52"/>
                    </a:cubicBezTo>
                    <a:cubicBezTo>
                      <a:pt x="89" y="53"/>
                      <a:pt x="89" y="53"/>
                      <a:pt x="89" y="53"/>
                    </a:cubicBezTo>
                    <a:cubicBezTo>
                      <a:pt x="88" y="53"/>
                      <a:pt x="89" y="53"/>
                      <a:pt x="88" y="53"/>
                    </a:cubicBezTo>
                    <a:cubicBezTo>
                      <a:pt x="88" y="53"/>
                      <a:pt x="88" y="53"/>
                      <a:pt x="88" y="54"/>
                    </a:cubicBezTo>
                    <a:cubicBezTo>
                      <a:pt x="89" y="55"/>
                      <a:pt x="90" y="55"/>
                      <a:pt x="90" y="54"/>
                    </a:cubicBezTo>
                    <a:close/>
                    <a:moveTo>
                      <a:pt x="374" y="112"/>
                    </a:moveTo>
                    <a:cubicBezTo>
                      <a:pt x="373" y="111"/>
                      <a:pt x="373" y="111"/>
                      <a:pt x="373" y="110"/>
                    </a:cubicBezTo>
                    <a:cubicBezTo>
                      <a:pt x="372" y="111"/>
                      <a:pt x="373" y="112"/>
                      <a:pt x="373" y="112"/>
                    </a:cubicBezTo>
                    <a:cubicBezTo>
                      <a:pt x="374" y="112"/>
                      <a:pt x="374" y="112"/>
                      <a:pt x="375" y="112"/>
                    </a:cubicBezTo>
                    <a:cubicBezTo>
                      <a:pt x="375" y="112"/>
                      <a:pt x="375" y="112"/>
                      <a:pt x="375" y="113"/>
                    </a:cubicBezTo>
                    <a:cubicBezTo>
                      <a:pt x="375" y="112"/>
                      <a:pt x="374" y="112"/>
                      <a:pt x="374" y="112"/>
                    </a:cubicBezTo>
                    <a:close/>
                    <a:moveTo>
                      <a:pt x="336" y="66"/>
                    </a:moveTo>
                    <a:cubicBezTo>
                      <a:pt x="336" y="67"/>
                      <a:pt x="336" y="67"/>
                      <a:pt x="337" y="68"/>
                    </a:cubicBezTo>
                    <a:cubicBezTo>
                      <a:pt x="338" y="67"/>
                      <a:pt x="335" y="65"/>
                      <a:pt x="335" y="65"/>
                    </a:cubicBezTo>
                    <a:cubicBezTo>
                      <a:pt x="335" y="65"/>
                      <a:pt x="335" y="66"/>
                      <a:pt x="336" y="66"/>
                    </a:cubicBezTo>
                    <a:close/>
                    <a:moveTo>
                      <a:pt x="264" y="70"/>
                    </a:moveTo>
                    <a:cubicBezTo>
                      <a:pt x="264" y="69"/>
                      <a:pt x="264" y="69"/>
                      <a:pt x="264" y="69"/>
                    </a:cubicBezTo>
                    <a:cubicBezTo>
                      <a:pt x="264" y="69"/>
                      <a:pt x="263" y="69"/>
                      <a:pt x="263" y="69"/>
                    </a:cubicBezTo>
                    <a:cubicBezTo>
                      <a:pt x="263" y="69"/>
                      <a:pt x="262" y="69"/>
                      <a:pt x="263" y="69"/>
                    </a:cubicBezTo>
                    <a:cubicBezTo>
                      <a:pt x="262" y="70"/>
                      <a:pt x="263" y="70"/>
                      <a:pt x="263" y="70"/>
                    </a:cubicBezTo>
                    <a:cubicBezTo>
                      <a:pt x="264" y="70"/>
                      <a:pt x="264" y="70"/>
                      <a:pt x="264" y="70"/>
                    </a:cubicBezTo>
                    <a:close/>
                    <a:moveTo>
                      <a:pt x="316" y="62"/>
                    </a:moveTo>
                    <a:cubicBezTo>
                      <a:pt x="316" y="62"/>
                      <a:pt x="316" y="61"/>
                      <a:pt x="316" y="61"/>
                    </a:cubicBezTo>
                    <a:cubicBezTo>
                      <a:pt x="315" y="61"/>
                      <a:pt x="315" y="62"/>
                      <a:pt x="316" y="62"/>
                    </a:cubicBezTo>
                    <a:close/>
                    <a:moveTo>
                      <a:pt x="52" y="96"/>
                    </a:moveTo>
                    <a:cubicBezTo>
                      <a:pt x="52" y="95"/>
                      <a:pt x="51" y="94"/>
                      <a:pt x="50" y="94"/>
                    </a:cubicBezTo>
                    <a:cubicBezTo>
                      <a:pt x="50" y="93"/>
                      <a:pt x="49" y="92"/>
                      <a:pt x="49" y="93"/>
                    </a:cubicBezTo>
                    <a:cubicBezTo>
                      <a:pt x="50" y="94"/>
                      <a:pt x="50" y="94"/>
                      <a:pt x="50" y="94"/>
                    </a:cubicBezTo>
                    <a:cubicBezTo>
                      <a:pt x="50" y="95"/>
                      <a:pt x="49" y="95"/>
                      <a:pt x="50" y="96"/>
                    </a:cubicBezTo>
                    <a:cubicBezTo>
                      <a:pt x="50" y="96"/>
                      <a:pt x="50" y="96"/>
                      <a:pt x="50" y="96"/>
                    </a:cubicBezTo>
                    <a:cubicBezTo>
                      <a:pt x="50" y="96"/>
                      <a:pt x="50" y="96"/>
                      <a:pt x="50" y="96"/>
                    </a:cubicBezTo>
                    <a:cubicBezTo>
                      <a:pt x="50" y="96"/>
                      <a:pt x="51" y="96"/>
                      <a:pt x="51" y="96"/>
                    </a:cubicBezTo>
                    <a:cubicBezTo>
                      <a:pt x="51" y="96"/>
                      <a:pt x="51" y="96"/>
                      <a:pt x="51" y="96"/>
                    </a:cubicBezTo>
                    <a:cubicBezTo>
                      <a:pt x="52" y="96"/>
                      <a:pt x="52" y="96"/>
                      <a:pt x="52" y="96"/>
                    </a:cubicBezTo>
                    <a:close/>
                    <a:moveTo>
                      <a:pt x="84" y="57"/>
                    </a:moveTo>
                    <a:cubicBezTo>
                      <a:pt x="84" y="57"/>
                      <a:pt x="84" y="57"/>
                      <a:pt x="84" y="57"/>
                    </a:cubicBezTo>
                    <a:cubicBezTo>
                      <a:pt x="84" y="56"/>
                      <a:pt x="84" y="56"/>
                      <a:pt x="83" y="56"/>
                    </a:cubicBezTo>
                    <a:cubicBezTo>
                      <a:pt x="83" y="56"/>
                      <a:pt x="84" y="56"/>
                      <a:pt x="84" y="57"/>
                    </a:cubicBezTo>
                    <a:close/>
                    <a:moveTo>
                      <a:pt x="136" y="34"/>
                    </a:moveTo>
                    <a:cubicBezTo>
                      <a:pt x="136" y="33"/>
                      <a:pt x="136" y="33"/>
                      <a:pt x="136" y="33"/>
                    </a:cubicBezTo>
                    <a:cubicBezTo>
                      <a:pt x="136" y="32"/>
                      <a:pt x="135" y="33"/>
                      <a:pt x="135" y="33"/>
                    </a:cubicBezTo>
                    <a:cubicBezTo>
                      <a:pt x="135" y="34"/>
                      <a:pt x="136" y="34"/>
                      <a:pt x="136" y="34"/>
                    </a:cubicBezTo>
                    <a:close/>
                    <a:moveTo>
                      <a:pt x="144" y="76"/>
                    </a:moveTo>
                    <a:cubicBezTo>
                      <a:pt x="143" y="76"/>
                      <a:pt x="143" y="76"/>
                      <a:pt x="142" y="76"/>
                    </a:cubicBezTo>
                    <a:cubicBezTo>
                      <a:pt x="141" y="76"/>
                      <a:pt x="142" y="78"/>
                      <a:pt x="142" y="79"/>
                    </a:cubicBezTo>
                    <a:cubicBezTo>
                      <a:pt x="141" y="80"/>
                      <a:pt x="143" y="79"/>
                      <a:pt x="144" y="79"/>
                    </a:cubicBezTo>
                    <a:cubicBezTo>
                      <a:pt x="145" y="78"/>
                      <a:pt x="145" y="78"/>
                      <a:pt x="145" y="77"/>
                    </a:cubicBezTo>
                    <a:cubicBezTo>
                      <a:pt x="145" y="76"/>
                      <a:pt x="144" y="77"/>
                      <a:pt x="144" y="76"/>
                    </a:cubicBezTo>
                    <a:close/>
                    <a:moveTo>
                      <a:pt x="66" y="46"/>
                    </a:moveTo>
                    <a:cubicBezTo>
                      <a:pt x="67" y="46"/>
                      <a:pt x="67" y="45"/>
                      <a:pt x="67" y="44"/>
                    </a:cubicBezTo>
                    <a:cubicBezTo>
                      <a:pt x="67" y="43"/>
                      <a:pt x="67" y="43"/>
                      <a:pt x="66" y="42"/>
                    </a:cubicBezTo>
                    <a:cubicBezTo>
                      <a:pt x="66" y="42"/>
                      <a:pt x="65" y="42"/>
                      <a:pt x="65" y="43"/>
                    </a:cubicBezTo>
                    <a:cubicBezTo>
                      <a:pt x="64" y="43"/>
                      <a:pt x="64" y="42"/>
                      <a:pt x="64" y="43"/>
                    </a:cubicBezTo>
                    <a:cubicBezTo>
                      <a:pt x="63" y="43"/>
                      <a:pt x="64" y="44"/>
                      <a:pt x="64" y="44"/>
                    </a:cubicBezTo>
                    <a:cubicBezTo>
                      <a:pt x="64" y="45"/>
                      <a:pt x="64" y="47"/>
                      <a:pt x="66" y="46"/>
                    </a:cubicBezTo>
                    <a:close/>
                    <a:moveTo>
                      <a:pt x="385" y="91"/>
                    </a:moveTo>
                    <a:cubicBezTo>
                      <a:pt x="385" y="91"/>
                      <a:pt x="385" y="91"/>
                      <a:pt x="385" y="90"/>
                    </a:cubicBezTo>
                    <a:cubicBezTo>
                      <a:pt x="385" y="91"/>
                      <a:pt x="384" y="92"/>
                      <a:pt x="385" y="92"/>
                    </a:cubicBezTo>
                    <a:cubicBezTo>
                      <a:pt x="386" y="92"/>
                      <a:pt x="385" y="91"/>
                      <a:pt x="385" y="91"/>
                    </a:cubicBezTo>
                    <a:close/>
                    <a:moveTo>
                      <a:pt x="35" y="66"/>
                    </a:moveTo>
                    <a:cubicBezTo>
                      <a:pt x="35" y="66"/>
                      <a:pt x="35" y="65"/>
                      <a:pt x="34" y="65"/>
                    </a:cubicBezTo>
                    <a:cubicBezTo>
                      <a:pt x="34" y="65"/>
                      <a:pt x="34" y="65"/>
                      <a:pt x="34" y="65"/>
                    </a:cubicBezTo>
                    <a:cubicBezTo>
                      <a:pt x="34" y="66"/>
                      <a:pt x="34" y="66"/>
                      <a:pt x="34" y="66"/>
                    </a:cubicBezTo>
                    <a:cubicBezTo>
                      <a:pt x="34" y="66"/>
                      <a:pt x="34" y="67"/>
                      <a:pt x="35" y="67"/>
                    </a:cubicBezTo>
                    <a:cubicBezTo>
                      <a:pt x="35" y="68"/>
                      <a:pt x="36" y="69"/>
                      <a:pt x="36" y="69"/>
                    </a:cubicBezTo>
                    <a:cubicBezTo>
                      <a:pt x="36" y="69"/>
                      <a:pt x="36" y="68"/>
                      <a:pt x="36" y="68"/>
                    </a:cubicBezTo>
                    <a:cubicBezTo>
                      <a:pt x="36" y="67"/>
                      <a:pt x="35" y="67"/>
                      <a:pt x="35" y="66"/>
                    </a:cubicBezTo>
                    <a:close/>
                    <a:moveTo>
                      <a:pt x="73" y="50"/>
                    </a:moveTo>
                    <a:cubicBezTo>
                      <a:pt x="73" y="51"/>
                      <a:pt x="74" y="51"/>
                      <a:pt x="74" y="51"/>
                    </a:cubicBezTo>
                    <a:cubicBezTo>
                      <a:pt x="74" y="52"/>
                      <a:pt x="74" y="50"/>
                      <a:pt x="74" y="49"/>
                    </a:cubicBezTo>
                    <a:cubicBezTo>
                      <a:pt x="74" y="48"/>
                      <a:pt x="72" y="48"/>
                      <a:pt x="71" y="48"/>
                    </a:cubicBezTo>
                    <a:cubicBezTo>
                      <a:pt x="71" y="48"/>
                      <a:pt x="70" y="47"/>
                      <a:pt x="70" y="48"/>
                    </a:cubicBezTo>
                    <a:cubicBezTo>
                      <a:pt x="69" y="48"/>
                      <a:pt x="70" y="48"/>
                      <a:pt x="70" y="49"/>
                    </a:cubicBezTo>
                    <a:cubicBezTo>
                      <a:pt x="71" y="50"/>
                      <a:pt x="72" y="49"/>
                      <a:pt x="73" y="50"/>
                    </a:cubicBezTo>
                    <a:close/>
                    <a:moveTo>
                      <a:pt x="325" y="104"/>
                    </a:moveTo>
                    <a:cubicBezTo>
                      <a:pt x="325" y="104"/>
                      <a:pt x="325" y="105"/>
                      <a:pt x="325" y="105"/>
                    </a:cubicBezTo>
                    <a:cubicBezTo>
                      <a:pt x="325" y="105"/>
                      <a:pt x="326" y="105"/>
                      <a:pt x="326" y="105"/>
                    </a:cubicBezTo>
                    <a:cubicBezTo>
                      <a:pt x="327" y="105"/>
                      <a:pt x="326" y="104"/>
                      <a:pt x="325" y="104"/>
                    </a:cubicBezTo>
                    <a:close/>
                    <a:moveTo>
                      <a:pt x="261" y="71"/>
                    </a:moveTo>
                    <a:cubicBezTo>
                      <a:pt x="261" y="71"/>
                      <a:pt x="262" y="71"/>
                      <a:pt x="262" y="71"/>
                    </a:cubicBezTo>
                    <a:cubicBezTo>
                      <a:pt x="262" y="71"/>
                      <a:pt x="263" y="71"/>
                      <a:pt x="263" y="71"/>
                    </a:cubicBezTo>
                    <a:cubicBezTo>
                      <a:pt x="263" y="70"/>
                      <a:pt x="263" y="70"/>
                      <a:pt x="262" y="70"/>
                    </a:cubicBezTo>
                    <a:cubicBezTo>
                      <a:pt x="262" y="70"/>
                      <a:pt x="261" y="70"/>
                      <a:pt x="261" y="70"/>
                    </a:cubicBezTo>
                    <a:cubicBezTo>
                      <a:pt x="261" y="70"/>
                      <a:pt x="260" y="71"/>
                      <a:pt x="260" y="71"/>
                    </a:cubicBezTo>
                    <a:cubicBezTo>
                      <a:pt x="260" y="72"/>
                      <a:pt x="261" y="71"/>
                      <a:pt x="261" y="71"/>
                    </a:cubicBezTo>
                    <a:close/>
                    <a:moveTo>
                      <a:pt x="267" y="68"/>
                    </a:moveTo>
                    <a:cubicBezTo>
                      <a:pt x="267" y="68"/>
                      <a:pt x="267" y="69"/>
                      <a:pt x="267" y="69"/>
                    </a:cubicBezTo>
                    <a:cubicBezTo>
                      <a:pt x="267" y="69"/>
                      <a:pt x="267" y="68"/>
                      <a:pt x="267" y="68"/>
                    </a:cubicBezTo>
                    <a:cubicBezTo>
                      <a:pt x="267" y="68"/>
                      <a:pt x="266" y="68"/>
                      <a:pt x="266" y="67"/>
                    </a:cubicBezTo>
                    <a:cubicBezTo>
                      <a:pt x="266" y="68"/>
                      <a:pt x="267" y="68"/>
                      <a:pt x="267" y="68"/>
                    </a:cubicBezTo>
                    <a:close/>
                    <a:moveTo>
                      <a:pt x="111" y="30"/>
                    </a:moveTo>
                    <a:cubicBezTo>
                      <a:pt x="110" y="30"/>
                      <a:pt x="110" y="29"/>
                      <a:pt x="110" y="29"/>
                    </a:cubicBezTo>
                    <a:cubicBezTo>
                      <a:pt x="110" y="29"/>
                      <a:pt x="111" y="29"/>
                      <a:pt x="111" y="29"/>
                    </a:cubicBezTo>
                    <a:cubicBezTo>
                      <a:pt x="111" y="29"/>
                      <a:pt x="111" y="28"/>
                      <a:pt x="110" y="28"/>
                    </a:cubicBezTo>
                    <a:cubicBezTo>
                      <a:pt x="110" y="28"/>
                      <a:pt x="110" y="29"/>
                      <a:pt x="110" y="29"/>
                    </a:cubicBezTo>
                    <a:cubicBezTo>
                      <a:pt x="110" y="29"/>
                      <a:pt x="110" y="30"/>
                      <a:pt x="111" y="30"/>
                    </a:cubicBezTo>
                    <a:close/>
                    <a:moveTo>
                      <a:pt x="217" y="26"/>
                    </a:moveTo>
                    <a:cubicBezTo>
                      <a:pt x="216" y="26"/>
                      <a:pt x="217" y="27"/>
                      <a:pt x="217" y="27"/>
                    </a:cubicBezTo>
                    <a:cubicBezTo>
                      <a:pt x="218" y="27"/>
                      <a:pt x="219" y="27"/>
                      <a:pt x="219" y="27"/>
                    </a:cubicBezTo>
                    <a:cubicBezTo>
                      <a:pt x="220" y="27"/>
                      <a:pt x="217" y="26"/>
                      <a:pt x="217" y="26"/>
                    </a:cubicBezTo>
                    <a:close/>
                    <a:moveTo>
                      <a:pt x="297" y="26"/>
                    </a:moveTo>
                    <a:cubicBezTo>
                      <a:pt x="297" y="26"/>
                      <a:pt x="297" y="28"/>
                      <a:pt x="298" y="28"/>
                    </a:cubicBezTo>
                    <a:cubicBezTo>
                      <a:pt x="298" y="28"/>
                      <a:pt x="298" y="28"/>
                      <a:pt x="298" y="28"/>
                    </a:cubicBezTo>
                    <a:cubicBezTo>
                      <a:pt x="298" y="28"/>
                      <a:pt x="298" y="28"/>
                      <a:pt x="298" y="28"/>
                    </a:cubicBezTo>
                    <a:cubicBezTo>
                      <a:pt x="298" y="28"/>
                      <a:pt x="298" y="28"/>
                      <a:pt x="299" y="28"/>
                    </a:cubicBezTo>
                    <a:cubicBezTo>
                      <a:pt x="299" y="28"/>
                      <a:pt x="299" y="27"/>
                      <a:pt x="298" y="26"/>
                    </a:cubicBezTo>
                    <a:cubicBezTo>
                      <a:pt x="298" y="26"/>
                      <a:pt x="297" y="24"/>
                      <a:pt x="296" y="25"/>
                    </a:cubicBezTo>
                    <a:cubicBezTo>
                      <a:pt x="296" y="25"/>
                      <a:pt x="296" y="26"/>
                      <a:pt x="297" y="26"/>
                    </a:cubicBezTo>
                    <a:close/>
                    <a:moveTo>
                      <a:pt x="111" y="31"/>
                    </a:moveTo>
                    <a:cubicBezTo>
                      <a:pt x="111" y="30"/>
                      <a:pt x="110" y="29"/>
                      <a:pt x="110" y="31"/>
                    </a:cubicBezTo>
                    <a:cubicBezTo>
                      <a:pt x="110" y="31"/>
                      <a:pt x="110" y="31"/>
                      <a:pt x="111" y="31"/>
                    </a:cubicBezTo>
                    <a:close/>
                    <a:moveTo>
                      <a:pt x="88" y="55"/>
                    </a:moveTo>
                    <a:cubicBezTo>
                      <a:pt x="89" y="55"/>
                      <a:pt x="88" y="54"/>
                      <a:pt x="88" y="54"/>
                    </a:cubicBezTo>
                    <a:cubicBezTo>
                      <a:pt x="88" y="54"/>
                      <a:pt x="87" y="54"/>
                      <a:pt x="87" y="54"/>
                    </a:cubicBezTo>
                    <a:cubicBezTo>
                      <a:pt x="88" y="55"/>
                      <a:pt x="88" y="55"/>
                      <a:pt x="88" y="55"/>
                    </a:cubicBezTo>
                    <a:close/>
                    <a:moveTo>
                      <a:pt x="390" y="76"/>
                    </a:moveTo>
                    <a:cubicBezTo>
                      <a:pt x="390" y="77"/>
                      <a:pt x="390" y="77"/>
                      <a:pt x="389" y="77"/>
                    </a:cubicBezTo>
                    <a:cubicBezTo>
                      <a:pt x="389" y="77"/>
                      <a:pt x="389" y="76"/>
                      <a:pt x="389" y="76"/>
                    </a:cubicBezTo>
                    <a:cubicBezTo>
                      <a:pt x="389" y="76"/>
                      <a:pt x="389" y="76"/>
                      <a:pt x="389" y="76"/>
                    </a:cubicBezTo>
                    <a:cubicBezTo>
                      <a:pt x="388" y="75"/>
                      <a:pt x="388" y="77"/>
                      <a:pt x="388" y="77"/>
                    </a:cubicBezTo>
                    <a:cubicBezTo>
                      <a:pt x="389" y="78"/>
                      <a:pt x="390" y="77"/>
                      <a:pt x="390" y="76"/>
                    </a:cubicBezTo>
                    <a:close/>
                    <a:moveTo>
                      <a:pt x="314" y="74"/>
                    </a:moveTo>
                    <a:cubicBezTo>
                      <a:pt x="316" y="75"/>
                      <a:pt x="315" y="73"/>
                      <a:pt x="315" y="72"/>
                    </a:cubicBezTo>
                    <a:cubicBezTo>
                      <a:pt x="314" y="72"/>
                      <a:pt x="313" y="74"/>
                      <a:pt x="314" y="74"/>
                    </a:cubicBezTo>
                    <a:close/>
                    <a:moveTo>
                      <a:pt x="231" y="41"/>
                    </a:moveTo>
                    <a:cubicBezTo>
                      <a:pt x="231" y="41"/>
                      <a:pt x="230" y="41"/>
                      <a:pt x="230" y="40"/>
                    </a:cubicBezTo>
                    <a:cubicBezTo>
                      <a:pt x="230" y="40"/>
                      <a:pt x="231" y="40"/>
                      <a:pt x="231" y="40"/>
                    </a:cubicBezTo>
                    <a:cubicBezTo>
                      <a:pt x="231" y="40"/>
                      <a:pt x="230" y="40"/>
                      <a:pt x="230" y="40"/>
                    </a:cubicBezTo>
                    <a:cubicBezTo>
                      <a:pt x="230" y="41"/>
                      <a:pt x="231" y="41"/>
                      <a:pt x="231" y="41"/>
                    </a:cubicBezTo>
                    <a:close/>
                    <a:moveTo>
                      <a:pt x="272" y="177"/>
                    </a:moveTo>
                    <a:cubicBezTo>
                      <a:pt x="272" y="177"/>
                      <a:pt x="271" y="178"/>
                      <a:pt x="271" y="178"/>
                    </a:cubicBezTo>
                    <a:cubicBezTo>
                      <a:pt x="271" y="179"/>
                      <a:pt x="271" y="179"/>
                      <a:pt x="272" y="179"/>
                    </a:cubicBezTo>
                    <a:cubicBezTo>
                      <a:pt x="272" y="178"/>
                      <a:pt x="272" y="179"/>
                      <a:pt x="272" y="179"/>
                    </a:cubicBezTo>
                    <a:cubicBezTo>
                      <a:pt x="272" y="179"/>
                      <a:pt x="272" y="178"/>
                      <a:pt x="272" y="178"/>
                    </a:cubicBezTo>
                    <a:cubicBezTo>
                      <a:pt x="273" y="178"/>
                      <a:pt x="274" y="176"/>
                      <a:pt x="272" y="177"/>
                    </a:cubicBezTo>
                    <a:close/>
                    <a:moveTo>
                      <a:pt x="391" y="82"/>
                    </a:moveTo>
                    <a:cubicBezTo>
                      <a:pt x="391" y="82"/>
                      <a:pt x="392" y="82"/>
                      <a:pt x="392" y="82"/>
                    </a:cubicBezTo>
                    <a:cubicBezTo>
                      <a:pt x="393" y="82"/>
                      <a:pt x="393" y="82"/>
                      <a:pt x="393" y="82"/>
                    </a:cubicBezTo>
                    <a:cubicBezTo>
                      <a:pt x="392" y="81"/>
                      <a:pt x="392" y="82"/>
                      <a:pt x="391" y="82"/>
                    </a:cubicBezTo>
                    <a:cubicBezTo>
                      <a:pt x="391" y="81"/>
                      <a:pt x="391" y="82"/>
                      <a:pt x="391" y="82"/>
                    </a:cubicBezTo>
                    <a:close/>
                    <a:moveTo>
                      <a:pt x="382" y="86"/>
                    </a:moveTo>
                    <a:cubicBezTo>
                      <a:pt x="382" y="87"/>
                      <a:pt x="382" y="85"/>
                      <a:pt x="382" y="84"/>
                    </a:cubicBezTo>
                    <a:cubicBezTo>
                      <a:pt x="382" y="84"/>
                      <a:pt x="381" y="86"/>
                      <a:pt x="382" y="86"/>
                    </a:cubicBezTo>
                    <a:close/>
                    <a:moveTo>
                      <a:pt x="71" y="124"/>
                    </a:moveTo>
                    <a:cubicBezTo>
                      <a:pt x="71" y="124"/>
                      <a:pt x="70" y="123"/>
                      <a:pt x="70" y="123"/>
                    </a:cubicBezTo>
                    <a:cubicBezTo>
                      <a:pt x="69" y="124"/>
                      <a:pt x="70" y="124"/>
                      <a:pt x="70" y="125"/>
                    </a:cubicBezTo>
                    <a:cubicBezTo>
                      <a:pt x="71" y="126"/>
                      <a:pt x="71" y="125"/>
                      <a:pt x="72" y="126"/>
                    </a:cubicBezTo>
                    <a:cubicBezTo>
                      <a:pt x="72" y="125"/>
                      <a:pt x="71" y="125"/>
                      <a:pt x="72" y="125"/>
                    </a:cubicBezTo>
                    <a:cubicBezTo>
                      <a:pt x="72" y="125"/>
                      <a:pt x="72" y="125"/>
                      <a:pt x="72" y="125"/>
                    </a:cubicBezTo>
                    <a:cubicBezTo>
                      <a:pt x="72" y="124"/>
                      <a:pt x="72" y="124"/>
                      <a:pt x="71" y="124"/>
                    </a:cubicBezTo>
                    <a:close/>
                    <a:moveTo>
                      <a:pt x="334" y="151"/>
                    </a:moveTo>
                    <a:cubicBezTo>
                      <a:pt x="333" y="151"/>
                      <a:pt x="334" y="154"/>
                      <a:pt x="335" y="154"/>
                    </a:cubicBezTo>
                    <a:cubicBezTo>
                      <a:pt x="336" y="154"/>
                      <a:pt x="336" y="152"/>
                      <a:pt x="336" y="152"/>
                    </a:cubicBezTo>
                    <a:cubicBezTo>
                      <a:pt x="337" y="151"/>
                      <a:pt x="335" y="151"/>
                      <a:pt x="334" y="151"/>
                    </a:cubicBezTo>
                    <a:close/>
                    <a:moveTo>
                      <a:pt x="314" y="71"/>
                    </a:moveTo>
                    <a:cubicBezTo>
                      <a:pt x="314" y="71"/>
                      <a:pt x="315" y="70"/>
                      <a:pt x="315" y="69"/>
                    </a:cubicBezTo>
                    <a:cubicBezTo>
                      <a:pt x="315" y="69"/>
                      <a:pt x="315" y="69"/>
                      <a:pt x="315" y="69"/>
                    </a:cubicBezTo>
                    <a:cubicBezTo>
                      <a:pt x="315" y="68"/>
                      <a:pt x="315" y="68"/>
                      <a:pt x="315" y="68"/>
                    </a:cubicBezTo>
                    <a:cubicBezTo>
                      <a:pt x="314" y="68"/>
                      <a:pt x="314" y="68"/>
                      <a:pt x="313" y="68"/>
                    </a:cubicBezTo>
                    <a:cubicBezTo>
                      <a:pt x="313" y="69"/>
                      <a:pt x="313" y="69"/>
                      <a:pt x="313" y="69"/>
                    </a:cubicBezTo>
                    <a:cubicBezTo>
                      <a:pt x="313" y="70"/>
                      <a:pt x="313" y="71"/>
                      <a:pt x="314" y="71"/>
                    </a:cubicBezTo>
                    <a:close/>
                    <a:moveTo>
                      <a:pt x="91" y="57"/>
                    </a:moveTo>
                    <a:cubicBezTo>
                      <a:pt x="91" y="56"/>
                      <a:pt x="92" y="56"/>
                      <a:pt x="91" y="56"/>
                    </a:cubicBezTo>
                    <a:cubicBezTo>
                      <a:pt x="91" y="55"/>
                      <a:pt x="90" y="55"/>
                      <a:pt x="90" y="55"/>
                    </a:cubicBezTo>
                    <a:cubicBezTo>
                      <a:pt x="90" y="55"/>
                      <a:pt x="91" y="56"/>
                      <a:pt x="91" y="57"/>
                    </a:cubicBezTo>
                    <a:close/>
                    <a:moveTo>
                      <a:pt x="274" y="105"/>
                    </a:moveTo>
                    <a:cubicBezTo>
                      <a:pt x="274" y="105"/>
                      <a:pt x="274" y="105"/>
                      <a:pt x="274" y="105"/>
                    </a:cubicBezTo>
                    <a:cubicBezTo>
                      <a:pt x="274" y="105"/>
                      <a:pt x="274" y="104"/>
                      <a:pt x="274" y="104"/>
                    </a:cubicBezTo>
                    <a:cubicBezTo>
                      <a:pt x="273" y="104"/>
                      <a:pt x="273" y="105"/>
                      <a:pt x="274" y="105"/>
                    </a:cubicBezTo>
                    <a:close/>
                    <a:moveTo>
                      <a:pt x="99" y="137"/>
                    </a:moveTo>
                    <a:cubicBezTo>
                      <a:pt x="99" y="137"/>
                      <a:pt x="97" y="138"/>
                      <a:pt x="98" y="138"/>
                    </a:cubicBezTo>
                    <a:cubicBezTo>
                      <a:pt x="98" y="138"/>
                      <a:pt x="98" y="138"/>
                      <a:pt x="98" y="138"/>
                    </a:cubicBezTo>
                    <a:cubicBezTo>
                      <a:pt x="99" y="138"/>
                      <a:pt x="98" y="139"/>
                      <a:pt x="98" y="139"/>
                    </a:cubicBezTo>
                    <a:cubicBezTo>
                      <a:pt x="98" y="139"/>
                      <a:pt x="99" y="138"/>
                      <a:pt x="99" y="138"/>
                    </a:cubicBezTo>
                    <a:cubicBezTo>
                      <a:pt x="99" y="138"/>
                      <a:pt x="99" y="137"/>
                      <a:pt x="99" y="137"/>
                    </a:cubicBezTo>
                    <a:close/>
                    <a:moveTo>
                      <a:pt x="302" y="87"/>
                    </a:moveTo>
                    <a:cubicBezTo>
                      <a:pt x="301" y="87"/>
                      <a:pt x="301" y="88"/>
                      <a:pt x="301" y="88"/>
                    </a:cubicBezTo>
                    <a:cubicBezTo>
                      <a:pt x="301" y="89"/>
                      <a:pt x="302" y="90"/>
                      <a:pt x="302" y="90"/>
                    </a:cubicBezTo>
                    <a:cubicBezTo>
                      <a:pt x="302" y="91"/>
                      <a:pt x="302" y="93"/>
                      <a:pt x="303" y="93"/>
                    </a:cubicBezTo>
                    <a:cubicBezTo>
                      <a:pt x="303" y="92"/>
                      <a:pt x="303" y="90"/>
                      <a:pt x="302" y="90"/>
                    </a:cubicBezTo>
                    <a:cubicBezTo>
                      <a:pt x="302" y="90"/>
                      <a:pt x="302" y="89"/>
                      <a:pt x="302" y="88"/>
                    </a:cubicBezTo>
                    <a:cubicBezTo>
                      <a:pt x="302" y="88"/>
                      <a:pt x="302" y="87"/>
                      <a:pt x="302" y="87"/>
                    </a:cubicBezTo>
                    <a:close/>
                    <a:moveTo>
                      <a:pt x="420" y="157"/>
                    </a:moveTo>
                    <a:cubicBezTo>
                      <a:pt x="421" y="157"/>
                      <a:pt x="423" y="158"/>
                      <a:pt x="424" y="158"/>
                    </a:cubicBezTo>
                    <a:cubicBezTo>
                      <a:pt x="424" y="157"/>
                      <a:pt x="423" y="156"/>
                      <a:pt x="423" y="155"/>
                    </a:cubicBezTo>
                    <a:cubicBezTo>
                      <a:pt x="423" y="154"/>
                      <a:pt x="420" y="157"/>
                      <a:pt x="420" y="157"/>
                    </a:cubicBezTo>
                    <a:close/>
                    <a:moveTo>
                      <a:pt x="278" y="84"/>
                    </a:moveTo>
                    <a:cubicBezTo>
                      <a:pt x="278" y="84"/>
                      <a:pt x="279" y="84"/>
                      <a:pt x="279" y="84"/>
                    </a:cubicBezTo>
                    <a:cubicBezTo>
                      <a:pt x="279" y="84"/>
                      <a:pt x="279" y="84"/>
                      <a:pt x="279" y="84"/>
                    </a:cubicBezTo>
                    <a:cubicBezTo>
                      <a:pt x="279" y="83"/>
                      <a:pt x="279" y="83"/>
                      <a:pt x="279" y="83"/>
                    </a:cubicBezTo>
                    <a:cubicBezTo>
                      <a:pt x="279" y="83"/>
                      <a:pt x="279" y="82"/>
                      <a:pt x="278" y="82"/>
                    </a:cubicBezTo>
                    <a:cubicBezTo>
                      <a:pt x="278" y="82"/>
                      <a:pt x="278" y="82"/>
                      <a:pt x="278" y="82"/>
                    </a:cubicBezTo>
                    <a:cubicBezTo>
                      <a:pt x="278" y="83"/>
                      <a:pt x="278" y="83"/>
                      <a:pt x="278" y="83"/>
                    </a:cubicBezTo>
                    <a:cubicBezTo>
                      <a:pt x="278" y="83"/>
                      <a:pt x="278" y="84"/>
                      <a:pt x="278" y="84"/>
                    </a:cubicBezTo>
                    <a:close/>
                    <a:moveTo>
                      <a:pt x="105" y="34"/>
                    </a:moveTo>
                    <a:cubicBezTo>
                      <a:pt x="105" y="34"/>
                      <a:pt x="106" y="34"/>
                      <a:pt x="106" y="34"/>
                    </a:cubicBezTo>
                    <a:cubicBezTo>
                      <a:pt x="106" y="34"/>
                      <a:pt x="105" y="34"/>
                      <a:pt x="106" y="34"/>
                    </a:cubicBezTo>
                    <a:cubicBezTo>
                      <a:pt x="106" y="33"/>
                      <a:pt x="106" y="33"/>
                      <a:pt x="106" y="33"/>
                    </a:cubicBezTo>
                    <a:cubicBezTo>
                      <a:pt x="106" y="33"/>
                      <a:pt x="106" y="32"/>
                      <a:pt x="106" y="33"/>
                    </a:cubicBezTo>
                    <a:cubicBezTo>
                      <a:pt x="106" y="32"/>
                      <a:pt x="106" y="33"/>
                      <a:pt x="105" y="32"/>
                    </a:cubicBezTo>
                    <a:cubicBezTo>
                      <a:pt x="105" y="32"/>
                      <a:pt x="105" y="32"/>
                      <a:pt x="105" y="32"/>
                    </a:cubicBezTo>
                    <a:cubicBezTo>
                      <a:pt x="105" y="32"/>
                      <a:pt x="105" y="32"/>
                      <a:pt x="105" y="33"/>
                    </a:cubicBezTo>
                    <a:cubicBezTo>
                      <a:pt x="105" y="33"/>
                      <a:pt x="105" y="34"/>
                      <a:pt x="105" y="34"/>
                    </a:cubicBezTo>
                    <a:close/>
                    <a:moveTo>
                      <a:pt x="317" y="79"/>
                    </a:moveTo>
                    <a:cubicBezTo>
                      <a:pt x="317" y="79"/>
                      <a:pt x="317" y="79"/>
                      <a:pt x="318" y="79"/>
                    </a:cubicBezTo>
                    <a:cubicBezTo>
                      <a:pt x="318" y="79"/>
                      <a:pt x="319" y="79"/>
                      <a:pt x="319" y="79"/>
                    </a:cubicBezTo>
                    <a:cubicBezTo>
                      <a:pt x="319" y="79"/>
                      <a:pt x="319" y="79"/>
                      <a:pt x="319" y="79"/>
                    </a:cubicBezTo>
                    <a:cubicBezTo>
                      <a:pt x="318" y="78"/>
                      <a:pt x="318" y="78"/>
                      <a:pt x="318" y="78"/>
                    </a:cubicBezTo>
                    <a:cubicBezTo>
                      <a:pt x="317" y="78"/>
                      <a:pt x="316" y="79"/>
                      <a:pt x="317" y="79"/>
                    </a:cubicBezTo>
                    <a:close/>
                    <a:moveTo>
                      <a:pt x="327" y="104"/>
                    </a:moveTo>
                    <a:cubicBezTo>
                      <a:pt x="326" y="104"/>
                      <a:pt x="327" y="105"/>
                      <a:pt x="327" y="105"/>
                    </a:cubicBezTo>
                    <a:cubicBezTo>
                      <a:pt x="327" y="105"/>
                      <a:pt x="327" y="105"/>
                      <a:pt x="327" y="105"/>
                    </a:cubicBezTo>
                    <a:cubicBezTo>
                      <a:pt x="328" y="104"/>
                      <a:pt x="328" y="105"/>
                      <a:pt x="328" y="105"/>
                    </a:cubicBezTo>
                    <a:cubicBezTo>
                      <a:pt x="328" y="105"/>
                      <a:pt x="328" y="104"/>
                      <a:pt x="328" y="104"/>
                    </a:cubicBezTo>
                    <a:cubicBezTo>
                      <a:pt x="328" y="104"/>
                      <a:pt x="327" y="104"/>
                      <a:pt x="327" y="104"/>
                    </a:cubicBezTo>
                    <a:close/>
                    <a:moveTo>
                      <a:pt x="24" y="43"/>
                    </a:moveTo>
                    <a:cubicBezTo>
                      <a:pt x="24" y="42"/>
                      <a:pt x="24" y="41"/>
                      <a:pt x="23" y="41"/>
                    </a:cubicBezTo>
                    <a:cubicBezTo>
                      <a:pt x="23" y="41"/>
                      <a:pt x="23" y="41"/>
                      <a:pt x="23" y="41"/>
                    </a:cubicBezTo>
                    <a:cubicBezTo>
                      <a:pt x="22" y="41"/>
                      <a:pt x="23" y="41"/>
                      <a:pt x="22" y="41"/>
                    </a:cubicBezTo>
                    <a:cubicBezTo>
                      <a:pt x="21" y="41"/>
                      <a:pt x="23" y="41"/>
                      <a:pt x="23" y="42"/>
                    </a:cubicBezTo>
                    <a:cubicBezTo>
                      <a:pt x="23" y="42"/>
                      <a:pt x="24" y="43"/>
                      <a:pt x="24" y="4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1" name="Indian Claim">
                <a:extLst>
                  <a:ext uri="{FF2B5EF4-FFF2-40B4-BE49-F238E27FC236}">
                    <a16:creationId xmlns:a16="http://schemas.microsoft.com/office/drawing/2014/main" id="{5786C433-28A5-3782-62D3-7F6BE520520C}"/>
                  </a:ext>
                </a:extLst>
              </p:cNvPr>
              <p:cNvSpPr>
                <a:spLocks noEditPoints="1"/>
              </p:cNvSpPr>
              <p:nvPr/>
            </p:nvSpPr>
            <p:spPr bwMode="auto">
              <a:xfrm>
                <a:off x="8232368" y="2643694"/>
                <a:ext cx="85275" cy="98997"/>
              </a:xfrm>
              <a:custGeom>
                <a:avLst/>
                <a:gdLst/>
                <a:ahLst/>
                <a:cxnLst>
                  <a:cxn ang="0">
                    <a:pos x="23" y="9"/>
                  </a:cxn>
                  <a:cxn ang="0">
                    <a:pos x="23" y="13"/>
                  </a:cxn>
                  <a:cxn ang="0">
                    <a:pos x="22" y="14"/>
                  </a:cxn>
                  <a:cxn ang="0">
                    <a:pos x="21" y="15"/>
                  </a:cxn>
                  <a:cxn ang="0">
                    <a:pos x="18" y="17"/>
                  </a:cxn>
                  <a:cxn ang="0">
                    <a:pos x="19" y="20"/>
                  </a:cxn>
                  <a:cxn ang="0">
                    <a:pos x="19" y="21"/>
                  </a:cxn>
                  <a:cxn ang="0">
                    <a:pos x="16" y="21"/>
                  </a:cxn>
                  <a:cxn ang="0">
                    <a:pos x="15" y="24"/>
                  </a:cxn>
                  <a:cxn ang="0">
                    <a:pos x="15" y="25"/>
                  </a:cxn>
                  <a:cxn ang="0">
                    <a:pos x="16" y="26"/>
                  </a:cxn>
                  <a:cxn ang="0">
                    <a:pos x="15" y="26"/>
                  </a:cxn>
                  <a:cxn ang="0">
                    <a:pos x="15" y="28"/>
                  </a:cxn>
                  <a:cxn ang="0">
                    <a:pos x="12" y="20"/>
                  </a:cxn>
                  <a:cxn ang="0">
                    <a:pos x="14" y="19"/>
                  </a:cxn>
                  <a:cxn ang="0">
                    <a:pos x="14" y="18"/>
                  </a:cxn>
                  <a:cxn ang="0">
                    <a:pos x="6" y="13"/>
                  </a:cxn>
                  <a:cxn ang="0">
                    <a:pos x="4" y="11"/>
                  </a:cxn>
                  <a:cxn ang="0">
                    <a:pos x="3" y="9"/>
                  </a:cxn>
                  <a:cxn ang="0">
                    <a:pos x="2" y="5"/>
                  </a:cxn>
                  <a:cxn ang="0">
                    <a:pos x="0" y="5"/>
                  </a:cxn>
                  <a:cxn ang="0">
                    <a:pos x="1" y="5"/>
                  </a:cxn>
                  <a:cxn ang="0">
                    <a:pos x="1" y="5"/>
                  </a:cxn>
                  <a:cxn ang="0">
                    <a:pos x="3" y="4"/>
                  </a:cxn>
                  <a:cxn ang="0">
                    <a:pos x="5" y="2"/>
                  </a:cxn>
                  <a:cxn ang="0">
                    <a:pos x="13" y="0"/>
                  </a:cxn>
                  <a:cxn ang="0">
                    <a:pos x="14" y="1"/>
                  </a:cxn>
                  <a:cxn ang="0">
                    <a:pos x="16" y="2"/>
                  </a:cxn>
                  <a:cxn ang="0">
                    <a:pos x="16" y="2"/>
                  </a:cxn>
                  <a:cxn ang="0">
                    <a:pos x="19" y="4"/>
                  </a:cxn>
                  <a:cxn ang="0">
                    <a:pos x="20" y="6"/>
                  </a:cxn>
                  <a:cxn ang="0">
                    <a:pos x="21" y="6"/>
                  </a:cxn>
                  <a:cxn ang="0">
                    <a:pos x="21" y="5"/>
                  </a:cxn>
                  <a:cxn ang="0">
                    <a:pos x="22" y="5"/>
                  </a:cxn>
                  <a:cxn ang="0">
                    <a:pos x="23" y="5"/>
                  </a:cxn>
                  <a:cxn ang="0">
                    <a:pos x="15" y="27"/>
                  </a:cxn>
                  <a:cxn ang="0">
                    <a:pos x="15" y="26"/>
                  </a:cxn>
                  <a:cxn ang="0">
                    <a:pos x="16" y="25"/>
                  </a:cxn>
                  <a:cxn ang="0">
                    <a:pos x="15" y="24"/>
                  </a:cxn>
                  <a:cxn ang="0">
                    <a:pos x="14" y="27"/>
                  </a:cxn>
                  <a:cxn ang="0">
                    <a:pos x="23" y="11"/>
                  </a:cxn>
                  <a:cxn ang="0">
                    <a:pos x="23" y="9"/>
                  </a:cxn>
                  <a:cxn ang="0">
                    <a:pos x="12" y="17"/>
                  </a:cxn>
                  <a:cxn ang="0">
                    <a:pos x="14" y="18"/>
                  </a:cxn>
                  <a:cxn ang="0">
                    <a:pos x="14" y="19"/>
                  </a:cxn>
                  <a:cxn ang="0">
                    <a:pos x="23" y="11"/>
                  </a:cxn>
                  <a:cxn ang="0">
                    <a:pos x="19" y="21"/>
                  </a:cxn>
                  <a:cxn ang="0">
                    <a:pos x="18" y="21"/>
                  </a:cxn>
                  <a:cxn ang="0">
                    <a:pos x="19" y="4"/>
                  </a:cxn>
                  <a:cxn ang="0">
                    <a:pos x="9" y="15"/>
                  </a:cxn>
                  <a:cxn ang="0">
                    <a:pos x="1" y="5"/>
                  </a:cxn>
                  <a:cxn ang="0">
                    <a:pos x="1" y="5"/>
                  </a:cxn>
                  <a:cxn ang="0">
                    <a:pos x="2" y="5"/>
                  </a:cxn>
                  <a:cxn ang="0">
                    <a:pos x="14" y="1"/>
                  </a:cxn>
                  <a:cxn ang="0">
                    <a:pos x="13" y="0"/>
                  </a:cxn>
                  <a:cxn ang="0">
                    <a:pos x="4" y="10"/>
                  </a:cxn>
                  <a:cxn ang="0">
                    <a:pos x="4" y="11"/>
                  </a:cxn>
                </a:cxnLst>
                <a:rect l="0" t="0" r="r" b="b"/>
                <a:pathLst>
                  <a:path w="24" h="28">
                    <a:moveTo>
                      <a:pt x="23" y="7"/>
                    </a:moveTo>
                    <a:cubicBezTo>
                      <a:pt x="23" y="7"/>
                      <a:pt x="23" y="7"/>
                      <a:pt x="23" y="7"/>
                    </a:cubicBezTo>
                    <a:cubicBezTo>
                      <a:pt x="23" y="7"/>
                      <a:pt x="23" y="8"/>
                      <a:pt x="23" y="8"/>
                    </a:cubicBezTo>
                    <a:cubicBezTo>
                      <a:pt x="23" y="8"/>
                      <a:pt x="23" y="8"/>
                      <a:pt x="23" y="9"/>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3" y="10"/>
                      <a:pt x="23" y="10"/>
                      <a:pt x="23" y="10"/>
                    </a:cubicBezTo>
                    <a:cubicBezTo>
                      <a:pt x="23" y="10"/>
                      <a:pt x="23" y="10"/>
                      <a:pt x="23" y="10"/>
                    </a:cubicBezTo>
                    <a:cubicBezTo>
                      <a:pt x="23" y="11"/>
                      <a:pt x="23" y="11"/>
                      <a:pt x="23" y="11"/>
                    </a:cubicBezTo>
                    <a:cubicBezTo>
                      <a:pt x="23" y="11"/>
                      <a:pt x="23" y="11"/>
                      <a:pt x="23" y="11"/>
                    </a:cubicBezTo>
                    <a:cubicBezTo>
                      <a:pt x="23" y="12"/>
                      <a:pt x="23" y="12"/>
                      <a:pt x="23" y="13"/>
                    </a:cubicBezTo>
                    <a:cubicBezTo>
                      <a:pt x="23" y="14"/>
                      <a:pt x="23"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1" y="14"/>
                      <a:pt x="21" y="14"/>
                      <a:pt x="21" y="14"/>
                    </a:cubicBezTo>
                    <a:cubicBezTo>
                      <a:pt x="21" y="14"/>
                      <a:pt x="21" y="14"/>
                      <a:pt x="21" y="14"/>
                    </a:cubicBezTo>
                    <a:cubicBezTo>
                      <a:pt x="21" y="14"/>
                      <a:pt x="21" y="14"/>
                      <a:pt x="21" y="14"/>
                    </a:cubicBezTo>
                    <a:cubicBezTo>
                      <a:pt x="21" y="14"/>
                      <a:pt x="21" y="15"/>
                      <a:pt x="21" y="15"/>
                    </a:cubicBezTo>
                    <a:cubicBezTo>
                      <a:pt x="21" y="16"/>
                      <a:pt x="20" y="15"/>
                      <a:pt x="20" y="16"/>
                    </a:cubicBezTo>
                    <a:cubicBezTo>
                      <a:pt x="20" y="16"/>
                      <a:pt x="20" y="16"/>
                      <a:pt x="20" y="16"/>
                    </a:cubicBezTo>
                    <a:cubicBezTo>
                      <a:pt x="20" y="16"/>
                      <a:pt x="20" y="16"/>
                      <a:pt x="20" y="16"/>
                    </a:cubicBezTo>
                    <a:cubicBezTo>
                      <a:pt x="20" y="17"/>
                      <a:pt x="20" y="17"/>
                      <a:pt x="20" y="17"/>
                    </a:cubicBezTo>
                    <a:cubicBezTo>
                      <a:pt x="20" y="17"/>
                      <a:pt x="19" y="17"/>
                      <a:pt x="19" y="17"/>
                    </a:cubicBezTo>
                    <a:cubicBezTo>
                      <a:pt x="19" y="17"/>
                      <a:pt x="19" y="17"/>
                      <a:pt x="19" y="17"/>
                    </a:cubicBezTo>
                    <a:cubicBezTo>
                      <a:pt x="18" y="17"/>
                      <a:pt x="18" y="17"/>
                      <a:pt x="18" y="17"/>
                    </a:cubicBezTo>
                    <a:cubicBezTo>
                      <a:pt x="18" y="17"/>
                      <a:pt x="19" y="18"/>
                      <a:pt x="19" y="18"/>
                    </a:cubicBezTo>
                    <a:cubicBezTo>
                      <a:pt x="19" y="18"/>
                      <a:pt x="19" y="19"/>
                      <a:pt x="19" y="19"/>
                    </a:cubicBezTo>
                    <a:cubicBezTo>
                      <a:pt x="19" y="19"/>
                      <a:pt x="19" y="19"/>
                      <a:pt x="19" y="19"/>
                    </a:cubicBezTo>
                    <a:cubicBezTo>
                      <a:pt x="19" y="20"/>
                      <a:pt x="19" y="19"/>
                      <a:pt x="19" y="19"/>
                    </a:cubicBezTo>
                    <a:cubicBezTo>
                      <a:pt x="19" y="19"/>
                      <a:pt x="19" y="19"/>
                      <a:pt x="19" y="19"/>
                    </a:cubicBezTo>
                    <a:cubicBezTo>
                      <a:pt x="19" y="19"/>
                      <a:pt x="19" y="19"/>
                      <a:pt x="19" y="19"/>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8" y="21"/>
                    </a:cubicBezTo>
                    <a:cubicBezTo>
                      <a:pt x="18" y="21"/>
                      <a:pt x="18" y="21"/>
                      <a:pt x="18" y="21"/>
                    </a:cubicBezTo>
                    <a:cubicBezTo>
                      <a:pt x="18" y="21"/>
                      <a:pt x="18" y="21"/>
                      <a:pt x="18" y="21"/>
                    </a:cubicBezTo>
                    <a:cubicBezTo>
                      <a:pt x="17" y="21"/>
                      <a:pt x="17" y="21"/>
                      <a:pt x="16" y="21"/>
                    </a:cubicBezTo>
                    <a:cubicBezTo>
                      <a:pt x="16" y="21"/>
                      <a:pt x="16" y="21"/>
                      <a:pt x="15" y="22"/>
                    </a:cubicBezTo>
                    <a:cubicBezTo>
                      <a:pt x="15" y="22"/>
                      <a:pt x="15" y="21"/>
                      <a:pt x="15" y="21"/>
                    </a:cubicBezTo>
                    <a:cubicBezTo>
                      <a:pt x="14" y="21"/>
                      <a:pt x="14" y="21"/>
                      <a:pt x="14" y="21"/>
                    </a:cubicBezTo>
                    <a:cubicBezTo>
                      <a:pt x="14" y="22"/>
                      <a:pt x="14" y="22"/>
                      <a:pt x="14" y="22"/>
                    </a:cubicBezTo>
                    <a:cubicBezTo>
                      <a:pt x="14" y="22"/>
                      <a:pt x="14" y="22"/>
                      <a:pt x="14" y="22"/>
                    </a:cubicBezTo>
                    <a:cubicBezTo>
                      <a:pt x="14" y="23"/>
                      <a:pt x="14" y="23"/>
                      <a:pt x="14" y="23"/>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5"/>
                      <a:pt x="15" y="25"/>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6" y="26"/>
                      <a:pt x="16" y="26"/>
                      <a:pt x="16" y="26"/>
                    </a:cubicBezTo>
                    <a:cubicBezTo>
                      <a:pt x="16"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7"/>
                      <a:pt x="15" y="27"/>
                      <a:pt x="15" y="27"/>
                    </a:cubicBezTo>
                    <a:cubicBezTo>
                      <a:pt x="15" y="27"/>
                      <a:pt x="15" y="27"/>
                      <a:pt x="15" y="27"/>
                    </a:cubicBezTo>
                    <a:cubicBezTo>
                      <a:pt x="15" y="27"/>
                      <a:pt x="15" y="27"/>
                      <a:pt x="15" y="27"/>
                    </a:cubicBezTo>
                    <a:cubicBezTo>
                      <a:pt x="15" y="27"/>
                      <a:pt x="15" y="27"/>
                      <a:pt x="15" y="27"/>
                    </a:cubicBezTo>
                    <a:cubicBezTo>
                      <a:pt x="15" y="27"/>
                      <a:pt x="15" y="27"/>
                      <a:pt x="15" y="27"/>
                    </a:cubicBezTo>
                    <a:cubicBezTo>
                      <a:pt x="15" y="27"/>
                      <a:pt x="15" y="27"/>
                      <a:pt x="15" y="27"/>
                    </a:cubicBezTo>
                    <a:cubicBezTo>
                      <a:pt x="15" y="28"/>
                      <a:pt x="15" y="28"/>
                      <a:pt x="15" y="28"/>
                    </a:cubicBezTo>
                    <a:cubicBezTo>
                      <a:pt x="15" y="28"/>
                      <a:pt x="14" y="28"/>
                      <a:pt x="14" y="27"/>
                    </a:cubicBezTo>
                    <a:cubicBezTo>
                      <a:pt x="14" y="27"/>
                      <a:pt x="14" y="27"/>
                      <a:pt x="14" y="27"/>
                    </a:cubicBezTo>
                    <a:cubicBezTo>
                      <a:pt x="14" y="27"/>
                      <a:pt x="14" y="27"/>
                      <a:pt x="14" y="27"/>
                    </a:cubicBezTo>
                    <a:cubicBezTo>
                      <a:pt x="14" y="27"/>
                      <a:pt x="14" y="27"/>
                      <a:pt x="14" y="27"/>
                    </a:cubicBezTo>
                    <a:cubicBezTo>
                      <a:pt x="14" y="26"/>
                      <a:pt x="14" y="26"/>
                      <a:pt x="14" y="26"/>
                    </a:cubicBezTo>
                    <a:cubicBezTo>
                      <a:pt x="13" y="24"/>
                      <a:pt x="13" y="23"/>
                      <a:pt x="12" y="21"/>
                    </a:cubicBezTo>
                    <a:cubicBezTo>
                      <a:pt x="12" y="21"/>
                      <a:pt x="12" y="20"/>
                      <a:pt x="12" y="20"/>
                    </a:cubicBezTo>
                    <a:cubicBezTo>
                      <a:pt x="13" y="20"/>
                      <a:pt x="13" y="20"/>
                      <a:pt x="13" y="20"/>
                    </a:cubicBezTo>
                    <a:cubicBezTo>
                      <a:pt x="13" y="20"/>
                      <a:pt x="14" y="20"/>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3" y="18"/>
                      <a:pt x="13" y="17"/>
                      <a:pt x="12" y="17"/>
                    </a:cubicBezTo>
                    <a:cubicBezTo>
                      <a:pt x="11" y="17"/>
                      <a:pt x="12" y="17"/>
                      <a:pt x="11" y="16"/>
                    </a:cubicBezTo>
                    <a:cubicBezTo>
                      <a:pt x="10" y="15"/>
                      <a:pt x="9" y="16"/>
                      <a:pt x="8" y="15"/>
                    </a:cubicBezTo>
                    <a:cubicBezTo>
                      <a:pt x="6" y="15"/>
                      <a:pt x="6" y="14"/>
                      <a:pt x="6" y="13"/>
                    </a:cubicBezTo>
                    <a:cubicBezTo>
                      <a:pt x="5" y="13"/>
                      <a:pt x="5" y="12"/>
                      <a:pt x="5" y="12"/>
                    </a:cubicBezTo>
                    <a:cubicBezTo>
                      <a:pt x="5" y="12"/>
                      <a:pt x="5" y="12"/>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0"/>
                      <a:pt x="4" y="10"/>
                      <a:pt x="4" y="10"/>
                    </a:cubicBezTo>
                    <a:cubicBezTo>
                      <a:pt x="4" y="10"/>
                      <a:pt x="4" y="10"/>
                      <a:pt x="4" y="10"/>
                    </a:cubicBezTo>
                    <a:cubicBezTo>
                      <a:pt x="4" y="10"/>
                      <a:pt x="4" y="10"/>
                      <a:pt x="4" y="10"/>
                    </a:cubicBezTo>
                    <a:cubicBezTo>
                      <a:pt x="4" y="10"/>
                      <a:pt x="4" y="10"/>
                      <a:pt x="3" y="9"/>
                    </a:cubicBezTo>
                    <a:cubicBezTo>
                      <a:pt x="3" y="9"/>
                      <a:pt x="3" y="8"/>
                      <a:pt x="2" y="8"/>
                    </a:cubicBezTo>
                    <a:cubicBezTo>
                      <a:pt x="2" y="8"/>
                      <a:pt x="2" y="7"/>
                      <a:pt x="2" y="7"/>
                    </a:cubicBezTo>
                    <a:cubicBezTo>
                      <a:pt x="2" y="7"/>
                      <a:pt x="2" y="7"/>
                      <a:pt x="2" y="7"/>
                    </a:cubicBezTo>
                    <a:cubicBezTo>
                      <a:pt x="2" y="7"/>
                      <a:pt x="2" y="7"/>
                      <a:pt x="2" y="7"/>
                    </a:cubicBezTo>
                    <a:cubicBezTo>
                      <a:pt x="2" y="6"/>
                      <a:pt x="2" y="6"/>
                      <a:pt x="2" y="6"/>
                    </a:cubicBezTo>
                    <a:cubicBezTo>
                      <a:pt x="2" y="6"/>
                      <a:pt x="2" y="6"/>
                      <a:pt x="2" y="6"/>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1" y="5"/>
                      <a:pt x="1" y="7"/>
                      <a:pt x="0" y="5"/>
                    </a:cubicBezTo>
                    <a:cubicBezTo>
                      <a:pt x="0" y="5"/>
                      <a:pt x="0" y="5"/>
                      <a:pt x="0" y="5"/>
                    </a:cubicBezTo>
                    <a:cubicBezTo>
                      <a:pt x="0" y="5"/>
                      <a:pt x="0" y="5"/>
                      <a:pt x="0"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4"/>
                      <a:pt x="1" y="4"/>
                      <a:pt x="1" y="4"/>
                    </a:cubicBezTo>
                    <a:cubicBezTo>
                      <a:pt x="2" y="4"/>
                      <a:pt x="2" y="5"/>
                      <a:pt x="2" y="5"/>
                    </a:cubicBezTo>
                    <a:cubicBezTo>
                      <a:pt x="2"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4"/>
                      <a:pt x="4" y="3"/>
                    </a:cubicBezTo>
                    <a:cubicBezTo>
                      <a:pt x="4" y="3"/>
                      <a:pt x="4" y="3"/>
                      <a:pt x="4" y="3"/>
                    </a:cubicBezTo>
                    <a:cubicBezTo>
                      <a:pt x="4" y="3"/>
                      <a:pt x="5" y="3"/>
                      <a:pt x="5" y="2"/>
                    </a:cubicBezTo>
                    <a:cubicBezTo>
                      <a:pt x="5" y="2"/>
                      <a:pt x="5" y="2"/>
                      <a:pt x="6" y="2"/>
                    </a:cubicBezTo>
                    <a:cubicBezTo>
                      <a:pt x="6" y="2"/>
                      <a:pt x="6" y="2"/>
                      <a:pt x="6" y="2"/>
                    </a:cubicBezTo>
                    <a:cubicBezTo>
                      <a:pt x="7" y="1"/>
                      <a:pt x="7" y="1"/>
                      <a:pt x="7" y="1"/>
                    </a:cubicBezTo>
                    <a:cubicBezTo>
                      <a:pt x="7" y="0"/>
                      <a:pt x="8" y="1"/>
                      <a:pt x="9" y="1"/>
                    </a:cubicBezTo>
                    <a:cubicBezTo>
                      <a:pt x="10" y="1"/>
                      <a:pt x="10" y="0"/>
                      <a:pt x="10" y="0"/>
                    </a:cubicBezTo>
                    <a:cubicBezTo>
                      <a:pt x="11" y="0"/>
                      <a:pt x="11" y="0"/>
                      <a:pt x="12" y="0"/>
                    </a:cubicBezTo>
                    <a:cubicBezTo>
                      <a:pt x="12" y="0"/>
                      <a:pt x="13" y="0"/>
                      <a:pt x="13" y="0"/>
                    </a:cubicBezTo>
                    <a:cubicBezTo>
                      <a:pt x="13" y="0"/>
                      <a:pt x="13" y="0"/>
                      <a:pt x="14" y="0"/>
                    </a:cubicBezTo>
                    <a:cubicBezTo>
                      <a:pt x="14" y="0"/>
                      <a:pt x="14" y="0"/>
                      <a:pt x="14" y="0"/>
                    </a:cubicBezTo>
                    <a:cubicBezTo>
                      <a:pt x="14" y="0"/>
                      <a:pt x="14" y="0"/>
                      <a:pt x="14" y="0"/>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5" y="1"/>
                    </a:cubicBezTo>
                    <a:cubicBezTo>
                      <a:pt x="15" y="1"/>
                      <a:pt x="15" y="1"/>
                      <a:pt x="16" y="1"/>
                    </a:cubicBezTo>
                    <a:cubicBezTo>
                      <a:pt x="16" y="1"/>
                      <a:pt x="16" y="1"/>
                      <a:pt x="16" y="1"/>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3"/>
                      <a:pt x="16" y="3"/>
                    </a:cubicBezTo>
                    <a:cubicBezTo>
                      <a:pt x="16" y="3"/>
                      <a:pt x="17" y="4"/>
                      <a:pt x="17" y="4"/>
                    </a:cubicBezTo>
                    <a:cubicBezTo>
                      <a:pt x="18" y="4"/>
                      <a:pt x="18" y="4"/>
                      <a:pt x="18"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20" y="5"/>
                      <a:pt x="20" y="5"/>
                    </a:cubicBezTo>
                    <a:cubicBezTo>
                      <a:pt x="20" y="5"/>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5"/>
                      <a:pt x="21" y="5"/>
                      <a:pt x="21" y="5"/>
                    </a:cubicBezTo>
                    <a:cubicBezTo>
                      <a:pt x="21" y="5"/>
                      <a:pt x="21" y="4"/>
                      <a:pt x="22" y="4"/>
                    </a:cubicBezTo>
                    <a:cubicBezTo>
                      <a:pt x="22" y="4"/>
                      <a:pt x="22" y="4"/>
                      <a:pt x="22" y="4"/>
                    </a:cubicBezTo>
                    <a:cubicBezTo>
                      <a:pt x="22" y="4"/>
                      <a:pt x="22" y="4"/>
                      <a:pt x="22" y="4"/>
                    </a:cubicBezTo>
                    <a:cubicBezTo>
                      <a:pt x="22" y="4"/>
                      <a:pt x="22" y="4"/>
                      <a:pt x="22" y="4"/>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6"/>
                    </a:cubicBezTo>
                    <a:cubicBezTo>
                      <a:pt x="24" y="6"/>
                      <a:pt x="23" y="6"/>
                      <a:pt x="23" y="7"/>
                    </a:cubicBezTo>
                    <a:close/>
                    <a:moveTo>
                      <a:pt x="15" y="27"/>
                    </a:moveTo>
                    <a:cubicBezTo>
                      <a:pt x="15" y="27"/>
                      <a:pt x="15" y="27"/>
                      <a:pt x="15" y="27"/>
                    </a:cubicBezTo>
                    <a:cubicBezTo>
                      <a:pt x="15" y="27"/>
                      <a:pt x="15" y="27"/>
                      <a:pt x="15" y="27"/>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6" y="26"/>
                      <a:pt x="16" y="26"/>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5" y="25"/>
                      <a:pt x="15" y="25"/>
                      <a:pt x="15" y="25"/>
                    </a:cubicBezTo>
                    <a:cubicBezTo>
                      <a:pt x="15" y="25"/>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4" y="25"/>
                      <a:pt x="14" y="25"/>
                      <a:pt x="14" y="25"/>
                    </a:cubicBezTo>
                    <a:cubicBezTo>
                      <a:pt x="14" y="25"/>
                      <a:pt x="14" y="25"/>
                      <a:pt x="14" y="26"/>
                    </a:cubicBezTo>
                    <a:cubicBezTo>
                      <a:pt x="14" y="26"/>
                      <a:pt x="14" y="26"/>
                      <a:pt x="14" y="27"/>
                    </a:cubicBezTo>
                    <a:cubicBezTo>
                      <a:pt x="14" y="27"/>
                      <a:pt x="14" y="27"/>
                      <a:pt x="14" y="27"/>
                    </a:cubicBezTo>
                    <a:cubicBezTo>
                      <a:pt x="14" y="27"/>
                      <a:pt x="14" y="27"/>
                      <a:pt x="14" y="27"/>
                    </a:cubicBezTo>
                    <a:cubicBezTo>
                      <a:pt x="14" y="27"/>
                      <a:pt x="14" y="27"/>
                      <a:pt x="14" y="27"/>
                    </a:cubicBezTo>
                    <a:cubicBezTo>
                      <a:pt x="14" y="27"/>
                      <a:pt x="15" y="28"/>
                      <a:pt x="15" y="28"/>
                    </a:cubicBezTo>
                    <a:cubicBezTo>
                      <a:pt x="15" y="28"/>
                      <a:pt x="15" y="28"/>
                      <a:pt x="15" y="28"/>
                    </a:cubicBezTo>
                    <a:lnTo>
                      <a:pt x="15" y="27"/>
                    </a:lnTo>
                    <a:close/>
                    <a:moveTo>
                      <a:pt x="23" y="11"/>
                    </a:moveTo>
                    <a:cubicBezTo>
                      <a:pt x="23" y="10"/>
                      <a:pt x="23" y="10"/>
                      <a:pt x="23" y="10"/>
                    </a:cubicBezTo>
                    <a:cubicBezTo>
                      <a:pt x="23" y="10"/>
                      <a:pt x="23" y="10"/>
                      <a:pt x="23" y="10"/>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3" y="8"/>
                      <a:pt x="23" y="8"/>
                      <a:pt x="23" y="8"/>
                    </a:cubicBezTo>
                    <a:cubicBezTo>
                      <a:pt x="23" y="8"/>
                      <a:pt x="23" y="7"/>
                      <a:pt x="23" y="7"/>
                    </a:cubicBezTo>
                    <a:cubicBezTo>
                      <a:pt x="23" y="7"/>
                      <a:pt x="23" y="7"/>
                      <a:pt x="23" y="7"/>
                    </a:cubicBezTo>
                    <a:cubicBezTo>
                      <a:pt x="23" y="6"/>
                      <a:pt x="23" y="6"/>
                      <a:pt x="23" y="6"/>
                    </a:cubicBezTo>
                    <a:cubicBezTo>
                      <a:pt x="12" y="17"/>
                      <a:pt x="12" y="17"/>
                      <a:pt x="12" y="17"/>
                    </a:cubicBezTo>
                    <a:cubicBezTo>
                      <a:pt x="12" y="17"/>
                      <a:pt x="12" y="17"/>
                      <a:pt x="12" y="17"/>
                    </a:cubicBezTo>
                    <a:cubicBezTo>
                      <a:pt x="13" y="17"/>
                      <a:pt x="13"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20"/>
                      <a:pt x="13" y="20"/>
                      <a:pt x="13" y="20"/>
                    </a:cubicBezTo>
                    <a:cubicBezTo>
                      <a:pt x="13" y="20"/>
                      <a:pt x="13" y="20"/>
                      <a:pt x="12" y="20"/>
                    </a:cubicBezTo>
                    <a:cubicBezTo>
                      <a:pt x="12" y="20"/>
                      <a:pt x="12" y="21"/>
                      <a:pt x="12" y="21"/>
                    </a:cubicBezTo>
                    <a:cubicBezTo>
                      <a:pt x="12" y="21"/>
                      <a:pt x="12" y="22"/>
                      <a:pt x="12" y="22"/>
                    </a:cubicBezTo>
                    <a:cubicBezTo>
                      <a:pt x="23" y="11"/>
                      <a:pt x="23" y="11"/>
                      <a:pt x="23" y="11"/>
                    </a:cubicBezTo>
                    <a:cubicBezTo>
                      <a:pt x="23" y="11"/>
                      <a:pt x="23" y="11"/>
                      <a:pt x="23" y="11"/>
                    </a:cubicBezTo>
                    <a:close/>
                    <a:moveTo>
                      <a:pt x="18" y="21"/>
                    </a:moveTo>
                    <a:cubicBezTo>
                      <a:pt x="18" y="21"/>
                      <a:pt x="18" y="21"/>
                      <a:pt x="18" y="21"/>
                    </a:cubicBezTo>
                    <a:cubicBezTo>
                      <a:pt x="18" y="21"/>
                      <a:pt x="18" y="21"/>
                      <a:pt x="18" y="21"/>
                    </a:cubicBezTo>
                    <a:cubicBezTo>
                      <a:pt x="19" y="21"/>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20"/>
                    </a:cubicBezTo>
                    <a:cubicBezTo>
                      <a:pt x="19" y="20"/>
                      <a:pt x="19" y="20"/>
                      <a:pt x="19" y="20"/>
                    </a:cubicBezTo>
                    <a:cubicBezTo>
                      <a:pt x="19" y="20"/>
                      <a:pt x="19" y="20"/>
                      <a:pt x="19" y="20"/>
                    </a:cubicBezTo>
                    <a:cubicBezTo>
                      <a:pt x="17" y="21"/>
                      <a:pt x="17" y="21"/>
                      <a:pt x="17" y="21"/>
                    </a:cubicBezTo>
                    <a:cubicBezTo>
                      <a:pt x="18" y="21"/>
                      <a:pt x="18" y="21"/>
                      <a:pt x="18" y="21"/>
                    </a:cubicBezTo>
                    <a:close/>
                    <a:moveTo>
                      <a:pt x="20" y="5"/>
                    </a:moveTo>
                    <a:cubicBezTo>
                      <a:pt x="20" y="5"/>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8" y="4"/>
                    </a:cubicBezTo>
                    <a:cubicBezTo>
                      <a:pt x="18" y="4"/>
                      <a:pt x="18" y="4"/>
                      <a:pt x="17" y="4"/>
                    </a:cubicBezTo>
                    <a:cubicBezTo>
                      <a:pt x="17" y="4"/>
                      <a:pt x="17" y="4"/>
                      <a:pt x="17" y="4"/>
                    </a:cubicBezTo>
                    <a:cubicBezTo>
                      <a:pt x="6" y="14"/>
                      <a:pt x="6" y="14"/>
                      <a:pt x="6" y="14"/>
                    </a:cubicBezTo>
                    <a:cubicBezTo>
                      <a:pt x="6" y="15"/>
                      <a:pt x="7" y="15"/>
                      <a:pt x="8" y="15"/>
                    </a:cubicBezTo>
                    <a:cubicBezTo>
                      <a:pt x="8" y="15"/>
                      <a:pt x="9" y="15"/>
                      <a:pt x="9" y="15"/>
                    </a:cubicBezTo>
                    <a:cubicBezTo>
                      <a:pt x="20" y="5"/>
                      <a:pt x="20" y="5"/>
                      <a:pt x="20" y="5"/>
                    </a:cubicBezTo>
                    <a:cubicBezTo>
                      <a:pt x="20" y="5"/>
                      <a:pt x="20" y="5"/>
                      <a:pt x="20" y="5"/>
                    </a:cubicBezTo>
                    <a:close/>
                    <a:moveTo>
                      <a:pt x="1" y="4"/>
                    </a:moveTo>
                    <a:cubicBezTo>
                      <a:pt x="1" y="4"/>
                      <a:pt x="1"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0" y="5"/>
                      <a:pt x="0" y="5"/>
                      <a:pt x="0" y="5"/>
                    </a:cubicBezTo>
                    <a:cubicBezTo>
                      <a:pt x="0" y="5"/>
                      <a:pt x="0" y="5"/>
                      <a:pt x="0" y="5"/>
                    </a:cubicBezTo>
                    <a:cubicBezTo>
                      <a:pt x="0" y="5"/>
                      <a:pt x="0" y="5"/>
                      <a:pt x="0" y="5"/>
                    </a:cubicBezTo>
                    <a:cubicBezTo>
                      <a:pt x="0" y="6"/>
                      <a:pt x="1" y="6"/>
                      <a:pt x="1" y="6"/>
                    </a:cubicBezTo>
                    <a:cubicBezTo>
                      <a:pt x="2" y="5"/>
                      <a:pt x="2" y="5"/>
                      <a:pt x="2" y="5"/>
                    </a:cubicBezTo>
                    <a:cubicBezTo>
                      <a:pt x="2" y="4"/>
                      <a:pt x="2" y="4"/>
                      <a:pt x="1" y="4"/>
                    </a:cubicBezTo>
                    <a:close/>
                    <a:moveTo>
                      <a:pt x="3" y="4"/>
                    </a:moveTo>
                    <a:cubicBezTo>
                      <a:pt x="3" y="4"/>
                      <a:pt x="3" y="4"/>
                      <a:pt x="3" y="4"/>
                    </a:cubicBezTo>
                    <a:cubicBezTo>
                      <a:pt x="3" y="4"/>
                      <a:pt x="3" y="4"/>
                      <a:pt x="3" y="4"/>
                    </a:cubicBezTo>
                    <a:cubicBezTo>
                      <a:pt x="3" y="4"/>
                      <a:pt x="3" y="4"/>
                      <a:pt x="3" y="4"/>
                    </a:cubicBezTo>
                    <a:close/>
                    <a:moveTo>
                      <a:pt x="14" y="1"/>
                    </a:moveTo>
                    <a:cubicBezTo>
                      <a:pt x="14" y="1"/>
                      <a:pt x="14" y="1"/>
                      <a:pt x="14" y="1"/>
                    </a:cubicBezTo>
                    <a:cubicBezTo>
                      <a:pt x="14" y="1"/>
                      <a:pt x="14" y="1"/>
                      <a:pt x="14" y="1"/>
                    </a:cubicBezTo>
                    <a:cubicBezTo>
                      <a:pt x="14" y="1"/>
                      <a:pt x="14" y="1"/>
                      <a:pt x="14" y="1"/>
                    </a:cubicBezTo>
                    <a:cubicBezTo>
                      <a:pt x="14" y="1"/>
                      <a:pt x="14" y="1"/>
                      <a:pt x="14" y="1"/>
                    </a:cubicBezTo>
                    <a:cubicBezTo>
                      <a:pt x="14" y="0"/>
                      <a:pt x="14" y="0"/>
                      <a:pt x="14" y="0"/>
                    </a:cubicBezTo>
                    <a:cubicBezTo>
                      <a:pt x="14" y="0"/>
                      <a:pt x="14" y="0"/>
                      <a:pt x="14" y="0"/>
                    </a:cubicBezTo>
                    <a:cubicBezTo>
                      <a:pt x="14" y="0"/>
                      <a:pt x="14" y="0"/>
                      <a:pt x="14" y="0"/>
                    </a:cubicBezTo>
                    <a:cubicBezTo>
                      <a:pt x="13" y="0"/>
                      <a:pt x="13" y="0"/>
                      <a:pt x="13" y="0"/>
                    </a:cubicBezTo>
                    <a:cubicBezTo>
                      <a:pt x="13" y="0"/>
                      <a:pt x="12" y="0"/>
                      <a:pt x="12" y="0"/>
                    </a:cubicBezTo>
                    <a:cubicBezTo>
                      <a:pt x="12" y="0"/>
                      <a:pt x="11" y="0"/>
                      <a:pt x="11" y="0"/>
                    </a:cubicBezTo>
                    <a:cubicBezTo>
                      <a:pt x="3" y="8"/>
                      <a:pt x="3" y="8"/>
                      <a:pt x="3" y="8"/>
                    </a:cubicBezTo>
                    <a:cubicBezTo>
                      <a:pt x="3" y="9"/>
                      <a:pt x="3" y="9"/>
                      <a:pt x="3" y="9"/>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5" y="11"/>
                    </a:cubicBezTo>
                    <a:cubicBezTo>
                      <a:pt x="15" y="1"/>
                      <a:pt x="15" y="1"/>
                      <a:pt x="15" y="1"/>
                    </a:cubicBezTo>
                    <a:cubicBezTo>
                      <a:pt x="14" y="1"/>
                      <a:pt x="14" y="1"/>
                      <a:pt x="14"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2" name="India">
                <a:extLst>
                  <a:ext uri="{FF2B5EF4-FFF2-40B4-BE49-F238E27FC236}">
                    <a16:creationId xmlns:a16="http://schemas.microsoft.com/office/drawing/2014/main" id="{B844A576-EC01-3F6F-2A5A-88DF255553EE}"/>
                  </a:ext>
                </a:extLst>
              </p:cNvPr>
              <p:cNvSpPr>
                <a:spLocks noEditPoints="1"/>
              </p:cNvSpPr>
              <p:nvPr/>
            </p:nvSpPr>
            <p:spPr bwMode="auto">
              <a:xfrm>
                <a:off x="7988308" y="2661339"/>
                <a:ext cx="952719" cy="1120327"/>
              </a:xfrm>
              <a:custGeom>
                <a:avLst/>
                <a:gdLst/>
                <a:ahLst/>
                <a:cxnLst>
                  <a:cxn ang="0">
                    <a:pos x="258" y="296"/>
                  </a:cxn>
                  <a:cxn ang="0">
                    <a:pos x="253" y="299"/>
                  </a:cxn>
                  <a:cxn ang="0">
                    <a:pos x="247" y="249"/>
                  </a:cxn>
                  <a:cxn ang="0">
                    <a:pos x="256" y="302"/>
                  </a:cxn>
                  <a:cxn ang="0">
                    <a:pos x="248" y="257"/>
                  </a:cxn>
                  <a:cxn ang="0">
                    <a:pos x="249" y="256"/>
                  </a:cxn>
                  <a:cxn ang="0">
                    <a:pos x="192" y="152"/>
                  </a:cxn>
                  <a:cxn ang="0">
                    <a:pos x="64" y="280"/>
                  </a:cxn>
                  <a:cxn ang="0">
                    <a:pos x="64" y="271"/>
                  </a:cxn>
                  <a:cxn ang="0">
                    <a:pos x="256" y="94"/>
                  </a:cxn>
                  <a:cxn ang="0">
                    <a:pos x="249" y="118"/>
                  </a:cxn>
                  <a:cxn ang="0">
                    <a:pos x="238" y="140"/>
                  </a:cxn>
                  <a:cxn ang="0">
                    <a:pos x="231" y="137"/>
                  </a:cxn>
                  <a:cxn ang="0">
                    <a:pos x="218" y="130"/>
                  </a:cxn>
                  <a:cxn ang="0">
                    <a:pos x="225" y="114"/>
                  </a:cxn>
                  <a:cxn ang="0">
                    <a:pos x="200" y="103"/>
                  </a:cxn>
                  <a:cxn ang="0">
                    <a:pos x="187" y="99"/>
                  </a:cxn>
                  <a:cxn ang="0">
                    <a:pos x="192" y="113"/>
                  </a:cxn>
                  <a:cxn ang="0">
                    <a:pos x="197" y="135"/>
                  </a:cxn>
                  <a:cxn ang="0">
                    <a:pos x="198" y="149"/>
                  </a:cxn>
                  <a:cxn ang="0">
                    <a:pos x="195" y="153"/>
                  </a:cxn>
                  <a:cxn ang="0">
                    <a:pos x="182" y="162"/>
                  </a:cxn>
                  <a:cxn ang="0">
                    <a:pos x="170" y="174"/>
                  </a:cxn>
                  <a:cxn ang="0">
                    <a:pos x="164" y="180"/>
                  </a:cxn>
                  <a:cxn ang="0">
                    <a:pos x="143" y="208"/>
                  </a:cxn>
                  <a:cxn ang="0">
                    <a:pos x="124" y="220"/>
                  </a:cxn>
                  <a:cxn ang="0">
                    <a:pos x="124" y="241"/>
                  </a:cxn>
                  <a:cxn ang="0">
                    <a:pos x="122" y="277"/>
                  </a:cxn>
                  <a:cxn ang="0">
                    <a:pos x="98" y="298"/>
                  </a:cxn>
                  <a:cxn ang="0">
                    <a:pos x="91" y="284"/>
                  </a:cxn>
                  <a:cxn ang="0">
                    <a:pos x="80" y="260"/>
                  </a:cxn>
                  <a:cxn ang="0">
                    <a:pos x="72" y="240"/>
                  </a:cxn>
                  <a:cxn ang="0">
                    <a:pos x="63" y="222"/>
                  </a:cxn>
                  <a:cxn ang="0">
                    <a:pos x="57" y="207"/>
                  </a:cxn>
                  <a:cxn ang="0">
                    <a:pos x="51" y="187"/>
                  </a:cxn>
                  <a:cxn ang="0">
                    <a:pos x="49" y="180"/>
                  </a:cxn>
                  <a:cxn ang="0">
                    <a:pos x="48" y="161"/>
                  </a:cxn>
                  <a:cxn ang="0">
                    <a:pos x="46" y="152"/>
                  </a:cxn>
                  <a:cxn ang="0">
                    <a:pos x="40" y="145"/>
                  </a:cxn>
                  <a:cxn ang="0">
                    <a:pos x="36" y="160"/>
                  </a:cxn>
                  <a:cxn ang="0">
                    <a:pos x="16" y="144"/>
                  </a:cxn>
                  <a:cxn ang="0">
                    <a:pos x="3" y="133"/>
                  </a:cxn>
                  <a:cxn ang="0">
                    <a:pos x="5" y="124"/>
                  </a:cxn>
                  <a:cxn ang="0">
                    <a:pos x="26" y="119"/>
                  </a:cxn>
                  <a:cxn ang="0">
                    <a:pos x="20" y="86"/>
                  </a:cxn>
                  <a:cxn ang="0">
                    <a:pos x="46" y="53"/>
                  </a:cxn>
                  <a:cxn ang="0">
                    <a:pos x="52" y="34"/>
                  </a:cxn>
                  <a:cxn ang="0">
                    <a:pos x="35" y="12"/>
                  </a:cxn>
                  <a:cxn ang="0">
                    <a:pos x="70" y="0"/>
                  </a:cxn>
                  <a:cxn ang="0">
                    <a:pos x="91" y="30"/>
                  </a:cxn>
                  <a:cxn ang="0">
                    <a:pos x="87" y="42"/>
                  </a:cxn>
                  <a:cxn ang="0">
                    <a:pos x="102" y="52"/>
                  </a:cxn>
                  <a:cxn ang="0">
                    <a:pos x="106" y="70"/>
                  </a:cxn>
                  <a:cxn ang="0">
                    <a:pos x="123" y="84"/>
                  </a:cxn>
                  <a:cxn ang="0">
                    <a:pos x="149" y="90"/>
                  </a:cxn>
                  <a:cxn ang="0">
                    <a:pos x="172" y="100"/>
                  </a:cxn>
                  <a:cxn ang="0">
                    <a:pos x="186" y="82"/>
                  </a:cxn>
                  <a:cxn ang="0">
                    <a:pos x="200" y="97"/>
                  </a:cxn>
                  <a:cxn ang="0">
                    <a:pos x="216" y="88"/>
                  </a:cxn>
                  <a:cxn ang="0">
                    <a:pos x="234" y="74"/>
                  </a:cxn>
                  <a:cxn ang="0">
                    <a:pos x="254" y="67"/>
                  </a:cxn>
                  <a:cxn ang="0">
                    <a:pos x="266" y="79"/>
                  </a:cxn>
                </a:cxnLst>
                <a:rect l="0" t="0" r="r" b="b"/>
                <a:pathLst>
                  <a:path w="269" h="316">
                    <a:moveTo>
                      <a:pt x="258" y="302"/>
                    </a:moveTo>
                    <a:cubicBezTo>
                      <a:pt x="258" y="303"/>
                      <a:pt x="258" y="303"/>
                      <a:pt x="258" y="303"/>
                    </a:cubicBezTo>
                    <a:cubicBezTo>
                      <a:pt x="257" y="303"/>
                      <a:pt x="258" y="302"/>
                      <a:pt x="258" y="302"/>
                    </a:cubicBezTo>
                    <a:close/>
                    <a:moveTo>
                      <a:pt x="260" y="310"/>
                    </a:moveTo>
                    <a:cubicBezTo>
                      <a:pt x="260" y="309"/>
                      <a:pt x="260" y="309"/>
                      <a:pt x="260" y="309"/>
                    </a:cubicBezTo>
                    <a:cubicBezTo>
                      <a:pt x="260" y="309"/>
                      <a:pt x="260" y="309"/>
                      <a:pt x="260" y="309"/>
                    </a:cubicBezTo>
                    <a:cubicBezTo>
                      <a:pt x="260" y="309"/>
                      <a:pt x="258" y="309"/>
                      <a:pt x="259" y="310"/>
                    </a:cubicBezTo>
                    <a:cubicBezTo>
                      <a:pt x="259" y="311"/>
                      <a:pt x="260" y="310"/>
                      <a:pt x="260" y="310"/>
                    </a:cubicBezTo>
                    <a:close/>
                    <a:moveTo>
                      <a:pt x="257" y="300"/>
                    </a:moveTo>
                    <a:cubicBezTo>
                      <a:pt x="257" y="301"/>
                      <a:pt x="257" y="301"/>
                      <a:pt x="257" y="301"/>
                    </a:cubicBezTo>
                    <a:cubicBezTo>
                      <a:pt x="257" y="302"/>
                      <a:pt x="258" y="301"/>
                      <a:pt x="258" y="302"/>
                    </a:cubicBezTo>
                    <a:cubicBezTo>
                      <a:pt x="257" y="302"/>
                      <a:pt x="257" y="302"/>
                      <a:pt x="257" y="302"/>
                    </a:cubicBezTo>
                    <a:cubicBezTo>
                      <a:pt x="258" y="303"/>
                      <a:pt x="258" y="300"/>
                      <a:pt x="258" y="300"/>
                    </a:cubicBezTo>
                    <a:cubicBezTo>
                      <a:pt x="258" y="300"/>
                      <a:pt x="257" y="300"/>
                      <a:pt x="257" y="300"/>
                    </a:cubicBezTo>
                    <a:close/>
                    <a:moveTo>
                      <a:pt x="249" y="240"/>
                    </a:moveTo>
                    <a:cubicBezTo>
                      <a:pt x="249" y="240"/>
                      <a:pt x="248" y="240"/>
                      <a:pt x="249" y="240"/>
                    </a:cubicBezTo>
                    <a:cubicBezTo>
                      <a:pt x="249" y="240"/>
                      <a:pt x="249" y="240"/>
                      <a:pt x="249" y="240"/>
                    </a:cubicBezTo>
                    <a:close/>
                    <a:moveTo>
                      <a:pt x="258" y="296"/>
                    </a:moveTo>
                    <a:cubicBezTo>
                      <a:pt x="258" y="297"/>
                      <a:pt x="258" y="297"/>
                      <a:pt x="258" y="298"/>
                    </a:cubicBezTo>
                    <a:cubicBezTo>
                      <a:pt x="259" y="297"/>
                      <a:pt x="259" y="297"/>
                      <a:pt x="258" y="296"/>
                    </a:cubicBezTo>
                    <a:cubicBezTo>
                      <a:pt x="258" y="296"/>
                      <a:pt x="258" y="296"/>
                      <a:pt x="258" y="296"/>
                    </a:cubicBezTo>
                    <a:close/>
                    <a:moveTo>
                      <a:pt x="261" y="243"/>
                    </a:moveTo>
                    <a:cubicBezTo>
                      <a:pt x="261" y="243"/>
                      <a:pt x="261" y="243"/>
                      <a:pt x="261" y="243"/>
                    </a:cubicBezTo>
                    <a:close/>
                    <a:moveTo>
                      <a:pt x="243" y="263"/>
                    </a:moveTo>
                    <a:cubicBezTo>
                      <a:pt x="243" y="263"/>
                      <a:pt x="243" y="264"/>
                      <a:pt x="243" y="264"/>
                    </a:cubicBezTo>
                    <a:cubicBezTo>
                      <a:pt x="244" y="264"/>
                      <a:pt x="243" y="263"/>
                      <a:pt x="243" y="263"/>
                    </a:cubicBezTo>
                    <a:cubicBezTo>
                      <a:pt x="243" y="263"/>
                      <a:pt x="243" y="263"/>
                      <a:pt x="243" y="263"/>
                    </a:cubicBezTo>
                    <a:close/>
                    <a:moveTo>
                      <a:pt x="247" y="248"/>
                    </a:moveTo>
                    <a:cubicBezTo>
                      <a:pt x="246" y="247"/>
                      <a:pt x="246" y="248"/>
                      <a:pt x="246" y="248"/>
                    </a:cubicBezTo>
                    <a:cubicBezTo>
                      <a:pt x="246" y="249"/>
                      <a:pt x="246" y="249"/>
                      <a:pt x="246" y="250"/>
                    </a:cubicBezTo>
                    <a:cubicBezTo>
                      <a:pt x="247" y="249"/>
                      <a:pt x="247" y="248"/>
                      <a:pt x="247" y="248"/>
                    </a:cubicBezTo>
                    <a:close/>
                    <a:moveTo>
                      <a:pt x="258" y="255"/>
                    </a:moveTo>
                    <a:cubicBezTo>
                      <a:pt x="258" y="255"/>
                      <a:pt x="258" y="255"/>
                      <a:pt x="258" y="255"/>
                    </a:cubicBezTo>
                    <a:close/>
                    <a:moveTo>
                      <a:pt x="251" y="257"/>
                    </a:moveTo>
                    <a:cubicBezTo>
                      <a:pt x="251" y="257"/>
                      <a:pt x="251" y="257"/>
                      <a:pt x="251" y="257"/>
                    </a:cubicBezTo>
                    <a:cubicBezTo>
                      <a:pt x="251" y="257"/>
                      <a:pt x="251" y="257"/>
                      <a:pt x="251" y="257"/>
                    </a:cubicBezTo>
                    <a:close/>
                    <a:moveTo>
                      <a:pt x="250" y="290"/>
                    </a:moveTo>
                    <a:cubicBezTo>
                      <a:pt x="250" y="290"/>
                      <a:pt x="250" y="289"/>
                      <a:pt x="250" y="289"/>
                    </a:cubicBezTo>
                    <a:cubicBezTo>
                      <a:pt x="250" y="288"/>
                      <a:pt x="249" y="290"/>
                      <a:pt x="250" y="290"/>
                    </a:cubicBezTo>
                    <a:close/>
                    <a:moveTo>
                      <a:pt x="253" y="299"/>
                    </a:moveTo>
                    <a:cubicBezTo>
                      <a:pt x="253" y="299"/>
                      <a:pt x="254" y="300"/>
                      <a:pt x="254" y="300"/>
                    </a:cubicBezTo>
                    <a:cubicBezTo>
                      <a:pt x="254" y="300"/>
                      <a:pt x="253" y="299"/>
                      <a:pt x="253" y="299"/>
                    </a:cubicBezTo>
                    <a:cubicBezTo>
                      <a:pt x="253" y="298"/>
                      <a:pt x="253" y="299"/>
                      <a:pt x="253" y="299"/>
                    </a:cubicBezTo>
                    <a:close/>
                    <a:moveTo>
                      <a:pt x="262" y="311"/>
                    </a:moveTo>
                    <a:cubicBezTo>
                      <a:pt x="261" y="310"/>
                      <a:pt x="259" y="312"/>
                      <a:pt x="259" y="313"/>
                    </a:cubicBezTo>
                    <a:cubicBezTo>
                      <a:pt x="260" y="313"/>
                      <a:pt x="260" y="313"/>
                      <a:pt x="260" y="313"/>
                    </a:cubicBezTo>
                    <a:cubicBezTo>
                      <a:pt x="260" y="314"/>
                      <a:pt x="261" y="314"/>
                      <a:pt x="261" y="314"/>
                    </a:cubicBezTo>
                    <a:cubicBezTo>
                      <a:pt x="261" y="315"/>
                      <a:pt x="261" y="316"/>
                      <a:pt x="261" y="316"/>
                    </a:cubicBezTo>
                    <a:cubicBezTo>
                      <a:pt x="262" y="316"/>
                      <a:pt x="262" y="315"/>
                      <a:pt x="262" y="315"/>
                    </a:cubicBezTo>
                    <a:cubicBezTo>
                      <a:pt x="262" y="314"/>
                      <a:pt x="262" y="313"/>
                      <a:pt x="262" y="313"/>
                    </a:cubicBezTo>
                    <a:cubicBezTo>
                      <a:pt x="262" y="312"/>
                      <a:pt x="262" y="312"/>
                      <a:pt x="262" y="311"/>
                    </a:cubicBezTo>
                    <a:close/>
                    <a:moveTo>
                      <a:pt x="246" y="271"/>
                    </a:moveTo>
                    <a:cubicBezTo>
                      <a:pt x="245" y="271"/>
                      <a:pt x="245" y="271"/>
                      <a:pt x="245" y="272"/>
                    </a:cubicBezTo>
                    <a:cubicBezTo>
                      <a:pt x="244" y="272"/>
                      <a:pt x="245" y="273"/>
                      <a:pt x="245" y="273"/>
                    </a:cubicBezTo>
                    <a:cubicBezTo>
                      <a:pt x="245" y="274"/>
                      <a:pt x="245" y="274"/>
                      <a:pt x="245" y="274"/>
                    </a:cubicBezTo>
                    <a:cubicBezTo>
                      <a:pt x="245" y="274"/>
                      <a:pt x="246" y="275"/>
                      <a:pt x="246" y="274"/>
                    </a:cubicBezTo>
                    <a:cubicBezTo>
                      <a:pt x="247" y="274"/>
                      <a:pt x="246" y="274"/>
                      <a:pt x="247" y="273"/>
                    </a:cubicBezTo>
                    <a:cubicBezTo>
                      <a:pt x="247" y="273"/>
                      <a:pt x="247" y="272"/>
                      <a:pt x="247" y="272"/>
                    </a:cubicBezTo>
                    <a:cubicBezTo>
                      <a:pt x="247" y="272"/>
                      <a:pt x="246" y="270"/>
                      <a:pt x="246" y="271"/>
                    </a:cubicBezTo>
                    <a:close/>
                    <a:moveTo>
                      <a:pt x="247" y="249"/>
                    </a:moveTo>
                    <a:cubicBezTo>
                      <a:pt x="248" y="248"/>
                      <a:pt x="248" y="249"/>
                      <a:pt x="248" y="248"/>
                    </a:cubicBezTo>
                    <a:cubicBezTo>
                      <a:pt x="248" y="247"/>
                      <a:pt x="248" y="248"/>
                      <a:pt x="249" y="248"/>
                    </a:cubicBezTo>
                    <a:cubicBezTo>
                      <a:pt x="249" y="248"/>
                      <a:pt x="248" y="247"/>
                      <a:pt x="249" y="247"/>
                    </a:cubicBezTo>
                    <a:cubicBezTo>
                      <a:pt x="249" y="247"/>
                      <a:pt x="249" y="247"/>
                      <a:pt x="250" y="247"/>
                    </a:cubicBezTo>
                    <a:cubicBezTo>
                      <a:pt x="250" y="246"/>
                      <a:pt x="249" y="246"/>
                      <a:pt x="249" y="245"/>
                    </a:cubicBezTo>
                    <a:cubicBezTo>
                      <a:pt x="250" y="244"/>
                      <a:pt x="250" y="245"/>
                      <a:pt x="249" y="244"/>
                    </a:cubicBezTo>
                    <a:cubicBezTo>
                      <a:pt x="249" y="244"/>
                      <a:pt x="248" y="244"/>
                      <a:pt x="249" y="244"/>
                    </a:cubicBezTo>
                    <a:cubicBezTo>
                      <a:pt x="249" y="244"/>
                      <a:pt x="249" y="244"/>
                      <a:pt x="249" y="243"/>
                    </a:cubicBezTo>
                    <a:cubicBezTo>
                      <a:pt x="250" y="243"/>
                      <a:pt x="249" y="243"/>
                      <a:pt x="249" y="243"/>
                    </a:cubicBezTo>
                    <a:cubicBezTo>
                      <a:pt x="249" y="242"/>
                      <a:pt x="249" y="241"/>
                      <a:pt x="249" y="241"/>
                    </a:cubicBezTo>
                    <a:cubicBezTo>
                      <a:pt x="249" y="242"/>
                      <a:pt x="248" y="241"/>
                      <a:pt x="248" y="241"/>
                    </a:cubicBezTo>
                    <a:cubicBezTo>
                      <a:pt x="248" y="242"/>
                      <a:pt x="248" y="242"/>
                      <a:pt x="248" y="242"/>
                    </a:cubicBezTo>
                    <a:cubicBezTo>
                      <a:pt x="248" y="242"/>
                      <a:pt x="248" y="243"/>
                      <a:pt x="248" y="243"/>
                    </a:cubicBezTo>
                    <a:cubicBezTo>
                      <a:pt x="247" y="243"/>
                      <a:pt x="247" y="244"/>
                      <a:pt x="247" y="244"/>
                    </a:cubicBezTo>
                    <a:cubicBezTo>
                      <a:pt x="247" y="245"/>
                      <a:pt x="248" y="245"/>
                      <a:pt x="247" y="246"/>
                    </a:cubicBezTo>
                    <a:cubicBezTo>
                      <a:pt x="247" y="247"/>
                      <a:pt x="247" y="248"/>
                      <a:pt x="247" y="249"/>
                    </a:cubicBezTo>
                    <a:close/>
                    <a:moveTo>
                      <a:pt x="256" y="303"/>
                    </a:moveTo>
                    <a:cubicBezTo>
                      <a:pt x="256" y="303"/>
                      <a:pt x="256" y="303"/>
                      <a:pt x="256" y="303"/>
                    </a:cubicBezTo>
                    <a:cubicBezTo>
                      <a:pt x="256" y="304"/>
                      <a:pt x="257" y="304"/>
                      <a:pt x="257" y="304"/>
                    </a:cubicBezTo>
                    <a:cubicBezTo>
                      <a:pt x="258" y="303"/>
                      <a:pt x="257" y="303"/>
                      <a:pt x="256" y="302"/>
                    </a:cubicBezTo>
                    <a:cubicBezTo>
                      <a:pt x="256" y="302"/>
                      <a:pt x="256" y="303"/>
                      <a:pt x="256" y="303"/>
                    </a:cubicBezTo>
                    <a:close/>
                    <a:moveTo>
                      <a:pt x="247" y="264"/>
                    </a:moveTo>
                    <a:cubicBezTo>
                      <a:pt x="247" y="264"/>
                      <a:pt x="247" y="265"/>
                      <a:pt x="247" y="265"/>
                    </a:cubicBezTo>
                    <a:cubicBezTo>
                      <a:pt x="248" y="265"/>
                      <a:pt x="248" y="264"/>
                      <a:pt x="247" y="264"/>
                    </a:cubicBezTo>
                    <a:close/>
                    <a:moveTo>
                      <a:pt x="250" y="258"/>
                    </a:moveTo>
                    <a:cubicBezTo>
                      <a:pt x="249" y="259"/>
                      <a:pt x="250" y="259"/>
                      <a:pt x="250" y="259"/>
                    </a:cubicBezTo>
                    <a:cubicBezTo>
                      <a:pt x="250" y="259"/>
                      <a:pt x="251" y="260"/>
                      <a:pt x="251" y="259"/>
                    </a:cubicBezTo>
                    <a:cubicBezTo>
                      <a:pt x="251" y="259"/>
                      <a:pt x="250" y="259"/>
                      <a:pt x="250" y="258"/>
                    </a:cubicBezTo>
                    <a:cubicBezTo>
                      <a:pt x="250" y="258"/>
                      <a:pt x="250" y="258"/>
                      <a:pt x="250" y="258"/>
                    </a:cubicBezTo>
                    <a:close/>
                    <a:moveTo>
                      <a:pt x="249" y="251"/>
                    </a:moveTo>
                    <a:cubicBezTo>
                      <a:pt x="249" y="250"/>
                      <a:pt x="249" y="248"/>
                      <a:pt x="248" y="249"/>
                    </a:cubicBezTo>
                    <a:cubicBezTo>
                      <a:pt x="248" y="249"/>
                      <a:pt x="247" y="248"/>
                      <a:pt x="247" y="249"/>
                    </a:cubicBezTo>
                    <a:cubicBezTo>
                      <a:pt x="248" y="249"/>
                      <a:pt x="247" y="249"/>
                      <a:pt x="247" y="250"/>
                    </a:cubicBezTo>
                    <a:cubicBezTo>
                      <a:pt x="247" y="250"/>
                      <a:pt x="247" y="251"/>
                      <a:pt x="247" y="251"/>
                    </a:cubicBezTo>
                    <a:cubicBezTo>
                      <a:pt x="247" y="252"/>
                      <a:pt x="247" y="252"/>
                      <a:pt x="247" y="253"/>
                    </a:cubicBezTo>
                    <a:cubicBezTo>
                      <a:pt x="247" y="254"/>
                      <a:pt x="247" y="255"/>
                      <a:pt x="248" y="255"/>
                    </a:cubicBezTo>
                    <a:cubicBezTo>
                      <a:pt x="248" y="255"/>
                      <a:pt x="248" y="255"/>
                      <a:pt x="248" y="255"/>
                    </a:cubicBezTo>
                    <a:cubicBezTo>
                      <a:pt x="248" y="255"/>
                      <a:pt x="248" y="255"/>
                      <a:pt x="247" y="255"/>
                    </a:cubicBezTo>
                    <a:cubicBezTo>
                      <a:pt x="248" y="256"/>
                      <a:pt x="248" y="256"/>
                      <a:pt x="248" y="256"/>
                    </a:cubicBezTo>
                    <a:cubicBezTo>
                      <a:pt x="248" y="257"/>
                      <a:pt x="248" y="257"/>
                      <a:pt x="248" y="257"/>
                    </a:cubicBezTo>
                    <a:cubicBezTo>
                      <a:pt x="248" y="257"/>
                      <a:pt x="248" y="257"/>
                      <a:pt x="247" y="256"/>
                    </a:cubicBezTo>
                    <a:cubicBezTo>
                      <a:pt x="247" y="256"/>
                      <a:pt x="247" y="256"/>
                      <a:pt x="247" y="256"/>
                    </a:cubicBezTo>
                    <a:cubicBezTo>
                      <a:pt x="247" y="256"/>
                      <a:pt x="247" y="256"/>
                      <a:pt x="246" y="257"/>
                    </a:cubicBezTo>
                    <a:cubicBezTo>
                      <a:pt x="246" y="257"/>
                      <a:pt x="246" y="258"/>
                      <a:pt x="246" y="258"/>
                    </a:cubicBezTo>
                    <a:cubicBezTo>
                      <a:pt x="246" y="258"/>
                      <a:pt x="247" y="259"/>
                      <a:pt x="246" y="260"/>
                    </a:cubicBezTo>
                    <a:cubicBezTo>
                      <a:pt x="246" y="260"/>
                      <a:pt x="246" y="259"/>
                      <a:pt x="246" y="259"/>
                    </a:cubicBezTo>
                    <a:cubicBezTo>
                      <a:pt x="245" y="260"/>
                      <a:pt x="246" y="260"/>
                      <a:pt x="246" y="261"/>
                    </a:cubicBezTo>
                    <a:cubicBezTo>
                      <a:pt x="246" y="261"/>
                      <a:pt x="246" y="262"/>
                      <a:pt x="246" y="262"/>
                    </a:cubicBezTo>
                    <a:cubicBezTo>
                      <a:pt x="246" y="261"/>
                      <a:pt x="246" y="262"/>
                      <a:pt x="246" y="262"/>
                    </a:cubicBezTo>
                    <a:cubicBezTo>
                      <a:pt x="247" y="262"/>
                      <a:pt x="247" y="262"/>
                      <a:pt x="247" y="262"/>
                    </a:cubicBezTo>
                    <a:cubicBezTo>
                      <a:pt x="247" y="263"/>
                      <a:pt x="248" y="265"/>
                      <a:pt x="248" y="263"/>
                    </a:cubicBezTo>
                    <a:cubicBezTo>
                      <a:pt x="248" y="261"/>
                      <a:pt x="247" y="263"/>
                      <a:pt x="247" y="263"/>
                    </a:cubicBezTo>
                    <a:cubicBezTo>
                      <a:pt x="247" y="262"/>
                      <a:pt x="248" y="262"/>
                      <a:pt x="248" y="262"/>
                    </a:cubicBezTo>
                    <a:cubicBezTo>
                      <a:pt x="248" y="261"/>
                      <a:pt x="248" y="261"/>
                      <a:pt x="248" y="260"/>
                    </a:cubicBezTo>
                    <a:cubicBezTo>
                      <a:pt x="248" y="260"/>
                      <a:pt x="248" y="258"/>
                      <a:pt x="248" y="260"/>
                    </a:cubicBezTo>
                    <a:cubicBezTo>
                      <a:pt x="247" y="259"/>
                      <a:pt x="247" y="259"/>
                      <a:pt x="248" y="258"/>
                    </a:cubicBezTo>
                    <a:cubicBezTo>
                      <a:pt x="248" y="258"/>
                      <a:pt x="248" y="258"/>
                      <a:pt x="248" y="258"/>
                    </a:cubicBezTo>
                    <a:cubicBezTo>
                      <a:pt x="248" y="258"/>
                      <a:pt x="248" y="257"/>
                      <a:pt x="248" y="257"/>
                    </a:cubicBezTo>
                    <a:cubicBezTo>
                      <a:pt x="248" y="257"/>
                      <a:pt x="248" y="258"/>
                      <a:pt x="248" y="258"/>
                    </a:cubicBezTo>
                    <a:cubicBezTo>
                      <a:pt x="248" y="257"/>
                      <a:pt x="249" y="256"/>
                      <a:pt x="249" y="256"/>
                    </a:cubicBezTo>
                    <a:cubicBezTo>
                      <a:pt x="249" y="255"/>
                      <a:pt x="249" y="255"/>
                      <a:pt x="248" y="255"/>
                    </a:cubicBezTo>
                    <a:cubicBezTo>
                      <a:pt x="249" y="255"/>
                      <a:pt x="249" y="255"/>
                      <a:pt x="248" y="254"/>
                    </a:cubicBezTo>
                    <a:cubicBezTo>
                      <a:pt x="248" y="254"/>
                      <a:pt x="249" y="253"/>
                      <a:pt x="249" y="254"/>
                    </a:cubicBezTo>
                    <a:cubicBezTo>
                      <a:pt x="250" y="253"/>
                      <a:pt x="249" y="252"/>
                      <a:pt x="249" y="251"/>
                    </a:cubicBezTo>
                    <a:close/>
                    <a:moveTo>
                      <a:pt x="49" y="182"/>
                    </a:moveTo>
                    <a:cubicBezTo>
                      <a:pt x="49" y="182"/>
                      <a:pt x="49" y="182"/>
                      <a:pt x="49" y="182"/>
                    </a:cubicBezTo>
                    <a:cubicBezTo>
                      <a:pt x="49" y="182"/>
                      <a:pt x="49" y="182"/>
                      <a:pt x="49" y="182"/>
                    </a:cubicBezTo>
                    <a:close/>
                    <a:moveTo>
                      <a:pt x="127" y="243"/>
                    </a:moveTo>
                    <a:cubicBezTo>
                      <a:pt x="127" y="243"/>
                      <a:pt x="127" y="243"/>
                      <a:pt x="127" y="243"/>
                    </a:cubicBezTo>
                    <a:cubicBezTo>
                      <a:pt x="127" y="243"/>
                      <a:pt x="127" y="243"/>
                      <a:pt x="127" y="243"/>
                    </a:cubicBezTo>
                    <a:cubicBezTo>
                      <a:pt x="127" y="243"/>
                      <a:pt x="127" y="243"/>
                      <a:pt x="127" y="243"/>
                    </a:cubicBezTo>
                    <a:close/>
                    <a:moveTo>
                      <a:pt x="72" y="243"/>
                    </a:moveTo>
                    <a:cubicBezTo>
                      <a:pt x="72" y="243"/>
                      <a:pt x="72" y="243"/>
                      <a:pt x="72" y="242"/>
                    </a:cubicBezTo>
                    <a:cubicBezTo>
                      <a:pt x="72" y="243"/>
                      <a:pt x="72" y="243"/>
                      <a:pt x="72" y="243"/>
                    </a:cubicBezTo>
                    <a:close/>
                    <a:moveTo>
                      <a:pt x="252" y="236"/>
                    </a:moveTo>
                    <a:cubicBezTo>
                      <a:pt x="252" y="236"/>
                      <a:pt x="252" y="235"/>
                      <a:pt x="252" y="235"/>
                    </a:cubicBezTo>
                    <a:cubicBezTo>
                      <a:pt x="252" y="235"/>
                      <a:pt x="252" y="236"/>
                      <a:pt x="252" y="236"/>
                    </a:cubicBezTo>
                    <a:close/>
                    <a:moveTo>
                      <a:pt x="192" y="150"/>
                    </a:moveTo>
                    <a:cubicBezTo>
                      <a:pt x="192" y="150"/>
                      <a:pt x="191" y="152"/>
                      <a:pt x="191" y="152"/>
                    </a:cubicBezTo>
                    <a:cubicBezTo>
                      <a:pt x="192" y="153"/>
                      <a:pt x="192" y="153"/>
                      <a:pt x="192" y="152"/>
                    </a:cubicBezTo>
                    <a:cubicBezTo>
                      <a:pt x="192" y="151"/>
                      <a:pt x="193" y="151"/>
                      <a:pt x="192" y="150"/>
                    </a:cubicBezTo>
                    <a:close/>
                    <a:moveTo>
                      <a:pt x="199" y="153"/>
                    </a:moveTo>
                    <a:cubicBezTo>
                      <a:pt x="199" y="152"/>
                      <a:pt x="199" y="153"/>
                      <a:pt x="199" y="154"/>
                    </a:cubicBezTo>
                    <a:cubicBezTo>
                      <a:pt x="200" y="154"/>
                      <a:pt x="200" y="153"/>
                      <a:pt x="199" y="153"/>
                    </a:cubicBezTo>
                    <a:close/>
                    <a:moveTo>
                      <a:pt x="192" y="149"/>
                    </a:moveTo>
                    <a:cubicBezTo>
                      <a:pt x="191" y="149"/>
                      <a:pt x="191" y="150"/>
                      <a:pt x="192" y="150"/>
                    </a:cubicBezTo>
                    <a:cubicBezTo>
                      <a:pt x="192" y="150"/>
                      <a:pt x="192" y="149"/>
                      <a:pt x="192" y="149"/>
                    </a:cubicBezTo>
                    <a:close/>
                    <a:moveTo>
                      <a:pt x="254" y="227"/>
                    </a:moveTo>
                    <a:cubicBezTo>
                      <a:pt x="254" y="227"/>
                      <a:pt x="254" y="227"/>
                      <a:pt x="254" y="226"/>
                    </a:cubicBezTo>
                    <a:cubicBezTo>
                      <a:pt x="254" y="226"/>
                      <a:pt x="254" y="227"/>
                      <a:pt x="254" y="227"/>
                    </a:cubicBezTo>
                    <a:close/>
                    <a:moveTo>
                      <a:pt x="55" y="268"/>
                    </a:moveTo>
                    <a:cubicBezTo>
                      <a:pt x="55" y="268"/>
                      <a:pt x="55" y="268"/>
                      <a:pt x="55" y="268"/>
                    </a:cubicBezTo>
                    <a:cubicBezTo>
                      <a:pt x="55" y="268"/>
                      <a:pt x="55" y="268"/>
                      <a:pt x="55" y="268"/>
                    </a:cubicBezTo>
                    <a:close/>
                    <a:moveTo>
                      <a:pt x="51" y="270"/>
                    </a:moveTo>
                    <a:cubicBezTo>
                      <a:pt x="51" y="270"/>
                      <a:pt x="51" y="270"/>
                      <a:pt x="51" y="270"/>
                    </a:cubicBezTo>
                    <a:cubicBezTo>
                      <a:pt x="51" y="270"/>
                      <a:pt x="51" y="270"/>
                      <a:pt x="51" y="270"/>
                    </a:cubicBezTo>
                    <a:close/>
                    <a:moveTo>
                      <a:pt x="54" y="262"/>
                    </a:moveTo>
                    <a:cubicBezTo>
                      <a:pt x="54" y="262"/>
                      <a:pt x="55" y="262"/>
                      <a:pt x="55" y="262"/>
                    </a:cubicBezTo>
                    <a:cubicBezTo>
                      <a:pt x="55" y="262"/>
                      <a:pt x="54" y="262"/>
                      <a:pt x="54" y="262"/>
                    </a:cubicBezTo>
                    <a:close/>
                    <a:moveTo>
                      <a:pt x="64" y="280"/>
                    </a:moveTo>
                    <a:cubicBezTo>
                      <a:pt x="64" y="280"/>
                      <a:pt x="64" y="280"/>
                      <a:pt x="64" y="280"/>
                    </a:cubicBezTo>
                    <a:cubicBezTo>
                      <a:pt x="64" y="280"/>
                      <a:pt x="64" y="280"/>
                      <a:pt x="64" y="279"/>
                    </a:cubicBezTo>
                    <a:cubicBezTo>
                      <a:pt x="64" y="279"/>
                      <a:pt x="64" y="279"/>
                      <a:pt x="64" y="280"/>
                    </a:cubicBezTo>
                    <a:close/>
                    <a:moveTo>
                      <a:pt x="54" y="262"/>
                    </a:moveTo>
                    <a:cubicBezTo>
                      <a:pt x="54" y="262"/>
                      <a:pt x="54" y="262"/>
                      <a:pt x="54" y="262"/>
                    </a:cubicBezTo>
                    <a:cubicBezTo>
                      <a:pt x="54" y="262"/>
                      <a:pt x="54" y="262"/>
                      <a:pt x="54" y="261"/>
                    </a:cubicBezTo>
                    <a:cubicBezTo>
                      <a:pt x="54" y="261"/>
                      <a:pt x="54" y="261"/>
                      <a:pt x="54" y="262"/>
                    </a:cubicBezTo>
                    <a:close/>
                    <a:moveTo>
                      <a:pt x="50" y="271"/>
                    </a:moveTo>
                    <a:cubicBezTo>
                      <a:pt x="50" y="271"/>
                      <a:pt x="50" y="271"/>
                      <a:pt x="50" y="271"/>
                    </a:cubicBezTo>
                    <a:cubicBezTo>
                      <a:pt x="50" y="271"/>
                      <a:pt x="50" y="271"/>
                      <a:pt x="50" y="271"/>
                    </a:cubicBezTo>
                    <a:close/>
                    <a:moveTo>
                      <a:pt x="55" y="274"/>
                    </a:moveTo>
                    <a:cubicBezTo>
                      <a:pt x="55" y="274"/>
                      <a:pt x="54" y="274"/>
                      <a:pt x="54" y="274"/>
                    </a:cubicBezTo>
                    <a:cubicBezTo>
                      <a:pt x="54" y="274"/>
                      <a:pt x="54" y="274"/>
                      <a:pt x="55" y="274"/>
                    </a:cubicBezTo>
                    <a:close/>
                    <a:moveTo>
                      <a:pt x="59" y="299"/>
                    </a:moveTo>
                    <a:cubicBezTo>
                      <a:pt x="59" y="300"/>
                      <a:pt x="60" y="299"/>
                      <a:pt x="60" y="299"/>
                    </a:cubicBezTo>
                    <a:cubicBezTo>
                      <a:pt x="60" y="299"/>
                      <a:pt x="60" y="300"/>
                      <a:pt x="59" y="299"/>
                    </a:cubicBezTo>
                    <a:close/>
                    <a:moveTo>
                      <a:pt x="56" y="267"/>
                    </a:moveTo>
                    <a:cubicBezTo>
                      <a:pt x="55" y="267"/>
                      <a:pt x="55" y="267"/>
                      <a:pt x="55" y="267"/>
                    </a:cubicBezTo>
                    <a:cubicBezTo>
                      <a:pt x="55" y="267"/>
                      <a:pt x="56" y="267"/>
                      <a:pt x="56" y="267"/>
                    </a:cubicBezTo>
                    <a:close/>
                    <a:moveTo>
                      <a:pt x="64" y="271"/>
                    </a:moveTo>
                    <a:cubicBezTo>
                      <a:pt x="64" y="271"/>
                      <a:pt x="64" y="271"/>
                      <a:pt x="64" y="271"/>
                    </a:cubicBezTo>
                    <a:cubicBezTo>
                      <a:pt x="64" y="271"/>
                      <a:pt x="64" y="271"/>
                      <a:pt x="64" y="271"/>
                    </a:cubicBezTo>
                    <a:close/>
                    <a:moveTo>
                      <a:pt x="269" y="84"/>
                    </a:moveTo>
                    <a:cubicBezTo>
                      <a:pt x="268" y="84"/>
                      <a:pt x="268" y="83"/>
                      <a:pt x="268" y="84"/>
                    </a:cubicBezTo>
                    <a:cubicBezTo>
                      <a:pt x="267" y="84"/>
                      <a:pt x="267" y="85"/>
                      <a:pt x="266" y="85"/>
                    </a:cubicBezTo>
                    <a:cubicBezTo>
                      <a:pt x="266" y="85"/>
                      <a:pt x="266" y="85"/>
                      <a:pt x="266" y="85"/>
                    </a:cubicBezTo>
                    <a:cubicBezTo>
                      <a:pt x="266" y="86"/>
                      <a:pt x="266" y="86"/>
                      <a:pt x="266" y="86"/>
                    </a:cubicBezTo>
                    <a:cubicBezTo>
                      <a:pt x="265" y="87"/>
                      <a:pt x="265" y="87"/>
                      <a:pt x="265" y="87"/>
                    </a:cubicBezTo>
                    <a:cubicBezTo>
                      <a:pt x="265" y="88"/>
                      <a:pt x="265" y="89"/>
                      <a:pt x="266" y="89"/>
                    </a:cubicBezTo>
                    <a:cubicBezTo>
                      <a:pt x="266" y="90"/>
                      <a:pt x="267" y="90"/>
                      <a:pt x="267" y="91"/>
                    </a:cubicBezTo>
                    <a:cubicBezTo>
                      <a:pt x="268" y="91"/>
                      <a:pt x="269" y="93"/>
                      <a:pt x="268" y="92"/>
                    </a:cubicBezTo>
                    <a:cubicBezTo>
                      <a:pt x="267" y="92"/>
                      <a:pt x="267" y="92"/>
                      <a:pt x="266" y="92"/>
                    </a:cubicBezTo>
                    <a:cubicBezTo>
                      <a:pt x="266" y="92"/>
                      <a:pt x="266" y="91"/>
                      <a:pt x="266" y="91"/>
                    </a:cubicBezTo>
                    <a:cubicBezTo>
                      <a:pt x="265" y="90"/>
                      <a:pt x="265" y="90"/>
                      <a:pt x="264" y="90"/>
                    </a:cubicBezTo>
                    <a:cubicBezTo>
                      <a:pt x="264" y="89"/>
                      <a:pt x="264" y="90"/>
                      <a:pt x="263" y="90"/>
                    </a:cubicBezTo>
                    <a:cubicBezTo>
                      <a:pt x="263" y="89"/>
                      <a:pt x="262" y="90"/>
                      <a:pt x="262" y="90"/>
                    </a:cubicBezTo>
                    <a:cubicBezTo>
                      <a:pt x="261" y="90"/>
                      <a:pt x="260" y="90"/>
                      <a:pt x="259" y="91"/>
                    </a:cubicBezTo>
                    <a:cubicBezTo>
                      <a:pt x="258" y="91"/>
                      <a:pt x="258" y="91"/>
                      <a:pt x="258" y="92"/>
                    </a:cubicBezTo>
                    <a:cubicBezTo>
                      <a:pt x="257" y="93"/>
                      <a:pt x="257" y="93"/>
                      <a:pt x="257" y="93"/>
                    </a:cubicBezTo>
                    <a:cubicBezTo>
                      <a:pt x="256" y="94"/>
                      <a:pt x="256" y="93"/>
                      <a:pt x="256" y="94"/>
                    </a:cubicBezTo>
                    <a:cubicBezTo>
                      <a:pt x="256" y="94"/>
                      <a:pt x="256" y="94"/>
                      <a:pt x="256" y="94"/>
                    </a:cubicBezTo>
                    <a:cubicBezTo>
                      <a:pt x="255" y="95"/>
                      <a:pt x="255" y="95"/>
                      <a:pt x="255" y="95"/>
                    </a:cubicBezTo>
                    <a:cubicBezTo>
                      <a:pt x="255" y="95"/>
                      <a:pt x="255" y="95"/>
                      <a:pt x="255" y="95"/>
                    </a:cubicBezTo>
                    <a:cubicBezTo>
                      <a:pt x="254" y="96"/>
                      <a:pt x="254" y="96"/>
                      <a:pt x="253" y="96"/>
                    </a:cubicBezTo>
                    <a:cubicBezTo>
                      <a:pt x="253" y="97"/>
                      <a:pt x="253" y="97"/>
                      <a:pt x="252" y="97"/>
                    </a:cubicBezTo>
                    <a:cubicBezTo>
                      <a:pt x="252" y="97"/>
                      <a:pt x="252" y="97"/>
                      <a:pt x="251" y="97"/>
                    </a:cubicBezTo>
                    <a:cubicBezTo>
                      <a:pt x="251" y="97"/>
                      <a:pt x="251" y="97"/>
                      <a:pt x="251" y="97"/>
                    </a:cubicBezTo>
                    <a:cubicBezTo>
                      <a:pt x="251" y="98"/>
                      <a:pt x="251" y="98"/>
                      <a:pt x="251" y="98"/>
                    </a:cubicBezTo>
                    <a:cubicBezTo>
                      <a:pt x="250" y="99"/>
                      <a:pt x="250" y="99"/>
                      <a:pt x="251" y="100"/>
                    </a:cubicBezTo>
                    <a:cubicBezTo>
                      <a:pt x="251" y="100"/>
                      <a:pt x="250" y="101"/>
                      <a:pt x="251" y="101"/>
                    </a:cubicBezTo>
                    <a:cubicBezTo>
                      <a:pt x="251" y="101"/>
                      <a:pt x="251" y="102"/>
                      <a:pt x="251" y="102"/>
                    </a:cubicBezTo>
                    <a:cubicBezTo>
                      <a:pt x="251" y="102"/>
                      <a:pt x="251" y="103"/>
                      <a:pt x="252" y="103"/>
                    </a:cubicBezTo>
                    <a:cubicBezTo>
                      <a:pt x="252" y="104"/>
                      <a:pt x="252" y="105"/>
                      <a:pt x="251" y="105"/>
                    </a:cubicBezTo>
                    <a:cubicBezTo>
                      <a:pt x="250" y="105"/>
                      <a:pt x="251" y="106"/>
                      <a:pt x="251" y="107"/>
                    </a:cubicBezTo>
                    <a:cubicBezTo>
                      <a:pt x="251" y="107"/>
                      <a:pt x="251" y="108"/>
                      <a:pt x="250" y="109"/>
                    </a:cubicBezTo>
                    <a:cubicBezTo>
                      <a:pt x="250" y="110"/>
                      <a:pt x="249" y="110"/>
                      <a:pt x="249" y="110"/>
                    </a:cubicBezTo>
                    <a:cubicBezTo>
                      <a:pt x="248" y="111"/>
                      <a:pt x="248" y="112"/>
                      <a:pt x="248" y="112"/>
                    </a:cubicBezTo>
                    <a:cubicBezTo>
                      <a:pt x="248" y="114"/>
                      <a:pt x="250" y="114"/>
                      <a:pt x="250" y="115"/>
                    </a:cubicBezTo>
                    <a:cubicBezTo>
                      <a:pt x="250" y="115"/>
                      <a:pt x="250" y="116"/>
                      <a:pt x="249" y="117"/>
                    </a:cubicBezTo>
                    <a:cubicBezTo>
                      <a:pt x="249" y="117"/>
                      <a:pt x="249" y="118"/>
                      <a:pt x="249" y="118"/>
                    </a:cubicBezTo>
                    <a:cubicBezTo>
                      <a:pt x="249" y="119"/>
                      <a:pt x="248" y="119"/>
                      <a:pt x="248" y="119"/>
                    </a:cubicBezTo>
                    <a:cubicBezTo>
                      <a:pt x="249" y="120"/>
                      <a:pt x="248" y="120"/>
                      <a:pt x="248" y="121"/>
                    </a:cubicBezTo>
                    <a:cubicBezTo>
                      <a:pt x="248" y="121"/>
                      <a:pt x="248" y="121"/>
                      <a:pt x="248" y="122"/>
                    </a:cubicBezTo>
                    <a:cubicBezTo>
                      <a:pt x="247" y="122"/>
                      <a:pt x="247" y="122"/>
                      <a:pt x="247" y="123"/>
                    </a:cubicBezTo>
                    <a:cubicBezTo>
                      <a:pt x="247" y="124"/>
                      <a:pt x="247" y="125"/>
                      <a:pt x="247" y="126"/>
                    </a:cubicBezTo>
                    <a:cubicBezTo>
                      <a:pt x="247" y="126"/>
                      <a:pt x="247" y="127"/>
                      <a:pt x="246" y="127"/>
                    </a:cubicBezTo>
                    <a:cubicBezTo>
                      <a:pt x="246" y="127"/>
                      <a:pt x="246" y="128"/>
                      <a:pt x="246" y="128"/>
                    </a:cubicBezTo>
                    <a:cubicBezTo>
                      <a:pt x="246" y="128"/>
                      <a:pt x="245" y="127"/>
                      <a:pt x="244" y="127"/>
                    </a:cubicBezTo>
                    <a:cubicBezTo>
                      <a:pt x="244" y="127"/>
                      <a:pt x="243" y="127"/>
                      <a:pt x="243" y="127"/>
                    </a:cubicBezTo>
                    <a:cubicBezTo>
                      <a:pt x="243" y="127"/>
                      <a:pt x="242" y="127"/>
                      <a:pt x="242" y="127"/>
                    </a:cubicBezTo>
                    <a:cubicBezTo>
                      <a:pt x="241" y="126"/>
                      <a:pt x="241" y="127"/>
                      <a:pt x="240" y="127"/>
                    </a:cubicBezTo>
                    <a:cubicBezTo>
                      <a:pt x="239" y="126"/>
                      <a:pt x="239" y="125"/>
                      <a:pt x="238" y="126"/>
                    </a:cubicBezTo>
                    <a:cubicBezTo>
                      <a:pt x="238" y="126"/>
                      <a:pt x="238" y="127"/>
                      <a:pt x="238" y="127"/>
                    </a:cubicBezTo>
                    <a:cubicBezTo>
                      <a:pt x="239" y="128"/>
                      <a:pt x="239" y="128"/>
                      <a:pt x="239" y="129"/>
                    </a:cubicBezTo>
                    <a:cubicBezTo>
                      <a:pt x="240" y="130"/>
                      <a:pt x="240" y="131"/>
                      <a:pt x="240" y="133"/>
                    </a:cubicBezTo>
                    <a:cubicBezTo>
                      <a:pt x="240" y="133"/>
                      <a:pt x="240" y="134"/>
                      <a:pt x="240" y="135"/>
                    </a:cubicBezTo>
                    <a:cubicBezTo>
                      <a:pt x="240" y="135"/>
                      <a:pt x="240" y="136"/>
                      <a:pt x="240" y="137"/>
                    </a:cubicBezTo>
                    <a:cubicBezTo>
                      <a:pt x="240" y="137"/>
                      <a:pt x="239" y="138"/>
                      <a:pt x="239" y="137"/>
                    </a:cubicBezTo>
                    <a:cubicBezTo>
                      <a:pt x="238" y="136"/>
                      <a:pt x="238" y="137"/>
                      <a:pt x="238" y="138"/>
                    </a:cubicBezTo>
                    <a:cubicBezTo>
                      <a:pt x="238" y="139"/>
                      <a:pt x="238" y="139"/>
                      <a:pt x="238" y="140"/>
                    </a:cubicBezTo>
                    <a:cubicBezTo>
                      <a:pt x="238" y="141"/>
                      <a:pt x="238" y="142"/>
                      <a:pt x="238" y="142"/>
                    </a:cubicBezTo>
                    <a:cubicBezTo>
                      <a:pt x="239" y="143"/>
                      <a:pt x="239" y="144"/>
                      <a:pt x="239" y="145"/>
                    </a:cubicBezTo>
                    <a:cubicBezTo>
                      <a:pt x="240" y="145"/>
                      <a:pt x="240" y="146"/>
                      <a:pt x="239" y="146"/>
                    </a:cubicBezTo>
                    <a:cubicBezTo>
                      <a:pt x="239" y="146"/>
                      <a:pt x="239" y="146"/>
                      <a:pt x="239" y="146"/>
                    </a:cubicBezTo>
                    <a:cubicBezTo>
                      <a:pt x="239" y="147"/>
                      <a:pt x="239" y="146"/>
                      <a:pt x="238" y="146"/>
                    </a:cubicBezTo>
                    <a:cubicBezTo>
                      <a:pt x="238" y="147"/>
                      <a:pt x="238" y="147"/>
                      <a:pt x="238" y="147"/>
                    </a:cubicBezTo>
                    <a:cubicBezTo>
                      <a:pt x="238" y="147"/>
                      <a:pt x="238" y="147"/>
                      <a:pt x="238" y="148"/>
                    </a:cubicBezTo>
                    <a:cubicBezTo>
                      <a:pt x="238" y="148"/>
                      <a:pt x="238" y="149"/>
                      <a:pt x="238" y="148"/>
                    </a:cubicBezTo>
                    <a:cubicBezTo>
                      <a:pt x="237" y="148"/>
                      <a:pt x="237" y="149"/>
                      <a:pt x="237" y="149"/>
                    </a:cubicBezTo>
                    <a:cubicBezTo>
                      <a:pt x="237" y="149"/>
                      <a:pt x="237" y="148"/>
                      <a:pt x="237" y="148"/>
                    </a:cubicBezTo>
                    <a:cubicBezTo>
                      <a:pt x="236" y="148"/>
                      <a:pt x="236" y="147"/>
                      <a:pt x="235" y="147"/>
                    </a:cubicBezTo>
                    <a:cubicBezTo>
                      <a:pt x="235" y="147"/>
                      <a:pt x="235" y="147"/>
                      <a:pt x="235" y="147"/>
                    </a:cubicBezTo>
                    <a:cubicBezTo>
                      <a:pt x="235" y="147"/>
                      <a:pt x="235" y="148"/>
                      <a:pt x="235" y="148"/>
                    </a:cubicBezTo>
                    <a:cubicBezTo>
                      <a:pt x="235" y="148"/>
                      <a:pt x="235" y="148"/>
                      <a:pt x="234" y="149"/>
                    </a:cubicBezTo>
                    <a:cubicBezTo>
                      <a:pt x="234" y="148"/>
                      <a:pt x="234" y="148"/>
                      <a:pt x="234" y="147"/>
                    </a:cubicBezTo>
                    <a:cubicBezTo>
                      <a:pt x="234" y="147"/>
                      <a:pt x="234" y="147"/>
                      <a:pt x="234" y="147"/>
                    </a:cubicBezTo>
                    <a:cubicBezTo>
                      <a:pt x="234" y="145"/>
                      <a:pt x="233" y="144"/>
                      <a:pt x="233" y="142"/>
                    </a:cubicBezTo>
                    <a:cubicBezTo>
                      <a:pt x="233" y="141"/>
                      <a:pt x="232" y="141"/>
                      <a:pt x="232" y="140"/>
                    </a:cubicBezTo>
                    <a:cubicBezTo>
                      <a:pt x="232" y="139"/>
                      <a:pt x="232" y="139"/>
                      <a:pt x="231" y="139"/>
                    </a:cubicBezTo>
                    <a:cubicBezTo>
                      <a:pt x="231" y="138"/>
                      <a:pt x="231" y="138"/>
                      <a:pt x="231" y="137"/>
                    </a:cubicBezTo>
                    <a:cubicBezTo>
                      <a:pt x="231" y="137"/>
                      <a:pt x="230" y="136"/>
                      <a:pt x="230" y="135"/>
                    </a:cubicBezTo>
                    <a:cubicBezTo>
                      <a:pt x="230" y="134"/>
                      <a:pt x="230" y="134"/>
                      <a:pt x="230" y="133"/>
                    </a:cubicBezTo>
                    <a:cubicBezTo>
                      <a:pt x="230" y="133"/>
                      <a:pt x="229" y="132"/>
                      <a:pt x="229" y="131"/>
                    </a:cubicBezTo>
                    <a:cubicBezTo>
                      <a:pt x="229" y="131"/>
                      <a:pt x="229" y="131"/>
                      <a:pt x="229" y="131"/>
                    </a:cubicBezTo>
                    <a:cubicBezTo>
                      <a:pt x="229" y="130"/>
                      <a:pt x="229" y="130"/>
                      <a:pt x="229" y="130"/>
                    </a:cubicBezTo>
                    <a:cubicBezTo>
                      <a:pt x="229" y="130"/>
                      <a:pt x="229" y="130"/>
                      <a:pt x="228" y="130"/>
                    </a:cubicBezTo>
                    <a:cubicBezTo>
                      <a:pt x="228" y="131"/>
                      <a:pt x="228" y="129"/>
                      <a:pt x="227" y="130"/>
                    </a:cubicBezTo>
                    <a:cubicBezTo>
                      <a:pt x="226" y="131"/>
                      <a:pt x="227" y="130"/>
                      <a:pt x="226" y="130"/>
                    </a:cubicBezTo>
                    <a:cubicBezTo>
                      <a:pt x="225" y="130"/>
                      <a:pt x="226" y="132"/>
                      <a:pt x="226" y="132"/>
                    </a:cubicBezTo>
                    <a:cubicBezTo>
                      <a:pt x="226" y="133"/>
                      <a:pt x="225" y="133"/>
                      <a:pt x="225" y="134"/>
                    </a:cubicBezTo>
                    <a:cubicBezTo>
                      <a:pt x="225" y="135"/>
                      <a:pt x="226" y="136"/>
                      <a:pt x="225" y="137"/>
                    </a:cubicBezTo>
                    <a:cubicBezTo>
                      <a:pt x="225" y="137"/>
                      <a:pt x="225" y="137"/>
                      <a:pt x="225" y="137"/>
                    </a:cubicBezTo>
                    <a:cubicBezTo>
                      <a:pt x="224" y="138"/>
                      <a:pt x="224" y="137"/>
                      <a:pt x="224" y="138"/>
                    </a:cubicBezTo>
                    <a:cubicBezTo>
                      <a:pt x="223" y="138"/>
                      <a:pt x="223" y="137"/>
                      <a:pt x="223" y="137"/>
                    </a:cubicBezTo>
                    <a:cubicBezTo>
                      <a:pt x="222" y="136"/>
                      <a:pt x="222" y="135"/>
                      <a:pt x="222" y="135"/>
                    </a:cubicBezTo>
                    <a:cubicBezTo>
                      <a:pt x="221" y="134"/>
                      <a:pt x="221" y="136"/>
                      <a:pt x="221" y="137"/>
                    </a:cubicBezTo>
                    <a:cubicBezTo>
                      <a:pt x="221" y="137"/>
                      <a:pt x="221" y="136"/>
                      <a:pt x="221" y="136"/>
                    </a:cubicBezTo>
                    <a:cubicBezTo>
                      <a:pt x="220" y="135"/>
                      <a:pt x="220" y="135"/>
                      <a:pt x="220" y="135"/>
                    </a:cubicBezTo>
                    <a:cubicBezTo>
                      <a:pt x="220" y="134"/>
                      <a:pt x="220" y="134"/>
                      <a:pt x="220" y="134"/>
                    </a:cubicBezTo>
                    <a:cubicBezTo>
                      <a:pt x="220" y="132"/>
                      <a:pt x="218" y="132"/>
                      <a:pt x="218" y="130"/>
                    </a:cubicBezTo>
                    <a:cubicBezTo>
                      <a:pt x="219" y="130"/>
                      <a:pt x="218" y="130"/>
                      <a:pt x="218" y="130"/>
                    </a:cubicBezTo>
                    <a:cubicBezTo>
                      <a:pt x="218" y="129"/>
                      <a:pt x="218" y="129"/>
                      <a:pt x="219" y="129"/>
                    </a:cubicBezTo>
                    <a:cubicBezTo>
                      <a:pt x="219" y="128"/>
                      <a:pt x="218" y="127"/>
                      <a:pt x="219" y="127"/>
                    </a:cubicBezTo>
                    <a:cubicBezTo>
                      <a:pt x="220" y="127"/>
                      <a:pt x="219" y="125"/>
                      <a:pt x="221" y="125"/>
                    </a:cubicBezTo>
                    <a:cubicBezTo>
                      <a:pt x="221" y="126"/>
                      <a:pt x="222" y="126"/>
                      <a:pt x="222" y="125"/>
                    </a:cubicBezTo>
                    <a:cubicBezTo>
                      <a:pt x="222" y="125"/>
                      <a:pt x="222" y="124"/>
                      <a:pt x="222" y="124"/>
                    </a:cubicBezTo>
                    <a:cubicBezTo>
                      <a:pt x="222" y="124"/>
                      <a:pt x="223" y="126"/>
                      <a:pt x="223" y="124"/>
                    </a:cubicBezTo>
                    <a:cubicBezTo>
                      <a:pt x="223" y="124"/>
                      <a:pt x="223" y="124"/>
                      <a:pt x="223" y="124"/>
                    </a:cubicBezTo>
                    <a:cubicBezTo>
                      <a:pt x="223" y="124"/>
                      <a:pt x="224" y="124"/>
                      <a:pt x="224" y="124"/>
                    </a:cubicBezTo>
                    <a:cubicBezTo>
                      <a:pt x="224" y="125"/>
                      <a:pt x="225" y="125"/>
                      <a:pt x="225" y="124"/>
                    </a:cubicBezTo>
                    <a:cubicBezTo>
                      <a:pt x="225" y="124"/>
                      <a:pt x="224" y="123"/>
                      <a:pt x="224" y="123"/>
                    </a:cubicBezTo>
                    <a:cubicBezTo>
                      <a:pt x="225" y="123"/>
                      <a:pt x="225" y="123"/>
                      <a:pt x="225" y="123"/>
                    </a:cubicBezTo>
                    <a:cubicBezTo>
                      <a:pt x="225" y="123"/>
                      <a:pt x="225" y="123"/>
                      <a:pt x="225" y="122"/>
                    </a:cubicBezTo>
                    <a:cubicBezTo>
                      <a:pt x="225" y="122"/>
                      <a:pt x="226" y="122"/>
                      <a:pt x="226" y="122"/>
                    </a:cubicBezTo>
                    <a:cubicBezTo>
                      <a:pt x="226" y="122"/>
                      <a:pt x="226" y="122"/>
                      <a:pt x="226" y="121"/>
                    </a:cubicBezTo>
                    <a:cubicBezTo>
                      <a:pt x="226" y="121"/>
                      <a:pt x="226" y="121"/>
                      <a:pt x="227" y="120"/>
                    </a:cubicBezTo>
                    <a:cubicBezTo>
                      <a:pt x="227" y="119"/>
                      <a:pt x="227" y="118"/>
                      <a:pt x="227" y="117"/>
                    </a:cubicBezTo>
                    <a:cubicBezTo>
                      <a:pt x="226" y="116"/>
                      <a:pt x="228" y="117"/>
                      <a:pt x="229" y="117"/>
                    </a:cubicBezTo>
                    <a:cubicBezTo>
                      <a:pt x="230" y="117"/>
                      <a:pt x="228" y="116"/>
                      <a:pt x="228" y="116"/>
                    </a:cubicBezTo>
                    <a:cubicBezTo>
                      <a:pt x="228" y="115"/>
                      <a:pt x="226" y="114"/>
                      <a:pt x="225" y="114"/>
                    </a:cubicBezTo>
                    <a:cubicBezTo>
                      <a:pt x="224" y="113"/>
                      <a:pt x="223" y="114"/>
                      <a:pt x="222" y="114"/>
                    </a:cubicBezTo>
                    <a:cubicBezTo>
                      <a:pt x="222" y="114"/>
                      <a:pt x="221" y="114"/>
                      <a:pt x="221" y="114"/>
                    </a:cubicBezTo>
                    <a:cubicBezTo>
                      <a:pt x="220" y="114"/>
                      <a:pt x="220" y="114"/>
                      <a:pt x="220" y="114"/>
                    </a:cubicBezTo>
                    <a:cubicBezTo>
                      <a:pt x="219" y="114"/>
                      <a:pt x="218" y="114"/>
                      <a:pt x="217" y="113"/>
                    </a:cubicBezTo>
                    <a:cubicBezTo>
                      <a:pt x="216" y="113"/>
                      <a:pt x="215" y="114"/>
                      <a:pt x="214" y="114"/>
                    </a:cubicBezTo>
                    <a:cubicBezTo>
                      <a:pt x="213" y="114"/>
                      <a:pt x="212" y="113"/>
                      <a:pt x="211" y="114"/>
                    </a:cubicBezTo>
                    <a:cubicBezTo>
                      <a:pt x="210" y="114"/>
                      <a:pt x="209" y="114"/>
                      <a:pt x="209" y="114"/>
                    </a:cubicBezTo>
                    <a:cubicBezTo>
                      <a:pt x="208" y="114"/>
                      <a:pt x="207" y="113"/>
                      <a:pt x="207" y="113"/>
                    </a:cubicBezTo>
                    <a:cubicBezTo>
                      <a:pt x="206" y="113"/>
                      <a:pt x="205" y="112"/>
                      <a:pt x="204" y="112"/>
                    </a:cubicBezTo>
                    <a:cubicBezTo>
                      <a:pt x="203" y="112"/>
                      <a:pt x="203" y="113"/>
                      <a:pt x="203" y="112"/>
                    </a:cubicBezTo>
                    <a:cubicBezTo>
                      <a:pt x="203" y="111"/>
                      <a:pt x="203" y="111"/>
                      <a:pt x="203" y="110"/>
                    </a:cubicBezTo>
                    <a:cubicBezTo>
                      <a:pt x="203" y="109"/>
                      <a:pt x="203" y="108"/>
                      <a:pt x="202" y="107"/>
                    </a:cubicBezTo>
                    <a:cubicBezTo>
                      <a:pt x="202" y="106"/>
                      <a:pt x="202" y="106"/>
                      <a:pt x="202" y="106"/>
                    </a:cubicBezTo>
                    <a:cubicBezTo>
                      <a:pt x="202" y="105"/>
                      <a:pt x="202" y="105"/>
                      <a:pt x="202" y="105"/>
                    </a:cubicBezTo>
                    <a:cubicBezTo>
                      <a:pt x="202" y="105"/>
                      <a:pt x="202" y="105"/>
                      <a:pt x="202" y="105"/>
                    </a:cubicBezTo>
                    <a:cubicBezTo>
                      <a:pt x="202" y="104"/>
                      <a:pt x="201" y="104"/>
                      <a:pt x="201" y="103"/>
                    </a:cubicBezTo>
                    <a:cubicBezTo>
                      <a:pt x="201" y="103"/>
                      <a:pt x="201" y="103"/>
                      <a:pt x="200" y="103"/>
                    </a:cubicBezTo>
                    <a:cubicBezTo>
                      <a:pt x="200" y="103"/>
                      <a:pt x="200" y="102"/>
                      <a:pt x="200" y="102"/>
                    </a:cubicBezTo>
                    <a:cubicBezTo>
                      <a:pt x="200" y="101"/>
                      <a:pt x="200" y="103"/>
                      <a:pt x="200" y="103"/>
                    </a:cubicBezTo>
                    <a:cubicBezTo>
                      <a:pt x="199" y="103"/>
                      <a:pt x="199" y="103"/>
                      <a:pt x="200" y="103"/>
                    </a:cubicBezTo>
                    <a:cubicBezTo>
                      <a:pt x="199" y="103"/>
                      <a:pt x="200" y="103"/>
                      <a:pt x="200" y="104"/>
                    </a:cubicBezTo>
                    <a:cubicBezTo>
                      <a:pt x="200" y="104"/>
                      <a:pt x="199" y="105"/>
                      <a:pt x="199" y="105"/>
                    </a:cubicBezTo>
                    <a:cubicBezTo>
                      <a:pt x="199" y="105"/>
                      <a:pt x="199" y="104"/>
                      <a:pt x="199" y="104"/>
                    </a:cubicBezTo>
                    <a:cubicBezTo>
                      <a:pt x="198" y="104"/>
                      <a:pt x="198" y="104"/>
                      <a:pt x="197" y="104"/>
                    </a:cubicBezTo>
                    <a:cubicBezTo>
                      <a:pt x="197" y="104"/>
                      <a:pt x="196" y="104"/>
                      <a:pt x="196" y="104"/>
                    </a:cubicBezTo>
                    <a:cubicBezTo>
                      <a:pt x="196" y="103"/>
                      <a:pt x="195" y="103"/>
                      <a:pt x="195" y="103"/>
                    </a:cubicBezTo>
                    <a:cubicBezTo>
                      <a:pt x="195" y="103"/>
                      <a:pt x="194" y="101"/>
                      <a:pt x="194" y="101"/>
                    </a:cubicBezTo>
                    <a:cubicBezTo>
                      <a:pt x="194" y="101"/>
                      <a:pt x="194" y="101"/>
                      <a:pt x="195" y="101"/>
                    </a:cubicBezTo>
                    <a:cubicBezTo>
                      <a:pt x="195" y="101"/>
                      <a:pt x="193" y="99"/>
                      <a:pt x="193" y="100"/>
                    </a:cubicBezTo>
                    <a:cubicBezTo>
                      <a:pt x="192" y="100"/>
                      <a:pt x="193" y="101"/>
                      <a:pt x="194" y="101"/>
                    </a:cubicBezTo>
                    <a:cubicBezTo>
                      <a:pt x="194" y="101"/>
                      <a:pt x="194" y="102"/>
                      <a:pt x="194" y="102"/>
                    </a:cubicBezTo>
                    <a:cubicBezTo>
                      <a:pt x="193" y="102"/>
                      <a:pt x="193" y="101"/>
                      <a:pt x="193" y="101"/>
                    </a:cubicBezTo>
                    <a:cubicBezTo>
                      <a:pt x="192" y="102"/>
                      <a:pt x="192" y="102"/>
                      <a:pt x="192" y="102"/>
                    </a:cubicBezTo>
                    <a:cubicBezTo>
                      <a:pt x="191" y="101"/>
                      <a:pt x="190" y="102"/>
                      <a:pt x="190" y="101"/>
                    </a:cubicBezTo>
                    <a:cubicBezTo>
                      <a:pt x="190" y="101"/>
                      <a:pt x="191" y="101"/>
                      <a:pt x="191" y="101"/>
                    </a:cubicBezTo>
                    <a:cubicBezTo>
                      <a:pt x="191" y="100"/>
                      <a:pt x="190" y="100"/>
                      <a:pt x="190" y="100"/>
                    </a:cubicBezTo>
                    <a:cubicBezTo>
                      <a:pt x="189" y="99"/>
                      <a:pt x="189" y="99"/>
                      <a:pt x="188" y="99"/>
                    </a:cubicBezTo>
                    <a:cubicBezTo>
                      <a:pt x="188" y="98"/>
                      <a:pt x="188" y="98"/>
                      <a:pt x="187" y="98"/>
                    </a:cubicBezTo>
                    <a:cubicBezTo>
                      <a:pt x="188" y="98"/>
                      <a:pt x="186" y="99"/>
                      <a:pt x="187" y="99"/>
                    </a:cubicBezTo>
                    <a:cubicBezTo>
                      <a:pt x="187" y="99"/>
                      <a:pt x="187" y="99"/>
                      <a:pt x="187" y="99"/>
                    </a:cubicBezTo>
                    <a:cubicBezTo>
                      <a:pt x="187" y="99"/>
                      <a:pt x="188" y="99"/>
                      <a:pt x="188" y="99"/>
                    </a:cubicBezTo>
                    <a:cubicBezTo>
                      <a:pt x="188" y="99"/>
                      <a:pt x="189" y="100"/>
                      <a:pt x="189" y="101"/>
                    </a:cubicBezTo>
                    <a:cubicBezTo>
                      <a:pt x="189" y="101"/>
                      <a:pt x="189" y="101"/>
                      <a:pt x="188" y="101"/>
                    </a:cubicBezTo>
                    <a:cubicBezTo>
                      <a:pt x="188" y="100"/>
                      <a:pt x="188" y="101"/>
                      <a:pt x="188" y="101"/>
                    </a:cubicBezTo>
                    <a:cubicBezTo>
                      <a:pt x="188" y="101"/>
                      <a:pt x="187" y="101"/>
                      <a:pt x="187" y="102"/>
                    </a:cubicBezTo>
                    <a:cubicBezTo>
                      <a:pt x="187" y="103"/>
                      <a:pt x="186" y="102"/>
                      <a:pt x="186" y="103"/>
                    </a:cubicBezTo>
                    <a:cubicBezTo>
                      <a:pt x="186" y="104"/>
                      <a:pt x="186" y="104"/>
                      <a:pt x="186" y="104"/>
                    </a:cubicBezTo>
                    <a:cubicBezTo>
                      <a:pt x="186" y="104"/>
                      <a:pt x="186" y="104"/>
                      <a:pt x="186" y="105"/>
                    </a:cubicBezTo>
                    <a:cubicBezTo>
                      <a:pt x="186" y="105"/>
                      <a:pt x="186" y="105"/>
                      <a:pt x="186" y="106"/>
                    </a:cubicBezTo>
                    <a:cubicBezTo>
                      <a:pt x="186" y="107"/>
                      <a:pt x="187" y="106"/>
                      <a:pt x="188" y="107"/>
                    </a:cubicBezTo>
                    <a:cubicBezTo>
                      <a:pt x="188" y="107"/>
                      <a:pt x="189" y="108"/>
                      <a:pt x="189" y="108"/>
                    </a:cubicBezTo>
                    <a:cubicBezTo>
                      <a:pt x="189" y="108"/>
                      <a:pt x="189" y="109"/>
                      <a:pt x="190" y="109"/>
                    </a:cubicBezTo>
                    <a:cubicBezTo>
                      <a:pt x="190" y="110"/>
                      <a:pt x="191" y="111"/>
                      <a:pt x="192" y="110"/>
                    </a:cubicBezTo>
                    <a:cubicBezTo>
                      <a:pt x="193" y="110"/>
                      <a:pt x="193" y="110"/>
                      <a:pt x="193" y="110"/>
                    </a:cubicBezTo>
                    <a:cubicBezTo>
                      <a:pt x="193" y="111"/>
                      <a:pt x="193" y="111"/>
                      <a:pt x="194" y="112"/>
                    </a:cubicBezTo>
                    <a:cubicBezTo>
                      <a:pt x="194" y="112"/>
                      <a:pt x="195" y="112"/>
                      <a:pt x="195" y="112"/>
                    </a:cubicBezTo>
                    <a:cubicBezTo>
                      <a:pt x="195" y="113"/>
                      <a:pt x="195" y="113"/>
                      <a:pt x="195" y="114"/>
                    </a:cubicBezTo>
                    <a:cubicBezTo>
                      <a:pt x="195" y="114"/>
                      <a:pt x="194" y="113"/>
                      <a:pt x="194" y="113"/>
                    </a:cubicBezTo>
                    <a:cubicBezTo>
                      <a:pt x="194" y="114"/>
                      <a:pt x="193" y="114"/>
                      <a:pt x="193" y="114"/>
                    </a:cubicBezTo>
                    <a:cubicBezTo>
                      <a:pt x="193" y="113"/>
                      <a:pt x="192" y="113"/>
                      <a:pt x="192" y="113"/>
                    </a:cubicBezTo>
                    <a:cubicBezTo>
                      <a:pt x="191" y="113"/>
                      <a:pt x="191" y="114"/>
                      <a:pt x="191" y="113"/>
                    </a:cubicBezTo>
                    <a:cubicBezTo>
                      <a:pt x="190" y="113"/>
                      <a:pt x="190" y="115"/>
                      <a:pt x="190" y="115"/>
                    </a:cubicBezTo>
                    <a:cubicBezTo>
                      <a:pt x="190" y="116"/>
                      <a:pt x="190" y="116"/>
                      <a:pt x="190" y="117"/>
                    </a:cubicBezTo>
                    <a:cubicBezTo>
                      <a:pt x="189" y="117"/>
                      <a:pt x="189" y="116"/>
                      <a:pt x="189" y="116"/>
                    </a:cubicBezTo>
                    <a:cubicBezTo>
                      <a:pt x="187" y="116"/>
                      <a:pt x="188" y="117"/>
                      <a:pt x="188" y="117"/>
                    </a:cubicBezTo>
                    <a:cubicBezTo>
                      <a:pt x="187" y="118"/>
                      <a:pt x="187" y="119"/>
                      <a:pt x="188" y="120"/>
                    </a:cubicBezTo>
                    <a:cubicBezTo>
                      <a:pt x="188" y="121"/>
                      <a:pt x="189" y="121"/>
                      <a:pt x="190" y="122"/>
                    </a:cubicBezTo>
                    <a:cubicBezTo>
                      <a:pt x="191" y="122"/>
                      <a:pt x="192" y="123"/>
                      <a:pt x="193" y="123"/>
                    </a:cubicBezTo>
                    <a:cubicBezTo>
                      <a:pt x="193" y="123"/>
                      <a:pt x="194" y="123"/>
                      <a:pt x="194" y="123"/>
                    </a:cubicBezTo>
                    <a:cubicBezTo>
                      <a:pt x="195" y="124"/>
                      <a:pt x="194" y="124"/>
                      <a:pt x="194" y="125"/>
                    </a:cubicBezTo>
                    <a:cubicBezTo>
                      <a:pt x="194" y="125"/>
                      <a:pt x="195" y="126"/>
                      <a:pt x="195" y="126"/>
                    </a:cubicBezTo>
                    <a:cubicBezTo>
                      <a:pt x="195" y="126"/>
                      <a:pt x="195" y="127"/>
                      <a:pt x="195" y="127"/>
                    </a:cubicBezTo>
                    <a:cubicBezTo>
                      <a:pt x="195" y="128"/>
                      <a:pt x="195" y="128"/>
                      <a:pt x="194" y="128"/>
                    </a:cubicBezTo>
                    <a:cubicBezTo>
                      <a:pt x="193" y="128"/>
                      <a:pt x="194" y="129"/>
                      <a:pt x="194" y="130"/>
                    </a:cubicBezTo>
                    <a:cubicBezTo>
                      <a:pt x="194" y="131"/>
                      <a:pt x="194" y="131"/>
                      <a:pt x="195" y="131"/>
                    </a:cubicBezTo>
                    <a:cubicBezTo>
                      <a:pt x="195" y="132"/>
                      <a:pt x="195" y="132"/>
                      <a:pt x="195" y="132"/>
                    </a:cubicBezTo>
                    <a:cubicBezTo>
                      <a:pt x="196" y="132"/>
                      <a:pt x="196" y="132"/>
                      <a:pt x="196" y="132"/>
                    </a:cubicBezTo>
                    <a:cubicBezTo>
                      <a:pt x="196" y="132"/>
                      <a:pt x="196" y="132"/>
                      <a:pt x="196" y="132"/>
                    </a:cubicBezTo>
                    <a:cubicBezTo>
                      <a:pt x="197" y="132"/>
                      <a:pt x="196" y="134"/>
                      <a:pt x="196" y="134"/>
                    </a:cubicBezTo>
                    <a:cubicBezTo>
                      <a:pt x="196" y="135"/>
                      <a:pt x="197" y="135"/>
                      <a:pt x="197" y="135"/>
                    </a:cubicBezTo>
                    <a:cubicBezTo>
                      <a:pt x="197" y="135"/>
                      <a:pt x="198" y="135"/>
                      <a:pt x="198" y="135"/>
                    </a:cubicBezTo>
                    <a:cubicBezTo>
                      <a:pt x="198" y="135"/>
                      <a:pt x="198" y="136"/>
                      <a:pt x="197" y="137"/>
                    </a:cubicBezTo>
                    <a:cubicBezTo>
                      <a:pt x="197" y="138"/>
                      <a:pt x="198" y="138"/>
                      <a:pt x="198" y="139"/>
                    </a:cubicBezTo>
                    <a:cubicBezTo>
                      <a:pt x="199" y="139"/>
                      <a:pt x="199" y="140"/>
                      <a:pt x="199" y="141"/>
                    </a:cubicBezTo>
                    <a:cubicBezTo>
                      <a:pt x="199" y="141"/>
                      <a:pt x="199" y="142"/>
                      <a:pt x="199" y="142"/>
                    </a:cubicBezTo>
                    <a:cubicBezTo>
                      <a:pt x="200" y="143"/>
                      <a:pt x="199" y="144"/>
                      <a:pt x="200" y="145"/>
                    </a:cubicBezTo>
                    <a:cubicBezTo>
                      <a:pt x="200" y="145"/>
                      <a:pt x="201" y="147"/>
                      <a:pt x="201" y="147"/>
                    </a:cubicBezTo>
                    <a:cubicBezTo>
                      <a:pt x="201" y="147"/>
                      <a:pt x="200" y="147"/>
                      <a:pt x="200" y="147"/>
                    </a:cubicBezTo>
                    <a:cubicBezTo>
                      <a:pt x="200" y="148"/>
                      <a:pt x="201" y="149"/>
                      <a:pt x="201" y="149"/>
                    </a:cubicBezTo>
                    <a:cubicBezTo>
                      <a:pt x="201" y="149"/>
                      <a:pt x="200" y="149"/>
                      <a:pt x="200" y="149"/>
                    </a:cubicBezTo>
                    <a:cubicBezTo>
                      <a:pt x="200" y="149"/>
                      <a:pt x="200" y="149"/>
                      <a:pt x="199" y="149"/>
                    </a:cubicBezTo>
                    <a:cubicBezTo>
                      <a:pt x="199" y="149"/>
                      <a:pt x="200" y="150"/>
                      <a:pt x="200" y="150"/>
                    </a:cubicBezTo>
                    <a:cubicBezTo>
                      <a:pt x="201" y="151"/>
                      <a:pt x="201" y="152"/>
                      <a:pt x="201" y="152"/>
                    </a:cubicBezTo>
                    <a:cubicBezTo>
                      <a:pt x="201" y="153"/>
                      <a:pt x="201" y="153"/>
                      <a:pt x="200" y="153"/>
                    </a:cubicBezTo>
                    <a:cubicBezTo>
                      <a:pt x="199" y="152"/>
                      <a:pt x="199" y="152"/>
                      <a:pt x="199" y="151"/>
                    </a:cubicBezTo>
                    <a:cubicBezTo>
                      <a:pt x="199" y="151"/>
                      <a:pt x="199" y="153"/>
                      <a:pt x="199" y="153"/>
                    </a:cubicBezTo>
                    <a:cubicBezTo>
                      <a:pt x="199" y="153"/>
                      <a:pt x="199" y="152"/>
                      <a:pt x="199" y="152"/>
                    </a:cubicBezTo>
                    <a:cubicBezTo>
                      <a:pt x="199" y="152"/>
                      <a:pt x="199" y="154"/>
                      <a:pt x="198" y="153"/>
                    </a:cubicBezTo>
                    <a:cubicBezTo>
                      <a:pt x="198" y="153"/>
                      <a:pt x="198" y="152"/>
                      <a:pt x="198" y="152"/>
                    </a:cubicBezTo>
                    <a:cubicBezTo>
                      <a:pt x="198" y="151"/>
                      <a:pt x="197" y="149"/>
                      <a:pt x="198" y="149"/>
                    </a:cubicBezTo>
                    <a:cubicBezTo>
                      <a:pt x="198" y="148"/>
                      <a:pt x="197" y="148"/>
                      <a:pt x="198" y="147"/>
                    </a:cubicBezTo>
                    <a:cubicBezTo>
                      <a:pt x="197" y="147"/>
                      <a:pt x="197" y="148"/>
                      <a:pt x="197" y="148"/>
                    </a:cubicBezTo>
                    <a:cubicBezTo>
                      <a:pt x="197" y="148"/>
                      <a:pt x="198" y="149"/>
                      <a:pt x="197" y="149"/>
                    </a:cubicBezTo>
                    <a:cubicBezTo>
                      <a:pt x="196" y="149"/>
                      <a:pt x="197" y="148"/>
                      <a:pt x="197" y="148"/>
                    </a:cubicBezTo>
                    <a:cubicBezTo>
                      <a:pt x="197" y="148"/>
                      <a:pt x="197" y="146"/>
                      <a:pt x="197" y="146"/>
                    </a:cubicBezTo>
                    <a:cubicBezTo>
                      <a:pt x="196" y="146"/>
                      <a:pt x="196" y="148"/>
                      <a:pt x="196" y="148"/>
                    </a:cubicBezTo>
                    <a:cubicBezTo>
                      <a:pt x="197" y="148"/>
                      <a:pt x="196" y="149"/>
                      <a:pt x="196" y="150"/>
                    </a:cubicBezTo>
                    <a:cubicBezTo>
                      <a:pt x="196" y="150"/>
                      <a:pt x="196" y="151"/>
                      <a:pt x="196" y="151"/>
                    </a:cubicBezTo>
                    <a:cubicBezTo>
                      <a:pt x="196" y="151"/>
                      <a:pt x="197" y="151"/>
                      <a:pt x="197" y="151"/>
                    </a:cubicBezTo>
                    <a:cubicBezTo>
                      <a:pt x="197" y="151"/>
                      <a:pt x="197" y="152"/>
                      <a:pt x="197" y="152"/>
                    </a:cubicBezTo>
                    <a:cubicBezTo>
                      <a:pt x="197" y="152"/>
                      <a:pt x="197" y="154"/>
                      <a:pt x="196" y="153"/>
                    </a:cubicBezTo>
                    <a:cubicBezTo>
                      <a:pt x="196" y="154"/>
                      <a:pt x="196" y="154"/>
                      <a:pt x="196" y="153"/>
                    </a:cubicBezTo>
                    <a:cubicBezTo>
                      <a:pt x="196" y="153"/>
                      <a:pt x="196" y="152"/>
                      <a:pt x="196" y="152"/>
                    </a:cubicBezTo>
                    <a:cubicBezTo>
                      <a:pt x="196" y="151"/>
                      <a:pt x="196" y="151"/>
                      <a:pt x="196" y="150"/>
                    </a:cubicBezTo>
                    <a:cubicBezTo>
                      <a:pt x="196" y="150"/>
                      <a:pt x="196" y="150"/>
                      <a:pt x="196" y="150"/>
                    </a:cubicBezTo>
                    <a:cubicBezTo>
                      <a:pt x="195" y="149"/>
                      <a:pt x="196" y="149"/>
                      <a:pt x="195" y="149"/>
                    </a:cubicBezTo>
                    <a:cubicBezTo>
                      <a:pt x="195" y="149"/>
                      <a:pt x="195" y="149"/>
                      <a:pt x="195" y="150"/>
                    </a:cubicBezTo>
                    <a:cubicBezTo>
                      <a:pt x="195" y="150"/>
                      <a:pt x="196" y="150"/>
                      <a:pt x="195" y="151"/>
                    </a:cubicBezTo>
                    <a:cubicBezTo>
                      <a:pt x="195" y="151"/>
                      <a:pt x="195" y="151"/>
                      <a:pt x="195" y="152"/>
                    </a:cubicBezTo>
                    <a:cubicBezTo>
                      <a:pt x="196" y="152"/>
                      <a:pt x="195" y="153"/>
                      <a:pt x="195" y="153"/>
                    </a:cubicBezTo>
                    <a:cubicBezTo>
                      <a:pt x="195" y="153"/>
                      <a:pt x="195" y="152"/>
                      <a:pt x="195" y="152"/>
                    </a:cubicBezTo>
                    <a:cubicBezTo>
                      <a:pt x="194" y="152"/>
                      <a:pt x="194" y="152"/>
                      <a:pt x="194" y="152"/>
                    </a:cubicBezTo>
                    <a:cubicBezTo>
                      <a:pt x="194" y="152"/>
                      <a:pt x="194" y="153"/>
                      <a:pt x="194" y="153"/>
                    </a:cubicBezTo>
                    <a:cubicBezTo>
                      <a:pt x="194" y="153"/>
                      <a:pt x="194" y="151"/>
                      <a:pt x="193" y="151"/>
                    </a:cubicBezTo>
                    <a:cubicBezTo>
                      <a:pt x="193" y="151"/>
                      <a:pt x="194" y="153"/>
                      <a:pt x="194" y="153"/>
                    </a:cubicBezTo>
                    <a:cubicBezTo>
                      <a:pt x="194" y="154"/>
                      <a:pt x="193" y="153"/>
                      <a:pt x="193" y="153"/>
                    </a:cubicBezTo>
                    <a:cubicBezTo>
                      <a:pt x="193" y="152"/>
                      <a:pt x="193" y="152"/>
                      <a:pt x="193" y="152"/>
                    </a:cubicBezTo>
                    <a:cubicBezTo>
                      <a:pt x="193" y="150"/>
                      <a:pt x="192" y="150"/>
                      <a:pt x="192" y="148"/>
                    </a:cubicBezTo>
                    <a:cubicBezTo>
                      <a:pt x="193" y="148"/>
                      <a:pt x="193" y="147"/>
                      <a:pt x="192" y="147"/>
                    </a:cubicBezTo>
                    <a:cubicBezTo>
                      <a:pt x="192" y="146"/>
                      <a:pt x="191" y="146"/>
                      <a:pt x="191" y="146"/>
                    </a:cubicBezTo>
                    <a:cubicBezTo>
                      <a:pt x="190" y="147"/>
                      <a:pt x="190" y="144"/>
                      <a:pt x="189" y="144"/>
                    </a:cubicBezTo>
                    <a:cubicBezTo>
                      <a:pt x="190" y="144"/>
                      <a:pt x="189" y="146"/>
                      <a:pt x="191" y="146"/>
                    </a:cubicBezTo>
                    <a:cubicBezTo>
                      <a:pt x="191" y="147"/>
                      <a:pt x="193" y="147"/>
                      <a:pt x="192" y="148"/>
                    </a:cubicBezTo>
                    <a:cubicBezTo>
                      <a:pt x="191" y="149"/>
                      <a:pt x="191" y="150"/>
                      <a:pt x="190" y="150"/>
                    </a:cubicBezTo>
                    <a:cubicBezTo>
                      <a:pt x="190" y="152"/>
                      <a:pt x="188" y="152"/>
                      <a:pt x="187" y="153"/>
                    </a:cubicBezTo>
                    <a:cubicBezTo>
                      <a:pt x="186" y="153"/>
                      <a:pt x="186" y="153"/>
                      <a:pt x="185" y="153"/>
                    </a:cubicBezTo>
                    <a:cubicBezTo>
                      <a:pt x="185" y="153"/>
                      <a:pt x="184" y="153"/>
                      <a:pt x="184" y="154"/>
                    </a:cubicBezTo>
                    <a:cubicBezTo>
                      <a:pt x="182" y="154"/>
                      <a:pt x="181" y="155"/>
                      <a:pt x="181" y="157"/>
                    </a:cubicBezTo>
                    <a:cubicBezTo>
                      <a:pt x="180" y="158"/>
                      <a:pt x="181" y="159"/>
                      <a:pt x="182" y="160"/>
                    </a:cubicBezTo>
                    <a:cubicBezTo>
                      <a:pt x="182" y="161"/>
                      <a:pt x="182" y="161"/>
                      <a:pt x="182" y="162"/>
                    </a:cubicBezTo>
                    <a:cubicBezTo>
                      <a:pt x="182" y="162"/>
                      <a:pt x="182" y="162"/>
                      <a:pt x="182" y="162"/>
                    </a:cubicBezTo>
                    <a:cubicBezTo>
                      <a:pt x="182" y="162"/>
                      <a:pt x="183" y="162"/>
                      <a:pt x="183" y="162"/>
                    </a:cubicBezTo>
                    <a:cubicBezTo>
                      <a:pt x="183" y="162"/>
                      <a:pt x="182" y="163"/>
                      <a:pt x="182" y="163"/>
                    </a:cubicBezTo>
                    <a:cubicBezTo>
                      <a:pt x="183" y="163"/>
                      <a:pt x="183" y="163"/>
                      <a:pt x="183" y="163"/>
                    </a:cubicBezTo>
                    <a:cubicBezTo>
                      <a:pt x="182" y="164"/>
                      <a:pt x="182" y="164"/>
                      <a:pt x="181" y="164"/>
                    </a:cubicBezTo>
                    <a:cubicBezTo>
                      <a:pt x="181" y="165"/>
                      <a:pt x="180" y="166"/>
                      <a:pt x="181" y="166"/>
                    </a:cubicBezTo>
                    <a:cubicBezTo>
                      <a:pt x="181" y="166"/>
                      <a:pt x="181" y="166"/>
                      <a:pt x="181" y="166"/>
                    </a:cubicBezTo>
                    <a:cubicBezTo>
                      <a:pt x="181" y="166"/>
                      <a:pt x="181" y="166"/>
                      <a:pt x="181" y="166"/>
                    </a:cubicBezTo>
                    <a:cubicBezTo>
                      <a:pt x="182" y="166"/>
                      <a:pt x="181" y="167"/>
                      <a:pt x="180" y="167"/>
                    </a:cubicBezTo>
                    <a:cubicBezTo>
                      <a:pt x="180" y="167"/>
                      <a:pt x="181" y="167"/>
                      <a:pt x="181" y="167"/>
                    </a:cubicBezTo>
                    <a:cubicBezTo>
                      <a:pt x="180" y="168"/>
                      <a:pt x="180" y="168"/>
                      <a:pt x="179" y="168"/>
                    </a:cubicBezTo>
                    <a:cubicBezTo>
                      <a:pt x="179" y="169"/>
                      <a:pt x="179" y="169"/>
                      <a:pt x="179" y="169"/>
                    </a:cubicBezTo>
                    <a:cubicBezTo>
                      <a:pt x="178" y="170"/>
                      <a:pt x="178" y="170"/>
                      <a:pt x="178" y="170"/>
                    </a:cubicBezTo>
                    <a:cubicBezTo>
                      <a:pt x="178" y="170"/>
                      <a:pt x="178" y="171"/>
                      <a:pt x="178" y="171"/>
                    </a:cubicBezTo>
                    <a:cubicBezTo>
                      <a:pt x="178" y="171"/>
                      <a:pt x="177" y="170"/>
                      <a:pt x="177" y="170"/>
                    </a:cubicBezTo>
                    <a:cubicBezTo>
                      <a:pt x="176" y="170"/>
                      <a:pt x="176" y="170"/>
                      <a:pt x="175" y="169"/>
                    </a:cubicBezTo>
                    <a:cubicBezTo>
                      <a:pt x="175" y="170"/>
                      <a:pt x="177" y="171"/>
                      <a:pt x="178" y="171"/>
                    </a:cubicBezTo>
                    <a:cubicBezTo>
                      <a:pt x="177" y="171"/>
                      <a:pt x="176" y="172"/>
                      <a:pt x="175" y="172"/>
                    </a:cubicBezTo>
                    <a:cubicBezTo>
                      <a:pt x="174" y="173"/>
                      <a:pt x="173" y="173"/>
                      <a:pt x="172" y="173"/>
                    </a:cubicBezTo>
                    <a:cubicBezTo>
                      <a:pt x="171" y="173"/>
                      <a:pt x="170" y="174"/>
                      <a:pt x="170" y="174"/>
                    </a:cubicBezTo>
                    <a:cubicBezTo>
                      <a:pt x="170" y="174"/>
                      <a:pt x="169" y="174"/>
                      <a:pt x="169" y="174"/>
                    </a:cubicBezTo>
                    <a:cubicBezTo>
                      <a:pt x="169" y="173"/>
                      <a:pt x="170" y="173"/>
                      <a:pt x="170" y="173"/>
                    </a:cubicBezTo>
                    <a:cubicBezTo>
                      <a:pt x="170" y="173"/>
                      <a:pt x="170" y="174"/>
                      <a:pt x="170" y="174"/>
                    </a:cubicBezTo>
                    <a:cubicBezTo>
                      <a:pt x="171" y="173"/>
                      <a:pt x="170" y="170"/>
                      <a:pt x="168" y="172"/>
                    </a:cubicBezTo>
                    <a:cubicBezTo>
                      <a:pt x="168" y="173"/>
                      <a:pt x="168" y="173"/>
                      <a:pt x="167" y="173"/>
                    </a:cubicBezTo>
                    <a:cubicBezTo>
                      <a:pt x="167" y="173"/>
                      <a:pt x="167" y="174"/>
                      <a:pt x="167" y="174"/>
                    </a:cubicBezTo>
                    <a:cubicBezTo>
                      <a:pt x="166" y="175"/>
                      <a:pt x="167" y="175"/>
                      <a:pt x="166" y="175"/>
                    </a:cubicBezTo>
                    <a:cubicBezTo>
                      <a:pt x="166" y="176"/>
                      <a:pt x="166" y="176"/>
                      <a:pt x="166" y="176"/>
                    </a:cubicBezTo>
                    <a:cubicBezTo>
                      <a:pt x="167" y="176"/>
                      <a:pt x="167" y="176"/>
                      <a:pt x="167" y="175"/>
                    </a:cubicBezTo>
                    <a:cubicBezTo>
                      <a:pt x="167" y="175"/>
                      <a:pt x="167" y="175"/>
                      <a:pt x="167" y="175"/>
                    </a:cubicBezTo>
                    <a:cubicBezTo>
                      <a:pt x="167" y="175"/>
                      <a:pt x="167" y="175"/>
                      <a:pt x="167" y="175"/>
                    </a:cubicBezTo>
                    <a:cubicBezTo>
                      <a:pt x="167" y="175"/>
                      <a:pt x="167" y="174"/>
                      <a:pt x="167" y="174"/>
                    </a:cubicBezTo>
                    <a:cubicBezTo>
                      <a:pt x="168" y="174"/>
                      <a:pt x="168" y="174"/>
                      <a:pt x="168" y="174"/>
                    </a:cubicBezTo>
                    <a:cubicBezTo>
                      <a:pt x="169" y="174"/>
                      <a:pt x="169" y="175"/>
                      <a:pt x="169" y="175"/>
                    </a:cubicBezTo>
                    <a:cubicBezTo>
                      <a:pt x="168" y="175"/>
                      <a:pt x="168" y="175"/>
                      <a:pt x="168" y="175"/>
                    </a:cubicBezTo>
                    <a:cubicBezTo>
                      <a:pt x="168" y="175"/>
                      <a:pt x="169" y="175"/>
                      <a:pt x="169" y="175"/>
                    </a:cubicBezTo>
                    <a:cubicBezTo>
                      <a:pt x="167" y="175"/>
                      <a:pt x="167" y="177"/>
                      <a:pt x="166" y="178"/>
                    </a:cubicBezTo>
                    <a:cubicBezTo>
                      <a:pt x="165" y="178"/>
                      <a:pt x="165" y="179"/>
                      <a:pt x="164" y="179"/>
                    </a:cubicBezTo>
                    <a:cubicBezTo>
                      <a:pt x="164" y="179"/>
                      <a:pt x="164" y="181"/>
                      <a:pt x="163" y="180"/>
                    </a:cubicBezTo>
                    <a:cubicBezTo>
                      <a:pt x="163" y="180"/>
                      <a:pt x="163" y="181"/>
                      <a:pt x="164" y="180"/>
                    </a:cubicBezTo>
                    <a:cubicBezTo>
                      <a:pt x="163" y="182"/>
                      <a:pt x="162" y="183"/>
                      <a:pt x="161" y="185"/>
                    </a:cubicBezTo>
                    <a:cubicBezTo>
                      <a:pt x="161" y="185"/>
                      <a:pt x="159" y="187"/>
                      <a:pt x="159" y="187"/>
                    </a:cubicBezTo>
                    <a:cubicBezTo>
                      <a:pt x="159" y="187"/>
                      <a:pt x="160" y="187"/>
                      <a:pt x="160" y="187"/>
                    </a:cubicBezTo>
                    <a:cubicBezTo>
                      <a:pt x="159" y="187"/>
                      <a:pt x="159" y="188"/>
                      <a:pt x="158" y="188"/>
                    </a:cubicBezTo>
                    <a:cubicBezTo>
                      <a:pt x="158" y="189"/>
                      <a:pt x="158" y="189"/>
                      <a:pt x="157" y="190"/>
                    </a:cubicBezTo>
                    <a:cubicBezTo>
                      <a:pt x="156" y="190"/>
                      <a:pt x="155" y="191"/>
                      <a:pt x="154" y="192"/>
                    </a:cubicBezTo>
                    <a:cubicBezTo>
                      <a:pt x="154" y="192"/>
                      <a:pt x="153" y="193"/>
                      <a:pt x="153" y="193"/>
                    </a:cubicBezTo>
                    <a:cubicBezTo>
                      <a:pt x="153" y="193"/>
                      <a:pt x="152" y="193"/>
                      <a:pt x="152" y="194"/>
                    </a:cubicBezTo>
                    <a:cubicBezTo>
                      <a:pt x="152" y="194"/>
                      <a:pt x="152" y="195"/>
                      <a:pt x="152" y="195"/>
                    </a:cubicBezTo>
                    <a:cubicBezTo>
                      <a:pt x="151" y="195"/>
                      <a:pt x="151" y="196"/>
                      <a:pt x="151" y="196"/>
                    </a:cubicBezTo>
                    <a:cubicBezTo>
                      <a:pt x="151" y="196"/>
                      <a:pt x="151" y="196"/>
                      <a:pt x="151" y="196"/>
                    </a:cubicBezTo>
                    <a:cubicBezTo>
                      <a:pt x="150" y="196"/>
                      <a:pt x="151" y="196"/>
                      <a:pt x="151" y="196"/>
                    </a:cubicBezTo>
                    <a:cubicBezTo>
                      <a:pt x="151" y="196"/>
                      <a:pt x="150" y="196"/>
                      <a:pt x="150" y="197"/>
                    </a:cubicBezTo>
                    <a:cubicBezTo>
                      <a:pt x="150" y="197"/>
                      <a:pt x="150" y="197"/>
                      <a:pt x="151" y="197"/>
                    </a:cubicBezTo>
                    <a:cubicBezTo>
                      <a:pt x="150" y="197"/>
                      <a:pt x="150" y="197"/>
                      <a:pt x="150" y="197"/>
                    </a:cubicBezTo>
                    <a:cubicBezTo>
                      <a:pt x="149" y="198"/>
                      <a:pt x="149" y="198"/>
                      <a:pt x="148" y="198"/>
                    </a:cubicBezTo>
                    <a:cubicBezTo>
                      <a:pt x="148" y="199"/>
                      <a:pt x="146" y="199"/>
                      <a:pt x="145" y="200"/>
                    </a:cubicBezTo>
                    <a:cubicBezTo>
                      <a:pt x="145" y="200"/>
                      <a:pt x="144" y="201"/>
                      <a:pt x="143" y="202"/>
                    </a:cubicBezTo>
                    <a:cubicBezTo>
                      <a:pt x="142" y="204"/>
                      <a:pt x="141" y="205"/>
                      <a:pt x="143" y="205"/>
                    </a:cubicBezTo>
                    <a:cubicBezTo>
                      <a:pt x="143" y="205"/>
                      <a:pt x="143" y="207"/>
                      <a:pt x="143" y="208"/>
                    </a:cubicBezTo>
                    <a:cubicBezTo>
                      <a:pt x="143" y="208"/>
                      <a:pt x="142" y="208"/>
                      <a:pt x="143" y="208"/>
                    </a:cubicBezTo>
                    <a:cubicBezTo>
                      <a:pt x="143" y="208"/>
                      <a:pt x="142" y="209"/>
                      <a:pt x="142" y="209"/>
                    </a:cubicBezTo>
                    <a:cubicBezTo>
                      <a:pt x="141" y="209"/>
                      <a:pt x="140" y="210"/>
                      <a:pt x="139" y="210"/>
                    </a:cubicBezTo>
                    <a:cubicBezTo>
                      <a:pt x="138" y="211"/>
                      <a:pt x="138" y="211"/>
                      <a:pt x="137" y="211"/>
                    </a:cubicBezTo>
                    <a:cubicBezTo>
                      <a:pt x="137" y="211"/>
                      <a:pt x="136" y="211"/>
                      <a:pt x="136" y="211"/>
                    </a:cubicBezTo>
                    <a:cubicBezTo>
                      <a:pt x="136" y="211"/>
                      <a:pt x="136" y="210"/>
                      <a:pt x="136" y="210"/>
                    </a:cubicBezTo>
                    <a:cubicBezTo>
                      <a:pt x="136" y="211"/>
                      <a:pt x="135" y="211"/>
                      <a:pt x="135" y="211"/>
                    </a:cubicBezTo>
                    <a:cubicBezTo>
                      <a:pt x="135" y="211"/>
                      <a:pt x="134" y="210"/>
                      <a:pt x="134" y="210"/>
                    </a:cubicBezTo>
                    <a:cubicBezTo>
                      <a:pt x="134" y="210"/>
                      <a:pt x="134" y="210"/>
                      <a:pt x="134" y="210"/>
                    </a:cubicBezTo>
                    <a:cubicBezTo>
                      <a:pt x="133" y="211"/>
                      <a:pt x="133" y="213"/>
                      <a:pt x="132" y="214"/>
                    </a:cubicBezTo>
                    <a:cubicBezTo>
                      <a:pt x="132" y="215"/>
                      <a:pt x="132" y="215"/>
                      <a:pt x="131" y="216"/>
                    </a:cubicBezTo>
                    <a:cubicBezTo>
                      <a:pt x="131" y="216"/>
                      <a:pt x="131" y="217"/>
                      <a:pt x="131" y="217"/>
                    </a:cubicBezTo>
                    <a:cubicBezTo>
                      <a:pt x="131" y="217"/>
                      <a:pt x="130" y="216"/>
                      <a:pt x="130" y="216"/>
                    </a:cubicBezTo>
                    <a:cubicBezTo>
                      <a:pt x="130" y="216"/>
                      <a:pt x="130" y="215"/>
                      <a:pt x="130" y="214"/>
                    </a:cubicBezTo>
                    <a:cubicBezTo>
                      <a:pt x="130" y="214"/>
                      <a:pt x="130" y="214"/>
                      <a:pt x="130" y="214"/>
                    </a:cubicBezTo>
                    <a:cubicBezTo>
                      <a:pt x="130" y="214"/>
                      <a:pt x="130" y="214"/>
                      <a:pt x="130" y="214"/>
                    </a:cubicBezTo>
                    <a:cubicBezTo>
                      <a:pt x="130" y="215"/>
                      <a:pt x="130" y="217"/>
                      <a:pt x="129" y="217"/>
                    </a:cubicBezTo>
                    <a:cubicBezTo>
                      <a:pt x="130" y="217"/>
                      <a:pt x="129" y="216"/>
                      <a:pt x="129" y="216"/>
                    </a:cubicBezTo>
                    <a:cubicBezTo>
                      <a:pt x="128" y="215"/>
                      <a:pt x="128" y="216"/>
                      <a:pt x="127" y="216"/>
                    </a:cubicBezTo>
                    <a:cubicBezTo>
                      <a:pt x="125" y="216"/>
                      <a:pt x="124" y="218"/>
                      <a:pt x="124" y="220"/>
                    </a:cubicBezTo>
                    <a:cubicBezTo>
                      <a:pt x="124" y="221"/>
                      <a:pt x="123" y="221"/>
                      <a:pt x="123" y="222"/>
                    </a:cubicBezTo>
                    <a:cubicBezTo>
                      <a:pt x="123" y="224"/>
                      <a:pt x="123" y="225"/>
                      <a:pt x="123" y="226"/>
                    </a:cubicBezTo>
                    <a:cubicBezTo>
                      <a:pt x="123" y="226"/>
                      <a:pt x="123" y="227"/>
                      <a:pt x="123" y="227"/>
                    </a:cubicBezTo>
                    <a:cubicBezTo>
                      <a:pt x="123" y="228"/>
                      <a:pt x="123" y="229"/>
                      <a:pt x="124" y="229"/>
                    </a:cubicBezTo>
                    <a:cubicBezTo>
                      <a:pt x="124" y="229"/>
                      <a:pt x="124" y="229"/>
                      <a:pt x="124" y="229"/>
                    </a:cubicBezTo>
                    <a:cubicBezTo>
                      <a:pt x="124" y="229"/>
                      <a:pt x="124" y="230"/>
                      <a:pt x="124" y="230"/>
                    </a:cubicBezTo>
                    <a:cubicBezTo>
                      <a:pt x="124" y="230"/>
                      <a:pt x="124" y="230"/>
                      <a:pt x="124" y="230"/>
                    </a:cubicBezTo>
                    <a:cubicBezTo>
                      <a:pt x="124" y="230"/>
                      <a:pt x="125" y="230"/>
                      <a:pt x="125" y="230"/>
                    </a:cubicBezTo>
                    <a:cubicBezTo>
                      <a:pt x="125" y="231"/>
                      <a:pt x="124" y="231"/>
                      <a:pt x="124" y="232"/>
                    </a:cubicBezTo>
                    <a:cubicBezTo>
                      <a:pt x="125" y="233"/>
                      <a:pt x="124" y="233"/>
                      <a:pt x="123" y="234"/>
                    </a:cubicBezTo>
                    <a:cubicBezTo>
                      <a:pt x="124" y="234"/>
                      <a:pt x="124" y="234"/>
                      <a:pt x="124" y="234"/>
                    </a:cubicBezTo>
                    <a:cubicBezTo>
                      <a:pt x="124" y="234"/>
                      <a:pt x="124" y="236"/>
                      <a:pt x="124" y="236"/>
                    </a:cubicBezTo>
                    <a:cubicBezTo>
                      <a:pt x="125" y="237"/>
                      <a:pt x="125" y="237"/>
                      <a:pt x="125" y="238"/>
                    </a:cubicBezTo>
                    <a:cubicBezTo>
                      <a:pt x="126" y="239"/>
                      <a:pt x="125" y="240"/>
                      <a:pt x="126" y="240"/>
                    </a:cubicBezTo>
                    <a:cubicBezTo>
                      <a:pt x="126" y="241"/>
                      <a:pt x="127" y="242"/>
                      <a:pt x="127" y="243"/>
                    </a:cubicBezTo>
                    <a:cubicBezTo>
                      <a:pt x="126" y="243"/>
                      <a:pt x="126" y="242"/>
                      <a:pt x="126" y="242"/>
                    </a:cubicBezTo>
                    <a:cubicBezTo>
                      <a:pt x="126" y="241"/>
                      <a:pt x="125" y="240"/>
                      <a:pt x="125" y="239"/>
                    </a:cubicBezTo>
                    <a:cubicBezTo>
                      <a:pt x="125" y="240"/>
                      <a:pt x="125" y="240"/>
                      <a:pt x="125" y="241"/>
                    </a:cubicBezTo>
                    <a:cubicBezTo>
                      <a:pt x="125" y="241"/>
                      <a:pt x="124" y="240"/>
                      <a:pt x="124" y="240"/>
                    </a:cubicBezTo>
                    <a:cubicBezTo>
                      <a:pt x="124" y="240"/>
                      <a:pt x="124" y="240"/>
                      <a:pt x="124" y="241"/>
                    </a:cubicBezTo>
                    <a:cubicBezTo>
                      <a:pt x="124" y="241"/>
                      <a:pt x="124" y="241"/>
                      <a:pt x="125" y="242"/>
                    </a:cubicBezTo>
                    <a:cubicBezTo>
                      <a:pt x="125" y="242"/>
                      <a:pt x="126" y="242"/>
                      <a:pt x="127" y="243"/>
                    </a:cubicBezTo>
                    <a:cubicBezTo>
                      <a:pt x="127" y="245"/>
                      <a:pt x="127" y="247"/>
                      <a:pt x="126" y="249"/>
                    </a:cubicBezTo>
                    <a:cubicBezTo>
                      <a:pt x="126" y="250"/>
                      <a:pt x="126" y="252"/>
                      <a:pt x="126" y="253"/>
                    </a:cubicBezTo>
                    <a:cubicBezTo>
                      <a:pt x="126" y="254"/>
                      <a:pt x="125" y="254"/>
                      <a:pt x="125" y="255"/>
                    </a:cubicBezTo>
                    <a:cubicBezTo>
                      <a:pt x="125" y="255"/>
                      <a:pt x="124" y="256"/>
                      <a:pt x="124" y="256"/>
                    </a:cubicBezTo>
                    <a:cubicBezTo>
                      <a:pt x="124" y="256"/>
                      <a:pt x="124" y="256"/>
                      <a:pt x="124" y="256"/>
                    </a:cubicBezTo>
                    <a:cubicBezTo>
                      <a:pt x="124" y="256"/>
                      <a:pt x="124" y="257"/>
                      <a:pt x="124" y="258"/>
                    </a:cubicBezTo>
                    <a:cubicBezTo>
                      <a:pt x="123" y="258"/>
                      <a:pt x="123" y="259"/>
                      <a:pt x="123" y="260"/>
                    </a:cubicBezTo>
                    <a:cubicBezTo>
                      <a:pt x="123" y="262"/>
                      <a:pt x="122" y="263"/>
                      <a:pt x="123" y="265"/>
                    </a:cubicBezTo>
                    <a:cubicBezTo>
                      <a:pt x="123" y="264"/>
                      <a:pt x="123" y="266"/>
                      <a:pt x="123" y="265"/>
                    </a:cubicBezTo>
                    <a:cubicBezTo>
                      <a:pt x="123" y="265"/>
                      <a:pt x="122" y="266"/>
                      <a:pt x="122" y="266"/>
                    </a:cubicBezTo>
                    <a:cubicBezTo>
                      <a:pt x="122" y="266"/>
                      <a:pt x="123" y="265"/>
                      <a:pt x="123" y="265"/>
                    </a:cubicBezTo>
                    <a:cubicBezTo>
                      <a:pt x="124" y="266"/>
                      <a:pt x="124" y="267"/>
                      <a:pt x="124" y="267"/>
                    </a:cubicBezTo>
                    <a:cubicBezTo>
                      <a:pt x="124" y="269"/>
                      <a:pt x="124" y="271"/>
                      <a:pt x="124" y="272"/>
                    </a:cubicBezTo>
                    <a:cubicBezTo>
                      <a:pt x="124" y="274"/>
                      <a:pt x="125" y="276"/>
                      <a:pt x="124" y="277"/>
                    </a:cubicBezTo>
                    <a:cubicBezTo>
                      <a:pt x="124" y="278"/>
                      <a:pt x="123" y="276"/>
                      <a:pt x="122" y="277"/>
                    </a:cubicBezTo>
                    <a:cubicBezTo>
                      <a:pt x="122" y="277"/>
                      <a:pt x="123" y="277"/>
                      <a:pt x="123" y="277"/>
                    </a:cubicBezTo>
                    <a:cubicBezTo>
                      <a:pt x="123" y="278"/>
                      <a:pt x="122" y="277"/>
                      <a:pt x="122" y="277"/>
                    </a:cubicBezTo>
                    <a:cubicBezTo>
                      <a:pt x="121" y="277"/>
                      <a:pt x="122" y="277"/>
                      <a:pt x="122" y="277"/>
                    </a:cubicBezTo>
                    <a:cubicBezTo>
                      <a:pt x="122" y="277"/>
                      <a:pt x="120" y="277"/>
                      <a:pt x="120" y="277"/>
                    </a:cubicBezTo>
                    <a:cubicBezTo>
                      <a:pt x="119" y="277"/>
                      <a:pt x="119" y="278"/>
                      <a:pt x="118" y="279"/>
                    </a:cubicBezTo>
                    <a:cubicBezTo>
                      <a:pt x="118" y="280"/>
                      <a:pt x="119" y="280"/>
                      <a:pt x="118" y="281"/>
                    </a:cubicBezTo>
                    <a:cubicBezTo>
                      <a:pt x="118" y="282"/>
                      <a:pt x="117" y="283"/>
                      <a:pt x="116" y="284"/>
                    </a:cubicBezTo>
                    <a:cubicBezTo>
                      <a:pt x="116" y="285"/>
                      <a:pt x="115" y="287"/>
                      <a:pt x="117" y="288"/>
                    </a:cubicBezTo>
                    <a:cubicBezTo>
                      <a:pt x="118" y="288"/>
                      <a:pt x="119" y="288"/>
                      <a:pt x="120" y="288"/>
                    </a:cubicBezTo>
                    <a:cubicBezTo>
                      <a:pt x="120" y="288"/>
                      <a:pt x="121" y="290"/>
                      <a:pt x="121" y="290"/>
                    </a:cubicBezTo>
                    <a:cubicBezTo>
                      <a:pt x="121" y="289"/>
                      <a:pt x="120" y="289"/>
                      <a:pt x="119" y="289"/>
                    </a:cubicBezTo>
                    <a:cubicBezTo>
                      <a:pt x="119" y="288"/>
                      <a:pt x="118" y="289"/>
                      <a:pt x="117" y="289"/>
                    </a:cubicBezTo>
                    <a:cubicBezTo>
                      <a:pt x="116" y="289"/>
                      <a:pt x="115" y="289"/>
                      <a:pt x="114" y="289"/>
                    </a:cubicBezTo>
                    <a:cubicBezTo>
                      <a:pt x="113" y="290"/>
                      <a:pt x="111" y="290"/>
                      <a:pt x="110" y="291"/>
                    </a:cubicBezTo>
                    <a:cubicBezTo>
                      <a:pt x="109" y="292"/>
                      <a:pt x="109" y="293"/>
                      <a:pt x="109" y="294"/>
                    </a:cubicBezTo>
                    <a:cubicBezTo>
                      <a:pt x="109" y="294"/>
                      <a:pt x="109" y="294"/>
                      <a:pt x="109" y="294"/>
                    </a:cubicBezTo>
                    <a:cubicBezTo>
                      <a:pt x="109" y="294"/>
                      <a:pt x="108" y="295"/>
                      <a:pt x="109" y="295"/>
                    </a:cubicBezTo>
                    <a:cubicBezTo>
                      <a:pt x="109" y="296"/>
                      <a:pt x="108" y="297"/>
                      <a:pt x="108" y="298"/>
                    </a:cubicBezTo>
                    <a:cubicBezTo>
                      <a:pt x="108" y="299"/>
                      <a:pt x="106" y="299"/>
                      <a:pt x="105" y="300"/>
                    </a:cubicBezTo>
                    <a:cubicBezTo>
                      <a:pt x="105" y="300"/>
                      <a:pt x="105" y="300"/>
                      <a:pt x="105" y="300"/>
                    </a:cubicBezTo>
                    <a:cubicBezTo>
                      <a:pt x="105" y="301"/>
                      <a:pt x="104" y="301"/>
                      <a:pt x="104" y="301"/>
                    </a:cubicBezTo>
                    <a:cubicBezTo>
                      <a:pt x="104" y="301"/>
                      <a:pt x="103" y="301"/>
                      <a:pt x="103" y="302"/>
                    </a:cubicBezTo>
                    <a:cubicBezTo>
                      <a:pt x="101" y="301"/>
                      <a:pt x="99" y="300"/>
                      <a:pt x="98" y="298"/>
                    </a:cubicBezTo>
                    <a:cubicBezTo>
                      <a:pt x="97" y="297"/>
                      <a:pt x="96" y="296"/>
                      <a:pt x="95" y="295"/>
                    </a:cubicBezTo>
                    <a:cubicBezTo>
                      <a:pt x="95" y="294"/>
                      <a:pt x="94" y="294"/>
                      <a:pt x="94" y="293"/>
                    </a:cubicBezTo>
                    <a:cubicBezTo>
                      <a:pt x="94" y="293"/>
                      <a:pt x="93" y="293"/>
                      <a:pt x="93" y="292"/>
                    </a:cubicBezTo>
                    <a:cubicBezTo>
                      <a:pt x="93" y="292"/>
                      <a:pt x="94" y="293"/>
                      <a:pt x="94" y="292"/>
                    </a:cubicBezTo>
                    <a:cubicBezTo>
                      <a:pt x="93" y="292"/>
                      <a:pt x="93" y="292"/>
                      <a:pt x="93" y="292"/>
                    </a:cubicBezTo>
                    <a:cubicBezTo>
                      <a:pt x="93" y="292"/>
                      <a:pt x="94" y="292"/>
                      <a:pt x="94" y="292"/>
                    </a:cubicBezTo>
                    <a:cubicBezTo>
                      <a:pt x="94" y="292"/>
                      <a:pt x="94" y="291"/>
                      <a:pt x="94" y="291"/>
                    </a:cubicBezTo>
                    <a:cubicBezTo>
                      <a:pt x="94" y="291"/>
                      <a:pt x="93" y="291"/>
                      <a:pt x="93" y="292"/>
                    </a:cubicBezTo>
                    <a:cubicBezTo>
                      <a:pt x="93" y="291"/>
                      <a:pt x="93" y="292"/>
                      <a:pt x="93" y="292"/>
                    </a:cubicBezTo>
                    <a:cubicBezTo>
                      <a:pt x="93" y="291"/>
                      <a:pt x="92" y="291"/>
                      <a:pt x="92" y="290"/>
                    </a:cubicBezTo>
                    <a:cubicBezTo>
                      <a:pt x="93" y="290"/>
                      <a:pt x="92" y="289"/>
                      <a:pt x="92" y="289"/>
                    </a:cubicBezTo>
                    <a:cubicBezTo>
                      <a:pt x="92" y="289"/>
                      <a:pt x="92" y="290"/>
                      <a:pt x="92" y="290"/>
                    </a:cubicBezTo>
                    <a:cubicBezTo>
                      <a:pt x="91" y="289"/>
                      <a:pt x="91" y="287"/>
                      <a:pt x="90" y="286"/>
                    </a:cubicBezTo>
                    <a:cubicBezTo>
                      <a:pt x="90" y="285"/>
                      <a:pt x="90" y="284"/>
                      <a:pt x="90" y="283"/>
                    </a:cubicBezTo>
                    <a:cubicBezTo>
                      <a:pt x="90" y="283"/>
                      <a:pt x="89" y="281"/>
                      <a:pt x="90" y="281"/>
                    </a:cubicBezTo>
                    <a:cubicBezTo>
                      <a:pt x="90" y="281"/>
                      <a:pt x="90" y="281"/>
                      <a:pt x="90" y="281"/>
                    </a:cubicBezTo>
                    <a:cubicBezTo>
                      <a:pt x="90" y="281"/>
                      <a:pt x="90" y="282"/>
                      <a:pt x="90" y="282"/>
                    </a:cubicBezTo>
                    <a:cubicBezTo>
                      <a:pt x="90" y="282"/>
                      <a:pt x="90" y="282"/>
                      <a:pt x="90" y="282"/>
                    </a:cubicBezTo>
                    <a:cubicBezTo>
                      <a:pt x="90" y="282"/>
                      <a:pt x="90" y="282"/>
                      <a:pt x="90" y="282"/>
                    </a:cubicBezTo>
                    <a:cubicBezTo>
                      <a:pt x="90" y="282"/>
                      <a:pt x="90" y="283"/>
                      <a:pt x="91" y="284"/>
                    </a:cubicBezTo>
                    <a:cubicBezTo>
                      <a:pt x="91" y="283"/>
                      <a:pt x="90" y="282"/>
                      <a:pt x="90" y="282"/>
                    </a:cubicBezTo>
                    <a:cubicBezTo>
                      <a:pt x="91" y="282"/>
                      <a:pt x="91" y="283"/>
                      <a:pt x="91" y="284"/>
                    </a:cubicBezTo>
                    <a:cubicBezTo>
                      <a:pt x="91" y="284"/>
                      <a:pt x="91" y="284"/>
                      <a:pt x="91" y="285"/>
                    </a:cubicBezTo>
                    <a:cubicBezTo>
                      <a:pt x="91" y="286"/>
                      <a:pt x="91" y="286"/>
                      <a:pt x="92" y="286"/>
                    </a:cubicBezTo>
                    <a:cubicBezTo>
                      <a:pt x="92" y="286"/>
                      <a:pt x="92" y="285"/>
                      <a:pt x="92" y="285"/>
                    </a:cubicBezTo>
                    <a:cubicBezTo>
                      <a:pt x="92" y="285"/>
                      <a:pt x="91" y="282"/>
                      <a:pt x="91" y="281"/>
                    </a:cubicBezTo>
                    <a:cubicBezTo>
                      <a:pt x="90" y="281"/>
                      <a:pt x="90" y="281"/>
                      <a:pt x="90" y="280"/>
                    </a:cubicBezTo>
                    <a:cubicBezTo>
                      <a:pt x="90" y="279"/>
                      <a:pt x="89" y="279"/>
                      <a:pt x="89" y="279"/>
                    </a:cubicBezTo>
                    <a:cubicBezTo>
                      <a:pt x="89" y="279"/>
                      <a:pt x="90" y="280"/>
                      <a:pt x="90" y="280"/>
                    </a:cubicBezTo>
                    <a:cubicBezTo>
                      <a:pt x="89" y="280"/>
                      <a:pt x="89" y="279"/>
                      <a:pt x="89" y="279"/>
                    </a:cubicBezTo>
                    <a:cubicBezTo>
                      <a:pt x="89" y="278"/>
                      <a:pt x="90" y="278"/>
                      <a:pt x="89" y="277"/>
                    </a:cubicBezTo>
                    <a:cubicBezTo>
                      <a:pt x="89" y="278"/>
                      <a:pt x="89" y="279"/>
                      <a:pt x="88" y="278"/>
                    </a:cubicBezTo>
                    <a:cubicBezTo>
                      <a:pt x="88" y="277"/>
                      <a:pt x="88" y="276"/>
                      <a:pt x="88" y="275"/>
                    </a:cubicBezTo>
                    <a:cubicBezTo>
                      <a:pt x="87" y="274"/>
                      <a:pt x="86" y="273"/>
                      <a:pt x="86" y="272"/>
                    </a:cubicBezTo>
                    <a:cubicBezTo>
                      <a:pt x="86" y="271"/>
                      <a:pt x="86" y="271"/>
                      <a:pt x="86" y="271"/>
                    </a:cubicBezTo>
                    <a:cubicBezTo>
                      <a:pt x="85" y="270"/>
                      <a:pt x="85" y="269"/>
                      <a:pt x="85" y="269"/>
                    </a:cubicBezTo>
                    <a:cubicBezTo>
                      <a:pt x="85" y="268"/>
                      <a:pt x="84" y="267"/>
                      <a:pt x="84" y="266"/>
                    </a:cubicBezTo>
                    <a:cubicBezTo>
                      <a:pt x="84" y="265"/>
                      <a:pt x="83" y="264"/>
                      <a:pt x="82" y="264"/>
                    </a:cubicBezTo>
                    <a:cubicBezTo>
                      <a:pt x="82" y="263"/>
                      <a:pt x="82" y="262"/>
                      <a:pt x="81" y="261"/>
                    </a:cubicBezTo>
                    <a:cubicBezTo>
                      <a:pt x="81" y="260"/>
                      <a:pt x="80" y="260"/>
                      <a:pt x="80" y="260"/>
                    </a:cubicBezTo>
                    <a:cubicBezTo>
                      <a:pt x="79" y="259"/>
                      <a:pt x="80" y="259"/>
                      <a:pt x="80" y="259"/>
                    </a:cubicBezTo>
                    <a:cubicBezTo>
                      <a:pt x="80" y="259"/>
                      <a:pt x="80" y="259"/>
                      <a:pt x="80" y="259"/>
                    </a:cubicBezTo>
                    <a:cubicBezTo>
                      <a:pt x="80" y="259"/>
                      <a:pt x="79" y="259"/>
                      <a:pt x="79" y="258"/>
                    </a:cubicBezTo>
                    <a:cubicBezTo>
                      <a:pt x="79" y="258"/>
                      <a:pt x="79" y="258"/>
                      <a:pt x="79" y="258"/>
                    </a:cubicBezTo>
                    <a:cubicBezTo>
                      <a:pt x="80" y="258"/>
                      <a:pt x="79" y="258"/>
                      <a:pt x="79" y="258"/>
                    </a:cubicBezTo>
                    <a:cubicBezTo>
                      <a:pt x="78" y="258"/>
                      <a:pt x="78" y="258"/>
                      <a:pt x="78" y="258"/>
                    </a:cubicBezTo>
                    <a:cubicBezTo>
                      <a:pt x="78" y="257"/>
                      <a:pt x="77" y="256"/>
                      <a:pt x="78" y="256"/>
                    </a:cubicBezTo>
                    <a:cubicBezTo>
                      <a:pt x="77" y="256"/>
                      <a:pt x="77" y="256"/>
                      <a:pt x="77" y="256"/>
                    </a:cubicBezTo>
                    <a:cubicBezTo>
                      <a:pt x="77" y="255"/>
                      <a:pt x="76" y="254"/>
                      <a:pt x="76" y="253"/>
                    </a:cubicBezTo>
                    <a:cubicBezTo>
                      <a:pt x="75" y="252"/>
                      <a:pt x="75" y="250"/>
                      <a:pt x="74" y="249"/>
                    </a:cubicBezTo>
                    <a:cubicBezTo>
                      <a:pt x="75" y="249"/>
                      <a:pt x="75" y="249"/>
                      <a:pt x="75" y="249"/>
                    </a:cubicBezTo>
                    <a:cubicBezTo>
                      <a:pt x="75" y="249"/>
                      <a:pt x="75" y="249"/>
                      <a:pt x="74" y="249"/>
                    </a:cubicBezTo>
                    <a:cubicBezTo>
                      <a:pt x="74" y="249"/>
                      <a:pt x="74" y="248"/>
                      <a:pt x="74" y="247"/>
                    </a:cubicBezTo>
                    <a:cubicBezTo>
                      <a:pt x="73" y="246"/>
                      <a:pt x="73" y="244"/>
                      <a:pt x="72" y="243"/>
                    </a:cubicBezTo>
                    <a:cubicBezTo>
                      <a:pt x="72" y="243"/>
                      <a:pt x="72" y="243"/>
                      <a:pt x="72" y="243"/>
                    </a:cubicBezTo>
                    <a:cubicBezTo>
                      <a:pt x="73" y="243"/>
                      <a:pt x="72" y="242"/>
                      <a:pt x="72" y="242"/>
                    </a:cubicBezTo>
                    <a:cubicBezTo>
                      <a:pt x="72" y="241"/>
                      <a:pt x="72" y="241"/>
                      <a:pt x="72" y="241"/>
                    </a:cubicBezTo>
                    <a:cubicBezTo>
                      <a:pt x="72" y="240"/>
                      <a:pt x="72" y="240"/>
                      <a:pt x="73" y="240"/>
                    </a:cubicBezTo>
                    <a:cubicBezTo>
                      <a:pt x="73" y="240"/>
                      <a:pt x="72" y="240"/>
                      <a:pt x="72" y="240"/>
                    </a:cubicBezTo>
                    <a:cubicBezTo>
                      <a:pt x="72" y="240"/>
                      <a:pt x="72" y="240"/>
                      <a:pt x="72" y="240"/>
                    </a:cubicBezTo>
                    <a:cubicBezTo>
                      <a:pt x="72" y="240"/>
                      <a:pt x="72" y="239"/>
                      <a:pt x="72" y="239"/>
                    </a:cubicBezTo>
                    <a:cubicBezTo>
                      <a:pt x="71" y="238"/>
                      <a:pt x="71" y="237"/>
                      <a:pt x="71" y="237"/>
                    </a:cubicBezTo>
                    <a:cubicBezTo>
                      <a:pt x="70" y="236"/>
                      <a:pt x="69" y="235"/>
                      <a:pt x="69" y="234"/>
                    </a:cubicBezTo>
                    <a:cubicBezTo>
                      <a:pt x="70" y="234"/>
                      <a:pt x="70" y="234"/>
                      <a:pt x="70" y="234"/>
                    </a:cubicBezTo>
                    <a:cubicBezTo>
                      <a:pt x="70" y="233"/>
                      <a:pt x="69" y="233"/>
                      <a:pt x="69" y="233"/>
                    </a:cubicBezTo>
                    <a:cubicBezTo>
                      <a:pt x="69" y="232"/>
                      <a:pt x="68" y="231"/>
                      <a:pt x="68" y="231"/>
                    </a:cubicBezTo>
                    <a:cubicBezTo>
                      <a:pt x="69" y="231"/>
                      <a:pt x="69" y="231"/>
                      <a:pt x="69" y="231"/>
                    </a:cubicBezTo>
                    <a:cubicBezTo>
                      <a:pt x="69" y="231"/>
                      <a:pt x="69" y="231"/>
                      <a:pt x="69" y="231"/>
                    </a:cubicBezTo>
                    <a:cubicBezTo>
                      <a:pt x="69" y="231"/>
                      <a:pt x="68" y="231"/>
                      <a:pt x="68" y="230"/>
                    </a:cubicBezTo>
                    <a:cubicBezTo>
                      <a:pt x="68" y="230"/>
                      <a:pt x="68" y="231"/>
                      <a:pt x="68" y="231"/>
                    </a:cubicBezTo>
                    <a:cubicBezTo>
                      <a:pt x="68" y="230"/>
                      <a:pt x="68" y="230"/>
                      <a:pt x="68" y="230"/>
                    </a:cubicBezTo>
                    <a:cubicBezTo>
                      <a:pt x="68" y="230"/>
                      <a:pt x="67" y="230"/>
                      <a:pt x="67" y="229"/>
                    </a:cubicBezTo>
                    <a:cubicBezTo>
                      <a:pt x="67" y="229"/>
                      <a:pt x="67" y="229"/>
                      <a:pt x="67" y="228"/>
                    </a:cubicBezTo>
                    <a:cubicBezTo>
                      <a:pt x="67" y="228"/>
                      <a:pt x="66" y="228"/>
                      <a:pt x="66" y="228"/>
                    </a:cubicBezTo>
                    <a:cubicBezTo>
                      <a:pt x="66" y="227"/>
                      <a:pt x="66" y="227"/>
                      <a:pt x="67" y="227"/>
                    </a:cubicBezTo>
                    <a:cubicBezTo>
                      <a:pt x="67" y="227"/>
                      <a:pt x="67" y="227"/>
                      <a:pt x="66" y="227"/>
                    </a:cubicBezTo>
                    <a:cubicBezTo>
                      <a:pt x="65" y="228"/>
                      <a:pt x="65" y="226"/>
                      <a:pt x="65" y="225"/>
                    </a:cubicBezTo>
                    <a:cubicBezTo>
                      <a:pt x="64" y="225"/>
                      <a:pt x="64" y="225"/>
                      <a:pt x="64" y="224"/>
                    </a:cubicBezTo>
                    <a:cubicBezTo>
                      <a:pt x="64" y="224"/>
                      <a:pt x="64" y="224"/>
                      <a:pt x="64" y="223"/>
                    </a:cubicBezTo>
                    <a:cubicBezTo>
                      <a:pt x="64" y="223"/>
                      <a:pt x="63" y="222"/>
                      <a:pt x="63" y="222"/>
                    </a:cubicBezTo>
                    <a:cubicBezTo>
                      <a:pt x="63" y="221"/>
                      <a:pt x="62" y="221"/>
                      <a:pt x="62" y="221"/>
                    </a:cubicBezTo>
                    <a:cubicBezTo>
                      <a:pt x="63" y="221"/>
                      <a:pt x="63" y="221"/>
                      <a:pt x="64" y="221"/>
                    </a:cubicBezTo>
                    <a:cubicBezTo>
                      <a:pt x="64" y="221"/>
                      <a:pt x="63" y="221"/>
                      <a:pt x="62" y="221"/>
                    </a:cubicBezTo>
                    <a:cubicBezTo>
                      <a:pt x="62" y="220"/>
                      <a:pt x="63" y="220"/>
                      <a:pt x="63" y="220"/>
                    </a:cubicBezTo>
                    <a:cubicBezTo>
                      <a:pt x="62" y="221"/>
                      <a:pt x="61" y="219"/>
                      <a:pt x="62" y="218"/>
                    </a:cubicBezTo>
                    <a:cubicBezTo>
                      <a:pt x="62" y="218"/>
                      <a:pt x="62" y="219"/>
                      <a:pt x="61" y="218"/>
                    </a:cubicBezTo>
                    <a:cubicBezTo>
                      <a:pt x="61" y="218"/>
                      <a:pt x="61" y="218"/>
                      <a:pt x="61" y="217"/>
                    </a:cubicBezTo>
                    <a:cubicBezTo>
                      <a:pt x="61" y="217"/>
                      <a:pt x="61" y="217"/>
                      <a:pt x="60" y="217"/>
                    </a:cubicBezTo>
                    <a:cubicBezTo>
                      <a:pt x="60" y="216"/>
                      <a:pt x="60" y="216"/>
                      <a:pt x="60" y="215"/>
                    </a:cubicBezTo>
                    <a:cubicBezTo>
                      <a:pt x="59" y="215"/>
                      <a:pt x="58" y="214"/>
                      <a:pt x="59" y="214"/>
                    </a:cubicBezTo>
                    <a:cubicBezTo>
                      <a:pt x="58" y="214"/>
                      <a:pt x="58" y="213"/>
                      <a:pt x="59" y="212"/>
                    </a:cubicBezTo>
                    <a:cubicBezTo>
                      <a:pt x="58" y="212"/>
                      <a:pt x="58" y="213"/>
                      <a:pt x="58" y="213"/>
                    </a:cubicBezTo>
                    <a:cubicBezTo>
                      <a:pt x="58" y="213"/>
                      <a:pt x="58" y="212"/>
                      <a:pt x="58" y="212"/>
                    </a:cubicBezTo>
                    <a:cubicBezTo>
                      <a:pt x="58" y="212"/>
                      <a:pt x="57" y="211"/>
                      <a:pt x="57" y="210"/>
                    </a:cubicBezTo>
                    <a:cubicBezTo>
                      <a:pt x="57" y="210"/>
                      <a:pt x="56" y="209"/>
                      <a:pt x="57" y="208"/>
                    </a:cubicBezTo>
                    <a:cubicBezTo>
                      <a:pt x="57" y="209"/>
                      <a:pt x="57" y="209"/>
                      <a:pt x="57" y="209"/>
                    </a:cubicBezTo>
                    <a:cubicBezTo>
                      <a:pt x="57" y="209"/>
                      <a:pt x="57" y="209"/>
                      <a:pt x="57" y="208"/>
                    </a:cubicBezTo>
                    <a:cubicBezTo>
                      <a:pt x="57" y="208"/>
                      <a:pt x="57" y="208"/>
                      <a:pt x="57" y="208"/>
                    </a:cubicBezTo>
                    <a:cubicBezTo>
                      <a:pt x="57" y="208"/>
                      <a:pt x="57" y="208"/>
                      <a:pt x="57" y="208"/>
                    </a:cubicBezTo>
                    <a:cubicBezTo>
                      <a:pt x="57" y="207"/>
                      <a:pt x="57" y="208"/>
                      <a:pt x="57" y="207"/>
                    </a:cubicBezTo>
                    <a:cubicBezTo>
                      <a:pt x="56" y="207"/>
                      <a:pt x="56" y="206"/>
                      <a:pt x="56" y="206"/>
                    </a:cubicBezTo>
                    <a:cubicBezTo>
                      <a:pt x="56" y="205"/>
                      <a:pt x="56" y="205"/>
                      <a:pt x="56" y="204"/>
                    </a:cubicBezTo>
                    <a:cubicBezTo>
                      <a:pt x="56" y="204"/>
                      <a:pt x="56" y="203"/>
                      <a:pt x="56" y="203"/>
                    </a:cubicBezTo>
                    <a:cubicBezTo>
                      <a:pt x="56" y="203"/>
                      <a:pt x="56" y="202"/>
                      <a:pt x="55" y="202"/>
                    </a:cubicBezTo>
                    <a:cubicBezTo>
                      <a:pt x="55" y="201"/>
                      <a:pt x="55" y="201"/>
                      <a:pt x="55" y="200"/>
                    </a:cubicBezTo>
                    <a:cubicBezTo>
                      <a:pt x="55" y="200"/>
                      <a:pt x="55" y="200"/>
                      <a:pt x="55" y="200"/>
                    </a:cubicBezTo>
                    <a:cubicBezTo>
                      <a:pt x="55" y="200"/>
                      <a:pt x="54" y="199"/>
                      <a:pt x="54" y="198"/>
                    </a:cubicBezTo>
                    <a:cubicBezTo>
                      <a:pt x="54" y="198"/>
                      <a:pt x="54" y="198"/>
                      <a:pt x="54" y="197"/>
                    </a:cubicBezTo>
                    <a:cubicBezTo>
                      <a:pt x="54" y="197"/>
                      <a:pt x="54" y="197"/>
                      <a:pt x="54" y="197"/>
                    </a:cubicBezTo>
                    <a:cubicBezTo>
                      <a:pt x="53" y="197"/>
                      <a:pt x="53" y="195"/>
                      <a:pt x="53" y="194"/>
                    </a:cubicBezTo>
                    <a:cubicBezTo>
                      <a:pt x="53" y="194"/>
                      <a:pt x="52" y="193"/>
                      <a:pt x="52" y="193"/>
                    </a:cubicBezTo>
                    <a:cubicBezTo>
                      <a:pt x="52" y="192"/>
                      <a:pt x="52" y="192"/>
                      <a:pt x="52" y="192"/>
                    </a:cubicBezTo>
                    <a:cubicBezTo>
                      <a:pt x="52" y="192"/>
                      <a:pt x="53" y="192"/>
                      <a:pt x="52" y="192"/>
                    </a:cubicBezTo>
                    <a:cubicBezTo>
                      <a:pt x="53" y="192"/>
                      <a:pt x="52" y="192"/>
                      <a:pt x="52" y="192"/>
                    </a:cubicBezTo>
                    <a:cubicBezTo>
                      <a:pt x="52" y="192"/>
                      <a:pt x="52" y="191"/>
                      <a:pt x="52" y="191"/>
                    </a:cubicBezTo>
                    <a:cubicBezTo>
                      <a:pt x="52" y="191"/>
                      <a:pt x="51" y="190"/>
                      <a:pt x="51" y="189"/>
                    </a:cubicBezTo>
                    <a:cubicBezTo>
                      <a:pt x="51" y="189"/>
                      <a:pt x="53" y="190"/>
                      <a:pt x="53" y="190"/>
                    </a:cubicBezTo>
                    <a:cubicBezTo>
                      <a:pt x="53" y="190"/>
                      <a:pt x="53" y="189"/>
                      <a:pt x="52" y="189"/>
                    </a:cubicBezTo>
                    <a:cubicBezTo>
                      <a:pt x="52" y="189"/>
                      <a:pt x="51" y="189"/>
                      <a:pt x="51" y="188"/>
                    </a:cubicBezTo>
                    <a:cubicBezTo>
                      <a:pt x="51" y="188"/>
                      <a:pt x="50" y="187"/>
                      <a:pt x="51" y="187"/>
                    </a:cubicBezTo>
                    <a:cubicBezTo>
                      <a:pt x="51" y="186"/>
                      <a:pt x="52" y="188"/>
                      <a:pt x="52" y="187"/>
                    </a:cubicBezTo>
                    <a:cubicBezTo>
                      <a:pt x="52" y="187"/>
                      <a:pt x="51" y="186"/>
                      <a:pt x="51" y="186"/>
                    </a:cubicBezTo>
                    <a:cubicBezTo>
                      <a:pt x="51" y="186"/>
                      <a:pt x="51" y="187"/>
                      <a:pt x="51" y="186"/>
                    </a:cubicBezTo>
                    <a:cubicBezTo>
                      <a:pt x="51" y="186"/>
                      <a:pt x="50" y="186"/>
                      <a:pt x="50" y="185"/>
                    </a:cubicBezTo>
                    <a:cubicBezTo>
                      <a:pt x="50" y="185"/>
                      <a:pt x="50" y="184"/>
                      <a:pt x="50" y="184"/>
                    </a:cubicBezTo>
                    <a:cubicBezTo>
                      <a:pt x="51" y="183"/>
                      <a:pt x="51" y="184"/>
                      <a:pt x="51" y="184"/>
                    </a:cubicBezTo>
                    <a:cubicBezTo>
                      <a:pt x="51" y="184"/>
                      <a:pt x="52" y="184"/>
                      <a:pt x="51" y="184"/>
                    </a:cubicBezTo>
                    <a:cubicBezTo>
                      <a:pt x="51" y="183"/>
                      <a:pt x="51" y="183"/>
                      <a:pt x="51" y="183"/>
                    </a:cubicBezTo>
                    <a:cubicBezTo>
                      <a:pt x="51" y="183"/>
                      <a:pt x="50" y="183"/>
                      <a:pt x="50" y="182"/>
                    </a:cubicBezTo>
                    <a:cubicBezTo>
                      <a:pt x="50" y="182"/>
                      <a:pt x="51" y="182"/>
                      <a:pt x="51" y="182"/>
                    </a:cubicBezTo>
                    <a:cubicBezTo>
                      <a:pt x="51" y="182"/>
                      <a:pt x="51" y="182"/>
                      <a:pt x="51" y="182"/>
                    </a:cubicBezTo>
                    <a:cubicBezTo>
                      <a:pt x="51" y="182"/>
                      <a:pt x="52" y="181"/>
                      <a:pt x="52" y="181"/>
                    </a:cubicBezTo>
                    <a:cubicBezTo>
                      <a:pt x="51" y="181"/>
                      <a:pt x="51" y="182"/>
                      <a:pt x="51" y="181"/>
                    </a:cubicBezTo>
                    <a:cubicBezTo>
                      <a:pt x="51" y="181"/>
                      <a:pt x="51" y="180"/>
                      <a:pt x="51" y="180"/>
                    </a:cubicBezTo>
                    <a:cubicBezTo>
                      <a:pt x="51" y="180"/>
                      <a:pt x="50" y="182"/>
                      <a:pt x="50" y="181"/>
                    </a:cubicBezTo>
                    <a:cubicBezTo>
                      <a:pt x="50" y="181"/>
                      <a:pt x="50" y="183"/>
                      <a:pt x="49" y="183"/>
                    </a:cubicBezTo>
                    <a:cubicBezTo>
                      <a:pt x="50" y="183"/>
                      <a:pt x="49" y="182"/>
                      <a:pt x="49" y="182"/>
                    </a:cubicBezTo>
                    <a:cubicBezTo>
                      <a:pt x="49" y="182"/>
                      <a:pt x="49" y="181"/>
                      <a:pt x="49" y="181"/>
                    </a:cubicBezTo>
                    <a:cubicBezTo>
                      <a:pt x="49" y="181"/>
                      <a:pt x="49" y="180"/>
                      <a:pt x="49" y="180"/>
                    </a:cubicBezTo>
                    <a:cubicBezTo>
                      <a:pt x="49" y="180"/>
                      <a:pt x="49" y="180"/>
                      <a:pt x="49" y="180"/>
                    </a:cubicBezTo>
                    <a:cubicBezTo>
                      <a:pt x="49" y="179"/>
                      <a:pt x="49" y="179"/>
                      <a:pt x="49" y="179"/>
                    </a:cubicBezTo>
                    <a:cubicBezTo>
                      <a:pt x="49" y="179"/>
                      <a:pt x="49" y="179"/>
                      <a:pt x="49" y="179"/>
                    </a:cubicBezTo>
                    <a:cubicBezTo>
                      <a:pt x="48" y="179"/>
                      <a:pt x="49" y="177"/>
                      <a:pt x="50" y="178"/>
                    </a:cubicBezTo>
                    <a:cubicBezTo>
                      <a:pt x="50" y="178"/>
                      <a:pt x="52" y="179"/>
                      <a:pt x="51" y="179"/>
                    </a:cubicBezTo>
                    <a:cubicBezTo>
                      <a:pt x="52" y="179"/>
                      <a:pt x="51" y="178"/>
                      <a:pt x="51" y="178"/>
                    </a:cubicBezTo>
                    <a:cubicBezTo>
                      <a:pt x="50" y="178"/>
                      <a:pt x="50" y="178"/>
                      <a:pt x="49" y="178"/>
                    </a:cubicBezTo>
                    <a:cubicBezTo>
                      <a:pt x="49" y="178"/>
                      <a:pt x="48" y="177"/>
                      <a:pt x="48" y="176"/>
                    </a:cubicBezTo>
                    <a:cubicBezTo>
                      <a:pt x="48" y="176"/>
                      <a:pt x="49" y="176"/>
                      <a:pt x="49" y="176"/>
                    </a:cubicBezTo>
                    <a:cubicBezTo>
                      <a:pt x="49" y="176"/>
                      <a:pt x="49" y="176"/>
                      <a:pt x="48" y="175"/>
                    </a:cubicBezTo>
                    <a:cubicBezTo>
                      <a:pt x="48" y="175"/>
                      <a:pt x="48" y="176"/>
                      <a:pt x="48" y="176"/>
                    </a:cubicBezTo>
                    <a:cubicBezTo>
                      <a:pt x="48" y="176"/>
                      <a:pt x="48" y="174"/>
                      <a:pt x="48" y="174"/>
                    </a:cubicBezTo>
                    <a:cubicBezTo>
                      <a:pt x="48" y="174"/>
                      <a:pt x="48" y="174"/>
                      <a:pt x="48" y="174"/>
                    </a:cubicBezTo>
                    <a:cubicBezTo>
                      <a:pt x="48" y="174"/>
                      <a:pt x="48" y="173"/>
                      <a:pt x="48" y="173"/>
                    </a:cubicBezTo>
                    <a:cubicBezTo>
                      <a:pt x="48" y="173"/>
                      <a:pt x="47" y="173"/>
                      <a:pt x="47" y="173"/>
                    </a:cubicBezTo>
                    <a:cubicBezTo>
                      <a:pt x="47" y="173"/>
                      <a:pt x="47" y="172"/>
                      <a:pt x="47" y="172"/>
                    </a:cubicBezTo>
                    <a:cubicBezTo>
                      <a:pt x="47" y="171"/>
                      <a:pt x="47" y="169"/>
                      <a:pt x="48" y="168"/>
                    </a:cubicBezTo>
                    <a:cubicBezTo>
                      <a:pt x="48" y="167"/>
                      <a:pt x="49" y="166"/>
                      <a:pt x="48" y="164"/>
                    </a:cubicBezTo>
                    <a:cubicBezTo>
                      <a:pt x="48" y="164"/>
                      <a:pt x="48" y="163"/>
                      <a:pt x="49" y="163"/>
                    </a:cubicBezTo>
                    <a:cubicBezTo>
                      <a:pt x="49" y="162"/>
                      <a:pt x="49" y="162"/>
                      <a:pt x="49" y="162"/>
                    </a:cubicBezTo>
                    <a:cubicBezTo>
                      <a:pt x="48" y="162"/>
                      <a:pt x="48" y="161"/>
                      <a:pt x="48" y="161"/>
                    </a:cubicBezTo>
                    <a:cubicBezTo>
                      <a:pt x="48" y="161"/>
                      <a:pt x="48" y="161"/>
                      <a:pt x="48" y="160"/>
                    </a:cubicBezTo>
                    <a:cubicBezTo>
                      <a:pt x="48" y="160"/>
                      <a:pt x="48" y="160"/>
                      <a:pt x="48" y="160"/>
                    </a:cubicBezTo>
                    <a:cubicBezTo>
                      <a:pt x="48" y="160"/>
                      <a:pt x="47" y="159"/>
                      <a:pt x="47" y="159"/>
                    </a:cubicBezTo>
                    <a:cubicBezTo>
                      <a:pt x="47" y="159"/>
                      <a:pt x="48" y="159"/>
                      <a:pt x="47" y="158"/>
                    </a:cubicBezTo>
                    <a:cubicBezTo>
                      <a:pt x="47" y="158"/>
                      <a:pt x="46" y="159"/>
                      <a:pt x="46" y="158"/>
                    </a:cubicBezTo>
                    <a:cubicBezTo>
                      <a:pt x="46" y="158"/>
                      <a:pt x="46" y="158"/>
                      <a:pt x="46" y="158"/>
                    </a:cubicBezTo>
                    <a:cubicBezTo>
                      <a:pt x="46" y="158"/>
                      <a:pt x="46" y="158"/>
                      <a:pt x="46" y="158"/>
                    </a:cubicBezTo>
                    <a:cubicBezTo>
                      <a:pt x="46" y="159"/>
                      <a:pt x="45" y="158"/>
                      <a:pt x="45" y="158"/>
                    </a:cubicBezTo>
                    <a:cubicBezTo>
                      <a:pt x="46" y="158"/>
                      <a:pt x="46" y="158"/>
                      <a:pt x="46" y="157"/>
                    </a:cubicBezTo>
                    <a:cubicBezTo>
                      <a:pt x="46" y="157"/>
                      <a:pt x="45" y="157"/>
                      <a:pt x="45" y="157"/>
                    </a:cubicBezTo>
                    <a:cubicBezTo>
                      <a:pt x="45" y="156"/>
                      <a:pt x="45" y="156"/>
                      <a:pt x="45" y="156"/>
                    </a:cubicBezTo>
                    <a:cubicBezTo>
                      <a:pt x="45" y="155"/>
                      <a:pt x="45" y="155"/>
                      <a:pt x="45" y="155"/>
                    </a:cubicBezTo>
                    <a:cubicBezTo>
                      <a:pt x="45" y="155"/>
                      <a:pt x="46" y="155"/>
                      <a:pt x="46" y="154"/>
                    </a:cubicBezTo>
                    <a:cubicBezTo>
                      <a:pt x="46" y="154"/>
                      <a:pt x="45" y="155"/>
                      <a:pt x="45" y="155"/>
                    </a:cubicBezTo>
                    <a:cubicBezTo>
                      <a:pt x="44" y="155"/>
                      <a:pt x="46" y="153"/>
                      <a:pt x="46" y="153"/>
                    </a:cubicBezTo>
                    <a:cubicBezTo>
                      <a:pt x="47" y="153"/>
                      <a:pt x="46" y="153"/>
                      <a:pt x="47" y="152"/>
                    </a:cubicBezTo>
                    <a:cubicBezTo>
                      <a:pt x="47" y="152"/>
                      <a:pt x="48" y="152"/>
                      <a:pt x="48" y="152"/>
                    </a:cubicBezTo>
                    <a:cubicBezTo>
                      <a:pt x="48" y="152"/>
                      <a:pt x="50" y="151"/>
                      <a:pt x="50" y="151"/>
                    </a:cubicBezTo>
                    <a:cubicBezTo>
                      <a:pt x="49" y="151"/>
                      <a:pt x="48" y="152"/>
                      <a:pt x="48" y="152"/>
                    </a:cubicBezTo>
                    <a:cubicBezTo>
                      <a:pt x="47" y="152"/>
                      <a:pt x="46" y="152"/>
                      <a:pt x="46" y="152"/>
                    </a:cubicBezTo>
                    <a:cubicBezTo>
                      <a:pt x="45" y="152"/>
                      <a:pt x="45" y="152"/>
                      <a:pt x="44" y="152"/>
                    </a:cubicBezTo>
                    <a:cubicBezTo>
                      <a:pt x="44" y="152"/>
                      <a:pt x="44" y="150"/>
                      <a:pt x="44" y="150"/>
                    </a:cubicBezTo>
                    <a:cubicBezTo>
                      <a:pt x="44" y="150"/>
                      <a:pt x="45" y="149"/>
                      <a:pt x="45" y="149"/>
                    </a:cubicBezTo>
                    <a:cubicBezTo>
                      <a:pt x="45" y="149"/>
                      <a:pt x="45" y="149"/>
                      <a:pt x="46" y="149"/>
                    </a:cubicBezTo>
                    <a:cubicBezTo>
                      <a:pt x="45" y="148"/>
                      <a:pt x="44" y="149"/>
                      <a:pt x="44" y="149"/>
                    </a:cubicBezTo>
                    <a:cubicBezTo>
                      <a:pt x="43" y="150"/>
                      <a:pt x="43" y="148"/>
                      <a:pt x="43" y="148"/>
                    </a:cubicBezTo>
                    <a:cubicBezTo>
                      <a:pt x="43" y="148"/>
                      <a:pt x="43" y="147"/>
                      <a:pt x="44" y="146"/>
                    </a:cubicBezTo>
                    <a:cubicBezTo>
                      <a:pt x="44" y="146"/>
                      <a:pt x="45" y="147"/>
                      <a:pt x="46" y="147"/>
                    </a:cubicBezTo>
                    <a:cubicBezTo>
                      <a:pt x="46" y="146"/>
                      <a:pt x="46" y="146"/>
                      <a:pt x="47" y="146"/>
                    </a:cubicBezTo>
                    <a:cubicBezTo>
                      <a:pt x="47" y="146"/>
                      <a:pt x="47" y="146"/>
                      <a:pt x="47" y="146"/>
                    </a:cubicBezTo>
                    <a:cubicBezTo>
                      <a:pt x="47" y="145"/>
                      <a:pt x="46" y="146"/>
                      <a:pt x="46" y="146"/>
                    </a:cubicBezTo>
                    <a:cubicBezTo>
                      <a:pt x="45" y="146"/>
                      <a:pt x="45" y="146"/>
                      <a:pt x="44" y="145"/>
                    </a:cubicBezTo>
                    <a:cubicBezTo>
                      <a:pt x="44" y="145"/>
                      <a:pt x="43" y="146"/>
                      <a:pt x="43" y="146"/>
                    </a:cubicBezTo>
                    <a:cubicBezTo>
                      <a:pt x="43" y="146"/>
                      <a:pt x="43" y="146"/>
                      <a:pt x="43" y="146"/>
                    </a:cubicBezTo>
                    <a:cubicBezTo>
                      <a:pt x="42" y="146"/>
                      <a:pt x="42" y="146"/>
                      <a:pt x="42" y="145"/>
                    </a:cubicBezTo>
                    <a:cubicBezTo>
                      <a:pt x="42" y="145"/>
                      <a:pt x="42" y="145"/>
                      <a:pt x="42" y="145"/>
                    </a:cubicBezTo>
                    <a:cubicBezTo>
                      <a:pt x="42" y="144"/>
                      <a:pt x="42" y="145"/>
                      <a:pt x="42" y="145"/>
                    </a:cubicBezTo>
                    <a:cubicBezTo>
                      <a:pt x="41" y="145"/>
                      <a:pt x="42" y="146"/>
                      <a:pt x="41" y="146"/>
                    </a:cubicBezTo>
                    <a:cubicBezTo>
                      <a:pt x="41" y="145"/>
                      <a:pt x="41" y="145"/>
                      <a:pt x="41" y="145"/>
                    </a:cubicBezTo>
                    <a:cubicBezTo>
                      <a:pt x="40" y="145"/>
                      <a:pt x="40" y="146"/>
                      <a:pt x="40" y="145"/>
                    </a:cubicBezTo>
                    <a:cubicBezTo>
                      <a:pt x="40" y="146"/>
                      <a:pt x="40" y="145"/>
                      <a:pt x="41" y="146"/>
                    </a:cubicBezTo>
                    <a:cubicBezTo>
                      <a:pt x="41" y="146"/>
                      <a:pt x="41" y="146"/>
                      <a:pt x="41" y="146"/>
                    </a:cubicBezTo>
                    <a:cubicBezTo>
                      <a:pt x="42" y="146"/>
                      <a:pt x="42" y="148"/>
                      <a:pt x="41" y="148"/>
                    </a:cubicBezTo>
                    <a:cubicBezTo>
                      <a:pt x="41" y="148"/>
                      <a:pt x="40" y="148"/>
                      <a:pt x="40" y="149"/>
                    </a:cubicBezTo>
                    <a:cubicBezTo>
                      <a:pt x="40" y="149"/>
                      <a:pt x="40" y="148"/>
                      <a:pt x="40" y="149"/>
                    </a:cubicBezTo>
                    <a:cubicBezTo>
                      <a:pt x="40" y="149"/>
                      <a:pt x="39" y="149"/>
                      <a:pt x="39" y="149"/>
                    </a:cubicBezTo>
                    <a:cubicBezTo>
                      <a:pt x="39" y="149"/>
                      <a:pt x="40" y="149"/>
                      <a:pt x="40" y="149"/>
                    </a:cubicBezTo>
                    <a:cubicBezTo>
                      <a:pt x="40" y="149"/>
                      <a:pt x="39" y="149"/>
                      <a:pt x="39" y="149"/>
                    </a:cubicBezTo>
                    <a:cubicBezTo>
                      <a:pt x="39" y="150"/>
                      <a:pt x="40" y="149"/>
                      <a:pt x="40" y="150"/>
                    </a:cubicBezTo>
                    <a:cubicBezTo>
                      <a:pt x="40" y="151"/>
                      <a:pt x="39" y="149"/>
                      <a:pt x="39" y="150"/>
                    </a:cubicBezTo>
                    <a:cubicBezTo>
                      <a:pt x="39" y="150"/>
                      <a:pt x="40" y="150"/>
                      <a:pt x="40" y="150"/>
                    </a:cubicBezTo>
                    <a:cubicBezTo>
                      <a:pt x="40" y="151"/>
                      <a:pt x="39" y="150"/>
                      <a:pt x="39" y="150"/>
                    </a:cubicBezTo>
                    <a:cubicBezTo>
                      <a:pt x="38" y="150"/>
                      <a:pt x="39" y="151"/>
                      <a:pt x="39" y="151"/>
                    </a:cubicBezTo>
                    <a:cubicBezTo>
                      <a:pt x="40" y="151"/>
                      <a:pt x="40" y="151"/>
                      <a:pt x="41" y="151"/>
                    </a:cubicBezTo>
                    <a:cubicBezTo>
                      <a:pt x="41" y="152"/>
                      <a:pt x="42" y="152"/>
                      <a:pt x="42" y="153"/>
                    </a:cubicBezTo>
                    <a:cubicBezTo>
                      <a:pt x="42" y="153"/>
                      <a:pt x="42" y="154"/>
                      <a:pt x="41" y="155"/>
                    </a:cubicBezTo>
                    <a:cubicBezTo>
                      <a:pt x="41" y="156"/>
                      <a:pt x="40" y="156"/>
                      <a:pt x="40" y="157"/>
                    </a:cubicBezTo>
                    <a:cubicBezTo>
                      <a:pt x="40" y="158"/>
                      <a:pt x="40" y="158"/>
                      <a:pt x="39" y="158"/>
                    </a:cubicBezTo>
                    <a:cubicBezTo>
                      <a:pt x="38" y="158"/>
                      <a:pt x="38" y="159"/>
                      <a:pt x="37" y="159"/>
                    </a:cubicBezTo>
                    <a:cubicBezTo>
                      <a:pt x="37" y="159"/>
                      <a:pt x="35" y="160"/>
                      <a:pt x="36" y="160"/>
                    </a:cubicBezTo>
                    <a:cubicBezTo>
                      <a:pt x="35" y="160"/>
                      <a:pt x="35" y="161"/>
                      <a:pt x="34" y="161"/>
                    </a:cubicBezTo>
                    <a:cubicBezTo>
                      <a:pt x="33" y="161"/>
                      <a:pt x="33" y="162"/>
                      <a:pt x="32" y="162"/>
                    </a:cubicBezTo>
                    <a:cubicBezTo>
                      <a:pt x="31" y="162"/>
                      <a:pt x="31" y="162"/>
                      <a:pt x="30" y="162"/>
                    </a:cubicBezTo>
                    <a:cubicBezTo>
                      <a:pt x="30" y="162"/>
                      <a:pt x="29" y="162"/>
                      <a:pt x="29" y="162"/>
                    </a:cubicBezTo>
                    <a:cubicBezTo>
                      <a:pt x="29" y="162"/>
                      <a:pt x="29" y="163"/>
                      <a:pt x="29" y="163"/>
                    </a:cubicBezTo>
                    <a:cubicBezTo>
                      <a:pt x="28" y="163"/>
                      <a:pt x="28" y="162"/>
                      <a:pt x="27" y="162"/>
                    </a:cubicBezTo>
                    <a:cubicBezTo>
                      <a:pt x="26" y="162"/>
                      <a:pt x="25" y="161"/>
                      <a:pt x="25" y="161"/>
                    </a:cubicBezTo>
                    <a:cubicBezTo>
                      <a:pt x="24" y="160"/>
                      <a:pt x="23" y="160"/>
                      <a:pt x="22" y="159"/>
                    </a:cubicBezTo>
                    <a:cubicBezTo>
                      <a:pt x="22" y="158"/>
                      <a:pt x="21" y="158"/>
                      <a:pt x="20" y="157"/>
                    </a:cubicBezTo>
                    <a:cubicBezTo>
                      <a:pt x="19" y="155"/>
                      <a:pt x="18" y="154"/>
                      <a:pt x="16" y="153"/>
                    </a:cubicBezTo>
                    <a:cubicBezTo>
                      <a:pt x="16" y="152"/>
                      <a:pt x="14" y="151"/>
                      <a:pt x="14" y="150"/>
                    </a:cubicBezTo>
                    <a:cubicBezTo>
                      <a:pt x="13" y="151"/>
                      <a:pt x="11" y="148"/>
                      <a:pt x="11" y="148"/>
                    </a:cubicBezTo>
                    <a:cubicBezTo>
                      <a:pt x="10" y="147"/>
                      <a:pt x="9" y="145"/>
                      <a:pt x="10" y="144"/>
                    </a:cubicBezTo>
                    <a:cubicBezTo>
                      <a:pt x="10" y="143"/>
                      <a:pt x="10" y="144"/>
                      <a:pt x="10" y="144"/>
                    </a:cubicBezTo>
                    <a:cubicBezTo>
                      <a:pt x="11" y="145"/>
                      <a:pt x="12" y="143"/>
                      <a:pt x="11" y="144"/>
                    </a:cubicBezTo>
                    <a:cubicBezTo>
                      <a:pt x="11" y="145"/>
                      <a:pt x="11" y="145"/>
                      <a:pt x="12" y="145"/>
                    </a:cubicBezTo>
                    <a:cubicBezTo>
                      <a:pt x="12" y="146"/>
                      <a:pt x="13" y="145"/>
                      <a:pt x="13" y="145"/>
                    </a:cubicBezTo>
                    <a:cubicBezTo>
                      <a:pt x="14" y="145"/>
                      <a:pt x="14" y="145"/>
                      <a:pt x="15" y="144"/>
                    </a:cubicBezTo>
                    <a:cubicBezTo>
                      <a:pt x="15" y="144"/>
                      <a:pt x="15" y="144"/>
                      <a:pt x="15" y="144"/>
                    </a:cubicBezTo>
                    <a:cubicBezTo>
                      <a:pt x="15" y="143"/>
                      <a:pt x="15" y="145"/>
                      <a:pt x="16" y="144"/>
                    </a:cubicBezTo>
                    <a:cubicBezTo>
                      <a:pt x="16" y="144"/>
                      <a:pt x="16" y="144"/>
                      <a:pt x="16" y="144"/>
                    </a:cubicBezTo>
                    <a:cubicBezTo>
                      <a:pt x="17" y="143"/>
                      <a:pt x="17" y="144"/>
                      <a:pt x="17" y="144"/>
                    </a:cubicBezTo>
                    <a:cubicBezTo>
                      <a:pt x="17" y="144"/>
                      <a:pt x="18" y="143"/>
                      <a:pt x="19" y="143"/>
                    </a:cubicBezTo>
                    <a:cubicBezTo>
                      <a:pt x="20" y="142"/>
                      <a:pt x="20" y="143"/>
                      <a:pt x="21" y="142"/>
                    </a:cubicBezTo>
                    <a:cubicBezTo>
                      <a:pt x="21" y="141"/>
                      <a:pt x="22" y="140"/>
                      <a:pt x="22" y="139"/>
                    </a:cubicBezTo>
                    <a:cubicBezTo>
                      <a:pt x="23" y="138"/>
                      <a:pt x="24" y="138"/>
                      <a:pt x="23" y="137"/>
                    </a:cubicBezTo>
                    <a:cubicBezTo>
                      <a:pt x="23" y="136"/>
                      <a:pt x="22" y="136"/>
                      <a:pt x="22" y="137"/>
                    </a:cubicBezTo>
                    <a:cubicBezTo>
                      <a:pt x="22" y="137"/>
                      <a:pt x="23" y="138"/>
                      <a:pt x="22" y="138"/>
                    </a:cubicBezTo>
                    <a:cubicBezTo>
                      <a:pt x="22" y="138"/>
                      <a:pt x="21" y="138"/>
                      <a:pt x="21" y="138"/>
                    </a:cubicBezTo>
                    <a:cubicBezTo>
                      <a:pt x="21" y="138"/>
                      <a:pt x="20" y="138"/>
                      <a:pt x="20" y="138"/>
                    </a:cubicBezTo>
                    <a:cubicBezTo>
                      <a:pt x="19" y="138"/>
                      <a:pt x="20" y="138"/>
                      <a:pt x="19" y="138"/>
                    </a:cubicBezTo>
                    <a:cubicBezTo>
                      <a:pt x="19" y="139"/>
                      <a:pt x="18" y="139"/>
                      <a:pt x="17" y="139"/>
                    </a:cubicBezTo>
                    <a:cubicBezTo>
                      <a:pt x="16" y="139"/>
                      <a:pt x="17" y="140"/>
                      <a:pt x="16" y="140"/>
                    </a:cubicBezTo>
                    <a:cubicBezTo>
                      <a:pt x="15" y="140"/>
                      <a:pt x="14" y="140"/>
                      <a:pt x="14" y="140"/>
                    </a:cubicBezTo>
                    <a:cubicBezTo>
                      <a:pt x="13" y="140"/>
                      <a:pt x="12" y="139"/>
                      <a:pt x="12" y="139"/>
                    </a:cubicBezTo>
                    <a:cubicBezTo>
                      <a:pt x="11" y="139"/>
                      <a:pt x="10" y="138"/>
                      <a:pt x="9" y="138"/>
                    </a:cubicBezTo>
                    <a:cubicBezTo>
                      <a:pt x="8" y="137"/>
                      <a:pt x="5" y="136"/>
                      <a:pt x="5" y="135"/>
                    </a:cubicBezTo>
                    <a:cubicBezTo>
                      <a:pt x="5" y="135"/>
                      <a:pt x="4" y="134"/>
                      <a:pt x="5" y="134"/>
                    </a:cubicBezTo>
                    <a:cubicBezTo>
                      <a:pt x="5" y="134"/>
                      <a:pt x="4" y="133"/>
                      <a:pt x="4" y="133"/>
                    </a:cubicBezTo>
                    <a:cubicBezTo>
                      <a:pt x="4" y="133"/>
                      <a:pt x="4" y="133"/>
                      <a:pt x="3" y="133"/>
                    </a:cubicBezTo>
                    <a:cubicBezTo>
                      <a:pt x="3" y="132"/>
                      <a:pt x="4" y="132"/>
                      <a:pt x="3" y="132"/>
                    </a:cubicBezTo>
                    <a:cubicBezTo>
                      <a:pt x="3" y="132"/>
                      <a:pt x="3" y="132"/>
                      <a:pt x="3" y="132"/>
                    </a:cubicBezTo>
                    <a:cubicBezTo>
                      <a:pt x="3" y="132"/>
                      <a:pt x="3" y="131"/>
                      <a:pt x="3" y="131"/>
                    </a:cubicBezTo>
                    <a:cubicBezTo>
                      <a:pt x="3" y="131"/>
                      <a:pt x="3" y="130"/>
                      <a:pt x="3" y="131"/>
                    </a:cubicBezTo>
                    <a:cubicBezTo>
                      <a:pt x="3" y="131"/>
                      <a:pt x="4" y="131"/>
                      <a:pt x="4" y="131"/>
                    </a:cubicBezTo>
                    <a:cubicBezTo>
                      <a:pt x="4" y="131"/>
                      <a:pt x="3" y="130"/>
                      <a:pt x="3" y="130"/>
                    </a:cubicBezTo>
                    <a:cubicBezTo>
                      <a:pt x="3" y="130"/>
                      <a:pt x="4" y="130"/>
                      <a:pt x="5" y="129"/>
                    </a:cubicBezTo>
                    <a:cubicBezTo>
                      <a:pt x="5" y="129"/>
                      <a:pt x="6" y="128"/>
                      <a:pt x="6" y="128"/>
                    </a:cubicBezTo>
                    <a:cubicBezTo>
                      <a:pt x="6" y="128"/>
                      <a:pt x="6" y="128"/>
                      <a:pt x="5" y="128"/>
                    </a:cubicBezTo>
                    <a:cubicBezTo>
                      <a:pt x="5" y="129"/>
                      <a:pt x="5" y="128"/>
                      <a:pt x="4" y="129"/>
                    </a:cubicBezTo>
                    <a:cubicBezTo>
                      <a:pt x="4" y="130"/>
                      <a:pt x="3" y="130"/>
                      <a:pt x="2" y="131"/>
                    </a:cubicBezTo>
                    <a:cubicBezTo>
                      <a:pt x="2" y="131"/>
                      <a:pt x="3" y="131"/>
                      <a:pt x="2" y="131"/>
                    </a:cubicBezTo>
                    <a:cubicBezTo>
                      <a:pt x="2" y="131"/>
                      <a:pt x="1" y="131"/>
                      <a:pt x="0" y="131"/>
                    </a:cubicBezTo>
                    <a:cubicBezTo>
                      <a:pt x="0" y="131"/>
                      <a:pt x="1" y="130"/>
                      <a:pt x="1" y="130"/>
                    </a:cubicBezTo>
                    <a:cubicBezTo>
                      <a:pt x="1" y="130"/>
                      <a:pt x="1" y="130"/>
                      <a:pt x="1" y="130"/>
                    </a:cubicBezTo>
                    <a:cubicBezTo>
                      <a:pt x="1" y="130"/>
                      <a:pt x="0" y="128"/>
                      <a:pt x="1" y="127"/>
                    </a:cubicBezTo>
                    <a:cubicBezTo>
                      <a:pt x="2" y="127"/>
                      <a:pt x="2" y="127"/>
                      <a:pt x="2" y="127"/>
                    </a:cubicBezTo>
                    <a:cubicBezTo>
                      <a:pt x="2" y="127"/>
                      <a:pt x="2" y="127"/>
                      <a:pt x="2" y="127"/>
                    </a:cubicBezTo>
                    <a:cubicBezTo>
                      <a:pt x="3" y="126"/>
                      <a:pt x="6" y="128"/>
                      <a:pt x="6" y="126"/>
                    </a:cubicBezTo>
                    <a:cubicBezTo>
                      <a:pt x="5" y="125"/>
                      <a:pt x="5" y="124"/>
                      <a:pt x="5" y="124"/>
                    </a:cubicBezTo>
                    <a:cubicBezTo>
                      <a:pt x="5" y="122"/>
                      <a:pt x="6" y="123"/>
                      <a:pt x="6" y="124"/>
                    </a:cubicBezTo>
                    <a:cubicBezTo>
                      <a:pt x="7" y="124"/>
                      <a:pt x="7" y="123"/>
                      <a:pt x="7" y="123"/>
                    </a:cubicBezTo>
                    <a:cubicBezTo>
                      <a:pt x="7" y="124"/>
                      <a:pt x="8" y="124"/>
                      <a:pt x="8" y="123"/>
                    </a:cubicBezTo>
                    <a:cubicBezTo>
                      <a:pt x="9" y="123"/>
                      <a:pt x="9" y="124"/>
                      <a:pt x="10" y="124"/>
                    </a:cubicBezTo>
                    <a:cubicBezTo>
                      <a:pt x="11" y="123"/>
                      <a:pt x="11" y="123"/>
                      <a:pt x="12" y="123"/>
                    </a:cubicBezTo>
                    <a:cubicBezTo>
                      <a:pt x="13" y="123"/>
                      <a:pt x="13" y="124"/>
                      <a:pt x="14" y="124"/>
                    </a:cubicBezTo>
                    <a:cubicBezTo>
                      <a:pt x="15" y="125"/>
                      <a:pt x="15" y="125"/>
                      <a:pt x="16" y="125"/>
                    </a:cubicBezTo>
                    <a:cubicBezTo>
                      <a:pt x="16" y="125"/>
                      <a:pt x="18" y="125"/>
                      <a:pt x="18" y="124"/>
                    </a:cubicBezTo>
                    <a:cubicBezTo>
                      <a:pt x="18" y="124"/>
                      <a:pt x="18" y="123"/>
                      <a:pt x="19" y="123"/>
                    </a:cubicBezTo>
                    <a:cubicBezTo>
                      <a:pt x="19" y="123"/>
                      <a:pt x="20" y="123"/>
                      <a:pt x="21" y="122"/>
                    </a:cubicBezTo>
                    <a:cubicBezTo>
                      <a:pt x="21" y="122"/>
                      <a:pt x="21" y="122"/>
                      <a:pt x="22" y="122"/>
                    </a:cubicBezTo>
                    <a:cubicBezTo>
                      <a:pt x="23" y="122"/>
                      <a:pt x="22" y="122"/>
                      <a:pt x="22" y="123"/>
                    </a:cubicBezTo>
                    <a:cubicBezTo>
                      <a:pt x="23" y="123"/>
                      <a:pt x="23" y="124"/>
                      <a:pt x="24" y="124"/>
                    </a:cubicBezTo>
                    <a:cubicBezTo>
                      <a:pt x="24" y="124"/>
                      <a:pt x="25" y="124"/>
                      <a:pt x="25" y="124"/>
                    </a:cubicBezTo>
                    <a:cubicBezTo>
                      <a:pt x="25" y="123"/>
                      <a:pt x="25" y="123"/>
                      <a:pt x="25" y="123"/>
                    </a:cubicBezTo>
                    <a:cubicBezTo>
                      <a:pt x="26" y="123"/>
                      <a:pt x="26" y="122"/>
                      <a:pt x="26" y="122"/>
                    </a:cubicBezTo>
                    <a:cubicBezTo>
                      <a:pt x="26" y="122"/>
                      <a:pt x="28" y="122"/>
                      <a:pt x="27" y="122"/>
                    </a:cubicBezTo>
                    <a:cubicBezTo>
                      <a:pt x="27" y="121"/>
                      <a:pt x="27" y="122"/>
                      <a:pt x="26" y="121"/>
                    </a:cubicBezTo>
                    <a:cubicBezTo>
                      <a:pt x="26" y="121"/>
                      <a:pt x="26" y="121"/>
                      <a:pt x="26" y="121"/>
                    </a:cubicBezTo>
                    <a:cubicBezTo>
                      <a:pt x="26" y="120"/>
                      <a:pt x="26" y="120"/>
                      <a:pt x="26" y="119"/>
                    </a:cubicBezTo>
                    <a:cubicBezTo>
                      <a:pt x="27" y="119"/>
                      <a:pt x="27" y="119"/>
                      <a:pt x="27" y="118"/>
                    </a:cubicBezTo>
                    <a:cubicBezTo>
                      <a:pt x="25" y="117"/>
                      <a:pt x="25" y="115"/>
                      <a:pt x="24" y="114"/>
                    </a:cubicBezTo>
                    <a:cubicBezTo>
                      <a:pt x="23" y="113"/>
                      <a:pt x="22" y="112"/>
                      <a:pt x="22" y="110"/>
                    </a:cubicBezTo>
                    <a:cubicBezTo>
                      <a:pt x="22" y="109"/>
                      <a:pt x="22" y="108"/>
                      <a:pt x="22" y="108"/>
                    </a:cubicBezTo>
                    <a:cubicBezTo>
                      <a:pt x="21" y="107"/>
                      <a:pt x="20" y="108"/>
                      <a:pt x="20" y="108"/>
                    </a:cubicBezTo>
                    <a:cubicBezTo>
                      <a:pt x="18" y="108"/>
                      <a:pt x="18" y="107"/>
                      <a:pt x="17" y="106"/>
                    </a:cubicBezTo>
                    <a:cubicBezTo>
                      <a:pt x="16" y="105"/>
                      <a:pt x="16" y="105"/>
                      <a:pt x="16" y="104"/>
                    </a:cubicBezTo>
                    <a:cubicBezTo>
                      <a:pt x="16" y="103"/>
                      <a:pt x="16" y="102"/>
                      <a:pt x="16" y="102"/>
                    </a:cubicBezTo>
                    <a:cubicBezTo>
                      <a:pt x="16" y="101"/>
                      <a:pt x="16" y="99"/>
                      <a:pt x="15" y="98"/>
                    </a:cubicBezTo>
                    <a:cubicBezTo>
                      <a:pt x="15" y="98"/>
                      <a:pt x="14" y="98"/>
                      <a:pt x="14" y="98"/>
                    </a:cubicBezTo>
                    <a:cubicBezTo>
                      <a:pt x="13" y="98"/>
                      <a:pt x="12" y="98"/>
                      <a:pt x="12" y="98"/>
                    </a:cubicBezTo>
                    <a:cubicBezTo>
                      <a:pt x="11" y="97"/>
                      <a:pt x="9" y="97"/>
                      <a:pt x="9" y="95"/>
                    </a:cubicBezTo>
                    <a:cubicBezTo>
                      <a:pt x="9" y="94"/>
                      <a:pt x="9" y="92"/>
                      <a:pt x="10" y="91"/>
                    </a:cubicBezTo>
                    <a:cubicBezTo>
                      <a:pt x="10" y="90"/>
                      <a:pt x="11" y="90"/>
                      <a:pt x="11" y="89"/>
                    </a:cubicBezTo>
                    <a:cubicBezTo>
                      <a:pt x="12" y="89"/>
                      <a:pt x="12" y="88"/>
                      <a:pt x="13" y="87"/>
                    </a:cubicBezTo>
                    <a:cubicBezTo>
                      <a:pt x="13" y="87"/>
                      <a:pt x="13" y="86"/>
                      <a:pt x="13" y="85"/>
                    </a:cubicBezTo>
                    <a:cubicBezTo>
                      <a:pt x="13" y="85"/>
                      <a:pt x="14" y="84"/>
                      <a:pt x="14" y="84"/>
                    </a:cubicBezTo>
                    <a:cubicBezTo>
                      <a:pt x="15" y="83"/>
                      <a:pt x="16" y="81"/>
                      <a:pt x="17" y="82"/>
                    </a:cubicBezTo>
                    <a:cubicBezTo>
                      <a:pt x="18" y="83"/>
                      <a:pt x="18" y="83"/>
                      <a:pt x="18" y="84"/>
                    </a:cubicBezTo>
                    <a:cubicBezTo>
                      <a:pt x="19" y="85"/>
                      <a:pt x="19" y="85"/>
                      <a:pt x="20" y="86"/>
                    </a:cubicBezTo>
                    <a:cubicBezTo>
                      <a:pt x="21" y="86"/>
                      <a:pt x="22" y="85"/>
                      <a:pt x="23" y="85"/>
                    </a:cubicBezTo>
                    <a:cubicBezTo>
                      <a:pt x="24" y="84"/>
                      <a:pt x="26" y="84"/>
                      <a:pt x="27" y="84"/>
                    </a:cubicBezTo>
                    <a:cubicBezTo>
                      <a:pt x="28" y="84"/>
                      <a:pt x="29" y="84"/>
                      <a:pt x="29" y="83"/>
                    </a:cubicBezTo>
                    <a:cubicBezTo>
                      <a:pt x="30" y="83"/>
                      <a:pt x="30" y="83"/>
                      <a:pt x="30" y="82"/>
                    </a:cubicBezTo>
                    <a:cubicBezTo>
                      <a:pt x="30" y="80"/>
                      <a:pt x="32" y="79"/>
                      <a:pt x="32" y="78"/>
                    </a:cubicBezTo>
                    <a:cubicBezTo>
                      <a:pt x="32" y="76"/>
                      <a:pt x="32" y="75"/>
                      <a:pt x="33" y="74"/>
                    </a:cubicBezTo>
                    <a:cubicBezTo>
                      <a:pt x="35" y="73"/>
                      <a:pt x="36" y="72"/>
                      <a:pt x="37" y="71"/>
                    </a:cubicBezTo>
                    <a:cubicBezTo>
                      <a:pt x="38" y="71"/>
                      <a:pt x="38" y="71"/>
                      <a:pt x="38" y="70"/>
                    </a:cubicBezTo>
                    <a:cubicBezTo>
                      <a:pt x="38" y="69"/>
                      <a:pt x="39" y="69"/>
                      <a:pt x="39" y="68"/>
                    </a:cubicBezTo>
                    <a:cubicBezTo>
                      <a:pt x="40" y="67"/>
                      <a:pt x="40" y="65"/>
                      <a:pt x="40" y="63"/>
                    </a:cubicBezTo>
                    <a:cubicBezTo>
                      <a:pt x="40" y="63"/>
                      <a:pt x="40" y="62"/>
                      <a:pt x="40" y="61"/>
                    </a:cubicBezTo>
                    <a:cubicBezTo>
                      <a:pt x="41" y="61"/>
                      <a:pt x="42" y="60"/>
                      <a:pt x="42" y="60"/>
                    </a:cubicBezTo>
                    <a:cubicBezTo>
                      <a:pt x="43" y="60"/>
                      <a:pt x="45" y="59"/>
                      <a:pt x="45" y="58"/>
                    </a:cubicBezTo>
                    <a:cubicBezTo>
                      <a:pt x="45" y="58"/>
                      <a:pt x="45" y="57"/>
                      <a:pt x="45" y="57"/>
                    </a:cubicBezTo>
                    <a:cubicBezTo>
                      <a:pt x="44" y="56"/>
                      <a:pt x="44" y="56"/>
                      <a:pt x="44" y="56"/>
                    </a:cubicBezTo>
                    <a:cubicBezTo>
                      <a:pt x="44" y="56"/>
                      <a:pt x="45" y="55"/>
                      <a:pt x="45" y="55"/>
                    </a:cubicBezTo>
                    <a:cubicBezTo>
                      <a:pt x="45" y="55"/>
                      <a:pt x="45" y="55"/>
                      <a:pt x="45" y="55"/>
                    </a:cubicBezTo>
                    <a:cubicBezTo>
                      <a:pt x="46" y="55"/>
                      <a:pt x="45" y="54"/>
                      <a:pt x="45" y="54"/>
                    </a:cubicBezTo>
                    <a:cubicBezTo>
                      <a:pt x="45" y="54"/>
                      <a:pt x="46" y="54"/>
                      <a:pt x="46" y="53"/>
                    </a:cubicBezTo>
                    <a:cubicBezTo>
                      <a:pt x="46" y="53"/>
                      <a:pt x="46" y="53"/>
                      <a:pt x="46" y="53"/>
                    </a:cubicBezTo>
                    <a:cubicBezTo>
                      <a:pt x="47" y="52"/>
                      <a:pt x="47" y="52"/>
                      <a:pt x="47" y="51"/>
                    </a:cubicBezTo>
                    <a:cubicBezTo>
                      <a:pt x="47" y="51"/>
                      <a:pt x="47" y="51"/>
                      <a:pt x="47" y="51"/>
                    </a:cubicBezTo>
                    <a:cubicBezTo>
                      <a:pt x="47" y="51"/>
                      <a:pt x="48" y="51"/>
                      <a:pt x="48" y="51"/>
                    </a:cubicBezTo>
                    <a:cubicBezTo>
                      <a:pt x="48" y="51"/>
                      <a:pt x="48" y="50"/>
                      <a:pt x="48" y="50"/>
                    </a:cubicBezTo>
                    <a:cubicBezTo>
                      <a:pt x="48" y="50"/>
                      <a:pt x="49" y="50"/>
                      <a:pt x="49" y="50"/>
                    </a:cubicBezTo>
                    <a:cubicBezTo>
                      <a:pt x="49" y="49"/>
                      <a:pt x="49" y="49"/>
                      <a:pt x="50" y="49"/>
                    </a:cubicBezTo>
                    <a:cubicBezTo>
                      <a:pt x="50" y="49"/>
                      <a:pt x="50" y="49"/>
                      <a:pt x="50" y="49"/>
                    </a:cubicBezTo>
                    <a:cubicBezTo>
                      <a:pt x="50" y="48"/>
                      <a:pt x="49" y="48"/>
                      <a:pt x="49" y="48"/>
                    </a:cubicBezTo>
                    <a:cubicBezTo>
                      <a:pt x="48" y="47"/>
                      <a:pt x="49" y="46"/>
                      <a:pt x="49" y="45"/>
                    </a:cubicBezTo>
                    <a:cubicBezTo>
                      <a:pt x="49" y="44"/>
                      <a:pt x="48" y="43"/>
                      <a:pt x="47" y="42"/>
                    </a:cubicBezTo>
                    <a:cubicBezTo>
                      <a:pt x="47" y="41"/>
                      <a:pt x="47" y="40"/>
                      <a:pt x="48" y="40"/>
                    </a:cubicBezTo>
                    <a:cubicBezTo>
                      <a:pt x="48" y="40"/>
                      <a:pt x="48" y="39"/>
                      <a:pt x="49" y="39"/>
                    </a:cubicBezTo>
                    <a:cubicBezTo>
                      <a:pt x="49" y="39"/>
                      <a:pt x="49" y="39"/>
                      <a:pt x="49" y="39"/>
                    </a:cubicBezTo>
                    <a:cubicBezTo>
                      <a:pt x="50" y="39"/>
                      <a:pt x="49" y="39"/>
                      <a:pt x="50" y="38"/>
                    </a:cubicBezTo>
                    <a:cubicBezTo>
                      <a:pt x="50" y="38"/>
                      <a:pt x="50" y="38"/>
                      <a:pt x="51" y="38"/>
                    </a:cubicBezTo>
                    <a:cubicBezTo>
                      <a:pt x="51" y="38"/>
                      <a:pt x="51" y="37"/>
                      <a:pt x="52" y="38"/>
                    </a:cubicBezTo>
                    <a:cubicBezTo>
                      <a:pt x="53" y="38"/>
                      <a:pt x="53" y="37"/>
                      <a:pt x="53" y="37"/>
                    </a:cubicBezTo>
                    <a:cubicBezTo>
                      <a:pt x="54" y="37"/>
                      <a:pt x="54" y="36"/>
                      <a:pt x="54" y="36"/>
                    </a:cubicBezTo>
                    <a:cubicBezTo>
                      <a:pt x="54" y="35"/>
                      <a:pt x="54" y="35"/>
                      <a:pt x="53" y="35"/>
                    </a:cubicBezTo>
                    <a:cubicBezTo>
                      <a:pt x="53" y="34"/>
                      <a:pt x="52" y="34"/>
                      <a:pt x="52" y="34"/>
                    </a:cubicBezTo>
                    <a:cubicBezTo>
                      <a:pt x="51" y="34"/>
                      <a:pt x="51" y="33"/>
                      <a:pt x="50" y="34"/>
                    </a:cubicBezTo>
                    <a:cubicBezTo>
                      <a:pt x="49" y="34"/>
                      <a:pt x="49" y="33"/>
                      <a:pt x="48" y="33"/>
                    </a:cubicBezTo>
                    <a:cubicBezTo>
                      <a:pt x="48" y="34"/>
                      <a:pt x="47" y="33"/>
                      <a:pt x="47" y="33"/>
                    </a:cubicBezTo>
                    <a:cubicBezTo>
                      <a:pt x="47" y="32"/>
                      <a:pt x="47" y="31"/>
                      <a:pt x="47" y="31"/>
                    </a:cubicBezTo>
                    <a:cubicBezTo>
                      <a:pt x="46" y="31"/>
                      <a:pt x="47" y="29"/>
                      <a:pt x="47" y="29"/>
                    </a:cubicBezTo>
                    <a:cubicBezTo>
                      <a:pt x="46" y="29"/>
                      <a:pt x="46" y="30"/>
                      <a:pt x="46" y="30"/>
                    </a:cubicBezTo>
                    <a:cubicBezTo>
                      <a:pt x="46" y="31"/>
                      <a:pt x="45" y="30"/>
                      <a:pt x="45" y="30"/>
                    </a:cubicBezTo>
                    <a:cubicBezTo>
                      <a:pt x="44" y="30"/>
                      <a:pt x="43" y="30"/>
                      <a:pt x="43" y="30"/>
                    </a:cubicBezTo>
                    <a:cubicBezTo>
                      <a:pt x="43" y="29"/>
                      <a:pt x="43" y="29"/>
                      <a:pt x="43" y="28"/>
                    </a:cubicBezTo>
                    <a:cubicBezTo>
                      <a:pt x="43" y="27"/>
                      <a:pt x="42" y="27"/>
                      <a:pt x="42" y="27"/>
                    </a:cubicBezTo>
                    <a:cubicBezTo>
                      <a:pt x="41" y="27"/>
                      <a:pt x="41" y="26"/>
                      <a:pt x="40" y="26"/>
                    </a:cubicBezTo>
                    <a:cubicBezTo>
                      <a:pt x="39" y="25"/>
                      <a:pt x="40" y="24"/>
                      <a:pt x="40" y="23"/>
                    </a:cubicBezTo>
                    <a:cubicBezTo>
                      <a:pt x="40" y="21"/>
                      <a:pt x="39" y="21"/>
                      <a:pt x="38" y="20"/>
                    </a:cubicBezTo>
                    <a:cubicBezTo>
                      <a:pt x="38" y="20"/>
                      <a:pt x="38" y="19"/>
                      <a:pt x="38" y="19"/>
                    </a:cubicBezTo>
                    <a:cubicBezTo>
                      <a:pt x="39" y="18"/>
                      <a:pt x="40" y="18"/>
                      <a:pt x="40" y="17"/>
                    </a:cubicBezTo>
                    <a:cubicBezTo>
                      <a:pt x="41" y="16"/>
                      <a:pt x="38" y="17"/>
                      <a:pt x="37" y="16"/>
                    </a:cubicBezTo>
                    <a:cubicBezTo>
                      <a:pt x="37" y="16"/>
                      <a:pt x="36" y="16"/>
                      <a:pt x="37" y="15"/>
                    </a:cubicBezTo>
                    <a:cubicBezTo>
                      <a:pt x="37" y="15"/>
                      <a:pt x="37" y="15"/>
                      <a:pt x="37" y="14"/>
                    </a:cubicBezTo>
                    <a:cubicBezTo>
                      <a:pt x="37" y="13"/>
                      <a:pt x="36" y="13"/>
                      <a:pt x="36" y="13"/>
                    </a:cubicBezTo>
                    <a:cubicBezTo>
                      <a:pt x="35" y="13"/>
                      <a:pt x="35" y="12"/>
                      <a:pt x="35" y="12"/>
                    </a:cubicBezTo>
                    <a:cubicBezTo>
                      <a:pt x="35" y="11"/>
                      <a:pt x="35" y="11"/>
                      <a:pt x="36" y="10"/>
                    </a:cubicBezTo>
                    <a:cubicBezTo>
                      <a:pt x="36" y="10"/>
                      <a:pt x="35" y="9"/>
                      <a:pt x="36" y="9"/>
                    </a:cubicBezTo>
                    <a:cubicBezTo>
                      <a:pt x="37" y="9"/>
                      <a:pt x="37" y="9"/>
                      <a:pt x="38" y="9"/>
                    </a:cubicBezTo>
                    <a:cubicBezTo>
                      <a:pt x="38" y="8"/>
                      <a:pt x="39" y="8"/>
                      <a:pt x="40" y="8"/>
                    </a:cubicBezTo>
                    <a:cubicBezTo>
                      <a:pt x="40" y="8"/>
                      <a:pt x="41" y="9"/>
                      <a:pt x="42" y="9"/>
                    </a:cubicBezTo>
                    <a:cubicBezTo>
                      <a:pt x="43" y="9"/>
                      <a:pt x="44" y="9"/>
                      <a:pt x="45" y="9"/>
                    </a:cubicBezTo>
                    <a:cubicBezTo>
                      <a:pt x="46" y="10"/>
                      <a:pt x="46" y="10"/>
                      <a:pt x="47" y="10"/>
                    </a:cubicBezTo>
                    <a:cubicBezTo>
                      <a:pt x="48" y="9"/>
                      <a:pt x="48" y="10"/>
                      <a:pt x="48" y="10"/>
                    </a:cubicBezTo>
                    <a:cubicBezTo>
                      <a:pt x="50" y="11"/>
                      <a:pt x="51" y="11"/>
                      <a:pt x="53" y="11"/>
                    </a:cubicBezTo>
                    <a:cubicBezTo>
                      <a:pt x="53" y="11"/>
                      <a:pt x="54" y="10"/>
                      <a:pt x="54" y="10"/>
                    </a:cubicBezTo>
                    <a:cubicBezTo>
                      <a:pt x="55" y="9"/>
                      <a:pt x="55" y="9"/>
                      <a:pt x="56" y="9"/>
                    </a:cubicBezTo>
                    <a:cubicBezTo>
                      <a:pt x="56" y="9"/>
                      <a:pt x="57" y="9"/>
                      <a:pt x="58" y="8"/>
                    </a:cubicBezTo>
                    <a:cubicBezTo>
                      <a:pt x="58" y="8"/>
                      <a:pt x="59" y="9"/>
                      <a:pt x="60" y="9"/>
                    </a:cubicBezTo>
                    <a:cubicBezTo>
                      <a:pt x="60" y="8"/>
                      <a:pt x="61" y="8"/>
                      <a:pt x="61" y="7"/>
                    </a:cubicBezTo>
                    <a:cubicBezTo>
                      <a:pt x="61" y="7"/>
                      <a:pt x="61" y="6"/>
                      <a:pt x="61" y="6"/>
                    </a:cubicBezTo>
                    <a:cubicBezTo>
                      <a:pt x="62" y="6"/>
                      <a:pt x="62" y="6"/>
                      <a:pt x="63" y="6"/>
                    </a:cubicBezTo>
                    <a:cubicBezTo>
                      <a:pt x="63" y="5"/>
                      <a:pt x="63" y="5"/>
                      <a:pt x="63" y="4"/>
                    </a:cubicBezTo>
                    <a:cubicBezTo>
                      <a:pt x="65" y="3"/>
                      <a:pt x="66" y="2"/>
                      <a:pt x="67" y="1"/>
                    </a:cubicBezTo>
                    <a:cubicBezTo>
                      <a:pt x="68" y="1"/>
                      <a:pt x="69" y="0"/>
                      <a:pt x="69" y="0"/>
                    </a:cubicBezTo>
                    <a:cubicBezTo>
                      <a:pt x="69" y="0"/>
                      <a:pt x="70" y="1"/>
                      <a:pt x="70" y="0"/>
                    </a:cubicBezTo>
                    <a:cubicBezTo>
                      <a:pt x="71" y="0"/>
                      <a:pt x="71" y="0"/>
                      <a:pt x="71" y="0"/>
                    </a:cubicBezTo>
                    <a:cubicBezTo>
                      <a:pt x="71" y="1"/>
                      <a:pt x="71" y="2"/>
                      <a:pt x="71" y="2"/>
                    </a:cubicBezTo>
                    <a:cubicBezTo>
                      <a:pt x="71" y="3"/>
                      <a:pt x="72" y="4"/>
                      <a:pt x="72" y="4"/>
                    </a:cubicBezTo>
                    <a:cubicBezTo>
                      <a:pt x="73" y="5"/>
                      <a:pt x="73" y="6"/>
                      <a:pt x="74" y="7"/>
                    </a:cubicBezTo>
                    <a:cubicBezTo>
                      <a:pt x="75" y="8"/>
                      <a:pt x="75" y="10"/>
                      <a:pt x="76" y="10"/>
                    </a:cubicBezTo>
                    <a:cubicBezTo>
                      <a:pt x="77" y="10"/>
                      <a:pt x="78" y="10"/>
                      <a:pt x="79" y="11"/>
                    </a:cubicBezTo>
                    <a:cubicBezTo>
                      <a:pt x="79" y="11"/>
                      <a:pt x="80" y="11"/>
                      <a:pt x="81" y="12"/>
                    </a:cubicBezTo>
                    <a:cubicBezTo>
                      <a:pt x="81" y="12"/>
                      <a:pt x="84" y="13"/>
                      <a:pt x="83" y="14"/>
                    </a:cubicBezTo>
                    <a:cubicBezTo>
                      <a:pt x="82" y="16"/>
                      <a:pt x="80" y="15"/>
                      <a:pt x="81" y="17"/>
                    </a:cubicBezTo>
                    <a:cubicBezTo>
                      <a:pt x="82" y="18"/>
                      <a:pt x="82" y="18"/>
                      <a:pt x="82" y="19"/>
                    </a:cubicBezTo>
                    <a:cubicBezTo>
                      <a:pt x="82" y="19"/>
                      <a:pt x="82" y="20"/>
                      <a:pt x="83" y="21"/>
                    </a:cubicBezTo>
                    <a:cubicBezTo>
                      <a:pt x="83" y="22"/>
                      <a:pt x="83" y="22"/>
                      <a:pt x="84" y="23"/>
                    </a:cubicBezTo>
                    <a:cubicBezTo>
                      <a:pt x="84" y="23"/>
                      <a:pt x="85" y="24"/>
                      <a:pt x="86" y="24"/>
                    </a:cubicBezTo>
                    <a:cubicBezTo>
                      <a:pt x="86" y="24"/>
                      <a:pt x="86" y="25"/>
                      <a:pt x="87" y="25"/>
                    </a:cubicBezTo>
                    <a:cubicBezTo>
                      <a:pt x="87" y="25"/>
                      <a:pt x="87" y="25"/>
                      <a:pt x="87" y="25"/>
                    </a:cubicBezTo>
                    <a:cubicBezTo>
                      <a:pt x="87" y="25"/>
                      <a:pt x="87" y="25"/>
                      <a:pt x="87" y="25"/>
                    </a:cubicBezTo>
                    <a:cubicBezTo>
                      <a:pt x="87" y="25"/>
                      <a:pt x="89" y="25"/>
                      <a:pt x="89" y="26"/>
                    </a:cubicBezTo>
                    <a:cubicBezTo>
                      <a:pt x="89" y="27"/>
                      <a:pt x="89" y="28"/>
                      <a:pt x="90" y="28"/>
                    </a:cubicBezTo>
                    <a:cubicBezTo>
                      <a:pt x="90" y="29"/>
                      <a:pt x="90" y="29"/>
                      <a:pt x="91" y="29"/>
                    </a:cubicBezTo>
                    <a:cubicBezTo>
                      <a:pt x="91" y="30"/>
                      <a:pt x="91" y="30"/>
                      <a:pt x="91" y="30"/>
                    </a:cubicBezTo>
                    <a:cubicBezTo>
                      <a:pt x="92" y="31"/>
                      <a:pt x="91" y="32"/>
                      <a:pt x="90" y="33"/>
                    </a:cubicBezTo>
                    <a:cubicBezTo>
                      <a:pt x="90" y="33"/>
                      <a:pt x="89" y="33"/>
                      <a:pt x="89" y="33"/>
                    </a:cubicBezTo>
                    <a:cubicBezTo>
                      <a:pt x="89" y="33"/>
                      <a:pt x="89" y="33"/>
                      <a:pt x="89" y="33"/>
                    </a:cubicBezTo>
                    <a:cubicBezTo>
                      <a:pt x="89" y="33"/>
                      <a:pt x="88" y="33"/>
                      <a:pt x="88" y="34"/>
                    </a:cubicBezTo>
                    <a:cubicBezTo>
                      <a:pt x="89" y="34"/>
                      <a:pt x="88" y="35"/>
                      <a:pt x="87" y="35"/>
                    </a:cubicBezTo>
                    <a:cubicBezTo>
                      <a:pt x="86" y="34"/>
                      <a:pt x="85" y="33"/>
                      <a:pt x="85" y="32"/>
                    </a:cubicBezTo>
                    <a:cubicBezTo>
                      <a:pt x="85" y="32"/>
                      <a:pt x="84" y="31"/>
                      <a:pt x="84" y="32"/>
                    </a:cubicBezTo>
                    <a:cubicBezTo>
                      <a:pt x="84" y="32"/>
                      <a:pt x="83" y="32"/>
                      <a:pt x="82" y="32"/>
                    </a:cubicBezTo>
                    <a:cubicBezTo>
                      <a:pt x="81" y="32"/>
                      <a:pt x="82" y="33"/>
                      <a:pt x="82" y="33"/>
                    </a:cubicBezTo>
                    <a:cubicBezTo>
                      <a:pt x="82" y="34"/>
                      <a:pt x="82" y="34"/>
                      <a:pt x="83" y="34"/>
                    </a:cubicBezTo>
                    <a:cubicBezTo>
                      <a:pt x="83" y="35"/>
                      <a:pt x="83" y="35"/>
                      <a:pt x="83" y="36"/>
                    </a:cubicBezTo>
                    <a:cubicBezTo>
                      <a:pt x="82" y="36"/>
                      <a:pt x="82" y="36"/>
                      <a:pt x="83" y="37"/>
                    </a:cubicBezTo>
                    <a:cubicBezTo>
                      <a:pt x="82" y="36"/>
                      <a:pt x="82" y="36"/>
                      <a:pt x="83" y="36"/>
                    </a:cubicBezTo>
                    <a:cubicBezTo>
                      <a:pt x="83" y="36"/>
                      <a:pt x="84" y="36"/>
                      <a:pt x="84" y="37"/>
                    </a:cubicBezTo>
                    <a:cubicBezTo>
                      <a:pt x="84" y="37"/>
                      <a:pt x="85" y="38"/>
                      <a:pt x="85" y="38"/>
                    </a:cubicBezTo>
                    <a:cubicBezTo>
                      <a:pt x="85" y="38"/>
                      <a:pt x="86" y="39"/>
                      <a:pt x="86" y="40"/>
                    </a:cubicBezTo>
                    <a:cubicBezTo>
                      <a:pt x="86" y="39"/>
                      <a:pt x="86" y="39"/>
                      <a:pt x="86" y="39"/>
                    </a:cubicBezTo>
                    <a:cubicBezTo>
                      <a:pt x="86" y="39"/>
                      <a:pt x="86" y="40"/>
                      <a:pt x="86" y="40"/>
                    </a:cubicBezTo>
                    <a:cubicBezTo>
                      <a:pt x="86" y="40"/>
                      <a:pt x="86" y="41"/>
                      <a:pt x="86" y="41"/>
                    </a:cubicBezTo>
                    <a:cubicBezTo>
                      <a:pt x="86" y="42"/>
                      <a:pt x="87" y="42"/>
                      <a:pt x="87" y="42"/>
                    </a:cubicBezTo>
                    <a:cubicBezTo>
                      <a:pt x="88" y="43"/>
                      <a:pt x="87" y="43"/>
                      <a:pt x="87" y="43"/>
                    </a:cubicBezTo>
                    <a:cubicBezTo>
                      <a:pt x="87" y="44"/>
                      <a:pt x="87" y="44"/>
                      <a:pt x="87" y="44"/>
                    </a:cubicBezTo>
                    <a:cubicBezTo>
                      <a:pt x="88" y="45"/>
                      <a:pt x="87" y="45"/>
                      <a:pt x="87" y="46"/>
                    </a:cubicBezTo>
                    <a:cubicBezTo>
                      <a:pt x="88" y="47"/>
                      <a:pt x="88" y="46"/>
                      <a:pt x="88" y="46"/>
                    </a:cubicBezTo>
                    <a:cubicBezTo>
                      <a:pt x="89" y="46"/>
                      <a:pt x="89" y="46"/>
                      <a:pt x="89" y="46"/>
                    </a:cubicBezTo>
                    <a:cubicBezTo>
                      <a:pt x="89" y="46"/>
                      <a:pt x="89" y="46"/>
                      <a:pt x="89" y="46"/>
                    </a:cubicBezTo>
                    <a:cubicBezTo>
                      <a:pt x="89" y="46"/>
                      <a:pt x="90" y="46"/>
                      <a:pt x="90" y="46"/>
                    </a:cubicBezTo>
                    <a:cubicBezTo>
                      <a:pt x="89" y="45"/>
                      <a:pt x="90" y="45"/>
                      <a:pt x="91" y="45"/>
                    </a:cubicBezTo>
                    <a:cubicBezTo>
                      <a:pt x="91" y="45"/>
                      <a:pt x="91" y="46"/>
                      <a:pt x="91" y="46"/>
                    </a:cubicBezTo>
                    <a:cubicBezTo>
                      <a:pt x="91" y="46"/>
                      <a:pt x="92" y="46"/>
                      <a:pt x="92" y="46"/>
                    </a:cubicBezTo>
                    <a:cubicBezTo>
                      <a:pt x="92" y="46"/>
                      <a:pt x="92" y="46"/>
                      <a:pt x="92" y="47"/>
                    </a:cubicBezTo>
                    <a:cubicBezTo>
                      <a:pt x="93" y="47"/>
                      <a:pt x="93" y="48"/>
                      <a:pt x="94" y="48"/>
                    </a:cubicBezTo>
                    <a:cubicBezTo>
                      <a:pt x="94" y="48"/>
                      <a:pt x="94" y="49"/>
                      <a:pt x="95" y="49"/>
                    </a:cubicBezTo>
                    <a:cubicBezTo>
                      <a:pt x="95" y="49"/>
                      <a:pt x="95" y="50"/>
                      <a:pt x="96" y="50"/>
                    </a:cubicBezTo>
                    <a:cubicBezTo>
                      <a:pt x="96" y="50"/>
                      <a:pt x="97" y="50"/>
                      <a:pt x="97" y="50"/>
                    </a:cubicBezTo>
                    <a:cubicBezTo>
                      <a:pt x="98" y="50"/>
                      <a:pt x="98" y="50"/>
                      <a:pt x="99" y="50"/>
                    </a:cubicBezTo>
                    <a:cubicBezTo>
                      <a:pt x="99" y="50"/>
                      <a:pt x="99" y="51"/>
                      <a:pt x="100" y="51"/>
                    </a:cubicBezTo>
                    <a:cubicBezTo>
                      <a:pt x="100" y="51"/>
                      <a:pt x="101" y="52"/>
                      <a:pt x="101" y="52"/>
                    </a:cubicBezTo>
                    <a:cubicBezTo>
                      <a:pt x="101" y="52"/>
                      <a:pt x="101" y="52"/>
                      <a:pt x="102" y="52"/>
                    </a:cubicBezTo>
                    <a:cubicBezTo>
                      <a:pt x="102" y="52"/>
                      <a:pt x="102" y="52"/>
                      <a:pt x="102" y="52"/>
                    </a:cubicBezTo>
                    <a:cubicBezTo>
                      <a:pt x="102" y="52"/>
                      <a:pt x="103" y="52"/>
                      <a:pt x="103" y="53"/>
                    </a:cubicBezTo>
                    <a:cubicBezTo>
                      <a:pt x="103" y="53"/>
                      <a:pt x="102" y="53"/>
                      <a:pt x="102" y="53"/>
                    </a:cubicBezTo>
                    <a:cubicBezTo>
                      <a:pt x="102" y="54"/>
                      <a:pt x="103" y="54"/>
                      <a:pt x="103" y="54"/>
                    </a:cubicBezTo>
                    <a:cubicBezTo>
                      <a:pt x="103" y="54"/>
                      <a:pt x="103" y="54"/>
                      <a:pt x="103" y="54"/>
                    </a:cubicBezTo>
                    <a:cubicBezTo>
                      <a:pt x="104" y="54"/>
                      <a:pt x="105" y="55"/>
                      <a:pt x="105" y="55"/>
                    </a:cubicBezTo>
                    <a:cubicBezTo>
                      <a:pt x="106" y="55"/>
                      <a:pt x="107" y="55"/>
                      <a:pt x="107" y="56"/>
                    </a:cubicBezTo>
                    <a:cubicBezTo>
                      <a:pt x="108" y="56"/>
                      <a:pt x="108" y="57"/>
                      <a:pt x="109" y="57"/>
                    </a:cubicBezTo>
                    <a:cubicBezTo>
                      <a:pt x="109" y="57"/>
                      <a:pt x="110" y="57"/>
                      <a:pt x="110" y="58"/>
                    </a:cubicBezTo>
                    <a:cubicBezTo>
                      <a:pt x="112" y="58"/>
                      <a:pt x="110" y="59"/>
                      <a:pt x="110" y="58"/>
                    </a:cubicBezTo>
                    <a:cubicBezTo>
                      <a:pt x="110" y="58"/>
                      <a:pt x="110" y="59"/>
                      <a:pt x="110" y="59"/>
                    </a:cubicBezTo>
                    <a:cubicBezTo>
                      <a:pt x="109" y="60"/>
                      <a:pt x="109" y="60"/>
                      <a:pt x="108" y="60"/>
                    </a:cubicBezTo>
                    <a:cubicBezTo>
                      <a:pt x="108" y="61"/>
                      <a:pt x="108" y="61"/>
                      <a:pt x="107" y="62"/>
                    </a:cubicBezTo>
                    <a:cubicBezTo>
                      <a:pt x="107" y="62"/>
                      <a:pt x="107" y="63"/>
                      <a:pt x="106" y="63"/>
                    </a:cubicBezTo>
                    <a:cubicBezTo>
                      <a:pt x="106" y="63"/>
                      <a:pt x="106" y="64"/>
                      <a:pt x="106" y="64"/>
                    </a:cubicBezTo>
                    <a:cubicBezTo>
                      <a:pt x="107" y="65"/>
                      <a:pt x="106" y="65"/>
                      <a:pt x="106" y="66"/>
                    </a:cubicBezTo>
                    <a:cubicBezTo>
                      <a:pt x="106" y="66"/>
                      <a:pt x="106" y="67"/>
                      <a:pt x="105" y="67"/>
                    </a:cubicBezTo>
                    <a:cubicBezTo>
                      <a:pt x="105" y="67"/>
                      <a:pt x="106" y="68"/>
                      <a:pt x="106" y="68"/>
                    </a:cubicBezTo>
                    <a:cubicBezTo>
                      <a:pt x="106" y="68"/>
                      <a:pt x="106" y="69"/>
                      <a:pt x="106" y="69"/>
                    </a:cubicBezTo>
                    <a:cubicBezTo>
                      <a:pt x="106" y="69"/>
                      <a:pt x="106" y="69"/>
                      <a:pt x="106" y="69"/>
                    </a:cubicBezTo>
                    <a:cubicBezTo>
                      <a:pt x="106" y="70"/>
                      <a:pt x="106" y="70"/>
                      <a:pt x="106" y="70"/>
                    </a:cubicBezTo>
                    <a:cubicBezTo>
                      <a:pt x="106" y="70"/>
                      <a:pt x="105" y="70"/>
                      <a:pt x="105" y="70"/>
                    </a:cubicBezTo>
                    <a:cubicBezTo>
                      <a:pt x="105" y="71"/>
                      <a:pt x="105" y="71"/>
                      <a:pt x="105" y="71"/>
                    </a:cubicBezTo>
                    <a:cubicBezTo>
                      <a:pt x="105" y="72"/>
                      <a:pt x="105" y="72"/>
                      <a:pt x="105" y="72"/>
                    </a:cubicBezTo>
                    <a:cubicBezTo>
                      <a:pt x="104" y="73"/>
                      <a:pt x="105" y="73"/>
                      <a:pt x="105" y="74"/>
                    </a:cubicBezTo>
                    <a:cubicBezTo>
                      <a:pt x="106" y="74"/>
                      <a:pt x="106" y="74"/>
                      <a:pt x="106" y="74"/>
                    </a:cubicBezTo>
                    <a:cubicBezTo>
                      <a:pt x="106" y="74"/>
                      <a:pt x="107" y="74"/>
                      <a:pt x="107" y="74"/>
                    </a:cubicBezTo>
                    <a:cubicBezTo>
                      <a:pt x="107" y="75"/>
                      <a:pt x="108" y="76"/>
                      <a:pt x="108" y="76"/>
                    </a:cubicBezTo>
                    <a:cubicBezTo>
                      <a:pt x="108" y="76"/>
                      <a:pt x="109" y="76"/>
                      <a:pt x="109" y="76"/>
                    </a:cubicBezTo>
                    <a:cubicBezTo>
                      <a:pt x="109" y="76"/>
                      <a:pt x="109" y="76"/>
                      <a:pt x="109" y="76"/>
                    </a:cubicBezTo>
                    <a:cubicBezTo>
                      <a:pt x="109" y="76"/>
                      <a:pt x="109" y="75"/>
                      <a:pt x="109" y="75"/>
                    </a:cubicBezTo>
                    <a:cubicBezTo>
                      <a:pt x="110" y="75"/>
                      <a:pt x="111" y="76"/>
                      <a:pt x="111" y="76"/>
                    </a:cubicBezTo>
                    <a:cubicBezTo>
                      <a:pt x="112" y="76"/>
                      <a:pt x="112" y="77"/>
                      <a:pt x="113" y="77"/>
                    </a:cubicBezTo>
                    <a:cubicBezTo>
                      <a:pt x="113" y="77"/>
                      <a:pt x="113" y="77"/>
                      <a:pt x="113" y="77"/>
                    </a:cubicBezTo>
                    <a:cubicBezTo>
                      <a:pt x="114" y="78"/>
                      <a:pt x="114" y="77"/>
                      <a:pt x="114" y="78"/>
                    </a:cubicBezTo>
                    <a:cubicBezTo>
                      <a:pt x="115" y="78"/>
                      <a:pt x="116" y="78"/>
                      <a:pt x="116" y="79"/>
                    </a:cubicBezTo>
                    <a:cubicBezTo>
                      <a:pt x="117" y="79"/>
                      <a:pt x="117" y="80"/>
                      <a:pt x="117" y="80"/>
                    </a:cubicBezTo>
                    <a:cubicBezTo>
                      <a:pt x="117" y="80"/>
                      <a:pt x="118" y="81"/>
                      <a:pt x="118" y="81"/>
                    </a:cubicBezTo>
                    <a:cubicBezTo>
                      <a:pt x="118" y="81"/>
                      <a:pt x="118" y="81"/>
                      <a:pt x="118" y="81"/>
                    </a:cubicBezTo>
                    <a:cubicBezTo>
                      <a:pt x="119" y="81"/>
                      <a:pt x="119" y="81"/>
                      <a:pt x="119" y="81"/>
                    </a:cubicBezTo>
                    <a:cubicBezTo>
                      <a:pt x="120" y="82"/>
                      <a:pt x="122" y="83"/>
                      <a:pt x="123" y="84"/>
                    </a:cubicBezTo>
                    <a:cubicBezTo>
                      <a:pt x="124" y="84"/>
                      <a:pt x="124" y="84"/>
                      <a:pt x="124" y="84"/>
                    </a:cubicBezTo>
                    <a:cubicBezTo>
                      <a:pt x="125" y="83"/>
                      <a:pt x="125" y="84"/>
                      <a:pt x="126" y="84"/>
                    </a:cubicBezTo>
                    <a:cubicBezTo>
                      <a:pt x="127" y="84"/>
                      <a:pt x="128" y="86"/>
                      <a:pt x="129" y="86"/>
                    </a:cubicBezTo>
                    <a:cubicBezTo>
                      <a:pt x="130" y="86"/>
                      <a:pt x="130" y="86"/>
                      <a:pt x="131" y="86"/>
                    </a:cubicBezTo>
                    <a:cubicBezTo>
                      <a:pt x="132" y="86"/>
                      <a:pt x="132" y="86"/>
                      <a:pt x="132" y="87"/>
                    </a:cubicBezTo>
                    <a:cubicBezTo>
                      <a:pt x="132" y="87"/>
                      <a:pt x="133" y="88"/>
                      <a:pt x="133" y="88"/>
                    </a:cubicBezTo>
                    <a:cubicBezTo>
                      <a:pt x="134" y="88"/>
                      <a:pt x="134" y="88"/>
                      <a:pt x="135" y="88"/>
                    </a:cubicBezTo>
                    <a:cubicBezTo>
                      <a:pt x="135" y="89"/>
                      <a:pt x="136" y="88"/>
                      <a:pt x="137" y="89"/>
                    </a:cubicBezTo>
                    <a:cubicBezTo>
                      <a:pt x="137" y="89"/>
                      <a:pt x="138" y="90"/>
                      <a:pt x="138" y="90"/>
                    </a:cubicBezTo>
                    <a:cubicBezTo>
                      <a:pt x="139" y="89"/>
                      <a:pt x="138" y="89"/>
                      <a:pt x="139" y="88"/>
                    </a:cubicBezTo>
                    <a:cubicBezTo>
                      <a:pt x="139" y="88"/>
                      <a:pt x="140" y="88"/>
                      <a:pt x="141" y="88"/>
                    </a:cubicBezTo>
                    <a:cubicBezTo>
                      <a:pt x="141" y="89"/>
                      <a:pt x="142" y="89"/>
                      <a:pt x="143" y="90"/>
                    </a:cubicBezTo>
                    <a:cubicBezTo>
                      <a:pt x="143" y="90"/>
                      <a:pt x="143" y="89"/>
                      <a:pt x="143" y="89"/>
                    </a:cubicBezTo>
                    <a:cubicBezTo>
                      <a:pt x="143" y="89"/>
                      <a:pt x="143" y="89"/>
                      <a:pt x="144" y="89"/>
                    </a:cubicBezTo>
                    <a:cubicBezTo>
                      <a:pt x="144" y="89"/>
                      <a:pt x="145" y="89"/>
                      <a:pt x="145" y="89"/>
                    </a:cubicBezTo>
                    <a:cubicBezTo>
                      <a:pt x="145" y="88"/>
                      <a:pt x="145" y="88"/>
                      <a:pt x="145" y="88"/>
                    </a:cubicBezTo>
                    <a:cubicBezTo>
                      <a:pt x="145" y="88"/>
                      <a:pt x="146" y="88"/>
                      <a:pt x="146" y="89"/>
                    </a:cubicBezTo>
                    <a:cubicBezTo>
                      <a:pt x="147" y="89"/>
                      <a:pt x="146" y="88"/>
                      <a:pt x="147" y="89"/>
                    </a:cubicBezTo>
                    <a:cubicBezTo>
                      <a:pt x="147" y="89"/>
                      <a:pt x="147" y="89"/>
                      <a:pt x="147" y="89"/>
                    </a:cubicBezTo>
                    <a:cubicBezTo>
                      <a:pt x="148" y="90"/>
                      <a:pt x="149" y="89"/>
                      <a:pt x="149" y="90"/>
                    </a:cubicBezTo>
                    <a:cubicBezTo>
                      <a:pt x="151" y="90"/>
                      <a:pt x="151" y="91"/>
                      <a:pt x="151" y="93"/>
                    </a:cubicBezTo>
                    <a:cubicBezTo>
                      <a:pt x="151" y="93"/>
                      <a:pt x="152" y="94"/>
                      <a:pt x="153" y="93"/>
                    </a:cubicBezTo>
                    <a:cubicBezTo>
                      <a:pt x="153" y="93"/>
                      <a:pt x="154" y="94"/>
                      <a:pt x="154" y="94"/>
                    </a:cubicBezTo>
                    <a:cubicBezTo>
                      <a:pt x="154" y="94"/>
                      <a:pt x="155" y="95"/>
                      <a:pt x="155" y="95"/>
                    </a:cubicBezTo>
                    <a:cubicBezTo>
                      <a:pt x="155" y="95"/>
                      <a:pt x="156" y="95"/>
                      <a:pt x="156" y="95"/>
                    </a:cubicBezTo>
                    <a:cubicBezTo>
                      <a:pt x="157" y="95"/>
                      <a:pt x="156" y="96"/>
                      <a:pt x="157" y="96"/>
                    </a:cubicBezTo>
                    <a:cubicBezTo>
                      <a:pt x="157" y="96"/>
                      <a:pt x="157" y="96"/>
                      <a:pt x="157" y="96"/>
                    </a:cubicBezTo>
                    <a:cubicBezTo>
                      <a:pt x="158" y="97"/>
                      <a:pt x="158" y="96"/>
                      <a:pt x="159" y="96"/>
                    </a:cubicBezTo>
                    <a:cubicBezTo>
                      <a:pt x="159" y="96"/>
                      <a:pt x="159" y="96"/>
                      <a:pt x="160" y="96"/>
                    </a:cubicBezTo>
                    <a:cubicBezTo>
                      <a:pt x="160" y="95"/>
                      <a:pt x="160" y="95"/>
                      <a:pt x="160" y="95"/>
                    </a:cubicBezTo>
                    <a:cubicBezTo>
                      <a:pt x="161" y="95"/>
                      <a:pt x="161" y="95"/>
                      <a:pt x="162" y="96"/>
                    </a:cubicBezTo>
                    <a:cubicBezTo>
                      <a:pt x="162" y="96"/>
                      <a:pt x="162" y="97"/>
                      <a:pt x="162" y="97"/>
                    </a:cubicBezTo>
                    <a:cubicBezTo>
                      <a:pt x="162" y="98"/>
                      <a:pt x="163" y="98"/>
                      <a:pt x="163" y="98"/>
                    </a:cubicBezTo>
                    <a:cubicBezTo>
                      <a:pt x="164" y="98"/>
                      <a:pt x="164" y="98"/>
                      <a:pt x="164" y="98"/>
                    </a:cubicBezTo>
                    <a:cubicBezTo>
                      <a:pt x="165" y="97"/>
                      <a:pt x="166" y="98"/>
                      <a:pt x="166" y="98"/>
                    </a:cubicBezTo>
                    <a:cubicBezTo>
                      <a:pt x="167" y="98"/>
                      <a:pt x="167" y="98"/>
                      <a:pt x="168" y="98"/>
                    </a:cubicBezTo>
                    <a:cubicBezTo>
                      <a:pt x="168" y="98"/>
                      <a:pt x="168" y="98"/>
                      <a:pt x="168" y="98"/>
                    </a:cubicBezTo>
                    <a:cubicBezTo>
                      <a:pt x="168" y="98"/>
                      <a:pt x="169" y="98"/>
                      <a:pt x="169" y="98"/>
                    </a:cubicBezTo>
                    <a:cubicBezTo>
                      <a:pt x="170" y="99"/>
                      <a:pt x="170" y="99"/>
                      <a:pt x="171" y="99"/>
                    </a:cubicBezTo>
                    <a:cubicBezTo>
                      <a:pt x="171" y="100"/>
                      <a:pt x="172" y="100"/>
                      <a:pt x="172" y="100"/>
                    </a:cubicBezTo>
                    <a:cubicBezTo>
                      <a:pt x="173" y="100"/>
                      <a:pt x="173" y="100"/>
                      <a:pt x="173" y="99"/>
                    </a:cubicBezTo>
                    <a:cubicBezTo>
                      <a:pt x="173" y="99"/>
                      <a:pt x="174" y="99"/>
                      <a:pt x="174" y="98"/>
                    </a:cubicBezTo>
                    <a:cubicBezTo>
                      <a:pt x="175" y="98"/>
                      <a:pt x="175" y="99"/>
                      <a:pt x="175" y="99"/>
                    </a:cubicBezTo>
                    <a:cubicBezTo>
                      <a:pt x="175" y="99"/>
                      <a:pt x="175" y="100"/>
                      <a:pt x="176" y="100"/>
                    </a:cubicBezTo>
                    <a:cubicBezTo>
                      <a:pt x="177" y="100"/>
                      <a:pt x="177" y="101"/>
                      <a:pt x="178" y="101"/>
                    </a:cubicBezTo>
                    <a:cubicBezTo>
                      <a:pt x="178" y="100"/>
                      <a:pt x="178" y="100"/>
                      <a:pt x="179" y="100"/>
                    </a:cubicBezTo>
                    <a:cubicBezTo>
                      <a:pt x="180" y="100"/>
                      <a:pt x="180" y="100"/>
                      <a:pt x="181" y="100"/>
                    </a:cubicBezTo>
                    <a:cubicBezTo>
                      <a:pt x="181" y="100"/>
                      <a:pt x="181" y="100"/>
                      <a:pt x="181" y="100"/>
                    </a:cubicBezTo>
                    <a:cubicBezTo>
                      <a:pt x="181" y="100"/>
                      <a:pt x="182" y="100"/>
                      <a:pt x="182" y="100"/>
                    </a:cubicBezTo>
                    <a:cubicBezTo>
                      <a:pt x="182" y="99"/>
                      <a:pt x="182" y="100"/>
                      <a:pt x="182" y="100"/>
                    </a:cubicBezTo>
                    <a:cubicBezTo>
                      <a:pt x="182" y="100"/>
                      <a:pt x="182" y="99"/>
                      <a:pt x="183" y="99"/>
                    </a:cubicBezTo>
                    <a:cubicBezTo>
                      <a:pt x="183" y="99"/>
                      <a:pt x="183" y="100"/>
                      <a:pt x="183" y="100"/>
                    </a:cubicBezTo>
                    <a:cubicBezTo>
                      <a:pt x="185" y="101"/>
                      <a:pt x="185" y="98"/>
                      <a:pt x="185" y="97"/>
                    </a:cubicBezTo>
                    <a:cubicBezTo>
                      <a:pt x="185" y="96"/>
                      <a:pt x="185" y="95"/>
                      <a:pt x="184" y="94"/>
                    </a:cubicBezTo>
                    <a:cubicBezTo>
                      <a:pt x="183" y="93"/>
                      <a:pt x="183" y="93"/>
                      <a:pt x="182" y="92"/>
                    </a:cubicBezTo>
                    <a:cubicBezTo>
                      <a:pt x="182" y="91"/>
                      <a:pt x="183" y="90"/>
                      <a:pt x="182" y="89"/>
                    </a:cubicBezTo>
                    <a:cubicBezTo>
                      <a:pt x="182" y="89"/>
                      <a:pt x="182" y="88"/>
                      <a:pt x="182" y="87"/>
                    </a:cubicBezTo>
                    <a:cubicBezTo>
                      <a:pt x="183" y="87"/>
                      <a:pt x="183" y="86"/>
                      <a:pt x="183" y="85"/>
                    </a:cubicBezTo>
                    <a:cubicBezTo>
                      <a:pt x="183" y="84"/>
                      <a:pt x="181" y="83"/>
                      <a:pt x="183" y="83"/>
                    </a:cubicBezTo>
                    <a:cubicBezTo>
                      <a:pt x="183" y="83"/>
                      <a:pt x="186" y="82"/>
                      <a:pt x="186" y="82"/>
                    </a:cubicBezTo>
                    <a:cubicBezTo>
                      <a:pt x="186" y="81"/>
                      <a:pt x="187" y="82"/>
                      <a:pt x="188" y="82"/>
                    </a:cubicBezTo>
                    <a:cubicBezTo>
                      <a:pt x="188" y="82"/>
                      <a:pt x="188" y="82"/>
                      <a:pt x="189" y="82"/>
                    </a:cubicBezTo>
                    <a:cubicBezTo>
                      <a:pt x="189" y="83"/>
                      <a:pt x="189" y="83"/>
                      <a:pt x="189" y="83"/>
                    </a:cubicBezTo>
                    <a:cubicBezTo>
                      <a:pt x="189" y="83"/>
                      <a:pt x="189" y="84"/>
                      <a:pt x="189" y="84"/>
                    </a:cubicBezTo>
                    <a:cubicBezTo>
                      <a:pt x="189" y="84"/>
                      <a:pt x="189" y="85"/>
                      <a:pt x="189" y="85"/>
                    </a:cubicBezTo>
                    <a:cubicBezTo>
                      <a:pt x="189" y="86"/>
                      <a:pt x="189" y="88"/>
                      <a:pt x="190" y="89"/>
                    </a:cubicBezTo>
                    <a:cubicBezTo>
                      <a:pt x="190" y="89"/>
                      <a:pt x="190" y="90"/>
                      <a:pt x="191" y="90"/>
                    </a:cubicBezTo>
                    <a:cubicBezTo>
                      <a:pt x="191" y="91"/>
                      <a:pt x="190" y="91"/>
                      <a:pt x="190" y="91"/>
                    </a:cubicBezTo>
                    <a:cubicBezTo>
                      <a:pt x="189" y="92"/>
                      <a:pt x="190" y="92"/>
                      <a:pt x="190" y="92"/>
                    </a:cubicBezTo>
                    <a:cubicBezTo>
                      <a:pt x="191" y="93"/>
                      <a:pt x="191" y="93"/>
                      <a:pt x="191" y="94"/>
                    </a:cubicBezTo>
                    <a:cubicBezTo>
                      <a:pt x="191" y="94"/>
                      <a:pt x="192" y="94"/>
                      <a:pt x="192" y="94"/>
                    </a:cubicBezTo>
                    <a:cubicBezTo>
                      <a:pt x="192" y="95"/>
                      <a:pt x="192" y="94"/>
                      <a:pt x="193" y="94"/>
                    </a:cubicBezTo>
                    <a:cubicBezTo>
                      <a:pt x="193" y="95"/>
                      <a:pt x="194" y="96"/>
                      <a:pt x="195" y="95"/>
                    </a:cubicBezTo>
                    <a:cubicBezTo>
                      <a:pt x="195" y="95"/>
                      <a:pt x="195" y="95"/>
                      <a:pt x="196" y="95"/>
                    </a:cubicBezTo>
                    <a:cubicBezTo>
                      <a:pt x="196" y="95"/>
                      <a:pt x="196" y="95"/>
                      <a:pt x="197" y="96"/>
                    </a:cubicBezTo>
                    <a:cubicBezTo>
                      <a:pt x="197" y="96"/>
                      <a:pt x="198" y="96"/>
                      <a:pt x="198" y="96"/>
                    </a:cubicBezTo>
                    <a:cubicBezTo>
                      <a:pt x="198" y="96"/>
                      <a:pt x="198" y="96"/>
                      <a:pt x="199" y="96"/>
                    </a:cubicBezTo>
                    <a:cubicBezTo>
                      <a:pt x="199" y="96"/>
                      <a:pt x="199" y="96"/>
                      <a:pt x="198" y="96"/>
                    </a:cubicBezTo>
                    <a:cubicBezTo>
                      <a:pt x="199" y="97"/>
                      <a:pt x="199" y="97"/>
                      <a:pt x="199" y="97"/>
                    </a:cubicBezTo>
                    <a:cubicBezTo>
                      <a:pt x="199" y="96"/>
                      <a:pt x="199" y="97"/>
                      <a:pt x="200" y="97"/>
                    </a:cubicBezTo>
                    <a:cubicBezTo>
                      <a:pt x="200" y="97"/>
                      <a:pt x="200" y="97"/>
                      <a:pt x="201" y="97"/>
                    </a:cubicBezTo>
                    <a:cubicBezTo>
                      <a:pt x="201" y="97"/>
                      <a:pt x="201" y="97"/>
                      <a:pt x="201" y="97"/>
                    </a:cubicBezTo>
                    <a:cubicBezTo>
                      <a:pt x="201" y="96"/>
                      <a:pt x="202" y="97"/>
                      <a:pt x="203" y="96"/>
                    </a:cubicBezTo>
                    <a:cubicBezTo>
                      <a:pt x="204" y="96"/>
                      <a:pt x="203" y="96"/>
                      <a:pt x="204" y="96"/>
                    </a:cubicBezTo>
                    <a:cubicBezTo>
                      <a:pt x="204" y="95"/>
                      <a:pt x="204" y="95"/>
                      <a:pt x="205" y="95"/>
                    </a:cubicBezTo>
                    <a:cubicBezTo>
                      <a:pt x="206" y="94"/>
                      <a:pt x="207" y="96"/>
                      <a:pt x="208" y="96"/>
                    </a:cubicBezTo>
                    <a:cubicBezTo>
                      <a:pt x="209" y="96"/>
                      <a:pt x="210" y="96"/>
                      <a:pt x="212" y="96"/>
                    </a:cubicBezTo>
                    <a:cubicBezTo>
                      <a:pt x="212" y="96"/>
                      <a:pt x="213" y="96"/>
                      <a:pt x="213" y="96"/>
                    </a:cubicBezTo>
                    <a:cubicBezTo>
                      <a:pt x="213" y="96"/>
                      <a:pt x="214" y="96"/>
                      <a:pt x="214" y="96"/>
                    </a:cubicBezTo>
                    <a:cubicBezTo>
                      <a:pt x="215" y="96"/>
                      <a:pt x="215" y="94"/>
                      <a:pt x="216" y="95"/>
                    </a:cubicBezTo>
                    <a:cubicBezTo>
                      <a:pt x="216" y="95"/>
                      <a:pt x="216" y="96"/>
                      <a:pt x="216" y="96"/>
                    </a:cubicBezTo>
                    <a:cubicBezTo>
                      <a:pt x="217" y="96"/>
                      <a:pt x="217" y="96"/>
                      <a:pt x="218" y="96"/>
                    </a:cubicBezTo>
                    <a:cubicBezTo>
                      <a:pt x="218" y="96"/>
                      <a:pt x="218" y="95"/>
                      <a:pt x="219" y="95"/>
                    </a:cubicBezTo>
                    <a:cubicBezTo>
                      <a:pt x="219" y="95"/>
                      <a:pt x="219" y="95"/>
                      <a:pt x="220" y="96"/>
                    </a:cubicBezTo>
                    <a:cubicBezTo>
                      <a:pt x="219" y="94"/>
                      <a:pt x="221" y="96"/>
                      <a:pt x="221" y="95"/>
                    </a:cubicBezTo>
                    <a:cubicBezTo>
                      <a:pt x="222" y="94"/>
                      <a:pt x="220" y="93"/>
                      <a:pt x="220" y="92"/>
                    </a:cubicBezTo>
                    <a:cubicBezTo>
                      <a:pt x="221" y="90"/>
                      <a:pt x="221" y="90"/>
                      <a:pt x="220" y="89"/>
                    </a:cubicBezTo>
                    <a:cubicBezTo>
                      <a:pt x="220" y="89"/>
                      <a:pt x="219" y="88"/>
                      <a:pt x="219" y="88"/>
                    </a:cubicBezTo>
                    <a:cubicBezTo>
                      <a:pt x="219" y="89"/>
                      <a:pt x="217" y="89"/>
                      <a:pt x="217" y="89"/>
                    </a:cubicBezTo>
                    <a:cubicBezTo>
                      <a:pt x="217" y="88"/>
                      <a:pt x="216" y="88"/>
                      <a:pt x="216" y="88"/>
                    </a:cubicBezTo>
                    <a:cubicBezTo>
                      <a:pt x="215" y="87"/>
                      <a:pt x="215" y="87"/>
                      <a:pt x="215" y="86"/>
                    </a:cubicBezTo>
                    <a:cubicBezTo>
                      <a:pt x="215" y="86"/>
                      <a:pt x="216" y="86"/>
                      <a:pt x="216" y="85"/>
                    </a:cubicBezTo>
                    <a:cubicBezTo>
                      <a:pt x="216" y="85"/>
                      <a:pt x="216" y="85"/>
                      <a:pt x="217" y="85"/>
                    </a:cubicBezTo>
                    <a:cubicBezTo>
                      <a:pt x="217" y="85"/>
                      <a:pt x="218" y="86"/>
                      <a:pt x="218" y="86"/>
                    </a:cubicBezTo>
                    <a:cubicBezTo>
                      <a:pt x="219" y="86"/>
                      <a:pt x="219" y="84"/>
                      <a:pt x="220" y="85"/>
                    </a:cubicBezTo>
                    <a:cubicBezTo>
                      <a:pt x="220" y="85"/>
                      <a:pt x="221" y="85"/>
                      <a:pt x="221" y="84"/>
                    </a:cubicBezTo>
                    <a:cubicBezTo>
                      <a:pt x="221" y="84"/>
                      <a:pt x="221" y="84"/>
                      <a:pt x="221" y="84"/>
                    </a:cubicBezTo>
                    <a:cubicBezTo>
                      <a:pt x="221" y="84"/>
                      <a:pt x="222" y="85"/>
                      <a:pt x="222" y="85"/>
                    </a:cubicBezTo>
                    <a:cubicBezTo>
                      <a:pt x="222" y="84"/>
                      <a:pt x="222" y="85"/>
                      <a:pt x="222" y="85"/>
                    </a:cubicBezTo>
                    <a:cubicBezTo>
                      <a:pt x="222" y="85"/>
                      <a:pt x="222" y="84"/>
                      <a:pt x="223" y="84"/>
                    </a:cubicBezTo>
                    <a:cubicBezTo>
                      <a:pt x="223" y="84"/>
                      <a:pt x="223" y="85"/>
                      <a:pt x="223" y="84"/>
                    </a:cubicBezTo>
                    <a:cubicBezTo>
                      <a:pt x="224" y="84"/>
                      <a:pt x="224" y="84"/>
                      <a:pt x="225" y="83"/>
                    </a:cubicBezTo>
                    <a:cubicBezTo>
                      <a:pt x="225" y="83"/>
                      <a:pt x="225" y="82"/>
                      <a:pt x="225" y="82"/>
                    </a:cubicBezTo>
                    <a:cubicBezTo>
                      <a:pt x="225" y="82"/>
                      <a:pt x="224" y="82"/>
                      <a:pt x="224" y="82"/>
                    </a:cubicBezTo>
                    <a:cubicBezTo>
                      <a:pt x="224" y="81"/>
                      <a:pt x="225" y="80"/>
                      <a:pt x="225" y="80"/>
                    </a:cubicBezTo>
                    <a:cubicBezTo>
                      <a:pt x="226" y="80"/>
                      <a:pt x="227" y="80"/>
                      <a:pt x="227" y="79"/>
                    </a:cubicBezTo>
                    <a:cubicBezTo>
                      <a:pt x="228" y="79"/>
                      <a:pt x="228" y="78"/>
                      <a:pt x="228" y="77"/>
                    </a:cubicBezTo>
                    <a:cubicBezTo>
                      <a:pt x="228" y="76"/>
                      <a:pt x="228" y="76"/>
                      <a:pt x="229" y="75"/>
                    </a:cubicBezTo>
                    <a:cubicBezTo>
                      <a:pt x="230" y="75"/>
                      <a:pt x="231" y="75"/>
                      <a:pt x="232" y="75"/>
                    </a:cubicBezTo>
                    <a:cubicBezTo>
                      <a:pt x="233" y="75"/>
                      <a:pt x="233" y="74"/>
                      <a:pt x="234" y="74"/>
                    </a:cubicBezTo>
                    <a:cubicBezTo>
                      <a:pt x="234" y="74"/>
                      <a:pt x="234" y="74"/>
                      <a:pt x="235" y="74"/>
                    </a:cubicBezTo>
                    <a:cubicBezTo>
                      <a:pt x="234" y="74"/>
                      <a:pt x="235" y="73"/>
                      <a:pt x="235" y="73"/>
                    </a:cubicBezTo>
                    <a:cubicBezTo>
                      <a:pt x="235" y="73"/>
                      <a:pt x="235" y="73"/>
                      <a:pt x="235" y="73"/>
                    </a:cubicBezTo>
                    <a:cubicBezTo>
                      <a:pt x="236" y="73"/>
                      <a:pt x="235" y="71"/>
                      <a:pt x="236" y="72"/>
                    </a:cubicBezTo>
                    <a:cubicBezTo>
                      <a:pt x="236" y="72"/>
                      <a:pt x="237" y="71"/>
                      <a:pt x="237" y="70"/>
                    </a:cubicBezTo>
                    <a:cubicBezTo>
                      <a:pt x="237" y="70"/>
                      <a:pt x="238" y="69"/>
                      <a:pt x="238" y="69"/>
                    </a:cubicBezTo>
                    <a:cubicBezTo>
                      <a:pt x="239" y="69"/>
                      <a:pt x="239" y="69"/>
                      <a:pt x="240" y="68"/>
                    </a:cubicBezTo>
                    <a:cubicBezTo>
                      <a:pt x="240" y="68"/>
                      <a:pt x="241" y="69"/>
                      <a:pt x="242" y="69"/>
                    </a:cubicBezTo>
                    <a:cubicBezTo>
                      <a:pt x="242" y="70"/>
                      <a:pt x="242" y="70"/>
                      <a:pt x="243" y="70"/>
                    </a:cubicBezTo>
                    <a:cubicBezTo>
                      <a:pt x="243" y="70"/>
                      <a:pt x="244" y="70"/>
                      <a:pt x="244" y="70"/>
                    </a:cubicBezTo>
                    <a:cubicBezTo>
                      <a:pt x="244" y="70"/>
                      <a:pt x="243" y="70"/>
                      <a:pt x="243" y="70"/>
                    </a:cubicBezTo>
                    <a:cubicBezTo>
                      <a:pt x="244" y="70"/>
                      <a:pt x="245" y="70"/>
                      <a:pt x="245" y="70"/>
                    </a:cubicBezTo>
                    <a:cubicBezTo>
                      <a:pt x="246" y="70"/>
                      <a:pt x="246" y="71"/>
                      <a:pt x="247" y="71"/>
                    </a:cubicBezTo>
                    <a:cubicBezTo>
                      <a:pt x="247" y="71"/>
                      <a:pt x="247" y="71"/>
                      <a:pt x="248" y="71"/>
                    </a:cubicBezTo>
                    <a:cubicBezTo>
                      <a:pt x="248" y="71"/>
                      <a:pt x="248" y="70"/>
                      <a:pt x="248" y="70"/>
                    </a:cubicBezTo>
                    <a:cubicBezTo>
                      <a:pt x="248" y="70"/>
                      <a:pt x="249" y="70"/>
                      <a:pt x="249" y="69"/>
                    </a:cubicBezTo>
                    <a:cubicBezTo>
                      <a:pt x="248" y="69"/>
                      <a:pt x="250" y="68"/>
                      <a:pt x="250" y="68"/>
                    </a:cubicBezTo>
                    <a:cubicBezTo>
                      <a:pt x="250" y="68"/>
                      <a:pt x="251" y="68"/>
                      <a:pt x="251" y="67"/>
                    </a:cubicBezTo>
                    <a:cubicBezTo>
                      <a:pt x="251" y="67"/>
                      <a:pt x="252" y="67"/>
                      <a:pt x="252" y="67"/>
                    </a:cubicBezTo>
                    <a:cubicBezTo>
                      <a:pt x="253" y="66"/>
                      <a:pt x="253" y="66"/>
                      <a:pt x="254" y="67"/>
                    </a:cubicBezTo>
                    <a:cubicBezTo>
                      <a:pt x="254" y="67"/>
                      <a:pt x="254" y="68"/>
                      <a:pt x="255" y="69"/>
                    </a:cubicBezTo>
                    <a:cubicBezTo>
                      <a:pt x="255" y="69"/>
                      <a:pt x="256" y="68"/>
                      <a:pt x="256" y="69"/>
                    </a:cubicBezTo>
                    <a:cubicBezTo>
                      <a:pt x="257" y="69"/>
                      <a:pt x="255" y="71"/>
                      <a:pt x="254" y="71"/>
                    </a:cubicBezTo>
                    <a:cubicBezTo>
                      <a:pt x="255" y="71"/>
                      <a:pt x="255" y="71"/>
                      <a:pt x="255" y="72"/>
                    </a:cubicBezTo>
                    <a:cubicBezTo>
                      <a:pt x="255" y="73"/>
                      <a:pt x="256" y="73"/>
                      <a:pt x="256" y="72"/>
                    </a:cubicBezTo>
                    <a:cubicBezTo>
                      <a:pt x="257" y="71"/>
                      <a:pt x="257" y="71"/>
                      <a:pt x="257" y="71"/>
                    </a:cubicBezTo>
                    <a:cubicBezTo>
                      <a:pt x="258" y="71"/>
                      <a:pt x="258" y="71"/>
                      <a:pt x="258" y="71"/>
                    </a:cubicBezTo>
                    <a:cubicBezTo>
                      <a:pt x="258" y="72"/>
                      <a:pt x="258" y="72"/>
                      <a:pt x="258" y="72"/>
                    </a:cubicBezTo>
                    <a:cubicBezTo>
                      <a:pt x="259" y="73"/>
                      <a:pt x="259" y="73"/>
                      <a:pt x="260" y="74"/>
                    </a:cubicBezTo>
                    <a:cubicBezTo>
                      <a:pt x="260" y="75"/>
                      <a:pt x="259" y="75"/>
                      <a:pt x="259" y="75"/>
                    </a:cubicBezTo>
                    <a:cubicBezTo>
                      <a:pt x="259" y="76"/>
                      <a:pt x="258" y="76"/>
                      <a:pt x="258" y="77"/>
                    </a:cubicBezTo>
                    <a:cubicBezTo>
                      <a:pt x="258" y="77"/>
                      <a:pt x="258" y="77"/>
                      <a:pt x="258" y="77"/>
                    </a:cubicBezTo>
                    <a:cubicBezTo>
                      <a:pt x="258" y="78"/>
                      <a:pt x="257" y="78"/>
                      <a:pt x="257" y="78"/>
                    </a:cubicBezTo>
                    <a:cubicBezTo>
                      <a:pt x="258" y="78"/>
                      <a:pt x="258" y="78"/>
                      <a:pt x="259" y="79"/>
                    </a:cubicBezTo>
                    <a:cubicBezTo>
                      <a:pt x="259" y="79"/>
                      <a:pt x="259" y="78"/>
                      <a:pt x="259" y="78"/>
                    </a:cubicBezTo>
                    <a:cubicBezTo>
                      <a:pt x="260" y="78"/>
                      <a:pt x="260" y="77"/>
                      <a:pt x="261" y="78"/>
                    </a:cubicBezTo>
                    <a:cubicBezTo>
                      <a:pt x="261" y="78"/>
                      <a:pt x="262" y="78"/>
                      <a:pt x="262" y="78"/>
                    </a:cubicBezTo>
                    <a:cubicBezTo>
                      <a:pt x="262" y="79"/>
                      <a:pt x="263" y="78"/>
                      <a:pt x="263" y="78"/>
                    </a:cubicBezTo>
                    <a:cubicBezTo>
                      <a:pt x="263" y="78"/>
                      <a:pt x="264" y="79"/>
                      <a:pt x="264" y="79"/>
                    </a:cubicBezTo>
                    <a:cubicBezTo>
                      <a:pt x="265" y="79"/>
                      <a:pt x="265" y="78"/>
                      <a:pt x="266" y="79"/>
                    </a:cubicBezTo>
                    <a:cubicBezTo>
                      <a:pt x="267" y="79"/>
                      <a:pt x="268" y="80"/>
                      <a:pt x="268" y="81"/>
                    </a:cubicBezTo>
                    <a:cubicBezTo>
                      <a:pt x="268" y="81"/>
                      <a:pt x="268" y="82"/>
                      <a:pt x="268" y="82"/>
                    </a:cubicBezTo>
                    <a:cubicBezTo>
                      <a:pt x="269" y="82"/>
                      <a:pt x="269" y="83"/>
                      <a:pt x="269" y="8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3" name="Iceland">
                <a:extLst>
                  <a:ext uri="{FF2B5EF4-FFF2-40B4-BE49-F238E27FC236}">
                    <a16:creationId xmlns:a16="http://schemas.microsoft.com/office/drawing/2014/main" id="{CA6DB949-DA8A-1D74-2451-C5E34AE26D04}"/>
                  </a:ext>
                </a:extLst>
              </p:cNvPr>
              <p:cNvSpPr>
                <a:spLocks noEditPoints="1"/>
              </p:cNvSpPr>
              <p:nvPr/>
            </p:nvSpPr>
            <p:spPr bwMode="auto">
              <a:xfrm>
                <a:off x="5140932" y="1509644"/>
                <a:ext cx="283268" cy="105857"/>
              </a:xfrm>
              <a:custGeom>
                <a:avLst/>
                <a:gdLst/>
                <a:ahLst/>
                <a:cxnLst>
                  <a:cxn ang="0">
                    <a:pos x="79" y="12"/>
                  </a:cxn>
                  <a:cxn ang="0">
                    <a:pos x="76" y="8"/>
                  </a:cxn>
                  <a:cxn ang="0">
                    <a:pos x="72" y="8"/>
                  </a:cxn>
                  <a:cxn ang="0">
                    <a:pos x="72" y="4"/>
                  </a:cxn>
                  <a:cxn ang="0">
                    <a:pos x="67" y="3"/>
                  </a:cxn>
                  <a:cxn ang="0">
                    <a:pos x="62" y="0"/>
                  </a:cxn>
                  <a:cxn ang="0">
                    <a:pos x="60" y="3"/>
                  </a:cxn>
                  <a:cxn ang="0">
                    <a:pos x="55" y="4"/>
                  </a:cxn>
                  <a:cxn ang="0">
                    <a:pos x="51" y="4"/>
                  </a:cxn>
                  <a:cxn ang="0">
                    <a:pos x="48" y="9"/>
                  </a:cxn>
                  <a:cxn ang="0">
                    <a:pos x="43" y="4"/>
                  </a:cxn>
                  <a:cxn ang="0">
                    <a:pos x="38" y="8"/>
                  </a:cxn>
                  <a:cxn ang="0">
                    <a:pos x="32" y="4"/>
                  </a:cxn>
                  <a:cxn ang="0">
                    <a:pos x="30" y="10"/>
                  </a:cxn>
                  <a:cxn ang="0">
                    <a:pos x="25" y="11"/>
                  </a:cxn>
                  <a:cxn ang="0">
                    <a:pos x="23" y="9"/>
                  </a:cxn>
                  <a:cxn ang="0">
                    <a:pos x="25" y="6"/>
                  </a:cxn>
                  <a:cxn ang="0">
                    <a:pos x="23" y="4"/>
                  </a:cxn>
                  <a:cxn ang="0">
                    <a:pos x="20" y="3"/>
                  </a:cxn>
                  <a:cxn ang="0">
                    <a:pos x="14" y="1"/>
                  </a:cxn>
                  <a:cxn ang="0">
                    <a:pos x="16" y="2"/>
                  </a:cxn>
                  <a:cxn ang="0">
                    <a:pos x="15" y="4"/>
                  </a:cxn>
                  <a:cxn ang="0">
                    <a:pos x="15" y="7"/>
                  </a:cxn>
                  <a:cxn ang="0">
                    <a:pos x="13" y="5"/>
                  </a:cxn>
                  <a:cxn ang="0">
                    <a:pos x="8" y="4"/>
                  </a:cxn>
                  <a:cxn ang="0">
                    <a:pos x="11" y="7"/>
                  </a:cxn>
                  <a:cxn ang="0">
                    <a:pos x="8" y="9"/>
                  </a:cxn>
                  <a:cxn ang="0">
                    <a:pos x="1" y="9"/>
                  </a:cxn>
                  <a:cxn ang="0">
                    <a:pos x="9" y="10"/>
                  </a:cxn>
                  <a:cxn ang="0">
                    <a:pos x="13" y="9"/>
                  </a:cxn>
                  <a:cxn ang="0">
                    <a:pos x="15" y="10"/>
                  </a:cxn>
                  <a:cxn ang="0">
                    <a:pos x="17" y="11"/>
                  </a:cxn>
                  <a:cxn ang="0">
                    <a:pos x="14" y="13"/>
                  </a:cxn>
                  <a:cxn ang="0">
                    <a:pos x="19" y="15"/>
                  </a:cxn>
                  <a:cxn ang="0">
                    <a:pos x="12" y="15"/>
                  </a:cxn>
                  <a:cxn ang="0">
                    <a:pos x="7" y="15"/>
                  </a:cxn>
                  <a:cxn ang="0">
                    <a:pos x="7" y="17"/>
                  </a:cxn>
                  <a:cxn ang="0">
                    <a:pos x="14" y="17"/>
                  </a:cxn>
                  <a:cxn ang="0">
                    <a:pos x="14" y="19"/>
                  </a:cxn>
                  <a:cxn ang="0">
                    <a:pos x="19" y="18"/>
                  </a:cxn>
                  <a:cxn ang="0">
                    <a:pos x="19" y="19"/>
                  </a:cxn>
                  <a:cxn ang="0">
                    <a:pos x="21" y="21"/>
                  </a:cxn>
                  <a:cxn ang="0">
                    <a:pos x="17" y="23"/>
                  </a:cxn>
                  <a:cxn ang="0">
                    <a:pos x="10" y="25"/>
                  </a:cxn>
                  <a:cxn ang="0">
                    <a:pos x="22" y="25"/>
                  </a:cxn>
                  <a:cxn ang="0">
                    <a:pos x="24" y="27"/>
                  </a:cxn>
                  <a:cxn ang="0">
                    <a:pos x="26" y="28"/>
                  </a:cxn>
                  <a:cxn ang="0">
                    <a:pos x="42" y="30"/>
                  </a:cxn>
                  <a:cxn ang="0">
                    <a:pos x="44" y="28"/>
                  </a:cxn>
                  <a:cxn ang="0">
                    <a:pos x="52" y="26"/>
                  </a:cxn>
                  <a:cxn ang="0">
                    <a:pos x="53" y="26"/>
                  </a:cxn>
                  <a:cxn ang="0">
                    <a:pos x="59" y="24"/>
                  </a:cxn>
                  <a:cxn ang="0">
                    <a:pos x="64" y="21"/>
                  </a:cxn>
                  <a:cxn ang="0">
                    <a:pos x="68" y="21"/>
                  </a:cxn>
                  <a:cxn ang="0">
                    <a:pos x="73" y="18"/>
                  </a:cxn>
                  <a:cxn ang="0">
                    <a:pos x="77" y="17"/>
                  </a:cxn>
                  <a:cxn ang="0">
                    <a:pos x="75" y="15"/>
                  </a:cxn>
                  <a:cxn ang="0">
                    <a:pos x="26" y="27"/>
                  </a:cxn>
                  <a:cxn ang="0">
                    <a:pos x="78" y="13"/>
                  </a:cxn>
                </a:cxnLst>
                <a:rect l="0" t="0" r="r" b="b"/>
                <a:pathLst>
                  <a:path w="80" h="30">
                    <a:moveTo>
                      <a:pt x="79" y="14"/>
                    </a:moveTo>
                    <a:cubicBezTo>
                      <a:pt x="79" y="13"/>
                      <a:pt x="79" y="13"/>
                      <a:pt x="79" y="13"/>
                    </a:cubicBezTo>
                    <a:cubicBezTo>
                      <a:pt x="79" y="13"/>
                      <a:pt x="80" y="13"/>
                      <a:pt x="80" y="13"/>
                    </a:cubicBezTo>
                    <a:cubicBezTo>
                      <a:pt x="79" y="13"/>
                      <a:pt x="79" y="13"/>
                      <a:pt x="78" y="13"/>
                    </a:cubicBezTo>
                    <a:cubicBezTo>
                      <a:pt x="79" y="13"/>
                      <a:pt x="80" y="13"/>
                      <a:pt x="80" y="12"/>
                    </a:cubicBezTo>
                    <a:cubicBezTo>
                      <a:pt x="79" y="12"/>
                      <a:pt x="78" y="12"/>
                      <a:pt x="77" y="12"/>
                    </a:cubicBezTo>
                    <a:cubicBezTo>
                      <a:pt x="77" y="12"/>
                      <a:pt x="79" y="12"/>
                      <a:pt x="79" y="12"/>
                    </a:cubicBezTo>
                    <a:cubicBezTo>
                      <a:pt x="79" y="12"/>
                      <a:pt x="78" y="11"/>
                      <a:pt x="78" y="11"/>
                    </a:cubicBezTo>
                    <a:cubicBezTo>
                      <a:pt x="79" y="11"/>
                      <a:pt x="80" y="11"/>
                      <a:pt x="80" y="11"/>
                    </a:cubicBezTo>
                    <a:cubicBezTo>
                      <a:pt x="80" y="10"/>
                      <a:pt x="80" y="10"/>
                      <a:pt x="80" y="10"/>
                    </a:cubicBezTo>
                    <a:cubicBezTo>
                      <a:pt x="80" y="10"/>
                      <a:pt x="79" y="10"/>
                      <a:pt x="79" y="10"/>
                    </a:cubicBezTo>
                    <a:cubicBezTo>
                      <a:pt x="79" y="10"/>
                      <a:pt x="79" y="9"/>
                      <a:pt x="79" y="9"/>
                    </a:cubicBezTo>
                    <a:cubicBezTo>
                      <a:pt x="79" y="9"/>
                      <a:pt x="78" y="9"/>
                      <a:pt x="78" y="9"/>
                    </a:cubicBezTo>
                    <a:cubicBezTo>
                      <a:pt x="77" y="9"/>
                      <a:pt x="77" y="9"/>
                      <a:pt x="76" y="8"/>
                    </a:cubicBezTo>
                    <a:cubicBezTo>
                      <a:pt x="77" y="9"/>
                      <a:pt x="76" y="9"/>
                      <a:pt x="76" y="9"/>
                    </a:cubicBezTo>
                    <a:cubicBezTo>
                      <a:pt x="75" y="9"/>
                      <a:pt x="75" y="9"/>
                      <a:pt x="75" y="9"/>
                    </a:cubicBezTo>
                    <a:cubicBezTo>
                      <a:pt x="74" y="9"/>
                      <a:pt x="74" y="10"/>
                      <a:pt x="73" y="10"/>
                    </a:cubicBezTo>
                    <a:cubicBezTo>
                      <a:pt x="74" y="9"/>
                      <a:pt x="75" y="8"/>
                      <a:pt x="76" y="8"/>
                    </a:cubicBezTo>
                    <a:cubicBezTo>
                      <a:pt x="75" y="8"/>
                      <a:pt x="75" y="8"/>
                      <a:pt x="75" y="8"/>
                    </a:cubicBezTo>
                    <a:cubicBezTo>
                      <a:pt x="76" y="7"/>
                      <a:pt x="75" y="7"/>
                      <a:pt x="75" y="7"/>
                    </a:cubicBezTo>
                    <a:cubicBezTo>
                      <a:pt x="74" y="7"/>
                      <a:pt x="73" y="8"/>
                      <a:pt x="72" y="8"/>
                    </a:cubicBezTo>
                    <a:cubicBezTo>
                      <a:pt x="72" y="8"/>
                      <a:pt x="72" y="8"/>
                      <a:pt x="72" y="7"/>
                    </a:cubicBezTo>
                    <a:cubicBezTo>
                      <a:pt x="72" y="7"/>
                      <a:pt x="72" y="7"/>
                      <a:pt x="71" y="8"/>
                    </a:cubicBezTo>
                    <a:cubicBezTo>
                      <a:pt x="72" y="7"/>
                      <a:pt x="74" y="6"/>
                      <a:pt x="74" y="5"/>
                    </a:cubicBezTo>
                    <a:cubicBezTo>
                      <a:pt x="74" y="5"/>
                      <a:pt x="73" y="5"/>
                      <a:pt x="73" y="5"/>
                    </a:cubicBezTo>
                    <a:cubicBezTo>
                      <a:pt x="72" y="5"/>
                      <a:pt x="71" y="5"/>
                      <a:pt x="71" y="5"/>
                    </a:cubicBezTo>
                    <a:cubicBezTo>
                      <a:pt x="71" y="4"/>
                      <a:pt x="70" y="4"/>
                      <a:pt x="70" y="4"/>
                    </a:cubicBezTo>
                    <a:cubicBezTo>
                      <a:pt x="70" y="4"/>
                      <a:pt x="71" y="4"/>
                      <a:pt x="72" y="4"/>
                    </a:cubicBezTo>
                    <a:cubicBezTo>
                      <a:pt x="72" y="3"/>
                      <a:pt x="71" y="3"/>
                      <a:pt x="72" y="2"/>
                    </a:cubicBezTo>
                    <a:cubicBezTo>
                      <a:pt x="73" y="2"/>
                      <a:pt x="74" y="2"/>
                      <a:pt x="75" y="2"/>
                    </a:cubicBezTo>
                    <a:cubicBezTo>
                      <a:pt x="74" y="2"/>
                      <a:pt x="72" y="1"/>
                      <a:pt x="71" y="2"/>
                    </a:cubicBezTo>
                    <a:cubicBezTo>
                      <a:pt x="71" y="2"/>
                      <a:pt x="69" y="3"/>
                      <a:pt x="69" y="3"/>
                    </a:cubicBezTo>
                    <a:cubicBezTo>
                      <a:pt x="69" y="3"/>
                      <a:pt x="69" y="4"/>
                      <a:pt x="68" y="4"/>
                    </a:cubicBezTo>
                    <a:cubicBezTo>
                      <a:pt x="68" y="4"/>
                      <a:pt x="68" y="3"/>
                      <a:pt x="68" y="3"/>
                    </a:cubicBezTo>
                    <a:cubicBezTo>
                      <a:pt x="67" y="3"/>
                      <a:pt x="66" y="3"/>
                      <a:pt x="67" y="3"/>
                    </a:cubicBezTo>
                    <a:cubicBezTo>
                      <a:pt x="67" y="3"/>
                      <a:pt x="66" y="3"/>
                      <a:pt x="66" y="2"/>
                    </a:cubicBezTo>
                    <a:cubicBezTo>
                      <a:pt x="67" y="2"/>
                      <a:pt x="67" y="1"/>
                      <a:pt x="66" y="1"/>
                    </a:cubicBezTo>
                    <a:cubicBezTo>
                      <a:pt x="66" y="1"/>
                      <a:pt x="65" y="1"/>
                      <a:pt x="65" y="1"/>
                    </a:cubicBezTo>
                    <a:cubicBezTo>
                      <a:pt x="65" y="0"/>
                      <a:pt x="64" y="0"/>
                      <a:pt x="64" y="0"/>
                    </a:cubicBezTo>
                    <a:cubicBezTo>
                      <a:pt x="63" y="0"/>
                      <a:pt x="63" y="1"/>
                      <a:pt x="62" y="1"/>
                    </a:cubicBezTo>
                    <a:cubicBezTo>
                      <a:pt x="63" y="0"/>
                      <a:pt x="62" y="1"/>
                      <a:pt x="62" y="1"/>
                    </a:cubicBezTo>
                    <a:cubicBezTo>
                      <a:pt x="62" y="0"/>
                      <a:pt x="62" y="0"/>
                      <a:pt x="62" y="0"/>
                    </a:cubicBezTo>
                    <a:cubicBezTo>
                      <a:pt x="62" y="0"/>
                      <a:pt x="61" y="0"/>
                      <a:pt x="61" y="0"/>
                    </a:cubicBezTo>
                    <a:cubicBezTo>
                      <a:pt x="60" y="1"/>
                      <a:pt x="61" y="1"/>
                      <a:pt x="61" y="1"/>
                    </a:cubicBezTo>
                    <a:cubicBezTo>
                      <a:pt x="61" y="2"/>
                      <a:pt x="61" y="2"/>
                      <a:pt x="61" y="3"/>
                    </a:cubicBezTo>
                    <a:cubicBezTo>
                      <a:pt x="61" y="3"/>
                      <a:pt x="60" y="3"/>
                      <a:pt x="61" y="4"/>
                    </a:cubicBezTo>
                    <a:cubicBezTo>
                      <a:pt x="61" y="4"/>
                      <a:pt x="61" y="4"/>
                      <a:pt x="60" y="3"/>
                    </a:cubicBezTo>
                    <a:cubicBezTo>
                      <a:pt x="60" y="4"/>
                      <a:pt x="60" y="4"/>
                      <a:pt x="60" y="4"/>
                    </a:cubicBezTo>
                    <a:cubicBezTo>
                      <a:pt x="60" y="4"/>
                      <a:pt x="60" y="3"/>
                      <a:pt x="60" y="3"/>
                    </a:cubicBezTo>
                    <a:cubicBezTo>
                      <a:pt x="60" y="3"/>
                      <a:pt x="60" y="4"/>
                      <a:pt x="59" y="4"/>
                    </a:cubicBezTo>
                    <a:cubicBezTo>
                      <a:pt x="59" y="4"/>
                      <a:pt x="59" y="4"/>
                      <a:pt x="60" y="4"/>
                    </a:cubicBezTo>
                    <a:cubicBezTo>
                      <a:pt x="59" y="4"/>
                      <a:pt x="59" y="4"/>
                      <a:pt x="58" y="4"/>
                    </a:cubicBezTo>
                    <a:cubicBezTo>
                      <a:pt x="58" y="4"/>
                      <a:pt x="59" y="4"/>
                      <a:pt x="59" y="4"/>
                    </a:cubicBezTo>
                    <a:cubicBezTo>
                      <a:pt x="58" y="4"/>
                      <a:pt x="58" y="4"/>
                      <a:pt x="57" y="4"/>
                    </a:cubicBezTo>
                    <a:cubicBezTo>
                      <a:pt x="57" y="4"/>
                      <a:pt x="57" y="4"/>
                      <a:pt x="57" y="3"/>
                    </a:cubicBezTo>
                    <a:cubicBezTo>
                      <a:pt x="56" y="3"/>
                      <a:pt x="55" y="3"/>
                      <a:pt x="55" y="4"/>
                    </a:cubicBezTo>
                    <a:cubicBezTo>
                      <a:pt x="55" y="4"/>
                      <a:pt x="54" y="4"/>
                      <a:pt x="54" y="5"/>
                    </a:cubicBezTo>
                    <a:cubicBezTo>
                      <a:pt x="54" y="5"/>
                      <a:pt x="53" y="6"/>
                      <a:pt x="53" y="5"/>
                    </a:cubicBezTo>
                    <a:cubicBezTo>
                      <a:pt x="53" y="5"/>
                      <a:pt x="52" y="5"/>
                      <a:pt x="52" y="5"/>
                    </a:cubicBezTo>
                    <a:cubicBezTo>
                      <a:pt x="52" y="5"/>
                      <a:pt x="52" y="5"/>
                      <a:pt x="53" y="5"/>
                    </a:cubicBezTo>
                    <a:cubicBezTo>
                      <a:pt x="52" y="5"/>
                      <a:pt x="52" y="6"/>
                      <a:pt x="52" y="6"/>
                    </a:cubicBezTo>
                    <a:cubicBezTo>
                      <a:pt x="52" y="6"/>
                      <a:pt x="52" y="5"/>
                      <a:pt x="51" y="5"/>
                    </a:cubicBezTo>
                    <a:cubicBezTo>
                      <a:pt x="51" y="5"/>
                      <a:pt x="51" y="4"/>
                      <a:pt x="51" y="4"/>
                    </a:cubicBezTo>
                    <a:cubicBezTo>
                      <a:pt x="50" y="4"/>
                      <a:pt x="50" y="4"/>
                      <a:pt x="50" y="4"/>
                    </a:cubicBezTo>
                    <a:cubicBezTo>
                      <a:pt x="50" y="4"/>
                      <a:pt x="49" y="4"/>
                      <a:pt x="48" y="4"/>
                    </a:cubicBezTo>
                    <a:cubicBezTo>
                      <a:pt x="48" y="3"/>
                      <a:pt x="47" y="4"/>
                      <a:pt x="47" y="4"/>
                    </a:cubicBezTo>
                    <a:cubicBezTo>
                      <a:pt x="47" y="4"/>
                      <a:pt x="47" y="5"/>
                      <a:pt x="47" y="5"/>
                    </a:cubicBezTo>
                    <a:cubicBezTo>
                      <a:pt x="47" y="6"/>
                      <a:pt x="48" y="6"/>
                      <a:pt x="48" y="6"/>
                    </a:cubicBezTo>
                    <a:cubicBezTo>
                      <a:pt x="48" y="7"/>
                      <a:pt x="48" y="7"/>
                      <a:pt x="48" y="8"/>
                    </a:cubicBezTo>
                    <a:cubicBezTo>
                      <a:pt x="48" y="8"/>
                      <a:pt x="48" y="8"/>
                      <a:pt x="48" y="9"/>
                    </a:cubicBezTo>
                    <a:cubicBezTo>
                      <a:pt x="48" y="9"/>
                      <a:pt x="47" y="7"/>
                      <a:pt x="47" y="7"/>
                    </a:cubicBezTo>
                    <a:cubicBezTo>
                      <a:pt x="47" y="7"/>
                      <a:pt x="47" y="6"/>
                      <a:pt x="47" y="6"/>
                    </a:cubicBezTo>
                    <a:cubicBezTo>
                      <a:pt x="46" y="6"/>
                      <a:pt x="45" y="6"/>
                      <a:pt x="45" y="5"/>
                    </a:cubicBezTo>
                    <a:cubicBezTo>
                      <a:pt x="45" y="5"/>
                      <a:pt x="45" y="4"/>
                      <a:pt x="45" y="4"/>
                    </a:cubicBezTo>
                    <a:cubicBezTo>
                      <a:pt x="46" y="4"/>
                      <a:pt x="44" y="4"/>
                      <a:pt x="44" y="4"/>
                    </a:cubicBezTo>
                    <a:cubicBezTo>
                      <a:pt x="43" y="4"/>
                      <a:pt x="44" y="4"/>
                      <a:pt x="44" y="3"/>
                    </a:cubicBezTo>
                    <a:cubicBezTo>
                      <a:pt x="44" y="3"/>
                      <a:pt x="43" y="4"/>
                      <a:pt x="43" y="4"/>
                    </a:cubicBezTo>
                    <a:cubicBezTo>
                      <a:pt x="43" y="3"/>
                      <a:pt x="41" y="4"/>
                      <a:pt x="42" y="5"/>
                    </a:cubicBezTo>
                    <a:cubicBezTo>
                      <a:pt x="41" y="4"/>
                      <a:pt x="41" y="4"/>
                      <a:pt x="41" y="4"/>
                    </a:cubicBezTo>
                    <a:cubicBezTo>
                      <a:pt x="41" y="4"/>
                      <a:pt x="41" y="4"/>
                      <a:pt x="41" y="4"/>
                    </a:cubicBezTo>
                    <a:cubicBezTo>
                      <a:pt x="40" y="4"/>
                      <a:pt x="40" y="4"/>
                      <a:pt x="39" y="4"/>
                    </a:cubicBezTo>
                    <a:cubicBezTo>
                      <a:pt x="39" y="5"/>
                      <a:pt x="39" y="5"/>
                      <a:pt x="38" y="5"/>
                    </a:cubicBezTo>
                    <a:cubicBezTo>
                      <a:pt x="38" y="5"/>
                      <a:pt x="39" y="6"/>
                      <a:pt x="39" y="7"/>
                    </a:cubicBezTo>
                    <a:cubicBezTo>
                      <a:pt x="39" y="7"/>
                      <a:pt x="38" y="8"/>
                      <a:pt x="38" y="8"/>
                    </a:cubicBezTo>
                    <a:cubicBezTo>
                      <a:pt x="38" y="8"/>
                      <a:pt x="38" y="8"/>
                      <a:pt x="38" y="8"/>
                    </a:cubicBezTo>
                    <a:cubicBezTo>
                      <a:pt x="38" y="8"/>
                      <a:pt x="37" y="7"/>
                      <a:pt x="37" y="8"/>
                    </a:cubicBezTo>
                    <a:cubicBezTo>
                      <a:pt x="37" y="8"/>
                      <a:pt x="37" y="8"/>
                      <a:pt x="37" y="8"/>
                    </a:cubicBezTo>
                    <a:cubicBezTo>
                      <a:pt x="36" y="7"/>
                      <a:pt x="37" y="6"/>
                      <a:pt x="36" y="6"/>
                    </a:cubicBezTo>
                    <a:cubicBezTo>
                      <a:pt x="35" y="6"/>
                      <a:pt x="35" y="6"/>
                      <a:pt x="35" y="5"/>
                    </a:cubicBezTo>
                    <a:cubicBezTo>
                      <a:pt x="35" y="5"/>
                      <a:pt x="34" y="4"/>
                      <a:pt x="34" y="4"/>
                    </a:cubicBezTo>
                    <a:cubicBezTo>
                      <a:pt x="33" y="4"/>
                      <a:pt x="32" y="4"/>
                      <a:pt x="32" y="4"/>
                    </a:cubicBezTo>
                    <a:cubicBezTo>
                      <a:pt x="32" y="5"/>
                      <a:pt x="31" y="5"/>
                      <a:pt x="32" y="6"/>
                    </a:cubicBezTo>
                    <a:cubicBezTo>
                      <a:pt x="32" y="6"/>
                      <a:pt x="32" y="6"/>
                      <a:pt x="32" y="6"/>
                    </a:cubicBezTo>
                    <a:cubicBezTo>
                      <a:pt x="32" y="7"/>
                      <a:pt x="32" y="7"/>
                      <a:pt x="32" y="7"/>
                    </a:cubicBezTo>
                    <a:cubicBezTo>
                      <a:pt x="32" y="8"/>
                      <a:pt x="31" y="8"/>
                      <a:pt x="32" y="8"/>
                    </a:cubicBezTo>
                    <a:cubicBezTo>
                      <a:pt x="31" y="8"/>
                      <a:pt x="31" y="9"/>
                      <a:pt x="31" y="10"/>
                    </a:cubicBezTo>
                    <a:cubicBezTo>
                      <a:pt x="30" y="9"/>
                      <a:pt x="31" y="9"/>
                      <a:pt x="30" y="9"/>
                    </a:cubicBezTo>
                    <a:cubicBezTo>
                      <a:pt x="30" y="9"/>
                      <a:pt x="30" y="10"/>
                      <a:pt x="30" y="10"/>
                    </a:cubicBezTo>
                    <a:cubicBezTo>
                      <a:pt x="29" y="10"/>
                      <a:pt x="29" y="10"/>
                      <a:pt x="29" y="9"/>
                    </a:cubicBezTo>
                    <a:cubicBezTo>
                      <a:pt x="29" y="9"/>
                      <a:pt x="29" y="9"/>
                      <a:pt x="29" y="9"/>
                    </a:cubicBezTo>
                    <a:cubicBezTo>
                      <a:pt x="29" y="9"/>
                      <a:pt x="29" y="8"/>
                      <a:pt x="29" y="8"/>
                    </a:cubicBezTo>
                    <a:cubicBezTo>
                      <a:pt x="28" y="8"/>
                      <a:pt x="28" y="9"/>
                      <a:pt x="27" y="9"/>
                    </a:cubicBezTo>
                    <a:cubicBezTo>
                      <a:pt x="27" y="9"/>
                      <a:pt x="26" y="10"/>
                      <a:pt x="26" y="10"/>
                    </a:cubicBezTo>
                    <a:cubicBezTo>
                      <a:pt x="26" y="11"/>
                      <a:pt x="26" y="12"/>
                      <a:pt x="26" y="12"/>
                    </a:cubicBezTo>
                    <a:cubicBezTo>
                      <a:pt x="26" y="11"/>
                      <a:pt x="26" y="10"/>
                      <a:pt x="25" y="11"/>
                    </a:cubicBezTo>
                    <a:cubicBezTo>
                      <a:pt x="25" y="11"/>
                      <a:pt x="25" y="12"/>
                      <a:pt x="25" y="12"/>
                    </a:cubicBezTo>
                    <a:cubicBezTo>
                      <a:pt x="25" y="12"/>
                      <a:pt x="25" y="12"/>
                      <a:pt x="25" y="13"/>
                    </a:cubicBezTo>
                    <a:cubicBezTo>
                      <a:pt x="25" y="13"/>
                      <a:pt x="25" y="13"/>
                      <a:pt x="25" y="13"/>
                    </a:cubicBezTo>
                    <a:cubicBezTo>
                      <a:pt x="24" y="13"/>
                      <a:pt x="24" y="11"/>
                      <a:pt x="24" y="11"/>
                    </a:cubicBezTo>
                    <a:cubicBezTo>
                      <a:pt x="24" y="10"/>
                      <a:pt x="23" y="10"/>
                      <a:pt x="22" y="11"/>
                    </a:cubicBezTo>
                    <a:cubicBezTo>
                      <a:pt x="23" y="10"/>
                      <a:pt x="25" y="10"/>
                      <a:pt x="24" y="9"/>
                    </a:cubicBezTo>
                    <a:cubicBezTo>
                      <a:pt x="24" y="9"/>
                      <a:pt x="23" y="9"/>
                      <a:pt x="23" y="9"/>
                    </a:cubicBezTo>
                    <a:cubicBezTo>
                      <a:pt x="23" y="9"/>
                      <a:pt x="24" y="9"/>
                      <a:pt x="23" y="9"/>
                    </a:cubicBezTo>
                    <a:cubicBezTo>
                      <a:pt x="23" y="9"/>
                      <a:pt x="23" y="9"/>
                      <a:pt x="22" y="9"/>
                    </a:cubicBezTo>
                    <a:cubicBezTo>
                      <a:pt x="21" y="9"/>
                      <a:pt x="22" y="8"/>
                      <a:pt x="21" y="7"/>
                    </a:cubicBezTo>
                    <a:cubicBezTo>
                      <a:pt x="22" y="7"/>
                      <a:pt x="22" y="8"/>
                      <a:pt x="22" y="8"/>
                    </a:cubicBezTo>
                    <a:cubicBezTo>
                      <a:pt x="23" y="8"/>
                      <a:pt x="24" y="8"/>
                      <a:pt x="24" y="8"/>
                    </a:cubicBezTo>
                    <a:cubicBezTo>
                      <a:pt x="24" y="8"/>
                      <a:pt x="24" y="7"/>
                      <a:pt x="23" y="7"/>
                    </a:cubicBezTo>
                    <a:cubicBezTo>
                      <a:pt x="23" y="7"/>
                      <a:pt x="25" y="7"/>
                      <a:pt x="25" y="6"/>
                    </a:cubicBezTo>
                    <a:cubicBezTo>
                      <a:pt x="25" y="6"/>
                      <a:pt x="25" y="6"/>
                      <a:pt x="25" y="6"/>
                    </a:cubicBezTo>
                    <a:cubicBezTo>
                      <a:pt x="25" y="6"/>
                      <a:pt x="24" y="6"/>
                      <a:pt x="24" y="6"/>
                    </a:cubicBezTo>
                    <a:cubicBezTo>
                      <a:pt x="24" y="6"/>
                      <a:pt x="24" y="6"/>
                      <a:pt x="24" y="6"/>
                    </a:cubicBezTo>
                    <a:cubicBezTo>
                      <a:pt x="24" y="5"/>
                      <a:pt x="23" y="6"/>
                      <a:pt x="23" y="6"/>
                    </a:cubicBezTo>
                    <a:cubicBezTo>
                      <a:pt x="23" y="5"/>
                      <a:pt x="25" y="6"/>
                      <a:pt x="25" y="5"/>
                    </a:cubicBezTo>
                    <a:cubicBezTo>
                      <a:pt x="25" y="5"/>
                      <a:pt x="24" y="5"/>
                      <a:pt x="24" y="5"/>
                    </a:cubicBezTo>
                    <a:cubicBezTo>
                      <a:pt x="23" y="5"/>
                      <a:pt x="24" y="4"/>
                      <a:pt x="23" y="4"/>
                    </a:cubicBezTo>
                    <a:cubicBezTo>
                      <a:pt x="23" y="4"/>
                      <a:pt x="23" y="5"/>
                      <a:pt x="22" y="5"/>
                    </a:cubicBezTo>
                    <a:cubicBezTo>
                      <a:pt x="23" y="5"/>
                      <a:pt x="23" y="5"/>
                      <a:pt x="23" y="5"/>
                    </a:cubicBezTo>
                    <a:cubicBezTo>
                      <a:pt x="23" y="5"/>
                      <a:pt x="22" y="5"/>
                      <a:pt x="22" y="5"/>
                    </a:cubicBezTo>
                    <a:cubicBezTo>
                      <a:pt x="22" y="4"/>
                      <a:pt x="22" y="4"/>
                      <a:pt x="22" y="4"/>
                    </a:cubicBezTo>
                    <a:cubicBezTo>
                      <a:pt x="22" y="3"/>
                      <a:pt x="21" y="3"/>
                      <a:pt x="21" y="3"/>
                    </a:cubicBezTo>
                    <a:cubicBezTo>
                      <a:pt x="21" y="3"/>
                      <a:pt x="21" y="3"/>
                      <a:pt x="21" y="3"/>
                    </a:cubicBezTo>
                    <a:cubicBezTo>
                      <a:pt x="21" y="3"/>
                      <a:pt x="20" y="3"/>
                      <a:pt x="20" y="3"/>
                    </a:cubicBezTo>
                    <a:cubicBezTo>
                      <a:pt x="20" y="3"/>
                      <a:pt x="20" y="2"/>
                      <a:pt x="20" y="3"/>
                    </a:cubicBezTo>
                    <a:cubicBezTo>
                      <a:pt x="20" y="3"/>
                      <a:pt x="19" y="3"/>
                      <a:pt x="19" y="3"/>
                    </a:cubicBezTo>
                    <a:cubicBezTo>
                      <a:pt x="19" y="2"/>
                      <a:pt x="19" y="2"/>
                      <a:pt x="19" y="2"/>
                    </a:cubicBezTo>
                    <a:cubicBezTo>
                      <a:pt x="19" y="2"/>
                      <a:pt x="19" y="2"/>
                      <a:pt x="19" y="2"/>
                    </a:cubicBezTo>
                    <a:cubicBezTo>
                      <a:pt x="18" y="1"/>
                      <a:pt x="18" y="1"/>
                      <a:pt x="18" y="1"/>
                    </a:cubicBezTo>
                    <a:cubicBezTo>
                      <a:pt x="18" y="1"/>
                      <a:pt x="17" y="1"/>
                      <a:pt x="17" y="1"/>
                    </a:cubicBezTo>
                    <a:cubicBezTo>
                      <a:pt x="16" y="1"/>
                      <a:pt x="15" y="0"/>
                      <a:pt x="14" y="1"/>
                    </a:cubicBezTo>
                    <a:cubicBezTo>
                      <a:pt x="15" y="1"/>
                      <a:pt x="15" y="1"/>
                      <a:pt x="15" y="1"/>
                    </a:cubicBezTo>
                    <a:cubicBezTo>
                      <a:pt x="15" y="1"/>
                      <a:pt x="13" y="1"/>
                      <a:pt x="13" y="1"/>
                    </a:cubicBezTo>
                    <a:cubicBezTo>
                      <a:pt x="13" y="1"/>
                      <a:pt x="13" y="2"/>
                      <a:pt x="13" y="2"/>
                    </a:cubicBezTo>
                    <a:cubicBezTo>
                      <a:pt x="13" y="2"/>
                      <a:pt x="12" y="2"/>
                      <a:pt x="12" y="2"/>
                    </a:cubicBezTo>
                    <a:cubicBezTo>
                      <a:pt x="12" y="3"/>
                      <a:pt x="15" y="2"/>
                      <a:pt x="15" y="2"/>
                    </a:cubicBezTo>
                    <a:cubicBezTo>
                      <a:pt x="15" y="2"/>
                      <a:pt x="15" y="2"/>
                      <a:pt x="15" y="2"/>
                    </a:cubicBezTo>
                    <a:cubicBezTo>
                      <a:pt x="15" y="2"/>
                      <a:pt x="16" y="2"/>
                      <a:pt x="16" y="2"/>
                    </a:cubicBezTo>
                    <a:cubicBezTo>
                      <a:pt x="16" y="2"/>
                      <a:pt x="15" y="3"/>
                      <a:pt x="16" y="2"/>
                    </a:cubicBezTo>
                    <a:cubicBezTo>
                      <a:pt x="16" y="2"/>
                      <a:pt x="17" y="2"/>
                      <a:pt x="17" y="2"/>
                    </a:cubicBezTo>
                    <a:cubicBezTo>
                      <a:pt x="17" y="2"/>
                      <a:pt x="17" y="2"/>
                      <a:pt x="17" y="3"/>
                    </a:cubicBezTo>
                    <a:cubicBezTo>
                      <a:pt x="17" y="3"/>
                      <a:pt x="18" y="3"/>
                      <a:pt x="18" y="3"/>
                    </a:cubicBezTo>
                    <a:cubicBezTo>
                      <a:pt x="17" y="3"/>
                      <a:pt x="16" y="3"/>
                      <a:pt x="15" y="3"/>
                    </a:cubicBezTo>
                    <a:cubicBezTo>
                      <a:pt x="15" y="3"/>
                      <a:pt x="14" y="3"/>
                      <a:pt x="14" y="3"/>
                    </a:cubicBezTo>
                    <a:cubicBezTo>
                      <a:pt x="13" y="3"/>
                      <a:pt x="15" y="4"/>
                      <a:pt x="15" y="4"/>
                    </a:cubicBezTo>
                    <a:cubicBezTo>
                      <a:pt x="15" y="4"/>
                      <a:pt x="16" y="4"/>
                      <a:pt x="16" y="4"/>
                    </a:cubicBezTo>
                    <a:cubicBezTo>
                      <a:pt x="16" y="5"/>
                      <a:pt x="17" y="4"/>
                      <a:pt x="17" y="4"/>
                    </a:cubicBezTo>
                    <a:cubicBezTo>
                      <a:pt x="17" y="5"/>
                      <a:pt x="16" y="5"/>
                      <a:pt x="17" y="5"/>
                    </a:cubicBezTo>
                    <a:cubicBezTo>
                      <a:pt x="17" y="6"/>
                      <a:pt x="17" y="7"/>
                      <a:pt x="16" y="7"/>
                    </a:cubicBezTo>
                    <a:cubicBezTo>
                      <a:pt x="16" y="6"/>
                      <a:pt x="17" y="6"/>
                      <a:pt x="17" y="6"/>
                    </a:cubicBezTo>
                    <a:cubicBezTo>
                      <a:pt x="16" y="6"/>
                      <a:pt x="16" y="5"/>
                      <a:pt x="16" y="6"/>
                    </a:cubicBezTo>
                    <a:cubicBezTo>
                      <a:pt x="16" y="6"/>
                      <a:pt x="15" y="7"/>
                      <a:pt x="15" y="7"/>
                    </a:cubicBezTo>
                    <a:cubicBezTo>
                      <a:pt x="15" y="6"/>
                      <a:pt x="16" y="5"/>
                      <a:pt x="15" y="5"/>
                    </a:cubicBezTo>
                    <a:cubicBezTo>
                      <a:pt x="15" y="5"/>
                      <a:pt x="15" y="4"/>
                      <a:pt x="14" y="5"/>
                    </a:cubicBezTo>
                    <a:cubicBezTo>
                      <a:pt x="14" y="5"/>
                      <a:pt x="14" y="6"/>
                      <a:pt x="14" y="6"/>
                    </a:cubicBezTo>
                    <a:cubicBezTo>
                      <a:pt x="14" y="6"/>
                      <a:pt x="14" y="5"/>
                      <a:pt x="14" y="5"/>
                    </a:cubicBezTo>
                    <a:cubicBezTo>
                      <a:pt x="14" y="5"/>
                      <a:pt x="13" y="6"/>
                      <a:pt x="13" y="6"/>
                    </a:cubicBezTo>
                    <a:cubicBezTo>
                      <a:pt x="13" y="6"/>
                      <a:pt x="14" y="5"/>
                      <a:pt x="14" y="5"/>
                    </a:cubicBezTo>
                    <a:cubicBezTo>
                      <a:pt x="14" y="5"/>
                      <a:pt x="13" y="5"/>
                      <a:pt x="13" y="5"/>
                    </a:cubicBezTo>
                    <a:cubicBezTo>
                      <a:pt x="13" y="5"/>
                      <a:pt x="12" y="5"/>
                      <a:pt x="12" y="6"/>
                    </a:cubicBezTo>
                    <a:cubicBezTo>
                      <a:pt x="12" y="5"/>
                      <a:pt x="13" y="5"/>
                      <a:pt x="13" y="5"/>
                    </a:cubicBezTo>
                    <a:cubicBezTo>
                      <a:pt x="13" y="4"/>
                      <a:pt x="12" y="4"/>
                      <a:pt x="12" y="4"/>
                    </a:cubicBezTo>
                    <a:cubicBezTo>
                      <a:pt x="12" y="4"/>
                      <a:pt x="10" y="3"/>
                      <a:pt x="10" y="3"/>
                    </a:cubicBezTo>
                    <a:cubicBezTo>
                      <a:pt x="10" y="3"/>
                      <a:pt x="9" y="3"/>
                      <a:pt x="9" y="4"/>
                    </a:cubicBezTo>
                    <a:cubicBezTo>
                      <a:pt x="9" y="4"/>
                      <a:pt x="10" y="4"/>
                      <a:pt x="10" y="4"/>
                    </a:cubicBezTo>
                    <a:cubicBezTo>
                      <a:pt x="10" y="4"/>
                      <a:pt x="8" y="4"/>
                      <a:pt x="8" y="4"/>
                    </a:cubicBezTo>
                    <a:cubicBezTo>
                      <a:pt x="9" y="5"/>
                      <a:pt x="10" y="5"/>
                      <a:pt x="10" y="5"/>
                    </a:cubicBezTo>
                    <a:cubicBezTo>
                      <a:pt x="10" y="5"/>
                      <a:pt x="7" y="4"/>
                      <a:pt x="7" y="5"/>
                    </a:cubicBezTo>
                    <a:cubicBezTo>
                      <a:pt x="7" y="6"/>
                      <a:pt x="10" y="7"/>
                      <a:pt x="11" y="7"/>
                    </a:cubicBezTo>
                    <a:cubicBezTo>
                      <a:pt x="10" y="7"/>
                      <a:pt x="10" y="7"/>
                      <a:pt x="9" y="6"/>
                    </a:cubicBezTo>
                    <a:cubicBezTo>
                      <a:pt x="9" y="6"/>
                      <a:pt x="8" y="6"/>
                      <a:pt x="8" y="6"/>
                    </a:cubicBezTo>
                    <a:cubicBezTo>
                      <a:pt x="7" y="6"/>
                      <a:pt x="6" y="6"/>
                      <a:pt x="6" y="6"/>
                    </a:cubicBezTo>
                    <a:cubicBezTo>
                      <a:pt x="6" y="8"/>
                      <a:pt x="10" y="7"/>
                      <a:pt x="11" y="7"/>
                    </a:cubicBezTo>
                    <a:cubicBezTo>
                      <a:pt x="10" y="7"/>
                      <a:pt x="10" y="7"/>
                      <a:pt x="10" y="8"/>
                    </a:cubicBezTo>
                    <a:cubicBezTo>
                      <a:pt x="10" y="8"/>
                      <a:pt x="8" y="7"/>
                      <a:pt x="8" y="8"/>
                    </a:cubicBezTo>
                    <a:cubicBezTo>
                      <a:pt x="8" y="8"/>
                      <a:pt x="9" y="8"/>
                      <a:pt x="10" y="8"/>
                    </a:cubicBezTo>
                    <a:cubicBezTo>
                      <a:pt x="9" y="8"/>
                      <a:pt x="9" y="8"/>
                      <a:pt x="9" y="9"/>
                    </a:cubicBezTo>
                    <a:cubicBezTo>
                      <a:pt x="9" y="9"/>
                      <a:pt x="9" y="9"/>
                      <a:pt x="9" y="9"/>
                    </a:cubicBezTo>
                    <a:cubicBezTo>
                      <a:pt x="9" y="9"/>
                      <a:pt x="9" y="9"/>
                      <a:pt x="8" y="9"/>
                    </a:cubicBezTo>
                    <a:cubicBezTo>
                      <a:pt x="8" y="9"/>
                      <a:pt x="8" y="9"/>
                      <a:pt x="8" y="9"/>
                    </a:cubicBezTo>
                    <a:cubicBezTo>
                      <a:pt x="8" y="8"/>
                      <a:pt x="6" y="7"/>
                      <a:pt x="5" y="7"/>
                    </a:cubicBezTo>
                    <a:cubicBezTo>
                      <a:pt x="5" y="7"/>
                      <a:pt x="3" y="7"/>
                      <a:pt x="4" y="8"/>
                    </a:cubicBezTo>
                    <a:cubicBezTo>
                      <a:pt x="4" y="9"/>
                      <a:pt x="5" y="9"/>
                      <a:pt x="6" y="9"/>
                    </a:cubicBezTo>
                    <a:cubicBezTo>
                      <a:pt x="5" y="9"/>
                      <a:pt x="4" y="8"/>
                      <a:pt x="4" y="9"/>
                    </a:cubicBezTo>
                    <a:cubicBezTo>
                      <a:pt x="4" y="9"/>
                      <a:pt x="5" y="10"/>
                      <a:pt x="6" y="10"/>
                    </a:cubicBezTo>
                    <a:cubicBezTo>
                      <a:pt x="4" y="10"/>
                      <a:pt x="3" y="9"/>
                      <a:pt x="2" y="9"/>
                    </a:cubicBezTo>
                    <a:cubicBezTo>
                      <a:pt x="2" y="9"/>
                      <a:pt x="2" y="9"/>
                      <a:pt x="1" y="9"/>
                    </a:cubicBezTo>
                    <a:cubicBezTo>
                      <a:pt x="1" y="10"/>
                      <a:pt x="0" y="10"/>
                      <a:pt x="0" y="10"/>
                    </a:cubicBezTo>
                    <a:cubicBezTo>
                      <a:pt x="1" y="10"/>
                      <a:pt x="2" y="10"/>
                      <a:pt x="3" y="10"/>
                    </a:cubicBezTo>
                    <a:cubicBezTo>
                      <a:pt x="3" y="10"/>
                      <a:pt x="4" y="10"/>
                      <a:pt x="4" y="10"/>
                    </a:cubicBezTo>
                    <a:cubicBezTo>
                      <a:pt x="4" y="10"/>
                      <a:pt x="4" y="11"/>
                      <a:pt x="4" y="11"/>
                    </a:cubicBezTo>
                    <a:cubicBezTo>
                      <a:pt x="5" y="11"/>
                      <a:pt x="5" y="11"/>
                      <a:pt x="5" y="11"/>
                    </a:cubicBezTo>
                    <a:cubicBezTo>
                      <a:pt x="6" y="11"/>
                      <a:pt x="7" y="10"/>
                      <a:pt x="8" y="10"/>
                    </a:cubicBezTo>
                    <a:cubicBezTo>
                      <a:pt x="9" y="10"/>
                      <a:pt x="9" y="10"/>
                      <a:pt x="9" y="10"/>
                    </a:cubicBezTo>
                    <a:cubicBezTo>
                      <a:pt x="10" y="10"/>
                      <a:pt x="10" y="10"/>
                      <a:pt x="10" y="9"/>
                    </a:cubicBezTo>
                    <a:cubicBezTo>
                      <a:pt x="10" y="9"/>
                      <a:pt x="11" y="10"/>
                      <a:pt x="11" y="10"/>
                    </a:cubicBezTo>
                    <a:cubicBezTo>
                      <a:pt x="12" y="10"/>
                      <a:pt x="12" y="9"/>
                      <a:pt x="12" y="9"/>
                    </a:cubicBezTo>
                    <a:cubicBezTo>
                      <a:pt x="12" y="10"/>
                      <a:pt x="13" y="9"/>
                      <a:pt x="13" y="9"/>
                    </a:cubicBezTo>
                    <a:cubicBezTo>
                      <a:pt x="13" y="9"/>
                      <a:pt x="13" y="9"/>
                      <a:pt x="13" y="9"/>
                    </a:cubicBezTo>
                    <a:cubicBezTo>
                      <a:pt x="13" y="9"/>
                      <a:pt x="13" y="9"/>
                      <a:pt x="12" y="10"/>
                    </a:cubicBezTo>
                    <a:cubicBezTo>
                      <a:pt x="13" y="10"/>
                      <a:pt x="13" y="10"/>
                      <a:pt x="13" y="9"/>
                    </a:cubicBezTo>
                    <a:cubicBezTo>
                      <a:pt x="13" y="9"/>
                      <a:pt x="13" y="9"/>
                      <a:pt x="14" y="9"/>
                    </a:cubicBezTo>
                    <a:cubicBezTo>
                      <a:pt x="14" y="9"/>
                      <a:pt x="14" y="9"/>
                      <a:pt x="14" y="10"/>
                    </a:cubicBezTo>
                    <a:cubicBezTo>
                      <a:pt x="14" y="10"/>
                      <a:pt x="14" y="9"/>
                      <a:pt x="14" y="9"/>
                    </a:cubicBezTo>
                    <a:cubicBezTo>
                      <a:pt x="15" y="9"/>
                      <a:pt x="14" y="10"/>
                      <a:pt x="15" y="10"/>
                    </a:cubicBezTo>
                    <a:cubicBezTo>
                      <a:pt x="15" y="10"/>
                      <a:pt x="15" y="9"/>
                      <a:pt x="15" y="9"/>
                    </a:cubicBezTo>
                    <a:cubicBezTo>
                      <a:pt x="15" y="9"/>
                      <a:pt x="15" y="9"/>
                      <a:pt x="15" y="9"/>
                    </a:cubicBezTo>
                    <a:cubicBezTo>
                      <a:pt x="15" y="9"/>
                      <a:pt x="15" y="10"/>
                      <a:pt x="15" y="10"/>
                    </a:cubicBezTo>
                    <a:cubicBezTo>
                      <a:pt x="15" y="10"/>
                      <a:pt x="16" y="10"/>
                      <a:pt x="16" y="10"/>
                    </a:cubicBezTo>
                    <a:cubicBezTo>
                      <a:pt x="16" y="10"/>
                      <a:pt x="16" y="9"/>
                      <a:pt x="17" y="9"/>
                    </a:cubicBezTo>
                    <a:cubicBezTo>
                      <a:pt x="17" y="10"/>
                      <a:pt x="16" y="10"/>
                      <a:pt x="16" y="10"/>
                    </a:cubicBezTo>
                    <a:cubicBezTo>
                      <a:pt x="17" y="10"/>
                      <a:pt x="17" y="9"/>
                      <a:pt x="18" y="9"/>
                    </a:cubicBezTo>
                    <a:cubicBezTo>
                      <a:pt x="18" y="9"/>
                      <a:pt x="17" y="10"/>
                      <a:pt x="17" y="10"/>
                    </a:cubicBezTo>
                    <a:cubicBezTo>
                      <a:pt x="17" y="10"/>
                      <a:pt x="16" y="10"/>
                      <a:pt x="16" y="10"/>
                    </a:cubicBezTo>
                    <a:cubicBezTo>
                      <a:pt x="16" y="10"/>
                      <a:pt x="17" y="11"/>
                      <a:pt x="17" y="11"/>
                    </a:cubicBezTo>
                    <a:cubicBezTo>
                      <a:pt x="17" y="11"/>
                      <a:pt x="18" y="10"/>
                      <a:pt x="18" y="10"/>
                    </a:cubicBezTo>
                    <a:cubicBezTo>
                      <a:pt x="18" y="10"/>
                      <a:pt x="18" y="10"/>
                      <a:pt x="18" y="10"/>
                    </a:cubicBezTo>
                    <a:cubicBezTo>
                      <a:pt x="19" y="10"/>
                      <a:pt x="19" y="10"/>
                      <a:pt x="19" y="11"/>
                    </a:cubicBezTo>
                    <a:cubicBezTo>
                      <a:pt x="19" y="11"/>
                      <a:pt x="20" y="10"/>
                      <a:pt x="21" y="10"/>
                    </a:cubicBezTo>
                    <a:cubicBezTo>
                      <a:pt x="20" y="11"/>
                      <a:pt x="19" y="11"/>
                      <a:pt x="18" y="11"/>
                    </a:cubicBezTo>
                    <a:cubicBezTo>
                      <a:pt x="16" y="12"/>
                      <a:pt x="15" y="12"/>
                      <a:pt x="14" y="13"/>
                    </a:cubicBezTo>
                    <a:cubicBezTo>
                      <a:pt x="14" y="13"/>
                      <a:pt x="14" y="13"/>
                      <a:pt x="14" y="13"/>
                    </a:cubicBezTo>
                    <a:cubicBezTo>
                      <a:pt x="14" y="13"/>
                      <a:pt x="14" y="13"/>
                      <a:pt x="14" y="13"/>
                    </a:cubicBezTo>
                    <a:cubicBezTo>
                      <a:pt x="14" y="13"/>
                      <a:pt x="15" y="13"/>
                      <a:pt x="15" y="13"/>
                    </a:cubicBezTo>
                    <a:cubicBezTo>
                      <a:pt x="16" y="14"/>
                      <a:pt x="16" y="14"/>
                      <a:pt x="17" y="14"/>
                    </a:cubicBezTo>
                    <a:cubicBezTo>
                      <a:pt x="18" y="14"/>
                      <a:pt x="18" y="13"/>
                      <a:pt x="19" y="13"/>
                    </a:cubicBezTo>
                    <a:cubicBezTo>
                      <a:pt x="19" y="13"/>
                      <a:pt x="20" y="13"/>
                      <a:pt x="20" y="13"/>
                    </a:cubicBezTo>
                    <a:cubicBezTo>
                      <a:pt x="20" y="14"/>
                      <a:pt x="19" y="14"/>
                      <a:pt x="19" y="14"/>
                    </a:cubicBezTo>
                    <a:cubicBezTo>
                      <a:pt x="19" y="14"/>
                      <a:pt x="19" y="14"/>
                      <a:pt x="19" y="15"/>
                    </a:cubicBezTo>
                    <a:cubicBezTo>
                      <a:pt x="18" y="15"/>
                      <a:pt x="18" y="15"/>
                      <a:pt x="17" y="15"/>
                    </a:cubicBezTo>
                    <a:cubicBezTo>
                      <a:pt x="17" y="14"/>
                      <a:pt x="16" y="14"/>
                      <a:pt x="15" y="14"/>
                    </a:cubicBezTo>
                    <a:cubicBezTo>
                      <a:pt x="15" y="14"/>
                      <a:pt x="12" y="14"/>
                      <a:pt x="13" y="15"/>
                    </a:cubicBezTo>
                    <a:cubicBezTo>
                      <a:pt x="13" y="15"/>
                      <a:pt x="12" y="14"/>
                      <a:pt x="12" y="15"/>
                    </a:cubicBezTo>
                    <a:cubicBezTo>
                      <a:pt x="12" y="15"/>
                      <a:pt x="13" y="14"/>
                      <a:pt x="12" y="14"/>
                    </a:cubicBezTo>
                    <a:cubicBezTo>
                      <a:pt x="12" y="14"/>
                      <a:pt x="12" y="14"/>
                      <a:pt x="11" y="15"/>
                    </a:cubicBezTo>
                    <a:cubicBezTo>
                      <a:pt x="11" y="15"/>
                      <a:pt x="12" y="15"/>
                      <a:pt x="12" y="15"/>
                    </a:cubicBezTo>
                    <a:cubicBezTo>
                      <a:pt x="11" y="15"/>
                      <a:pt x="11" y="15"/>
                      <a:pt x="10" y="15"/>
                    </a:cubicBezTo>
                    <a:cubicBezTo>
                      <a:pt x="10" y="15"/>
                      <a:pt x="11" y="15"/>
                      <a:pt x="10" y="15"/>
                    </a:cubicBezTo>
                    <a:cubicBezTo>
                      <a:pt x="10" y="15"/>
                      <a:pt x="9" y="15"/>
                      <a:pt x="9" y="16"/>
                    </a:cubicBezTo>
                    <a:cubicBezTo>
                      <a:pt x="8" y="15"/>
                      <a:pt x="9" y="15"/>
                      <a:pt x="9" y="15"/>
                    </a:cubicBezTo>
                    <a:cubicBezTo>
                      <a:pt x="9" y="15"/>
                      <a:pt x="9" y="15"/>
                      <a:pt x="8" y="15"/>
                    </a:cubicBezTo>
                    <a:cubicBezTo>
                      <a:pt x="8" y="15"/>
                      <a:pt x="8" y="15"/>
                      <a:pt x="8" y="15"/>
                    </a:cubicBezTo>
                    <a:cubicBezTo>
                      <a:pt x="8" y="16"/>
                      <a:pt x="8" y="15"/>
                      <a:pt x="7" y="15"/>
                    </a:cubicBezTo>
                    <a:cubicBezTo>
                      <a:pt x="7" y="15"/>
                      <a:pt x="6" y="16"/>
                      <a:pt x="6" y="16"/>
                    </a:cubicBezTo>
                    <a:cubicBezTo>
                      <a:pt x="5" y="16"/>
                      <a:pt x="4" y="16"/>
                      <a:pt x="3" y="16"/>
                    </a:cubicBezTo>
                    <a:cubicBezTo>
                      <a:pt x="3" y="16"/>
                      <a:pt x="2" y="16"/>
                      <a:pt x="2" y="16"/>
                    </a:cubicBezTo>
                    <a:cubicBezTo>
                      <a:pt x="2" y="17"/>
                      <a:pt x="3" y="17"/>
                      <a:pt x="3" y="17"/>
                    </a:cubicBezTo>
                    <a:cubicBezTo>
                      <a:pt x="3" y="18"/>
                      <a:pt x="4" y="17"/>
                      <a:pt x="4" y="17"/>
                    </a:cubicBezTo>
                    <a:cubicBezTo>
                      <a:pt x="5" y="17"/>
                      <a:pt x="5" y="17"/>
                      <a:pt x="6" y="17"/>
                    </a:cubicBezTo>
                    <a:cubicBezTo>
                      <a:pt x="5" y="17"/>
                      <a:pt x="6" y="17"/>
                      <a:pt x="7" y="17"/>
                    </a:cubicBezTo>
                    <a:cubicBezTo>
                      <a:pt x="7" y="16"/>
                      <a:pt x="8" y="17"/>
                      <a:pt x="8" y="17"/>
                    </a:cubicBezTo>
                    <a:cubicBezTo>
                      <a:pt x="9" y="17"/>
                      <a:pt x="11" y="17"/>
                      <a:pt x="12" y="17"/>
                    </a:cubicBezTo>
                    <a:cubicBezTo>
                      <a:pt x="11" y="17"/>
                      <a:pt x="11" y="17"/>
                      <a:pt x="11" y="17"/>
                    </a:cubicBezTo>
                    <a:cubicBezTo>
                      <a:pt x="12" y="17"/>
                      <a:pt x="13" y="17"/>
                      <a:pt x="12" y="17"/>
                    </a:cubicBezTo>
                    <a:cubicBezTo>
                      <a:pt x="12" y="17"/>
                      <a:pt x="13" y="17"/>
                      <a:pt x="13" y="17"/>
                    </a:cubicBezTo>
                    <a:cubicBezTo>
                      <a:pt x="13" y="17"/>
                      <a:pt x="14" y="17"/>
                      <a:pt x="14" y="17"/>
                    </a:cubicBezTo>
                    <a:cubicBezTo>
                      <a:pt x="13" y="17"/>
                      <a:pt x="14" y="17"/>
                      <a:pt x="14" y="17"/>
                    </a:cubicBezTo>
                    <a:cubicBezTo>
                      <a:pt x="15" y="17"/>
                      <a:pt x="14" y="18"/>
                      <a:pt x="14" y="18"/>
                    </a:cubicBezTo>
                    <a:cubicBezTo>
                      <a:pt x="14" y="18"/>
                      <a:pt x="15" y="18"/>
                      <a:pt x="15" y="17"/>
                    </a:cubicBezTo>
                    <a:cubicBezTo>
                      <a:pt x="15" y="18"/>
                      <a:pt x="14" y="18"/>
                      <a:pt x="13" y="18"/>
                    </a:cubicBezTo>
                    <a:cubicBezTo>
                      <a:pt x="14" y="18"/>
                      <a:pt x="14" y="18"/>
                      <a:pt x="14" y="19"/>
                    </a:cubicBezTo>
                    <a:cubicBezTo>
                      <a:pt x="14" y="19"/>
                      <a:pt x="14" y="19"/>
                      <a:pt x="14" y="19"/>
                    </a:cubicBezTo>
                    <a:cubicBezTo>
                      <a:pt x="14" y="19"/>
                      <a:pt x="14" y="19"/>
                      <a:pt x="15" y="19"/>
                    </a:cubicBezTo>
                    <a:cubicBezTo>
                      <a:pt x="15" y="19"/>
                      <a:pt x="15" y="19"/>
                      <a:pt x="14" y="19"/>
                    </a:cubicBezTo>
                    <a:cubicBezTo>
                      <a:pt x="15" y="19"/>
                      <a:pt x="15" y="19"/>
                      <a:pt x="15" y="19"/>
                    </a:cubicBezTo>
                    <a:cubicBezTo>
                      <a:pt x="15" y="19"/>
                      <a:pt x="15" y="20"/>
                      <a:pt x="14" y="20"/>
                    </a:cubicBezTo>
                    <a:cubicBezTo>
                      <a:pt x="15" y="20"/>
                      <a:pt x="15" y="20"/>
                      <a:pt x="16" y="20"/>
                    </a:cubicBezTo>
                    <a:cubicBezTo>
                      <a:pt x="16" y="20"/>
                      <a:pt x="16" y="19"/>
                      <a:pt x="16" y="19"/>
                    </a:cubicBezTo>
                    <a:cubicBezTo>
                      <a:pt x="16" y="20"/>
                      <a:pt x="17" y="19"/>
                      <a:pt x="17" y="19"/>
                    </a:cubicBezTo>
                    <a:cubicBezTo>
                      <a:pt x="18" y="19"/>
                      <a:pt x="18" y="19"/>
                      <a:pt x="18" y="19"/>
                    </a:cubicBezTo>
                    <a:cubicBezTo>
                      <a:pt x="19" y="19"/>
                      <a:pt x="19" y="18"/>
                      <a:pt x="19" y="18"/>
                    </a:cubicBezTo>
                    <a:cubicBezTo>
                      <a:pt x="18" y="19"/>
                      <a:pt x="19" y="18"/>
                      <a:pt x="19" y="18"/>
                    </a:cubicBezTo>
                    <a:cubicBezTo>
                      <a:pt x="20" y="18"/>
                      <a:pt x="20" y="18"/>
                      <a:pt x="20" y="18"/>
                    </a:cubicBezTo>
                    <a:cubicBezTo>
                      <a:pt x="20" y="18"/>
                      <a:pt x="19" y="18"/>
                      <a:pt x="19" y="19"/>
                    </a:cubicBezTo>
                    <a:cubicBezTo>
                      <a:pt x="19" y="19"/>
                      <a:pt x="19" y="19"/>
                      <a:pt x="20" y="19"/>
                    </a:cubicBezTo>
                    <a:cubicBezTo>
                      <a:pt x="19" y="19"/>
                      <a:pt x="19" y="19"/>
                      <a:pt x="19" y="19"/>
                    </a:cubicBezTo>
                    <a:cubicBezTo>
                      <a:pt x="20" y="19"/>
                      <a:pt x="20" y="19"/>
                      <a:pt x="20" y="19"/>
                    </a:cubicBezTo>
                    <a:cubicBezTo>
                      <a:pt x="20" y="19"/>
                      <a:pt x="19" y="19"/>
                      <a:pt x="19" y="19"/>
                    </a:cubicBezTo>
                    <a:cubicBezTo>
                      <a:pt x="19" y="19"/>
                      <a:pt x="17" y="19"/>
                      <a:pt x="18" y="19"/>
                    </a:cubicBezTo>
                    <a:cubicBezTo>
                      <a:pt x="17" y="20"/>
                      <a:pt x="17" y="20"/>
                      <a:pt x="16" y="20"/>
                    </a:cubicBezTo>
                    <a:cubicBezTo>
                      <a:pt x="15" y="21"/>
                      <a:pt x="17" y="21"/>
                      <a:pt x="17" y="21"/>
                    </a:cubicBezTo>
                    <a:cubicBezTo>
                      <a:pt x="16" y="21"/>
                      <a:pt x="16" y="21"/>
                      <a:pt x="15" y="21"/>
                    </a:cubicBezTo>
                    <a:cubicBezTo>
                      <a:pt x="16" y="22"/>
                      <a:pt x="17" y="21"/>
                      <a:pt x="18" y="21"/>
                    </a:cubicBezTo>
                    <a:cubicBezTo>
                      <a:pt x="18" y="21"/>
                      <a:pt x="20" y="21"/>
                      <a:pt x="20" y="21"/>
                    </a:cubicBezTo>
                    <a:cubicBezTo>
                      <a:pt x="20" y="21"/>
                      <a:pt x="20" y="21"/>
                      <a:pt x="21" y="21"/>
                    </a:cubicBezTo>
                    <a:cubicBezTo>
                      <a:pt x="20" y="21"/>
                      <a:pt x="20" y="21"/>
                      <a:pt x="19" y="21"/>
                    </a:cubicBezTo>
                    <a:cubicBezTo>
                      <a:pt x="19" y="21"/>
                      <a:pt x="18" y="21"/>
                      <a:pt x="18" y="21"/>
                    </a:cubicBezTo>
                    <a:cubicBezTo>
                      <a:pt x="18" y="21"/>
                      <a:pt x="17" y="22"/>
                      <a:pt x="16" y="22"/>
                    </a:cubicBezTo>
                    <a:cubicBezTo>
                      <a:pt x="17" y="22"/>
                      <a:pt x="17" y="22"/>
                      <a:pt x="18" y="22"/>
                    </a:cubicBezTo>
                    <a:cubicBezTo>
                      <a:pt x="17" y="23"/>
                      <a:pt x="17" y="23"/>
                      <a:pt x="17" y="23"/>
                    </a:cubicBezTo>
                    <a:cubicBezTo>
                      <a:pt x="17" y="23"/>
                      <a:pt x="17" y="23"/>
                      <a:pt x="18" y="23"/>
                    </a:cubicBezTo>
                    <a:cubicBezTo>
                      <a:pt x="18" y="23"/>
                      <a:pt x="16" y="23"/>
                      <a:pt x="17" y="23"/>
                    </a:cubicBezTo>
                    <a:cubicBezTo>
                      <a:pt x="16" y="23"/>
                      <a:pt x="16" y="23"/>
                      <a:pt x="15" y="23"/>
                    </a:cubicBezTo>
                    <a:cubicBezTo>
                      <a:pt x="15" y="23"/>
                      <a:pt x="16" y="23"/>
                      <a:pt x="16" y="23"/>
                    </a:cubicBezTo>
                    <a:cubicBezTo>
                      <a:pt x="16" y="24"/>
                      <a:pt x="15" y="24"/>
                      <a:pt x="15" y="23"/>
                    </a:cubicBezTo>
                    <a:cubicBezTo>
                      <a:pt x="15" y="23"/>
                      <a:pt x="15" y="23"/>
                      <a:pt x="15" y="24"/>
                    </a:cubicBezTo>
                    <a:cubicBezTo>
                      <a:pt x="15" y="24"/>
                      <a:pt x="15" y="24"/>
                      <a:pt x="15" y="24"/>
                    </a:cubicBezTo>
                    <a:cubicBezTo>
                      <a:pt x="15" y="24"/>
                      <a:pt x="11" y="25"/>
                      <a:pt x="11" y="25"/>
                    </a:cubicBezTo>
                    <a:cubicBezTo>
                      <a:pt x="10" y="22"/>
                      <a:pt x="9" y="25"/>
                      <a:pt x="10" y="25"/>
                    </a:cubicBezTo>
                    <a:cubicBezTo>
                      <a:pt x="9" y="25"/>
                      <a:pt x="10" y="26"/>
                      <a:pt x="9" y="26"/>
                    </a:cubicBezTo>
                    <a:cubicBezTo>
                      <a:pt x="10" y="27"/>
                      <a:pt x="11" y="26"/>
                      <a:pt x="11" y="26"/>
                    </a:cubicBezTo>
                    <a:cubicBezTo>
                      <a:pt x="12" y="26"/>
                      <a:pt x="13" y="26"/>
                      <a:pt x="14" y="26"/>
                    </a:cubicBezTo>
                    <a:cubicBezTo>
                      <a:pt x="15" y="26"/>
                      <a:pt x="16" y="26"/>
                      <a:pt x="17" y="26"/>
                    </a:cubicBezTo>
                    <a:cubicBezTo>
                      <a:pt x="18" y="27"/>
                      <a:pt x="20" y="26"/>
                      <a:pt x="21" y="26"/>
                    </a:cubicBezTo>
                    <a:cubicBezTo>
                      <a:pt x="20" y="26"/>
                      <a:pt x="20" y="25"/>
                      <a:pt x="20" y="25"/>
                    </a:cubicBezTo>
                    <a:cubicBezTo>
                      <a:pt x="21" y="25"/>
                      <a:pt x="21" y="25"/>
                      <a:pt x="22" y="25"/>
                    </a:cubicBezTo>
                    <a:cubicBezTo>
                      <a:pt x="22" y="25"/>
                      <a:pt x="21" y="25"/>
                      <a:pt x="21" y="26"/>
                    </a:cubicBezTo>
                    <a:cubicBezTo>
                      <a:pt x="21" y="26"/>
                      <a:pt x="22" y="26"/>
                      <a:pt x="23" y="26"/>
                    </a:cubicBezTo>
                    <a:cubicBezTo>
                      <a:pt x="23" y="27"/>
                      <a:pt x="23" y="27"/>
                      <a:pt x="24" y="26"/>
                    </a:cubicBezTo>
                    <a:cubicBezTo>
                      <a:pt x="24" y="26"/>
                      <a:pt x="25" y="26"/>
                      <a:pt x="24" y="26"/>
                    </a:cubicBezTo>
                    <a:cubicBezTo>
                      <a:pt x="25" y="26"/>
                      <a:pt x="24" y="27"/>
                      <a:pt x="24" y="27"/>
                    </a:cubicBezTo>
                    <a:cubicBezTo>
                      <a:pt x="24" y="27"/>
                      <a:pt x="25" y="27"/>
                      <a:pt x="25" y="27"/>
                    </a:cubicBezTo>
                    <a:cubicBezTo>
                      <a:pt x="25" y="27"/>
                      <a:pt x="24" y="27"/>
                      <a:pt x="24" y="27"/>
                    </a:cubicBezTo>
                    <a:cubicBezTo>
                      <a:pt x="24" y="27"/>
                      <a:pt x="25" y="27"/>
                      <a:pt x="25" y="27"/>
                    </a:cubicBezTo>
                    <a:cubicBezTo>
                      <a:pt x="25" y="27"/>
                      <a:pt x="26" y="28"/>
                      <a:pt x="26" y="28"/>
                    </a:cubicBezTo>
                    <a:cubicBezTo>
                      <a:pt x="26" y="28"/>
                      <a:pt x="25" y="27"/>
                      <a:pt x="26" y="27"/>
                    </a:cubicBezTo>
                    <a:cubicBezTo>
                      <a:pt x="26" y="27"/>
                      <a:pt x="26" y="28"/>
                      <a:pt x="26" y="28"/>
                    </a:cubicBezTo>
                    <a:cubicBezTo>
                      <a:pt x="26" y="28"/>
                      <a:pt x="26" y="28"/>
                      <a:pt x="26" y="28"/>
                    </a:cubicBezTo>
                    <a:cubicBezTo>
                      <a:pt x="26" y="28"/>
                      <a:pt x="26" y="28"/>
                      <a:pt x="27" y="28"/>
                    </a:cubicBezTo>
                    <a:cubicBezTo>
                      <a:pt x="27" y="28"/>
                      <a:pt x="27" y="28"/>
                      <a:pt x="26" y="28"/>
                    </a:cubicBezTo>
                    <a:cubicBezTo>
                      <a:pt x="28" y="29"/>
                      <a:pt x="29" y="29"/>
                      <a:pt x="30" y="29"/>
                    </a:cubicBezTo>
                    <a:cubicBezTo>
                      <a:pt x="29" y="29"/>
                      <a:pt x="31" y="29"/>
                      <a:pt x="31" y="29"/>
                    </a:cubicBezTo>
                    <a:cubicBezTo>
                      <a:pt x="31" y="29"/>
                      <a:pt x="31" y="29"/>
                      <a:pt x="32" y="29"/>
                    </a:cubicBezTo>
                    <a:cubicBezTo>
                      <a:pt x="32" y="30"/>
                      <a:pt x="33" y="30"/>
                      <a:pt x="33" y="30"/>
                    </a:cubicBezTo>
                    <a:cubicBezTo>
                      <a:pt x="34" y="30"/>
                      <a:pt x="34" y="30"/>
                      <a:pt x="35" y="30"/>
                    </a:cubicBezTo>
                    <a:cubicBezTo>
                      <a:pt x="36" y="30"/>
                      <a:pt x="37" y="30"/>
                      <a:pt x="38" y="30"/>
                    </a:cubicBezTo>
                    <a:cubicBezTo>
                      <a:pt x="40" y="30"/>
                      <a:pt x="41" y="30"/>
                      <a:pt x="42" y="30"/>
                    </a:cubicBezTo>
                    <a:cubicBezTo>
                      <a:pt x="42" y="30"/>
                      <a:pt x="41" y="29"/>
                      <a:pt x="41" y="29"/>
                    </a:cubicBezTo>
                    <a:cubicBezTo>
                      <a:pt x="42" y="29"/>
                      <a:pt x="42" y="29"/>
                      <a:pt x="43" y="29"/>
                    </a:cubicBezTo>
                    <a:cubicBezTo>
                      <a:pt x="42" y="29"/>
                      <a:pt x="42" y="30"/>
                      <a:pt x="43" y="30"/>
                    </a:cubicBezTo>
                    <a:cubicBezTo>
                      <a:pt x="44" y="29"/>
                      <a:pt x="44" y="29"/>
                      <a:pt x="45" y="28"/>
                    </a:cubicBezTo>
                    <a:cubicBezTo>
                      <a:pt x="45" y="28"/>
                      <a:pt x="44" y="29"/>
                      <a:pt x="44" y="28"/>
                    </a:cubicBezTo>
                    <a:cubicBezTo>
                      <a:pt x="45" y="28"/>
                      <a:pt x="45" y="28"/>
                      <a:pt x="46" y="28"/>
                    </a:cubicBezTo>
                    <a:cubicBezTo>
                      <a:pt x="45" y="28"/>
                      <a:pt x="45" y="28"/>
                      <a:pt x="44" y="28"/>
                    </a:cubicBezTo>
                    <a:cubicBezTo>
                      <a:pt x="44" y="28"/>
                      <a:pt x="45" y="27"/>
                      <a:pt x="45" y="27"/>
                    </a:cubicBezTo>
                    <a:cubicBezTo>
                      <a:pt x="46" y="27"/>
                      <a:pt x="46" y="27"/>
                      <a:pt x="47" y="27"/>
                    </a:cubicBezTo>
                    <a:cubicBezTo>
                      <a:pt x="47" y="27"/>
                      <a:pt x="46" y="27"/>
                      <a:pt x="46" y="27"/>
                    </a:cubicBezTo>
                    <a:cubicBezTo>
                      <a:pt x="47" y="27"/>
                      <a:pt x="47" y="27"/>
                      <a:pt x="48" y="27"/>
                    </a:cubicBezTo>
                    <a:cubicBezTo>
                      <a:pt x="48" y="27"/>
                      <a:pt x="48" y="27"/>
                      <a:pt x="48" y="27"/>
                    </a:cubicBezTo>
                    <a:cubicBezTo>
                      <a:pt x="49" y="27"/>
                      <a:pt x="50" y="26"/>
                      <a:pt x="51" y="27"/>
                    </a:cubicBezTo>
                    <a:cubicBezTo>
                      <a:pt x="51" y="27"/>
                      <a:pt x="52" y="27"/>
                      <a:pt x="52" y="26"/>
                    </a:cubicBezTo>
                    <a:cubicBezTo>
                      <a:pt x="52" y="26"/>
                      <a:pt x="52" y="26"/>
                      <a:pt x="52" y="26"/>
                    </a:cubicBezTo>
                    <a:cubicBezTo>
                      <a:pt x="52" y="26"/>
                      <a:pt x="52" y="26"/>
                      <a:pt x="52" y="25"/>
                    </a:cubicBezTo>
                    <a:cubicBezTo>
                      <a:pt x="53" y="25"/>
                      <a:pt x="52" y="27"/>
                      <a:pt x="52" y="27"/>
                    </a:cubicBezTo>
                    <a:cubicBezTo>
                      <a:pt x="52" y="27"/>
                      <a:pt x="52" y="26"/>
                      <a:pt x="53" y="26"/>
                    </a:cubicBezTo>
                    <a:cubicBezTo>
                      <a:pt x="53" y="26"/>
                      <a:pt x="53" y="26"/>
                      <a:pt x="53" y="26"/>
                    </a:cubicBezTo>
                    <a:cubicBezTo>
                      <a:pt x="53" y="26"/>
                      <a:pt x="53" y="26"/>
                      <a:pt x="53" y="26"/>
                    </a:cubicBezTo>
                    <a:cubicBezTo>
                      <a:pt x="53" y="26"/>
                      <a:pt x="53" y="26"/>
                      <a:pt x="53" y="26"/>
                    </a:cubicBezTo>
                    <a:cubicBezTo>
                      <a:pt x="54" y="26"/>
                      <a:pt x="54" y="26"/>
                      <a:pt x="54" y="26"/>
                    </a:cubicBezTo>
                    <a:cubicBezTo>
                      <a:pt x="54" y="26"/>
                      <a:pt x="55" y="26"/>
                      <a:pt x="55" y="26"/>
                    </a:cubicBezTo>
                    <a:cubicBezTo>
                      <a:pt x="55" y="26"/>
                      <a:pt x="57" y="25"/>
                      <a:pt x="56" y="26"/>
                    </a:cubicBezTo>
                    <a:cubicBezTo>
                      <a:pt x="56" y="25"/>
                      <a:pt x="57" y="25"/>
                      <a:pt x="57" y="25"/>
                    </a:cubicBezTo>
                    <a:cubicBezTo>
                      <a:pt x="57" y="25"/>
                      <a:pt x="58" y="24"/>
                      <a:pt x="57" y="25"/>
                    </a:cubicBezTo>
                    <a:cubicBezTo>
                      <a:pt x="57" y="24"/>
                      <a:pt x="58" y="24"/>
                      <a:pt x="58" y="24"/>
                    </a:cubicBezTo>
                    <a:cubicBezTo>
                      <a:pt x="59" y="24"/>
                      <a:pt x="59" y="24"/>
                      <a:pt x="59" y="24"/>
                    </a:cubicBezTo>
                    <a:cubicBezTo>
                      <a:pt x="60" y="24"/>
                      <a:pt x="61" y="23"/>
                      <a:pt x="60" y="23"/>
                    </a:cubicBezTo>
                    <a:cubicBezTo>
                      <a:pt x="60" y="23"/>
                      <a:pt x="62" y="23"/>
                      <a:pt x="62" y="23"/>
                    </a:cubicBezTo>
                    <a:cubicBezTo>
                      <a:pt x="62" y="23"/>
                      <a:pt x="62" y="23"/>
                      <a:pt x="62" y="23"/>
                    </a:cubicBezTo>
                    <a:cubicBezTo>
                      <a:pt x="62" y="23"/>
                      <a:pt x="63" y="22"/>
                      <a:pt x="63" y="22"/>
                    </a:cubicBezTo>
                    <a:cubicBezTo>
                      <a:pt x="63" y="22"/>
                      <a:pt x="65" y="22"/>
                      <a:pt x="64" y="22"/>
                    </a:cubicBezTo>
                    <a:cubicBezTo>
                      <a:pt x="64" y="22"/>
                      <a:pt x="65" y="22"/>
                      <a:pt x="65" y="21"/>
                    </a:cubicBezTo>
                    <a:cubicBezTo>
                      <a:pt x="65" y="21"/>
                      <a:pt x="65" y="21"/>
                      <a:pt x="64" y="21"/>
                    </a:cubicBezTo>
                    <a:cubicBezTo>
                      <a:pt x="65" y="21"/>
                      <a:pt x="65" y="22"/>
                      <a:pt x="66" y="22"/>
                    </a:cubicBezTo>
                    <a:cubicBezTo>
                      <a:pt x="66" y="22"/>
                      <a:pt x="65" y="21"/>
                      <a:pt x="66" y="21"/>
                    </a:cubicBezTo>
                    <a:cubicBezTo>
                      <a:pt x="66" y="21"/>
                      <a:pt x="66" y="22"/>
                      <a:pt x="66" y="22"/>
                    </a:cubicBezTo>
                    <a:cubicBezTo>
                      <a:pt x="66" y="22"/>
                      <a:pt x="67" y="22"/>
                      <a:pt x="67" y="22"/>
                    </a:cubicBezTo>
                    <a:cubicBezTo>
                      <a:pt x="67" y="22"/>
                      <a:pt x="69" y="22"/>
                      <a:pt x="69" y="22"/>
                    </a:cubicBezTo>
                    <a:cubicBezTo>
                      <a:pt x="69" y="22"/>
                      <a:pt x="68" y="22"/>
                      <a:pt x="68" y="21"/>
                    </a:cubicBezTo>
                    <a:cubicBezTo>
                      <a:pt x="68" y="21"/>
                      <a:pt x="69" y="21"/>
                      <a:pt x="68" y="21"/>
                    </a:cubicBezTo>
                    <a:cubicBezTo>
                      <a:pt x="69" y="21"/>
                      <a:pt x="70" y="20"/>
                      <a:pt x="71" y="20"/>
                    </a:cubicBezTo>
                    <a:cubicBezTo>
                      <a:pt x="71" y="20"/>
                      <a:pt x="72" y="20"/>
                      <a:pt x="72" y="20"/>
                    </a:cubicBezTo>
                    <a:cubicBezTo>
                      <a:pt x="72" y="19"/>
                      <a:pt x="73" y="19"/>
                      <a:pt x="73" y="19"/>
                    </a:cubicBezTo>
                    <a:cubicBezTo>
                      <a:pt x="73" y="19"/>
                      <a:pt x="72" y="19"/>
                      <a:pt x="72" y="19"/>
                    </a:cubicBezTo>
                    <a:cubicBezTo>
                      <a:pt x="72" y="19"/>
                      <a:pt x="71" y="19"/>
                      <a:pt x="71" y="19"/>
                    </a:cubicBezTo>
                    <a:cubicBezTo>
                      <a:pt x="71" y="19"/>
                      <a:pt x="74" y="19"/>
                      <a:pt x="72" y="18"/>
                    </a:cubicBezTo>
                    <a:cubicBezTo>
                      <a:pt x="72" y="18"/>
                      <a:pt x="73" y="18"/>
                      <a:pt x="73" y="18"/>
                    </a:cubicBezTo>
                    <a:cubicBezTo>
                      <a:pt x="73" y="18"/>
                      <a:pt x="74" y="18"/>
                      <a:pt x="74" y="18"/>
                    </a:cubicBezTo>
                    <a:cubicBezTo>
                      <a:pt x="74" y="18"/>
                      <a:pt x="73" y="17"/>
                      <a:pt x="73" y="17"/>
                    </a:cubicBezTo>
                    <a:cubicBezTo>
                      <a:pt x="72" y="17"/>
                      <a:pt x="73" y="17"/>
                      <a:pt x="72" y="17"/>
                    </a:cubicBezTo>
                    <a:cubicBezTo>
                      <a:pt x="73" y="17"/>
                      <a:pt x="73" y="18"/>
                      <a:pt x="74" y="18"/>
                    </a:cubicBezTo>
                    <a:cubicBezTo>
                      <a:pt x="74" y="18"/>
                      <a:pt x="75" y="18"/>
                      <a:pt x="75" y="18"/>
                    </a:cubicBezTo>
                    <a:cubicBezTo>
                      <a:pt x="76" y="17"/>
                      <a:pt x="76" y="17"/>
                      <a:pt x="76" y="17"/>
                    </a:cubicBezTo>
                    <a:cubicBezTo>
                      <a:pt x="76" y="17"/>
                      <a:pt x="77" y="17"/>
                      <a:pt x="77" y="17"/>
                    </a:cubicBezTo>
                    <a:cubicBezTo>
                      <a:pt x="77" y="17"/>
                      <a:pt x="77" y="16"/>
                      <a:pt x="76" y="16"/>
                    </a:cubicBezTo>
                    <a:cubicBezTo>
                      <a:pt x="77" y="16"/>
                      <a:pt x="78" y="17"/>
                      <a:pt x="78" y="16"/>
                    </a:cubicBezTo>
                    <a:cubicBezTo>
                      <a:pt x="78" y="16"/>
                      <a:pt x="76" y="16"/>
                      <a:pt x="76" y="15"/>
                    </a:cubicBezTo>
                    <a:cubicBezTo>
                      <a:pt x="77" y="16"/>
                      <a:pt x="77" y="16"/>
                      <a:pt x="78" y="16"/>
                    </a:cubicBezTo>
                    <a:cubicBezTo>
                      <a:pt x="79" y="16"/>
                      <a:pt x="78" y="15"/>
                      <a:pt x="78" y="15"/>
                    </a:cubicBezTo>
                    <a:cubicBezTo>
                      <a:pt x="78" y="15"/>
                      <a:pt x="77" y="15"/>
                      <a:pt x="77" y="15"/>
                    </a:cubicBezTo>
                    <a:cubicBezTo>
                      <a:pt x="76" y="15"/>
                      <a:pt x="75" y="15"/>
                      <a:pt x="75" y="15"/>
                    </a:cubicBezTo>
                    <a:cubicBezTo>
                      <a:pt x="75" y="14"/>
                      <a:pt x="76" y="15"/>
                      <a:pt x="77" y="14"/>
                    </a:cubicBezTo>
                    <a:cubicBezTo>
                      <a:pt x="77" y="14"/>
                      <a:pt x="76" y="14"/>
                      <a:pt x="76" y="14"/>
                    </a:cubicBezTo>
                    <a:cubicBezTo>
                      <a:pt x="77" y="14"/>
                      <a:pt x="80" y="16"/>
                      <a:pt x="80" y="15"/>
                    </a:cubicBezTo>
                    <a:cubicBezTo>
                      <a:pt x="79" y="15"/>
                      <a:pt x="80" y="14"/>
                      <a:pt x="80" y="14"/>
                    </a:cubicBezTo>
                    <a:cubicBezTo>
                      <a:pt x="80" y="14"/>
                      <a:pt x="80" y="14"/>
                      <a:pt x="80" y="13"/>
                    </a:cubicBezTo>
                    <a:cubicBezTo>
                      <a:pt x="80" y="13"/>
                      <a:pt x="79" y="14"/>
                      <a:pt x="79" y="14"/>
                    </a:cubicBezTo>
                    <a:close/>
                    <a:moveTo>
                      <a:pt x="26" y="27"/>
                    </a:moveTo>
                    <a:cubicBezTo>
                      <a:pt x="26" y="27"/>
                      <a:pt x="26" y="27"/>
                      <a:pt x="25" y="27"/>
                    </a:cubicBezTo>
                    <a:cubicBezTo>
                      <a:pt x="26" y="27"/>
                      <a:pt x="26" y="26"/>
                      <a:pt x="26" y="26"/>
                    </a:cubicBezTo>
                    <a:cubicBezTo>
                      <a:pt x="27" y="26"/>
                      <a:pt x="26" y="27"/>
                      <a:pt x="26" y="27"/>
                    </a:cubicBezTo>
                    <a:cubicBezTo>
                      <a:pt x="26" y="27"/>
                      <a:pt x="27" y="27"/>
                      <a:pt x="27" y="27"/>
                    </a:cubicBezTo>
                    <a:cubicBezTo>
                      <a:pt x="26" y="27"/>
                      <a:pt x="26" y="27"/>
                      <a:pt x="26" y="27"/>
                    </a:cubicBezTo>
                    <a:close/>
                    <a:moveTo>
                      <a:pt x="77" y="13"/>
                    </a:moveTo>
                    <a:cubicBezTo>
                      <a:pt x="77" y="13"/>
                      <a:pt x="78" y="13"/>
                      <a:pt x="78" y="13"/>
                    </a:cubicBezTo>
                    <a:cubicBezTo>
                      <a:pt x="78" y="13"/>
                      <a:pt x="77" y="13"/>
                      <a:pt x="77" y="13"/>
                    </a:cubicBezTo>
                    <a:close/>
                    <a:moveTo>
                      <a:pt x="70" y="21"/>
                    </a:moveTo>
                    <a:cubicBezTo>
                      <a:pt x="70" y="21"/>
                      <a:pt x="71" y="21"/>
                      <a:pt x="71" y="20"/>
                    </a:cubicBezTo>
                    <a:cubicBezTo>
                      <a:pt x="71" y="20"/>
                      <a:pt x="71" y="20"/>
                      <a:pt x="71" y="21"/>
                    </a:cubicBezTo>
                    <a:cubicBezTo>
                      <a:pt x="71" y="21"/>
                      <a:pt x="70" y="21"/>
                      <a:pt x="70" y="2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4" name="Hungary">
                <a:extLst>
                  <a:ext uri="{FF2B5EF4-FFF2-40B4-BE49-F238E27FC236}">
                    <a16:creationId xmlns:a16="http://schemas.microsoft.com/office/drawing/2014/main" id="{E3B55A4A-8A3C-B4F2-FB24-0BC687CF76DE}"/>
                  </a:ext>
                </a:extLst>
              </p:cNvPr>
              <p:cNvSpPr>
                <a:spLocks/>
              </p:cNvSpPr>
              <p:nvPr/>
            </p:nvSpPr>
            <p:spPr bwMode="auto">
              <a:xfrm>
                <a:off x="6224992" y="2158513"/>
                <a:ext cx="204855" cy="109779"/>
              </a:xfrm>
              <a:custGeom>
                <a:avLst/>
                <a:gdLst/>
                <a:ahLst/>
                <a:cxnLst>
                  <a:cxn ang="0">
                    <a:pos x="56" y="5"/>
                  </a:cxn>
                  <a:cxn ang="0">
                    <a:pos x="53" y="3"/>
                  </a:cxn>
                  <a:cxn ang="0">
                    <a:pos x="51" y="2"/>
                  </a:cxn>
                  <a:cxn ang="0">
                    <a:pos x="48" y="2"/>
                  </a:cxn>
                  <a:cxn ang="0">
                    <a:pos x="46" y="1"/>
                  </a:cxn>
                  <a:cxn ang="0">
                    <a:pos x="44" y="0"/>
                  </a:cxn>
                  <a:cxn ang="0">
                    <a:pos x="43" y="1"/>
                  </a:cxn>
                  <a:cxn ang="0">
                    <a:pos x="39" y="0"/>
                  </a:cxn>
                  <a:cxn ang="0">
                    <a:pos x="37" y="1"/>
                  </a:cxn>
                  <a:cxn ang="0">
                    <a:pos x="35" y="3"/>
                  </a:cxn>
                  <a:cxn ang="0">
                    <a:pos x="33" y="4"/>
                  </a:cxn>
                  <a:cxn ang="0">
                    <a:pos x="30" y="4"/>
                  </a:cxn>
                  <a:cxn ang="0">
                    <a:pos x="28" y="5"/>
                  </a:cxn>
                  <a:cxn ang="0">
                    <a:pos x="25" y="5"/>
                  </a:cxn>
                  <a:cxn ang="0">
                    <a:pos x="22" y="6"/>
                  </a:cxn>
                  <a:cxn ang="0">
                    <a:pos x="23" y="8"/>
                  </a:cxn>
                  <a:cxn ang="0">
                    <a:pos x="19" y="9"/>
                  </a:cxn>
                  <a:cxn ang="0">
                    <a:pos x="13" y="9"/>
                  </a:cxn>
                  <a:cxn ang="0">
                    <a:pos x="10" y="6"/>
                  </a:cxn>
                  <a:cxn ang="0">
                    <a:pos x="7" y="8"/>
                  </a:cxn>
                  <a:cxn ang="0">
                    <a:pos x="8" y="9"/>
                  </a:cxn>
                  <a:cxn ang="0">
                    <a:pos x="5" y="9"/>
                  </a:cxn>
                  <a:cxn ang="0">
                    <a:pos x="2" y="10"/>
                  </a:cxn>
                  <a:cxn ang="0">
                    <a:pos x="4" y="12"/>
                  </a:cxn>
                  <a:cxn ang="0">
                    <a:pos x="3" y="14"/>
                  </a:cxn>
                  <a:cxn ang="0">
                    <a:pos x="3" y="16"/>
                  </a:cxn>
                  <a:cxn ang="0">
                    <a:pos x="3" y="17"/>
                  </a:cxn>
                  <a:cxn ang="0">
                    <a:pos x="2" y="17"/>
                  </a:cxn>
                  <a:cxn ang="0">
                    <a:pos x="2" y="18"/>
                  </a:cxn>
                  <a:cxn ang="0">
                    <a:pos x="3" y="21"/>
                  </a:cxn>
                  <a:cxn ang="0">
                    <a:pos x="5" y="23"/>
                  </a:cxn>
                  <a:cxn ang="0">
                    <a:pos x="8" y="25"/>
                  </a:cxn>
                  <a:cxn ang="0">
                    <a:pos x="10" y="27"/>
                  </a:cxn>
                  <a:cxn ang="0">
                    <a:pos x="11" y="27"/>
                  </a:cxn>
                  <a:cxn ang="0">
                    <a:pos x="11" y="28"/>
                  </a:cxn>
                  <a:cxn ang="0">
                    <a:pos x="13" y="29"/>
                  </a:cxn>
                  <a:cxn ang="0">
                    <a:pos x="15" y="30"/>
                  </a:cxn>
                  <a:cxn ang="0">
                    <a:pos x="17" y="30"/>
                  </a:cxn>
                  <a:cxn ang="0">
                    <a:pos x="21" y="30"/>
                  </a:cxn>
                  <a:cxn ang="0">
                    <a:pos x="24" y="29"/>
                  </a:cxn>
                  <a:cxn ang="0">
                    <a:pos x="26" y="28"/>
                  </a:cxn>
                  <a:cxn ang="0">
                    <a:pos x="28" y="28"/>
                  </a:cxn>
                  <a:cxn ang="0">
                    <a:pos x="29" y="27"/>
                  </a:cxn>
                  <a:cxn ang="0">
                    <a:pos x="30" y="26"/>
                  </a:cxn>
                  <a:cxn ang="0">
                    <a:pos x="33" y="26"/>
                  </a:cxn>
                  <a:cxn ang="0">
                    <a:pos x="36" y="26"/>
                  </a:cxn>
                  <a:cxn ang="0">
                    <a:pos x="38" y="26"/>
                  </a:cxn>
                  <a:cxn ang="0">
                    <a:pos x="40" y="26"/>
                  </a:cxn>
                  <a:cxn ang="0">
                    <a:pos x="44" y="25"/>
                  </a:cxn>
                  <a:cxn ang="0">
                    <a:pos x="45" y="23"/>
                  </a:cxn>
                  <a:cxn ang="0">
                    <a:pos x="45" y="21"/>
                  </a:cxn>
                  <a:cxn ang="0">
                    <a:pos x="47" y="20"/>
                  </a:cxn>
                  <a:cxn ang="0">
                    <a:pos x="47" y="18"/>
                  </a:cxn>
                  <a:cxn ang="0">
                    <a:pos x="48" y="16"/>
                  </a:cxn>
                  <a:cxn ang="0">
                    <a:pos x="49" y="14"/>
                  </a:cxn>
                  <a:cxn ang="0">
                    <a:pos x="50" y="13"/>
                  </a:cxn>
                  <a:cxn ang="0">
                    <a:pos x="52" y="11"/>
                  </a:cxn>
                  <a:cxn ang="0">
                    <a:pos x="53" y="9"/>
                  </a:cxn>
                  <a:cxn ang="0">
                    <a:pos x="55" y="9"/>
                  </a:cxn>
                  <a:cxn ang="0">
                    <a:pos x="57" y="8"/>
                  </a:cxn>
                  <a:cxn ang="0">
                    <a:pos x="57" y="5"/>
                  </a:cxn>
                </a:cxnLst>
                <a:rect l="0" t="0" r="r" b="b"/>
                <a:pathLst>
                  <a:path w="58" h="31">
                    <a:moveTo>
                      <a:pt x="57" y="5"/>
                    </a:moveTo>
                    <a:cubicBezTo>
                      <a:pt x="57" y="5"/>
                      <a:pt x="57" y="5"/>
                      <a:pt x="56" y="5"/>
                    </a:cubicBezTo>
                    <a:cubicBezTo>
                      <a:pt x="55" y="5"/>
                      <a:pt x="55" y="4"/>
                      <a:pt x="54" y="4"/>
                    </a:cubicBezTo>
                    <a:cubicBezTo>
                      <a:pt x="54" y="3"/>
                      <a:pt x="53" y="4"/>
                      <a:pt x="53" y="3"/>
                    </a:cubicBezTo>
                    <a:cubicBezTo>
                      <a:pt x="53" y="3"/>
                      <a:pt x="52" y="2"/>
                      <a:pt x="52" y="2"/>
                    </a:cubicBezTo>
                    <a:cubicBezTo>
                      <a:pt x="52" y="2"/>
                      <a:pt x="52" y="2"/>
                      <a:pt x="51" y="2"/>
                    </a:cubicBezTo>
                    <a:cubicBezTo>
                      <a:pt x="51" y="2"/>
                      <a:pt x="51" y="2"/>
                      <a:pt x="50" y="2"/>
                    </a:cubicBezTo>
                    <a:cubicBezTo>
                      <a:pt x="49" y="2"/>
                      <a:pt x="49" y="2"/>
                      <a:pt x="48" y="2"/>
                    </a:cubicBezTo>
                    <a:cubicBezTo>
                      <a:pt x="48" y="3"/>
                      <a:pt x="47" y="2"/>
                      <a:pt x="47" y="2"/>
                    </a:cubicBezTo>
                    <a:cubicBezTo>
                      <a:pt x="47" y="2"/>
                      <a:pt x="47" y="1"/>
                      <a:pt x="46" y="1"/>
                    </a:cubicBezTo>
                    <a:cubicBezTo>
                      <a:pt x="45" y="1"/>
                      <a:pt x="45" y="0"/>
                      <a:pt x="45" y="0"/>
                    </a:cubicBezTo>
                    <a:cubicBezTo>
                      <a:pt x="44" y="0"/>
                      <a:pt x="44" y="0"/>
                      <a:pt x="44" y="0"/>
                    </a:cubicBezTo>
                    <a:cubicBezTo>
                      <a:pt x="44" y="0"/>
                      <a:pt x="44" y="1"/>
                      <a:pt x="44" y="1"/>
                    </a:cubicBezTo>
                    <a:cubicBezTo>
                      <a:pt x="43" y="1"/>
                      <a:pt x="43" y="1"/>
                      <a:pt x="43" y="1"/>
                    </a:cubicBezTo>
                    <a:cubicBezTo>
                      <a:pt x="43" y="1"/>
                      <a:pt x="43" y="1"/>
                      <a:pt x="42" y="1"/>
                    </a:cubicBezTo>
                    <a:cubicBezTo>
                      <a:pt x="42" y="1"/>
                      <a:pt x="40" y="0"/>
                      <a:pt x="39" y="0"/>
                    </a:cubicBezTo>
                    <a:cubicBezTo>
                      <a:pt x="39" y="0"/>
                      <a:pt x="38" y="0"/>
                      <a:pt x="37" y="0"/>
                    </a:cubicBezTo>
                    <a:cubicBezTo>
                      <a:pt x="37" y="1"/>
                      <a:pt x="37" y="1"/>
                      <a:pt x="37" y="1"/>
                    </a:cubicBezTo>
                    <a:cubicBezTo>
                      <a:pt x="36" y="2"/>
                      <a:pt x="36" y="2"/>
                      <a:pt x="36" y="3"/>
                    </a:cubicBezTo>
                    <a:cubicBezTo>
                      <a:pt x="35" y="4"/>
                      <a:pt x="35" y="3"/>
                      <a:pt x="35" y="3"/>
                    </a:cubicBezTo>
                    <a:cubicBezTo>
                      <a:pt x="34" y="4"/>
                      <a:pt x="34" y="4"/>
                      <a:pt x="34" y="4"/>
                    </a:cubicBezTo>
                    <a:cubicBezTo>
                      <a:pt x="34" y="4"/>
                      <a:pt x="33" y="4"/>
                      <a:pt x="33" y="4"/>
                    </a:cubicBezTo>
                    <a:cubicBezTo>
                      <a:pt x="33" y="4"/>
                      <a:pt x="32" y="5"/>
                      <a:pt x="32" y="5"/>
                    </a:cubicBezTo>
                    <a:cubicBezTo>
                      <a:pt x="31" y="5"/>
                      <a:pt x="31" y="4"/>
                      <a:pt x="30" y="4"/>
                    </a:cubicBezTo>
                    <a:cubicBezTo>
                      <a:pt x="29" y="4"/>
                      <a:pt x="29" y="4"/>
                      <a:pt x="29" y="4"/>
                    </a:cubicBezTo>
                    <a:cubicBezTo>
                      <a:pt x="28" y="5"/>
                      <a:pt x="28" y="5"/>
                      <a:pt x="28" y="5"/>
                    </a:cubicBezTo>
                    <a:cubicBezTo>
                      <a:pt x="27" y="5"/>
                      <a:pt x="27" y="6"/>
                      <a:pt x="26" y="5"/>
                    </a:cubicBezTo>
                    <a:cubicBezTo>
                      <a:pt x="26" y="5"/>
                      <a:pt x="25" y="5"/>
                      <a:pt x="25" y="5"/>
                    </a:cubicBezTo>
                    <a:cubicBezTo>
                      <a:pt x="24" y="5"/>
                      <a:pt x="23" y="6"/>
                      <a:pt x="23" y="6"/>
                    </a:cubicBezTo>
                    <a:cubicBezTo>
                      <a:pt x="23" y="6"/>
                      <a:pt x="23" y="6"/>
                      <a:pt x="22" y="6"/>
                    </a:cubicBezTo>
                    <a:cubicBezTo>
                      <a:pt x="22" y="7"/>
                      <a:pt x="22" y="7"/>
                      <a:pt x="22" y="7"/>
                    </a:cubicBezTo>
                    <a:cubicBezTo>
                      <a:pt x="23" y="8"/>
                      <a:pt x="23" y="8"/>
                      <a:pt x="23" y="8"/>
                    </a:cubicBezTo>
                    <a:cubicBezTo>
                      <a:pt x="23" y="8"/>
                      <a:pt x="22" y="9"/>
                      <a:pt x="22" y="9"/>
                    </a:cubicBezTo>
                    <a:cubicBezTo>
                      <a:pt x="21" y="9"/>
                      <a:pt x="20" y="9"/>
                      <a:pt x="19" y="9"/>
                    </a:cubicBezTo>
                    <a:cubicBezTo>
                      <a:pt x="18" y="9"/>
                      <a:pt x="17" y="9"/>
                      <a:pt x="16" y="9"/>
                    </a:cubicBezTo>
                    <a:cubicBezTo>
                      <a:pt x="15" y="9"/>
                      <a:pt x="14" y="9"/>
                      <a:pt x="13" y="9"/>
                    </a:cubicBezTo>
                    <a:cubicBezTo>
                      <a:pt x="13" y="8"/>
                      <a:pt x="12" y="8"/>
                      <a:pt x="11" y="7"/>
                    </a:cubicBezTo>
                    <a:cubicBezTo>
                      <a:pt x="11" y="7"/>
                      <a:pt x="10" y="6"/>
                      <a:pt x="10" y="6"/>
                    </a:cubicBezTo>
                    <a:cubicBezTo>
                      <a:pt x="9" y="6"/>
                      <a:pt x="8" y="6"/>
                      <a:pt x="8" y="7"/>
                    </a:cubicBezTo>
                    <a:cubicBezTo>
                      <a:pt x="8" y="7"/>
                      <a:pt x="8" y="7"/>
                      <a:pt x="7" y="8"/>
                    </a:cubicBezTo>
                    <a:cubicBezTo>
                      <a:pt x="7" y="8"/>
                      <a:pt x="8" y="8"/>
                      <a:pt x="8" y="8"/>
                    </a:cubicBezTo>
                    <a:cubicBezTo>
                      <a:pt x="8" y="9"/>
                      <a:pt x="8" y="9"/>
                      <a:pt x="8" y="9"/>
                    </a:cubicBezTo>
                    <a:cubicBezTo>
                      <a:pt x="8" y="9"/>
                      <a:pt x="6" y="9"/>
                      <a:pt x="6" y="10"/>
                    </a:cubicBezTo>
                    <a:cubicBezTo>
                      <a:pt x="6" y="10"/>
                      <a:pt x="5" y="9"/>
                      <a:pt x="5" y="9"/>
                    </a:cubicBezTo>
                    <a:cubicBezTo>
                      <a:pt x="5" y="9"/>
                      <a:pt x="3" y="9"/>
                      <a:pt x="3" y="9"/>
                    </a:cubicBezTo>
                    <a:cubicBezTo>
                      <a:pt x="4" y="9"/>
                      <a:pt x="3" y="10"/>
                      <a:pt x="2" y="10"/>
                    </a:cubicBezTo>
                    <a:cubicBezTo>
                      <a:pt x="3" y="10"/>
                      <a:pt x="4" y="10"/>
                      <a:pt x="5" y="11"/>
                    </a:cubicBezTo>
                    <a:cubicBezTo>
                      <a:pt x="5" y="11"/>
                      <a:pt x="5" y="12"/>
                      <a:pt x="4" y="12"/>
                    </a:cubicBezTo>
                    <a:cubicBezTo>
                      <a:pt x="4" y="13"/>
                      <a:pt x="2" y="12"/>
                      <a:pt x="3" y="13"/>
                    </a:cubicBezTo>
                    <a:cubicBezTo>
                      <a:pt x="3" y="14"/>
                      <a:pt x="3" y="14"/>
                      <a:pt x="3" y="14"/>
                    </a:cubicBezTo>
                    <a:cubicBezTo>
                      <a:pt x="3" y="15"/>
                      <a:pt x="3" y="15"/>
                      <a:pt x="3" y="15"/>
                    </a:cubicBezTo>
                    <a:cubicBezTo>
                      <a:pt x="3" y="15"/>
                      <a:pt x="4" y="15"/>
                      <a:pt x="3" y="16"/>
                    </a:cubicBezTo>
                    <a:cubicBezTo>
                      <a:pt x="3" y="16"/>
                      <a:pt x="3" y="16"/>
                      <a:pt x="3" y="16"/>
                    </a:cubicBezTo>
                    <a:cubicBezTo>
                      <a:pt x="3" y="16"/>
                      <a:pt x="3" y="17"/>
                      <a:pt x="3" y="17"/>
                    </a:cubicBezTo>
                    <a:cubicBezTo>
                      <a:pt x="3" y="17"/>
                      <a:pt x="3" y="17"/>
                      <a:pt x="3" y="17"/>
                    </a:cubicBezTo>
                    <a:cubicBezTo>
                      <a:pt x="3" y="17"/>
                      <a:pt x="2" y="17"/>
                      <a:pt x="2" y="17"/>
                    </a:cubicBezTo>
                    <a:cubicBezTo>
                      <a:pt x="1" y="17"/>
                      <a:pt x="1" y="18"/>
                      <a:pt x="0" y="18"/>
                    </a:cubicBezTo>
                    <a:cubicBezTo>
                      <a:pt x="1" y="19"/>
                      <a:pt x="1" y="18"/>
                      <a:pt x="2" y="18"/>
                    </a:cubicBezTo>
                    <a:cubicBezTo>
                      <a:pt x="2" y="19"/>
                      <a:pt x="2" y="19"/>
                      <a:pt x="2" y="20"/>
                    </a:cubicBezTo>
                    <a:cubicBezTo>
                      <a:pt x="2" y="20"/>
                      <a:pt x="3" y="21"/>
                      <a:pt x="3" y="21"/>
                    </a:cubicBezTo>
                    <a:cubicBezTo>
                      <a:pt x="2" y="21"/>
                      <a:pt x="3" y="22"/>
                      <a:pt x="4" y="22"/>
                    </a:cubicBezTo>
                    <a:cubicBezTo>
                      <a:pt x="4" y="22"/>
                      <a:pt x="5" y="23"/>
                      <a:pt x="5" y="23"/>
                    </a:cubicBezTo>
                    <a:cubicBezTo>
                      <a:pt x="6" y="24"/>
                      <a:pt x="6" y="24"/>
                      <a:pt x="7" y="24"/>
                    </a:cubicBezTo>
                    <a:cubicBezTo>
                      <a:pt x="7" y="25"/>
                      <a:pt x="8" y="25"/>
                      <a:pt x="8" y="25"/>
                    </a:cubicBezTo>
                    <a:cubicBezTo>
                      <a:pt x="9" y="26"/>
                      <a:pt x="9" y="26"/>
                      <a:pt x="10" y="26"/>
                    </a:cubicBezTo>
                    <a:cubicBezTo>
                      <a:pt x="10" y="26"/>
                      <a:pt x="10" y="27"/>
                      <a:pt x="10" y="27"/>
                    </a:cubicBezTo>
                    <a:cubicBezTo>
                      <a:pt x="10" y="27"/>
                      <a:pt x="10" y="27"/>
                      <a:pt x="10" y="27"/>
                    </a:cubicBezTo>
                    <a:cubicBezTo>
                      <a:pt x="10" y="27"/>
                      <a:pt x="10" y="27"/>
                      <a:pt x="11" y="27"/>
                    </a:cubicBezTo>
                    <a:cubicBezTo>
                      <a:pt x="10" y="28"/>
                      <a:pt x="11" y="28"/>
                      <a:pt x="11" y="28"/>
                    </a:cubicBezTo>
                    <a:cubicBezTo>
                      <a:pt x="11" y="28"/>
                      <a:pt x="12" y="28"/>
                      <a:pt x="11" y="28"/>
                    </a:cubicBezTo>
                    <a:cubicBezTo>
                      <a:pt x="11" y="28"/>
                      <a:pt x="12" y="28"/>
                      <a:pt x="12" y="28"/>
                    </a:cubicBezTo>
                    <a:cubicBezTo>
                      <a:pt x="12" y="28"/>
                      <a:pt x="13" y="28"/>
                      <a:pt x="13" y="29"/>
                    </a:cubicBezTo>
                    <a:cubicBezTo>
                      <a:pt x="14" y="29"/>
                      <a:pt x="14" y="30"/>
                      <a:pt x="15" y="30"/>
                    </a:cubicBezTo>
                    <a:cubicBezTo>
                      <a:pt x="15" y="30"/>
                      <a:pt x="15" y="30"/>
                      <a:pt x="15" y="30"/>
                    </a:cubicBezTo>
                    <a:cubicBezTo>
                      <a:pt x="16" y="30"/>
                      <a:pt x="15" y="30"/>
                      <a:pt x="16" y="30"/>
                    </a:cubicBezTo>
                    <a:cubicBezTo>
                      <a:pt x="16" y="30"/>
                      <a:pt x="17" y="30"/>
                      <a:pt x="17" y="30"/>
                    </a:cubicBezTo>
                    <a:cubicBezTo>
                      <a:pt x="18" y="30"/>
                      <a:pt x="18" y="30"/>
                      <a:pt x="19" y="30"/>
                    </a:cubicBezTo>
                    <a:cubicBezTo>
                      <a:pt x="19" y="30"/>
                      <a:pt x="20" y="31"/>
                      <a:pt x="21" y="30"/>
                    </a:cubicBezTo>
                    <a:cubicBezTo>
                      <a:pt x="21" y="30"/>
                      <a:pt x="22" y="30"/>
                      <a:pt x="22" y="29"/>
                    </a:cubicBezTo>
                    <a:cubicBezTo>
                      <a:pt x="23" y="28"/>
                      <a:pt x="23" y="29"/>
                      <a:pt x="24" y="29"/>
                    </a:cubicBezTo>
                    <a:cubicBezTo>
                      <a:pt x="24" y="28"/>
                      <a:pt x="25" y="28"/>
                      <a:pt x="25" y="28"/>
                    </a:cubicBezTo>
                    <a:cubicBezTo>
                      <a:pt x="25" y="28"/>
                      <a:pt x="26" y="28"/>
                      <a:pt x="26" y="28"/>
                    </a:cubicBezTo>
                    <a:cubicBezTo>
                      <a:pt x="26" y="28"/>
                      <a:pt x="26" y="27"/>
                      <a:pt x="27" y="28"/>
                    </a:cubicBezTo>
                    <a:cubicBezTo>
                      <a:pt x="27" y="28"/>
                      <a:pt x="28" y="28"/>
                      <a:pt x="28" y="28"/>
                    </a:cubicBezTo>
                    <a:cubicBezTo>
                      <a:pt x="28" y="28"/>
                      <a:pt x="28" y="28"/>
                      <a:pt x="28" y="28"/>
                    </a:cubicBezTo>
                    <a:cubicBezTo>
                      <a:pt x="28" y="27"/>
                      <a:pt x="29" y="27"/>
                      <a:pt x="29" y="27"/>
                    </a:cubicBezTo>
                    <a:cubicBezTo>
                      <a:pt x="29" y="27"/>
                      <a:pt x="29" y="27"/>
                      <a:pt x="30" y="27"/>
                    </a:cubicBezTo>
                    <a:cubicBezTo>
                      <a:pt x="30" y="26"/>
                      <a:pt x="30" y="26"/>
                      <a:pt x="30" y="26"/>
                    </a:cubicBezTo>
                    <a:cubicBezTo>
                      <a:pt x="31" y="25"/>
                      <a:pt x="31" y="26"/>
                      <a:pt x="32" y="26"/>
                    </a:cubicBezTo>
                    <a:cubicBezTo>
                      <a:pt x="32" y="26"/>
                      <a:pt x="33" y="26"/>
                      <a:pt x="33" y="26"/>
                    </a:cubicBezTo>
                    <a:cubicBezTo>
                      <a:pt x="33" y="26"/>
                      <a:pt x="34" y="26"/>
                      <a:pt x="34" y="26"/>
                    </a:cubicBezTo>
                    <a:cubicBezTo>
                      <a:pt x="35" y="26"/>
                      <a:pt x="35" y="26"/>
                      <a:pt x="36" y="26"/>
                    </a:cubicBezTo>
                    <a:cubicBezTo>
                      <a:pt x="36" y="26"/>
                      <a:pt x="37" y="26"/>
                      <a:pt x="37" y="26"/>
                    </a:cubicBezTo>
                    <a:cubicBezTo>
                      <a:pt x="37" y="26"/>
                      <a:pt x="38" y="26"/>
                      <a:pt x="38" y="26"/>
                    </a:cubicBezTo>
                    <a:cubicBezTo>
                      <a:pt x="38" y="26"/>
                      <a:pt x="38" y="26"/>
                      <a:pt x="38" y="26"/>
                    </a:cubicBezTo>
                    <a:cubicBezTo>
                      <a:pt x="39" y="26"/>
                      <a:pt x="39" y="27"/>
                      <a:pt x="40" y="26"/>
                    </a:cubicBezTo>
                    <a:cubicBezTo>
                      <a:pt x="40" y="25"/>
                      <a:pt x="40" y="25"/>
                      <a:pt x="42" y="25"/>
                    </a:cubicBezTo>
                    <a:cubicBezTo>
                      <a:pt x="42" y="25"/>
                      <a:pt x="43" y="25"/>
                      <a:pt x="44" y="25"/>
                    </a:cubicBezTo>
                    <a:cubicBezTo>
                      <a:pt x="44" y="24"/>
                      <a:pt x="44" y="24"/>
                      <a:pt x="44" y="24"/>
                    </a:cubicBezTo>
                    <a:cubicBezTo>
                      <a:pt x="44" y="23"/>
                      <a:pt x="45" y="23"/>
                      <a:pt x="45" y="23"/>
                    </a:cubicBezTo>
                    <a:cubicBezTo>
                      <a:pt x="45" y="23"/>
                      <a:pt x="44" y="22"/>
                      <a:pt x="45" y="22"/>
                    </a:cubicBezTo>
                    <a:cubicBezTo>
                      <a:pt x="45" y="22"/>
                      <a:pt x="45" y="22"/>
                      <a:pt x="45" y="21"/>
                    </a:cubicBezTo>
                    <a:cubicBezTo>
                      <a:pt x="45" y="21"/>
                      <a:pt x="46" y="21"/>
                      <a:pt x="46" y="21"/>
                    </a:cubicBezTo>
                    <a:cubicBezTo>
                      <a:pt x="46" y="20"/>
                      <a:pt x="46" y="21"/>
                      <a:pt x="47" y="20"/>
                    </a:cubicBezTo>
                    <a:cubicBezTo>
                      <a:pt x="47" y="20"/>
                      <a:pt x="46" y="19"/>
                      <a:pt x="47" y="19"/>
                    </a:cubicBezTo>
                    <a:cubicBezTo>
                      <a:pt x="47" y="18"/>
                      <a:pt x="47" y="18"/>
                      <a:pt x="47" y="18"/>
                    </a:cubicBezTo>
                    <a:cubicBezTo>
                      <a:pt x="47" y="18"/>
                      <a:pt x="48" y="17"/>
                      <a:pt x="48" y="17"/>
                    </a:cubicBezTo>
                    <a:cubicBezTo>
                      <a:pt x="48" y="16"/>
                      <a:pt x="48" y="17"/>
                      <a:pt x="48" y="16"/>
                    </a:cubicBezTo>
                    <a:cubicBezTo>
                      <a:pt x="48" y="16"/>
                      <a:pt x="49" y="16"/>
                      <a:pt x="49" y="15"/>
                    </a:cubicBezTo>
                    <a:cubicBezTo>
                      <a:pt x="49" y="15"/>
                      <a:pt x="49" y="15"/>
                      <a:pt x="49" y="14"/>
                    </a:cubicBezTo>
                    <a:cubicBezTo>
                      <a:pt x="49" y="14"/>
                      <a:pt x="49" y="14"/>
                      <a:pt x="50" y="13"/>
                    </a:cubicBezTo>
                    <a:cubicBezTo>
                      <a:pt x="50" y="13"/>
                      <a:pt x="50" y="13"/>
                      <a:pt x="50" y="13"/>
                    </a:cubicBezTo>
                    <a:cubicBezTo>
                      <a:pt x="51" y="12"/>
                      <a:pt x="50" y="12"/>
                      <a:pt x="50" y="12"/>
                    </a:cubicBezTo>
                    <a:cubicBezTo>
                      <a:pt x="50" y="11"/>
                      <a:pt x="51" y="11"/>
                      <a:pt x="52" y="11"/>
                    </a:cubicBezTo>
                    <a:cubicBezTo>
                      <a:pt x="52" y="10"/>
                      <a:pt x="52" y="10"/>
                      <a:pt x="52" y="10"/>
                    </a:cubicBezTo>
                    <a:cubicBezTo>
                      <a:pt x="52" y="9"/>
                      <a:pt x="53" y="9"/>
                      <a:pt x="53" y="9"/>
                    </a:cubicBezTo>
                    <a:cubicBezTo>
                      <a:pt x="54" y="9"/>
                      <a:pt x="54" y="9"/>
                      <a:pt x="54" y="8"/>
                    </a:cubicBezTo>
                    <a:cubicBezTo>
                      <a:pt x="54" y="8"/>
                      <a:pt x="55" y="9"/>
                      <a:pt x="55" y="9"/>
                    </a:cubicBezTo>
                    <a:cubicBezTo>
                      <a:pt x="56" y="9"/>
                      <a:pt x="56" y="8"/>
                      <a:pt x="56" y="8"/>
                    </a:cubicBezTo>
                    <a:cubicBezTo>
                      <a:pt x="57" y="8"/>
                      <a:pt x="57" y="8"/>
                      <a:pt x="57" y="8"/>
                    </a:cubicBezTo>
                    <a:cubicBezTo>
                      <a:pt x="57" y="7"/>
                      <a:pt x="57" y="7"/>
                      <a:pt x="58" y="7"/>
                    </a:cubicBezTo>
                    <a:cubicBezTo>
                      <a:pt x="57" y="6"/>
                      <a:pt x="58" y="6"/>
                      <a:pt x="57" y="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5" name="Honduras">
                <a:extLst>
                  <a:ext uri="{FF2B5EF4-FFF2-40B4-BE49-F238E27FC236}">
                    <a16:creationId xmlns:a16="http://schemas.microsoft.com/office/drawing/2014/main" id="{5600714B-00F5-75CA-60E5-D0916205D09A}"/>
                  </a:ext>
                </a:extLst>
              </p:cNvPr>
              <p:cNvSpPr>
                <a:spLocks noEditPoints="1"/>
              </p:cNvSpPr>
              <p:nvPr/>
            </p:nvSpPr>
            <p:spPr bwMode="auto">
              <a:xfrm>
                <a:off x="2656215" y="3367056"/>
                <a:ext cx="211716" cy="173490"/>
              </a:xfrm>
              <a:custGeom>
                <a:avLst/>
                <a:gdLst/>
                <a:ahLst/>
                <a:cxnLst>
                  <a:cxn ang="0">
                    <a:pos x="30" y="11"/>
                  </a:cxn>
                  <a:cxn ang="0">
                    <a:pos x="36" y="10"/>
                  </a:cxn>
                  <a:cxn ang="0">
                    <a:pos x="59" y="27"/>
                  </a:cxn>
                  <a:cxn ang="0">
                    <a:pos x="57" y="27"/>
                  </a:cxn>
                  <a:cxn ang="0">
                    <a:pos x="56" y="28"/>
                  </a:cxn>
                  <a:cxn ang="0">
                    <a:pos x="53" y="29"/>
                  </a:cxn>
                  <a:cxn ang="0">
                    <a:pos x="49" y="30"/>
                  </a:cxn>
                  <a:cxn ang="0">
                    <a:pos x="47" y="30"/>
                  </a:cxn>
                  <a:cxn ang="0">
                    <a:pos x="45" y="30"/>
                  </a:cxn>
                  <a:cxn ang="0">
                    <a:pos x="42" y="30"/>
                  </a:cxn>
                  <a:cxn ang="0">
                    <a:pos x="41" y="31"/>
                  </a:cxn>
                  <a:cxn ang="0">
                    <a:pos x="38" y="34"/>
                  </a:cxn>
                  <a:cxn ang="0">
                    <a:pos x="36" y="37"/>
                  </a:cxn>
                  <a:cxn ang="0">
                    <a:pos x="33" y="39"/>
                  </a:cxn>
                  <a:cxn ang="0">
                    <a:pos x="32" y="37"/>
                  </a:cxn>
                  <a:cxn ang="0">
                    <a:pos x="27" y="40"/>
                  </a:cxn>
                  <a:cxn ang="0">
                    <a:pos x="24" y="42"/>
                  </a:cxn>
                  <a:cxn ang="0">
                    <a:pos x="22" y="45"/>
                  </a:cxn>
                  <a:cxn ang="0">
                    <a:pos x="18" y="49"/>
                  </a:cxn>
                  <a:cxn ang="0">
                    <a:pos x="17" y="47"/>
                  </a:cxn>
                  <a:cxn ang="0">
                    <a:pos x="18" y="44"/>
                  </a:cxn>
                  <a:cxn ang="0">
                    <a:pos x="15" y="43"/>
                  </a:cxn>
                  <a:cxn ang="0">
                    <a:pos x="14" y="43"/>
                  </a:cxn>
                  <a:cxn ang="0">
                    <a:pos x="14" y="39"/>
                  </a:cxn>
                  <a:cxn ang="0">
                    <a:pos x="10" y="38"/>
                  </a:cxn>
                  <a:cxn ang="0">
                    <a:pos x="8" y="39"/>
                  </a:cxn>
                  <a:cxn ang="0">
                    <a:pos x="5" y="36"/>
                  </a:cxn>
                  <a:cxn ang="0">
                    <a:pos x="2" y="33"/>
                  </a:cxn>
                  <a:cxn ang="0">
                    <a:pos x="1" y="31"/>
                  </a:cxn>
                  <a:cxn ang="0">
                    <a:pos x="2" y="29"/>
                  </a:cxn>
                  <a:cxn ang="0">
                    <a:pos x="3" y="25"/>
                  </a:cxn>
                  <a:cxn ang="0">
                    <a:pos x="12" y="19"/>
                  </a:cxn>
                  <a:cxn ang="0">
                    <a:pos x="15" y="18"/>
                  </a:cxn>
                  <a:cxn ang="0">
                    <a:pos x="19" y="16"/>
                  </a:cxn>
                  <a:cxn ang="0">
                    <a:pos x="23" y="18"/>
                  </a:cxn>
                  <a:cxn ang="0">
                    <a:pos x="28" y="18"/>
                  </a:cxn>
                  <a:cxn ang="0">
                    <a:pos x="34" y="17"/>
                  </a:cxn>
                  <a:cxn ang="0">
                    <a:pos x="36" y="15"/>
                  </a:cxn>
                  <a:cxn ang="0">
                    <a:pos x="42" y="16"/>
                  </a:cxn>
                  <a:cxn ang="0">
                    <a:pos x="47" y="17"/>
                  </a:cxn>
                  <a:cxn ang="0">
                    <a:pos x="49" y="17"/>
                  </a:cxn>
                  <a:cxn ang="0">
                    <a:pos x="53" y="21"/>
                  </a:cxn>
                  <a:cxn ang="0">
                    <a:pos x="52" y="21"/>
                  </a:cxn>
                  <a:cxn ang="0">
                    <a:pos x="51" y="21"/>
                  </a:cxn>
                  <a:cxn ang="0">
                    <a:pos x="53" y="23"/>
                  </a:cxn>
                  <a:cxn ang="0">
                    <a:pos x="53" y="22"/>
                  </a:cxn>
                  <a:cxn ang="0">
                    <a:pos x="54" y="23"/>
                  </a:cxn>
                  <a:cxn ang="0">
                    <a:pos x="56" y="23"/>
                  </a:cxn>
                  <a:cxn ang="0">
                    <a:pos x="56" y="24"/>
                  </a:cxn>
                  <a:cxn ang="0">
                    <a:pos x="56" y="23"/>
                  </a:cxn>
                  <a:cxn ang="0">
                    <a:pos x="59" y="25"/>
                  </a:cxn>
                  <a:cxn ang="0">
                    <a:pos x="51" y="21"/>
                  </a:cxn>
                  <a:cxn ang="0">
                    <a:pos x="51" y="21"/>
                  </a:cxn>
                  <a:cxn ang="0">
                    <a:pos x="26" y="14"/>
                  </a:cxn>
                  <a:cxn ang="0">
                    <a:pos x="16" y="45"/>
                  </a:cxn>
                  <a:cxn ang="0">
                    <a:pos x="15" y="46"/>
                  </a:cxn>
                  <a:cxn ang="0">
                    <a:pos x="56" y="0"/>
                  </a:cxn>
                </a:cxnLst>
                <a:rect l="0" t="0" r="r" b="b"/>
                <a:pathLst>
                  <a:path w="60" h="49">
                    <a:moveTo>
                      <a:pt x="30" y="12"/>
                    </a:moveTo>
                    <a:cubicBezTo>
                      <a:pt x="29" y="12"/>
                      <a:pt x="29" y="12"/>
                      <a:pt x="29" y="12"/>
                    </a:cubicBezTo>
                    <a:cubicBezTo>
                      <a:pt x="28" y="12"/>
                      <a:pt x="29" y="11"/>
                      <a:pt x="30" y="11"/>
                    </a:cubicBezTo>
                    <a:cubicBezTo>
                      <a:pt x="31" y="11"/>
                      <a:pt x="32" y="10"/>
                      <a:pt x="33" y="11"/>
                    </a:cubicBezTo>
                    <a:cubicBezTo>
                      <a:pt x="32" y="11"/>
                      <a:pt x="30" y="11"/>
                      <a:pt x="30" y="12"/>
                    </a:cubicBezTo>
                    <a:close/>
                    <a:moveTo>
                      <a:pt x="36" y="10"/>
                    </a:moveTo>
                    <a:cubicBezTo>
                      <a:pt x="36" y="10"/>
                      <a:pt x="35" y="11"/>
                      <a:pt x="35" y="11"/>
                    </a:cubicBezTo>
                    <a:cubicBezTo>
                      <a:pt x="36" y="11"/>
                      <a:pt x="36" y="10"/>
                      <a:pt x="36" y="10"/>
                    </a:cubicBezTo>
                    <a:close/>
                    <a:moveTo>
                      <a:pt x="59" y="27"/>
                    </a:moveTo>
                    <a:cubicBezTo>
                      <a:pt x="59" y="26"/>
                      <a:pt x="59" y="26"/>
                      <a:pt x="58" y="26"/>
                    </a:cubicBezTo>
                    <a:cubicBezTo>
                      <a:pt x="58" y="26"/>
                      <a:pt x="58" y="26"/>
                      <a:pt x="58" y="26"/>
                    </a:cubicBezTo>
                    <a:cubicBezTo>
                      <a:pt x="58" y="26"/>
                      <a:pt x="58" y="27"/>
                      <a:pt x="57" y="27"/>
                    </a:cubicBezTo>
                    <a:cubicBezTo>
                      <a:pt x="57" y="27"/>
                      <a:pt x="57" y="26"/>
                      <a:pt x="57" y="26"/>
                    </a:cubicBezTo>
                    <a:cubicBezTo>
                      <a:pt x="57" y="26"/>
                      <a:pt x="57" y="26"/>
                      <a:pt x="57" y="27"/>
                    </a:cubicBezTo>
                    <a:cubicBezTo>
                      <a:pt x="57" y="27"/>
                      <a:pt x="56" y="28"/>
                      <a:pt x="56" y="28"/>
                    </a:cubicBezTo>
                    <a:cubicBezTo>
                      <a:pt x="55" y="28"/>
                      <a:pt x="55" y="28"/>
                      <a:pt x="55" y="28"/>
                    </a:cubicBezTo>
                    <a:cubicBezTo>
                      <a:pt x="55" y="28"/>
                      <a:pt x="55" y="28"/>
                      <a:pt x="55" y="28"/>
                    </a:cubicBezTo>
                    <a:cubicBezTo>
                      <a:pt x="54" y="28"/>
                      <a:pt x="53" y="29"/>
                      <a:pt x="53" y="29"/>
                    </a:cubicBezTo>
                    <a:cubicBezTo>
                      <a:pt x="52" y="30"/>
                      <a:pt x="51" y="29"/>
                      <a:pt x="51" y="29"/>
                    </a:cubicBezTo>
                    <a:cubicBezTo>
                      <a:pt x="51" y="29"/>
                      <a:pt x="51" y="30"/>
                      <a:pt x="50" y="29"/>
                    </a:cubicBezTo>
                    <a:cubicBezTo>
                      <a:pt x="49" y="28"/>
                      <a:pt x="49" y="30"/>
                      <a:pt x="49" y="30"/>
                    </a:cubicBezTo>
                    <a:cubicBezTo>
                      <a:pt x="49" y="30"/>
                      <a:pt x="48" y="30"/>
                      <a:pt x="48" y="30"/>
                    </a:cubicBezTo>
                    <a:cubicBezTo>
                      <a:pt x="48" y="29"/>
                      <a:pt x="48" y="30"/>
                      <a:pt x="48" y="30"/>
                    </a:cubicBezTo>
                    <a:cubicBezTo>
                      <a:pt x="47" y="31"/>
                      <a:pt x="47" y="31"/>
                      <a:pt x="47" y="30"/>
                    </a:cubicBezTo>
                    <a:cubicBezTo>
                      <a:pt x="47" y="30"/>
                      <a:pt x="47" y="30"/>
                      <a:pt x="47" y="30"/>
                    </a:cubicBezTo>
                    <a:cubicBezTo>
                      <a:pt x="46" y="30"/>
                      <a:pt x="46" y="30"/>
                      <a:pt x="46" y="30"/>
                    </a:cubicBezTo>
                    <a:cubicBezTo>
                      <a:pt x="46" y="30"/>
                      <a:pt x="45" y="30"/>
                      <a:pt x="45" y="30"/>
                    </a:cubicBezTo>
                    <a:cubicBezTo>
                      <a:pt x="44" y="30"/>
                      <a:pt x="45" y="29"/>
                      <a:pt x="44" y="29"/>
                    </a:cubicBezTo>
                    <a:cubicBezTo>
                      <a:pt x="44" y="28"/>
                      <a:pt x="43" y="29"/>
                      <a:pt x="43" y="29"/>
                    </a:cubicBezTo>
                    <a:cubicBezTo>
                      <a:pt x="42" y="29"/>
                      <a:pt x="42" y="30"/>
                      <a:pt x="42" y="30"/>
                    </a:cubicBezTo>
                    <a:cubicBezTo>
                      <a:pt x="42" y="30"/>
                      <a:pt x="42" y="31"/>
                      <a:pt x="42" y="31"/>
                    </a:cubicBezTo>
                    <a:cubicBezTo>
                      <a:pt x="42" y="31"/>
                      <a:pt x="42" y="31"/>
                      <a:pt x="42" y="31"/>
                    </a:cubicBezTo>
                    <a:cubicBezTo>
                      <a:pt x="42" y="31"/>
                      <a:pt x="41" y="32"/>
                      <a:pt x="41" y="31"/>
                    </a:cubicBezTo>
                    <a:cubicBezTo>
                      <a:pt x="41" y="31"/>
                      <a:pt x="40" y="32"/>
                      <a:pt x="40" y="33"/>
                    </a:cubicBezTo>
                    <a:cubicBezTo>
                      <a:pt x="40" y="33"/>
                      <a:pt x="40" y="34"/>
                      <a:pt x="40" y="34"/>
                    </a:cubicBezTo>
                    <a:cubicBezTo>
                      <a:pt x="39" y="34"/>
                      <a:pt x="39" y="34"/>
                      <a:pt x="38" y="34"/>
                    </a:cubicBezTo>
                    <a:cubicBezTo>
                      <a:pt x="38" y="35"/>
                      <a:pt x="38" y="35"/>
                      <a:pt x="37" y="36"/>
                    </a:cubicBezTo>
                    <a:cubicBezTo>
                      <a:pt x="37" y="36"/>
                      <a:pt x="37" y="36"/>
                      <a:pt x="36" y="37"/>
                    </a:cubicBezTo>
                    <a:cubicBezTo>
                      <a:pt x="36" y="37"/>
                      <a:pt x="36" y="37"/>
                      <a:pt x="36" y="37"/>
                    </a:cubicBezTo>
                    <a:cubicBezTo>
                      <a:pt x="35" y="37"/>
                      <a:pt x="35" y="38"/>
                      <a:pt x="34" y="38"/>
                    </a:cubicBezTo>
                    <a:cubicBezTo>
                      <a:pt x="34" y="38"/>
                      <a:pt x="34" y="39"/>
                      <a:pt x="34" y="39"/>
                    </a:cubicBezTo>
                    <a:cubicBezTo>
                      <a:pt x="34" y="39"/>
                      <a:pt x="33" y="39"/>
                      <a:pt x="33" y="39"/>
                    </a:cubicBezTo>
                    <a:cubicBezTo>
                      <a:pt x="33" y="39"/>
                      <a:pt x="33" y="39"/>
                      <a:pt x="33" y="38"/>
                    </a:cubicBezTo>
                    <a:cubicBezTo>
                      <a:pt x="32" y="38"/>
                      <a:pt x="32" y="38"/>
                      <a:pt x="32" y="38"/>
                    </a:cubicBezTo>
                    <a:cubicBezTo>
                      <a:pt x="32" y="38"/>
                      <a:pt x="31" y="38"/>
                      <a:pt x="32" y="37"/>
                    </a:cubicBezTo>
                    <a:cubicBezTo>
                      <a:pt x="32" y="36"/>
                      <a:pt x="30" y="38"/>
                      <a:pt x="30" y="38"/>
                    </a:cubicBezTo>
                    <a:cubicBezTo>
                      <a:pt x="30" y="38"/>
                      <a:pt x="29" y="39"/>
                      <a:pt x="29" y="39"/>
                    </a:cubicBezTo>
                    <a:cubicBezTo>
                      <a:pt x="29" y="40"/>
                      <a:pt x="28" y="40"/>
                      <a:pt x="27" y="40"/>
                    </a:cubicBezTo>
                    <a:cubicBezTo>
                      <a:pt x="27" y="40"/>
                      <a:pt x="27" y="40"/>
                      <a:pt x="26" y="40"/>
                    </a:cubicBezTo>
                    <a:cubicBezTo>
                      <a:pt x="26" y="40"/>
                      <a:pt x="24" y="40"/>
                      <a:pt x="24" y="40"/>
                    </a:cubicBezTo>
                    <a:cubicBezTo>
                      <a:pt x="24" y="41"/>
                      <a:pt x="24" y="41"/>
                      <a:pt x="24" y="42"/>
                    </a:cubicBezTo>
                    <a:cubicBezTo>
                      <a:pt x="24" y="42"/>
                      <a:pt x="24" y="43"/>
                      <a:pt x="24" y="44"/>
                    </a:cubicBezTo>
                    <a:cubicBezTo>
                      <a:pt x="24" y="45"/>
                      <a:pt x="24" y="45"/>
                      <a:pt x="24" y="45"/>
                    </a:cubicBezTo>
                    <a:cubicBezTo>
                      <a:pt x="23" y="46"/>
                      <a:pt x="23" y="45"/>
                      <a:pt x="22" y="45"/>
                    </a:cubicBezTo>
                    <a:cubicBezTo>
                      <a:pt x="22" y="46"/>
                      <a:pt x="22" y="47"/>
                      <a:pt x="21" y="48"/>
                    </a:cubicBezTo>
                    <a:cubicBezTo>
                      <a:pt x="21" y="48"/>
                      <a:pt x="21" y="49"/>
                      <a:pt x="20" y="49"/>
                    </a:cubicBezTo>
                    <a:cubicBezTo>
                      <a:pt x="20" y="48"/>
                      <a:pt x="19" y="48"/>
                      <a:pt x="18" y="49"/>
                    </a:cubicBezTo>
                    <a:cubicBezTo>
                      <a:pt x="18" y="48"/>
                      <a:pt x="18" y="48"/>
                      <a:pt x="18" y="48"/>
                    </a:cubicBezTo>
                    <a:cubicBezTo>
                      <a:pt x="18" y="48"/>
                      <a:pt x="17" y="47"/>
                      <a:pt x="18" y="47"/>
                    </a:cubicBezTo>
                    <a:cubicBezTo>
                      <a:pt x="18" y="47"/>
                      <a:pt x="17" y="47"/>
                      <a:pt x="17" y="47"/>
                    </a:cubicBezTo>
                    <a:cubicBezTo>
                      <a:pt x="17" y="47"/>
                      <a:pt x="17" y="46"/>
                      <a:pt x="17" y="46"/>
                    </a:cubicBezTo>
                    <a:cubicBezTo>
                      <a:pt x="16" y="45"/>
                      <a:pt x="16" y="45"/>
                      <a:pt x="17" y="45"/>
                    </a:cubicBezTo>
                    <a:cubicBezTo>
                      <a:pt x="17" y="45"/>
                      <a:pt x="17" y="44"/>
                      <a:pt x="18" y="44"/>
                    </a:cubicBezTo>
                    <a:cubicBezTo>
                      <a:pt x="18" y="44"/>
                      <a:pt x="17" y="44"/>
                      <a:pt x="17" y="44"/>
                    </a:cubicBezTo>
                    <a:cubicBezTo>
                      <a:pt x="16" y="45"/>
                      <a:pt x="16" y="44"/>
                      <a:pt x="15" y="44"/>
                    </a:cubicBezTo>
                    <a:cubicBezTo>
                      <a:pt x="15" y="44"/>
                      <a:pt x="16" y="43"/>
                      <a:pt x="15" y="43"/>
                    </a:cubicBezTo>
                    <a:cubicBezTo>
                      <a:pt x="15" y="43"/>
                      <a:pt x="15" y="44"/>
                      <a:pt x="15" y="44"/>
                    </a:cubicBezTo>
                    <a:cubicBezTo>
                      <a:pt x="14" y="45"/>
                      <a:pt x="14" y="44"/>
                      <a:pt x="13" y="44"/>
                    </a:cubicBezTo>
                    <a:cubicBezTo>
                      <a:pt x="14" y="44"/>
                      <a:pt x="14" y="44"/>
                      <a:pt x="14" y="43"/>
                    </a:cubicBezTo>
                    <a:cubicBezTo>
                      <a:pt x="15" y="43"/>
                      <a:pt x="14" y="43"/>
                      <a:pt x="14" y="43"/>
                    </a:cubicBezTo>
                    <a:cubicBezTo>
                      <a:pt x="14" y="42"/>
                      <a:pt x="15" y="40"/>
                      <a:pt x="15" y="40"/>
                    </a:cubicBezTo>
                    <a:cubicBezTo>
                      <a:pt x="15" y="39"/>
                      <a:pt x="14" y="39"/>
                      <a:pt x="14" y="39"/>
                    </a:cubicBezTo>
                    <a:cubicBezTo>
                      <a:pt x="14" y="38"/>
                      <a:pt x="14" y="38"/>
                      <a:pt x="14" y="38"/>
                    </a:cubicBezTo>
                    <a:cubicBezTo>
                      <a:pt x="13" y="39"/>
                      <a:pt x="11" y="39"/>
                      <a:pt x="12" y="38"/>
                    </a:cubicBezTo>
                    <a:cubicBezTo>
                      <a:pt x="12" y="37"/>
                      <a:pt x="10" y="37"/>
                      <a:pt x="10" y="38"/>
                    </a:cubicBezTo>
                    <a:cubicBezTo>
                      <a:pt x="10" y="38"/>
                      <a:pt x="10" y="38"/>
                      <a:pt x="10" y="38"/>
                    </a:cubicBezTo>
                    <a:cubicBezTo>
                      <a:pt x="10" y="38"/>
                      <a:pt x="9" y="39"/>
                      <a:pt x="9" y="39"/>
                    </a:cubicBezTo>
                    <a:cubicBezTo>
                      <a:pt x="9" y="39"/>
                      <a:pt x="8" y="39"/>
                      <a:pt x="8" y="39"/>
                    </a:cubicBezTo>
                    <a:cubicBezTo>
                      <a:pt x="7" y="39"/>
                      <a:pt x="7" y="38"/>
                      <a:pt x="7" y="38"/>
                    </a:cubicBezTo>
                    <a:cubicBezTo>
                      <a:pt x="7" y="37"/>
                      <a:pt x="6" y="37"/>
                      <a:pt x="6" y="37"/>
                    </a:cubicBezTo>
                    <a:cubicBezTo>
                      <a:pt x="6" y="37"/>
                      <a:pt x="5" y="36"/>
                      <a:pt x="5" y="36"/>
                    </a:cubicBezTo>
                    <a:cubicBezTo>
                      <a:pt x="5" y="37"/>
                      <a:pt x="4" y="35"/>
                      <a:pt x="4" y="35"/>
                    </a:cubicBezTo>
                    <a:cubicBezTo>
                      <a:pt x="3" y="35"/>
                      <a:pt x="3" y="34"/>
                      <a:pt x="3" y="34"/>
                    </a:cubicBezTo>
                    <a:cubicBezTo>
                      <a:pt x="3" y="33"/>
                      <a:pt x="2" y="34"/>
                      <a:pt x="2" y="33"/>
                    </a:cubicBezTo>
                    <a:cubicBezTo>
                      <a:pt x="2" y="33"/>
                      <a:pt x="2" y="33"/>
                      <a:pt x="2" y="33"/>
                    </a:cubicBezTo>
                    <a:cubicBezTo>
                      <a:pt x="1" y="33"/>
                      <a:pt x="0" y="33"/>
                      <a:pt x="0" y="33"/>
                    </a:cubicBezTo>
                    <a:cubicBezTo>
                      <a:pt x="0" y="32"/>
                      <a:pt x="1" y="31"/>
                      <a:pt x="1" y="31"/>
                    </a:cubicBezTo>
                    <a:cubicBezTo>
                      <a:pt x="2" y="31"/>
                      <a:pt x="2" y="31"/>
                      <a:pt x="2" y="30"/>
                    </a:cubicBezTo>
                    <a:cubicBezTo>
                      <a:pt x="2" y="30"/>
                      <a:pt x="2" y="30"/>
                      <a:pt x="2" y="30"/>
                    </a:cubicBezTo>
                    <a:cubicBezTo>
                      <a:pt x="3" y="29"/>
                      <a:pt x="2" y="30"/>
                      <a:pt x="2" y="29"/>
                    </a:cubicBezTo>
                    <a:cubicBezTo>
                      <a:pt x="2" y="29"/>
                      <a:pt x="2" y="29"/>
                      <a:pt x="2" y="28"/>
                    </a:cubicBezTo>
                    <a:cubicBezTo>
                      <a:pt x="2" y="28"/>
                      <a:pt x="2" y="28"/>
                      <a:pt x="2" y="27"/>
                    </a:cubicBezTo>
                    <a:cubicBezTo>
                      <a:pt x="3" y="27"/>
                      <a:pt x="2" y="26"/>
                      <a:pt x="3" y="25"/>
                    </a:cubicBezTo>
                    <a:cubicBezTo>
                      <a:pt x="4" y="25"/>
                      <a:pt x="5" y="24"/>
                      <a:pt x="6" y="24"/>
                    </a:cubicBezTo>
                    <a:cubicBezTo>
                      <a:pt x="8" y="22"/>
                      <a:pt x="10" y="20"/>
                      <a:pt x="12" y="19"/>
                    </a:cubicBezTo>
                    <a:cubicBezTo>
                      <a:pt x="12" y="19"/>
                      <a:pt x="12" y="19"/>
                      <a:pt x="12" y="19"/>
                    </a:cubicBezTo>
                    <a:cubicBezTo>
                      <a:pt x="13" y="18"/>
                      <a:pt x="13" y="19"/>
                      <a:pt x="13" y="19"/>
                    </a:cubicBezTo>
                    <a:cubicBezTo>
                      <a:pt x="14" y="19"/>
                      <a:pt x="14" y="18"/>
                      <a:pt x="14" y="18"/>
                    </a:cubicBezTo>
                    <a:cubicBezTo>
                      <a:pt x="14" y="18"/>
                      <a:pt x="15" y="18"/>
                      <a:pt x="15" y="18"/>
                    </a:cubicBezTo>
                    <a:cubicBezTo>
                      <a:pt x="16" y="17"/>
                      <a:pt x="15" y="17"/>
                      <a:pt x="16" y="17"/>
                    </a:cubicBezTo>
                    <a:cubicBezTo>
                      <a:pt x="17" y="16"/>
                      <a:pt x="18" y="16"/>
                      <a:pt x="18" y="17"/>
                    </a:cubicBezTo>
                    <a:cubicBezTo>
                      <a:pt x="18" y="16"/>
                      <a:pt x="19" y="16"/>
                      <a:pt x="19" y="16"/>
                    </a:cubicBezTo>
                    <a:cubicBezTo>
                      <a:pt x="18" y="17"/>
                      <a:pt x="19" y="17"/>
                      <a:pt x="19" y="18"/>
                    </a:cubicBezTo>
                    <a:cubicBezTo>
                      <a:pt x="20" y="18"/>
                      <a:pt x="20" y="17"/>
                      <a:pt x="21" y="17"/>
                    </a:cubicBezTo>
                    <a:cubicBezTo>
                      <a:pt x="21" y="17"/>
                      <a:pt x="22" y="17"/>
                      <a:pt x="23" y="18"/>
                    </a:cubicBezTo>
                    <a:cubicBezTo>
                      <a:pt x="24" y="18"/>
                      <a:pt x="25" y="18"/>
                      <a:pt x="25" y="18"/>
                    </a:cubicBezTo>
                    <a:cubicBezTo>
                      <a:pt x="26" y="18"/>
                      <a:pt x="26" y="18"/>
                      <a:pt x="27" y="18"/>
                    </a:cubicBezTo>
                    <a:cubicBezTo>
                      <a:pt x="27" y="18"/>
                      <a:pt x="28" y="18"/>
                      <a:pt x="28" y="18"/>
                    </a:cubicBezTo>
                    <a:cubicBezTo>
                      <a:pt x="29" y="18"/>
                      <a:pt x="29" y="18"/>
                      <a:pt x="30" y="18"/>
                    </a:cubicBezTo>
                    <a:cubicBezTo>
                      <a:pt x="30" y="18"/>
                      <a:pt x="31" y="18"/>
                      <a:pt x="32" y="17"/>
                    </a:cubicBezTo>
                    <a:cubicBezTo>
                      <a:pt x="32" y="17"/>
                      <a:pt x="33" y="17"/>
                      <a:pt x="34" y="17"/>
                    </a:cubicBezTo>
                    <a:cubicBezTo>
                      <a:pt x="34" y="16"/>
                      <a:pt x="35" y="16"/>
                      <a:pt x="35" y="16"/>
                    </a:cubicBezTo>
                    <a:cubicBezTo>
                      <a:pt x="35" y="15"/>
                      <a:pt x="34" y="16"/>
                      <a:pt x="34" y="15"/>
                    </a:cubicBezTo>
                    <a:cubicBezTo>
                      <a:pt x="34" y="15"/>
                      <a:pt x="36" y="15"/>
                      <a:pt x="36" y="15"/>
                    </a:cubicBezTo>
                    <a:cubicBezTo>
                      <a:pt x="36" y="15"/>
                      <a:pt x="37" y="16"/>
                      <a:pt x="37" y="16"/>
                    </a:cubicBezTo>
                    <a:cubicBezTo>
                      <a:pt x="37" y="16"/>
                      <a:pt x="39" y="16"/>
                      <a:pt x="39" y="16"/>
                    </a:cubicBezTo>
                    <a:cubicBezTo>
                      <a:pt x="40" y="17"/>
                      <a:pt x="41" y="17"/>
                      <a:pt x="42" y="16"/>
                    </a:cubicBezTo>
                    <a:cubicBezTo>
                      <a:pt x="43" y="16"/>
                      <a:pt x="43" y="15"/>
                      <a:pt x="44" y="15"/>
                    </a:cubicBezTo>
                    <a:cubicBezTo>
                      <a:pt x="45" y="15"/>
                      <a:pt x="45" y="16"/>
                      <a:pt x="46" y="16"/>
                    </a:cubicBezTo>
                    <a:cubicBezTo>
                      <a:pt x="46" y="16"/>
                      <a:pt x="47" y="17"/>
                      <a:pt x="47" y="17"/>
                    </a:cubicBezTo>
                    <a:cubicBezTo>
                      <a:pt x="47" y="17"/>
                      <a:pt x="47" y="18"/>
                      <a:pt x="48" y="18"/>
                    </a:cubicBezTo>
                    <a:cubicBezTo>
                      <a:pt x="48" y="17"/>
                      <a:pt x="48" y="18"/>
                      <a:pt x="48" y="18"/>
                    </a:cubicBezTo>
                    <a:cubicBezTo>
                      <a:pt x="48" y="18"/>
                      <a:pt x="49" y="17"/>
                      <a:pt x="49" y="17"/>
                    </a:cubicBezTo>
                    <a:cubicBezTo>
                      <a:pt x="49" y="17"/>
                      <a:pt x="48" y="17"/>
                      <a:pt x="48" y="17"/>
                    </a:cubicBezTo>
                    <a:cubicBezTo>
                      <a:pt x="49" y="17"/>
                      <a:pt x="51" y="17"/>
                      <a:pt x="52" y="18"/>
                    </a:cubicBezTo>
                    <a:cubicBezTo>
                      <a:pt x="52" y="19"/>
                      <a:pt x="53" y="20"/>
                      <a:pt x="53" y="21"/>
                    </a:cubicBezTo>
                    <a:cubicBezTo>
                      <a:pt x="54" y="21"/>
                      <a:pt x="55" y="22"/>
                      <a:pt x="55" y="22"/>
                    </a:cubicBezTo>
                    <a:cubicBezTo>
                      <a:pt x="55" y="22"/>
                      <a:pt x="54" y="22"/>
                      <a:pt x="54" y="21"/>
                    </a:cubicBezTo>
                    <a:cubicBezTo>
                      <a:pt x="53" y="20"/>
                      <a:pt x="52" y="21"/>
                      <a:pt x="52" y="21"/>
                    </a:cubicBezTo>
                    <a:cubicBezTo>
                      <a:pt x="52" y="21"/>
                      <a:pt x="52" y="20"/>
                      <a:pt x="52" y="20"/>
                    </a:cubicBezTo>
                    <a:cubicBezTo>
                      <a:pt x="52" y="21"/>
                      <a:pt x="52" y="21"/>
                      <a:pt x="52" y="21"/>
                    </a:cubicBezTo>
                    <a:cubicBezTo>
                      <a:pt x="52" y="21"/>
                      <a:pt x="52" y="21"/>
                      <a:pt x="51" y="21"/>
                    </a:cubicBezTo>
                    <a:cubicBezTo>
                      <a:pt x="52" y="21"/>
                      <a:pt x="52" y="21"/>
                      <a:pt x="52" y="22"/>
                    </a:cubicBezTo>
                    <a:cubicBezTo>
                      <a:pt x="51" y="22"/>
                      <a:pt x="52" y="23"/>
                      <a:pt x="52" y="22"/>
                    </a:cubicBezTo>
                    <a:cubicBezTo>
                      <a:pt x="53" y="23"/>
                      <a:pt x="52" y="23"/>
                      <a:pt x="53" y="23"/>
                    </a:cubicBezTo>
                    <a:cubicBezTo>
                      <a:pt x="52" y="23"/>
                      <a:pt x="53" y="24"/>
                      <a:pt x="54" y="24"/>
                    </a:cubicBezTo>
                    <a:cubicBezTo>
                      <a:pt x="55" y="23"/>
                      <a:pt x="53" y="23"/>
                      <a:pt x="53" y="23"/>
                    </a:cubicBezTo>
                    <a:cubicBezTo>
                      <a:pt x="52" y="22"/>
                      <a:pt x="53" y="22"/>
                      <a:pt x="53" y="22"/>
                    </a:cubicBezTo>
                    <a:cubicBezTo>
                      <a:pt x="53" y="22"/>
                      <a:pt x="54" y="23"/>
                      <a:pt x="54" y="23"/>
                    </a:cubicBezTo>
                    <a:cubicBezTo>
                      <a:pt x="55" y="23"/>
                      <a:pt x="54" y="23"/>
                      <a:pt x="54" y="23"/>
                    </a:cubicBezTo>
                    <a:cubicBezTo>
                      <a:pt x="54" y="23"/>
                      <a:pt x="55" y="23"/>
                      <a:pt x="54" y="23"/>
                    </a:cubicBezTo>
                    <a:cubicBezTo>
                      <a:pt x="55" y="24"/>
                      <a:pt x="55" y="24"/>
                      <a:pt x="55" y="24"/>
                    </a:cubicBezTo>
                    <a:cubicBezTo>
                      <a:pt x="55" y="24"/>
                      <a:pt x="55" y="24"/>
                      <a:pt x="55" y="24"/>
                    </a:cubicBezTo>
                    <a:cubicBezTo>
                      <a:pt x="56" y="24"/>
                      <a:pt x="56" y="23"/>
                      <a:pt x="56" y="23"/>
                    </a:cubicBezTo>
                    <a:cubicBezTo>
                      <a:pt x="56" y="23"/>
                      <a:pt x="57" y="24"/>
                      <a:pt x="57" y="24"/>
                    </a:cubicBezTo>
                    <a:cubicBezTo>
                      <a:pt x="57" y="24"/>
                      <a:pt x="55" y="24"/>
                      <a:pt x="56" y="24"/>
                    </a:cubicBezTo>
                    <a:cubicBezTo>
                      <a:pt x="56" y="24"/>
                      <a:pt x="56" y="24"/>
                      <a:pt x="56" y="24"/>
                    </a:cubicBezTo>
                    <a:cubicBezTo>
                      <a:pt x="56" y="25"/>
                      <a:pt x="57" y="25"/>
                      <a:pt x="57" y="24"/>
                    </a:cubicBezTo>
                    <a:cubicBezTo>
                      <a:pt x="57" y="24"/>
                      <a:pt x="57" y="24"/>
                      <a:pt x="57" y="23"/>
                    </a:cubicBezTo>
                    <a:cubicBezTo>
                      <a:pt x="57" y="23"/>
                      <a:pt x="56" y="23"/>
                      <a:pt x="56" y="23"/>
                    </a:cubicBezTo>
                    <a:cubicBezTo>
                      <a:pt x="56" y="23"/>
                      <a:pt x="55" y="22"/>
                      <a:pt x="55" y="22"/>
                    </a:cubicBezTo>
                    <a:cubicBezTo>
                      <a:pt x="56" y="22"/>
                      <a:pt x="57" y="23"/>
                      <a:pt x="58" y="23"/>
                    </a:cubicBezTo>
                    <a:cubicBezTo>
                      <a:pt x="59" y="24"/>
                      <a:pt x="59" y="24"/>
                      <a:pt x="59" y="25"/>
                    </a:cubicBezTo>
                    <a:cubicBezTo>
                      <a:pt x="59" y="26"/>
                      <a:pt x="60" y="26"/>
                      <a:pt x="60" y="26"/>
                    </a:cubicBezTo>
                    <a:cubicBezTo>
                      <a:pt x="60" y="26"/>
                      <a:pt x="59" y="27"/>
                      <a:pt x="59" y="27"/>
                    </a:cubicBezTo>
                    <a:close/>
                    <a:moveTo>
                      <a:pt x="51" y="21"/>
                    </a:moveTo>
                    <a:cubicBezTo>
                      <a:pt x="51" y="20"/>
                      <a:pt x="51" y="20"/>
                      <a:pt x="51" y="20"/>
                    </a:cubicBezTo>
                    <a:cubicBezTo>
                      <a:pt x="51" y="20"/>
                      <a:pt x="51" y="21"/>
                      <a:pt x="51" y="21"/>
                    </a:cubicBezTo>
                    <a:cubicBezTo>
                      <a:pt x="51" y="21"/>
                      <a:pt x="51" y="21"/>
                      <a:pt x="51" y="21"/>
                    </a:cubicBezTo>
                    <a:close/>
                    <a:moveTo>
                      <a:pt x="26" y="14"/>
                    </a:moveTo>
                    <a:cubicBezTo>
                      <a:pt x="26" y="14"/>
                      <a:pt x="24" y="14"/>
                      <a:pt x="25" y="15"/>
                    </a:cubicBezTo>
                    <a:cubicBezTo>
                      <a:pt x="25" y="15"/>
                      <a:pt x="26" y="14"/>
                      <a:pt x="26" y="14"/>
                    </a:cubicBezTo>
                    <a:close/>
                    <a:moveTo>
                      <a:pt x="16" y="45"/>
                    </a:moveTo>
                    <a:cubicBezTo>
                      <a:pt x="16" y="45"/>
                      <a:pt x="15" y="44"/>
                      <a:pt x="16" y="44"/>
                    </a:cubicBezTo>
                    <a:cubicBezTo>
                      <a:pt x="15" y="44"/>
                      <a:pt x="15" y="45"/>
                      <a:pt x="16" y="45"/>
                    </a:cubicBezTo>
                    <a:close/>
                    <a:moveTo>
                      <a:pt x="15" y="46"/>
                    </a:moveTo>
                    <a:cubicBezTo>
                      <a:pt x="15" y="46"/>
                      <a:pt x="15" y="45"/>
                      <a:pt x="15" y="45"/>
                    </a:cubicBezTo>
                    <a:cubicBezTo>
                      <a:pt x="15" y="45"/>
                      <a:pt x="15" y="45"/>
                      <a:pt x="15" y="46"/>
                    </a:cubicBezTo>
                    <a:close/>
                    <a:moveTo>
                      <a:pt x="56" y="0"/>
                    </a:moveTo>
                    <a:cubicBezTo>
                      <a:pt x="56" y="0"/>
                      <a:pt x="56" y="0"/>
                      <a:pt x="56" y="0"/>
                    </a:cubicBezTo>
                    <a:cubicBezTo>
                      <a:pt x="56" y="0"/>
                      <a:pt x="56" y="0"/>
                      <a:pt x="56" y="0"/>
                    </a:cubicBezTo>
                    <a:cubicBezTo>
                      <a:pt x="56" y="0"/>
                      <a:pt x="56" y="0"/>
                      <a:pt x="56"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6" name="Haiti">
                <a:extLst>
                  <a:ext uri="{FF2B5EF4-FFF2-40B4-BE49-F238E27FC236}">
                    <a16:creationId xmlns:a16="http://schemas.microsoft.com/office/drawing/2014/main" id="{0437B31A-131D-8EEA-0512-4B929A859E81}"/>
                  </a:ext>
                </a:extLst>
              </p:cNvPr>
              <p:cNvSpPr>
                <a:spLocks noEditPoints="1"/>
              </p:cNvSpPr>
              <p:nvPr/>
            </p:nvSpPr>
            <p:spPr bwMode="auto">
              <a:xfrm>
                <a:off x="3179622" y="3260218"/>
                <a:ext cx="98997" cy="82333"/>
              </a:xfrm>
              <a:custGeom>
                <a:avLst/>
                <a:gdLst/>
                <a:ahLst/>
                <a:cxnLst>
                  <a:cxn ang="0">
                    <a:pos x="12" y="14"/>
                  </a:cxn>
                  <a:cxn ang="0">
                    <a:pos x="14" y="13"/>
                  </a:cxn>
                  <a:cxn ang="0">
                    <a:pos x="16" y="16"/>
                  </a:cxn>
                  <a:cxn ang="0">
                    <a:pos x="13" y="15"/>
                  </a:cxn>
                  <a:cxn ang="0">
                    <a:pos x="28" y="11"/>
                  </a:cxn>
                  <a:cxn ang="0">
                    <a:pos x="28" y="5"/>
                  </a:cxn>
                  <a:cxn ang="0">
                    <a:pos x="26" y="5"/>
                  </a:cxn>
                  <a:cxn ang="0">
                    <a:pos x="25" y="5"/>
                  </a:cxn>
                  <a:cxn ang="0">
                    <a:pos x="23" y="4"/>
                  </a:cxn>
                  <a:cxn ang="0">
                    <a:pos x="22" y="4"/>
                  </a:cxn>
                  <a:cxn ang="0">
                    <a:pos x="22" y="4"/>
                  </a:cxn>
                  <a:cxn ang="0">
                    <a:pos x="19" y="2"/>
                  </a:cxn>
                  <a:cxn ang="0">
                    <a:pos x="14" y="2"/>
                  </a:cxn>
                  <a:cxn ang="0">
                    <a:pos x="12" y="3"/>
                  </a:cxn>
                  <a:cxn ang="0">
                    <a:pos x="13" y="5"/>
                  </a:cxn>
                  <a:cxn ang="0">
                    <a:pos x="16" y="6"/>
                  </a:cxn>
                  <a:cxn ang="0">
                    <a:pos x="18" y="7"/>
                  </a:cxn>
                  <a:cxn ang="0">
                    <a:pos x="17" y="8"/>
                  </a:cxn>
                  <a:cxn ang="0">
                    <a:pos x="17" y="11"/>
                  </a:cxn>
                  <a:cxn ang="0">
                    <a:pos x="18" y="13"/>
                  </a:cxn>
                  <a:cxn ang="0">
                    <a:pos x="21" y="16"/>
                  </a:cxn>
                  <a:cxn ang="0">
                    <a:pos x="20" y="17"/>
                  </a:cxn>
                  <a:cxn ang="0">
                    <a:pos x="17" y="19"/>
                  </a:cxn>
                  <a:cxn ang="0">
                    <a:pos x="13" y="19"/>
                  </a:cxn>
                  <a:cxn ang="0">
                    <a:pos x="10" y="18"/>
                  </a:cxn>
                  <a:cxn ang="0">
                    <a:pos x="8" y="17"/>
                  </a:cxn>
                  <a:cxn ang="0">
                    <a:pos x="7" y="17"/>
                  </a:cxn>
                  <a:cxn ang="0">
                    <a:pos x="3" y="16"/>
                  </a:cxn>
                  <a:cxn ang="0">
                    <a:pos x="0" y="18"/>
                  </a:cxn>
                  <a:cxn ang="0">
                    <a:pos x="1" y="20"/>
                  </a:cxn>
                  <a:cxn ang="0">
                    <a:pos x="4" y="22"/>
                  </a:cxn>
                  <a:cxn ang="0">
                    <a:pos x="6" y="23"/>
                  </a:cxn>
                  <a:cxn ang="0">
                    <a:pos x="8" y="21"/>
                  </a:cxn>
                  <a:cxn ang="0">
                    <a:pos x="8" y="21"/>
                  </a:cxn>
                  <a:cxn ang="0">
                    <a:pos x="9" y="21"/>
                  </a:cxn>
                  <a:cxn ang="0">
                    <a:pos x="10" y="21"/>
                  </a:cxn>
                  <a:cxn ang="0">
                    <a:pos x="13" y="21"/>
                  </a:cxn>
                  <a:cxn ang="0">
                    <a:pos x="17" y="21"/>
                  </a:cxn>
                  <a:cxn ang="0">
                    <a:pos x="19" y="21"/>
                  </a:cxn>
                  <a:cxn ang="0">
                    <a:pos x="24" y="22"/>
                  </a:cxn>
                  <a:cxn ang="0">
                    <a:pos x="26" y="21"/>
                  </a:cxn>
                  <a:cxn ang="0">
                    <a:pos x="24" y="19"/>
                  </a:cxn>
                  <a:cxn ang="0">
                    <a:pos x="24" y="17"/>
                  </a:cxn>
                  <a:cxn ang="0">
                    <a:pos x="27" y="15"/>
                  </a:cxn>
                  <a:cxn ang="0">
                    <a:pos x="27" y="12"/>
                  </a:cxn>
                  <a:cxn ang="0">
                    <a:pos x="18" y="1"/>
                  </a:cxn>
                  <a:cxn ang="0">
                    <a:pos x="19" y="1"/>
                  </a:cxn>
                  <a:cxn ang="0">
                    <a:pos x="7" y="17"/>
                  </a:cxn>
                  <a:cxn ang="0">
                    <a:pos x="7" y="17"/>
                  </a:cxn>
                  <a:cxn ang="0">
                    <a:pos x="8" y="23"/>
                  </a:cxn>
                </a:cxnLst>
                <a:rect l="0" t="0" r="r" b="b"/>
                <a:pathLst>
                  <a:path w="28" h="23">
                    <a:moveTo>
                      <a:pt x="13" y="15"/>
                    </a:moveTo>
                    <a:cubicBezTo>
                      <a:pt x="13" y="14"/>
                      <a:pt x="12" y="14"/>
                      <a:pt x="12" y="14"/>
                    </a:cubicBezTo>
                    <a:cubicBezTo>
                      <a:pt x="12" y="14"/>
                      <a:pt x="12" y="13"/>
                      <a:pt x="12" y="13"/>
                    </a:cubicBezTo>
                    <a:cubicBezTo>
                      <a:pt x="13" y="13"/>
                      <a:pt x="13" y="13"/>
                      <a:pt x="14" y="13"/>
                    </a:cubicBezTo>
                    <a:cubicBezTo>
                      <a:pt x="14" y="13"/>
                      <a:pt x="15" y="14"/>
                      <a:pt x="15" y="14"/>
                    </a:cubicBezTo>
                    <a:cubicBezTo>
                      <a:pt x="15" y="14"/>
                      <a:pt x="17" y="15"/>
                      <a:pt x="16" y="16"/>
                    </a:cubicBezTo>
                    <a:cubicBezTo>
                      <a:pt x="16" y="15"/>
                      <a:pt x="15" y="15"/>
                      <a:pt x="15" y="15"/>
                    </a:cubicBezTo>
                    <a:cubicBezTo>
                      <a:pt x="14" y="15"/>
                      <a:pt x="14" y="15"/>
                      <a:pt x="13" y="15"/>
                    </a:cubicBezTo>
                    <a:close/>
                    <a:moveTo>
                      <a:pt x="27" y="12"/>
                    </a:moveTo>
                    <a:cubicBezTo>
                      <a:pt x="27" y="12"/>
                      <a:pt x="28" y="11"/>
                      <a:pt x="28" y="11"/>
                    </a:cubicBezTo>
                    <a:cubicBezTo>
                      <a:pt x="28" y="10"/>
                      <a:pt x="26" y="9"/>
                      <a:pt x="27" y="9"/>
                    </a:cubicBezTo>
                    <a:cubicBezTo>
                      <a:pt x="28" y="8"/>
                      <a:pt x="28" y="6"/>
                      <a:pt x="28" y="5"/>
                    </a:cubicBezTo>
                    <a:cubicBezTo>
                      <a:pt x="28" y="4"/>
                      <a:pt x="26" y="5"/>
                      <a:pt x="27" y="5"/>
                    </a:cubicBezTo>
                    <a:cubicBezTo>
                      <a:pt x="27" y="5"/>
                      <a:pt x="26" y="5"/>
                      <a:pt x="26" y="5"/>
                    </a:cubicBezTo>
                    <a:cubicBezTo>
                      <a:pt x="26" y="5"/>
                      <a:pt x="27" y="5"/>
                      <a:pt x="26" y="5"/>
                    </a:cubicBezTo>
                    <a:cubicBezTo>
                      <a:pt x="26" y="4"/>
                      <a:pt x="25" y="5"/>
                      <a:pt x="25" y="5"/>
                    </a:cubicBezTo>
                    <a:cubicBezTo>
                      <a:pt x="24" y="5"/>
                      <a:pt x="24" y="4"/>
                      <a:pt x="24" y="4"/>
                    </a:cubicBezTo>
                    <a:cubicBezTo>
                      <a:pt x="24" y="4"/>
                      <a:pt x="23" y="4"/>
                      <a:pt x="23" y="4"/>
                    </a:cubicBezTo>
                    <a:cubicBezTo>
                      <a:pt x="23" y="4"/>
                      <a:pt x="23" y="4"/>
                      <a:pt x="23" y="4"/>
                    </a:cubicBezTo>
                    <a:cubicBezTo>
                      <a:pt x="23" y="4"/>
                      <a:pt x="22" y="4"/>
                      <a:pt x="22" y="4"/>
                    </a:cubicBezTo>
                    <a:cubicBezTo>
                      <a:pt x="22" y="4"/>
                      <a:pt x="22" y="4"/>
                      <a:pt x="22" y="5"/>
                    </a:cubicBezTo>
                    <a:cubicBezTo>
                      <a:pt x="22" y="5"/>
                      <a:pt x="22" y="4"/>
                      <a:pt x="22" y="4"/>
                    </a:cubicBezTo>
                    <a:cubicBezTo>
                      <a:pt x="22" y="4"/>
                      <a:pt x="21" y="4"/>
                      <a:pt x="21" y="3"/>
                    </a:cubicBezTo>
                    <a:cubicBezTo>
                      <a:pt x="20" y="3"/>
                      <a:pt x="19" y="2"/>
                      <a:pt x="19" y="2"/>
                    </a:cubicBezTo>
                    <a:cubicBezTo>
                      <a:pt x="18" y="2"/>
                      <a:pt x="17" y="2"/>
                      <a:pt x="16" y="2"/>
                    </a:cubicBezTo>
                    <a:cubicBezTo>
                      <a:pt x="16" y="3"/>
                      <a:pt x="15" y="2"/>
                      <a:pt x="14" y="2"/>
                    </a:cubicBezTo>
                    <a:cubicBezTo>
                      <a:pt x="14" y="3"/>
                      <a:pt x="13" y="3"/>
                      <a:pt x="12" y="3"/>
                    </a:cubicBezTo>
                    <a:cubicBezTo>
                      <a:pt x="12" y="4"/>
                      <a:pt x="12" y="4"/>
                      <a:pt x="12" y="3"/>
                    </a:cubicBezTo>
                    <a:cubicBezTo>
                      <a:pt x="12" y="4"/>
                      <a:pt x="10" y="5"/>
                      <a:pt x="12" y="6"/>
                    </a:cubicBezTo>
                    <a:cubicBezTo>
                      <a:pt x="12" y="6"/>
                      <a:pt x="13" y="6"/>
                      <a:pt x="13" y="5"/>
                    </a:cubicBezTo>
                    <a:cubicBezTo>
                      <a:pt x="14" y="5"/>
                      <a:pt x="14" y="6"/>
                      <a:pt x="15" y="6"/>
                    </a:cubicBezTo>
                    <a:cubicBezTo>
                      <a:pt x="15" y="6"/>
                      <a:pt x="16" y="6"/>
                      <a:pt x="16" y="6"/>
                    </a:cubicBezTo>
                    <a:cubicBezTo>
                      <a:pt x="16" y="6"/>
                      <a:pt x="17" y="7"/>
                      <a:pt x="17" y="7"/>
                    </a:cubicBezTo>
                    <a:cubicBezTo>
                      <a:pt x="17" y="7"/>
                      <a:pt x="18" y="8"/>
                      <a:pt x="18" y="7"/>
                    </a:cubicBezTo>
                    <a:cubicBezTo>
                      <a:pt x="18" y="7"/>
                      <a:pt x="18" y="8"/>
                      <a:pt x="18" y="8"/>
                    </a:cubicBezTo>
                    <a:cubicBezTo>
                      <a:pt x="18" y="8"/>
                      <a:pt x="18" y="8"/>
                      <a:pt x="17" y="8"/>
                    </a:cubicBezTo>
                    <a:cubicBezTo>
                      <a:pt x="17" y="9"/>
                      <a:pt x="18" y="9"/>
                      <a:pt x="18" y="9"/>
                    </a:cubicBezTo>
                    <a:cubicBezTo>
                      <a:pt x="17" y="9"/>
                      <a:pt x="17" y="10"/>
                      <a:pt x="17" y="11"/>
                    </a:cubicBezTo>
                    <a:cubicBezTo>
                      <a:pt x="18" y="11"/>
                      <a:pt x="18" y="11"/>
                      <a:pt x="17" y="11"/>
                    </a:cubicBezTo>
                    <a:cubicBezTo>
                      <a:pt x="16" y="12"/>
                      <a:pt x="17" y="13"/>
                      <a:pt x="18" y="13"/>
                    </a:cubicBezTo>
                    <a:cubicBezTo>
                      <a:pt x="18" y="14"/>
                      <a:pt x="19" y="15"/>
                      <a:pt x="20" y="15"/>
                    </a:cubicBezTo>
                    <a:cubicBezTo>
                      <a:pt x="20" y="16"/>
                      <a:pt x="21" y="16"/>
                      <a:pt x="21" y="16"/>
                    </a:cubicBezTo>
                    <a:cubicBezTo>
                      <a:pt x="21" y="16"/>
                      <a:pt x="20" y="17"/>
                      <a:pt x="20" y="17"/>
                    </a:cubicBezTo>
                    <a:cubicBezTo>
                      <a:pt x="20" y="18"/>
                      <a:pt x="20" y="17"/>
                      <a:pt x="20" y="17"/>
                    </a:cubicBezTo>
                    <a:cubicBezTo>
                      <a:pt x="19" y="17"/>
                      <a:pt x="18" y="17"/>
                      <a:pt x="18" y="17"/>
                    </a:cubicBezTo>
                    <a:cubicBezTo>
                      <a:pt x="17" y="17"/>
                      <a:pt x="17" y="18"/>
                      <a:pt x="17" y="19"/>
                    </a:cubicBezTo>
                    <a:cubicBezTo>
                      <a:pt x="16" y="19"/>
                      <a:pt x="16" y="19"/>
                      <a:pt x="15" y="19"/>
                    </a:cubicBezTo>
                    <a:cubicBezTo>
                      <a:pt x="14" y="18"/>
                      <a:pt x="14" y="18"/>
                      <a:pt x="13" y="19"/>
                    </a:cubicBezTo>
                    <a:cubicBezTo>
                      <a:pt x="13" y="19"/>
                      <a:pt x="13" y="18"/>
                      <a:pt x="12" y="18"/>
                    </a:cubicBezTo>
                    <a:cubicBezTo>
                      <a:pt x="11" y="18"/>
                      <a:pt x="11" y="18"/>
                      <a:pt x="10" y="18"/>
                    </a:cubicBezTo>
                    <a:cubicBezTo>
                      <a:pt x="9" y="18"/>
                      <a:pt x="9" y="18"/>
                      <a:pt x="8" y="18"/>
                    </a:cubicBezTo>
                    <a:cubicBezTo>
                      <a:pt x="8" y="18"/>
                      <a:pt x="7" y="17"/>
                      <a:pt x="8" y="17"/>
                    </a:cubicBezTo>
                    <a:cubicBezTo>
                      <a:pt x="8" y="17"/>
                      <a:pt x="8" y="18"/>
                      <a:pt x="9" y="17"/>
                    </a:cubicBezTo>
                    <a:cubicBezTo>
                      <a:pt x="9" y="17"/>
                      <a:pt x="7" y="17"/>
                      <a:pt x="7" y="17"/>
                    </a:cubicBezTo>
                    <a:cubicBezTo>
                      <a:pt x="6" y="17"/>
                      <a:pt x="5" y="17"/>
                      <a:pt x="4" y="17"/>
                    </a:cubicBezTo>
                    <a:cubicBezTo>
                      <a:pt x="4" y="16"/>
                      <a:pt x="3" y="16"/>
                      <a:pt x="3" y="16"/>
                    </a:cubicBezTo>
                    <a:cubicBezTo>
                      <a:pt x="2" y="16"/>
                      <a:pt x="1" y="15"/>
                      <a:pt x="1" y="17"/>
                    </a:cubicBezTo>
                    <a:cubicBezTo>
                      <a:pt x="0" y="17"/>
                      <a:pt x="0" y="17"/>
                      <a:pt x="0" y="18"/>
                    </a:cubicBezTo>
                    <a:cubicBezTo>
                      <a:pt x="0" y="19"/>
                      <a:pt x="0" y="19"/>
                      <a:pt x="0" y="19"/>
                    </a:cubicBezTo>
                    <a:cubicBezTo>
                      <a:pt x="0" y="20"/>
                      <a:pt x="1" y="20"/>
                      <a:pt x="1" y="20"/>
                    </a:cubicBezTo>
                    <a:cubicBezTo>
                      <a:pt x="2" y="20"/>
                      <a:pt x="2" y="20"/>
                      <a:pt x="3" y="20"/>
                    </a:cubicBezTo>
                    <a:cubicBezTo>
                      <a:pt x="3" y="21"/>
                      <a:pt x="4" y="21"/>
                      <a:pt x="4" y="22"/>
                    </a:cubicBezTo>
                    <a:cubicBezTo>
                      <a:pt x="4" y="22"/>
                      <a:pt x="5" y="23"/>
                      <a:pt x="5" y="23"/>
                    </a:cubicBezTo>
                    <a:cubicBezTo>
                      <a:pt x="5" y="23"/>
                      <a:pt x="6" y="23"/>
                      <a:pt x="6" y="23"/>
                    </a:cubicBezTo>
                    <a:cubicBezTo>
                      <a:pt x="6" y="22"/>
                      <a:pt x="5" y="22"/>
                      <a:pt x="6" y="22"/>
                    </a:cubicBezTo>
                    <a:cubicBezTo>
                      <a:pt x="6" y="21"/>
                      <a:pt x="7" y="21"/>
                      <a:pt x="8" y="21"/>
                    </a:cubicBezTo>
                    <a:cubicBezTo>
                      <a:pt x="7" y="21"/>
                      <a:pt x="7" y="21"/>
                      <a:pt x="7" y="21"/>
                    </a:cubicBezTo>
                    <a:cubicBezTo>
                      <a:pt x="8" y="21"/>
                      <a:pt x="8" y="21"/>
                      <a:pt x="8" y="21"/>
                    </a:cubicBezTo>
                    <a:cubicBezTo>
                      <a:pt x="8" y="21"/>
                      <a:pt x="8" y="21"/>
                      <a:pt x="8" y="21"/>
                    </a:cubicBezTo>
                    <a:cubicBezTo>
                      <a:pt x="8" y="20"/>
                      <a:pt x="8" y="21"/>
                      <a:pt x="9" y="21"/>
                    </a:cubicBezTo>
                    <a:cubicBezTo>
                      <a:pt x="9" y="21"/>
                      <a:pt x="10" y="20"/>
                      <a:pt x="11" y="21"/>
                    </a:cubicBezTo>
                    <a:cubicBezTo>
                      <a:pt x="11" y="21"/>
                      <a:pt x="10" y="21"/>
                      <a:pt x="10" y="21"/>
                    </a:cubicBezTo>
                    <a:cubicBezTo>
                      <a:pt x="11" y="21"/>
                      <a:pt x="11" y="21"/>
                      <a:pt x="12" y="21"/>
                    </a:cubicBezTo>
                    <a:cubicBezTo>
                      <a:pt x="12" y="21"/>
                      <a:pt x="12" y="21"/>
                      <a:pt x="13" y="21"/>
                    </a:cubicBezTo>
                    <a:cubicBezTo>
                      <a:pt x="13" y="21"/>
                      <a:pt x="14" y="22"/>
                      <a:pt x="15" y="22"/>
                    </a:cubicBezTo>
                    <a:cubicBezTo>
                      <a:pt x="16" y="22"/>
                      <a:pt x="16" y="21"/>
                      <a:pt x="17" y="21"/>
                    </a:cubicBezTo>
                    <a:cubicBezTo>
                      <a:pt x="17" y="22"/>
                      <a:pt x="18" y="22"/>
                      <a:pt x="18" y="21"/>
                    </a:cubicBezTo>
                    <a:cubicBezTo>
                      <a:pt x="18" y="21"/>
                      <a:pt x="18" y="21"/>
                      <a:pt x="19" y="21"/>
                    </a:cubicBezTo>
                    <a:cubicBezTo>
                      <a:pt x="20" y="21"/>
                      <a:pt x="22" y="21"/>
                      <a:pt x="23" y="21"/>
                    </a:cubicBezTo>
                    <a:cubicBezTo>
                      <a:pt x="23" y="21"/>
                      <a:pt x="24" y="21"/>
                      <a:pt x="24" y="22"/>
                    </a:cubicBezTo>
                    <a:cubicBezTo>
                      <a:pt x="25" y="22"/>
                      <a:pt x="25" y="23"/>
                      <a:pt x="25" y="23"/>
                    </a:cubicBezTo>
                    <a:cubicBezTo>
                      <a:pt x="26" y="22"/>
                      <a:pt x="25" y="21"/>
                      <a:pt x="26" y="21"/>
                    </a:cubicBezTo>
                    <a:cubicBezTo>
                      <a:pt x="26" y="20"/>
                      <a:pt x="26" y="20"/>
                      <a:pt x="25" y="19"/>
                    </a:cubicBezTo>
                    <a:cubicBezTo>
                      <a:pt x="25" y="19"/>
                      <a:pt x="25" y="19"/>
                      <a:pt x="24" y="19"/>
                    </a:cubicBezTo>
                    <a:cubicBezTo>
                      <a:pt x="24" y="18"/>
                      <a:pt x="25" y="18"/>
                      <a:pt x="25" y="18"/>
                    </a:cubicBezTo>
                    <a:cubicBezTo>
                      <a:pt x="24" y="18"/>
                      <a:pt x="23" y="17"/>
                      <a:pt x="24" y="17"/>
                    </a:cubicBezTo>
                    <a:cubicBezTo>
                      <a:pt x="24" y="16"/>
                      <a:pt x="25" y="17"/>
                      <a:pt x="25" y="16"/>
                    </a:cubicBezTo>
                    <a:cubicBezTo>
                      <a:pt x="26" y="16"/>
                      <a:pt x="27" y="16"/>
                      <a:pt x="27" y="15"/>
                    </a:cubicBezTo>
                    <a:cubicBezTo>
                      <a:pt x="27" y="14"/>
                      <a:pt x="27" y="12"/>
                      <a:pt x="26" y="13"/>
                    </a:cubicBezTo>
                    <a:cubicBezTo>
                      <a:pt x="26" y="13"/>
                      <a:pt x="26" y="12"/>
                      <a:pt x="27" y="12"/>
                    </a:cubicBezTo>
                    <a:close/>
                    <a:moveTo>
                      <a:pt x="19" y="1"/>
                    </a:moveTo>
                    <a:cubicBezTo>
                      <a:pt x="19" y="1"/>
                      <a:pt x="18" y="1"/>
                      <a:pt x="18" y="1"/>
                    </a:cubicBezTo>
                    <a:cubicBezTo>
                      <a:pt x="17" y="0"/>
                      <a:pt x="16" y="1"/>
                      <a:pt x="17" y="1"/>
                    </a:cubicBezTo>
                    <a:cubicBezTo>
                      <a:pt x="17" y="1"/>
                      <a:pt x="18" y="1"/>
                      <a:pt x="19" y="1"/>
                    </a:cubicBezTo>
                    <a:cubicBezTo>
                      <a:pt x="19" y="2"/>
                      <a:pt x="20" y="1"/>
                      <a:pt x="19" y="1"/>
                    </a:cubicBezTo>
                    <a:close/>
                    <a:moveTo>
                      <a:pt x="7" y="17"/>
                    </a:moveTo>
                    <a:cubicBezTo>
                      <a:pt x="8" y="17"/>
                      <a:pt x="7" y="16"/>
                      <a:pt x="7" y="16"/>
                    </a:cubicBezTo>
                    <a:cubicBezTo>
                      <a:pt x="6" y="17"/>
                      <a:pt x="7" y="17"/>
                      <a:pt x="7" y="17"/>
                    </a:cubicBezTo>
                    <a:close/>
                    <a:moveTo>
                      <a:pt x="7" y="22"/>
                    </a:moveTo>
                    <a:cubicBezTo>
                      <a:pt x="7" y="23"/>
                      <a:pt x="8" y="23"/>
                      <a:pt x="8" y="23"/>
                    </a:cubicBezTo>
                    <a:cubicBezTo>
                      <a:pt x="8" y="22"/>
                      <a:pt x="7" y="22"/>
                      <a:pt x="7" y="2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7" name="Guyana">
                <a:extLst>
                  <a:ext uri="{FF2B5EF4-FFF2-40B4-BE49-F238E27FC236}">
                    <a16:creationId xmlns:a16="http://schemas.microsoft.com/office/drawing/2014/main" id="{058DCDE0-91CB-AEBF-2941-86A694173D3D}"/>
                  </a:ext>
                </a:extLst>
              </p:cNvPr>
              <p:cNvSpPr>
                <a:spLocks/>
              </p:cNvSpPr>
              <p:nvPr/>
            </p:nvSpPr>
            <p:spPr bwMode="auto">
              <a:xfrm>
                <a:off x="3587371" y="3711095"/>
                <a:ext cx="165648" cy="290129"/>
              </a:xfrm>
              <a:custGeom>
                <a:avLst/>
                <a:gdLst/>
                <a:ahLst/>
                <a:cxnLst>
                  <a:cxn ang="0">
                    <a:pos x="44" y="69"/>
                  </a:cxn>
                  <a:cxn ang="0">
                    <a:pos x="43" y="68"/>
                  </a:cxn>
                  <a:cxn ang="0">
                    <a:pos x="41" y="62"/>
                  </a:cxn>
                  <a:cxn ang="0">
                    <a:pos x="39" y="57"/>
                  </a:cxn>
                  <a:cxn ang="0">
                    <a:pos x="38" y="57"/>
                  </a:cxn>
                  <a:cxn ang="0">
                    <a:pos x="35" y="55"/>
                  </a:cxn>
                  <a:cxn ang="0">
                    <a:pos x="32" y="49"/>
                  </a:cxn>
                  <a:cxn ang="0">
                    <a:pos x="34" y="44"/>
                  </a:cxn>
                  <a:cxn ang="0">
                    <a:pos x="35" y="40"/>
                  </a:cxn>
                  <a:cxn ang="0">
                    <a:pos x="39" y="39"/>
                  </a:cxn>
                  <a:cxn ang="0">
                    <a:pos x="40" y="38"/>
                  </a:cxn>
                  <a:cxn ang="0">
                    <a:pos x="40" y="37"/>
                  </a:cxn>
                  <a:cxn ang="0">
                    <a:pos x="41" y="32"/>
                  </a:cxn>
                  <a:cxn ang="0">
                    <a:pos x="39" y="25"/>
                  </a:cxn>
                  <a:cxn ang="0">
                    <a:pos x="34" y="19"/>
                  </a:cxn>
                  <a:cxn ang="0">
                    <a:pos x="28" y="23"/>
                  </a:cxn>
                  <a:cxn ang="0">
                    <a:pos x="29" y="18"/>
                  </a:cxn>
                  <a:cxn ang="0">
                    <a:pos x="27" y="10"/>
                  </a:cxn>
                  <a:cxn ang="0">
                    <a:pos x="25" y="7"/>
                  </a:cxn>
                  <a:cxn ang="0">
                    <a:pos x="19" y="2"/>
                  </a:cxn>
                  <a:cxn ang="0">
                    <a:pos x="18" y="3"/>
                  </a:cxn>
                  <a:cxn ang="0">
                    <a:pos x="16" y="4"/>
                  </a:cxn>
                  <a:cxn ang="0">
                    <a:pos x="11" y="8"/>
                  </a:cxn>
                  <a:cxn ang="0">
                    <a:pos x="9" y="11"/>
                  </a:cxn>
                  <a:cxn ang="0">
                    <a:pos x="8" y="12"/>
                  </a:cxn>
                  <a:cxn ang="0">
                    <a:pos x="9" y="14"/>
                  </a:cxn>
                  <a:cxn ang="0">
                    <a:pos x="12" y="16"/>
                  </a:cxn>
                  <a:cxn ang="0">
                    <a:pos x="9" y="19"/>
                  </a:cxn>
                  <a:cxn ang="0">
                    <a:pos x="5" y="20"/>
                  </a:cxn>
                  <a:cxn ang="0">
                    <a:pos x="3" y="24"/>
                  </a:cxn>
                  <a:cxn ang="0">
                    <a:pos x="1" y="28"/>
                  </a:cxn>
                  <a:cxn ang="0">
                    <a:pos x="5" y="35"/>
                  </a:cxn>
                  <a:cxn ang="0">
                    <a:pos x="9" y="37"/>
                  </a:cxn>
                  <a:cxn ang="0">
                    <a:pos x="11" y="37"/>
                  </a:cxn>
                  <a:cxn ang="0">
                    <a:pos x="14" y="38"/>
                  </a:cxn>
                  <a:cxn ang="0">
                    <a:pos x="13" y="45"/>
                  </a:cxn>
                  <a:cxn ang="0">
                    <a:pos x="16" y="45"/>
                  </a:cxn>
                  <a:cxn ang="0">
                    <a:pos x="17" y="49"/>
                  </a:cxn>
                  <a:cxn ang="0">
                    <a:pos x="18" y="51"/>
                  </a:cxn>
                  <a:cxn ang="0">
                    <a:pos x="18" y="52"/>
                  </a:cxn>
                  <a:cxn ang="0">
                    <a:pos x="15" y="55"/>
                  </a:cxn>
                  <a:cxn ang="0">
                    <a:pos x="14" y="60"/>
                  </a:cxn>
                  <a:cxn ang="0">
                    <a:pos x="13" y="63"/>
                  </a:cxn>
                  <a:cxn ang="0">
                    <a:pos x="16" y="70"/>
                  </a:cxn>
                  <a:cxn ang="0">
                    <a:pos x="16" y="74"/>
                  </a:cxn>
                  <a:cxn ang="0">
                    <a:pos x="19" y="77"/>
                  </a:cxn>
                  <a:cxn ang="0">
                    <a:pos x="23" y="80"/>
                  </a:cxn>
                  <a:cxn ang="0">
                    <a:pos x="26" y="80"/>
                  </a:cxn>
                  <a:cxn ang="0">
                    <a:pos x="30" y="77"/>
                  </a:cxn>
                  <a:cxn ang="0">
                    <a:pos x="33" y="76"/>
                  </a:cxn>
                  <a:cxn ang="0">
                    <a:pos x="37" y="75"/>
                  </a:cxn>
                  <a:cxn ang="0">
                    <a:pos x="40" y="73"/>
                  </a:cxn>
                  <a:cxn ang="0">
                    <a:pos x="43" y="73"/>
                  </a:cxn>
                  <a:cxn ang="0">
                    <a:pos x="47" y="73"/>
                  </a:cxn>
                </a:cxnLst>
                <a:rect l="0" t="0" r="r" b="b"/>
                <a:pathLst>
                  <a:path w="47" h="82">
                    <a:moveTo>
                      <a:pt x="45" y="72"/>
                    </a:moveTo>
                    <a:cubicBezTo>
                      <a:pt x="45" y="71"/>
                      <a:pt x="44" y="71"/>
                      <a:pt x="44" y="70"/>
                    </a:cubicBezTo>
                    <a:cubicBezTo>
                      <a:pt x="44" y="70"/>
                      <a:pt x="44" y="69"/>
                      <a:pt x="44" y="69"/>
                    </a:cubicBezTo>
                    <a:cubicBezTo>
                      <a:pt x="44" y="69"/>
                      <a:pt x="44" y="69"/>
                      <a:pt x="44" y="69"/>
                    </a:cubicBezTo>
                    <a:cubicBezTo>
                      <a:pt x="43" y="69"/>
                      <a:pt x="44" y="68"/>
                      <a:pt x="43" y="68"/>
                    </a:cubicBezTo>
                    <a:cubicBezTo>
                      <a:pt x="43" y="68"/>
                      <a:pt x="43" y="68"/>
                      <a:pt x="43" y="68"/>
                    </a:cubicBezTo>
                    <a:cubicBezTo>
                      <a:pt x="43" y="67"/>
                      <a:pt x="43" y="67"/>
                      <a:pt x="42" y="66"/>
                    </a:cubicBezTo>
                    <a:cubicBezTo>
                      <a:pt x="42" y="65"/>
                      <a:pt x="42" y="64"/>
                      <a:pt x="41" y="63"/>
                    </a:cubicBezTo>
                    <a:cubicBezTo>
                      <a:pt x="40" y="63"/>
                      <a:pt x="41" y="63"/>
                      <a:pt x="41" y="62"/>
                    </a:cubicBezTo>
                    <a:cubicBezTo>
                      <a:pt x="40" y="62"/>
                      <a:pt x="40" y="61"/>
                      <a:pt x="40" y="61"/>
                    </a:cubicBezTo>
                    <a:cubicBezTo>
                      <a:pt x="40" y="60"/>
                      <a:pt x="40" y="59"/>
                      <a:pt x="40" y="58"/>
                    </a:cubicBezTo>
                    <a:cubicBezTo>
                      <a:pt x="40" y="58"/>
                      <a:pt x="40" y="57"/>
                      <a:pt x="39" y="57"/>
                    </a:cubicBezTo>
                    <a:cubicBezTo>
                      <a:pt x="39" y="57"/>
                      <a:pt x="39" y="57"/>
                      <a:pt x="38" y="57"/>
                    </a:cubicBezTo>
                    <a:cubicBezTo>
                      <a:pt x="38" y="57"/>
                      <a:pt x="38" y="58"/>
                      <a:pt x="38" y="58"/>
                    </a:cubicBezTo>
                    <a:cubicBezTo>
                      <a:pt x="38" y="58"/>
                      <a:pt x="38" y="57"/>
                      <a:pt x="38" y="57"/>
                    </a:cubicBezTo>
                    <a:cubicBezTo>
                      <a:pt x="37" y="57"/>
                      <a:pt x="37" y="58"/>
                      <a:pt x="36" y="57"/>
                    </a:cubicBezTo>
                    <a:cubicBezTo>
                      <a:pt x="36" y="57"/>
                      <a:pt x="36" y="56"/>
                      <a:pt x="36" y="56"/>
                    </a:cubicBezTo>
                    <a:cubicBezTo>
                      <a:pt x="36" y="55"/>
                      <a:pt x="36" y="55"/>
                      <a:pt x="35" y="55"/>
                    </a:cubicBezTo>
                    <a:cubicBezTo>
                      <a:pt x="35" y="54"/>
                      <a:pt x="34" y="54"/>
                      <a:pt x="34" y="53"/>
                    </a:cubicBezTo>
                    <a:cubicBezTo>
                      <a:pt x="34" y="53"/>
                      <a:pt x="34" y="52"/>
                      <a:pt x="34" y="52"/>
                    </a:cubicBezTo>
                    <a:cubicBezTo>
                      <a:pt x="33" y="51"/>
                      <a:pt x="32" y="50"/>
                      <a:pt x="32" y="49"/>
                    </a:cubicBezTo>
                    <a:cubicBezTo>
                      <a:pt x="32" y="48"/>
                      <a:pt x="33" y="48"/>
                      <a:pt x="33" y="47"/>
                    </a:cubicBezTo>
                    <a:cubicBezTo>
                      <a:pt x="34" y="47"/>
                      <a:pt x="33" y="46"/>
                      <a:pt x="34" y="46"/>
                    </a:cubicBezTo>
                    <a:cubicBezTo>
                      <a:pt x="34" y="45"/>
                      <a:pt x="34" y="45"/>
                      <a:pt x="34" y="44"/>
                    </a:cubicBezTo>
                    <a:cubicBezTo>
                      <a:pt x="35" y="44"/>
                      <a:pt x="35" y="43"/>
                      <a:pt x="35" y="43"/>
                    </a:cubicBezTo>
                    <a:cubicBezTo>
                      <a:pt x="35" y="42"/>
                      <a:pt x="33" y="41"/>
                      <a:pt x="35" y="40"/>
                    </a:cubicBezTo>
                    <a:cubicBezTo>
                      <a:pt x="35" y="40"/>
                      <a:pt x="35" y="40"/>
                      <a:pt x="35" y="40"/>
                    </a:cubicBezTo>
                    <a:cubicBezTo>
                      <a:pt x="36" y="40"/>
                      <a:pt x="36" y="40"/>
                      <a:pt x="36" y="40"/>
                    </a:cubicBezTo>
                    <a:cubicBezTo>
                      <a:pt x="36" y="39"/>
                      <a:pt x="37" y="39"/>
                      <a:pt x="37" y="39"/>
                    </a:cubicBezTo>
                    <a:cubicBezTo>
                      <a:pt x="38" y="39"/>
                      <a:pt x="39" y="39"/>
                      <a:pt x="39" y="39"/>
                    </a:cubicBezTo>
                    <a:cubicBezTo>
                      <a:pt x="39" y="39"/>
                      <a:pt x="40" y="39"/>
                      <a:pt x="40" y="39"/>
                    </a:cubicBezTo>
                    <a:cubicBezTo>
                      <a:pt x="40" y="39"/>
                      <a:pt x="40" y="39"/>
                      <a:pt x="40" y="38"/>
                    </a:cubicBezTo>
                    <a:cubicBezTo>
                      <a:pt x="40" y="38"/>
                      <a:pt x="40" y="38"/>
                      <a:pt x="40" y="38"/>
                    </a:cubicBezTo>
                    <a:cubicBezTo>
                      <a:pt x="40" y="37"/>
                      <a:pt x="41" y="38"/>
                      <a:pt x="41" y="38"/>
                    </a:cubicBezTo>
                    <a:cubicBezTo>
                      <a:pt x="41" y="38"/>
                      <a:pt x="41" y="37"/>
                      <a:pt x="41" y="37"/>
                    </a:cubicBezTo>
                    <a:cubicBezTo>
                      <a:pt x="40" y="36"/>
                      <a:pt x="41" y="37"/>
                      <a:pt x="40" y="37"/>
                    </a:cubicBezTo>
                    <a:cubicBezTo>
                      <a:pt x="40" y="37"/>
                      <a:pt x="40" y="36"/>
                      <a:pt x="40" y="36"/>
                    </a:cubicBezTo>
                    <a:cubicBezTo>
                      <a:pt x="40" y="36"/>
                      <a:pt x="41" y="35"/>
                      <a:pt x="41" y="35"/>
                    </a:cubicBezTo>
                    <a:cubicBezTo>
                      <a:pt x="41" y="34"/>
                      <a:pt x="41" y="33"/>
                      <a:pt x="41" y="32"/>
                    </a:cubicBezTo>
                    <a:cubicBezTo>
                      <a:pt x="42" y="31"/>
                      <a:pt x="42" y="31"/>
                      <a:pt x="42" y="30"/>
                    </a:cubicBezTo>
                    <a:cubicBezTo>
                      <a:pt x="42" y="28"/>
                      <a:pt x="42" y="27"/>
                      <a:pt x="41" y="26"/>
                    </a:cubicBezTo>
                    <a:cubicBezTo>
                      <a:pt x="40" y="25"/>
                      <a:pt x="40" y="25"/>
                      <a:pt x="39" y="25"/>
                    </a:cubicBezTo>
                    <a:cubicBezTo>
                      <a:pt x="38" y="24"/>
                      <a:pt x="39" y="25"/>
                      <a:pt x="38" y="25"/>
                    </a:cubicBezTo>
                    <a:cubicBezTo>
                      <a:pt x="38" y="24"/>
                      <a:pt x="37" y="22"/>
                      <a:pt x="36" y="21"/>
                    </a:cubicBezTo>
                    <a:cubicBezTo>
                      <a:pt x="35" y="21"/>
                      <a:pt x="35" y="20"/>
                      <a:pt x="34" y="19"/>
                    </a:cubicBezTo>
                    <a:cubicBezTo>
                      <a:pt x="33" y="19"/>
                      <a:pt x="32" y="19"/>
                      <a:pt x="32" y="19"/>
                    </a:cubicBezTo>
                    <a:cubicBezTo>
                      <a:pt x="31" y="18"/>
                      <a:pt x="29" y="19"/>
                      <a:pt x="29" y="20"/>
                    </a:cubicBezTo>
                    <a:cubicBezTo>
                      <a:pt x="28" y="21"/>
                      <a:pt x="28" y="22"/>
                      <a:pt x="28" y="23"/>
                    </a:cubicBezTo>
                    <a:cubicBezTo>
                      <a:pt x="28" y="24"/>
                      <a:pt x="28" y="24"/>
                      <a:pt x="27" y="24"/>
                    </a:cubicBezTo>
                    <a:cubicBezTo>
                      <a:pt x="28" y="23"/>
                      <a:pt x="28" y="22"/>
                      <a:pt x="28" y="20"/>
                    </a:cubicBezTo>
                    <a:cubicBezTo>
                      <a:pt x="28" y="20"/>
                      <a:pt x="28" y="19"/>
                      <a:pt x="29" y="18"/>
                    </a:cubicBezTo>
                    <a:cubicBezTo>
                      <a:pt x="29" y="18"/>
                      <a:pt x="29" y="17"/>
                      <a:pt x="29" y="17"/>
                    </a:cubicBezTo>
                    <a:cubicBezTo>
                      <a:pt x="30" y="15"/>
                      <a:pt x="30" y="14"/>
                      <a:pt x="29" y="12"/>
                    </a:cubicBezTo>
                    <a:cubicBezTo>
                      <a:pt x="29" y="12"/>
                      <a:pt x="28" y="10"/>
                      <a:pt x="27" y="10"/>
                    </a:cubicBezTo>
                    <a:cubicBezTo>
                      <a:pt x="27" y="11"/>
                      <a:pt x="27" y="11"/>
                      <a:pt x="27" y="11"/>
                    </a:cubicBezTo>
                    <a:cubicBezTo>
                      <a:pt x="27" y="10"/>
                      <a:pt x="27" y="9"/>
                      <a:pt x="26" y="9"/>
                    </a:cubicBezTo>
                    <a:cubicBezTo>
                      <a:pt x="26" y="8"/>
                      <a:pt x="25" y="8"/>
                      <a:pt x="25" y="7"/>
                    </a:cubicBezTo>
                    <a:cubicBezTo>
                      <a:pt x="24" y="7"/>
                      <a:pt x="24" y="6"/>
                      <a:pt x="23" y="6"/>
                    </a:cubicBezTo>
                    <a:cubicBezTo>
                      <a:pt x="22" y="5"/>
                      <a:pt x="22" y="5"/>
                      <a:pt x="21" y="4"/>
                    </a:cubicBezTo>
                    <a:cubicBezTo>
                      <a:pt x="20" y="4"/>
                      <a:pt x="19" y="3"/>
                      <a:pt x="19" y="2"/>
                    </a:cubicBezTo>
                    <a:cubicBezTo>
                      <a:pt x="19" y="2"/>
                      <a:pt x="17" y="2"/>
                      <a:pt x="17" y="2"/>
                    </a:cubicBezTo>
                    <a:cubicBezTo>
                      <a:pt x="18" y="3"/>
                      <a:pt x="20" y="4"/>
                      <a:pt x="21" y="5"/>
                    </a:cubicBezTo>
                    <a:cubicBezTo>
                      <a:pt x="20" y="4"/>
                      <a:pt x="19" y="3"/>
                      <a:pt x="18" y="3"/>
                    </a:cubicBezTo>
                    <a:cubicBezTo>
                      <a:pt x="16" y="2"/>
                      <a:pt x="16" y="1"/>
                      <a:pt x="15" y="0"/>
                    </a:cubicBezTo>
                    <a:cubicBezTo>
                      <a:pt x="16" y="1"/>
                      <a:pt x="16" y="2"/>
                      <a:pt x="17" y="3"/>
                    </a:cubicBezTo>
                    <a:cubicBezTo>
                      <a:pt x="17" y="4"/>
                      <a:pt x="16" y="4"/>
                      <a:pt x="16" y="4"/>
                    </a:cubicBezTo>
                    <a:cubicBezTo>
                      <a:pt x="15" y="5"/>
                      <a:pt x="15" y="6"/>
                      <a:pt x="15" y="6"/>
                    </a:cubicBezTo>
                    <a:cubicBezTo>
                      <a:pt x="14" y="6"/>
                      <a:pt x="13" y="7"/>
                      <a:pt x="12" y="7"/>
                    </a:cubicBezTo>
                    <a:cubicBezTo>
                      <a:pt x="12" y="8"/>
                      <a:pt x="12" y="8"/>
                      <a:pt x="11" y="8"/>
                    </a:cubicBezTo>
                    <a:cubicBezTo>
                      <a:pt x="11" y="8"/>
                      <a:pt x="10" y="8"/>
                      <a:pt x="10" y="8"/>
                    </a:cubicBezTo>
                    <a:cubicBezTo>
                      <a:pt x="9" y="9"/>
                      <a:pt x="9" y="10"/>
                      <a:pt x="9" y="10"/>
                    </a:cubicBezTo>
                    <a:cubicBezTo>
                      <a:pt x="9" y="10"/>
                      <a:pt x="9" y="11"/>
                      <a:pt x="9" y="11"/>
                    </a:cubicBezTo>
                    <a:cubicBezTo>
                      <a:pt x="9" y="11"/>
                      <a:pt x="9" y="11"/>
                      <a:pt x="8" y="11"/>
                    </a:cubicBezTo>
                    <a:cubicBezTo>
                      <a:pt x="8" y="11"/>
                      <a:pt x="8" y="11"/>
                      <a:pt x="8" y="11"/>
                    </a:cubicBezTo>
                    <a:cubicBezTo>
                      <a:pt x="8" y="11"/>
                      <a:pt x="8" y="12"/>
                      <a:pt x="8" y="12"/>
                    </a:cubicBezTo>
                    <a:cubicBezTo>
                      <a:pt x="8" y="12"/>
                      <a:pt x="8" y="12"/>
                      <a:pt x="8" y="12"/>
                    </a:cubicBezTo>
                    <a:cubicBezTo>
                      <a:pt x="8" y="13"/>
                      <a:pt x="8" y="13"/>
                      <a:pt x="9" y="13"/>
                    </a:cubicBezTo>
                    <a:cubicBezTo>
                      <a:pt x="9" y="14"/>
                      <a:pt x="9" y="14"/>
                      <a:pt x="9" y="14"/>
                    </a:cubicBezTo>
                    <a:cubicBezTo>
                      <a:pt x="8" y="15"/>
                      <a:pt x="9" y="15"/>
                      <a:pt x="9" y="16"/>
                    </a:cubicBezTo>
                    <a:cubicBezTo>
                      <a:pt x="10" y="16"/>
                      <a:pt x="10" y="15"/>
                      <a:pt x="10" y="15"/>
                    </a:cubicBezTo>
                    <a:cubicBezTo>
                      <a:pt x="11" y="15"/>
                      <a:pt x="11" y="15"/>
                      <a:pt x="12" y="16"/>
                    </a:cubicBezTo>
                    <a:cubicBezTo>
                      <a:pt x="12" y="16"/>
                      <a:pt x="12" y="17"/>
                      <a:pt x="11" y="17"/>
                    </a:cubicBezTo>
                    <a:cubicBezTo>
                      <a:pt x="11" y="18"/>
                      <a:pt x="11" y="18"/>
                      <a:pt x="11" y="18"/>
                    </a:cubicBezTo>
                    <a:cubicBezTo>
                      <a:pt x="10" y="18"/>
                      <a:pt x="10" y="19"/>
                      <a:pt x="9" y="19"/>
                    </a:cubicBezTo>
                    <a:cubicBezTo>
                      <a:pt x="9" y="19"/>
                      <a:pt x="8" y="20"/>
                      <a:pt x="7" y="20"/>
                    </a:cubicBezTo>
                    <a:cubicBezTo>
                      <a:pt x="7" y="20"/>
                      <a:pt x="6" y="19"/>
                      <a:pt x="6" y="19"/>
                    </a:cubicBezTo>
                    <a:cubicBezTo>
                      <a:pt x="6" y="20"/>
                      <a:pt x="6" y="20"/>
                      <a:pt x="5" y="20"/>
                    </a:cubicBezTo>
                    <a:cubicBezTo>
                      <a:pt x="5" y="20"/>
                      <a:pt x="4" y="20"/>
                      <a:pt x="4" y="21"/>
                    </a:cubicBezTo>
                    <a:cubicBezTo>
                      <a:pt x="3" y="21"/>
                      <a:pt x="3" y="21"/>
                      <a:pt x="3" y="22"/>
                    </a:cubicBezTo>
                    <a:cubicBezTo>
                      <a:pt x="3" y="23"/>
                      <a:pt x="3" y="23"/>
                      <a:pt x="3" y="24"/>
                    </a:cubicBezTo>
                    <a:cubicBezTo>
                      <a:pt x="3" y="25"/>
                      <a:pt x="4" y="25"/>
                      <a:pt x="4" y="26"/>
                    </a:cubicBezTo>
                    <a:cubicBezTo>
                      <a:pt x="4" y="26"/>
                      <a:pt x="3" y="27"/>
                      <a:pt x="2" y="27"/>
                    </a:cubicBezTo>
                    <a:cubicBezTo>
                      <a:pt x="2" y="28"/>
                      <a:pt x="2" y="28"/>
                      <a:pt x="1" y="28"/>
                    </a:cubicBezTo>
                    <a:cubicBezTo>
                      <a:pt x="0" y="29"/>
                      <a:pt x="1" y="30"/>
                      <a:pt x="2" y="30"/>
                    </a:cubicBezTo>
                    <a:cubicBezTo>
                      <a:pt x="2" y="31"/>
                      <a:pt x="3" y="32"/>
                      <a:pt x="4" y="33"/>
                    </a:cubicBezTo>
                    <a:cubicBezTo>
                      <a:pt x="4" y="33"/>
                      <a:pt x="5" y="34"/>
                      <a:pt x="5" y="35"/>
                    </a:cubicBezTo>
                    <a:cubicBezTo>
                      <a:pt x="6" y="35"/>
                      <a:pt x="6" y="37"/>
                      <a:pt x="7" y="37"/>
                    </a:cubicBezTo>
                    <a:cubicBezTo>
                      <a:pt x="7" y="37"/>
                      <a:pt x="8" y="37"/>
                      <a:pt x="8" y="37"/>
                    </a:cubicBezTo>
                    <a:cubicBezTo>
                      <a:pt x="9" y="37"/>
                      <a:pt x="9" y="37"/>
                      <a:pt x="9" y="37"/>
                    </a:cubicBezTo>
                    <a:cubicBezTo>
                      <a:pt x="10" y="37"/>
                      <a:pt x="10" y="37"/>
                      <a:pt x="10" y="37"/>
                    </a:cubicBezTo>
                    <a:cubicBezTo>
                      <a:pt x="10" y="37"/>
                      <a:pt x="10" y="37"/>
                      <a:pt x="11" y="37"/>
                    </a:cubicBezTo>
                    <a:cubicBezTo>
                      <a:pt x="11" y="37"/>
                      <a:pt x="11" y="37"/>
                      <a:pt x="11" y="37"/>
                    </a:cubicBezTo>
                    <a:cubicBezTo>
                      <a:pt x="12" y="36"/>
                      <a:pt x="12" y="36"/>
                      <a:pt x="12" y="36"/>
                    </a:cubicBezTo>
                    <a:cubicBezTo>
                      <a:pt x="12" y="36"/>
                      <a:pt x="12" y="37"/>
                      <a:pt x="13" y="37"/>
                    </a:cubicBezTo>
                    <a:cubicBezTo>
                      <a:pt x="13" y="37"/>
                      <a:pt x="13" y="38"/>
                      <a:pt x="14" y="38"/>
                    </a:cubicBezTo>
                    <a:cubicBezTo>
                      <a:pt x="14" y="39"/>
                      <a:pt x="14" y="39"/>
                      <a:pt x="14" y="40"/>
                    </a:cubicBezTo>
                    <a:cubicBezTo>
                      <a:pt x="14" y="41"/>
                      <a:pt x="14" y="43"/>
                      <a:pt x="13" y="44"/>
                    </a:cubicBezTo>
                    <a:cubicBezTo>
                      <a:pt x="13" y="44"/>
                      <a:pt x="12" y="45"/>
                      <a:pt x="13" y="45"/>
                    </a:cubicBezTo>
                    <a:cubicBezTo>
                      <a:pt x="13" y="45"/>
                      <a:pt x="13" y="45"/>
                      <a:pt x="13" y="45"/>
                    </a:cubicBezTo>
                    <a:cubicBezTo>
                      <a:pt x="14" y="45"/>
                      <a:pt x="14" y="45"/>
                      <a:pt x="15" y="45"/>
                    </a:cubicBezTo>
                    <a:cubicBezTo>
                      <a:pt x="15" y="45"/>
                      <a:pt x="15" y="45"/>
                      <a:pt x="16" y="45"/>
                    </a:cubicBezTo>
                    <a:cubicBezTo>
                      <a:pt x="16" y="45"/>
                      <a:pt x="17" y="46"/>
                      <a:pt x="17" y="46"/>
                    </a:cubicBezTo>
                    <a:cubicBezTo>
                      <a:pt x="17" y="47"/>
                      <a:pt x="16" y="47"/>
                      <a:pt x="16" y="48"/>
                    </a:cubicBezTo>
                    <a:cubicBezTo>
                      <a:pt x="16" y="49"/>
                      <a:pt x="17" y="49"/>
                      <a:pt x="17" y="49"/>
                    </a:cubicBezTo>
                    <a:cubicBezTo>
                      <a:pt x="17" y="49"/>
                      <a:pt x="17" y="49"/>
                      <a:pt x="17" y="50"/>
                    </a:cubicBezTo>
                    <a:cubicBezTo>
                      <a:pt x="17" y="50"/>
                      <a:pt x="17" y="50"/>
                      <a:pt x="18" y="50"/>
                    </a:cubicBezTo>
                    <a:cubicBezTo>
                      <a:pt x="18" y="50"/>
                      <a:pt x="18" y="51"/>
                      <a:pt x="18" y="51"/>
                    </a:cubicBezTo>
                    <a:cubicBezTo>
                      <a:pt x="18" y="51"/>
                      <a:pt x="18" y="51"/>
                      <a:pt x="18" y="51"/>
                    </a:cubicBezTo>
                    <a:cubicBezTo>
                      <a:pt x="18" y="51"/>
                      <a:pt x="18" y="51"/>
                      <a:pt x="18" y="51"/>
                    </a:cubicBezTo>
                    <a:cubicBezTo>
                      <a:pt x="18" y="51"/>
                      <a:pt x="17" y="51"/>
                      <a:pt x="18" y="52"/>
                    </a:cubicBezTo>
                    <a:cubicBezTo>
                      <a:pt x="18" y="52"/>
                      <a:pt x="18" y="52"/>
                      <a:pt x="17" y="53"/>
                    </a:cubicBezTo>
                    <a:cubicBezTo>
                      <a:pt x="17" y="53"/>
                      <a:pt x="17" y="53"/>
                      <a:pt x="17" y="54"/>
                    </a:cubicBezTo>
                    <a:cubicBezTo>
                      <a:pt x="16" y="54"/>
                      <a:pt x="16" y="54"/>
                      <a:pt x="15" y="55"/>
                    </a:cubicBezTo>
                    <a:cubicBezTo>
                      <a:pt x="15" y="55"/>
                      <a:pt x="15" y="56"/>
                      <a:pt x="15" y="56"/>
                    </a:cubicBezTo>
                    <a:cubicBezTo>
                      <a:pt x="15" y="57"/>
                      <a:pt x="15" y="57"/>
                      <a:pt x="15" y="58"/>
                    </a:cubicBezTo>
                    <a:cubicBezTo>
                      <a:pt x="15" y="58"/>
                      <a:pt x="14" y="59"/>
                      <a:pt x="14" y="60"/>
                    </a:cubicBezTo>
                    <a:cubicBezTo>
                      <a:pt x="14" y="60"/>
                      <a:pt x="14" y="60"/>
                      <a:pt x="14" y="61"/>
                    </a:cubicBezTo>
                    <a:cubicBezTo>
                      <a:pt x="14" y="61"/>
                      <a:pt x="14" y="62"/>
                      <a:pt x="14" y="62"/>
                    </a:cubicBezTo>
                    <a:cubicBezTo>
                      <a:pt x="13" y="62"/>
                      <a:pt x="13" y="63"/>
                      <a:pt x="13" y="63"/>
                    </a:cubicBezTo>
                    <a:cubicBezTo>
                      <a:pt x="13" y="64"/>
                      <a:pt x="14" y="65"/>
                      <a:pt x="14" y="66"/>
                    </a:cubicBezTo>
                    <a:cubicBezTo>
                      <a:pt x="14" y="67"/>
                      <a:pt x="14" y="68"/>
                      <a:pt x="15" y="69"/>
                    </a:cubicBezTo>
                    <a:cubicBezTo>
                      <a:pt x="16" y="69"/>
                      <a:pt x="16" y="70"/>
                      <a:pt x="16" y="70"/>
                    </a:cubicBezTo>
                    <a:cubicBezTo>
                      <a:pt x="16" y="71"/>
                      <a:pt x="16" y="71"/>
                      <a:pt x="16" y="72"/>
                    </a:cubicBezTo>
                    <a:cubicBezTo>
                      <a:pt x="16" y="72"/>
                      <a:pt x="16" y="72"/>
                      <a:pt x="16" y="73"/>
                    </a:cubicBezTo>
                    <a:cubicBezTo>
                      <a:pt x="15" y="73"/>
                      <a:pt x="15" y="74"/>
                      <a:pt x="16" y="74"/>
                    </a:cubicBezTo>
                    <a:cubicBezTo>
                      <a:pt x="17" y="74"/>
                      <a:pt x="17" y="74"/>
                      <a:pt x="16" y="75"/>
                    </a:cubicBezTo>
                    <a:cubicBezTo>
                      <a:pt x="16" y="76"/>
                      <a:pt x="17" y="75"/>
                      <a:pt x="18" y="75"/>
                    </a:cubicBezTo>
                    <a:cubicBezTo>
                      <a:pt x="18" y="76"/>
                      <a:pt x="18" y="76"/>
                      <a:pt x="19" y="77"/>
                    </a:cubicBezTo>
                    <a:cubicBezTo>
                      <a:pt x="19" y="77"/>
                      <a:pt x="20" y="77"/>
                      <a:pt x="20" y="78"/>
                    </a:cubicBezTo>
                    <a:cubicBezTo>
                      <a:pt x="20" y="79"/>
                      <a:pt x="20" y="79"/>
                      <a:pt x="21" y="79"/>
                    </a:cubicBezTo>
                    <a:cubicBezTo>
                      <a:pt x="22" y="80"/>
                      <a:pt x="22" y="79"/>
                      <a:pt x="23" y="80"/>
                    </a:cubicBezTo>
                    <a:cubicBezTo>
                      <a:pt x="24" y="80"/>
                      <a:pt x="24" y="81"/>
                      <a:pt x="24" y="81"/>
                    </a:cubicBezTo>
                    <a:cubicBezTo>
                      <a:pt x="24" y="82"/>
                      <a:pt x="25" y="81"/>
                      <a:pt x="25" y="81"/>
                    </a:cubicBezTo>
                    <a:cubicBezTo>
                      <a:pt x="26" y="80"/>
                      <a:pt x="26" y="80"/>
                      <a:pt x="26" y="80"/>
                    </a:cubicBezTo>
                    <a:cubicBezTo>
                      <a:pt x="28" y="80"/>
                      <a:pt x="28" y="80"/>
                      <a:pt x="28" y="79"/>
                    </a:cubicBezTo>
                    <a:cubicBezTo>
                      <a:pt x="27" y="78"/>
                      <a:pt x="28" y="78"/>
                      <a:pt x="29" y="78"/>
                    </a:cubicBezTo>
                    <a:cubicBezTo>
                      <a:pt x="29" y="78"/>
                      <a:pt x="29" y="77"/>
                      <a:pt x="30" y="77"/>
                    </a:cubicBezTo>
                    <a:cubicBezTo>
                      <a:pt x="30" y="77"/>
                      <a:pt x="30" y="77"/>
                      <a:pt x="31" y="77"/>
                    </a:cubicBezTo>
                    <a:cubicBezTo>
                      <a:pt x="31" y="77"/>
                      <a:pt x="31" y="77"/>
                      <a:pt x="32" y="78"/>
                    </a:cubicBezTo>
                    <a:cubicBezTo>
                      <a:pt x="33" y="78"/>
                      <a:pt x="32" y="76"/>
                      <a:pt x="33" y="76"/>
                    </a:cubicBezTo>
                    <a:cubicBezTo>
                      <a:pt x="33" y="76"/>
                      <a:pt x="34" y="76"/>
                      <a:pt x="34" y="76"/>
                    </a:cubicBezTo>
                    <a:cubicBezTo>
                      <a:pt x="35" y="75"/>
                      <a:pt x="35" y="75"/>
                      <a:pt x="36" y="76"/>
                    </a:cubicBezTo>
                    <a:cubicBezTo>
                      <a:pt x="36" y="76"/>
                      <a:pt x="37" y="75"/>
                      <a:pt x="37" y="75"/>
                    </a:cubicBezTo>
                    <a:cubicBezTo>
                      <a:pt x="38" y="75"/>
                      <a:pt x="38" y="74"/>
                      <a:pt x="38" y="74"/>
                    </a:cubicBezTo>
                    <a:cubicBezTo>
                      <a:pt x="38" y="73"/>
                      <a:pt x="39" y="73"/>
                      <a:pt x="39" y="73"/>
                    </a:cubicBezTo>
                    <a:cubicBezTo>
                      <a:pt x="40" y="72"/>
                      <a:pt x="40" y="73"/>
                      <a:pt x="40" y="73"/>
                    </a:cubicBezTo>
                    <a:cubicBezTo>
                      <a:pt x="40" y="73"/>
                      <a:pt x="41" y="72"/>
                      <a:pt x="41" y="72"/>
                    </a:cubicBezTo>
                    <a:cubicBezTo>
                      <a:pt x="42" y="72"/>
                      <a:pt x="42" y="73"/>
                      <a:pt x="42" y="73"/>
                    </a:cubicBezTo>
                    <a:cubicBezTo>
                      <a:pt x="42" y="73"/>
                      <a:pt x="43" y="73"/>
                      <a:pt x="43" y="73"/>
                    </a:cubicBezTo>
                    <a:cubicBezTo>
                      <a:pt x="44" y="74"/>
                      <a:pt x="44" y="74"/>
                      <a:pt x="45" y="73"/>
                    </a:cubicBezTo>
                    <a:cubicBezTo>
                      <a:pt x="45" y="73"/>
                      <a:pt x="46" y="73"/>
                      <a:pt x="46" y="73"/>
                    </a:cubicBezTo>
                    <a:cubicBezTo>
                      <a:pt x="47" y="73"/>
                      <a:pt x="47" y="73"/>
                      <a:pt x="47" y="73"/>
                    </a:cubicBezTo>
                    <a:cubicBezTo>
                      <a:pt x="47" y="72"/>
                      <a:pt x="46" y="72"/>
                      <a:pt x="45" y="7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8" name="Guinea Bissou">
                <a:extLst>
                  <a:ext uri="{FF2B5EF4-FFF2-40B4-BE49-F238E27FC236}">
                    <a16:creationId xmlns:a16="http://schemas.microsoft.com/office/drawing/2014/main" id="{78A03548-2B11-2023-C925-0B24FABC2A58}"/>
                  </a:ext>
                </a:extLst>
              </p:cNvPr>
              <p:cNvSpPr>
                <a:spLocks noEditPoints="1"/>
              </p:cNvSpPr>
              <p:nvPr/>
            </p:nvSpPr>
            <p:spPr bwMode="auto">
              <a:xfrm>
                <a:off x="5127208" y="3551327"/>
                <a:ext cx="105857" cy="70572"/>
              </a:xfrm>
              <a:custGeom>
                <a:avLst/>
                <a:gdLst/>
                <a:ahLst/>
                <a:cxnLst>
                  <a:cxn ang="0">
                    <a:pos x="28" y="5"/>
                  </a:cxn>
                  <a:cxn ang="0">
                    <a:pos x="28" y="7"/>
                  </a:cxn>
                  <a:cxn ang="0">
                    <a:pos x="27" y="11"/>
                  </a:cxn>
                  <a:cxn ang="0">
                    <a:pos x="22" y="12"/>
                  </a:cxn>
                  <a:cxn ang="0">
                    <a:pos x="18" y="15"/>
                  </a:cxn>
                  <a:cxn ang="0">
                    <a:pos x="14" y="17"/>
                  </a:cxn>
                  <a:cxn ang="0">
                    <a:pos x="12" y="15"/>
                  </a:cxn>
                  <a:cxn ang="0">
                    <a:pos x="14" y="14"/>
                  </a:cxn>
                  <a:cxn ang="0">
                    <a:pos x="11" y="15"/>
                  </a:cxn>
                  <a:cxn ang="0">
                    <a:pos x="13" y="13"/>
                  </a:cxn>
                  <a:cxn ang="0">
                    <a:pos x="13" y="12"/>
                  </a:cxn>
                  <a:cxn ang="0">
                    <a:pos x="14" y="12"/>
                  </a:cxn>
                  <a:cxn ang="0">
                    <a:pos x="15" y="12"/>
                  </a:cxn>
                  <a:cxn ang="0">
                    <a:pos x="15" y="11"/>
                  </a:cxn>
                  <a:cxn ang="0">
                    <a:pos x="14" y="10"/>
                  </a:cxn>
                  <a:cxn ang="0">
                    <a:pos x="13" y="11"/>
                  </a:cxn>
                  <a:cxn ang="0">
                    <a:pos x="13" y="12"/>
                  </a:cxn>
                  <a:cxn ang="0">
                    <a:pos x="12" y="12"/>
                  </a:cxn>
                  <a:cxn ang="0">
                    <a:pos x="11" y="11"/>
                  </a:cxn>
                  <a:cxn ang="0">
                    <a:pos x="16" y="9"/>
                  </a:cxn>
                  <a:cxn ang="0">
                    <a:pos x="15" y="8"/>
                  </a:cxn>
                  <a:cxn ang="0">
                    <a:pos x="8" y="10"/>
                  </a:cxn>
                  <a:cxn ang="0">
                    <a:pos x="8" y="8"/>
                  </a:cxn>
                  <a:cxn ang="0">
                    <a:pos x="7" y="8"/>
                  </a:cxn>
                  <a:cxn ang="0">
                    <a:pos x="3" y="6"/>
                  </a:cxn>
                  <a:cxn ang="0">
                    <a:pos x="6" y="4"/>
                  </a:cxn>
                  <a:cxn ang="0">
                    <a:pos x="4" y="4"/>
                  </a:cxn>
                  <a:cxn ang="0">
                    <a:pos x="0" y="4"/>
                  </a:cxn>
                  <a:cxn ang="0">
                    <a:pos x="7" y="3"/>
                  </a:cxn>
                  <a:cxn ang="0">
                    <a:pos x="18" y="0"/>
                  </a:cxn>
                  <a:cxn ang="0">
                    <a:pos x="6" y="9"/>
                  </a:cxn>
                  <a:cxn ang="0">
                    <a:pos x="7" y="12"/>
                  </a:cxn>
                  <a:cxn ang="0">
                    <a:pos x="7" y="12"/>
                  </a:cxn>
                  <a:cxn ang="0">
                    <a:pos x="10" y="13"/>
                  </a:cxn>
                  <a:cxn ang="0">
                    <a:pos x="4" y="15"/>
                  </a:cxn>
                  <a:cxn ang="0">
                    <a:pos x="4" y="15"/>
                  </a:cxn>
                  <a:cxn ang="0">
                    <a:pos x="6" y="16"/>
                  </a:cxn>
                  <a:cxn ang="0">
                    <a:pos x="7" y="17"/>
                  </a:cxn>
                  <a:cxn ang="0">
                    <a:pos x="3" y="13"/>
                  </a:cxn>
                  <a:cxn ang="0">
                    <a:pos x="6" y="13"/>
                  </a:cxn>
                  <a:cxn ang="0">
                    <a:pos x="7" y="17"/>
                  </a:cxn>
                  <a:cxn ang="0">
                    <a:pos x="7" y="18"/>
                  </a:cxn>
                  <a:cxn ang="0">
                    <a:pos x="4" y="17"/>
                  </a:cxn>
                  <a:cxn ang="0">
                    <a:pos x="6" y="18"/>
                  </a:cxn>
                  <a:cxn ang="0">
                    <a:pos x="9" y="15"/>
                  </a:cxn>
                  <a:cxn ang="0">
                    <a:pos x="9" y="16"/>
                  </a:cxn>
                  <a:cxn ang="0">
                    <a:pos x="7" y="9"/>
                  </a:cxn>
                  <a:cxn ang="0">
                    <a:pos x="6" y="10"/>
                  </a:cxn>
                  <a:cxn ang="0">
                    <a:pos x="7" y="13"/>
                  </a:cxn>
                </a:cxnLst>
                <a:rect l="0" t="0" r="r" b="b"/>
                <a:pathLst>
                  <a:path w="30" h="20">
                    <a:moveTo>
                      <a:pt x="29" y="3"/>
                    </a:moveTo>
                    <a:cubicBezTo>
                      <a:pt x="29" y="3"/>
                      <a:pt x="29" y="4"/>
                      <a:pt x="29" y="4"/>
                    </a:cubicBezTo>
                    <a:cubicBezTo>
                      <a:pt x="29" y="5"/>
                      <a:pt x="28" y="5"/>
                      <a:pt x="28" y="5"/>
                    </a:cubicBezTo>
                    <a:cubicBezTo>
                      <a:pt x="28" y="4"/>
                      <a:pt x="25" y="5"/>
                      <a:pt x="27" y="6"/>
                    </a:cubicBezTo>
                    <a:cubicBezTo>
                      <a:pt x="27" y="6"/>
                      <a:pt x="27" y="6"/>
                      <a:pt x="27" y="6"/>
                    </a:cubicBezTo>
                    <a:cubicBezTo>
                      <a:pt x="28" y="6"/>
                      <a:pt x="28" y="7"/>
                      <a:pt x="28" y="7"/>
                    </a:cubicBezTo>
                    <a:cubicBezTo>
                      <a:pt x="29" y="7"/>
                      <a:pt x="29" y="7"/>
                      <a:pt x="29" y="8"/>
                    </a:cubicBezTo>
                    <a:cubicBezTo>
                      <a:pt x="29" y="8"/>
                      <a:pt x="29" y="12"/>
                      <a:pt x="28" y="11"/>
                    </a:cubicBezTo>
                    <a:cubicBezTo>
                      <a:pt x="27" y="10"/>
                      <a:pt x="28" y="10"/>
                      <a:pt x="27" y="11"/>
                    </a:cubicBezTo>
                    <a:cubicBezTo>
                      <a:pt x="27" y="11"/>
                      <a:pt x="26" y="11"/>
                      <a:pt x="25" y="11"/>
                    </a:cubicBezTo>
                    <a:cubicBezTo>
                      <a:pt x="25" y="11"/>
                      <a:pt x="24" y="11"/>
                      <a:pt x="23" y="11"/>
                    </a:cubicBezTo>
                    <a:cubicBezTo>
                      <a:pt x="23" y="12"/>
                      <a:pt x="22" y="12"/>
                      <a:pt x="22" y="12"/>
                    </a:cubicBezTo>
                    <a:cubicBezTo>
                      <a:pt x="22" y="12"/>
                      <a:pt x="21" y="13"/>
                      <a:pt x="21" y="13"/>
                    </a:cubicBezTo>
                    <a:cubicBezTo>
                      <a:pt x="20" y="13"/>
                      <a:pt x="20" y="13"/>
                      <a:pt x="19" y="13"/>
                    </a:cubicBezTo>
                    <a:cubicBezTo>
                      <a:pt x="19" y="13"/>
                      <a:pt x="18" y="15"/>
                      <a:pt x="18" y="15"/>
                    </a:cubicBezTo>
                    <a:cubicBezTo>
                      <a:pt x="17" y="17"/>
                      <a:pt x="17" y="18"/>
                      <a:pt x="16" y="19"/>
                    </a:cubicBezTo>
                    <a:cubicBezTo>
                      <a:pt x="14" y="20"/>
                      <a:pt x="16" y="17"/>
                      <a:pt x="16" y="17"/>
                    </a:cubicBezTo>
                    <a:cubicBezTo>
                      <a:pt x="16" y="17"/>
                      <a:pt x="14" y="18"/>
                      <a:pt x="14" y="17"/>
                    </a:cubicBezTo>
                    <a:cubicBezTo>
                      <a:pt x="14" y="17"/>
                      <a:pt x="14" y="16"/>
                      <a:pt x="14" y="16"/>
                    </a:cubicBezTo>
                    <a:cubicBezTo>
                      <a:pt x="14" y="16"/>
                      <a:pt x="15" y="16"/>
                      <a:pt x="14" y="16"/>
                    </a:cubicBezTo>
                    <a:cubicBezTo>
                      <a:pt x="14" y="16"/>
                      <a:pt x="12" y="16"/>
                      <a:pt x="12" y="15"/>
                    </a:cubicBezTo>
                    <a:cubicBezTo>
                      <a:pt x="12" y="15"/>
                      <a:pt x="12" y="14"/>
                      <a:pt x="13" y="14"/>
                    </a:cubicBezTo>
                    <a:cubicBezTo>
                      <a:pt x="13" y="14"/>
                      <a:pt x="13" y="14"/>
                      <a:pt x="13" y="14"/>
                    </a:cubicBezTo>
                    <a:cubicBezTo>
                      <a:pt x="13" y="14"/>
                      <a:pt x="14" y="14"/>
                      <a:pt x="14" y="14"/>
                    </a:cubicBezTo>
                    <a:cubicBezTo>
                      <a:pt x="14" y="14"/>
                      <a:pt x="13" y="14"/>
                      <a:pt x="13" y="14"/>
                    </a:cubicBezTo>
                    <a:cubicBezTo>
                      <a:pt x="13" y="14"/>
                      <a:pt x="13" y="13"/>
                      <a:pt x="13" y="13"/>
                    </a:cubicBezTo>
                    <a:cubicBezTo>
                      <a:pt x="13" y="14"/>
                      <a:pt x="12" y="15"/>
                      <a:pt x="11" y="15"/>
                    </a:cubicBezTo>
                    <a:cubicBezTo>
                      <a:pt x="11" y="15"/>
                      <a:pt x="12" y="13"/>
                      <a:pt x="12" y="13"/>
                    </a:cubicBezTo>
                    <a:cubicBezTo>
                      <a:pt x="12" y="13"/>
                      <a:pt x="12" y="13"/>
                      <a:pt x="12" y="13"/>
                    </a:cubicBezTo>
                    <a:cubicBezTo>
                      <a:pt x="12" y="13"/>
                      <a:pt x="12" y="12"/>
                      <a:pt x="13" y="13"/>
                    </a:cubicBezTo>
                    <a:cubicBezTo>
                      <a:pt x="13" y="12"/>
                      <a:pt x="13" y="12"/>
                      <a:pt x="13" y="12"/>
                    </a:cubicBezTo>
                    <a:cubicBezTo>
                      <a:pt x="13" y="12"/>
                      <a:pt x="13" y="12"/>
                      <a:pt x="13" y="12"/>
                    </a:cubicBezTo>
                    <a:cubicBezTo>
                      <a:pt x="14" y="12"/>
                      <a:pt x="13" y="12"/>
                      <a:pt x="13" y="12"/>
                    </a:cubicBezTo>
                    <a:cubicBezTo>
                      <a:pt x="13" y="12"/>
                      <a:pt x="14" y="12"/>
                      <a:pt x="14" y="12"/>
                    </a:cubicBezTo>
                    <a:cubicBezTo>
                      <a:pt x="14" y="12"/>
                      <a:pt x="14" y="12"/>
                      <a:pt x="14" y="12"/>
                    </a:cubicBezTo>
                    <a:cubicBezTo>
                      <a:pt x="14" y="11"/>
                      <a:pt x="14" y="12"/>
                      <a:pt x="14" y="12"/>
                    </a:cubicBezTo>
                    <a:cubicBezTo>
                      <a:pt x="14" y="12"/>
                      <a:pt x="14" y="11"/>
                      <a:pt x="14" y="11"/>
                    </a:cubicBezTo>
                    <a:cubicBezTo>
                      <a:pt x="15" y="11"/>
                      <a:pt x="15" y="12"/>
                      <a:pt x="15" y="12"/>
                    </a:cubicBezTo>
                    <a:cubicBezTo>
                      <a:pt x="16" y="12"/>
                      <a:pt x="15" y="12"/>
                      <a:pt x="15" y="12"/>
                    </a:cubicBezTo>
                    <a:cubicBezTo>
                      <a:pt x="15" y="12"/>
                      <a:pt x="16" y="12"/>
                      <a:pt x="16" y="12"/>
                    </a:cubicBezTo>
                    <a:cubicBezTo>
                      <a:pt x="16" y="12"/>
                      <a:pt x="16" y="12"/>
                      <a:pt x="16" y="11"/>
                    </a:cubicBezTo>
                    <a:cubicBezTo>
                      <a:pt x="16" y="11"/>
                      <a:pt x="15" y="11"/>
                      <a:pt x="15" y="11"/>
                    </a:cubicBezTo>
                    <a:cubicBezTo>
                      <a:pt x="15" y="11"/>
                      <a:pt x="14" y="11"/>
                      <a:pt x="15" y="11"/>
                    </a:cubicBezTo>
                    <a:cubicBezTo>
                      <a:pt x="15" y="11"/>
                      <a:pt x="14" y="11"/>
                      <a:pt x="14" y="11"/>
                    </a:cubicBezTo>
                    <a:cubicBezTo>
                      <a:pt x="14" y="11"/>
                      <a:pt x="14" y="10"/>
                      <a:pt x="14" y="10"/>
                    </a:cubicBezTo>
                    <a:cubicBezTo>
                      <a:pt x="14" y="10"/>
                      <a:pt x="14" y="11"/>
                      <a:pt x="14" y="11"/>
                    </a:cubicBezTo>
                    <a:cubicBezTo>
                      <a:pt x="14" y="11"/>
                      <a:pt x="14" y="10"/>
                      <a:pt x="14" y="10"/>
                    </a:cubicBezTo>
                    <a:cubicBezTo>
                      <a:pt x="14" y="11"/>
                      <a:pt x="13" y="10"/>
                      <a:pt x="13" y="11"/>
                    </a:cubicBezTo>
                    <a:cubicBezTo>
                      <a:pt x="13" y="11"/>
                      <a:pt x="13" y="11"/>
                      <a:pt x="13" y="11"/>
                    </a:cubicBezTo>
                    <a:cubicBezTo>
                      <a:pt x="13" y="11"/>
                      <a:pt x="13" y="11"/>
                      <a:pt x="13" y="11"/>
                    </a:cubicBezTo>
                    <a:cubicBezTo>
                      <a:pt x="13" y="11"/>
                      <a:pt x="13" y="11"/>
                      <a:pt x="13" y="12"/>
                    </a:cubicBezTo>
                    <a:cubicBezTo>
                      <a:pt x="13" y="12"/>
                      <a:pt x="13" y="12"/>
                      <a:pt x="13" y="11"/>
                    </a:cubicBezTo>
                    <a:cubicBezTo>
                      <a:pt x="13" y="12"/>
                      <a:pt x="13" y="12"/>
                      <a:pt x="12" y="12"/>
                    </a:cubicBezTo>
                    <a:cubicBezTo>
                      <a:pt x="12" y="12"/>
                      <a:pt x="12" y="12"/>
                      <a:pt x="12" y="12"/>
                    </a:cubicBezTo>
                    <a:cubicBezTo>
                      <a:pt x="12" y="12"/>
                      <a:pt x="12" y="11"/>
                      <a:pt x="12" y="11"/>
                    </a:cubicBezTo>
                    <a:cubicBezTo>
                      <a:pt x="12" y="11"/>
                      <a:pt x="12" y="11"/>
                      <a:pt x="12" y="11"/>
                    </a:cubicBezTo>
                    <a:cubicBezTo>
                      <a:pt x="11" y="11"/>
                      <a:pt x="11" y="10"/>
                      <a:pt x="11" y="11"/>
                    </a:cubicBezTo>
                    <a:cubicBezTo>
                      <a:pt x="11" y="10"/>
                      <a:pt x="12" y="10"/>
                      <a:pt x="12" y="9"/>
                    </a:cubicBezTo>
                    <a:cubicBezTo>
                      <a:pt x="13" y="9"/>
                      <a:pt x="14" y="9"/>
                      <a:pt x="15" y="9"/>
                    </a:cubicBezTo>
                    <a:cubicBezTo>
                      <a:pt x="15" y="9"/>
                      <a:pt x="16" y="8"/>
                      <a:pt x="16" y="9"/>
                    </a:cubicBezTo>
                    <a:cubicBezTo>
                      <a:pt x="15" y="9"/>
                      <a:pt x="17" y="11"/>
                      <a:pt x="17" y="10"/>
                    </a:cubicBezTo>
                    <a:cubicBezTo>
                      <a:pt x="16" y="10"/>
                      <a:pt x="15" y="8"/>
                      <a:pt x="16" y="8"/>
                    </a:cubicBezTo>
                    <a:cubicBezTo>
                      <a:pt x="16" y="7"/>
                      <a:pt x="15" y="8"/>
                      <a:pt x="15" y="8"/>
                    </a:cubicBezTo>
                    <a:cubicBezTo>
                      <a:pt x="14" y="9"/>
                      <a:pt x="14" y="9"/>
                      <a:pt x="13" y="8"/>
                    </a:cubicBezTo>
                    <a:cubicBezTo>
                      <a:pt x="11" y="7"/>
                      <a:pt x="10" y="10"/>
                      <a:pt x="8" y="10"/>
                    </a:cubicBezTo>
                    <a:cubicBezTo>
                      <a:pt x="8" y="10"/>
                      <a:pt x="8" y="10"/>
                      <a:pt x="8" y="10"/>
                    </a:cubicBezTo>
                    <a:cubicBezTo>
                      <a:pt x="8" y="10"/>
                      <a:pt x="7" y="11"/>
                      <a:pt x="7" y="10"/>
                    </a:cubicBezTo>
                    <a:cubicBezTo>
                      <a:pt x="7" y="10"/>
                      <a:pt x="7" y="9"/>
                      <a:pt x="7" y="9"/>
                    </a:cubicBezTo>
                    <a:cubicBezTo>
                      <a:pt x="8" y="8"/>
                      <a:pt x="8" y="8"/>
                      <a:pt x="8" y="8"/>
                    </a:cubicBezTo>
                    <a:cubicBezTo>
                      <a:pt x="9" y="8"/>
                      <a:pt x="9" y="8"/>
                      <a:pt x="10" y="7"/>
                    </a:cubicBezTo>
                    <a:cubicBezTo>
                      <a:pt x="9" y="8"/>
                      <a:pt x="8" y="7"/>
                      <a:pt x="8" y="7"/>
                    </a:cubicBezTo>
                    <a:cubicBezTo>
                      <a:pt x="7" y="7"/>
                      <a:pt x="8" y="8"/>
                      <a:pt x="7" y="8"/>
                    </a:cubicBezTo>
                    <a:cubicBezTo>
                      <a:pt x="7" y="8"/>
                      <a:pt x="6" y="8"/>
                      <a:pt x="6" y="8"/>
                    </a:cubicBezTo>
                    <a:cubicBezTo>
                      <a:pt x="5" y="9"/>
                      <a:pt x="4" y="8"/>
                      <a:pt x="4" y="7"/>
                    </a:cubicBezTo>
                    <a:cubicBezTo>
                      <a:pt x="3" y="7"/>
                      <a:pt x="3" y="7"/>
                      <a:pt x="3" y="6"/>
                    </a:cubicBezTo>
                    <a:cubicBezTo>
                      <a:pt x="3" y="6"/>
                      <a:pt x="4" y="6"/>
                      <a:pt x="4" y="5"/>
                    </a:cubicBezTo>
                    <a:cubicBezTo>
                      <a:pt x="4" y="5"/>
                      <a:pt x="4" y="5"/>
                      <a:pt x="5" y="4"/>
                    </a:cubicBezTo>
                    <a:cubicBezTo>
                      <a:pt x="5" y="4"/>
                      <a:pt x="6" y="4"/>
                      <a:pt x="6" y="4"/>
                    </a:cubicBezTo>
                    <a:cubicBezTo>
                      <a:pt x="6" y="4"/>
                      <a:pt x="6" y="4"/>
                      <a:pt x="6" y="4"/>
                    </a:cubicBezTo>
                    <a:cubicBezTo>
                      <a:pt x="5" y="4"/>
                      <a:pt x="5" y="4"/>
                      <a:pt x="4" y="4"/>
                    </a:cubicBezTo>
                    <a:cubicBezTo>
                      <a:pt x="4" y="5"/>
                      <a:pt x="4" y="5"/>
                      <a:pt x="4" y="4"/>
                    </a:cubicBezTo>
                    <a:cubicBezTo>
                      <a:pt x="3" y="5"/>
                      <a:pt x="4" y="5"/>
                      <a:pt x="3" y="5"/>
                    </a:cubicBezTo>
                    <a:cubicBezTo>
                      <a:pt x="3" y="5"/>
                      <a:pt x="2" y="5"/>
                      <a:pt x="2" y="5"/>
                    </a:cubicBezTo>
                    <a:cubicBezTo>
                      <a:pt x="1" y="5"/>
                      <a:pt x="1" y="3"/>
                      <a:pt x="0" y="4"/>
                    </a:cubicBezTo>
                    <a:cubicBezTo>
                      <a:pt x="0" y="3"/>
                      <a:pt x="2" y="3"/>
                      <a:pt x="3" y="3"/>
                    </a:cubicBezTo>
                    <a:cubicBezTo>
                      <a:pt x="4" y="3"/>
                      <a:pt x="4" y="3"/>
                      <a:pt x="5" y="2"/>
                    </a:cubicBezTo>
                    <a:cubicBezTo>
                      <a:pt x="6" y="2"/>
                      <a:pt x="7" y="2"/>
                      <a:pt x="7" y="3"/>
                    </a:cubicBezTo>
                    <a:cubicBezTo>
                      <a:pt x="9" y="3"/>
                      <a:pt x="11" y="2"/>
                      <a:pt x="13" y="1"/>
                    </a:cubicBezTo>
                    <a:cubicBezTo>
                      <a:pt x="14" y="0"/>
                      <a:pt x="15" y="0"/>
                      <a:pt x="16" y="0"/>
                    </a:cubicBezTo>
                    <a:cubicBezTo>
                      <a:pt x="16" y="0"/>
                      <a:pt x="17" y="0"/>
                      <a:pt x="18" y="0"/>
                    </a:cubicBezTo>
                    <a:cubicBezTo>
                      <a:pt x="21" y="0"/>
                      <a:pt x="25" y="0"/>
                      <a:pt x="29" y="0"/>
                    </a:cubicBezTo>
                    <a:cubicBezTo>
                      <a:pt x="29" y="1"/>
                      <a:pt x="30" y="2"/>
                      <a:pt x="29" y="3"/>
                    </a:cubicBezTo>
                    <a:close/>
                    <a:moveTo>
                      <a:pt x="6" y="9"/>
                    </a:moveTo>
                    <a:cubicBezTo>
                      <a:pt x="7" y="9"/>
                      <a:pt x="7" y="9"/>
                      <a:pt x="7" y="8"/>
                    </a:cubicBezTo>
                    <a:cubicBezTo>
                      <a:pt x="7" y="8"/>
                      <a:pt x="6" y="8"/>
                      <a:pt x="6" y="9"/>
                    </a:cubicBezTo>
                    <a:close/>
                    <a:moveTo>
                      <a:pt x="7" y="12"/>
                    </a:moveTo>
                    <a:cubicBezTo>
                      <a:pt x="7" y="12"/>
                      <a:pt x="7" y="12"/>
                      <a:pt x="7" y="12"/>
                    </a:cubicBezTo>
                    <a:cubicBezTo>
                      <a:pt x="7" y="12"/>
                      <a:pt x="7" y="12"/>
                      <a:pt x="7" y="12"/>
                    </a:cubicBezTo>
                    <a:cubicBezTo>
                      <a:pt x="8" y="13"/>
                      <a:pt x="8" y="12"/>
                      <a:pt x="7" y="12"/>
                    </a:cubicBezTo>
                    <a:close/>
                    <a:moveTo>
                      <a:pt x="12" y="12"/>
                    </a:moveTo>
                    <a:cubicBezTo>
                      <a:pt x="12" y="12"/>
                      <a:pt x="12" y="12"/>
                      <a:pt x="12" y="11"/>
                    </a:cubicBezTo>
                    <a:cubicBezTo>
                      <a:pt x="11" y="11"/>
                      <a:pt x="10" y="12"/>
                      <a:pt x="10" y="13"/>
                    </a:cubicBezTo>
                    <a:cubicBezTo>
                      <a:pt x="10" y="13"/>
                      <a:pt x="11" y="13"/>
                      <a:pt x="11" y="12"/>
                    </a:cubicBezTo>
                    <a:cubicBezTo>
                      <a:pt x="11" y="12"/>
                      <a:pt x="12" y="12"/>
                      <a:pt x="12" y="12"/>
                    </a:cubicBezTo>
                    <a:close/>
                    <a:moveTo>
                      <a:pt x="4" y="15"/>
                    </a:moveTo>
                    <a:cubicBezTo>
                      <a:pt x="4" y="15"/>
                      <a:pt x="4" y="16"/>
                      <a:pt x="4" y="16"/>
                    </a:cubicBezTo>
                    <a:cubicBezTo>
                      <a:pt x="4" y="16"/>
                      <a:pt x="5" y="16"/>
                      <a:pt x="5" y="16"/>
                    </a:cubicBezTo>
                    <a:cubicBezTo>
                      <a:pt x="5" y="15"/>
                      <a:pt x="5" y="15"/>
                      <a:pt x="4" y="15"/>
                    </a:cubicBezTo>
                    <a:close/>
                    <a:moveTo>
                      <a:pt x="6" y="16"/>
                    </a:moveTo>
                    <a:cubicBezTo>
                      <a:pt x="6" y="16"/>
                      <a:pt x="6" y="17"/>
                      <a:pt x="6" y="17"/>
                    </a:cubicBezTo>
                    <a:cubicBezTo>
                      <a:pt x="7" y="17"/>
                      <a:pt x="7" y="16"/>
                      <a:pt x="6" y="16"/>
                    </a:cubicBezTo>
                    <a:close/>
                    <a:moveTo>
                      <a:pt x="7" y="17"/>
                    </a:moveTo>
                    <a:cubicBezTo>
                      <a:pt x="7" y="17"/>
                      <a:pt x="6" y="18"/>
                      <a:pt x="6" y="18"/>
                    </a:cubicBezTo>
                    <a:cubicBezTo>
                      <a:pt x="7" y="17"/>
                      <a:pt x="7" y="17"/>
                      <a:pt x="7" y="17"/>
                    </a:cubicBezTo>
                    <a:close/>
                    <a:moveTo>
                      <a:pt x="4" y="12"/>
                    </a:moveTo>
                    <a:cubicBezTo>
                      <a:pt x="4" y="12"/>
                      <a:pt x="3" y="12"/>
                      <a:pt x="3" y="12"/>
                    </a:cubicBezTo>
                    <a:cubicBezTo>
                      <a:pt x="3" y="12"/>
                      <a:pt x="2" y="13"/>
                      <a:pt x="3" y="13"/>
                    </a:cubicBezTo>
                    <a:cubicBezTo>
                      <a:pt x="3" y="13"/>
                      <a:pt x="3" y="13"/>
                      <a:pt x="4" y="13"/>
                    </a:cubicBezTo>
                    <a:cubicBezTo>
                      <a:pt x="4" y="13"/>
                      <a:pt x="5" y="12"/>
                      <a:pt x="4" y="12"/>
                    </a:cubicBezTo>
                    <a:close/>
                    <a:moveTo>
                      <a:pt x="6" y="13"/>
                    </a:moveTo>
                    <a:cubicBezTo>
                      <a:pt x="7" y="13"/>
                      <a:pt x="7" y="11"/>
                      <a:pt x="6" y="13"/>
                    </a:cubicBezTo>
                    <a:close/>
                    <a:moveTo>
                      <a:pt x="7" y="16"/>
                    </a:moveTo>
                    <a:cubicBezTo>
                      <a:pt x="7" y="16"/>
                      <a:pt x="7" y="17"/>
                      <a:pt x="7" y="17"/>
                    </a:cubicBezTo>
                    <a:cubicBezTo>
                      <a:pt x="7" y="17"/>
                      <a:pt x="7" y="17"/>
                      <a:pt x="7" y="17"/>
                    </a:cubicBezTo>
                    <a:cubicBezTo>
                      <a:pt x="7" y="17"/>
                      <a:pt x="7" y="18"/>
                      <a:pt x="7" y="18"/>
                    </a:cubicBezTo>
                    <a:cubicBezTo>
                      <a:pt x="7" y="18"/>
                      <a:pt x="7" y="18"/>
                      <a:pt x="7" y="18"/>
                    </a:cubicBezTo>
                    <a:cubicBezTo>
                      <a:pt x="8" y="18"/>
                      <a:pt x="8" y="16"/>
                      <a:pt x="7" y="16"/>
                    </a:cubicBezTo>
                    <a:close/>
                    <a:moveTo>
                      <a:pt x="4" y="17"/>
                    </a:moveTo>
                    <a:cubicBezTo>
                      <a:pt x="5" y="17"/>
                      <a:pt x="4" y="17"/>
                      <a:pt x="4" y="17"/>
                    </a:cubicBezTo>
                    <a:cubicBezTo>
                      <a:pt x="4" y="18"/>
                      <a:pt x="5" y="18"/>
                      <a:pt x="5" y="18"/>
                    </a:cubicBezTo>
                    <a:cubicBezTo>
                      <a:pt x="5" y="18"/>
                      <a:pt x="5" y="18"/>
                      <a:pt x="5" y="18"/>
                    </a:cubicBezTo>
                    <a:cubicBezTo>
                      <a:pt x="5" y="18"/>
                      <a:pt x="6" y="18"/>
                      <a:pt x="6" y="18"/>
                    </a:cubicBezTo>
                    <a:cubicBezTo>
                      <a:pt x="6" y="17"/>
                      <a:pt x="6" y="17"/>
                      <a:pt x="6" y="16"/>
                    </a:cubicBezTo>
                    <a:cubicBezTo>
                      <a:pt x="6" y="16"/>
                      <a:pt x="5" y="17"/>
                      <a:pt x="4" y="17"/>
                    </a:cubicBezTo>
                    <a:close/>
                    <a:moveTo>
                      <a:pt x="9" y="15"/>
                    </a:moveTo>
                    <a:cubicBezTo>
                      <a:pt x="9" y="15"/>
                      <a:pt x="8" y="16"/>
                      <a:pt x="9" y="17"/>
                    </a:cubicBezTo>
                    <a:cubicBezTo>
                      <a:pt x="9" y="16"/>
                      <a:pt x="9" y="17"/>
                      <a:pt x="9" y="16"/>
                    </a:cubicBezTo>
                    <a:cubicBezTo>
                      <a:pt x="9" y="16"/>
                      <a:pt x="9" y="16"/>
                      <a:pt x="9" y="16"/>
                    </a:cubicBezTo>
                    <a:cubicBezTo>
                      <a:pt x="10" y="16"/>
                      <a:pt x="10" y="15"/>
                      <a:pt x="10" y="16"/>
                    </a:cubicBezTo>
                    <a:cubicBezTo>
                      <a:pt x="10" y="16"/>
                      <a:pt x="10" y="15"/>
                      <a:pt x="9" y="15"/>
                    </a:cubicBezTo>
                    <a:close/>
                    <a:moveTo>
                      <a:pt x="7" y="9"/>
                    </a:moveTo>
                    <a:cubicBezTo>
                      <a:pt x="7" y="9"/>
                      <a:pt x="7" y="9"/>
                      <a:pt x="6" y="9"/>
                    </a:cubicBezTo>
                    <a:cubicBezTo>
                      <a:pt x="6" y="9"/>
                      <a:pt x="6" y="9"/>
                      <a:pt x="5" y="9"/>
                    </a:cubicBezTo>
                    <a:cubicBezTo>
                      <a:pt x="5" y="9"/>
                      <a:pt x="5" y="10"/>
                      <a:pt x="6" y="10"/>
                    </a:cubicBezTo>
                    <a:cubicBezTo>
                      <a:pt x="6" y="10"/>
                      <a:pt x="6" y="10"/>
                      <a:pt x="7" y="9"/>
                    </a:cubicBezTo>
                    <a:close/>
                    <a:moveTo>
                      <a:pt x="7" y="14"/>
                    </a:moveTo>
                    <a:cubicBezTo>
                      <a:pt x="8" y="14"/>
                      <a:pt x="8" y="13"/>
                      <a:pt x="7" y="13"/>
                    </a:cubicBezTo>
                    <a:cubicBezTo>
                      <a:pt x="7" y="12"/>
                      <a:pt x="7" y="13"/>
                      <a:pt x="6" y="13"/>
                    </a:cubicBezTo>
                    <a:cubicBezTo>
                      <a:pt x="5" y="14"/>
                      <a:pt x="6" y="14"/>
                      <a:pt x="7" y="1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09" name="Guinea">
                <a:extLst>
                  <a:ext uri="{FF2B5EF4-FFF2-40B4-BE49-F238E27FC236}">
                    <a16:creationId xmlns:a16="http://schemas.microsoft.com/office/drawing/2014/main" id="{22331DC7-58DB-DFB2-0260-932C78383451}"/>
                  </a:ext>
                </a:extLst>
              </p:cNvPr>
              <p:cNvSpPr>
                <a:spLocks noEditPoints="1"/>
              </p:cNvSpPr>
              <p:nvPr/>
            </p:nvSpPr>
            <p:spPr bwMode="auto">
              <a:xfrm>
                <a:off x="5180136" y="3551326"/>
                <a:ext cx="254844" cy="212696"/>
              </a:xfrm>
              <a:custGeom>
                <a:avLst/>
                <a:gdLst/>
                <a:ahLst/>
                <a:cxnLst>
                  <a:cxn ang="0">
                    <a:pos x="68" y="46"/>
                  </a:cxn>
                  <a:cxn ang="0">
                    <a:pos x="68" y="49"/>
                  </a:cxn>
                  <a:cxn ang="0">
                    <a:pos x="67" y="54"/>
                  </a:cxn>
                  <a:cxn ang="0">
                    <a:pos x="64" y="56"/>
                  </a:cxn>
                  <a:cxn ang="0">
                    <a:pos x="61" y="57"/>
                  </a:cxn>
                  <a:cxn ang="0">
                    <a:pos x="57" y="60"/>
                  </a:cxn>
                  <a:cxn ang="0">
                    <a:pos x="55" y="58"/>
                  </a:cxn>
                  <a:cxn ang="0">
                    <a:pos x="54" y="51"/>
                  </a:cxn>
                  <a:cxn ang="0">
                    <a:pos x="54" y="47"/>
                  </a:cxn>
                  <a:cxn ang="0">
                    <a:pos x="52" y="47"/>
                  </a:cxn>
                  <a:cxn ang="0">
                    <a:pos x="48" y="47"/>
                  </a:cxn>
                  <a:cxn ang="0">
                    <a:pos x="43" y="48"/>
                  </a:cxn>
                  <a:cxn ang="0">
                    <a:pos x="44" y="44"/>
                  </a:cxn>
                  <a:cxn ang="0">
                    <a:pos x="42" y="39"/>
                  </a:cxn>
                  <a:cxn ang="0">
                    <a:pos x="39" y="32"/>
                  </a:cxn>
                  <a:cxn ang="0">
                    <a:pos x="31" y="29"/>
                  </a:cxn>
                  <a:cxn ang="0">
                    <a:pos x="26" y="30"/>
                  </a:cxn>
                  <a:cxn ang="0">
                    <a:pos x="23" y="35"/>
                  </a:cxn>
                  <a:cxn ang="0">
                    <a:pos x="21" y="38"/>
                  </a:cxn>
                  <a:cxn ang="0">
                    <a:pos x="17" y="39"/>
                  </a:cxn>
                  <a:cxn ang="0">
                    <a:pos x="17" y="37"/>
                  </a:cxn>
                  <a:cxn ang="0">
                    <a:pos x="15" y="35"/>
                  </a:cxn>
                  <a:cxn ang="0">
                    <a:pos x="13" y="35"/>
                  </a:cxn>
                  <a:cxn ang="0">
                    <a:pos x="14" y="31"/>
                  </a:cxn>
                  <a:cxn ang="0">
                    <a:pos x="10" y="29"/>
                  </a:cxn>
                  <a:cxn ang="0">
                    <a:pos x="10" y="28"/>
                  </a:cxn>
                  <a:cxn ang="0">
                    <a:pos x="8" y="27"/>
                  </a:cxn>
                  <a:cxn ang="0">
                    <a:pos x="5" y="24"/>
                  </a:cxn>
                  <a:cxn ang="0">
                    <a:pos x="5" y="21"/>
                  </a:cxn>
                  <a:cxn ang="0">
                    <a:pos x="3" y="22"/>
                  </a:cxn>
                  <a:cxn ang="0">
                    <a:pos x="4" y="18"/>
                  </a:cxn>
                  <a:cxn ang="0">
                    <a:pos x="2" y="18"/>
                  </a:cxn>
                  <a:cxn ang="0">
                    <a:pos x="4" y="13"/>
                  </a:cxn>
                  <a:cxn ang="0">
                    <a:pos x="11" y="11"/>
                  </a:cxn>
                  <a:cxn ang="0">
                    <a:pos x="13" y="11"/>
                  </a:cxn>
                  <a:cxn ang="0">
                    <a:pos x="11" y="6"/>
                  </a:cxn>
                  <a:cxn ang="0">
                    <a:pos x="19" y="0"/>
                  </a:cxn>
                  <a:cxn ang="0">
                    <a:pos x="23" y="3"/>
                  </a:cxn>
                  <a:cxn ang="0">
                    <a:pos x="29" y="3"/>
                  </a:cxn>
                  <a:cxn ang="0">
                    <a:pos x="35" y="3"/>
                  </a:cxn>
                  <a:cxn ang="0">
                    <a:pos x="35" y="5"/>
                  </a:cxn>
                  <a:cxn ang="0">
                    <a:pos x="41" y="5"/>
                  </a:cxn>
                  <a:cxn ang="0">
                    <a:pos x="44" y="7"/>
                  </a:cxn>
                  <a:cxn ang="0">
                    <a:pos x="46" y="5"/>
                  </a:cxn>
                  <a:cxn ang="0">
                    <a:pos x="53" y="6"/>
                  </a:cxn>
                  <a:cxn ang="0">
                    <a:pos x="56" y="2"/>
                  </a:cxn>
                  <a:cxn ang="0">
                    <a:pos x="60" y="7"/>
                  </a:cxn>
                  <a:cxn ang="0">
                    <a:pos x="62" y="12"/>
                  </a:cxn>
                  <a:cxn ang="0">
                    <a:pos x="65" y="15"/>
                  </a:cxn>
                  <a:cxn ang="0">
                    <a:pos x="62" y="18"/>
                  </a:cxn>
                  <a:cxn ang="0">
                    <a:pos x="66" y="20"/>
                  </a:cxn>
                  <a:cxn ang="0">
                    <a:pos x="69" y="27"/>
                  </a:cxn>
                  <a:cxn ang="0">
                    <a:pos x="67" y="31"/>
                  </a:cxn>
                  <a:cxn ang="0">
                    <a:pos x="69" y="38"/>
                  </a:cxn>
                  <a:cxn ang="0">
                    <a:pos x="69" y="41"/>
                  </a:cxn>
                  <a:cxn ang="0">
                    <a:pos x="72" y="47"/>
                  </a:cxn>
                  <a:cxn ang="0">
                    <a:pos x="2" y="19"/>
                  </a:cxn>
                </a:cxnLst>
                <a:rect l="0" t="0" r="r" b="b"/>
                <a:pathLst>
                  <a:path w="72" h="60">
                    <a:moveTo>
                      <a:pt x="72" y="47"/>
                    </a:moveTo>
                    <a:cubicBezTo>
                      <a:pt x="72" y="47"/>
                      <a:pt x="71" y="47"/>
                      <a:pt x="71" y="47"/>
                    </a:cubicBezTo>
                    <a:cubicBezTo>
                      <a:pt x="70" y="45"/>
                      <a:pt x="70" y="47"/>
                      <a:pt x="69" y="47"/>
                    </a:cubicBezTo>
                    <a:cubicBezTo>
                      <a:pt x="69" y="46"/>
                      <a:pt x="69" y="46"/>
                      <a:pt x="68" y="46"/>
                    </a:cubicBezTo>
                    <a:cubicBezTo>
                      <a:pt x="68" y="46"/>
                      <a:pt x="67" y="46"/>
                      <a:pt x="67" y="46"/>
                    </a:cubicBezTo>
                    <a:cubicBezTo>
                      <a:pt x="66" y="46"/>
                      <a:pt x="66" y="48"/>
                      <a:pt x="66" y="49"/>
                    </a:cubicBezTo>
                    <a:cubicBezTo>
                      <a:pt x="66" y="49"/>
                      <a:pt x="67" y="49"/>
                      <a:pt x="67" y="49"/>
                    </a:cubicBezTo>
                    <a:cubicBezTo>
                      <a:pt x="68" y="49"/>
                      <a:pt x="68" y="49"/>
                      <a:pt x="68" y="49"/>
                    </a:cubicBezTo>
                    <a:cubicBezTo>
                      <a:pt x="69" y="49"/>
                      <a:pt x="68" y="50"/>
                      <a:pt x="68" y="50"/>
                    </a:cubicBezTo>
                    <a:cubicBezTo>
                      <a:pt x="68" y="50"/>
                      <a:pt x="69" y="51"/>
                      <a:pt x="69" y="51"/>
                    </a:cubicBezTo>
                    <a:cubicBezTo>
                      <a:pt x="68" y="51"/>
                      <a:pt x="68" y="51"/>
                      <a:pt x="67" y="52"/>
                    </a:cubicBezTo>
                    <a:cubicBezTo>
                      <a:pt x="67" y="53"/>
                      <a:pt x="68" y="53"/>
                      <a:pt x="67" y="54"/>
                    </a:cubicBezTo>
                    <a:cubicBezTo>
                      <a:pt x="67" y="54"/>
                      <a:pt x="67" y="54"/>
                      <a:pt x="67" y="55"/>
                    </a:cubicBezTo>
                    <a:cubicBezTo>
                      <a:pt x="66" y="56"/>
                      <a:pt x="66" y="57"/>
                      <a:pt x="66" y="56"/>
                    </a:cubicBezTo>
                    <a:cubicBezTo>
                      <a:pt x="65" y="56"/>
                      <a:pt x="65" y="56"/>
                      <a:pt x="65" y="56"/>
                    </a:cubicBezTo>
                    <a:cubicBezTo>
                      <a:pt x="64" y="56"/>
                      <a:pt x="65" y="56"/>
                      <a:pt x="64" y="56"/>
                    </a:cubicBezTo>
                    <a:cubicBezTo>
                      <a:pt x="64" y="56"/>
                      <a:pt x="64" y="56"/>
                      <a:pt x="64" y="56"/>
                    </a:cubicBezTo>
                    <a:cubicBezTo>
                      <a:pt x="63" y="56"/>
                      <a:pt x="63" y="56"/>
                      <a:pt x="63" y="55"/>
                    </a:cubicBezTo>
                    <a:cubicBezTo>
                      <a:pt x="63" y="55"/>
                      <a:pt x="62" y="55"/>
                      <a:pt x="62" y="55"/>
                    </a:cubicBezTo>
                    <a:cubicBezTo>
                      <a:pt x="61" y="55"/>
                      <a:pt x="61" y="57"/>
                      <a:pt x="61" y="57"/>
                    </a:cubicBezTo>
                    <a:cubicBezTo>
                      <a:pt x="61" y="58"/>
                      <a:pt x="60" y="58"/>
                      <a:pt x="60" y="58"/>
                    </a:cubicBezTo>
                    <a:cubicBezTo>
                      <a:pt x="60" y="59"/>
                      <a:pt x="60" y="59"/>
                      <a:pt x="60" y="59"/>
                    </a:cubicBezTo>
                    <a:cubicBezTo>
                      <a:pt x="59" y="60"/>
                      <a:pt x="59" y="59"/>
                      <a:pt x="59" y="59"/>
                    </a:cubicBezTo>
                    <a:cubicBezTo>
                      <a:pt x="58" y="60"/>
                      <a:pt x="58" y="60"/>
                      <a:pt x="57" y="60"/>
                    </a:cubicBezTo>
                    <a:cubicBezTo>
                      <a:pt x="58" y="60"/>
                      <a:pt x="57" y="59"/>
                      <a:pt x="57" y="59"/>
                    </a:cubicBezTo>
                    <a:cubicBezTo>
                      <a:pt x="56" y="59"/>
                      <a:pt x="57" y="58"/>
                      <a:pt x="56" y="58"/>
                    </a:cubicBezTo>
                    <a:cubicBezTo>
                      <a:pt x="55" y="58"/>
                      <a:pt x="55" y="57"/>
                      <a:pt x="55" y="58"/>
                    </a:cubicBezTo>
                    <a:cubicBezTo>
                      <a:pt x="55" y="58"/>
                      <a:pt x="55" y="58"/>
                      <a:pt x="55" y="58"/>
                    </a:cubicBezTo>
                    <a:cubicBezTo>
                      <a:pt x="54" y="58"/>
                      <a:pt x="54" y="58"/>
                      <a:pt x="54" y="58"/>
                    </a:cubicBezTo>
                    <a:cubicBezTo>
                      <a:pt x="54" y="57"/>
                      <a:pt x="56" y="55"/>
                      <a:pt x="55" y="54"/>
                    </a:cubicBezTo>
                    <a:cubicBezTo>
                      <a:pt x="55" y="53"/>
                      <a:pt x="54" y="53"/>
                      <a:pt x="55" y="52"/>
                    </a:cubicBezTo>
                    <a:cubicBezTo>
                      <a:pt x="55" y="51"/>
                      <a:pt x="55" y="50"/>
                      <a:pt x="54" y="51"/>
                    </a:cubicBezTo>
                    <a:cubicBezTo>
                      <a:pt x="54" y="51"/>
                      <a:pt x="54" y="50"/>
                      <a:pt x="54" y="50"/>
                    </a:cubicBezTo>
                    <a:cubicBezTo>
                      <a:pt x="54" y="49"/>
                      <a:pt x="54" y="49"/>
                      <a:pt x="54" y="49"/>
                    </a:cubicBezTo>
                    <a:cubicBezTo>
                      <a:pt x="54" y="49"/>
                      <a:pt x="54" y="48"/>
                      <a:pt x="54" y="48"/>
                    </a:cubicBezTo>
                    <a:cubicBezTo>
                      <a:pt x="54" y="48"/>
                      <a:pt x="54" y="47"/>
                      <a:pt x="54" y="47"/>
                    </a:cubicBezTo>
                    <a:cubicBezTo>
                      <a:pt x="54" y="47"/>
                      <a:pt x="53" y="47"/>
                      <a:pt x="53" y="47"/>
                    </a:cubicBezTo>
                    <a:cubicBezTo>
                      <a:pt x="53" y="47"/>
                      <a:pt x="52" y="47"/>
                      <a:pt x="52" y="47"/>
                    </a:cubicBezTo>
                    <a:cubicBezTo>
                      <a:pt x="52" y="47"/>
                      <a:pt x="53" y="47"/>
                      <a:pt x="53" y="46"/>
                    </a:cubicBezTo>
                    <a:cubicBezTo>
                      <a:pt x="52" y="46"/>
                      <a:pt x="52" y="46"/>
                      <a:pt x="52" y="47"/>
                    </a:cubicBezTo>
                    <a:cubicBezTo>
                      <a:pt x="52" y="46"/>
                      <a:pt x="52" y="46"/>
                      <a:pt x="51" y="45"/>
                    </a:cubicBezTo>
                    <a:cubicBezTo>
                      <a:pt x="51" y="45"/>
                      <a:pt x="51" y="45"/>
                      <a:pt x="51" y="45"/>
                    </a:cubicBezTo>
                    <a:cubicBezTo>
                      <a:pt x="51" y="46"/>
                      <a:pt x="51" y="46"/>
                      <a:pt x="50" y="46"/>
                    </a:cubicBezTo>
                    <a:cubicBezTo>
                      <a:pt x="50" y="46"/>
                      <a:pt x="49" y="47"/>
                      <a:pt x="48" y="47"/>
                    </a:cubicBezTo>
                    <a:cubicBezTo>
                      <a:pt x="48" y="46"/>
                      <a:pt x="49" y="46"/>
                      <a:pt x="48" y="46"/>
                    </a:cubicBezTo>
                    <a:cubicBezTo>
                      <a:pt x="47" y="45"/>
                      <a:pt x="47" y="46"/>
                      <a:pt x="46" y="46"/>
                    </a:cubicBezTo>
                    <a:cubicBezTo>
                      <a:pt x="45" y="46"/>
                      <a:pt x="45" y="46"/>
                      <a:pt x="45" y="47"/>
                    </a:cubicBezTo>
                    <a:cubicBezTo>
                      <a:pt x="44" y="47"/>
                      <a:pt x="44" y="48"/>
                      <a:pt x="43" y="48"/>
                    </a:cubicBezTo>
                    <a:cubicBezTo>
                      <a:pt x="43" y="48"/>
                      <a:pt x="42" y="48"/>
                      <a:pt x="42" y="48"/>
                    </a:cubicBezTo>
                    <a:cubicBezTo>
                      <a:pt x="42" y="48"/>
                      <a:pt x="42" y="47"/>
                      <a:pt x="43" y="47"/>
                    </a:cubicBezTo>
                    <a:cubicBezTo>
                      <a:pt x="43" y="47"/>
                      <a:pt x="43" y="46"/>
                      <a:pt x="43" y="45"/>
                    </a:cubicBezTo>
                    <a:cubicBezTo>
                      <a:pt x="44" y="45"/>
                      <a:pt x="44" y="45"/>
                      <a:pt x="44" y="44"/>
                    </a:cubicBezTo>
                    <a:cubicBezTo>
                      <a:pt x="45" y="44"/>
                      <a:pt x="44" y="43"/>
                      <a:pt x="44" y="43"/>
                    </a:cubicBezTo>
                    <a:cubicBezTo>
                      <a:pt x="43" y="42"/>
                      <a:pt x="43" y="42"/>
                      <a:pt x="43" y="41"/>
                    </a:cubicBezTo>
                    <a:cubicBezTo>
                      <a:pt x="43" y="41"/>
                      <a:pt x="44" y="40"/>
                      <a:pt x="43" y="40"/>
                    </a:cubicBezTo>
                    <a:cubicBezTo>
                      <a:pt x="43" y="39"/>
                      <a:pt x="42" y="40"/>
                      <a:pt x="42" y="39"/>
                    </a:cubicBezTo>
                    <a:cubicBezTo>
                      <a:pt x="42" y="38"/>
                      <a:pt x="42" y="38"/>
                      <a:pt x="43" y="38"/>
                    </a:cubicBezTo>
                    <a:cubicBezTo>
                      <a:pt x="43" y="37"/>
                      <a:pt x="42" y="36"/>
                      <a:pt x="41" y="36"/>
                    </a:cubicBezTo>
                    <a:cubicBezTo>
                      <a:pt x="41" y="35"/>
                      <a:pt x="41" y="34"/>
                      <a:pt x="40" y="34"/>
                    </a:cubicBezTo>
                    <a:cubicBezTo>
                      <a:pt x="40" y="33"/>
                      <a:pt x="40" y="32"/>
                      <a:pt x="39" y="32"/>
                    </a:cubicBezTo>
                    <a:cubicBezTo>
                      <a:pt x="39" y="31"/>
                      <a:pt x="38" y="31"/>
                      <a:pt x="38" y="31"/>
                    </a:cubicBezTo>
                    <a:cubicBezTo>
                      <a:pt x="38" y="30"/>
                      <a:pt x="38" y="29"/>
                      <a:pt x="37" y="29"/>
                    </a:cubicBezTo>
                    <a:cubicBezTo>
                      <a:pt x="36" y="29"/>
                      <a:pt x="34" y="29"/>
                      <a:pt x="32" y="29"/>
                    </a:cubicBezTo>
                    <a:cubicBezTo>
                      <a:pt x="32" y="29"/>
                      <a:pt x="31" y="29"/>
                      <a:pt x="31" y="29"/>
                    </a:cubicBezTo>
                    <a:cubicBezTo>
                      <a:pt x="31" y="30"/>
                      <a:pt x="31" y="30"/>
                      <a:pt x="31" y="30"/>
                    </a:cubicBezTo>
                    <a:cubicBezTo>
                      <a:pt x="31" y="30"/>
                      <a:pt x="30" y="30"/>
                      <a:pt x="30" y="30"/>
                    </a:cubicBezTo>
                    <a:cubicBezTo>
                      <a:pt x="29" y="31"/>
                      <a:pt x="29" y="31"/>
                      <a:pt x="28" y="31"/>
                    </a:cubicBezTo>
                    <a:cubicBezTo>
                      <a:pt x="27" y="30"/>
                      <a:pt x="27" y="30"/>
                      <a:pt x="26" y="30"/>
                    </a:cubicBezTo>
                    <a:cubicBezTo>
                      <a:pt x="26" y="30"/>
                      <a:pt x="25" y="31"/>
                      <a:pt x="25" y="31"/>
                    </a:cubicBezTo>
                    <a:cubicBezTo>
                      <a:pt x="25" y="31"/>
                      <a:pt x="25" y="32"/>
                      <a:pt x="25" y="33"/>
                    </a:cubicBezTo>
                    <a:cubicBezTo>
                      <a:pt x="24" y="33"/>
                      <a:pt x="24" y="34"/>
                      <a:pt x="24" y="34"/>
                    </a:cubicBezTo>
                    <a:cubicBezTo>
                      <a:pt x="24" y="34"/>
                      <a:pt x="23" y="35"/>
                      <a:pt x="23" y="35"/>
                    </a:cubicBezTo>
                    <a:cubicBezTo>
                      <a:pt x="23" y="36"/>
                      <a:pt x="23" y="36"/>
                      <a:pt x="23" y="36"/>
                    </a:cubicBezTo>
                    <a:cubicBezTo>
                      <a:pt x="22" y="36"/>
                      <a:pt x="23" y="36"/>
                      <a:pt x="22" y="37"/>
                    </a:cubicBezTo>
                    <a:cubicBezTo>
                      <a:pt x="22" y="37"/>
                      <a:pt x="22" y="37"/>
                      <a:pt x="22" y="37"/>
                    </a:cubicBezTo>
                    <a:cubicBezTo>
                      <a:pt x="21" y="37"/>
                      <a:pt x="21" y="37"/>
                      <a:pt x="21" y="38"/>
                    </a:cubicBezTo>
                    <a:cubicBezTo>
                      <a:pt x="20" y="38"/>
                      <a:pt x="21" y="38"/>
                      <a:pt x="20" y="38"/>
                    </a:cubicBezTo>
                    <a:cubicBezTo>
                      <a:pt x="20" y="39"/>
                      <a:pt x="20" y="39"/>
                      <a:pt x="20" y="39"/>
                    </a:cubicBezTo>
                    <a:cubicBezTo>
                      <a:pt x="19" y="40"/>
                      <a:pt x="18" y="39"/>
                      <a:pt x="17" y="40"/>
                    </a:cubicBezTo>
                    <a:cubicBezTo>
                      <a:pt x="17" y="40"/>
                      <a:pt x="17" y="39"/>
                      <a:pt x="17" y="39"/>
                    </a:cubicBezTo>
                    <a:cubicBezTo>
                      <a:pt x="18" y="39"/>
                      <a:pt x="18" y="39"/>
                      <a:pt x="19" y="38"/>
                    </a:cubicBezTo>
                    <a:cubicBezTo>
                      <a:pt x="18" y="38"/>
                      <a:pt x="18" y="38"/>
                      <a:pt x="18" y="37"/>
                    </a:cubicBezTo>
                    <a:cubicBezTo>
                      <a:pt x="18" y="38"/>
                      <a:pt x="17" y="39"/>
                      <a:pt x="17" y="38"/>
                    </a:cubicBezTo>
                    <a:cubicBezTo>
                      <a:pt x="17" y="38"/>
                      <a:pt x="17" y="38"/>
                      <a:pt x="17" y="37"/>
                    </a:cubicBezTo>
                    <a:cubicBezTo>
                      <a:pt x="17" y="37"/>
                      <a:pt x="17" y="37"/>
                      <a:pt x="17" y="37"/>
                    </a:cubicBezTo>
                    <a:cubicBezTo>
                      <a:pt x="17" y="37"/>
                      <a:pt x="17" y="38"/>
                      <a:pt x="16" y="37"/>
                    </a:cubicBezTo>
                    <a:cubicBezTo>
                      <a:pt x="16" y="37"/>
                      <a:pt x="16" y="36"/>
                      <a:pt x="16" y="36"/>
                    </a:cubicBezTo>
                    <a:cubicBezTo>
                      <a:pt x="16" y="36"/>
                      <a:pt x="15" y="36"/>
                      <a:pt x="15" y="35"/>
                    </a:cubicBezTo>
                    <a:cubicBezTo>
                      <a:pt x="15" y="35"/>
                      <a:pt x="15" y="35"/>
                      <a:pt x="15" y="34"/>
                    </a:cubicBezTo>
                    <a:cubicBezTo>
                      <a:pt x="15" y="34"/>
                      <a:pt x="15" y="35"/>
                      <a:pt x="15" y="35"/>
                    </a:cubicBezTo>
                    <a:cubicBezTo>
                      <a:pt x="15" y="35"/>
                      <a:pt x="14" y="35"/>
                      <a:pt x="14" y="34"/>
                    </a:cubicBezTo>
                    <a:cubicBezTo>
                      <a:pt x="14" y="34"/>
                      <a:pt x="13" y="35"/>
                      <a:pt x="13" y="35"/>
                    </a:cubicBezTo>
                    <a:cubicBezTo>
                      <a:pt x="13" y="34"/>
                      <a:pt x="14" y="34"/>
                      <a:pt x="14" y="33"/>
                    </a:cubicBezTo>
                    <a:cubicBezTo>
                      <a:pt x="14" y="33"/>
                      <a:pt x="14" y="33"/>
                      <a:pt x="14" y="32"/>
                    </a:cubicBezTo>
                    <a:cubicBezTo>
                      <a:pt x="14" y="32"/>
                      <a:pt x="15" y="32"/>
                      <a:pt x="15" y="32"/>
                    </a:cubicBezTo>
                    <a:cubicBezTo>
                      <a:pt x="14" y="32"/>
                      <a:pt x="14" y="31"/>
                      <a:pt x="14" y="31"/>
                    </a:cubicBezTo>
                    <a:cubicBezTo>
                      <a:pt x="14" y="32"/>
                      <a:pt x="14" y="33"/>
                      <a:pt x="13" y="32"/>
                    </a:cubicBezTo>
                    <a:cubicBezTo>
                      <a:pt x="12" y="32"/>
                      <a:pt x="14" y="31"/>
                      <a:pt x="14" y="30"/>
                    </a:cubicBezTo>
                    <a:cubicBezTo>
                      <a:pt x="13" y="32"/>
                      <a:pt x="12" y="31"/>
                      <a:pt x="11" y="30"/>
                    </a:cubicBezTo>
                    <a:cubicBezTo>
                      <a:pt x="11" y="30"/>
                      <a:pt x="10" y="30"/>
                      <a:pt x="10" y="29"/>
                    </a:cubicBezTo>
                    <a:cubicBezTo>
                      <a:pt x="10" y="29"/>
                      <a:pt x="10" y="28"/>
                      <a:pt x="11" y="28"/>
                    </a:cubicBezTo>
                    <a:cubicBezTo>
                      <a:pt x="10" y="28"/>
                      <a:pt x="10" y="28"/>
                      <a:pt x="10" y="28"/>
                    </a:cubicBezTo>
                    <a:cubicBezTo>
                      <a:pt x="10" y="28"/>
                      <a:pt x="10" y="27"/>
                      <a:pt x="11" y="27"/>
                    </a:cubicBezTo>
                    <a:cubicBezTo>
                      <a:pt x="10" y="27"/>
                      <a:pt x="10" y="28"/>
                      <a:pt x="10" y="28"/>
                    </a:cubicBezTo>
                    <a:cubicBezTo>
                      <a:pt x="10" y="28"/>
                      <a:pt x="10" y="29"/>
                      <a:pt x="9" y="29"/>
                    </a:cubicBezTo>
                    <a:cubicBezTo>
                      <a:pt x="8" y="29"/>
                      <a:pt x="9" y="28"/>
                      <a:pt x="9" y="28"/>
                    </a:cubicBezTo>
                    <a:cubicBezTo>
                      <a:pt x="9" y="27"/>
                      <a:pt x="9" y="28"/>
                      <a:pt x="9" y="28"/>
                    </a:cubicBezTo>
                    <a:cubicBezTo>
                      <a:pt x="8" y="29"/>
                      <a:pt x="8" y="27"/>
                      <a:pt x="8" y="27"/>
                    </a:cubicBezTo>
                    <a:cubicBezTo>
                      <a:pt x="8" y="28"/>
                      <a:pt x="8" y="28"/>
                      <a:pt x="8" y="28"/>
                    </a:cubicBezTo>
                    <a:cubicBezTo>
                      <a:pt x="7" y="27"/>
                      <a:pt x="7" y="26"/>
                      <a:pt x="6" y="27"/>
                    </a:cubicBezTo>
                    <a:cubicBezTo>
                      <a:pt x="6" y="27"/>
                      <a:pt x="6" y="26"/>
                      <a:pt x="6" y="26"/>
                    </a:cubicBezTo>
                    <a:cubicBezTo>
                      <a:pt x="6" y="25"/>
                      <a:pt x="5" y="24"/>
                      <a:pt x="5" y="24"/>
                    </a:cubicBezTo>
                    <a:cubicBezTo>
                      <a:pt x="5" y="24"/>
                      <a:pt x="4" y="25"/>
                      <a:pt x="4" y="24"/>
                    </a:cubicBezTo>
                    <a:cubicBezTo>
                      <a:pt x="4" y="23"/>
                      <a:pt x="5" y="23"/>
                      <a:pt x="5" y="23"/>
                    </a:cubicBezTo>
                    <a:cubicBezTo>
                      <a:pt x="4" y="23"/>
                      <a:pt x="6" y="20"/>
                      <a:pt x="6" y="20"/>
                    </a:cubicBezTo>
                    <a:cubicBezTo>
                      <a:pt x="5" y="20"/>
                      <a:pt x="5" y="21"/>
                      <a:pt x="5" y="21"/>
                    </a:cubicBezTo>
                    <a:cubicBezTo>
                      <a:pt x="5" y="21"/>
                      <a:pt x="4" y="23"/>
                      <a:pt x="4" y="22"/>
                    </a:cubicBezTo>
                    <a:cubicBezTo>
                      <a:pt x="4" y="22"/>
                      <a:pt x="4" y="22"/>
                      <a:pt x="4" y="22"/>
                    </a:cubicBezTo>
                    <a:cubicBezTo>
                      <a:pt x="3" y="22"/>
                      <a:pt x="4" y="21"/>
                      <a:pt x="4" y="20"/>
                    </a:cubicBezTo>
                    <a:cubicBezTo>
                      <a:pt x="4" y="21"/>
                      <a:pt x="3" y="22"/>
                      <a:pt x="3" y="22"/>
                    </a:cubicBezTo>
                    <a:cubicBezTo>
                      <a:pt x="3" y="22"/>
                      <a:pt x="4" y="20"/>
                      <a:pt x="4" y="20"/>
                    </a:cubicBezTo>
                    <a:cubicBezTo>
                      <a:pt x="3" y="20"/>
                      <a:pt x="3" y="20"/>
                      <a:pt x="3" y="20"/>
                    </a:cubicBezTo>
                    <a:cubicBezTo>
                      <a:pt x="3" y="20"/>
                      <a:pt x="3" y="19"/>
                      <a:pt x="3" y="19"/>
                    </a:cubicBezTo>
                    <a:cubicBezTo>
                      <a:pt x="3" y="19"/>
                      <a:pt x="5" y="18"/>
                      <a:pt x="4" y="18"/>
                    </a:cubicBezTo>
                    <a:cubicBezTo>
                      <a:pt x="4" y="18"/>
                      <a:pt x="4" y="19"/>
                      <a:pt x="3" y="19"/>
                    </a:cubicBezTo>
                    <a:cubicBezTo>
                      <a:pt x="3" y="19"/>
                      <a:pt x="3" y="18"/>
                      <a:pt x="3" y="18"/>
                    </a:cubicBezTo>
                    <a:cubicBezTo>
                      <a:pt x="3" y="18"/>
                      <a:pt x="3" y="19"/>
                      <a:pt x="2" y="19"/>
                    </a:cubicBezTo>
                    <a:cubicBezTo>
                      <a:pt x="2" y="19"/>
                      <a:pt x="2" y="18"/>
                      <a:pt x="2" y="18"/>
                    </a:cubicBezTo>
                    <a:cubicBezTo>
                      <a:pt x="2" y="18"/>
                      <a:pt x="2" y="18"/>
                      <a:pt x="2" y="18"/>
                    </a:cubicBezTo>
                    <a:cubicBezTo>
                      <a:pt x="2" y="19"/>
                      <a:pt x="2" y="18"/>
                      <a:pt x="1" y="19"/>
                    </a:cubicBezTo>
                    <a:cubicBezTo>
                      <a:pt x="2" y="17"/>
                      <a:pt x="2" y="17"/>
                      <a:pt x="3" y="15"/>
                    </a:cubicBezTo>
                    <a:cubicBezTo>
                      <a:pt x="3" y="15"/>
                      <a:pt x="4" y="13"/>
                      <a:pt x="4" y="13"/>
                    </a:cubicBezTo>
                    <a:cubicBezTo>
                      <a:pt x="5" y="13"/>
                      <a:pt x="5" y="13"/>
                      <a:pt x="6" y="13"/>
                    </a:cubicBezTo>
                    <a:cubicBezTo>
                      <a:pt x="6" y="13"/>
                      <a:pt x="7" y="12"/>
                      <a:pt x="7" y="12"/>
                    </a:cubicBezTo>
                    <a:cubicBezTo>
                      <a:pt x="8" y="12"/>
                      <a:pt x="8" y="11"/>
                      <a:pt x="9" y="11"/>
                    </a:cubicBezTo>
                    <a:cubicBezTo>
                      <a:pt x="9" y="11"/>
                      <a:pt x="10" y="11"/>
                      <a:pt x="11" y="11"/>
                    </a:cubicBezTo>
                    <a:cubicBezTo>
                      <a:pt x="11" y="11"/>
                      <a:pt x="11" y="11"/>
                      <a:pt x="11" y="11"/>
                    </a:cubicBezTo>
                    <a:cubicBezTo>
                      <a:pt x="12" y="11"/>
                      <a:pt x="12" y="11"/>
                      <a:pt x="12" y="11"/>
                    </a:cubicBezTo>
                    <a:cubicBezTo>
                      <a:pt x="12" y="11"/>
                      <a:pt x="12" y="10"/>
                      <a:pt x="12" y="10"/>
                    </a:cubicBezTo>
                    <a:cubicBezTo>
                      <a:pt x="13" y="10"/>
                      <a:pt x="13" y="11"/>
                      <a:pt x="13" y="11"/>
                    </a:cubicBezTo>
                    <a:cubicBezTo>
                      <a:pt x="14" y="10"/>
                      <a:pt x="14" y="9"/>
                      <a:pt x="14" y="9"/>
                    </a:cubicBezTo>
                    <a:cubicBezTo>
                      <a:pt x="14" y="8"/>
                      <a:pt x="14" y="8"/>
                      <a:pt x="14" y="7"/>
                    </a:cubicBezTo>
                    <a:cubicBezTo>
                      <a:pt x="14" y="7"/>
                      <a:pt x="13" y="7"/>
                      <a:pt x="13" y="7"/>
                    </a:cubicBezTo>
                    <a:cubicBezTo>
                      <a:pt x="12" y="6"/>
                      <a:pt x="12" y="6"/>
                      <a:pt x="11" y="6"/>
                    </a:cubicBezTo>
                    <a:cubicBezTo>
                      <a:pt x="10" y="6"/>
                      <a:pt x="13" y="4"/>
                      <a:pt x="13" y="5"/>
                    </a:cubicBezTo>
                    <a:cubicBezTo>
                      <a:pt x="14" y="4"/>
                      <a:pt x="14" y="4"/>
                      <a:pt x="14" y="3"/>
                    </a:cubicBezTo>
                    <a:cubicBezTo>
                      <a:pt x="15" y="2"/>
                      <a:pt x="14" y="1"/>
                      <a:pt x="14" y="0"/>
                    </a:cubicBezTo>
                    <a:cubicBezTo>
                      <a:pt x="16" y="0"/>
                      <a:pt x="18" y="0"/>
                      <a:pt x="19" y="0"/>
                    </a:cubicBezTo>
                    <a:cubicBezTo>
                      <a:pt x="21" y="0"/>
                      <a:pt x="19" y="2"/>
                      <a:pt x="21" y="2"/>
                    </a:cubicBezTo>
                    <a:cubicBezTo>
                      <a:pt x="21" y="2"/>
                      <a:pt x="21" y="1"/>
                      <a:pt x="22" y="1"/>
                    </a:cubicBezTo>
                    <a:cubicBezTo>
                      <a:pt x="22" y="1"/>
                      <a:pt x="22" y="2"/>
                      <a:pt x="22" y="2"/>
                    </a:cubicBezTo>
                    <a:cubicBezTo>
                      <a:pt x="23" y="2"/>
                      <a:pt x="23" y="3"/>
                      <a:pt x="23" y="3"/>
                    </a:cubicBezTo>
                    <a:cubicBezTo>
                      <a:pt x="24" y="3"/>
                      <a:pt x="25" y="3"/>
                      <a:pt x="25" y="3"/>
                    </a:cubicBezTo>
                    <a:cubicBezTo>
                      <a:pt x="26" y="3"/>
                      <a:pt x="26" y="3"/>
                      <a:pt x="27" y="4"/>
                    </a:cubicBezTo>
                    <a:cubicBezTo>
                      <a:pt x="27" y="4"/>
                      <a:pt x="28" y="4"/>
                      <a:pt x="28" y="4"/>
                    </a:cubicBezTo>
                    <a:cubicBezTo>
                      <a:pt x="29" y="3"/>
                      <a:pt x="29" y="3"/>
                      <a:pt x="29" y="3"/>
                    </a:cubicBezTo>
                    <a:cubicBezTo>
                      <a:pt x="30" y="3"/>
                      <a:pt x="30" y="3"/>
                      <a:pt x="30" y="3"/>
                    </a:cubicBezTo>
                    <a:cubicBezTo>
                      <a:pt x="31" y="3"/>
                      <a:pt x="31" y="3"/>
                      <a:pt x="31" y="3"/>
                    </a:cubicBezTo>
                    <a:cubicBezTo>
                      <a:pt x="32" y="3"/>
                      <a:pt x="32" y="3"/>
                      <a:pt x="33" y="3"/>
                    </a:cubicBezTo>
                    <a:cubicBezTo>
                      <a:pt x="33" y="3"/>
                      <a:pt x="34" y="3"/>
                      <a:pt x="35" y="3"/>
                    </a:cubicBezTo>
                    <a:cubicBezTo>
                      <a:pt x="35" y="3"/>
                      <a:pt x="36" y="3"/>
                      <a:pt x="36" y="3"/>
                    </a:cubicBezTo>
                    <a:cubicBezTo>
                      <a:pt x="37" y="3"/>
                      <a:pt x="36" y="3"/>
                      <a:pt x="36" y="3"/>
                    </a:cubicBezTo>
                    <a:cubicBezTo>
                      <a:pt x="36" y="4"/>
                      <a:pt x="36" y="4"/>
                      <a:pt x="36" y="4"/>
                    </a:cubicBezTo>
                    <a:cubicBezTo>
                      <a:pt x="36" y="5"/>
                      <a:pt x="35" y="5"/>
                      <a:pt x="35" y="5"/>
                    </a:cubicBezTo>
                    <a:cubicBezTo>
                      <a:pt x="35" y="6"/>
                      <a:pt x="36" y="6"/>
                      <a:pt x="36" y="7"/>
                    </a:cubicBezTo>
                    <a:cubicBezTo>
                      <a:pt x="37" y="7"/>
                      <a:pt x="37" y="8"/>
                      <a:pt x="38" y="7"/>
                    </a:cubicBezTo>
                    <a:cubicBezTo>
                      <a:pt x="39" y="7"/>
                      <a:pt x="39" y="6"/>
                      <a:pt x="40" y="5"/>
                    </a:cubicBezTo>
                    <a:cubicBezTo>
                      <a:pt x="40" y="5"/>
                      <a:pt x="41" y="5"/>
                      <a:pt x="41" y="5"/>
                    </a:cubicBezTo>
                    <a:cubicBezTo>
                      <a:pt x="41" y="6"/>
                      <a:pt x="42" y="6"/>
                      <a:pt x="42" y="6"/>
                    </a:cubicBezTo>
                    <a:cubicBezTo>
                      <a:pt x="42" y="6"/>
                      <a:pt x="42" y="7"/>
                      <a:pt x="42" y="7"/>
                    </a:cubicBezTo>
                    <a:cubicBezTo>
                      <a:pt x="42" y="7"/>
                      <a:pt x="43" y="9"/>
                      <a:pt x="43" y="8"/>
                    </a:cubicBezTo>
                    <a:cubicBezTo>
                      <a:pt x="43" y="8"/>
                      <a:pt x="44" y="8"/>
                      <a:pt x="44" y="7"/>
                    </a:cubicBezTo>
                    <a:cubicBezTo>
                      <a:pt x="44" y="7"/>
                      <a:pt x="45" y="7"/>
                      <a:pt x="45" y="7"/>
                    </a:cubicBezTo>
                    <a:cubicBezTo>
                      <a:pt x="45" y="6"/>
                      <a:pt x="45" y="6"/>
                      <a:pt x="45" y="6"/>
                    </a:cubicBezTo>
                    <a:cubicBezTo>
                      <a:pt x="45" y="6"/>
                      <a:pt x="46" y="6"/>
                      <a:pt x="46" y="5"/>
                    </a:cubicBezTo>
                    <a:cubicBezTo>
                      <a:pt x="46" y="5"/>
                      <a:pt x="46" y="5"/>
                      <a:pt x="46" y="5"/>
                    </a:cubicBezTo>
                    <a:cubicBezTo>
                      <a:pt x="47" y="5"/>
                      <a:pt x="47" y="5"/>
                      <a:pt x="47" y="5"/>
                    </a:cubicBezTo>
                    <a:cubicBezTo>
                      <a:pt x="47" y="5"/>
                      <a:pt x="47" y="5"/>
                      <a:pt x="48" y="5"/>
                    </a:cubicBezTo>
                    <a:cubicBezTo>
                      <a:pt x="48" y="5"/>
                      <a:pt x="49" y="6"/>
                      <a:pt x="49" y="6"/>
                    </a:cubicBezTo>
                    <a:cubicBezTo>
                      <a:pt x="50" y="6"/>
                      <a:pt x="52" y="8"/>
                      <a:pt x="53" y="6"/>
                    </a:cubicBezTo>
                    <a:cubicBezTo>
                      <a:pt x="53" y="6"/>
                      <a:pt x="53" y="6"/>
                      <a:pt x="54" y="5"/>
                    </a:cubicBezTo>
                    <a:cubicBezTo>
                      <a:pt x="55" y="5"/>
                      <a:pt x="55" y="5"/>
                      <a:pt x="55" y="5"/>
                    </a:cubicBezTo>
                    <a:cubicBezTo>
                      <a:pt x="56" y="5"/>
                      <a:pt x="56" y="5"/>
                      <a:pt x="56" y="4"/>
                    </a:cubicBezTo>
                    <a:cubicBezTo>
                      <a:pt x="57" y="3"/>
                      <a:pt x="56" y="3"/>
                      <a:pt x="56" y="2"/>
                    </a:cubicBezTo>
                    <a:cubicBezTo>
                      <a:pt x="56" y="2"/>
                      <a:pt x="58" y="2"/>
                      <a:pt x="58" y="2"/>
                    </a:cubicBezTo>
                    <a:cubicBezTo>
                      <a:pt x="58" y="2"/>
                      <a:pt x="60" y="3"/>
                      <a:pt x="60" y="4"/>
                    </a:cubicBezTo>
                    <a:cubicBezTo>
                      <a:pt x="60" y="4"/>
                      <a:pt x="59" y="5"/>
                      <a:pt x="60" y="5"/>
                    </a:cubicBezTo>
                    <a:cubicBezTo>
                      <a:pt x="61" y="6"/>
                      <a:pt x="60" y="6"/>
                      <a:pt x="60" y="7"/>
                    </a:cubicBezTo>
                    <a:cubicBezTo>
                      <a:pt x="60" y="7"/>
                      <a:pt x="61" y="7"/>
                      <a:pt x="61" y="7"/>
                    </a:cubicBezTo>
                    <a:cubicBezTo>
                      <a:pt x="61" y="7"/>
                      <a:pt x="61" y="8"/>
                      <a:pt x="61" y="8"/>
                    </a:cubicBezTo>
                    <a:cubicBezTo>
                      <a:pt x="61" y="9"/>
                      <a:pt x="61" y="10"/>
                      <a:pt x="61" y="11"/>
                    </a:cubicBezTo>
                    <a:cubicBezTo>
                      <a:pt x="61" y="12"/>
                      <a:pt x="62" y="11"/>
                      <a:pt x="62" y="12"/>
                    </a:cubicBezTo>
                    <a:cubicBezTo>
                      <a:pt x="62" y="12"/>
                      <a:pt x="63" y="14"/>
                      <a:pt x="64" y="13"/>
                    </a:cubicBezTo>
                    <a:cubicBezTo>
                      <a:pt x="64" y="14"/>
                      <a:pt x="65" y="14"/>
                      <a:pt x="65" y="14"/>
                    </a:cubicBezTo>
                    <a:cubicBezTo>
                      <a:pt x="65" y="14"/>
                      <a:pt x="65" y="15"/>
                      <a:pt x="65" y="15"/>
                    </a:cubicBezTo>
                    <a:cubicBezTo>
                      <a:pt x="66" y="15"/>
                      <a:pt x="65" y="15"/>
                      <a:pt x="65" y="15"/>
                    </a:cubicBezTo>
                    <a:cubicBezTo>
                      <a:pt x="64" y="15"/>
                      <a:pt x="64" y="15"/>
                      <a:pt x="64" y="16"/>
                    </a:cubicBezTo>
                    <a:cubicBezTo>
                      <a:pt x="64" y="16"/>
                      <a:pt x="64" y="16"/>
                      <a:pt x="63" y="16"/>
                    </a:cubicBezTo>
                    <a:cubicBezTo>
                      <a:pt x="63" y="17"/>
                      <a:pt x="63" y="17"/>
                      <a:pt x="63" y="17"/>
                    </a:cubicBezTo>
                    <a:cubicBezTo>
                      <a:pt x="63" y="17"/>
                      <a:pt x="63" y="18"/>
                      <a:pt x="62" y="18"/>
                    </a:cubicBezTo>
                    <a:cubicBezTo>
                      <a:pt x="62" y="18"/>
                      <a:pt x="62" y="19"/>
                      <a:pt x="62" y="19"/>
                    </a:cubicBezTo>
                    <a:cubicBezTo>
                      <a:pt x="63" y="19"/>
                      <a:pt x="64" y="19"/>
                      <a:pt x="64" y="18"/>
                    </a:cubicBezTo>
                    <a:cubicBezTo>
                      <a:pt x="64" y="18"/>
                      <a:pt x="65" y="18"/>
                      <a:pt x="66" y="18"/>
                    </a:cubicBezTo>
                    <a:cubicBezTo>
                      <a:pt x="66" y="18"/>
                      <a:pt x="66" y="19"/>
                      <a:pt x="66" y="20"/>
                    </a:cubicBezTo>
                    <a:cubicBezTo>
                      <a:pt x="66" y="20"/>
                      <a:pt x="66" y="21"/>
                      <a:pt x="66" y="21"/>
                    </a:cubicBezTo>
                    <a:cubicBezTo>
                      <a:pt x="66" y="22"/>
                      <a:pt x="66" y="25"/>
                      <a:pt x="67" y="25"/>
                    </a:cubicBezTo>
                    <a:cubicBezTo>
                      <a:pt x="68" y="24"/>
                      <a:pt x="67" y="25"/>
                      <a:pt x="68" y="26"/>
                    </a:cubicBezTo>
                    <a:cubicBezTo>
                      <a:pt x="69" y="26"/>
                      <a:pt x="69" y="26"/>
                      <a:pt x="69" y="27"/>
                    </a:cubicBezTo>
                    <a:cubicBezTo>
                      <a:pt x="69" y="28"/>
                      <a:pt x="69" y="28"/>
                      <a:pt x="68" y="29"/>
                    </a:cubicBezTo>
                    <a:cubicBezTo>
                      <a:pt x="68" y="29"/>
                      <a:pt x="67" y="29"/>
                      <a:pt x="67" y="29"/>
                    </a:cubicBezTo>
                    <a:cubicBezTo>
                      <a:pt x="67" y="29"/>
                      <a:pt x="67" y="30"/>
                      <a:pt x="67" y="30"/>
                    </a:cubicBezTo>
                    <a:cubicBezTo>
                      <a:pt x="67" y="30"/>
                      <a:pt x="67" y="30"/>
                      <a:pt x="67" y="31"/>
                    </a:cubicBezTo>
                    <a:cubicBezTo>
                      <a:pt x="67" y="31"/>
                      <a:pt x="68" y="31"/>
                      <a:pt x="67" y="32"/>
                    </a:cubicBezTo>
                    <a:cubicBezTo>
                      <a:pt x="67" y="33"/>
                      <a:pt x="67" y="35"/>
                      <a:pt x="68" y="36"/>
                    </a:cubicBezTo>
                    <a:cubicBezTo>
                      <a:pt x="68" y="36"/>
                      <a:pt x="69" y="36"/>
                      <a:pt x="70" y="36"/>
                    </a:cubicBezTo>
                    <a:cubicBezTo>
                      <a:pt x="70" y="36"/>
                      <a:pt x="69" y="37"/>
                      <a:pt x="69" y="38"/>
                    </a:cubicBezTo>
                    <a:cubicBezTo>
                      <a:pt x="69" y="38"/>
                      <a:pt x="70" y="38"/>
                      <a:pt x="70" y="38"/>
                    </a:cubicBezTo>
                    <a:cubicBezTo>
                      <a:pt x="70" y="39"/>
                      <a:pt x="71" y="39"/>
                      <a:pt x="71" y="39"/>
                    </a:cubicBezTo>
                    <a:cubicBezTo>
                      <a:pt x="71" y="39"/>
                      <a:pt x="70" y="40"/>
                      <a:pt x="70" y="40"/>
                    </a:cubicBezTo>
                    <a:cubicBezTo>
                      <a:pt x="70" y="40"/>
                      <a:pt x="69" y="40"/>
                      <a:pt x="69" y="41"/>
                    </a:cubicBezTo>
                    <a:cubicBezTo>
                      <a:pt x="69" y="41"/>
                      <a:pt x="69" y="42"/>
                      <a:pt x="69" y="42"/>
                    </a:cubicBezTo>
                    <a:cubicBezTo>
                      <a:pt x="69" y="43"/>
                      <a:pt x="70" y="43"/>
                      <a:pt x="70" y="43"/>
                    </a:cubicBezTo>
                    <a:cubicBezTo>
                      <a:pt x="71" y="43"/>
                      <a:pt x="71" y="44"/>
                      <a:pt x="72" y="45"/>
                    </a:cubicBezTo>
                    <a:cubicBezTo>
                      <a:pt x="72" y="46"/>
                      <a:pt x="72" y="46"/>
                      <a:pt x="72" y="47"/>
                    </a:cubicBezTo>
                    <a:close/>
                    <a:moveTo>
                      <a:pt x="1" y="19"/>
                    </a:moveTo>
                    <a:cubicBezTo>
                      <a:pt x="0" y="19"/>
                      <a:pt x="0" y="21"/>
                      <a:pt x="1" y="21"/>
                    </a:cubicBezTo>
                    <a:cubicBezTo>
                      <a:pt x="2" y="21"/>
                      <a:pt x="1" y="20"/>
                      <a:pt x="1" y="20"/>
                    </a:cubicBezTo>
                    <a:cubicBezTo>
                      <a:pt x="1" y="20"/>
                      <a:pt x="2" y="20"/>
                      <a:pt x="2" y="19"/>
                    </a:cubicBezTo>
                    <a:cubicBezTo>
                      <a:pt x="2" y="19"/>
                      <a:pt x="1" y="18"/>
                      <a:pt x="1" y="1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0" name="Guatemala">
                <a:extLst>
                  <a:ext uri="{FF2B5EF4-FFF2-40B4-BE49-F238E27FC236}">
                    <a16:creationId xmlns:a16="http://schemas.microsoft.com/office/drawing/2014/main" id="{E1C988A6-8076-A3F9-D838-FBE10EFFFCAA}"/>
                  </a:ext>
                </a:extLst>
              </p:cNvPr>
              <p:cNvSpPr>
                <a:spLocks/>
              </p:cNvSpPr>
              <p:nvPr/>
            </p:nvSpPr>
            <p:spPr bwMode="auto">
              <a:xfrm>
                <a:off x="2556237" y="3349413"/>
                <a:ext cx="145065" cy="159768"/>
              </a:xfrm>
              <a:custGeom>
                <a:avLst/>
                <a:gdLst/>
                <a:ahLst/>
                <a:cxnLst>
                  <a:cxn ang="0">
                    <a:pos x="37" y="21"/>
                  </a:cxn>
                  <a:cxn ang="0">
                    <a:pos x="37" y="22"/>
                  </a:cxn>
                  <a:cxn ang="0">
                    <a:pos x="37" y="23"/>
                  </a:cxn>
                  <a:cxn ang="0">
                    <a:pos x="34" y="22"/>
                  </a:cxn>
                  <a:cxn ang="0">
                    <a:pos x="31" y="22"/>
                  </a:cxn>
                  <a:cxn ang="0">
                    <a:pos x="35" y="0"/>
                  </a:cxn>
                  <a:cxn ang="0">
                    <a:pos x="22" y="0"/>
                  </a:cxn>
                  <a:cxn ang="0">
                    <a:pos x="17" y="1"/>
                  </a:cxn>
                  <a:cxn ang="0">
                    <a:pos x="16" y="5"/>
                  </a:cxn>
                  <a:cxn ang="0">
                    <a:pos x="15" y="7"/>
                  </a:cxn>
                  <a:cxn ang="0">
                    <a:pos x="12" y="7"/>
                  </a:cxn>
                  <a:cxn ang="0">
                    <a:pos x="13" y="8"/>
                  </a:cxn>
                  <a:cxn ang="0">
                    <a:pos x="15" y="10"/>
                  </a:cxn>
                  <a:cxn ang="0">
                    <a:pos x="16" y="11"/>
                  </a:cxn>
                  <a:cxn ang="0">
                    <a:pos x="17" y="12"/>
                  </a:cxn>
                  <a:cxn ang="0">
                    <a:pos x="18" y="15"/>
                  </a:cxn>
                  <a:cxn ang="0">
                    <a:pos x="20" y="16"/>
                  </a:cxn>
                  <a:cxn ang="0">
                    <a:pos x="20" y="17"/>
                  </a:cxn>
                  <a:cxn ang="0">
                    <a:pos x="20" y="19"/>
                  </a:cxn>
                  <a:cxn ang="0">
                    <a:pos x="13" y="20"/>
                  </a:cxn>
                  <a:cxn ang="0">
                    <a:pos x="7" y="20"/>
                  </a:cxn>
                  <a:cxn ang="0">
                    <a:pos x="3" y="27"/>
                  </a:cxn>
                  <a:cxn ang="0">
                    <a:pos x="2" y="31"/>
                  </a:cxn>
                  <a:cxn ang="0">
                    <a:pos x="2" y="33"/>
                  </a:cxn>
                  <a:cxn ang="0">
                    <a:pos x="0" y="36"/>
                  </a:cxn>
                  <a:cxn ang="0">
                    <a:pos x="9" y="43"/>
                  </a:cxn>
                  <a:cxn ang="0">
                    <a:pos x="20" y="45"/>
                  </a:cxn>
                  <a:cxn ang="0">
                    <a:pos x="23" y="42"/>
                  </a:cxn>
                  <a:cxn ang="0">
                    <a:pos x="26" y="40"/>
                  </a:cxn>
                  <a:cxn ang="0">
                    <a:pos x="26" y="39"/>
                  </a:cxn>
                  <a:cxn ang="0">
                    <a:pos x="28" y="37"/>
                  </a:cxn>
                  <a:cxn ang="0">
                    <a:pos x="29" y="36"/>
                  </a:cxn>
                  <a:cxn ang="0">
                    <a:pos x="30" y="35"/>
                  </a:cxn>
                  <a:cxn ang="0">
                    <a:pos x="31" y="31"/>
                  </a:cxn>
                  <a:cxn ang="0">
                    <a:pos x="36" y="27"/>
                  </a:cxn>
                  <a:cxn ang="0">
                    <a:pos x="40" y="24"/>
                  </a:cxn>
                  <a:cxn ang="0">
                    <a:pos x="38" y="22"/>
                  </a:cxn>
                </a:cxnLst>
                <a:rect l="0" t="0" r="r" b="b"/>
                <a:pathLst>
                  <a:path w="41" h="45">
                    <a:moveTo>
                      <a:pt x="38" y="22"/>
                    </a:moveTo>
                    <a:cubicBezTo>
                      <a:pt x="38" y="22"/>
                      <a:pt x="37" y="21"/>
                      <a:pt x="37" y="21"/>
                    </a:cubicBezTo>
                    <a:cubicBezTo>
                      <a:pt x="37" y="21"/>
                      <a:pt x="38" y="22"/>
                      <a:pt x="38" y="22"/>
                    </a:cubicBezTo>
                    <a:cubicBezTo>
                      <a:pt x="38" y="22"/>
                      <a:pt x="38" y="22"/>
                      <a:pt x="37" y="22"/>
                    </a:cubicBezTo>
                    <a:cubicBezTo>
                      <a:pt x="37" y="23"/>
                      <a:pt x="37" y="23"/>
                      <a:pt x="37" y="24"/>
                    </a:cubicBezTo>
                    <a:cubicBezTo>
                      <a:pt x="36" y="24"/>
                      <a:pt x="37" y="23"/>
                      <a:pt x="37" y="23"/>
                    </a:cubicBezTo>
                    <a:cubicBezTo>
                      <a:pt x="36" y="22"/>
                      <a:pt x="35" y="22"/>
                      <a:pt x="34" y="22"/>
                    </a:cubicBezTo>
                    <a:cubicBezTo>
                      <a:pt x="34" y="22"/>
                      <a:pt x="34" y="22"/>
                      <a:pt x="34" y="22"/>
                    </a:cubicBezTo>
                    <a:cubicBezTo>
                      <a:pt x="34" y="22"/>
                      <a:pt x="33" y="22"/>
                      <a:pt x="33" y="21"/>
                    </a:cubicBezTo>
                    <a:cubicBezTo>
                      <a:pt x="32" y="21"/>
                      <a:pt x="32" y="21"/>
                      <a:pt x="31" y="22"/>
                    </a:cubicBezTo>
                    <a:cubicBezTo>
                      <a:pt x="31" y="22"/>
                      <a:pt x="31" y="20"/>
                      <a:pt x="31" y="20"/>
                    </a:cubicBezTo>
                    <a:cubicBezTo>
                      <a:pt x="33" y="13"/>
                      <a:pt x="34" y="7"/>
                      <a:pt x="35" y="0"/>
                    </a:cubicBezTo>
                    <a:cubicBezTo>
                      <a:pt x="32" y="0"/>
                      <a:pt x="30" y="0"/>
                      <a:pt x="27" y="0"/>
                    </a:cubicBezTo>
                    <a:cubicBezTo>
                      <a:pt x="26" y="0"/>
                      <a:pt x="24" y="0"/>
                      <a:pt x="22" y="0"/>
                    </a:cubicBezTo>
                    <a:cubicBezTo>
                      <a:pt x="21" y="0"/>
                      <a:pt x="19" y="0"/>
                      <a:pt x="18" y="0"/>
                    </a:cubicBezTo>
                    <a:cubicBezTo>
                      <a:pt x="17" y="0"/>
                      <a:pt x="17" y="1"/>
                      <a:pt x="17" y="1"/>
                    </a:cubicBezTo>
                    <a:cubicBezTo>
                      <a:pt x="17" y="2"/>
                      <a:pt x="17" y="2"/>
                      <a:pt x="17" y="3"/>
                    </a:cubicBezTo>
                    <a:cubicBezTo>
                      <a:pt x="17" y="4"/>
                      <a:pt x="17" y="4"/>
                      <a:pt x="16" y="5"/>
                    </a:cubicBezTo>
                    <a:cubicBezTo>
                      <a:pt x="16" y="5"/>
                      <a:pt x="16" y="6"/>
                      <a:pt x="16" y="7"/>
                    </a:cubicBezTo>
                    <a:cubicBezTo>
                      <a:pt x="16" y="7"/>
                      <a:pt x="15" y="7"/>
                      <a:pt x="15" y="7"/>
                    </a:cubicBezTo>
                    <a:cubicBezTo>
                      <a:pt x="14" y="7"/>
                      <a:pt x="13" y="7"/>
                      <a:pt x="13" y="7"/>
                    </a:cubicBezTo>
                    <a:cubicBezTo>
                      <a:pt x="12" y="7"/>
                      <a:pt x="12" y="6"/>
                      <a:pt x="12" y="7"/>
                    </a:cubicBezTo>
                    <a:cubicBezTo>
                      <a:pt x="12" y="7"/>
                      <a:pt x="13" y="7"/>
                      <a:pt x="13" y="7"/>
                    </a:cubicBezTo>
                    <a:cubicBezTo>
                      <a:pt x="13" y="7"/>
                      <a:pt x="13" y="7"/>
                      <a:pt x="13" y="8"/>
                    </a:cubicBezTo>
                    <a:cubicBezTo>
                      <a:pt x="13" y="8"/>
                      <a:pt x="14" y="9"/>
                      <a:pt x="14" y="9"/>
                    </a:cubicBezTo>
                    <a:cubicBezTo>
                      <a:pt x="14" y="9"/>
                      <a:pt x="15" y="9"/>
                      <a:pt x="15" y="10"/>
                    </a:cubicBezTo>
                    <a:cubicBezTo>
                      <a:pt x="15" y="10"/>
                      <a:pt x="15" y="10"/>
                      <a:pt x="16" y="11"/>
                    </a:cubicBezTo>
                    <a:cubicBezTo>
                      <a:pt x="16" y="11"/>
                      <a:pt x="16" y="10"/>
                      <a:pt x="16" y="11"/>
                    </a:cubicBezTo>
                    <a:cubicBezTo>
                      <a:pt x="16" y="11"/>
                      <a:pt x="16" y="11"/>
                      <a:pt x="16" y="11"/>
                    </a:cubicBezTo>
                    <a:cubicBezTo>
                      <a:pt x="16" y="11"/>
                      <a:pt x="17" y="11"/>
                      <a:pt x="17" y="12"/>
                    </a:cubicBezTo>
                    <a:cubicBezTo>
                      <a:pt x="18" y="12"/>
                      <a:pt x="19" y="13"/>
                      <a:pt x="18" y="14"/>
                    </a:cubicBezTo>
                    <a:cubicBezTo>
                      <a:pt x="19" y="14"/>
                      <a:pt x="19" y="15"/>
                      <a:pt x="18" y="15"/>
                    </a:cubicBezTo>
                    <a:cubicBezTo>
                      <a:pt x="19" y="15"/>
                      <a:pt x="19" y="15"/>
                      <a:pt x="20" y="16"/>
                    </a:cubicBezTo>
                    <a:cubicBezTo>
                      <a:pt x="20" y="16"/>
                      <a:pt x="21" y="16"/>
                      <a:pt x="20" y="16"/>
                    </a:cubicBezTo>
                    <a:cubicBezTo>
                      <a:pt x="21" y="17"/>
                      <a:pt x="20" y="17"/>
                      <a:pt x="20" y="17"/>
                    </a:cubicBezTo>
                    <a:cubicBezTo>
                      <a:pt x="20" y="17"/>
                      <a:pt x="20" y="17"/>
                      <a:pt x="20" y="17"/>
                    </a:cubicBezTo>
                    <a:cubicBezTo>
                      <a:pt x="20" y="18"/>
                      <a:pt x="20" y="18"/>
                      <a:pt x="20" y="18"/>
                    </a:cubicBezTo>
                    <a:cubicBezTo>
                      <a:pt x="20" y="18"/>
                      <a:pt x="20" y="19"/>
                      <a:pt x="20" y="19"/>
                    </a:cubicBezTo>
                    <a:cubicBezTo>
                      <a:pt x="19" y="20"/>
                      <a:pt x="18" y="20"/>
                      <a:pt x="17" y="20"/>
                    </a:cubicBezTo>
                    <a:cubicBezTo>
                      <a:pt x="16" y="20"/>
                      <a:pt x="14" y="20"/>
                      <a:pt x="13" y="20"/>
                    </a:cubicBezTo>
                    <a:cubicBezTo>
                      <a:pt x="12" y="20"/>
                      <a:pt x="11" y="20"/>
                      <a:pt x="9" y="20"/>
                    </a:cubicBezTo>
                    <a:cubicBezTo>
                      <a:pt x="9" y="20"/>
                      <a:pt x="8" y="19"/>
                      <a:pt x="7" y="20"/>
                    </a:cubicBezTo>
                    <a:cubicBezTo>
                      <a:pt x="6" y="21"/>
                      <a:pt x="6" y="22"/>
                      <a:pt x="5" y="23"/>
                    </a:cubicBezTo>
                    <a:cubicBezTo>
                      <a:pt x="4" y="24"/>
                      <a:pt x="3" y="26"/>
                      <a:pt x="3" y="27"/>
                    </a:cubicBezTo>
                    <a:cubicBezTo>
                      <a:pt x="2" y="27"/>
                      <a:pt x="1" y="28"/>
                      <a:pt x="2" y="29"/>
                    </a:cubicBezTo>
                    <a:cubicBezTo>
                      <a:pt x="2" y="29"/>
                      <a:pt x="3" y="30"/>
                      <a:pt x="2" y="31"/>
                    </a:cubicBezTo>
                    <a:cubicBezTo>
                      <a:pt x="2" y="31"/>
                      <a:pt x="2" y="31"/>
                      <a:pt x="2" y="31"/>
                    </a:cubicBezTo>
                    <a:cubicBezTo>
                      <a:pt x="2" y="32"/>
                      <a:pt x="2" y="32"/>
                      <a:pt x="2" y="33"/>
                    </a:cubicBezTo>
                    <a:cubicBezTo>
                      <a:pt x="1" y="33"/>
                      <a:pt x="1" y="34"/>
                      <a:pt x="1" y="35"/>
                    </a:cubicBezTo>
                    <a:cubicBezTo>
                      <a:pt x="1" y="35"/>
                      <a:pt x="1" y="36"/>
                      <a:pt x="0" y="36"/>
                    </a:cubicBezTo>
                    <a:cubicBezTo>
                      <a:pt x="1" y="37"/>
                      <a:pt x="2" y="38"/>
                      <a:pt x="3" y="39"/>
                    </a:cubicBezTo>
                    <a:cubicBezTo>
                      <a:pt x="5" y="41"/>
                      <a:pt x="7" y="42"/>
                      <a:pt x="9" y="43"/>
                    </a:cubicBezTo>
                    <a:cubicBezTo>
                      <a:pt x="11" y="44"/>
                      <a:pt x="12" y="43"/>
                      <a:pt x="14" y="43"/>
                    </a:cubicBezTo>
                    <a:cubicBezTo>
                      <a:pt x="16" y="43"/>
                      <a:pt x="18" y="44"/>
                      <a:pt x="20" y="45"/>
                    </a:cubicBezTo>
                    <a:cubicBezTo>
                      <a:pt x="20" y="44"/>
                      <a:pt x="21" y="43"/>
                      <a:pt x="22" y="43"/>
                    </a:cubicBezTo>
                    <a:cubicBezTo>
                      <a:pt x="22" y="42"/>
                      <a:pt x="22" y="42"/>
                      <a:pt x="23" y="42"/>
                    </a:cubicBezTo>
                    <a:cubicBezTo>
                      <a:pt x="23" y="42"/>
                      <a:pt x="23" y="42"/>
                      <a:pt x="24" y="42"/>
                    </a:cubicBezTo>
                    <a:cubicBezTo>
                      <a:pt x="24" y="41"/>
                      <a:pt x="24" y="41"/>
                      <a:pt x="26" y="40"/>
                    </a:cubicBezTo>
                    <a:cubicBezTo>
                      <a:pt x="26" y="40"/>
                      <a:pt x="26" y="40"/>
                      <a:pt x="26" y="39"/>
                    </a:cubicBezTo>
                    <a:cubicBezTo>
                      <a:pt x="26" y="39"/>
                      <a:pt x="26" y="39"/>
                      <a:pt x="26" y="39"/>
                    </a:cubicBezTo>
                    <a:cubicBezTo>
                      <a:pt x="25" y="38"/>
                      <a:pt x="26" y="37"/>
                      <a:pt x="26" y="38"/>
                    </a:cubicBezTo>
                    <a:cubicBezTo>
                      <a:pt x="27" y="38"/>
                      <a:pt x="27" y="38"/>
                      <a:pt x="28" y="37"/>
                    </a:cubicBezTo>
                    <a:cubicBezTo>
                      <a:pt x="28" y="38"/>
                      <a:pt x="28" y="38"/>
                      <a:pt x="28" y="38"/>
                    </a:cubicBezTo>
                    <a:cubicBezTo>
                      <a:pt x="28" y="37"/>
                      <a:pt x="29" y="36"/>
                      <a:pt x="29" y="36"/>
                    </a:cubicBezTo>
                    <a:cubicBezTo>
                      <a:pt x="30" y="36"/>
                      <a:pt x="30" y="36"/>
                      <a:pt x="30" y="36"/>
                    </a:cubicBezTo>
                    <a:cubicBezTo>
                      <a:pt x="30" y="35"/>
                      <a:pt x="30" y="35"/>
                      <a:pt x="30" y="35"/>
                    </a:cubicBezTo>
                    <a:cubicBezTo>
                      <a:pt x="31" y="34"/>
                      <a:pt x="29" y="33"/>
                      <a:pt x="30" y="33"/>
                    </a:cubicBezTo>
                    <a:cubicBezTo>
                      <a:pt x="31" y="32"/>
                      <a:pt x="30" y="31"/>
                      <a:pt x="31" y="31"/>
                    </a:cubicBezTo>
                    <a:cubicBezTo>
                      <a:pt x="32" y="30"/>
                      <a:pt x="33" y="30"/>
                      <a:pt x="33" y="29"/>
                    </a:cubicBezTo>
                    <a:cubicBezTo>
                      <a:pt x="34" y="28"/>
                      <a:pt x="35" y="28"/>
                      <a:pt x="36" y="27"/>
                    </a:cubicBezTo>
                    <a:cubicBezTo>
                      <a:pt x="37" y="26"/>
                      <a:pt x="38" y="26"/>
                      <a:pt x="39" y="25"/>
                    </a:cubicBezTo>
                    <a:cubicBezTo>
                      <a:pt x="39" y="24"/>
                      <a:pt x="39" y="24"/>
                      <a:pt x="40" y="24"/>
                    </a:cubicBezTo>
                    <a:cubicBezTo>
                      <a:pt x="40" y="24"/>
                      <a:pt x="40" y="24"/>
                      <a:pt x="41" y="23"/>
                    </a:cubicBezTo>
                    <a:cubicBezTo>
                      <a:pt x="40" y="23"/>
                      <a:pt x="39" y="22"/>
                      <a:pt x="38" y="2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1" name="Guam (US)">
                <a:extLst>
                  <a:ext uri="{FF2B5EF4-FFF2-40B4-BE49-F238E27FC236}">
                    <a16:creationId xmlns:a16="http://schemas.microsoft.com/office/drawing/2014/main" id="{F42B91CE-A32C-58ED-DABB-06C3A4BB799A}"/>
                  </a:ext>
                </a:extLst>
              </p:cNvPr>
              <p:cNvSpPr>
                <a:spLocks/>
              </p:cNvSpPr>
              <p:nvPr/>
            </p:nvSpPr>
            <p:spPr bwMode="auto">
              <a:xfrm>
                <a:off x="10629849" y="3512120"/>
                <a:ext cx="9801" cy="17644"/>
              </a:xfrm>
              <a:custGeom>
                <a:avLst/>
                <a:gdLst/>
                <a:ahLst/>
                <a:cxnLst>
                  <a:cxn ang="0">
                    <a:pos x="2" y="1"/>
                  </a:cxn>
                  <a:cxn ang="0">
                    <a:pos x="2" y="0"/>
                  </a:cxn>
                  <a:cxn ang="0">
                    <a:pos x="1" y="1"/>
                  </a:cxn>
                  <a:cxn ang="0">
                    <a:pos x="0" y="2"/>
                  </a:cxn>
                  <a:cxn ang="0">
                    <a:pos x="0" y="3"/>
                  </a:cxn>
                  <a:cxn ang="0">
                    <a:pos x="0" y="4"/>
                  </a:cxn>
                  <a:cxn ang="0">
                    <a:pos x="1" y="5"/>
                  </a:cxn>
                  <a:cxn ang="0">
                    <a:pos x="2" y="3"/>
                  </a:cxn>
                  <a:cxn ang="0">
                    <a:pos x="2" y="1"/>
                  </a:cxn>
                </a:cxnLst>
                <a:rect l="0" t="0" r="r" b="b"/>
                <a:pathLst>
                  <a:path w="3" h="5">
                    <a:moveTo>
                      <a:pt x="2" y="1"/>
                    </a:moveTo>
                    <a:cubicBezTo>
                      <a:pt x="2" y="1"/>
                      <a:pt x="2" y="0"/>
                      <a:pt x="2" y="0"/>
                    </a:cubicBezTo>
                    <a:cubicBezTo>
                      <a:pt x="1" y="1"/>
                      <a:pt x="2" y="1"/>
                      <a:pt x="1" y="1"/>
                    </a:cubicBezTo>
                    <a:cubicBezTo>
                      <a:pt x="1" y="2"/>
                      <a:pt x="1" y="2"/>
                      <a:pt x="0" y="2"/>
                    </a:cubicBezTo>
                    <a:cubicBezTo>
                      <a:pt x="1" y="2"/>
                      <a:pt x="0" y="3"/>
                      <a:pt x="0" y="3"/>
                    </a:cubicBezTo>
                    <a:cubicBezTo>
                      <a:pt x="0" y="3"/>
                      <a:pt x="0" y="4"/>
                      <a:pt x="0" y="4"/>
                    </a:cubicBezTo>
                    <a:cubicBezTo>
                      <a:pt x="0" y="4"/>
                      <a:pt x="0" y="4"/>
                      <a:pt x="1" y="5"/>
                    </a:cubicBezTo>
                    <a:cubicBezTo>
                      <a:pt x="2" y="5"/>
                      <a:pt x="1" y="3"/>
                      <a:pt x="2" y="3"/>
                    </a:cubicBezTo>
                    <a:cubicBezTo>
                      <a:pt x="2" y="2"/>
                      <a:pt x="3" y="1"/>
                      <a:pt x="2"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2" name="Guadeloupe (FR)">
                <a:extLst>
                  <a:ext uri="{FF2B5EF4-FFF2-40B4-BE49-F238E27FC236}">
                    <a16:creationId xmlns:a16="http://schemas.microsoft.com/office/drawing/2014/main" id="{EF87DB6E-D091-6C4A-A27D-AAF78F794F5F}"/>
                  </a:ext>
                </a:extLst>
              </p:cNvPr>
              <p:cNvSpPr>
                <a:spLocks noEditPoints="1"/>
              </p:cNvSpPr>
              <p:nvPr/>
            </p:nvSpPr>
            <p:spPr bwMode="auto">
              <a:xfrm>
                <a:off x="3561886" y="3338631"/>
                <a:ext cx="60771" cy="88216"/>
              </a:xfrm>
              <a:custGeom>
                <a:avLst/>
                <a:gdLst/>
                <a:ahLst/>
                <a:cxnLst>
                  <a:cxn ang="0">
                    <a:pos x="3" y="3"/>
                  </a:cxn>
                  <a:cxn ang="0">
                    <a:pos x="3" y="3"/>
                  </a:cxn>
                  <a:cxn ang="0">
                    <a:pos x="0" y="1"/>
                  </a:cxn>
                  <a:cxn ang="0">
                    <a:pos x="1" y="1"/>
                  </a:cxn>
                  <a:cxn ang="0">
                    <a:pos x="0" y="1"/>
                  </a:cxn>
                  <a:cxn ang="0">
                    <a:pos x="15" y="23"/>
                  </a:cxn>
                  <a:cxn ang="0">
                    <a:pos x="15" y="24"/>
                  </a:cxn>
                  <a:cxn ang="0">
                    <a:pos x="16" y="24"/>
                  </a:cxn>
                  <a:cxn ang="0">
                    <a:pos x="15" y="23"/>
                  </a:cxn>
                  <a:cxn ang="0">
                    <a:pos x="17" y="21"/>
                  </a:cxn>
                  <a:cxn ang="0">
                    <a:pos x="15" y="20"/>
                  </a:cxn>
                  <a:cxn ang="0">
                    <a:pos x="15" y="19"/>
                  </a:cxn>
                  <a:cxn ang="0">
                    <a:pos x="14" y="19"/>
                  </a:cxn>
                  <a:cxn ang="0">
                    <a:pos x="14" y="21"/>
                  </a:cxn>
                  <a:cxn ang="0">
                    <a:pos x="14" y="21"/>
                  </a:cxn>
                  <a:cxn ang="0">
                    <a:pos x="15" y="21"/>
                  </a:cxn>
                  <a:cxn ang="0">
                    <a:pos x="17" y="21"/>
                  </a:cxn>
                  <a:cxn ang="0">
                    <a:pos x="13" y="20"/>
                  </a:cxn>
                  <a:cxn ang="0">
                    <a:pos x="11" y="20"/>
                  </a:cxn>
                  <a:cxn ang="0">
                    <a:pos x="11" y="22"/>
                  </a:cxn>
                  <a:cxn ang="0">
                    <a:pos x="12" y="24"/>
                  </a:cxn>
                  <a:cxn ang="0">
                    <a:pos x="13" y="22"/>
                  </a:cxn>
                  <a:cxn ang="0">
                    <a:pos x="13" y="21"/>
                  </a:cxn>
                  <a:cxn ang="0">
                    <a:pos x="13" y="20"/>
                  </a:cxn>
                </a:cxnLst>
                <a:rect l="0" t="0" r="r" b="b"/>
                <a:pathLst>
                  <a:path w="17" h="25">
                    <a:moveTo>
                      <a:pt x="3" y="3"/>
                    </a:moveTo>
                    <a:cubicBezTo>
                      <a:pt x="2" y="2"/>
                      <a:pt x="4" y="2"/>
                      <a:pt x="3" y="3"/>
                    </a:cubicBezTo>
                    <a:close/>
                    <a:moveTo>
                      <a:pt x="0" y="1"/>
                    </a:moveTo>
                    <a:cubicBezTo>
                      <a:pt x="0" y="1"/>
                      <a:pt x="1" y="1"/>
                      <a:pt x="1" y="1"/>
                    </a:cubicBezTo>
                    <a:cubicBezTo>
                      <a:pt x="1" y="0"/>
                      <a:pt x="0" y="0"/>
                      <a:pt x="0" y="1"/>
                    </a:cubicBezTo>
                    <a:close/>
                    <a:moveTo>
                      <a:pt x="15" y="23"/>
                    </a:moveTo>
                    <a:cubicBezTo>
                      <a:pt x="15" y="24"/>
                      <a:pt x="15" y="24"/>
                      <a:pt x="15" y="24"/>
                    </a:cubicBezTo>
                    <a:cubicBezTo>
                      <a:pt x="14" y="25"/>
                      <a:pt x="16" y="25"/>
                      <a:pt x="16" y="24"/>
                    </a:cubicBezTo>
                    <a:cubicBezTo>
                      <a:pt x="16" y="24"/>
                      <a:pt x="16" y="23"/>
                      <a:pt x="15" y="23"/>
                    </a:cubicBezTo>
                    <a:close/>
                    <a:moveTo>
                      <a:pt x="17" y="21"/>
                    </a:moveTo>
                    <a:cubicBezTo>
                      <a:pt x="17" y="21"/>
                      <a:pt x="15" y="20"/>
                      <a:pt x="15" y="20"/>
                    </a:cubicBezTo>
                    <a:cubicBezTo>
                      <a:pt x="15" y="19"/>
                      <a:pt x="15" y="19"/>
                      <a:pt x="15" y="19"/>
                    </a:cubicBezTo>
                    <a:cubicBezTo>
                      <a:pt x="15" y="17"/>
                      <a:pt x="13" y="19"/>
                      <a:pt x="14" y="19"/>
                    </a:cubicBezTo>
                    <a:cubicBezTo>
                      <a:pt x="14" y="20"/>
                      <a:pt x="12" y="21"/>
                      <a:pt x="14" y="21"/>
                    </a:cubicBezTo>
                    <a:cubicBezTo>
                      <a:pt x="14" y="21"/>
                      <a:pt x="14" y="21"/>
                      <a:pt x="14" y="21"/>
                    </a:cubicBezTo>
                    <a:cubicBezTo>
                      <a:pt x="15" y="21"/>
                      <a:pt x="15" y="21"/>
                      <a:pt x="15" y="21"/>
                    </a:cubicBezTo>
                    <a:cubicBezTo>
                      <a:pt x="16" y="21"/>
                      <a:pt x="16" y="21"/>
                      <a:pt x="17" y="21"/>
                    </a:cubicBezTo>
                    <a:close/>
                    <a:moveTo>
                      <a:pt x="13" y="20"/>
                    </a:moveTo>
                    <a:cubicBezTo>
                      <a:pt x="13" y="20"/>
                      <a:pt x="11" y="19"/>
                      <a:pt x="11" y="20"/>
                    </a:cubicBezTo>
                    <a:cubicBezTo>
                      <a:pt x="11" y="21"/>
                      <a:pt x="11" y="21"/>
                      <a:pt x="11" y="22"/>
                    </a:cubicBezTo>
                    <a:cubicBezTo>
                      <a:pt x="11" y="23"/>
                      <a:pt x="11" y="24"/>
                      <a:pt x="12" y="24"/>
                    </a:cubicBezTo>
                    <a:cubicBezTo>
                      <a:pt x="12" y="24"/>
                      <a:pt x="13" y="23"/>
                      <a:pt x="13" y="22"/>
                    </a:cubicBezTo>
                    <a:cubicBezTo>
                      <a:pt x="13" y="22"/>
                      <a:pt x="13" y="21"/>
                      <a:pt x="13" y="21"/>
                    </a:cubicBezTo>
                    <a:cubicBezTo>
                      <a:pt x="13" y="20"/>
                      <a:pt x="13" y="20"/>
                      <a:pt x="13" y="2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3" name="Grenada">
                <a:extLst>
                  <a:ext uri="{FF2B5EF4-FFF2-40B4-BE49-F238E27FC236}">
                    <a16:creationId xmlns:a16="http://schemas.microsoft.com/office/drawing/2014/main" id="{C56FC46D-5DBE-7B71-AB84-340065B409A4}"/>
                  </a:ext>
                </a:extLst>
              </p:cNvPr>
              <p:cNvSpPr>
                <a:spLocks/>
              </p:cNvSpPr>
              <p:nvPr/>
            </p:nvSpPr>
            <p:spPr bwMode="auto">
              <a:xfrm>
                <a:off x="3587372" y="3565049"/>
                <a:ext cx="6860" cy="10781"/>
              </a:xfrm>
              <a:custGeom>
                <a:avLst/>
                <a:gdLst/>
                <a:ahLst/>
                <a:cxnLst>
                  <a:cxn ang="0">
                    <a:pos x="2" y="1"/>
                  </a:cxn>
                  <a:cxn ang="0">
                    <a:pos x="1" y="2"/>
                  </a:cxn>
                  <a:cxn ang="0">
                    <a:pos x="0" y="3"/>
                  </a:cxn>
                  <a:cxn ang="0">
                    <a:pos x="1" y="3"/>
                  </a:cxn>
                  <a:cxn ang="0">
                    <a:pos x="2" y="3"/>
                  </a:cxn>
                  <a:cxn ang="0">
                    <a:pos x="2" y="2"/>
                  </a:cxn>
                  <a:cxn ang="0">
                    <a:pos x="2" y="1"/>
                  </a:cxn>
                </a:cxnLst>
                <a:rect l="0" t="0" r="r" b="b"/>
                <a:pathLst>
                  <a:path w="2" h="3">
                    <a:moveTo>
                      <a:pt x="2" y="1"/>
                    </a:moveTo>
                    <a:cubicBezTo>
                      <a:pt x="1" y="0"/>
                      <a:pt x="1" y="1"/>
                      <a:pt x="1" y="2"/>
                    </a:cubicBezTo>
                    <a:cubicBezTo>
                      <a:pt x="0" y="3"/>
                      <a:pt x="0" y="3"/>
                      <a:pt x="0" y="3"/>
                    </a:cubicBezTo>
                    <a:cubicBezTo>
                      <a:pt x="0" y="3"/>
                      <a:pt x="1" y="3"/>
                      <a:pt x="1" y="3"/>
                    </a:cubicBezTo>
                    <a:cubicBezTo>
                      <a:pt x="1" y="3"/>
                      <a:pt x="2" y="3"/>
                      <a:pt x="2" y="3"/>
                    </a:cubicBezTo>
                    <a:cubicBezTo>
                      <a:pt x="2" y="3"/>
                      <a:pt x="2" y="2"/>
                      <a:pt x="2" y="2"/>
                    </a:cubicBezTo>
                    <a:cubicBezTo>
                      <a:pt x="2" y="2"/>
                      <a:pt x="2" y="1"/>
                      <a:pt x="2"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4" name="Greenland">
                <a:extLst>
                  <a:ext uri="{FF2B5EF4-FFF2-40B4-BE49-F238E27FC236}">
                    <a16:creationId xmlns:a16="http://schemas.microsoft.com/office/drawing/2014/main" id="{4306011D-854E-CF6A-BEC5-63528B117819}"/>
                  </a:ext>
                </a:extLst>
              </p:cNvPr>
              <p:cNvSpPr>
                <a:spLocks noEditPoints="1"/>
              </p:cNvSpPr>
              <p:nvPr/>
            </p:nvSpPr>
            <p:spPr bwMode="auto">
              <a:xfrm>
                <a:off x="4196053" y="1005840"/>
                <a:ext cx="1387912" cy="741004"/>
              </a:xfrm>
              <a:custGeom>
                <a:avLst/>
                <a:gdLst/>
                <a:ahLst/>
                <a:cxnLst>
                  <a:cxn ang="0">
                    <a:pos x="73" y="117"/>
                  </a:cxn>
                  <a:cxn ang="0">
                    <a:pos x="201" y="9"/>
                  </a:cxn>
                  <a:cxn ang="0">
                    <a:pos x="350" y="31"/>
                  </a:cxn>
                  <a:cxn ang="0">
                    <a:pos x="300" y="90"/>
                  </a:cxn>
                  <a:cxn ang="0">
                    <a:pos x="342" y="64"/>
                  </a:cxn>
                  <a:cxn ang="0">
                    <a:pos x="94" y="202"/>
                  </a:cxn>
                  <a:cxn ang="0">
                    <a:pos x="340" y="24"/>
                  </a:cxn>
                  <a:cxn ang="0">
                    <a:pos x="102" y="206"/>
                  </a:cxn>
                  <a:cxn ang="0">
                    <a:pos x="91" y="200"/>
                  </a:cxn>
                  <a:cxn ang="0">
                    <a:pos x="336" y="26"/>
                  </a:cxn>
                  <a:cxn ang="0">
                    <a:pos x="321" y="42"/>
                  </a:cxn>
                  <a:cxn ang="0">
                    <a:pos x="322" y="50"/>
                  </a:cxn>
                  <a:cxn ang="0">
                    <a:pos x="318" y="61"/>
                  </a:cxn>
                  <a:cxn ang="0">
                    <a:pos x="309" y="75"/>
                  </a:cxn>
                  <a:cxn ang="0">
                    <a:pos x="272" y="80"/>
                  </a:cxn>
                  <a:cxn ang="0">
                    <a:pos x="291" y="90"/>
                  </a:cxn>
                  <a:cxn ang="0">
                    <a:pos x="301" y="101"/>
                  </a:cxn>
                  <a:cxn ang="0">
                    <a:pos x="261" y="92"/>
                  </a:cxn>
                  <a:cxn ang="0">
                    <a:pos x="258" y="108"/>
                  </a:cxn>
                  <a:cxn ang="0">
                    <a:pos x="277" y="116"/>
                  </a:cxn>
                  <a:cxn ang="0">
                    <a:pos x="238" y="125"/>
                  </a:cxn>
                  <a:cxn ang="0">
                    <a:pos x="211" y="132"/>
                  </a:cxn>
                  <a:cxn ang="0">
                    <a:pos x="187" y="143"/>
                  </a:cxn>
                  <a:cxn ang="0">
                    <a:pos x="170" y="146"/>
                  </a:cxn>
                  <a:cxn ang="0">
                    <a:pos x="152" y="155"/>
                  </a:cxn>
                  <a:cxn ang="0">
                    <a:pos x="137" y="169"/>
                  </a:cxn>
                  <a:cxn ang="0">
                    <a:pos x="126" y="178"/>
                  </a:cxn>
                  <a:cxn ang="0">
                    <a:pos x="121" y="190"/>
                  </a:cxn>
                  <a:cxn ang="0">
                    <a:pos x="106" y="201"/>
                  </a:cxn>
                  <a:cxn ang="0">
                    <a:pos x="95" y="206"/>
                  </a:cxn>
                  <a:cxn ang="0">
                    <a:pos x="95" y="196"/>
                  </a:cxn>
                  <a:cxn ang="0">
                    <a:pos x="83" y="197"/>
                  </a:cxn>
                  <a:cxn ang="0">
                    <a:pos x="72" y="194"/>
                  </a:cxn>
                  <a:cxn ang="0">
                    <a:pos x="73" y="185"/>
                  </a:cxn>
                  <a:cxn ang="0">
                    <a:pos x="69" y="174"/>
                  </a:cxn>
                  <a:cxn ang="0">
                    <a:pos x="72" y="165"/>
                  </a:cxn>
                  <a:cxn ang="0">
                    <a:pos x="73" y="157"/>
                  </a:cxn>
                  <a:cxn ang="0">
                    <a:pos x="65" y="154"/>
                  </a:cxn>
                  <a:cxn ang="0">
                    <a:pos x="66" y="148"/>
                  </a:cxn>
                  <a:cxn ang="0">
                    <a:pos x="57" y="146"/>
                  </a:cxn>
                  <a:cxn ang="0">
                    <a:pos x="76" y="134"/>
                  </a:cxn>
                  <a:cxn ang="0">
                    <a:pos x="88" y="129"/>
                  </a:cxn>
                  <a:cxn ang="0">
                    <a:pos x="69" y="128"/>
                  </a:cxn>
                  <a:cxn ang="0">
                    <a:pos x="70" y="125"/>
                  </a:cxn>
                  <a:cxn ang="0">
                    <a:pos x="95" y="117"/>
                  </a:cxn>
                  <a:cxn ang="0">
                    <a:pos x="73" y="104"/>
                  </a:cxn>
                  <a:cxn ang="0">
                    <a:pos x="95" y="98"/>
                  </a:cxn>
                  <a:cxn ang="0">
                    <a:pos x="73" y="96"/>
                  </a:cxn>
                  <a:cxn ang="0">
                    <a:pos x="83" y="83"/>
                  </a:cxn>
                  <a:cxn ang="0">
                    <a:pos x="83" y="70"/>
                  </a:cxn>
                  <a:cxn ang="0">
                    <a:pos x="56" y="55"/>
                  </a:cxn>
                  <a:cxn ang="0">
                    <a:pos x="24" y="51"/>
                  </a:cxn>
                  <a:cxn ang="0">
                    <a:pos x="30" y="44"/>
                  </a:cxn>
                  <a:cxn ang="0">
                    <a:pos x="44" y="32"/>
                  </a:cxn>
                  <a:cxn ang="0">
                    <a:pos x="78" y="17"/>
                  </a:cxn>
                  <a:cxn ang="0">
                    <a:pos x="150" y="10"/>
                  </a:cxn>
                  <a:cxn ang="0">
                    <a:pos x="206" y="8"/>
                  </a:cxn>
                  <a:cxn ang="0">
                    <a:pos x="209" y="4"/>
                  </a:cxn>
                  <a:cxn ang="0">
                    <a:pos x="247" y="1"/>
                  </a:cxn>
                  <a:cxn ang="0">
                    <a:pos x="268" y="4"/>
                  </a:cxn>
                  <a:cxn ang="0">
                    <a:pos x="297" y="10"/>
                  </a:cxn>
                  <a:cxn ang="0">
                    <a:pos x="344" y="14"/>
                  </a:cxn>
                  <a:cxn ang="0">
                    <a:pos x="90" y="200"/>
                  </a:cxn>
                </a:cxnLst>
                <a:rect l="0" t="0" r="r" b="b"/>
                <a:pathLst>
                  <a:path w="392" h="209">
                    <a:moveTo>
                      <a:pt x="9" y="45"/>
                    </a:moveTo>
                    <a:cubicBezTo>
                      <a:pt x="9" y="45"/>
                      <a:pt x="9" y="45"/>
                      <a:pt x="9" y="45"/>
                    </a:cubicBezTo>
                    <a:cubicBezTo>
                      <a:pt x="10" y="45"/>
                      <a:pt x="10" y="45"/>
                      <a:pt x="10" y="45"/>
                    </a:cubicBezTo>
                    <a:cubicBezTo>
                      <a:pt x="11" y="45"/>
                      <a:pt x="12" y="44"/>
                      <a:pt x="13" y="45"/>
                    </a:cubicBezTo>
                    <a:cubicBezTo>
                      <a:pt x="13" y="45"/>
                      <a:pt x="14" y="45"/>
                      <a:pt x="15" y="45"/>
                    </a:cubicBezTo>
                    <a:cubicBezTo>
                      <a:pt x="15" y="45"/>
                      <a:pt x="16" y="45"/>
                      <a:pt x="16" y="45"/>
                    </a:cubicBezTo>
                    <a:cubicBezTo>
                      <a:pt x="15" y="46"/>
                      <a:pt x="13" y="45"/>
                      <a:pt x="12" y="45"/>
                    </a:cubicBezTo>
                    <a:cubicBezTo>
                      <a:pt x="11" y="45"/>
                      <a:pt x="11" y="45"/>
                      <a:pt x="10" y="45"/>
                    </a:cubicBezTo>
                    <a:cubicBezTo>
                      <a:pt x="9" y="45"/>
                      <a:pt x="9" y="45"/>
                      <a:pt x="9" y="45"/>
                    </a:cubicBezTo>
                    <a:close/>
                    <a:moveTo>
                      <a:pt x="8" y="45"/>
                    </a:moveTo>
                    <a:cubicBezTo>
                      <a:pt x="7" y="45"/>
                      <a:pt x="6" y="45"/>
                      <a:pt x="5" y="45"/>
                    </a:cubicBezTo>
                    <a:cubicBezTo>
                      <a:pt x="4" y="45"/>
                      <a:pt x="4" y="45"/>
                      <a:pt x="3" y="45"/>
                    </a:cubicBezTo>
                    <a:cubicBezTo>
                      <a:pt x="3" y="45"/>
                      <a:pt x="2" y="45"/>
                      <a:pt x="2" y="45"/>
                    </a:cubicBezTo>
                    <a:cubicBezTo>
                      <a:pt x="1" y="45"/>
                      <a:pt x="0" y="45"/>
                      <a:pt x="1" y="45"/>
                    </a:cubicBezTo>
                    <a:cubicBezTo>
                      <a:pt x="1" y="46"/>
                      <a:pt x="3" y="45"/>
                      <a:pt x="3" y="46"/>
                    </a:cubicBezTo>
                    <a:cubicBezTo>
                      <a:pt x="3" y="46"/>
                      <a:pt x="3" y="46"/>
                      <a:pt x="3" y="46"/>
                    </a:cubicBezTo>
                    <a:cubicBezTo>
                      <a:pt x="3" y="46"/>
                      <a:pt x="5" y="46"/>
                      <a:pt x="5" y="46"/>
                    </a:cubicBezTo>
                    <a:cubicBezTo>
                      <a:pt x="6" y="46"/>
                      <a:pt x="8" y="46"/>
                      <a:pt x="8" y="45"/>
                    </a:cubicBezTo>
                    <a:close/>
                    <a:moveTo>
                      <a:pt x="91" y="95"/>
                    </a:moveTo>
                    <a:cubicBezTo>
                      <a:pt x="90" y="95"/>
                      <a:pt x="89" y="95"/>
                      <a:pt x="88" y="95"/>
                    </a:cubicBezTo>
                    <a:cubicBezTo>
                      <a:pt x="87" y="95"/>
                      <a:pt x="87" y="94"/>
                      <a:pt x="86" y="95"/>
                    </a:cubicBezTo>
                    <a:cubicBezTo>
                      <a:pt x="86" y="96"/>
                      <a:pt x="87" y="96"/>
                      <a:pt x="88" y="96"/>
                    </a:cubicBezTo>
                    <a:cubicBezTo>
                      <a:pt x="88" y="96"/>
                      <a:pt x="89" y="95"/>
                      <a:pt x="90" y="95"/>
                    </a:cubicBezTo>
                    <a:cubicBezTo>
                      <a:pt x="90" y="95"/>
                      <a:pt x="91" y="95"/>
                      <a:pt x="91" y="95"/>
                    </a:cubicBezTo>
                    <a:close/>
                    <a:moveTo>
                      <a:pt x="72" y="106"/>
                    </a:moveTo>
                    <a:cubicBezTo>
                      <a:pt x="72" y="106"/>
                      <a:pt x="70" y="105"/>
                      <a:pt x="70" y="105"/>
                    </a:cubicBezTo>
                    <a:cubicBezTo>
                      <a:pt x="69" y="105"/>
                      <a:pt x="69" y="106"/>
                      <a:pt x="69" y="106"/>
                    </a:cubicBezTo>
                    <a:cubicBezTo>
                      <a:pt x="69" y="106"/>
                      <a:pt x="70" y="106"/>
                      <a:pt x="70" y="106"/>
                    </a:cubicBezTo>
                    <a:cubicBezTo>
                      <a:pt x="71" y="106"/>
                      <a:pt x="71" y="106"/>
                      <a:pt x="72" y="106"/>
                    </a:cubicBezTo>
                    <a:close/>
                    <a:moveTo>
                      <a:pt x="67" y="112"/>
                    </a:moveTo>
                    <a:cubicBezTo>
                      <a:pt x="66" y="112"/>
                      <a:pt x="65" y="112"/>
                      <a:pt x="66" y="113"/>
                    </a:cubicBezTo>
                    <a:cubicBezTo>
                      <a:pt x="66" y="113"/>
                      <a:pt x="66" y="113"/>
                      <a:pt x="66" y="113"/>
                    </a:cubicBezTo>
                    <a:cubicBezTo>
                      <a:pt x="67" y="114"/>
                      <a:pt x="67" y="114"/>
                      <a:pt x="67" y="114"/>
                    </a:cubicBezTo>
                    <a:cubicBezTo>
                      <a:pt x="68" y="114"/>
                      <a:pt x="69" y="114"/>
                      <a:pt x="70" y="114"/>
                    </a:cubicBezTo>
                    <a:cubicBezTo>
                      <a:pt x="70" y="114"/>
                      <a:pt x="71" y="114"/>
                      <a:pt x="72" y="114"/>
                    </a:cubicBezTo>
                    <a:cubicBezTo>
                      <a:pt x="72" y="114"/>
                      <a:pt x="72" y="113"/>
                      <a:pt x="72" y="113"/>
                    </a:cubicBezTo>
                    <a:cubicBezTo>
                      <a:pt x="74" y="114"/>
                      <a:pt x="71" y="114"/>
                      <a:pt x="71" y="114"/>
                    </a:cubicBezTo>
                    <a:cubicBezTo>
                      <a:pt x="72" y="115"/>
                      <a:pt x="73" y="114"/>
                      <a:pt x="73" y="114"/>
                    </a:cubicBezTo>
                    <a:cubicBezTo>
                      <a:pt x="73" y="114"/>
                      <a:pt x="73" y="114"/>
                      <a:pt x="72" y="115"/>
                    </a:cubicBezTo>
                    <a:cubicBezTo>
                      <a:pt x="74" y="115"/>
                      <a:pt x="75" y="113"/>
                      <a:pt x="76" y="114"/>
                    </a:cubicBezTo>
                    <a:cubicBezTo>
                      <a:pt x="76" y="114"/>
                      <a:pt x="74" y="114"/>
                      <a:pt x="74" y="115"/>
                    </a:cubicBezTo>
                    <a:cubicBezTo>
                      <a:pt x="74" y="115"/>
                      <a:pt x="75" y="115"/>
                      <a:pt x="75" y="115"/>
                    </a:cubicBezTo>
                    <a:cubicBezTo>
                      <a:pt x="75" y="115"/>
                      <a:pt x="74" y="115"/>
                      <a:pt x="73" y="115"/>
                    </a:cubicBezTo>
                    <a:cubicBezTo>
                      <a:pt x="73" y="115"/>
                      <a:pt x="72" y="115"/>
                      <a:pt x="72" y="115"/>
                    </a:cubicBezTo>
                    <a:cubicBezTo>
                      <a:pt x="71" y="115"/>
                      <a:pt x="68" y="115"/>
                      <a:pt x="69" y="116"/>
                    </a:cubicBezTo>
                    <a:cubicBezTo>
                      <a:pt x="70" y="116"/>
                      <a:pt x="70" y="116"/>
                      <a:pt x="71" y="116"/>
                    </a:cubicBezTo>
                    <a:cubicBezTo>
                      <a:pt x="72" y="116"/>
                      <a:pt x="71" y="116"/>
                      <a:pt x="71" y="116"/>
                    </a:cubicBezTo>
                    <a:cubicBezTo>
                      <a:pt x="71" y="117"/>
                      <a:pt x="72" y="117"/>
                      <a:pt x="73" y="117"/>
                    </a:cubicBezTo>
                    <a:cubicBezTo>
                      <a:pt x="74" y="117"/>
                      <a:pt x="75" y="116"/>
                      <a:pt x="77" y="116"/>
                    </a:cubicBezTo>
                    <a:cubicBezTo>
                      <a:pt x="78" y="116"/>
                      <a:pt x="79" y="115"/>
                      <a:pt x="81" y="115"/>
                    </a:cubicBezTo>
                    <a:cubicBezTo>
                      <a:pt x="82" y="115"/>
                      <a:pt x="83" y="115"/>
                      <a:pt x="85" y="114"/>
                    </a:cubicBezTo>
                    <a:cubicBezTo>
                      <a:pt x="85" y="114"/>
                      <a:pt x="87" y="113"/>
                      <a:pt x="87" y="113"/>
                    </a:cubicBezTo>
                    <a:cubicBezTo>
                      <a:pt x="87" y="113"/>
                      <a:pt x="86" y="113"/>
                      <a:pt x="86" y="113"/>
                    </a:cubicBezTo>
                    <a:cubicBezTo>
                      <a:pt x="87" y="112"/>
                      <a:pt x="88" y="112"/>
                      <a:pt x="86" y="111"/>
                    </a:cubicBezTo>
                    <a:cubicBezTo>
                      <a:pt x="85" y="111"/>
                      <a:pt x="84" y="111"/>
                      <a:pt x="82" y="110"/>
                    </a:cubicBezTo>
                    <a:cubicBezTo>
                      <a:pt x="81" y="109"/>
                      <a:pt x="81" y="108"/>
                      <a:pt x="80" y="108"/>
                    </a:cubicBezTo>
                    <a:cubicBezTo>
                      <a:pt x="79" y="107"/>
                      <a:pt x="78" y="107"/>
                      <a:pt x="77" y="107"/>
                    </a:cubicBezTo>
                    <a:cubicBezTo>
                      <a:pt x="75" y="107"/>
                      <a:pt x="74" y="107"/>
                      <a:pt x="73" y="107"/>
                    </a:cubicBezTo>
                    <a:cubicBezTo>
                      <a:pt x="71" y="107"/>
                      <a:pt x="70" y="107"/>
                      <a:pt x="69" y="108"/>
                    </a:cubicBezTo>
                    <a:cubicBezTo>
                      <a:pt x="68" y="110"/>
                      <a:pt x="71" y="109"/>
                      <a:pt x="72" y="110"/>
                    </a:cubicBezTo>
                    <a:cubicBezTo>
                      <a:pt x="72" y="110"/>
                      <a:pt x="70" y="110"/>
                      <a:pt x="69" y="110"/>
                    </a:cubicBezTo>
                    <a:cubicBezTo>
                      <a:pt x="69" y="110"/>
                      <a:pt x="67" y="110"/>
                      <a:pt x="68" y="111"/>
                    </a:cubicBezTo>
                    <a:cubicBezTo>
                      <a:pt x="67" y="111"/>
                      <a:pt x="67" y="111"/>
                      <a:pt x="67" y="111"/>
                    </a:cubicBezTo>
                    <a:cubicBezTo>
                      <a:pt x="66" y="111"/>
                      <a:pt x="67" y="112"/>
                      <a:pt x="67" y="112"/>
                    </a:cubicBezTo>
                    <a:cubicBezTo>
                      <a:pt x="68" y="112"/>
                      <a:pt x="69" y="112"/>
                      <a:pt x="70" y="113"/>
                    </a:cubicBezTo>
                    <a:cubicBezTo>
                      <a:pt x="69" y="113"/>
                      <a:pt x="68" y="112"/>
                      <a:pt x="68" y="112"/>
                    </a:cubicBezTo>
                    <a:cubicBezTo>
                      <a:pt x="67" y="112"/>
                      <a:pt x="67" y="112"/>
                      <a:pt x="67" y="112"/>
                    </a:cubicBezTo>
                    <a:close/>
                    <a:moveTo>
                      <a:pt x="83" y="100"/>
                    </a:moveTo>
                    <a:cubicBezTo>
                      <a:pt x="85" y="99"/>
                      <a:pt x="84" y="99"/>
                      <a:pt x="84" y="98"/>
                    </a:cubicBezTo>
                    <a:cubicBezTo>
                      <a:pt x="84" y="97"/>
                      <a:pt x="80" y="99"/>
                      <a:pt x="80" y="99"/>
                    </a:cubicBezTo>
                    <a:cubicBezTo>
                      <a:pt x="80" y="100"/>
                      <a:pt x="83" y="100"/>
                      <a:pt x="83" y="100"/>
                    </a:cubicBezTo>
                    <a:close/>
                    <a:moveTo>
                      <a:pt x="91" y="114"/>
                    </a:moveTo>
                    <a:cubicBezTo>
                      <a:pt x="92" y="114"/>
                      <a:pt x="93" y="114"/>
                      <a:pt x="93" y="114"/>
                    </a:cubicBezTo>
                    <a:cubicBezTo>
                      <a:pt x="93" y="113"/>
                      <a:pt x="93" y="113"/>
                      <a:pt x="94" y="112"/>
                    </a:cubicBezTo>
                    <a:cubicBezTo>
                      <a:pt x="94" y="112"/>
                      <a:pt x="95" y="112"/>
                      <a:pt x="95" y="112"/>
                    </a:cubicBezTo>
                    <a:cubicBezTo>
                      <a:pt x="96" y="112"/>
                      <a:pt x="96" y="112"/>
                      <a:pt x="96" y="111"/>
                    </a:cubicBezTo>
                    <a:cubicBezTo>
                      <a:pt x="97" y="111"/>
                      <a:pt x="96" y="111"/>
                      <a:pt x="96" y="111"/>
                    </a:cubicBezTo>
                    <a:cubicBezTo>
                      <a:pt x="95" y="111"/>
                      <a:pt x="94" y="110"/>
                      <a:pt x="93" y="111"/>
                    </a:cubicBezTo>
                    <a:cubicBezTo>
                      <a:pt x="93" y="111"/>
                      <a:pt x="92" y="111"/>
                      <a:pt x="92" y="111"/>
                    </a:cubicBezTo>
                    <a:cubicBezTo>
                      <a:pt x="93" y="111"/>
                      <a:pt x="93" y="111"/>
                      <a:pt x="94" y="111"/>
                    </a:cubicBezTo>
                    <a:cubicBezTo>
                      <a:pt x="94" y="111"/>
                      <a:pt x="90" y="112"/>
                      <a:pt x="91" y="113"/>
                    </a:cubicBezTo>
                    <a:cubicBezTo>
                      <a:pt x="91" y="113"/>
                      <a:pt x="91" y="114"/>
                      <a:pt x="91" y="114"/>
                    </a:cubicBezTo>
                    <a:close/>
                    <a:moveTo>
                      <a:pt x="87" y="99"/>
                    </a:moveTo>
                    <a:cubicBezTo>
                      <a:pt x="87" y="99"/>
                      <a:pt x="87" y="99"/>
                      <a:pt x="88" y="99"/>
                    </a:cubicBezTo>
                    <a:cubicBezTo>
                      <a:pt x="88" y="99"/>
                      <a:pt x="89" y="99"/>
                      <a:pt x="89" y="99"/>
                    </a:cubicBezTo>
                    <a:cubicBezTo>
                      <a:pt x="90" y="99"/>
                      <a:pt x="90" y="99"/>
                      <a:pt x="90" y="98"/>
                    </a:cubicBezTo>
                    <a:cubicBezTo>
                      <a:pt x="91" y="98"/>
                      <a:pt x="91" y="98"/>
                      <a:pt x="92" y="98"/>
                    </a:cubicBezTo>
                    <a:cubicBezTo>
                      <a:pt x="93" y="98"/>
                      <a:pt x="92" y="97"/>
                      <a:pt x="92" y="97"/>
                    </a:cubicBezTo>
                    <a:cubicBezTo>
                      <a:pt x="91" y="97"/>
                      <a:pt x="90" y="97"/>
                      <a:pt x="90" y="97"/>
                    </a:cubicBezTo>
                    <a:cubicBezTo>
                      <a:pt x="89" y="97"/>
                      <a:pt x="88" y="97"/>
                      <a:pt x="87" y="97"/>
                    </a:cubicBezTo>
                    <a:cubicBezTo>
                      <a:pt x="87" y="98"/>
                      <a:pt x="86" y="98"/>
                      <a:pt x="87" y="99"/>
                    </a:cubicBezTo>
                    <a:close/>
                    <a:moveTo>
                      <a:pt x="191" y="8"/>
                    </a:moveTo>
                    <a:cubicBezTo>
                      <a:pt x="191" y="8"/>
                      <a:pt x="192" y="8"/>
                      <a:pt x="192" y="8"/>
                    </a:cubicBezTo>
                    <a:cubicBezTo>
                      <a:pt x="194" y="8"/>
                      <a:pt x="195" y="9"/>
                      <a:pt x="197" y="9"/>
                    </a:cubicBezTo>
                    <a:cubicBezTo>
                      <a:pt x="198" y="9"/>
                      <a:pt x="199" y="10"/>
                      <a:pt x="201" y="10"/>
                    </a:cubicBezTo>
                    <a:cubicBezTo>
                      <a:pt x="202" y="10"/>
                      <a:pt x="201" y="10"/>
                      <a:pt x="201" y="9"/>
                    </a:cubicBezTo>
                    <a:cubicBezTo>
                      <a:pt x="200" y="9"/>
                      <a:pt x="204" y="8"/>
                      <a:pt x="204" y="8"/>
                    </a:cubicBezTo>
                    <a:cubicBezTo>
                      <a:pt x="204" y="8"/>
                      <a:pt x="205" y="8"/>
                      <a:pt x="205" y="8"/>
                    </a:cubicBezTo>
                    <a:cubicBezTo>
                      <a:pt x="205" y="7"/>
                      <a:pt x="204" y="7"/>
                      <a:pt x="204" y="7"/>
                    </a:cubicBezTo>
                    <a:cubicBezTo>
                      <a:pt x="200" y="6"/>
                      <a:pt x="196" y="5"/>
                      <a:pt x="193" y="6"/>
                    </a:cubicBezTo>
                    <a:cubicBezTo>
                      <a:pt x="194" y="6"/>
                      <a:pt x="192" y="6"/>
                      <a:pt x="192" y="6"/>
                    </a:cubicBezTo>
                    <a:cubicBezTo>
                      <a:pt x="191" y="6"/>
                      <a:pt x="191" y="6"/>
                      <a:pt x="190" y="6"/>
                    </a:cubicBezTo>
                    <a:cubicBezTo>
                      <a:pt x="189" y="6"/>
                      <a:pt x="188" y="6"/>
                      <a:pt x="187" y="6"/>
                    </a:cubicBezTo>
                    <a:cubicBezTo>
                      <a:pt x="188" y="6"/>
                      <a:pt x="189" y="7"/>
                      <a:pt x="190" y="7"/>
                    </a:cubicBezTo>
                    <a:cubicBezTo>
                      <a:pt x="190" y="7"/>
                      <a:pt x="190" y="8"/>
                      <a:pt x="191" y="8"/>
                    </a:cubicBezTo>
                    <a:close/>
                    <a:moveTo>
                      <a:pt x="153" y="10"/>
                    </a:moveTo>
                    <a:cubicBezTo>
                      <a:pt x="154" y="10"/>
                      <a:pt x="155" y="10"/>
                      <a:pt x="156" y="10"/>
                    </a:cubicBezTo>
                    <a:cubicBezTo>
                      <a:pt x="158" y="10"/>
                      <a:pt x="159" y="11"/>
                      <a:pt x="161" y="11"/>
                    </a:cubicBezTo>
                    <a:cubicBezTo>
                      <a:pt x="161" y="11"/>
                      <a:pt x="163" y="11"/>
                      <a:pt x="163" y="10"/>
                    </a:cubicBezTo>
                    <a:cubicBezTo>
                      <a:pt x="162" y="10"/>
                      <a:pt x="160" y="9"/>
                      <a:pt x="159" y="9"/>
                    </a:cubicBezTo>
                    <a:cubicBezTo>
                      <a:pt x="159" y="9"/>
                      <a:pt x="156" y="9"/>
                      <a:pt x="157" y="8"/>
                    </a:cubicBezTo>
                    <a:cubicBezTo>
                      <a:pt x="156" y="8"/>
                      <a:pt x="154" y="8"/>
                      <a:pt x="153" y="9"/>
                    </a:cubicBezTo>
                    <a:cubicBezTo>
                      <a:pt x="152" y="9"/>
                      <a:pt x="153" y="10"/>
                      <a:pt x="153" y="10"/>
                    </a:cubicBezTo>
                    <a:close/>
                    <a:moveTo>
                      <a:pt x="276" y="102"/>
                    </a:moveTo>
                    <a:cubicBezTo>
                      <a:pt x="276" y="102"/>
                      <a:pt x="276" y="101"/>
                      <a:pt x="276" y="101"/>
                    </a:cubicBezTo>
                    <a:cubicBezTo>
                      <a:pt x="276" y="101"/>
                      <a:pt x="275" y="101"/>
                      <a:pt x="274" y="101"/>
                    </a:cubicBezTo>
                    <a:cubicBezTo>
                      <a:pt x="275" y="101"/>
                      <a:pt x="275" y="100"/>
                      <a:pt x="275" y="100"/>
                    </a:cubicBezTo>
                    <a:cubicBezTo>
                      <a:pt x="275" y="100"/>
                      <a:pt x="271" y="101"/>
                      <a:pt x="271" y="101"/>
                    </a:cubicBezTo>
                    <a:cubicBezTo>
                      <a:pt x="270" y="101"/>
                      <a:pt x="269" y="101"/>
                      <a:pt x="268" y="102"/>
                    </a:cubicBezTo>
                    <a:cubicBezTo>
                      <a:pt x="267" y="102"/>
                      <a:pt x="267" y="102"/>
                      <a:pt x="266" y="102"/>
                    </a:cubicBezTo>
                    <a:cubicBezTo>
                      <a:pt x="265" y="102"/>
                      <a:pt x="264" y="102"/>
                      <a:pt x="263" y="102"/>
                    </a:cubicBezTo>
                    <a:cubicBezTo>
                      <a:pt x="262" y="103"/>
                      <a:pt x="261" y="103"/>
                      <a:pt x="260" y="103"/>
                    </a:cubicBezTo>
                    <a:cubicBezTo>
                      <a:pt x="259" y="104"/>
                      <a:pt x="258" y="104"/>
                      <a:pt x="257" y="104"/>
                    </a:cubicBezTo>
                    <a:cubicBezTo>
                      <a:pt x="256" y="104"/>
                      <a:pt x="257" y="105"/>
                      <a:pt x="257" y="105"/>
                    </a:cubicBezTo>
                    <a:cubicBezTo>
                      <a:pt x="257" y="105"/>
                      <a:pt x="256" y="105"/>
                      <a:pt x="256" y="106"/>
                    </a:cubicBezTo>
                    <a:cubicBezTo>
                      <a:pt x="256" y="106"/>
                      <a:pt x="257" y="106"/>
                      <a:pt x="257" y="106"/>
                    </a:cubicBezTo>
                    <a:cubicBezTo>
                      <a:pt x="258" y="106"/>
                      <a:pt x="260" y="105"/>
                      <a:pt x="261" y="105"/>
                    </a:cubicBezTo>
                    <a:cubicBezTo>
                      <a:pt x="262" y="105"/>
                      <a:pt x="264" y="105"/>
                      <a:pt x="265" y="105"/>
                    </a:cubicBezTo>
                    <a:cubicBezTo>
                      <a:pt x="266" y="105"/>
                      <a:pt x="267" y="105"/>
                      <a:pt x="268" y="104"/>
                    </a:cubicBezTo>
                    <a:cubicBezTo>
                      <a:pt x="269" y="104"/>
                      <a:pt x="270" y="104"/>
                      <a:pt x="270" y="104"/>
                    </a:cubicBezTo>
                    <a:cubicBezTo>
                      <a:pt x="270" y="105"/>
                      <a:pt x="270" y="105"/>
                      <a:pt x="271" y="105"/>
                    </a:cubicBezTo>
                    <a:cubicBezTo>
                      <a:pt x="271" y="105"/>
                      <a:pt x="272" y="104"/>
                      <a:pt x="272" y="104"/>
                    </a:cubicBezTo>
                    <a:cubicBezTo>
                      <a:pt x="273" y="104"/>
                      <a:pt x="273" y="104"/>
                      <a:pt x="274" y="104"/>
                    </a:cubicBezTo>
                    <a:cubicBezTo>
                      <a:pt x="275" y="104"/>
                      <a:pt x="276" y="104"/>
                      <a:pt x="276" y="103"/>
                    </a:cubicBezTo>
                    <a:cubicBezTo>
                      <a:pt x="277" y="102"/>
                      <a:pt x="275" y="103"/>
                      <a:pt x="275" y="103"/>
                    </a:cubicBezTo>
                    <a:cubicBezTo>
                      <a:pt x="275" y="102"/>
                      <a:pt x="276" y="102"/>
                      <a:pt x="276" y="102"/>
                    </a:cubicBezTo>
                    <a:cubicBezTo>
                      <a:pt x="276" y="102"/>
                      <a:pt x="276" y="102"/>
                      <a:pt x="276" y="102"/>
                    </a:cubicBezTo>
                    <a:close/>
                    <a:moveTo>
                      <a:pt x="350" y="31"/>
                    </a:moveTo>
                    <a:cubicBezTo>
                      <a:pt x="349" y="31"/>
                      <a:pt x="348" y="32"/>
                      <a:pt x="349" y="32"/>
                    </a:cubicBezTo>
                    <a:cubicBezTo>
                      <a:pt x="349" y="32"/>
                      <a:pt x="348" y="32"/>
                      <a:pt x="348" y="32"/>
                    </a:cubicBezTo>
                    <a:cubicBezTo>
                      <a:pt x="349" y="33"/>
                      <a:pt x="350" y="32"/>
                      <a:pt x="350" y="32"/>
                    </a:cubicBezTo>
                    <a:cubicBezTo>
                      <a:pt x="351" y="32"/>
                      <a:pt x="351" y="32"/>
                      <a:pt x="352" y="32"/>
                    </a:cubicBezTo>
                    <a:cubicBezTo>
                      <a:pt x="353" y="31"/>
                      <a:pt x="352" y="31"/>
                      <a:pt x="351" y="31"/>
                    </a:cubicBezTo>
                    <a:cubicBezTo>
                      <a:pt x="351" y="30"/>
                      <a:pt x="350" y="31"/>
                      <a:pt x="350" y="31"/>
                    </a:cubicBezTo>
                    <a:close/>
                    <a:moveTo>
                      <a:pt x="319" y="70"/>
                    </a:moveTo>
                    <a:cubicBezTo>
                      <a:pt x="319" y="70"/>
                      <a:pt x="317" y="71"/>
                      <a:pt x="317" y="70"/>
                    </a:cubicBezTo>
                    <a:cubicBezTo>
                      <a:pt x="315" y="70"/>
                      <a:pt x="312" y="70"/>
                      <a:pt x="311" y="71"/>
                    </a:cubicBezTo>
                    <a:cubicBezTo>
                      <a:pt x="310" y="71"/>
                      <a:pt x="309" y="71"/>
                      <a:pt x="309" y="72"/>
                    </a:cubicBezTo>
                    <a:cubicBezTo>
                      <a:pt x="309" y="72"/>
                      <a:pt x="310" y="72"/>
                      <a:pt x="310" y="72"/>
                    </a:cubicBezTo>
                    <a:cubicBezTo>
                      <a:pt x="311" y="73"/>
                      <a:pt x="312" y="73"/>
                      <a:pt x="313" y="73"/>
                    </a:cubicBezTo>
                    <a:cubicBezTo>
                      <a:pt x="314" y="73"/>
                      <a:pt x="315" y="73"/>
                      <a:pt x="316" y="73"/>
                    </a:cubicBezTo>
                    <a:cubicBezTo>
                      <a:pt x="317" y="73"/>
                      <a:pt x="318" y="73"/>
                      <a:pt x="319" y="73"/>
                    </a:cubicBezTo>
                    <a:cubicBezTo>
                      <a:pt x="320" y="73"/>
                      <a:pt x="321" y="73"/>
                      <a:pt x="321" y="72"/>
                    </a:cubicBezTo>
                    <a:cubicBezTo>
                      <a:pt x="321" y="72"/>
                      <a:pt x="320" y="72"/>
                      <a:pt x="320" y="72"/>
                    </a:cubicBezTo>
                    <a:cubicBezTo>
                      <a:pt x="319" y="71"/>
                      <a:pt x="320" y="71"/>
                      <a:pt x="319" y="70"/>
                    </a:cubicBezTo>
                    <a:close/>
                    <a:moveTo>
                      <a:pt x="309" y="82"/>
                    </a:moveTo>
                    <a:cubicBezTo>
                      <a:pt x="310" y="82"/>
                      <a:pt x="311" y="82"/>
                      <a:pt x="311" y="82"/>
                    </a:cubicBezTo>
                    <a:cubicBezTo>
                      <a:pt x="311" y="82"/>
                      <a:pt x="311" y="82"/>
                      <a:pt x="311" y="81"/>
                    </a:cubicBezTo>
                    <a:cubicBezTo>
                      <a:pt x="311" y="81"/>
                      <a:pt x="310" y="81"/>
                      <a:pt x="309" y="82"/>
                    </a:cubicBezTo>
                    <a:close/>
                    <a:moveTo>
                      <a:pt x="302" y="83"/>
                    </a:moveTo>
                    <a:cubicBezTo>
                      <a:pt x="301" y="82"/>
                      <a:pt x="299" y="82"/>
                      <a:pt x="298" y="82"/>
                    </a:cubicBezTo>
                    <a:cubicBezTo>
                      <a:pt x="296" y="82"/>
                      <a:pt x="295" y="82"/>
                      <a:pt x="293" y="83"/>
                    </a:cubicBezTo>
                    <a:cubicBezTo>
                      <a:pt x="292" y="83"/>
                      <a:pt x="291" y="83"/>
                      <a:pt x="289" y="83"/>
                    </a:cubicBezTo>
                    <a:cubicBezTo>
                      <a:pt x="289" y="83"/>
                      <a:pt x="288" y="83"/>
                      <a:pt x="288" y="83"/>
                    </a:cubicBezTo>
                    <a:cubicBezTo>
                      <a:pt x="288" y="84"/>
                      <a:pt x="289" y="84"/>
                      <a:pt x="290" y="84"/>
                    </a:cubicBezTo>
                    <a:cubicBezTo>
                      <a:pt x="291" y="83"/>
                      <a:pt x="293" y="84"/>
                      <a:pt x="294" y="84"/>
                    </a:cubicBezTo>
                    <a:cubicBezTo>
                      <a:pt x="296" y="84"/>
                      <a:pt x="297" y="84"/>
                      <a:pt x="299" y="84"/>
                    </a:cubicBezTo>
                    <a:cubicBezTo>
                      <a:pt x="299" y="84"/>
                      <a:pt x="300" y="84"/>
                      <a:pt x="300" y="85"/>
                    </a:cubicBezTo>
                    <a:cubicBezTo>
                      <a:pt x="300" y="85"/>
                      <a:pt x="300" y="85"/>
                      <a:pt x="301" y="85"/>
                    </a:cubicBezTo>
                    <a:cubicBezTo>
                      <a:pt x="300" y="85"/>
                      <a:pt x="300" y="85"/>
                      <a:pt x="300" y="85"/>
                    </a:cubicBezTo>
                    <a:cubicBezTo>
                      <a:pt x="301" y="86"/>
                      <a:pt x="303" y="85"/>
                      <a:pt x="304" y="85"/>
                    </a:cubicBezTo>
                    <a:cubicBezTo>
                      <a:pt x="304" y="85"/>
                      <a:pt x="304" y="85"/>
                      <a:pt x="304" y="85"/>
                    </a:cubicBezTo>
                    <a:cubicBezTo>
                      <a:pt x="304" y="85"/>
                      <a:pt x="305" y="86"/>
                      <a:pt x="305" y="85"/>
                    </a:cubicBezTo>
                    <a:cubicBezTo>
                      <a:pt x="306" y="85"/>
                      <a:pt x="305" y="85"/>
                      <a:pt x="305" y="85"/>
                    </a:cubicBezTo>
                    <a:cubicBezTo>
                      <a:pt x="305" y="85"/>
                      <a:pt x="304" y="84"/>
                      <a:pt x="304" y="84"/>
                    </a:cubicBezTo>
                    <a:cubicBezTo>
                      <a:pt x="304" y="84"/>
                      <a:pt x="306" y="84"/>
                      <a:pt x="306" y="83"/>
                    </a:cubicBezTo>
                    <a:cubicBezTo>
                      <a:pt x="305" y="83"/>
                      <a:pt x="305" y="83"/>
                      <a:pt x="304" y="83"/>
                    </a:cubicBezTo>
                    <a:cubicBezTo>
                      <a:pt x="304" y="83"/>
                      <a:pt x="303" y="83"/>
                      <a:pt x="302" y="83"/>
                    </a:cubicBezTo>
                    <a:close/>
                    <a:moveTo>
                      <a:pt x="303" y="87"/>
                    </a:moveTo>
                    <a:cubicBezTo>
                      <a:pt x="304" y="87"/>
                      <a:pt x="302" y="87"/>
                      <a:pt x="302" y="86"/>
                    </a:cubicBezTo>
                    <a:cubicBezTo>
                      <a:pt x="301" y="86"/>
                      <a:pt x="300" y="86"/>
                      <a:pt x="300" y="86"/>
                    </a:cubicBezTo>
                    <a:cubicBezTo>
                      <a:pt x="300" y="86"/>
                      <a:pt x="298" y="85"/>
                      <a:pt x="298" y="85"/>
                    </a:cubicBezTo>
                    <a:cubicBezTo>
                      <a:pt x="297" y="84"/>
                      <a:pt x="297" y="84"/>
                      <a:pt x="296" y="84"/>
                    </a:cubicBezTo>
                    <a:cubicBezTo>
                      <a:pt x="293" y="84"/>
                      <a:pt x="291" y="83"/>
                      <a:pt x="289" y="84"/>
                    </a:cubicBezTo>
                    <a:cubicBezTo>
                      <a:pt x="288" y="84"/>
                      <a:pt x="288" y="85"/>
                      <a:pt x="288" y="86"/>
                    </a:cubicBezTo>
                    <a:cubicBezTo>
                      <a:pt x="288" y="86"/>
                      <a:pt x="289" y="87"/>
                      <a:pt x="290" y="87"/>
                    </a:cubicBezTo>
                    <a:cubicBezTo>
                      <a:pt x="290" y="86"/>
                      <a:pt x="290" y="87"/>
                      <a:pt x="290" y="87"/>
                    </a:cubicBezTo>
                    <a:cubicBezTo>
                      <a:pt x="291" y="87"/>
                      <a:pt x="290" y="87"/>
                      <a:pt x="290" y="88"/>
                    </a:cubicBezTo>
                    <a:cubicBezTo>
                      <a:pt x="290" y="87"/>
                      <a:pt x="293" y="88"/>
                      <a:pt x="293" y="88"/>
                    </a:cubicBezTo>
                    <a:cubicBezTo>
                      <a:pt x="294" y="88"/>
                      <a:pt x="296" y="88"/>
                      <a:pt x="296" y="89"/>
                    </a:cubicBezTo>
                    <a:cubicBezTo>
                      <a:pt x="297" y="90"/>
                      <a:pt x="298" y="90"/>
                      <a:pt x="299" y="90"/>
                    </a:cubicBezTo>
                    <a:cubicBezTo>
                      <a:pt x="299" y="90"/>
                      <a:pt x="300" y="90"/>
                      <a:pt x="300" y="90"/>
                    </a:cubicBezTo>
                    <a:cubicBezTo>
                      <a:pt x="300" y="90"/>
                      <a:pt x="299" y="90"/>
                      <a:pt x="299" y="90"/>
                    </a:cubicBezTo>
                    <a:cubicBezTo>
                      <a:pt x="299" y="90"/>
                      <a:pt x="301" y="91"/>
                      <a:pt x="302" y="90"/>
                    </a:cubicBezTo>
                    <a:cubicBezTo>
                      <a:pt x="303" y="90"/>
                      <a:pt x="302" y="90"/>
                      <a:pt x="302" y="90"/>
                    </a:cubicBezTo>
                    <a:cubicBezTo>
                      <a:pt x="302" y="89"/>
                      <a:pt x="303" y="89"/>
                      <a:pt x="303" y="89"/>
                    </a:cubicBezTo>
                    <a:cubicBezTo>
                      <a:pt x="303" y="89"/>
                      <a:pt x="302" y="89"/>
                      <a:pt x="302" y="89"/>
                    </a:cubicBezTo>
                    <a:cubicBezTo>
                      <a:pt x="302" y="89"/>
                      <a:pt x="301" y="90"/>
                      <a:pt x="301" y="89"/>
                    </a:cubicBezTo>
                    <a:cubicBezTo>
                      <a:pt x="301" y="89"/>
                      <a:pt x="301" y="89"/>
                      <a:pt x="300" y="89"/>
                    </a:cubicBezTo>
                    <a:cubicBezTo>
                      <a:pt x="300" y="89"/>
                      <a:pt x="298" y="88"/>
                      <a:pt x="299" y="88"/>
                    </a:cubicBezTo>
                    <a:cubicBezTo>
                      <a:pt x="299" y="87"/>
                      <a:pt x="301" y="88"/>
                      <a:pt x="302" y="88"/>
                    </a:cubicBezTo>
                    <a:cubicBezTo>
                      <a:pt x="302" y="88"/>
                      <a:pt x="303" y="88"/>
                      <a:pt x="303" y="88"/>
                    </a:cubicBezTo>
                    <a:cubicBezTo>
                      <a:pt x="304" y="88"/>
                      <a:pt x="304" y="88"/>
                      <a:pt x="304" y="88"/>
                    </a:cubicBezTo>
                    <a:cubicBezTo>
                      <a:pt x="305" y="87"/>
                      <a:pt x="303" y="87"/>
                      <a:pt x="303" y="87"/>
                    </a:cubicBezTo>
                    <a:close/>
                    <a:moveTo>
                      <a:pt x="335" y="52"/>
                    </a:moveTo>
                    <a:cubicBezTo>
                      <a:pt x="335" y="53"/>
                      <a:pt x="335" y="54"/>
                      <a:pt x="335" y="54"/>
                    </a:cubicBezTo>
                    <a:cubicBezTo>
                      <a:pt x="335" y="54"/>
                      <a:pt x="336" y="54"/>
                      <a:pt x="336" y="54"/>
                    </a:cubicBezTo>
                    <a:cubicBezTo>
                      <a:pt x="336" y="54"/>
                      <a:pt x="335" y="54"/>
                      <a:pt x="335" y="55"/>
                    </a:cubicBezTo>
                    <a:cubicBezTo>
                      <a:pt x="335" y="55"/>
                      <a:pt x="336" y="56"/>
                      <a:pt x="336" y="56"/>
                    </a:cubicBezTo>
                    <a:cubicBezTo>
                      <a:pt x="336" y="56"/>
                      <a:pt x="336" y="57"/>
                      <a:pt x="336" y="57"/>
                    </a:cubicBezTo>
                    <a:cubicBezTo>
                      <a:pt x="336" y="57"/>
                      <a:pt x="336" y="58"/>
                      <a:pt x="336" y="58"/>
                    </a:cubicBezTo>
                    <a:cubicBezTo>
                      <a:pt x="336" y="58"/>
                      <a:pt x="337" y="57"/>
                      <a:pt x="337" y="57"/>
                    </a:cubicBezTo>
                    <a:cubicBezTo>
                      <a:pt x="337" y="56"/>
                      <a:pt x="337" y="56"/>
                      <a:pt x="337" y="55"/>
                    </a:cubicBezTo>
                    <a:cubicBezTo>
                      <a:pt x="337" y="55"/>
                      <a:pt x="337" y="54"/>
                      <a:pt x="337" y="53"/>
                    </a:cubicBezTo>
                    <a:cubicBezTo>
                      <a:pt x="337" y="52"/>
                      <a:pt x="338" y="52"/>
                      <a:pt x="338" y="51"/>
                    </a:cubicBezTo>
                    <a:cubicBezTo>
                      <a:pt x="337" y="51"/>
                      <a:pt x="337" y="50"/>
                      <a:pt x="336" y="50"/>
                    </a:cubicBezTo>
                    <a:cubicBezTo>
                      <a:pt x="335" y="51"/>
                      <a:pt x="336" y="51"/>
                      <a:pt x="336" y="52"/>
                    </a:cubicBezTo>
                    <a:cubicBezTo>
                      <a:pt x="336" y="52"/>
                      <a:pt x="337" y="51"/>
                      <a:pt x="337" y="52"/>
                    </a:cubicBezTo>
                    <a:cubicBezTo>
                      <a:pt x="337" y="52"/>
                      <a:pt x="335" y="51"/>
                      <a:pt x="335" y="52"/>
                    </a:cubicBezTo>
                    <a:close/>
                    <a:moveTo>
                      <a:pt x="342" y="64"/>
                    </a:moveTo>
                    <a:cubicBezTo>
                      <a:pt x="342" y="64"/>
                      <a:pt x="341" y="64"/>
                      <a:pt x="341" y="64"/>
                    </a:cubicBezTo>
                    <a:cubicBezTo>
                      <a:pt x="341" y="65"/>
                      <a:pt x="339" y="64"/>
                      <a:pt x="338" y="64"/>
                    </a:cubicBezTo>
                    <a:cubicBezTo>
                      <a:pt x="338" y="64"/>
                      <a:pt x="338" y="64"/>
                      <a:pt x="338" y="63"/>
                    </a:cubicBezTo>
                    <a:cubicBezTo>
                      <a:pt x="338" y="63"/>
                      <a:pt x="337" y="63"/>
                      <a:pt x="337" y="63"/>
                    </a:cubicBezTo>
                    <a:cubicBezTo>
                      <a:pt x="337" y="63"/>
                      <a:pt x="340" y="63"/>
                      <a:pt x="340" y="62"/>
                    </a:cubicBezTo>
                    <a:cubicBezTo>
                      <a:pt x="339" y="62"/>
                      <a:pt x="339" y="62"/>
                      <a:pt x="338" y="62"/>
                    </a:cubicBezTo>
                    <a:cubicBezTo>
                      <a:pt x="338" y="62"/>
                      <a:pt x="338" y="62"/>
                      <a:pt x="338" y="62"/>
                    </a:cubicBezTo>
                    <a:cubicBezTo>
                      <a:pt x="337" y="63"/>
                      <a:pt x="336" y="62"/>
                      <a:pt x="335" y="62"/>
                    </a:cubicBezTo>
                    <a:cubicBezTo>
                      <a:pt x="335" y="62"/>
                      <a:pt x="333" y="62"/>
                      <a:pt x="333" y="62"/>
                    </a:cubicBezTo>
                    <a:cubicBezTo>
                      <a:pt x="333" y="63"/>
                      <a:pt x="333" y="63"/>
                      <a:pt x="333" y="63"/>
                    </a:cubicBezTo>
                    <a:cubicBezTo>
                      <a:pt x="333" y="63"/>
                      <a:pt x="333" y="64"/>
                      <a:pt x="333" y="64"/>
                    </a:cubicBezTo>
                    <a:cubicBezTo>
                      <a:pt x="332" y="64"/>
                      <a:pt x="333" y="64"/>
                      <a:pt x="332" y="64"/>
                    </a:cubicBezTo>
                    <a:cubicBezTo>
                      <a:pt x="332" y="64"/>
                      <a:pt x="332" y="64"/>
                      <a:pt x="332" y="65"/>
                    </a:cubicBezTo>
                    <a:cubicBezTo>
                      <a:pt x="332" y="66"/>
                      <a:pt x="334" y="65"/>
                      <a:pt x="335" y="65"/>
                    </a:cubicBezTo>
                    <a:cubicBezTo>
                      <a:pt x="336" y="65"/>
                      <a:pt x="337" y="65"/>
                      <a:pt x="339" y="65"/>
                    </a:cubicBezTo>
                    <a:cubicBezTo>
                      <a:pt x="339" y="65"/>
                      <a:pt x="341" y="65"/>
                      <a:pt x="340" y="66"/>
                    </a:cubicBezTo>
                    <a:cubicBezTo>
                      <a:pt x="340" y="66"/>
                      <a:pt x="341" y="66"/>
                      <a:pt x="341" y="65"/>
                    </a:cubicBezTo>
                    <a:cubicBezTo>
                      <a:pt x="341" y="65"/>
                      <a:pt x="342" y="65"/>
                      <a:pt x="342" y="65"/>
                    </a:cubicBezTo>
                    <a:cubicBezTo>
                      <a:pt x="342" y="65"/>
                      <a:pt x="342" y="65"/>
                      <a:pt x="343" y="64"/>
                    </a:cubicBezTo>
                    <a:cubicBezTo>
                      <a:pt x="343" y="64"/>
                      <a:pt x="342" y="64"/>
                      <a:pt x="342" y="64"/>
                    </a:cubicBezTo>
                    <a:close/>
                    <a:moveTo>
                      <a:pt x="85" y="199"/>
                    </a:moveTo>
                    <a:cubicBezTo>
                      <a:pt x="86" y="200"/>
                      <a:pt x="87" y="199"/>
                      <a:pt x="86" y="199"/>
                    </a:cubicBezTo>
                    <a:cubicBezTo>
                      <a:pt x="86" y="199"/>
                      <a:pt x="88" y="199"/>
                      <a:pt x="87" y="198"/>
                    </a:cubicBezTo>
                    <a:cubicBezTo>
                      <a:pt x="87" y="198"/>
                      <a:pt x="86" y="199"/>
                      <a:pt x="85" y="199"/>
                    </a:cubicBezTo>
                    <a:close/>
                    <a:moveTo>
                      <a:pt x="96" y="202"/>
                    </a:moveTo>
                    <a:cubicBezTo>
                      <a:pt x="96" y="202"/>
                      <a:pt x="95" y="202"/>
                      <a:pt x="95" y="202"/>
                    </a:cubicBezTo>
                    <a:cubicBezTo>
                      <a:pt x="95" y="203"/>
                      <a:pt x="96" y="202"/>
                      <a:pt x="96" y="202"/>
                    </a:cubicBezTo>
                    <a:close/>
                    <a:moveTo>
                      <a:pt x="174" y="152"/>
                    </a:moveTo>
                    <a:cubicBezTo>
                      <a:pt x="175" y="152"/>
                      <a:pt x="176" y="152"/>
                      <a:pt x="176" y="151"/>
                    </a:cubicBezTo>
                    <a:cubicBezTo>
                      <a:pt x="175" y="151"/>
                      <a:pt x="174" y="151"/>
                      <a:pt x="174" y="152"/>
                    </a:cubicBezTo>
                    <a:close/>
                    <a:moveTo>
                      <a:pt x="173" y="150"/>
                    </a:moveTo>
                    <a:cubicBezTo>
                      <a:pt x="173" y="150"/>
                      <a:pt x="173" y="149"/>
                      <a:pt x="173" y="149"/>
                    </a:cubicBezTo>
                    <a:cubicBezTo>
                      <a:pt x="174" y="150"/>
                      <a:pt x="174" y="149"/>
                      <a:pt x="174" y="150"/>
                    </a:cubicBezTo>
                    <a:cubicBezTo>
                      <a:pt x="173" y="149"/>
                      <a:pt x="173" y="148"/>
                      <a:pt x="172" y="148"/>
                    </a:cubicBezTo>
                    <a:cubicBezTo>
                      <a:pt x="171" y="148"/>
                      <a:pt x="171" y="149"/>
                      <a:pt x="170" y="149"/>
                    </a:cubicBezTo>
                    <a:cubicBezTo>
                      <a:pt x="170" y="149"/>
                      <a:pt x="170" y="149"/>
                      <a:pt x="169" y="150"/>
                    </a:cubicBezTo>
                    <a:cubicBezTo>
                      <a:pt x="169" y="151"/>
                      <a:pt x="170" y="151"/>
                      <a:pt x="170" y="151"/>
                    </a:cubicBezTo>
                    <a:cubicBezTo>
                      <a:pt x="172" y="151"/>
                      <a:pt x="171" y="151"/>
                      <a:pt x="171" y="151"/>
                    </a:cubicBezTo>
                    <a:cubicBezTo>
                      <a:pt x="171" y="150"/>
                      <a:pt x="172" y="151"/>
                      <a:pt x="172" y="151"/>
                    </a:cubicBezTo>
                    <a:cubicBezTo>
                      <a:pt x="172" y="151"/>
                      <a:pt x="172" y="151"/>
                      <a:pt x="172" y="151"/>
                    </a:cubicBezTo>
                    <a:cubicBezTo>
                      <a:pt x="173" y="151"/>
                      <a:pt x="173" y="151"/>
                      <a:pt x="174" y="150"/>
                    </a:cubicBezTo>
                    <a:cubicBezTo>
                      <a:pt x="175" y="150"/>
                      <a:pt x="173" y="150"/>
                      <a:pt x="173" y="150"/>
                    </a:cubicBezTo>
                    <a:cubicBezTo>
                      <a:pt x="173" y="150"/>
                      <a:pt x="173" y="150"/>
                      <a:pt x="173" y="150"/>
                    </a:cubicBezTo>
                    <a:close/>
                    <a:moveTo>
                      <a:pt x="101" y="207"/>
                    </a:moveTo>
                    <a:cubicBezTo>
                      <a:pt x="102" y="206"/>
                      <a:pt x="102" y="206"/>
                      <a:pt x="101" y="206"/>
                    </a:cubicBezTo>
                    <a:cubicBezTo>
                      <a:pt x="101" y="206"/>
                      <a:pt x="100" y="206"/>
                      <a:pt x="100" y="206"/>
                    </a:cubicBezTo>
                    <a:cubicBezTo>
                      <a:pt x="99" y="207"/>
                      <a:pt x="99" y="207"/>
                      <a:pt x="98" y="207"/>
                    </a:cubicBezTo>
                    <a:cubicBezTo>
                      <a:pt x="99" y="208"/>
                      <a:pt x="99" y="207"/>
                      <a:pt x="99" y="207"/>
                    </a:cubicBezTo>
                    <a:cubicBezTo>
                      <a:pt x="100" y="207"/>
                      <a:pt x="100" y="207"/>
                      <a:pt x="101" y="206"/>
                    </a:cubicBezTo>
                    <a:cubicBezTo>
                      <a:pt x="101" y="206"/>
                      <a:pt x="100" y="207"/>
                      <a:pt x="100" y="207"/>
                    </a:cubicBezTo>
                    <a:cubicBezTo>
                      <a:pt x="100" y="207"/>
                      <a:pt x="101" y="207"/>
                      <a:pt x="101" y="207"/>
                    </a:cubicBezTo>
                    <a:close/>
                    <a:moveTo>
                      <a:pt x="135" y="173"/>
                    </a:moveTo>
                    <a:cubicBezTo>
                      <a:pt x="135" y="173"/>
                      <a:pt x="134" y="172"/>
                      <a:pt x="134" y="172"/>
                    </a:cubicBezTo>
                    <a:cubicBezTo>
                      <a:pt x="134" y="172"/>
                      <a:pt x="134" y="172"/>
                      <a:pt x="133" y="171"/>
                    </a:cubicBezTo>
                    <a:cubicBezTo>
                      <a:pt x="133" y="171"/>
                      <a:pt x="131" y="172"/>
                      <a:pt x="132" y="172"/>
                    </a:cubicBezTo>
                    <a:cubicBezTo>
                      <a:pt x="133" y="173"/>
                      <a:pt x="134" y="174"/>
                      <a:pt x="135" y="174"/>
                    </a:cubicBezTo>
                    <a:cubicBezTo>
                      <a:pt x="135" y="174"/>
                      <a:pt x="135" y="174"/>
                      <a:pt x="135" y="174"/>
                    </a:cubicBezTo>
                    <a:cubicBezTo>
                      <a:pt x="135" y="174"/>
                      <a:pt x="135" y="174"/>
                      <a:pt x="135" y="174"/>
                    </a:cubicBezTo>
                    <a:cubicBezTo>
                      <a:pt x="135" y="174"/>
                      <a:pt x="136" y="174"/>
                      <a:pt x="136" y="174"/>
                    </a:cubicBezTo>
                    <a:cubicBezTo>
                      <a:pt x="136" y="174"/>
                      <a:pt x="136" y="174"/>
                      <a:pt x="136" y="174"/>
                    </a:cubicBezTo>
                    <a:cubicBezTo>
                      <a:pt x="137" y="174"/>
                      <a:pt x="136" y="173"/>
                      <a:pt x="136" y="173"/>
                    </a:cubicBezTo>
                    <a:cubicBezTo>
                      <a:pt x="136" y="173"/>
                      <a:pt x="135" y="173"/>
                      <a:pt x="135" y="173"/>
                    </a:cubicBezTo>
                    <a:close/>
                    <a:moveTo>
                      <a:pt x="94" y="202"/>
                    </a:moveTo>
                    <a:cubicBezTo>
                      <a:pt x="94" y="202"/>
                      <a:pt x="94" y="202"/>
                      <a:pt x="94" y="202"/>
                    </a:cubicBezTo>
                    <a:cubicBezTo>
                      <a:pt x="94" y="202"/>
                      <a:pt x="93" y="202"/>
                      <a:pt x="93" y="202"/>
                    </a:cubicBezTo>
                    <a:cubicBezTo>
                      <a:pt x="93" y="202"/>
                      <a:pt x="93" y="202"/>
                      <a:pt x="93" y="203"/>
                    </a:cubicBezTo>
                    <a:cubicBezTo>
                      <a:pt x="92" y="203"/>
                      <a:pt x="92" y="204"/>
                      <a:pt x="92" y="204"/>
                    </a:cubicBezTo>
                    <a:cubicBezTo>
                      <a:pt x="92" y="204"/>
                      <a:pt x="95" y="203"/>
                      <a:pt x="94" y="202"/>
                    </a:cubicBezTo>
                    <a:close/>
                    <a:moveTo>
                      <a:pt x="107" y="205"/>
                    </a:moveTo>
                    <a:cubicBezTo>
                      <a:pt x="106" y="205"/>
                      <a:pt x="105" y="205"/>
                      <a:pt x="105" y="205"/>
                    </a:cubicBezTo>
                    <a:cubicBezTo>
                      <a:pt x="104" y="205"/>
                      <a:pt x="102" y="204"/>
                      <a:pt x="101" y="205"/>
                    </a:cubicBezTo>
                    <a:cubicBezTo>
                      <a:pt x="101" y="205"/>
                      <a:pt x="102" y="206"/>
                      <a:pt x="103" y="206"/>
                    </a:cubicBezTo>
                    <a:cubicBezTo>
                      <a:pt x="103" y="206"/>
                      <a:pt x="104" y="206"/>
                      <a:pt x="104" y="206"/>
                    </a:cubicBezTo>
                    <a:cubicBezTo>
                      <a:pt x="104" y="206"/>
                      <a:pt x="103" y="206"/>
                      <a:pt x="102" y="206"/>
                    </a:cubicBezTo>
                    <a:cubicBezTo>
                      <a:pt x="103" y="207"/>
                      <a:pt x="104" y="207"/>
                      <a:pt x="104" y="207"/>
                    </a:cubicBezTo>
                    <a:cubicBezTo>
                      <a:pt x="104" y="207"/>
                      <a:pt x="104" y="206"/>
                      <a:pt x="104" y="206"/>
                    </a:cubicBezTo>
                    <a:cubicBezTo>
                      <a:pt x="105" y="207"/>
                      <a:pt x="104" y="207"/>
                      <a:pt x="105" y="207"/>
                    </a:cubicBezTo>
                    <a:cubicBezTo>
                      <a:pt x="105" y="207"/>
                      <a:pt x="105" y="207"/>
                      <a:pt x="106" y="206"/>
                    </a:cubicBezTo>
                    <a:cubicBezTo>
                      <a:pt x="106" y="206"/>
                      <a:pt x="106" y="206"/>
                      <a:pt x="105" y="205"/>
                    </a:cubicBezTo>
                    <a:cubicBezTo>
                      <a:pt x="106" y="205"/>
                      <a:pt x="106" y="206"/>
                      <a:pt x="106" y="206"/>
                    </a:cubicBezTo>
                    <a:cubicBezTo>
                      <a:pt x="107" y="206"/>
                      <a:pt x="107" y="206"/>
                      <a:pt x="107" y="206"/>
                    </a:cubicBezTo>
                    <a:cubicBezTo>
                      <a:pt x="107" y="206"/>
                      <a:pt x="107" y="206"/>
                      <a:pt x="107" y="206"/>
                    </a:cubicBezTo>
                    <a:cubicBezTo>
                      <a:pt x="107" y="206"/>
                      <a:pt x="107" y="206"/>
                      <a:pt x="108" y="206"/>
                    </a:cubicBezTo>
                    <a:cubicBezTo>
                      <a:pt x="108" y="206"/>
                      <a:pt x="108" y="206"/>
                      <a:pt x="108" y="206"/>
                    </a:cubicBezTo>
                    <a:cubicBezTo>
                      <a:pt x="108" y="206"/>
                      <a:pt x="109" y="206"/>
                      <a:pt x="109" y="206"/>
                    </a:cubicBezTo>
                    <a:cubicBezTo>
                      <a:pt x="109" y="206"/>
                      <a:pt x="109" y="206"/>
                      <a:pt x="108" y="206"/>
                    </a:cubicBezTo>
                    <a:cubicBezTo>
                      <a:pt x="108" y="205"/>
                      <a:pt x="107" y="205"/>
                      <a:pt x="107" y="205"/>
                    </a:cubicBezTo>
                    <a:close/>
                    <a:moveTo>
                      <a:pt x="128" y="179"/>
                    </a:moveTo>
                    <a:cubicBezTo>
                      <a:pt x="127" y="178"/>
                      <a:pt x="126" y="178"/>
                      <a:pt x="125" y="179"/>
                    </a:cubicBezTo>
                    <a:cubicBezTo>
                      <a:pt x="125" y="179"/>
                      <a:pt x="125" y="179"/>
                      <a:pt x="125" y="179"/>
                    </a:cubicBezTo>
                    <a:cubicBezTo>
                      <a:pt x="125" y="179"/>
                      <a:pt x="125" y="179"/>
                      <a:pt x="125" y="179"/>
                    </a:cubicBezTo>
                    <a:cubicBezTo>
                      <a:pt x="125" y="180"/>
                      <a:pt x="126" y="179"/>
                      <a:pt x="126" y="179"/>
                    </a:cubicBezTo>
                    <a:cubicBezTo>
                      <a:pt x="126" y="180"/>
                      <a:pt x="126" y="179"/>
                      <a:pt x="126" y="179"/>
                    </a:cubicBezTo>
                    <a:cubicBezTo>
                      <a:pt x="127" y="179"/>
                      <a:pt x="127" y="179"/>
                      <a:pt x="127" y="179"/>
                    </a:cubicBezTo>
                    <a:cubicBezTo>
                      <a:pt x="127" y="179"/>
                      <a:pt x="128" y="179"/>
                      <a:pt x="128" y="179"/>
                    </a:cubicBezTo>
                    <a:cubicBezTo>
                      <a:pt x="128" y="179"/>
                      <a:pt x="127" y="179"/>
                      <a:pt x="126" y="179"/>
                    </a:cubicBezTo>
                    <a:cubicBezTo>
                      <a:pt x="127" y="179"/>
                      <a:pt x="127" y="179"/>
                      <a:pt x="128" y="179"/>
                    </a:cubicBezTo>
                    <a:cubicBezTo>
                      <a:pt x="128" y="179"/>
                      <a:pt x="128" y="179"/>
                      <a:pt x="129" y="179"/>
                    </a:cubicBezTo>
                    <a:cubicBezTo>
                      <a:pt x="129" y="179"/>
                      <a:pt x="128" y="179"/>
                      <a:pt x="128" y="179"/>
                    </a:cubicBezTo>
                    <a:cubicBezTo>
                      <a:pt x="128" y="179"/>
                      <a:pt x="128" y="179"/>
                      <a:pt x="128" y="179"/>
                    </a:cubicBezTo>
                    <a:close/>
                    <a:moveTo>
                      <a:pt x="148" y="161"/>
                    </a:moveTo>
                    <a:cubicBezTo>
                      <a:pt x="148" y="161"/>
                      <a:pt x="147" y="161"/>
                      <a:pt x="147" y="161"/>
                    </a:cubicBezTo>
                    <a:cubicBezTo>
                      <a:pt x="147" y="161"/>
                      <a:pt x="147" y="161"/>
                      <a:pt x="147" y="161"/>
                    </a:cubicBezTo>
                    <a:cubicBezTo>
                      <a:pt x="147" y="160"/>
                      <a:pt x="147" y="161"/>
                      <a:pt x="147" y="160"/>
                    </a:cubicBezTo>
                    <a:cubicBezTo>
                      <a:pt x="147" y="160"/>
                      <a:pt x="147" y="160"/>
                      <a:pt x="147" y="160"/>
                    </a:cubicBezTo>
                    <a:cubicBezTo>
                      <a:pt x="147" y="159"/>
                      <a:pt x="147" y="160"/>
                      <a:pt x="147" y="159"/>
                    </a:cubicBezTo>
                    <a:cubicBezTo>
                      <a:pt x="147" y="159"/>
                      <a:pt x="147" y="159"/>
                      <a:pt x="147" y="158"/>
                    </a:cubicBezTo>
                    <a:cubicBezTo>
                      <a:pt x="147" y="158"/>
                      <a:pt x="146" y="157"/>
                      <a:pt x="145" y="158"/>
                    </a:cubicBezTo>
                    <a:cubicBezTo>
                      <a:pt x="145" y="158"/>
                      <a:pt x="145" y="159"/>
                      <a:pt x="146" y="159"/>
                    </a:cubicBezTo>
                    <a:cubicBezTo>
                      <a:pt x="146" y="160"/>
                      <a:pt x="146" y="160"/>
                      <a:pt x="146" y="161"/>
                    </a:cubicBezTo>
                    <a:cubicBezTo>
                      <a:pt x="146" y="161"/>
                      <a:pt x="146" y="162"/>
                      <a:pt x="146" y="162"/>
                    </a:cubicBezTo>
                    <a:cubicBezTo>
                      <a:pt x="146" y="162"/>
                      <a:pt x="148" y="162"/>
                      <a:pt x="148" y="162"/>
                    </a:cubicBezTo>
                    <a:cubicBezTo>
                      <a:pt x="148" y="162"/>
                      <a:pt x="149" y="162"/>
                      <a:pt x="148" y="161"/>
                    </a:cubicBezTo>
                    <a:close/>
                    <a:moveTo>
                      <a:pt x="341" y="23"/>
                    </a:moveTo>
                    <a:cubicBezTo>
                      <a:pt x="341" y="23"/>
                      <a:pt x="341" y="24"/>
                      <a:pt x="340" y="24"/>
                    </a:cubicBezTo>
                    <a:cubicBezTo>
                      <a:pt x="340" y="24"/>
                      <a:pt x="340" y="24"/>
                      <a:pt x="340" y="24"/>
                    </a:cubicBezTo>
                    <a:cubicBezTo>
                      <a:pt x="341" y="24"/>
                      <a:pt x="342" y="24"/>
                      <a:pt x="343" y="24"/>
                    </a:cubicBezTo>
                    <a:cubicBezTo>
                      <a:pt x="344" y="24"/>
                      <a:pt x="345" y="24"/>
                      <a:pt x="346" y="24"/>
                    </a:cubicBezTo>
                    <a:cubicBezTo>
                      <a:pt x="346" y="24"/>
                      <a:pt x="346" y="24"/>
                      <a:pt x="346" y="23"/>
                    </a:cubicBezTo>
                    <a:cubicBezTo>
                      <a:pt x="345" y="23"/>
                      <a:pt x="344" y="23"/>
                      <a:pt x="344" y="23"/>
                    </a:cubicBezTo>
                    <a:cubicBezTo>
                      <a:pt x="343" y="23"/>
                      <a:pt x="342" y="23"/>
                      <a:pt x="341" y="23"/>
                    </a:cubicBezTo>
                    <a:close/>
                    <a:moveTo>
                      <a:pt x="319" y="67"/>
                    </a:moveTo>
                    <a:cubicBezTo>
                      <a:pt x="319" y="67"/>
                      <a:pt x="322" y="68"/>
                      <a:pt x="322" y="68"/>
                    </a:cubicBezTo>
                    <a:cubicBezTo>
                      <a:pt x="323" y="68"/>
                      <a:pt x="324" y="68"/>
                      <a:pt x="325" y="67"/>
                    </a:cubicBezTo>
                    <a:cubicBezTo>
                      <a:pt x="325" y="67"/>
                      <a:pt x="326" y="67"/>
                      <a:pt x="326" y="66"/>
                    </a:cubicBezTo>
                    <a:cubicBezTo>
                      <a:pt x="326" y="66"/>
                      <a:pt x="324" y="66"/>
                      <a:pt x="324" y="66"/>
                    </a:cubicBezTo>
                    <a:cubicBezTo>
                      <a:pt x="324" y="66"/>
                      <a:pt x="323" y="66"/>
                      <a:pt x="323" y="66"/>
                    </a:cubicBezTo>
                    <a:cubicBezTo>
                      <a:pt x="323" y="66"/>
                      <a:pt x="326" y="66"/>
                      <a:pt x="324" y="65"/>
                    </a:cubicBezTo>
                    <a:cubicBezTo>
                      <a:pt x="323" y="65"/>
                      <a:pt x="322" y="65"/>
                      <a:pt x="321" y="65"/>
                    </a:cubicBezTo>
                    <a:cubicBezTo>
                      <a:pt x="321" y="65"/>
                      <a:pt x="320" y="65"/>
                      <a:pt x="320" y="65"/>
                    </a:cubicBezTo>
                    <a:cubicBezTo>
                      <a:pt x="320" y="66"/>
                      <a:pt x="321" y="66"/>
                      <a:pt x="321" y="66"/>
                    </a:cubicBezTo>
                    <a:cubicBezTo>
                      <a:pt x="320" y="66"/>
                      <a:pt x="319" y="67"/>
                      <a:pt x="319" y="67"/>
                    </a:cubicBezTo>
                    <a:close/>
                    <a:moveTo>
                      <a:pt x="292" y="80"/>
                    </a:moveTo>
                    <a:cubicBezTo>
                      <a:pt x="293" y="81"/>
                      <a:pt x="294" y="81"/>
                      <a:pt x="295" y="81"/>
                    </a:cubicBezTo>
                    <a:cubicBezTo>
                      <a:pt x="296" y="81"/>
                      <a:pt x="296" y="81"/>
                      <a:pt x="297" y="81"/>
                    </a:cubicBezTo>
                    <a:cubicBezTo>
                      <a:pt x="297" y="81"/>
                      <a:pt x="298" y="81"/>
                      <a:pt x="298" y="80"/>
                    </a:cubicBezTo>
                    <a:cubicBezTo>
                      <a:pt x="297" y="80"/>
                      <a:pt x="297" y="80"/>
                      <a:pt x="296" y="80"/>
                    </a:cubicBezTo>
                    <a:cubicBezTo>
                      <a:pt x="296" y="80"/>
                      <a:pt x="295" y="80"/>
                      <a:pt x="295" y="80"/>
                    </a:cubicBezTo>
                    <a:cubicBezTo>
                      <a:pt x="293" y="79"/>
                      <a:pt x="291" y="79"/>
                      <a:pt x="289" y="79"/>
                    </a:cubicBezTo>
                    <a:cubicBezTo>
                      <a:pt x="288" y="79"/>
                      <a:pt x="287" y="79"/>
                      <a:pt x="286" y="79"/>
                    </a:cubicBezTo>
                    <a:cubicBezTo>
                      <a:pt x="286" y="79"/>
                      <a:pt x="285" y="79"/>
                      <a:pt x="285" y="79"/>
                    </a:cubicBezTo>
                    <a:cubicBezTo>
                      <a:pt x="284" y="80"/>
                      <a:pt x="286" y="80"/>
                      <a:pt x="286" y="80"/>
                    </a:cubicBezTo>
                    <a:cubicBezTo>
                      <a:pt x="287" y="80"/>
                      <a:pt x="288" y="80"/>
                      <a:pt x="289" y="80"/>
                    </a:cubicBezTo>
                    <a:cubicBezTo>
                      <a:pt x="290" y="80"/>
                      <a:pt x="291" y="80"/>
                      <a:pt x="292" y="80"/>
                    </a:cubicBezTo>
                    <a:close/>
                    <a:moveTo>
                      <a:pt x="339" y="33"/>
                    </a:moveTo>
                    <a:cubicBezTo>
                      <a:pt x="339" y="33"/>
                      <a:pt x="338" y="33"/>
                      <a:pt x="338" y="34"/>
                    </a:cubicBezTo>
                    <a:cubicBezTo>
                      <a:pt x="337" y="34"/>
                      <a:pt x="338" y="34"/>
                      <a:pt x="338" y="34"/>
                    </a:cubicBezTo>
                    <a:cubicBezTo>
                      <a:pt x="338" y="34"/>
                      <a:pt x="339" y="34"/>
                      <a:pt x="339" y="34"/>
                    </a:cubicBezTo>
                    <a:cubicBezTo>
                      <a:pt x="340" y="35"/>
                      <a:pt x="340" y="34"/>
                      <a:pt x="341" y="34"/>
                    </a:cubicBezTo>
                    <a:cubicBezTo>
                      <a:pt x="341" y="34"/>
                      <a:pt x="340" y="34"/>
                      <a:pt x="340" y="34"/>
                    </a:cubicBezTo>
                    <a:cubicBezTo>
                      <a:pt x="340" y="34"/>
                      <a:pt x="341" y="34"/>
                      <a:pt x="341" y="34"/>
                    </a:cubicBezTo>
                    <a:cubicBezTo>
                      <a:pt x="341" y="34"/>
                      <a:pt x="340" y="34"/>
                      <a:pt x="340" y="34"/>
                    </a:cubicBezTo>
                    <a:cubicBezTo>
                      <a:pt x="340" y="34"/>
                      <a:pt x="340" y="33"/>
                      <a:pt x="341" y="33"/>
                    </a:cubicBezTo>
                    <a:cubicBezTo>
                      <a:pt x="341" y="33"/>
                      <a:pt x="341" y="33"/>
                      <a:pt x="341" y="33"/>
                    </a:cubicBezTo>
                    <a:cubicBezTo>
                      <a:pt x="341" y="33"/>
                      <a:pt x="341" y="33"/>
                      <a:pt x="341" y="33"/>
                    </a:cubicBezTo>
                    <a:cubicBezTo>
                      <a:pt x="341" y="33"/>
                      <a:pt x="340" y="33"/>
                      <a:pt x="339" y="33"/>
                    </a:cubicBezTo>
                    <a:close/>
                    <a:moveTo>
                      <a:pt x="88" y="197"/>
                    </a:moveTo>
                    <a:cubicBezTo>
                      <a:pt x="89" y="197"/>
                      <a:pt x="89" y="197"/>
                      <a:pt x="89" y="197"/>
                    </a:cubicBezTo>
                    <a:cubicBezTo>
                      <a:pt x="88" y="197"/>
                      <a:pt x="87" y="197"/>
                      <a:pt x="86" y="198"/>
                    </a:cubicBezTo>
                    <a:cubicBezTo>
                      <a:pt x="85" y="198"/>
                      <a:pt x="84" y="198"/>
                      <a:pt x="83" y="199"/>
                    </a:cubicBezTo>
                    <a:cubicBezTo>
                      <a:pt x="84" y="199"/>
                      <a:pt x="84" y="198"/>
                      <a:pt x="85" y="198"/>
                    </a:cubicBezTo>
                    <a:cubicBezTo>
                      <a:pt x="85" y="198"/>
                      <a:pt x="86" y="198"/>
                      <a:pt x="86" y="198"/>
                    </a:cubicBezTo>
                    <a:cubicBezTo>
                      <a:pt x="87" y="198"/>
                      <a:pt x="87" y="198"/>
                      <a:pt x="88" y="197"/>
                    </a:cubicBezTo>
                    <a:close/>
                    <a:moveTo>
                      <a:pt x="102" y="206"/>
                    </a:moveTo>
                    <a:cubicBezTo>
                      <a:pt x="102" y="206"/>
                      <a:pt x="101" y="207"/>
                      <a:pt x="100" y="208"/>
                    </a:cubicBezTo>
                    <a:cubicBezTo>
                      <a:pt x="100" y="208"/>
                      <a:pt x="101" y="208"/>
                      <a:pt x="101" y="208"/>
                    </a:cubicBezTo>
                    <a:cubicBezTo>
                      <a:pt x="101" y="208"/>
                      <a:pt x="102" y="208"/>
                      <a:pt x="102" y="207"/>
                    </a:cubicBezTo>
                    <a:cubicBezTo>
                      <a:pt x="102" y="207"/>
                      <a:pt x="101" y="209"/>
                      <a:pt x="102" y="208"/>
                    </a:cubicBezTo>
                    <a:cubicBezTo>
                      <a:pt x="102" y="208"/>
                      <a:pt x="103" y="207"/>
                      <a:pt x="103" y="207"/>
                    </a:cubicBezTo>
                    <a:cubicBezTo>
                      <a:pt x="103" y="208"/>
                      <a:pt x="103" y="208"/>
                      <a:pt x="103" y="208"/>
                    </a:cubicBezTo>
                    <a:cubicBezTo>
                      <a:pt x="103" y="208"/>
                      <a:pt x="104" y="208"/>
                      <a:pt x="104" y="208"/>
                    </a:cubicBezTo>
                    <a:cubicBezTo>
                      <a:pt x="104" y="207"/>
                      <a:pt x="103" y="207"/>
                      <a:pt x="102" y="206"/>
                    </a:cubicBezTo>
                    <a:close/>
                    <a:moveTo>
                      <a:pt x="144" y="164"/>
                    </a:moveTo>
                    <a:cubicBezTo>
                      <a:pt x="143" y="163"/>
                      <a:pt x="140" y="164"/>
                      <a:pt x="141" y="165"/>
                    </a:cubicBezTo>
                    <a:cubicBezTo>
                      <a:pt x="142" y="164"/>
                      <a:pt x="142" y="165"/>
                      <a:pt x="143" y="165"/>
                    </a:cubicBezTo>
                    <a:cubicBezTo>
                      <a:pt x="143" y="165"/>
                      <a:pt x="144" y="165"/>
                      <a:pt x="144" y="165"/>
                    </a:cubicBezTo>
                    <a:cubicBezTo>
                      <a:pt x="144" y="164"/>
                      <a:pt x="143" y="164"/>
                      <a:pt x="143" y="164"/>
                    </a:cubicBezTo>
                    <a:cubicBezTo>
                      <a:pt x="144" y="164"/>
                      <a:pt x="144" y="164"/>
                      <a:pt x="144" y="164"/>
                    </a:cubicBezTo>
                    <a:close/>
                    <a:moveTo>
                      <a:pt x="125" y="181"/>
                    </a:moveTo>
                    <a:cubicBezTo>
                      <a:pt x="125" y="181"/>
                      <a:pt x="125" y="181"/>
                      <a:pt x="125" y="181"/>
                    </a:cubicBezTo>
                    <a:cubicBezTo>
                      <a:pt x="125" y="180"/>
                      <a:pt x="125" y="181"/>
                      <a:pt x="125" y="181"/>
                    </a:cubicBezTo>
                    <a:cubicBezTo>
                      <a:pt x="125" y="181"/>
                      <a:pt x="125" y="181"/>
                      <a:pt x="126" y="181"/>
                    </a:cubicBezTo>
                    <a:cubicBezTo>
                      <a:pt x="126" y="181"/>
                      <a:pt x="126" y="181"/>
                      <a:pt x="126" y="181"/>
                    </a:cubicBezTo>
                    <a:cubicBezTo>
                      <a:pt x="126" y="180"/>
                      <a:pt x="126" y="181"/>
                      <a:pt x="125" y="181"/>
                    </a:cubicBezTo>
                    <a:close/>
                    <a:moveTo>
                      <a:pt x="332" y="40"/>
                    </a:moveTo>
                    <a:cubicBezTo>
                      <a:pt x="331" y="40"/>
                      <a:pt x="331" y="40"/>
                      <a:pt x="330" y="41"/>
                    </a:cubicBezTo>
                    <a:cubicBezTo>
                      <a:pt x="331" y="41"/>
                      <a:pt x="331" y="41"/>
                      <a:pt x="332" y="41"/>
                    </a:cubicBezTo>
                    <a:cubicBezTo>
                      <a:pt x="332" y="41"/>
                      <a:pt x="333" y="41"/>
                      <a:pt x="333" y="41"/>
                    </a:cubicBezTo>
                    <a:cubicBezTo>
                      <a:pt x="334" y="42"/>
                      <a:pt x="336" y="42"/>
                      <a:pt x="337" y="42"/>
                    </a:cubicBezTo>
                    <a:cubicBezTo>
                      <a:pt x="338" y="42"/>
                      <a:pt x="338" y="42"/>
                      <a:pt x="337" y="41"/>
                    </a:cubicBezTo>
                    <a:cubicBezTo>
                      <a:pt x="337" y="41"/>
                      <a:pt x="337" y="41"/>
                      <a:pt x="336" y="41"/>
                    </a:cubicBezTo>
                    <a:cubicBezTo>
                      <a:pt x="335" y="41"/>
                      <a:pt x="334" y="41"/>
                      <a:pt x="333" y="41"/>
                    </a:cubicBezTo>
                    <a:cubicBezTo>
                      <a:pt x="333" y="41"/>
                      <a:pt x="333" y="41"/>
                      <a:pt x="334" y="41"/>
                    </a:cubicBezTo>
                    <a:cubicBezTo>
                      <a:pt x="333" y="40"/>
                      <a:pt x="332" y="41"/>
                      <a:pt x="332" y="40"/>
                    </a:cubicBezTo>
                    <a:close/>
                    <a:moveTo>
                      <a:pt x="347" y="41"/>
                    </a:moveTo>
                    <a:cubicBezTo>
                      <a:pt x="346" y="41"/>
                      <a:pt x="346" y="42"/>
                      <a:pt x="346" y="42"/>
                    </a:cubicBezTo>
                    <a:cubicBezTo>
                      <a:pt x="345" y="42"/>
                      <a:pt x="344" y="42"/>
                      <a:pt x="344" y="43"/>
                    </a:cubicBezTo>
                    <a:cubicBezTo>
                      <a:pt x="344" y="43"/>
                      <a:pt x="346" y="43"/>
                      <a:pt x="347" y="43"/>
                    </a:cubicBezTo>
                    <a:cubicBezTo>
                      <a:pt x="347" y="43"/>
                      <a:pt x="347" y="42"/>
                      <a:pt x="348" y="42"/>
                    </a:cubicBezTo>
                    <a:cubicBezTo>
                      <a:pt x="348" y="42"/>
                      <a:pt x="349" y="42"/>
                      <a:pt x="348" y="41"/>
                    </a:cubicBezTo>
                    <a:cubicBezTo>
                      <a:pt x="348" y="41"/>
                      <a:pt x="347" y="41"/>
                      <a:pt x="347" y="41"/>
                    </a:cubicBezTo>
                    <a:close/>
                    <a:moveTo>
                      <a:pt x="344" y="36"/>
                    </a:moveTo>
                    <a:cubicBezTo>
                      <a:pt x="345" y="35"/>
                      <a:pt x="346" y="35"/>
                      <a:pt x="346" y="35"/>
                    </a:cubicBezTo>
                    <a:cubicBezTo>
                      <a:pt x="346" y="34"/>
                      <a:pt x="344" y="35"/>
                      <a:pt x="344" y="35"/>
                    </a:cubicBezTo>
                    <a:cubicBezTo>
                      <a:pt x="343" y="36"/>
                      <a:pt x="344" y="36"/>
                      <a:pt x="344" y="36"/>
                    </a:cubicBezTo>
                    <a:close/>
                    <a:moveTo>
                      <a:pt x="60" y="151"/>
                    </a:moveTo>
                    <a:cubicBezTo>
                      <a:pt x="59" y="150"/>
                      <a:pt x="57" y="151"/>
                      <a:pt x="57" y="151"/>
                    </a:cubicBezTo>
                    <a:cubicBezTo>
                      <a:pt x="57" y="152"/>
                      <a:pt x="58" y="151"/>
                      <a:pt x="58" y="152"/>
                    </a:cubicBezTo>
                    <a:cubicBezTo>
                      <a:pt x="58" y="152"/>
                      <a:pt x="59" y="151"/>
                      <a:pt x="59" y="151"/>
                    </a:cubicBezTo>
                    <a:cubicBezTo>
                      <a:pt x="59" y="151"/>
                      <a:pt x="60" y="151"/>
                      <a:pt x="60" y="151"/>
                    </a:cubicBezTo>
                    <a:cubicBezTo>
                      <a:pt x="60" y="150"/>
                      <a:pt x="60" y="151"/>
                      <a:pt x="60" y="151"/>
                    </a:cubicBezTo>
                    <a:close/>
                    <a:moveTo>
                      <a:pt x="91" y="200"/>
                    </a:moveTo>
                    <a:cubicBezTo>
                      <a:pt x="91" y="200"/>
                      <a:pt x="91" y="200"/>
                      <a:pt x="91" y="200"/>
                    </a:cubicBezTo>
                    <a:cubicBezTo>
                      <a:pt x="91" y="200"/>
                      <a:pt x="91" y="200"/>
                      <a:pt x="91" y="200"/>
                    </a:cubicBezTo>
                    <a:close/>
                    <a:moveTo>
                      <a:pt x="392" y="13"/>
                    </a:moveTo>
                    <a:cubicBezTo>
                      <a:pt x="391" y="14"/>
                      <a:pt x="389" y="14"/>
                      <a:pt x="387" y="14"/>
                    </a:cubicBezTo>
                    <a:cubicBezTo>
                      <a:pt x="386" y="14"/>
                      <a:pt x="385" y="15"/>
                      <a:pt x="384" y="15"/>
                    </a:cubicBezTo>
                    <a:cubicBezTo>
                      <a:pt x="384" y="15"/>
                      <a:pt x="382" y="15"/>
                      <a:pt x="382" y="16"/>
                    </a:cubicBezTo>
                    <a:cubicBezTo>
                      <a:pt x="381" y="17"/>
                      <a:pt x="379" y="17"/>
                      <a:pt x="377" y="16"/>
                    </a:cubicBezTo>
                    <a:cubicBezTo>
                      <a:pt x="376" y="16"/>
                      <a:pt x="374" y="16"/>
                      <a:pt x="372" y="17"/>
                    </a:cubicBezTo>
                    <a:cubicBezTo>
                      <a:pt x="373" y="17"/>
                      <a:pt x="375" y="18"/>
                      <a:pt x="375" y="18"/>
                    </a:cubicBezTo>
                    <a:cubicBezTo>
                      <a:pt x="375" y="18"/>
                      <a:pt x="373" y="18"/>
                      <a:pt x="373" y="18"/>
                    </a:cubicBezTo>
                    <a:cubicBezTo>
                      <a:pt x="372" y="18"/>
                      <a:pt x="371" y="18"/>
                      <a:pt x="370" y="18"/>
                    </a:cubicBezTo>
                    <a:cubicBezTo>
                      <a:pt x="369" y="18"/>
                      <a:pt x="368" y="18"/>
                      <a:pt x="368" y="19"/>
                    </a:cubicBezTo>
                    <a:cubicBezTo>
                      <a:pt x="367" y="19"/>
                      <a:pt x="367" y="19"/>
                      <a:pt x="366" y="19"/>
                    </a:cubicBezTo>
                    <a:cubicBezTo>
                      <a:pt x="365" y="20"/>
                      <a:pt x="364" y="19"/>
                      <a:pt x="363" y="19"/>
                    </a:cubicBezTo>
                    <a:cubicBezTo>
                      <a:pt x="361" y="19"/>
                      <a:pt x="360" y="19"/>
                      <a:pt x="359" y="19"/>
                    </a:cubicBezTo>
                    <a:cubicBezTo>
                      <a:pt x="358" y="19"/>
                      <a:pt x="356" y="19"/>
                      <a:pt x="356" y="19"/>
                    </a:cubicBezTo>
                    <a:cubicBezTo>
                      <a:pt x="355" y="19"/>
                      <a:pt x="353" y="19"/>
                      <a:pt x="354" y="19"/>
                    </a:cubicBezTo>
                    <a:cubicBezTo>
                      <a:pt x="354" y="20"/>
                      <a:pt x="353" y="20"/>
                      <a:pt x="352" y="20"/>
                    </a:cubicBezTo>
                    <a:cubicBezTo>
                      <a:pt x="351" y="20"/>
                      <a:pt x="351" y="20"/>
                      <a:pt x="350" y="20"/>
                    </a:cubicBezTo>
                    <a:cubicBezTo>
                      <a:pt x="348" y="20"/>
                      <a:pt x="346" y="20"/>
                      <a:pt x="344" y="20"/>
                    </a:cubicBezTo>
                    <a:cubicBezTo>
                      <a:pt x="343" y="20"/>
                      <a:pt x="341" y="20"/>
                      <a:pt x="339" y="20"/>
                    </a:cubicBezTo>
                    <a:cubicBezTo>
                      <a:pt x="338" y="20"/>
                      <a:pt x="336" y="20"/>
                      <a:pt x="334" y="20"/>
                    </a:cubicBezTo>
                    <a:cubicBezTo>
                      <a:pt x="335" y="21"/>
                      <a:pt x="336" y="20"/>
                      <a:pt x="336" y="21"/>
                    </a:cubicBezTo>
                    <a:cubicBezTo>
                      <a:pt x="336" y="21"/>
                      <a:pt x="336" y="21"/>
                      <a:pt x="336" y="21"/>
                    </a:cubicBezTo>
                    <a:cubicBezTo>
                      <a:pt x="337" y="21"/>
                      <a:pt x="337" y="21"/>
                      <a:pt x="338" y="21"/>
                    </a:cubicBezTo>
                    <a:cubicBezTo>
                      <a:pt x="339" y="21"/>
                      <a:pt x="340" y="20"/>
                      <a:pt x="340" y="20"/>
                    </a:cubicBezTo>
                    <a:cubicBezTo>
                      <a:pt x="342" y="20"/>
                      <a:pt x="343" y="20"/>
                      <a:pt x="345" y="20"/>
                    </a:cubicBezTo>
                    <a:cubicBezTo>
                      <a:pt x="346" y="20"/>
                      <a:pt x="348" y="20"/>
                      <a:pt x="349" y="21"/>
                    </a:cubicBezTo>
                    <a:cubicBezTo>
                      <a:pt x="351" y="21"/>
                      <a:pt x="352" y="21"/>
                      <a:pt x="354" y="20"/>
                    </a:cubicBezTo>
                    <a:cubicBezTo>
                      <a:pt x="355" y="20"/>
                      <a:pt x="356" y="20"/>
                      <a:pt x="358" y="20"/>
                    </a:cubicBezTo>
                    <a:cubicBezTo>
                      <a:pt x="358" y="20"/>
                      <a:pt x="359" y="20"/>
                      <a:pt x="360" y="21"/>
                    </a:cubicBezTo>
                    <a:cubicBezTo>
                      <a:pt x="361" y="21"/>
                      <a:pt x="362" y="20"/>
                      <a:pt x="363" y="21"/>
                    </a:cubicBezTo>
                    <a:cubicBezTo>
                      <a:pt x="363" y="21"/>
                      <a:pt x="365" y="21"/>
                      <a:pt x="365" y="21"/>
                    </a:cubicBezTo>
                    <a:cubicBezTo>
                      <a:pt x="364" y="21"/>
                      <a:pt x="364" y="21"/>
                      <a:pt x="363" y="22"/>
                    </a:cubicBezTo>
                    <a:cubicBezTo>
                      <a:pt x="363" y="22"/>
                      <a:pt x="362" y="22"/>
                      <a:pt x="361" y="22"/>
                    </a:cubicBezTo>
                    <a:cubicBezTo>
                      <a:pt x="362" y="22"/>
                      <a:pt x="361" y="22"/>
                      <a:pt x="361" y="22"/>
                    </a:cubicBezTo>
                    <a:cubicBezTo>
                      <a:pt x="360" y="22"/>
                      <a:pt x="361" y="22"/>
                      <a:pt x="361" y="22"/>
                    </a:cubicBezTo>
                    <a:cubicBezTo>
                      <a:pt x="361" y="23"/>
                      <a:pt x="360" y="23"/>
                      <a:pt x="359" y="23"/>
                    </a:cubicBezTo>
                    <a:cubicBezTo>
                      <a:pt x="358" y="23"/>
                      <a:pt x="357" y="23"/>
                      <a:pt x="356" y="23"/>
                    </a:cubicBezTo>
                    <a:cubicBezTo>
                      <a:pt x="354" y="23"/>
                      <a:pt x="351" y="23"/>
                      <a:pt x="349" y="23"/>
                    </a:cubicBezTo>
                    <a:cubicBezTo>
                      <a:pt x="347" y="23"/>
                      <a:pt x="345" y="23"/>
                      <a:pt x="343" y="23"/>
                    </a:cubicBezTo>
                    <a:cubicBezTo>
                      <a:pt x="342" y="23"/>
                      <a:pt x="341" y="23"/>
                      <a:pt x="340" y="23"/>
                    </a:cubicBezTo>
                    <a:cubicBezTo>
                      <a:pt x="339" y="24"/>
                      <a:pt x="338" y="24"/>
                      <a:pt x="337" y="24"/>
                    </a:cubicBezTo>
                    <a:cubicBezTo>
                      <a:pt x="337" y="24"/>
                      <a:pt x="337" y="24"/>
                      <a:pt x="338" y="24"/>
                    </a:cubicBezTo>
                    <a:cubicBezTo>
                      <a:pt x="337" y="24"/>
                      <a:pt x="337" y="24"/>
                      <a:pt x="336" y="24"/>
                    </a:cubicBezTo>
                    <a:cubicBezTo>
                      <a:pt x="336" y="25"/>
                      <a:pt x="337" y="25"/>
                      <a:pt x="337" y="25"/>
                    </a:cubicBezTo>
                    <a:cubicBezTo>
                      <a:pt x="336" y="25"/>
                      <a:pt x="335" y="25"/>
                      <a:pt x="335" y="26"/>
                    </a:cubicBezTo>
                    <a:cubicBezTo>
                      <a:pt x="335" y="26"/>
                      <a:pt x="335" y="26"/>
                      <a:pt x="336" y="26"/>
                    </a:cubicBezTo>
                    <a:cubicBezTo>
                      <a:pt x="336" y="26"/>
                      <a:pt x="337" y="26"/>
                      <a:pt x="337" y="26"/>
                    </a:cubicBezTo>
                    <a:cubicBezTo>
                      <a:pt x="337" y="26"/>
                      <a:pt x="337" y="26"/>
                      <a:pt x="337" y="26"/>
                    </a:cubicBezTo>
                    <a:cubicBezTo>
                      <a:pt x="337" y="26"/>
                      <a:pt x="338" y="26"/>
                      <a:pt x="338" y="26"/>
                    </a:cubicBezTo>
                    <a:cubicBezTo>
                      <a:pt x="339" y="26"/>
                      <a:pt x="339" y="26"/>
                      <a:pt x="340" y="26"/>
                    </a:cubicBezTo>
                    <a:cubicBezTo>
                      <a:pt x="339" y="26"/>
                      <a:pt x="339" y="26"/>
                      <a:pt x="338" y="26"/>
                    </a:cubicBezTo>
                    <a:cubicBezTo>
                      <a:pt x="338" y="26"/>
                      <a:pt x="338" y="26"/>
                      <a:pt x="338" y="26"/>
                    </a:cubicBezTo>
                    <a:cubicBezTo>
                      <a:pt x="338" y="25"/>
                      <a:pt x="339" y="25"/>
                      <a:pt x="340" y="25"/>
                    </a:cubicBezTo>
                    <a:cubicBezTo>
                      <a:pt x="341" y="24"/>
                      <a:pt x="341" y="25"/>
                      <a:pt x="342" y="24"/>
                    </a:cubicBezTo>
                    <a:cubicBezTo>
                      <a:pt x="343" y="24"/>
                      <a:pt x="344" y="24"/>
                      <a:pt x="345" y="24"/>
                    </a:cubicBezTo>
                    <a:cubicBezTo>
                      <a:pt x="346" y="24"/>
                      <a:pt x="346" y="24"/>
                      <a:pt x="347" y="24"/>
                    </a:cubicBezTo>
                    <a:cubicBezTo>
                      <a:pt x="349" y="24"/>
                      <a:pt x="351" y="24"/>
                      <a:pt x="352" y="24"/>
                    </a:cubicBezTo>
                    <a:cubicBezTo>
                      <a:pt x="353" y="24"/>
                      <a:pt x="355" y="23"/>
                      <a:pt x="355" y="24"/>
                    </a:cubicBezTo>
                    <a:cubicBezTo>
                      <a:pt x="354" y="25"/>
                      <a:pt x="352" y="26"/>
                      <a:pt x="351" y="26"/>
                    </a:cubicBezTo>
                    <a:cubicBezTo>
                      <a:pt x="349" y="27"/>
                      <a:pt x="347" y="26"/>
                      <a:pt x="345" y="26"/>
                    </a:cubicBezTo>
                    <a:cubicBezTo>
                      <a:pt x="344" y="26"/>
                      <a:pt x="343" y="26"/>
                      <a:pt x="342" y="27"/>
                    </a:cubicBezTo>
                    <a:cubicBezTo>
                      <a:pt x="342" y="27"/>
                      <a:pt x="341" y="27"/>
                      <a:pt x="341" y="28"/>
                    </a:cubicBezTo>
                    <a:cubicBezTo>
                      <a:pt x="341" y="28"/>
                      <a:pt x="340" y="28"/>
                      <a:pt x="340" y="29"/>
                    </a:cubicBezTo>
                    <a:cubicBezTo>
                      <a:pt x="339" y="29"/>
                      <a:pt x="340" y="29"/>
                      <a:pt x="340" y="29"/>
                    </a:cubicBezTo>
                    <a:cubicBezTo>
                      <a:pt x="340" y="30"/>
                      <a:pt x="340" y="30"/>
                      <a:pt x="339" y="30"/>
                    </a:cubicBezTo>
                    <a:cubicBezTo>
                      <a:pt x="339" y="30"/>
                      <a:pt x="338" y="31"/>
                      <a:pt x="338" y="31"/>
                    </a:cubicBezTo>
                    <a:cubicBezTo>
                      <a:pt x="338" y="31"/>
                      <a:pt x="339" y="30"/>
                      <a:pt x="340" y="30"/>
                    </a:cubicBezTo>
                    <a:cubicBezTo>
                      <a:pt x="341" y="29"/>
                      <a:pt x="342" y="30"/>
                      <a:pt x="344" y="30"/>
                    </a:cubicBezTo>
                    <a:cubicBezTo>
                      <a:pt x="343" y="30"/>
                      <a:pt x="343" y="30"/>
                      <a:pt x="342" y="31"/>
                    </a:cubicBezTo>
                    <a:cubicBezTo>
                      <a:pt x="342" y="31"/>
                      <a:pt x="343" y="31"/>
                      <a:pt x="343" y="31"/>
                    </a:cubicBezTo>
                    <a:cubicBezTo>
                      <a:pt x="343" y="31"/>
                      <a:pt x="342" y="31"/>
                      <a:pt x="341" y="31"/>
                    </a:cubicBezTo>
                    <a:cubicBezTo>
                      <a:pt x="342" y="31"/>
                      <a:pt x="342" y="30"/>
                      <a:pt x="343" y="30"/>
                    </a:cubicBezTo>
                    <a:cubicBezTo>
                      <a:pt x="342" y="30"/>
                      <a:pt x="341" y="30"/>
                      <a:pt x="341" y="31"/>
                    </a:cubicBezTo>
                    <a:cubicBezTo>
                      <a:pt x="340" y="31"/>
                      <a:pt x="340" y="31"/>
                      <a:pt x="340" y="31"/>
                    </a:cubicBezTo>
                    <a:cubicBezTo>
                      <a:pt x="340" y="32"/>
                      <a:pt x="339" y="31"/>
                      <a:pt x="339" y="31"/>
                    </a:cubicBezTo>
                    <a:cubicBezTo>
                      <a:pt x="339" y="31"/>
                      <a:pt x="336" y="31"/>
                      <a:pt x="336" y="32"/>
                    </a:cubicBezTo>
                    <a:cubicBezTo>
                      <a:pt x="336" y="32"/>
                      <a:pt x="337" y="33"/>
                      <a:pt x="337" y="33"/>
                    </a:cubicBezTo>
                    <a:cubicBezTo>
                      <a:pt x="336" y="34"/>
                      <a:pt x="335" y="33"/>
                      <a:pt x="334" y="33"/>
                    </a:cubicBezTo>
                    <a:cubicBezTo>
                      <a:pt x="333" y="33"/>
                      <a:pt x="332" y="33"/>
                      <a:pt x="331" y="33"/>
                    </a:cubicBezTo>
                    <a:cubicBezTo>
                      <a:pt x="330" y="34"/>
                      <a:pt x="330" y="34"/>
                      <a:pt x="329" y="34"/>
                    </a:cubicBezTo>
                    <a:cubicBezTo>
                      <a:pt x="329" y="34"/>
                      <a:pt x="329" y="34"/>
                      <a:pt x="329" y="34"/>
                    </a:cubicBezTo>
                    <a:cubicBezTo>
                      <a:pt x="329" y="34"/>
                      <a:pt x="329" y="34"/>
                      <a:pt x="329" y="34"/>
                    </a:cubicBezTo>
                    <a:cubicBezTo>
                      <a:pt x="329" y="34"/>
                      <a:pt x="328" y="35"/>
                      <a:pt x="328" y="35"/>
                    </a:cubicBezTo>
                    <a:cubicBezTo>
                      <a:pt x="329" y="35"/>
                      <a:pt x="329" y="34"/>
                      <a:pt x="330" y="35"/>
                    </a:cubicBezTo>
                    <a:cubicBezTo>
                      <a:pt x="329" y="35"/>
                      <a:pt x="328" y="35"/>
                      <a:pt x="327" y="35"/>
                    </a:cubicBezTo>
                    <a:cubicBezTo>
                      <a:pt x="327" y="35"/>
                      <a:pt x="328" y="35"/>
                      <a:pt x="329" y="35"/>
                    </a:cubicBezTo>
                    <a:cubicBezTo>
                      <a:pt x="330" y="35"/>
                      <a:pt x="329" y="36"/>
                      <a:pt x="328" y="36"/>
                    </a:cubicBezTo>
                    <a:cubicBezTo>
                      <a:pt x="328" y="36"/>
                      <a:pt x="326" y="38"/>
                      <a:pt x="326" y="38"/>
                    </a:cubicBezTo>
                    <a:cubicBezTo>
                      <a:pt x="326" y="39"/>
                      <a:pt x="324" y="39"/>
                      <a:pt x="323" y="39"/>
                    </a:cubicBezTo>
                    <a:cubicBezTo>
                      <a:pt x="324" y="39"/>
                      <a:pt x="324" y="39"/>
                      <a:pt x="325" y="39"/>
                    </a:cubicBezTo>
                    <a:cubicBezTo>
                      <a:pt x="325" y="40"/>
                      <a:pt x="324" y="40"/>
                      <a:pt x="324" y="40"/>
                    </a:cubicBezTo>
                    <a:cubicBezTo>
                      <a:pt x="323" y="40"/>
                      <a:pt x="322" y="41"/>
                      <a:pt x="322" y="41"/>
                    </a:cubicBezTo>
                    <a:cubicBezTo>
                      <a:pt x="322" y="41"/>
                      <a:pt x="323" y="40"/>
                      <a:pt x="323" y="41"/>
                    </a:cubicBezTo>
                    <a:cubicBezTo>
                      <a:pt x="323" y="41"/>
                      <a:pt x="322" y="42"/>
                      <a:pt x="321" y="42"/>
                    </a:cubicBezTo>
                    <a:cubicBezTo>
                      <a:pt x="321" y="42"/>
                      <a:pt x="320" y="42"/>
                      <a:pt x="320" y="43"/>
                    </a:cubicBezTo>
                    <a:cubicBezTo>
                      <a:pt x="321" y="43"/>
                      <a:pt x="322" y="43"/>
                      <a:pt x="323" y="43"/>
                    </a:cubicBezTo>
                    <a:cubicBezTo>
                      <a:pt x="323" y="44"/>
                      <a:pt x="322" y="43"/>
                      <a:pt x="321" y="44"/>
                    </a:cubicBezTo>
                    <a:cubicBezTo>
                      <a:pt x="322" y="44"/>
                      <a:pt x="323" y="43"/>
                      <a:pt x="324" y="43"/>
                    </a:cubicBezTo>
                    <a:cubicBezTo>
                      <a:pt x="323" y="43"/>
                      <a:pt x="324" y="42"/>
                      <a:pt x="325" y="41"/>
                    </a:cubicBezTo>
                    <a:cubicBezTo>
                      <a:pt x="326" y="41"/>
                      <a:pt x="328" y="40"/>
                      <a:pt x="329" y="40"/>
                    </a:cubicBezTo>
                    <a:cubicBezTo>
                      <a:pt x="329" y="40"/>
                      <a:pt x="329" y="40"/>
                      <a:pt x="329" y="41"/>
                    </a:cubicBezTo>
                    <a:cubicBezTo>
                      <a:pt x="329" y="41"/>
                      <a:pt x="330" y="41"/>
                      <a:pt x="330" y="41"/>
                    </a:cubicBezTo>
                    <a:cubicBezTo>
                      <a:pt x="331" y="41"/>
                      <a:pt x="333" y="42"/>
                      <a:pt x="334" y="42"/>
                    </a:cubicBezTo>
                    <a:cubicBezTo>
                      <a:pt x="336" y="42"/>
                      <a:pt x="337" y="42"/>
                      <a:pt x="339" y="43"/>
                    </a:cubicBezTo>
                    <a:cubicBezTo>
                      <a:pt x="338" y="44"/>
                      <a:pt x="337" y="43"/>
                      <a:pt x="337" y="44"/>
                    </a:cubicBezTo>
                    <a:cubicBezTo>
                      <a:pt x="335" y="44"/>
                      <a:pt x="334" y="43"/>
                      <a:pt x="333" y="43"/>
                    </a:cubicBezTo>
                    <a:cubicBezTo>
                      <a:pt x="332" y="42"/>
                      <a:pt x="331" y="42"/>
                      <a:pt x="330" y="43"/>
                    </a:cubicBezTo>
                    <a:cubicBezTo>
                      <a:pt x="330" y="43"/>
                      <a:pt x="329" y="42"/>
                      <a:pt x="329" y="43"/>
                    </a:cubicBezTo>
                    <a:cubicBezTo>
                      <a:pt x="328" y="43"/>
                      <a:pt x="328" y="43"/>
                      <a:pt x="327" y="43"/>
                    </a:cubicBezTo>
                    <a:cubicBezTo>
                      <a:pt x="328" y="43"/>
                      <a:pt x="329" y="43"/>
                      <a:pt x="330" y="44"/>
                    </a:cubicBezTo>
                    <a:cubicBezTo>
                      <a:pt x="330" y="44"/>
                      <a:pt x="329" y="44"/>
                      <a:pt x="328" y="44"/>
                    </a:cubicBezTo>
                    <a:cubicBezTo>
                      <a:pt x="328" y="44"/>
                      <a:pt x="330" y="44"/>
                      <a:pt x="329" y="44"/>
                    </a:cubicBezTo>
                    <a:cubicBezTo>
                      <a:pt x="328" y="45"/>
                      <a:pt x="327" y="44"/>
                      <a:pt x="326" y="44"/>
                    </a:cubicBezTo>
                    <a:cubicBezTo>
                      <a:pt x="327" y="45"/>
                      <a:pt x="330" y="44"/>
                      <a:pt x="332" y="45"/>
                    </a:cubicBezTo>
                    <a:cubicBezTo>
                      <a:pt x="330" y="46"/>
                      <a:pt x="328" y="45"/>
                      <a:pt x="327" y="45"/>
                    </a:cubicBezTo>
                    <a:cubicBezTo>
                      <a:pt x="328" y="45"/>
                      <a:pt x="329" y="45"/>
                      <a:pt x="330" y="45"/>
                    </a:cubicBezTo>
                    <a:cubicBezTo>
                      <a:pt x="330" y="45"/>
                      <a:pt x="331" y="45"/>
                      <a:pt x="332" y="45"/>
                    </a:cubicBezTo>
                    <a:cubicBezTo>
                      <a:pt x="333" y="45"/>
                      <a:pt x="334" y="45"/>
                      <a:pt x="334" y="45"/>
                    </a:cubicBezTo>
                    <a:cubicBezTo>
                      <a:pt x="335" y="45"/>
                      <a:pt x="335" y="46"/>
                      <a:pt x="335" y="46"/>
                    </a:cubicBezTo>
                    <a:cubicBezTo>
                      <a:pt x="335" y="46"/>
                      <a:pt x="335" y="46"/>
                      <a:pt x="335" y="46"/>
                    </a:cubicBezTo>
                    <a:cubicBezTo>
                      <a:pt x="335" y="46"/>
                      <a:pt x="337" y="47"/>
                      <a:pt x="337" y="47"/>
                    </a:cubicBezTo>
                    <a:cubicBezTo>
                      <a:pt x="338" y="47"/>
                      <a:pt x="337" y="46"/>
                      <a:pt x="337" y="46"/>
                    </a:cubicBezTo>
                    <a:cubicBezTo>
                      <a:pt x="338" y="45"/>
                      <a:pt x="339" y="45"/>
                      <a:pt x="339" y="45"/>
                    </a:cubicBezTo>
                    <a:cubicBezTo>
                      <a:pt x="340" y="46"/>
                      <a:pt x="342" y="45"/>
                      <a:pt x="342" y="46"/>
                    </a:cubicBezTo>
                    <a:cubicBezTo>
                      <a:pt x="342" y="46"/>
                      <a:pt x="342" y="46"/>
                      <a:pt x="342" y="47"/>
                    </a:cubicBezTo>
                    <a:cubicBezTo>
                      <a:pt x="342" y="47"/>
                      <a:pt x="343" y="49"/>
                      <a:pt x="342" y="49"/>
                    </a:cubicBezTo>
                    <a:cubicBezTo>
                      <a:pt x="341" y="49"/>
                      <a:pt x="341" y="49"/>
                      <a:pt x="341" y="50"/>
                    </a:cubicBezTo>
                    <a:cubicBezTo>
                      <a:pt x="340" y="50"/>
                      <a:pt x="341" y="50"/>
                      <a:pt x="340" y="50"/>
                    </a:cubicBezTo>
                    <a:cubicBezTo>
                      <a:pt x="340" y="50"/>
                      <a:pt x="339" y="50"/>
                      <a:pt x="340" y="51"/>
                    </a:cubicBezTo>
                    <a:cubicBezTo>
                      <a:pt x="339" y="50"/>
                      <a:pt x="339" y="50"/>
                      <a:pt x="339" y="50"/>
                    </a:cubicBezTo>
                    <a:cubicBezTo>
                      <a:pt x="338" y="50"/>
                      <a:pt x="337" y="50"/>
                      <a:pt x="337" y="50"/>
                    </a:cubicBezTo>
                    <a:cubicBezTo>
                      <a:pt x="336" y="50"/>
                      <a:pt x="336" y="50"/>
                      <a:pt x="335" y="50"/>
                    </a:cubicBezTo>
                    <a:cubicBezTo>
                      <a:pt x="334" y="49"/>
                      <a:pt x="333" y="49"/>
                      <a:pt x="333" y="49"/>
                    </a:cubicBezTo>
                    <a:cubicBezTo>
                      <a:pt x="331" y="49"/>
                      <a:pt x="330" y="49"/>
                      <a:pt x="328" y="49"/>
                    </a:cubicBezTo>
                    <a:cubicBezTo>
                      <a:pt x="327" y="49"/>
                      <a:pt x="325" y="48"/>
                      <a:pt x="324" y="49"/>
                    </a:cubicBezTo>
                    <a:cubicBezTo>
                      <a:pt x="325" y="49"/>
                      <a:pt x="325" y="49"/>
                      <a:pt x="326" y="49"/>
                    </a:cubicBezTo>
                    <a:cubicBezTo>
                      <a:pt x="326" y="50"/>
                      <a:pt x="324" y="49"/>
                      <a:pt x="323" y="49"/>
                    </a:cubicBezTo>
                    <a:cubicBezTo>
                      <a:pt x="322" y="49"/>
                      <a:pt x="320" y="49"/>
                      <a:pt x="319" y="49"/>
                    </a:cubicBezTo>
                    <a:cubicBezTo>
                      <a:pt x="320" y="50"/>
                      <a:pt x="321" y="50"/>
                      <a:pt x="322" y="50"/>
                    </a:cubicBezTo>
                    <a:cubicBezTo>
                      <a:pt x="323" y="50"/>
                      <a:pt x="324" y="50"/>
                      <a:pt x="325" y="50"/>
                    </a:cubicBezTo>
                    <a:cubicBezTo>
                      <a:pt x="324" y="50"/>
                      <a:pt x="323" y="50"/>
                      <a:pt x="321" y="50"/>
                    </a:cubicBezTo>
                    <a:cubicBezTo>
                      <a:pt x="322" y="50"/>
                      <a:pt x="322" y="50"/>
                      <a:pt x="322" y="50"/>
                    </a:cubicBezTo>
                    <a:cubicBezTo>
                      <a:pt x="321" y="51"/>
                      <a:pt x="320" y="51"/>
                      <a:pt x="319" y="51"/>
                    </a:cubicBezTo>
                    <a:cubicBezTo>
                      <a:pt x="319" y="51"/>
                      <a:pt x="319" y="51"/>
                      <a:pt x="318" y="51"/>
                    </a:cubicBezTo>
                    <a:cubicBezTo>
                      <a:pt x="318" y="51"/>
                      <a:pt x="318" y="51"/>
                      <a:pt x="317" y="50"/>
                    </a:cubicBezTo>
                    <a:cubicBezTo>
                      <a:pt x="317" y="50"/>
                      <a:pt x="317" y="50"/>
                      <a:pt x="316" y="50"/>
                    </a:cubicBezTo>
                    <a:cubicBezTo>
                      <a:pt x="316" y="49"/>
                      <a:pt x="315" y="50"/>
                      <a:pt x="314" y="50"/>
                    </a:cubicBezTo>
                    <a:cubicBezTo>
                      <a:pt x="315" y="50"/>
                      <a:pt x="315" y="50"/>
                      <a:pt x="315" y="50"/>
                    </a:cubicBezTo>
                    <a:cubicBezTo>
                      <a:pt x="314" y="51"/>
                      <a:pt x="313" y="50"/>
                      <a:pt x="312" y="51"/>
                    </a:cubicBezTo>
                    <a:cubicBezTo>
                      <a:pt x="312" y="51"/>
                      <a:pt x="313" y="51"/>
                      <a:pt x="313" y="51"/>
                    </a:cubicBezTo>
                    <a:cubicBezTo>
                      <a:pt x="313" y="52"/>
                      <a:pt x="313" y="52"/>
                      <a:pt x="314" y="52"/>
                    </a:cubicBezTo>
                    <a:cubicBezTo>
                      <a:pt x="314" y="53"/>
                      <a:pt x="314" y="52"/>
                      <a:pt x="315" y="52"/>
                    </a:cubicBezTo>
                    <a:cubicBezTo>
                      <a:pt x="315" y="52"/>
                      <a:pt x="316" y="51"/>
                      <a:pt x="316" y="52"/>
                    </a:cubicBezTo>
                    <a:cubicBezTo>
                      <a:pt x="316" y="52"/>
                      <a:pt x="317" y="51"/>
                      <a:pt x="317" y="52"/>
                    </a:cubicBezTo>
                    <a:cubicBezTo>
                      <a:pt x="317" y="52"/>
                      <a:pt x="316" y="52"/>
                      <a:pt x="316" y="52"/>
                    </a:cubicBezTo>
                    <a:cubicBezTo>
                      <a:pt x="316" y="53"/>
                      <a:pt x="318" y="52"/>
                      <a:pt x="318" y="52"/>
                    </a:cubicBezTo>
                    <a:cubicBezTo>
                      <a:pt x="317" y="53"/>
                      <a:pt x="317" y="53"/>
                      <a:pt x="316" y="53"/>
                    </a:cubicBezTo>
                    <a:cubicBezTo>
                      <a:pt x="316" y="53"/>
                      <a:pt x="318" y="52"/>
                      <a:pt x="318" y="53"/>
                    </a:cubicBezTo>
                    <a:cubicBezTo>
                      <a:pt x="318" y="53"/>
                      <a:pt x="318" y="53"/>
                      <a:pt x="317" y="53"/>
                    </a:cubicBezTo>
                    <a:cubicBezTo>
                      <a:pt x="318" y="53"/>
                      <a:pt x="319" y="53"/>
                      <a:pt x="318" y="53"/>
                    </a:cubicBezTo>
                    <a:cubicBezTo>
                      <a:pt x="318" y="54"/>
                      <a:pt x="317" y="54"/>
                      <a:pt x="317" y="55"/>
                    </a:cubicBezTo>
                    <a:cubicBezTo>
                      <a:pt x="318" y="55"/>
                      <a:pt x="319" y="54"/>
                      <a:pt x="320" y="54"/>
                    </a:cubicBezTo>
                    <a:cubicBezTo>
                      <a:pt x="319" y="54"/>
                      <a:pt x="319" y="54"/>
                      <a:pt x="319" y="54"/>
                    </a:cubicBezTo>
                    <a:cubicBezTo>
                      <a:pt x="320" y="55"/>
                      <a:pt x="321" y="54"/>
                      <a:pt x="321" y="55"/>
                    </a:cubicBezTo>
                    <a:cubicBezTo>
                      <a:pt x="322" y="55"/>
                      <a:pt x="323" y="55"/>
                      <a:pt x="324" y="55"/>
                    </a:cubicBezTo>
                    <a:cubicBezTo>
                      <a:pt x="324" y="56"/>
                      <a:pt x="324" y="56"/>
                      <a:pt x="324" y="56"/>
                    </a:cubicBezTo>
                    <a:cubicBezTo>
                      <a:pt x="324" y="56"/>
                      <a:pt x="324" y="56"/>
                      <a:pt x="325" y="56"/>
                    </a:cubicBezTo>
                    <a:cubicBezTo>
                      <a:pt x="324" y="55"/>
                      <a:pt x="323" y="55"/>
                      <a:pt x="323" y="55"/>
                    </a:cubicBezTo>
                    <a:cubicBezTo>
                      <a:pt x="322" y="55"/>
                      <a:pt x="321" y="55"/>
                      <a:pt x="321" y="54"/>
                    </a:cubicBezTo>
                    <a:cubicBezTo>
                      <a:pt x="322" y="54"/>
                      <a:pt x="323" y="55"/>
                      <a:pt x="324" y="55"/>
                    </a:cubicBezTo>
                    <a:cubicBezTo>
                      <a:pt x="326" y="55"/>
                      <a:pt x="327" y="55"/>
                      <a:pt x="328" y="55"/>
                    </a:cubicBezTo>
                    <a:cubicBezTo>
                      <a:pt x="329" y="55"/>
                      <a:pt x="330" y="55"/>
                      <a:pt x="330" y="56"/>
                    </a:cubicBezTo>
                    <a:cubicBezTo>
                      <a:pt x="329" y="57"/>
                      <a:pt x="328" y="56"/>
                      <a:pt x="327" y="56"/>
                    </a:cubicBezTo>
                    <a:cubicBezTo>
                      <a:pt x="325" y="57"/>
                      <a:pt x="322" y="57"/>
                      <a:pt x="320" y="57"/>
                    </a:cubicBezTo>
                    <a:cubicBezTo>
                      <a:pt x="319" y="57"/>
                      <a:pt x="318" y="57"/>
                      <a:pt x="317" y="57"/>
                    </a:cubicBezTo>
                    <a:cubicBezTo>
                      <a:pt x="316" y="57"/>
                      <a:pt x="315" y="56"/>
                      <a:pt x="315" y="57"/>
                    </a:cubicBezTo>
                    <a:cubicBezTo>
                      <a:pt x="317" y="58"/>
                      <a:pt x="321" y="57"/>
                      <a:pt x="323" y="57"/>
                    </a:cubicBezTo>
                    <a:cubicBezTo>
                      <a:pt x="325" y="57"/>
                      <a:pt x="326" y="57"/>
                      <a:pt x="328" y="57"/>
                    </a:cubicBezTo>
                    <a:cubicBezTo>
                      <a:pt x="328" y="58"/>
                      <a:pt x="329" y="58"/>
                      <a:pt x="329" y="58"/>
                    </a:cubicBezTo>
                    <a:cubicBezTo>
                      <a:pt x="330" y="59"/>
                      <a:pt x="331" y="59"/>
                      <a:pt x="331" y="59"/>
                    </a:cubicBezTo>
                    <a:cubicBezTo>
                      <a:pt x="330" y="59"/>
                      <a:pt x="330" y="59"/>
                      <a:pt x="329" y="60"/>
                    </a:cubicBezTo>
                    <a:cubicBezTo>
                      <a:pt x="330" y="60"/>
                      <a:pt x="330" y="61"/>
                      <a:pt x="330" y="62"/>
                    </a:cubicBezTo>
                    <a:cubicBezTo>
                      <a:pt x="329" y="63"/>
                      <a:pt x="329" y="63"/>
                      <a:pt x="329" y="64"/>
                    </a:cubicBezTo>
                    <a:cubicBezTo>
                      <a:pt x="328" y="64"/>
                      <a:pt x="327" y="64"/>
                      <a:pt x="326" y="64"/>
                    </a:cubicBezTo>
                    <a:cubicBezTo>
                      <a:pt x="325" y="64"/>
                      <a:pt x="325" y="64"/>
                      <a:pt x="325" y="64"/>
                    </a:cubicBezTo>
                    <a:cubicBezTo>
                      <a:pt x="325" y="63"/>
                      <a:pt x="325" y="63"/>
                      <a:pt x="325" y="63"/>
                    </a:cubicBezTo>
                    <a:cubicBezTo>
                      <a:pt x="325" y="63"/>
                      <a:pt x="324" y="62"/>
                      <a:pt x="324" y="62"/>
                    </a:cubicBezTo>
                    <a:cubicBezTo>
                      <a:pt x="323" y="62"/>
                      <a:pt x="323" y="63"/>
                      <a:pt x="322" y="63"/>
                    </a:cubicBezTo>
                    <a:cubicBezTo>
                      <a:pt x="321" y="63"/>
                      <a:pt x="319" y="62"/>
                      <a:pt x="318" y="62"/>
                    </a:cubicBezTo>
                    <a:cubicBezTo>
                      <a:pt x="318" y="62"/>
                      <a:pt x="318" y="61"/>
                      <a:pt x="318" y="61"/>
                    </a:cubicBezTo>
                    <a:cubicBezTo>
                      <a:pt x="317" y="61"/>
                      <a:pt x="316" y="61"/>
                      <a:pt x="316" y="60"/>
                    </a:cubicBezTo>
                    <a:cubicBezTo>
                      <a:pt x="315" y="60"/>
                      <a:pt x="312" y="59"/>
                      <a:pt x="312" y="60"/>
                    </a:cubicBezTo>
                    <a:cubicBezTo>
                      <a:pt x="312" y="60"/>
                      <a:pt x="316" y="61"/>
                      <a:pt x="316" y="61"/>
                    </a:cubicBezTo>
                    <a:cubicBezTo>
                      <a:pt x="315" y="62"/>
                      <a:pt x="314" y="61"/>
                      <a:pt x="313" y="61"/>
                    </a:cubicBezTo>
                    <a:cubicBezTo>
                      <a:pt x="313" y="61"/>
                      <a:pt x="310" y="61"/>
                      <a:pt x="310" y="61"/>
                    </a:cubicBezTo>
                    <a:cubicBezTo>
                      <a:pt x="310" y="61"/>
                      <a:pt x="312" y="61"/>
                      <a:pt x="312" y="61"/>
                    </a:cubicBezTo>
                    <a:cubicBezTo>
                      <a:pt x="313" y="61"/>
                      <a:pt x="314" y="61"/>
                      <a:pt x="314" y="61"/>
                    </a:cubicBezTo>
                    <a:cubicBezTo>
                      <a:pt x="315" y="61"/>
                      <a:pt x="316" y="61"/>
                      <a:pt x="316" y="62"/>
                    </a:cubicBezTo>
                    <a:cubicBezTo>
                      <a:pt x="317" y="62"/>
                      <a:pt x="317" y="62"/>
                      <a:pt x="317" y="62"/>
                    </a:cubicBezTo>
                    <a:cubicBezTo>
                      <a:pt x="318" y="62"/>
                      <a:pt x="318" y="62"/>
                      <a:pt x="319" y="63"/>
                    </a:cubicBezTo>
                    <a:cubicBezTo>
                      <a:pt x="319" y="63"/>
                      <a:pt x="320" y="63"/>
                      <a:pt x="320" y="63"/>
                    </a:cubicBezTo>
                    <a:cubicBezTo>
                      <a:pt x="320" y="63"/>
                      <a:pt x="321" y="63"/>
                      <a:pt x="321" y="64"/>
                    </a:cubicBezTo>
                    <a:cubicBezTo>
                      <a:pt x="322" y="64"/>
                      <a:pt x="320" y="64"/>
                      <a:pt x="320" y="64"/>
                    </a:cubicBezTo>
                    <a:cubicBezTo>
                      <a:pt x="318" y="64"/>
                      <a:pt x="317" y="64"/>
                      <a:pt x="315" y="65"/>
                    </a:cubicBezTo>
                    <a:cubicBezTo>
                      <a:pt x="315" y="65"/>
                      <a:pt x="312" y="66"/>
                      <a:pt x="312" y="65"/>
                    </a:cubicBezTo>
                    <a:cubicBezTo>
                      <a:pt x="312" y="64"/>
                      <a:pt x="310" y="64"/>
                      <a:pt x="309" y="64"/>
                    </a:cubicBezTo>
                    <a:cubicBezTo>
                      <a:pt x="309" y="64"/>
                      <a:pt x="312" y="65"/>
                      <a:pt x="311" y="65"/>
                    </a:cubicBezTo>
                    <a:cubicBezTo>
                      <a:pt x="313" y="66"/>
                      <a:pt x="315" y="65"/>
                      <a:pt x="316" y="65"/>
                    </a:cubicBezTo>
                    <a:cubicBezTo>
                      <a:pt x="317" y="65"/>
                      <a:pt x="320" y="64"/>
                      <a:pt x="320" y="65"/>
                    </a:cubicBezTo>
                    <a:cubicBezTo>
                      <a:pt x="320" y="65"/>
                      <a:pt x="320" y="66"/>
                      <a:pt x="320" y="66"/>
                    </a:cubicBezTo>
                    <a:cubicBezTo>
                      <a:pt x="320" y="66"/>
                      <a:pt x="319" y="66"/>
                      <a:pt x="319" y="67"/>
                    </a:cubicBezTo>
                    <a:cubicBezTo>
                      <a:pt x="319" y="67"/>
                      <a:pt x="319" y="67"/>
                      <a:pt x="320" y="67"/>
                    </a:cubicBezTo>
                    <a:cubicBezTo>
                      <a:pt x="320" y="68"/>
                      <a:pt x="316" y="68"/>
                      <a:pt x="316" y="68"/>
                    </a:cubicBezTo>
                    <a:cubicBezTo>
                      <a:pt x="317" y="69"/>
                      <a:pt x="319" y="68"/>
                      <a:pt x="320" y="68"/>
                    </a:cubicBezTo>
                    <a:cubicBezTo>
                      <a:pt x="321" y="68"/>
                      <a:pt x="321" y="68"/>
                      <a:pt x="322" y="68"/>
                    </a:cubicBezTo>
                    <a:cubicBezTo>
                      <a:pt x="323" y="68"/>
                      <a:pt x="323" y="69"/>
                      <a:pt x="324" y="69"/>
                    </a:cubicBezTo>
                    <a:cubicBezTo>
                      <a:pt x="324" y="68"/>
                      <a:pt x="325" y="69"/>
                      <a:pt x="325" y="69"/>
                    </a:cubicBezTo>
                    <a:cubicBezTo>
                      <a:pt x="326" y="69"/>
                      <a:pt x="326" y="68"/>
                      <a:pt x="327" y="68"/>
                    </a:cubicBezTo>
                    <a:cubicBezTo>
                      <a:pt x="327" y="68"/>
                      <a:pt x="328" y="68"/>
                      <a:pt x="328" y="68"/>
                    </a:cubicBezTo>
                    <a:cubicBezTo>
                      <a:pt x="328" y="69"/>
                      <a:pt x="328" y="69"/>
                      <a:pt x="328" y="69"/>
                    </a:cubicBezTo>
                    <a:cubicBezTo>
                      <a:pt x="328" y="70"/>
                      <a:pt x="330" y="69"/>
                      <a:pt x="330" y="70"/>
                    </a:cubicBezTo>
                    <a:cubicBezTo>
                      <a:pt x="330" y="70"/>
                      <a:pt x="328" y="71"/>
                      <a:pt x="328" y="71"/>
                    </a:cubicBezTo>
                    <a:cubicBezTo>
                      <a:pt x="327" y="71"/>
                      <a:pt x="326" y="72"/>
                      <a:pt x="325" y="72"/>
                    </a:cubicBezTo>
                    <a:cubicBezTo>
                      <a:pt x="324" y="72"/>
                      <a:pt x="323" y="72"/>
                      <a:pt x="322" y="72"/>
                    </a:cubicBezTo>
                    <a:cubicBezTo>
                      <a:pt x="321" y="71"/>
                      <a:pt x="321" y="71"/>
                      <a:pt x="321" y="70"/>
                    </a:cubicBezTo>
                    <a:cubicBezTo>
                      <a:pt x="320" y="70"/>
                      <a:pt x="319" y="70"/>
                      <a:pt x="318" y="70"/>
                    </a:cubicBezTo>
                    <a:cubicBezTo>
                      <a:pt x="317" y="70"/>
                      <a:pt x="316" y="70"/>
                      <a:pt x="315" y="70"/>
                    </a:cubicBezTo>
                    <a:cubicBezTo>
                      <a:pt x="314" y="70"/>
                      <a:pt x="313" y="70"/>
                      <a:pt x="312" y="70"/>
                    </a:cubicBezTo>
                    <a:cubicBezTo>
                      <a:pt x="311" y="70"/>
                      <a:pt x="310" y="68"/>
                      <a:pt x="310" y="69"/>
                    </a:cubicBezTo>
                    <a:cubicBezTo>
                      <a:pt x="310" y="69"/>
                      <a:pt x="312" y="70"/>
                      <a:pt x="310" y="71"/>
                    </a:cubicBezTo>
                    <a:cubicBezTo>
                      <a:pt x="309" y="71"/>
                      <a:pt x="308" y="71"/>
                      <a:pt x="306" y="71"/>
                    </a:cubicBezTo>
                    <a:cubicBezTo>
                      <a:pt x="307" y="71"/>
                      <a:pt x="308" y="71"/>
                      <a:pt x="309" y="71"/>
                    </a:cubicBezTo>
                    <a:cubicBezTo>
                      <a:pt x="310" y="72"/>
                      <a:pt x="307" y="72"/>
                      <a:pt x="307" y="72"/>
                    </a:cubicBezTo>
                    <a:cubicBezTo>
                      <a:pt x="307" y="73"/>
                      <a:pt x="308" y="73"/>
                      <a:pt x="308" y="73"/>
                    </a:cubicBezTo>
                    <a:cubicBezTo>
                      <a:pt x="308" y="73"/>
                      <a:pt x="306" y="73"/>
                      <a:pt x="306" y="73"/>
                    </a:cubicBezTo>
                    <a:cubicBezTo>
                      <a:pt x="306" y="73"/>
                      <a:pt x="305" y="73"/>
                      <a:pt x="306" y="73"/>
                    </a:cubicBezTo>
                    <a:cubicBezTo>
                      <a:pt x="307" y="74"/>
                      <a:pt x="308" y="74"/>
                      <a:pt x="308" y="74"/>
                    </a:cubicBezTo>
                    <a:cubicBezTo>
                      <a:pt x="308" y="75"/>
                      <a:pt x="309" y="75"/>
                      <a:pt x="309" y="75"/>
                    </a:cubicBezTo>
                    <a:cubicBezTo>
                      <a:pt x="309" y="75"/>
                      <a:pt x="309" y="77"/>
                      <a:pt x="308" y="77"/>
                    </a:cubicBezTo>
                    <a:cubicBezTo>
                      <a:pt x="310" y="77"/>
                      <a:pt x="309" y="76"/>
                      <a:pt x="309" y="76"/>
                    </a:cubicBezTo>
                    <a:cubicBezTo>
                      <a:pt x="310" y="75"/>
                      <a:pt x="309" y="75"/>
                      <a:pt x="309" y="75"/>
                    </a:cubicBezTo>
                    <a:cubicBezTo>
                      <a:pt x="309" y="74"/>
                      <a:pt x="309" y="74"/>
                      <a:pt x="309" y="74"/>
                    </a:cubicBezTo>
                    <a:cubicBezTo>
                      <a:pt x="310" y="73"/>
                      <a:pt x="311" y="73"/>
                      <a:pt x="312" y="74"/>
                    </a:cubicBezTo>
                    <a:cubicBezTo>
                      <a:pt x="313" y="74"/>
                      <a:pt x="314" y="74"/>
                      <a:pt x="316" y="75"/>
                    </a:cubicBezTo>
                    <a:cubicBezTo>
                      <a:pt x="316" y="75"/>
                      <a:pt x="317" y="75"/>
                      <a:pt x="317" y="75"/>
                    </a:cubicBezTo>
                    <a:cubicBezTo>
                      <a:pt x="318" y="75"/>
                      <a:pt x="319" y="75"/>
                      <a:pt x="319" y="75"/>
                    </a:cubicBezTo>
                    <a:cubicBezTo>
                      <a:pt x="320" y="76"/>
                      <a:pt x="318" y="76"/>
                      <a:pt x="318" y="76"/>
                    </a:cubicBezTo>
                    <a:cubicBezTo>
                      <a:pt x="318" y="76"/>
                      <a:pt x="318" y="76"/>
                      <a:pt x="317" y="76"/>
                    </a:cubicBezTo>
                    <a:cubicBezTo>
                      <a:pt x="317" y="77"/>
                      <a:pt x="318" y="77"/>
                      <a:pt x="318" y="77"/>
                    </a:cubicBezTo>
                    <a:cubicBezTo>
                      <a:pt x="317" y="77"/>
                      <a:pt x="317" y="78"/>
                      <a:pt x="317" y="78"/>
                    </a:cubicBezTo>
                    <a:cubicBezTo>
                      <a:pt x="317" y="78"/>
                      <a:pt x="318" y="78"/>
                      <a:pt x="318" y="78"/>
                    </a:cubicBezTo>
                    <a:cubicBezTo>
                      <a:pt x="318" y="79"/>
                      <a:pt x="313" y="79"/>
                      <a:pt x="313" y="79"/>
                    </a:cubicBezTo>
                    <a:cubicBezTo>
                      <a:pt x="312" y="79"/>
                      <a:pt x="312" y="79"/>
                      <a:pt x="311" y="78"/>
                    </a:cubicBezTo>
                    <a:cubicBezTo>
                      <a:pt x="311" y="78"/>
                      <a:pt x="309" y="78"/>
                      <a:pt x="309" y="79"/>
                    </a:cubicBezTo>
                    <a:cubicBezTo>
                      <a:pt x="309" y="79"/>
                      <a:pt x="310" y="79"/>
                      <a:pt x="310" y="79"/>
                    </a:cubicBezTo>
                    <a:cubicBezTo>
                      <a:pt x="309" y="79"/>
                      <a:pt x="308" y="79"/>
                      <a:pt x="308" y="79"/>
                    </a:cubicBezTo>
                    <a:cubicBezTo>
                      <a:pt x="307" y="80"/>
                      <a:pt x="306" y="80"/>
                      <a:pt x="306" y="80"/>
                    </a:cubicBezTo>
                    <a:cubicBezTo>
                      <a:pt x="304" y="81"/>
                      <a:pt x="302" y="80"/>
                      <a:pt x="300" y="80"/>
                    </a:cubicBezTo>
                    <a:cubicBezTo>
                      <a:pt x="299" y="80"/>
                      <a:pt x="298" y="79"/>
                      <a:pt x="298" y="79"/>
                    </a:cubicBezTo>
                    <a:cubicBezTo>
                      <a:pt x="297" y="79"/>
                      <a:pt x="296" y="78"/>
                      <a:pt x="295" y="78"/>
                    </a:cubicBezTo>
                    <a:cubicBezTo>
                      <a:pt x="295" y="78"/>
                      <a:pt x="293" y="77"/>
                      <a:pt x="295" y="76"/>
                    </a:cubicBezTo>
                    <a:cubicBezTo>
                      <a:pt x="296" y="76"/>
                      <a:pt x="298" y="77"/>
                      <a:pt x="300" y="77"/>
                    </a:cubicBezTo>
                    <a:cubicBezTo>
                      <a:pt x="302" y="78"/>
                      <a:pt x="304" y="78"/>
                      <a:pt x="306" y="77"/>
                    </a:cubicBezTo>
                    <a:cubicBezTo>
                      <a:pt x="305" y="77"/>
                      <a:pt x="303" y="78"/>
                      <a:pt x="302" y="78"/>
                    </a:cubicBezTo>
                    <a:cubicBezTo>
                      <a:pt x="301" y="77"/>
                      <a:pt x="299" y="77"/>
                      <a:pt x="298" y="76"/>
                    </a:cubicBezTo>
                    <a:cubicBezTo>
                      <a:pt x="297" y="76"/>
                      <a:pt x="296" y="76"/>
                      <a:pt x="295" y="76"/>
                    </a:cubicBezTo>
                    <a:cubicBezTo>
                      <a:pt x="295" y="76"/>
                      <a:pt x="295" y="76"/>
                      <a:pt x="294" y="76"/>
                    </a:cubicBezTo>
                    <a:cubicBezTo>
                      <a:pt x="293" y="76"/>
                      <a:pt x="290" y="76"/>
                      <a:pt x="291" y="77"/>
                    </a:cubicBezTo>
                    <a:cubicBezTo>
                      <a:pt x="291" y="78"/>
                      <a:pt x="290" y="78"/>
                      <a:pt x="289" y="78"/>
                    </a:cubicBezTo>
                    <a:cubicBezTo>
                      <a:pt x="289" y="78"/>
                      <a:pt x="287" y="77"/>
                      <a:pt x="288" y="77"/>
                    </a:cubicBezTo>
                    <a:cubicBezTo>
                      <a:pt x="288" y="76"/>
                      <a:pt x="286" y="76"/>
                      <a:pt x="286" y="76"/>
                    </a:cubicBezTo>
                    <a:cubicBezTo>
                      <a:pt x="285" y="76"/>
                      <a:pt x="284" y="74"/>
                      <a:pt x="283" y="75"/>
                    </a:cubicBezTo>
                    <a:cubicBezTo>
                      <a:pt x="284" y="75"/>
                      <a:pt x="284" y="76"/>
                      <a:pt x="285" y="76"/>
                    </a:cubicBezTo>
                    <a:cubicBezTo>
                      <a:pt x="285" y="76"/>
                      <a:pt x="286" y="76"/>
                      <a:pt x="287" y="77"/>
                    </a:cubicBezTo>
                    <a:cubicBezTo>
                      <a:pt x="287" y="77"/>
                      <a:pt x="287" y="77"/>
                      <a:pt x="287" y="78"/>
                    </a:cubicBezTo>
                    <a:cubicBezTo>
                      <a:pt x="287" y="78"/>
                      <a:pt x="289" y="78"/>
                      <a:pt x="289" y="78"/>
                    </a:cubicBezTo>
                    <a:cubicBezTo>
                      <a:pt x="289" y="79"/>
                      <a:pt x="287" y="79"/>
                      <a:pt x="287" y="79"/>
                    </a:cubicBezTo>
                    <a:cubicBezTo>
                      <a:pt x="285" y="79"/>
                      <a:pt x="284" y="79"/>
                      <a:pt x="283" y="79"/>
                    </a:cubicBezTo>
                    <a:cubicBezTo>
                      <a:pt x="284" y="79"/>
                      <a:pt x="283" y="80"/>
                      <a:pt x="283" y="80"/>
                    </a:cubicBezTo>
                    <a:cubicBezTo>
                      <a:pt x="282" y="80"/>
                      <a:pt x="282" y="80"/>
                      <a:pt x="281" y="80"/>
                    </a:cubicBezTo>
                    <a:cubicBezTo>
                      <a:pt x="280" y="81"/>
                      <a:pt x="279" y="81"/>
                      <a:pt x="277" y="80"/>
                    </a:cubicBezTo>
                    <a:cubicBezTo>
                      <a:pt x="277" y="80"/>
                      <a:pt x="276" y="80"/>
                      <a:pt x="275" y="80"/>
                    </a:cubicBezTo>
                    <a:cubicBezTo>
                      <a:pt x="275" y="80"/>
                      <a:pt x="274" y="80"/>
                      <a:pt x="273" y="79"/>
                    </a:cubicBezTo>
                    <a:cubicBezTo>
                      <a:pt x="273" y="79"/>
                      <a:pt x="272" y="79"/>
                      <a:pt x="272" y="79"/>
                    </a:cubicBezTo>
                    <a:cubicBezTo>
                      <a:pt x="272" y="78"/>
                      <a:pt x="271" y="78"/>
                      <a:pt x="270" y="79"/>
                    </a:cubicBezTo>
                    <a:cubicBezTo>
                      <a:pt x="271" y="79"/>
                      <a:pt x="272" y="79"/>
                      <a:pt x="272" y="80"/>
                    </a:cubicBezTo>
                    <a:cubicBezTo>
                      <a:pt x="273" y="80"/>
                      <a:pt x="274" y="80"/>
                      <a:pt x="274" y="80"/>
                    </a:cubicBezTo>
                    <a:cubicBezTo>
                      <a:pt x="275" y="80"/>
                      <a:pt x="277" y="80"/>
                      <a:pt x="277" y="81"/>
                    </a:cubicBezTo>
                    <a:cubicBezTo>
                      <a:pt x="276" y="81"/>
                      <a:pt x="275" y="81"/>
                      <a:pt x="274" y="81"/>
                    </a:cubicBezTo>
                    <a:cubicBezTo>
                      <a:pt x="273" y="82"/>
                      <a:pt x="272" y="81"/>
                      <a:pt x="272" y="81"/>
                    </a:cubicBezTo>
                    <a:cubicBezTo>
                      <a:pt x="271" y="81"/>
                      <a:pt x="270" y="81"/>
                      <a:pt x="269" y="81"/>
                    </a:cubicBezTo>
                    <a:cubicBezTo>
                      <a:pt x="269" y="81"/>
                      <a:pt x="268" y="81"/>
                      <a:pt x="267" y="82"/>
                    </a:cubicBezTo>
                    <a:cubicBezTo>
                      <a:pt x="268" y="82"/>
                      <a:pt x="269" y="81"/>
                      <a:pt x="269" y="82"/>
                    </a:cubicBezTo>
                    <a:cubicBezTo>
                      <a:pt x="269" y="83"/>
                      <a:pt x="269" y="83"/>
                      <a:pt x="268" y="83"/>
                    </a:cubicBezTo>
                    <a:cubicBezTo>
                      <a:pt x="269" y="84"/>
                      <a:pt x="270" y="83"/>
                      <a:pt x="270" y="82"/>
                    </a:cubicBezTo>
                    <a:cubicBezTo>
                      <a:pt x="270" y="81"/>
                      <a:pt x="271" y="81"/>
                      <a:pt x="272" y="81"/>
                    </a:cubicBezTo>
                    <a:cubicBezTo>
                      <a:pt x="273" y="82"/>
                      <a:pt x="274" y="82"/>
                      <a:pt x="275" y="81"/>
                    </a:cubicBezTo>
                    <a:cubicBezTo>
                      <a:pt x="276" y="81"/>
                      <a:pt x="277" y="81"/>
                      <a:pt x="278" y="81"/>
                    </a:cubicBezTo>
                    <a:cubicBezTo>
                      <a:pt x="278" y="81"/>
                      <a:pt x="279" y="81"/>
                      <a:pt x="280" y="81"/>
                    </a:cubicBezTo>
                    <a:cubicBezTo>
                      <a:pt x="281" y="81"/>
                      <a:pt x="282" y="82"/>
                      <a:pt x="282" y="82"/>
                    </a:cubicBezTo>
                    <a:cubicBezTo>
                      <a:pt x="283" y="82"/>
                      <a:pt x="284" y="82"/>
                      <a:pt x="285" y="82"/>
                    </a:cubicBezTo>
                    <a:cubicBezTo>
                      <a:pt x="286" y="82"/>
                      <a:pt x="285" y="83"/>
                      <a:pt x="284" y="83"/>
                    </a:cubicBezTo>
                    <a:cubicBezTo>
                      <a:pt x="283" y="84"/>
                      <a:pt x="282" y="84"/>
                      <a:pt x="281" y="84"/>
                    </a:cubicBezTo>
                    <a:cubicBezTo>
                      <a:pt x="280" y="84"/>
                      <a:pt x="279" y="84"/>
                      <a:pt x="278" y="84"/>
                    </a:cubicBezTo>
                    <a:cubicBezTo>
                      <a:pt x="277" y="85"/>
                      <a:pt x="276" y="85"/>
                      <a:pt x="275" y="84"/>
                    </a:cubicBezTo>
                    <a:cubicBezTo>
                      <a:pt x="274" y="84"/>
                      <a:pt x="273" y="84"/>
                      <a:pt x="272" y="84"/>
                    </a:cubicBezTo>
                    <a:cubicBezTo>
                      <a:pt x="271" y="84"/>
                      <a:pt x="270" y="84"/>
                      <a:pt x="269" y="84"/>
                    </a:cubicBezTo>
                    <a:cubicBezTo>
                      <a:pt x="269" y="84"/>
                      <a:pt x="268" y="84"/>
                      <a:pt x="269" y="84"/>
                    </a:cubicBezTo>
                    <a:cubicBezTo>
                      <a:pt x="270" y="84"/>
                      <a:pt x="271" y="84"/>
                      <a:pt x="271" y="84"/>
                    </a:cubicBezTo>
                    <a:cubicBezTo>
                      <a:pt x="273" y="84"/>
                      <a:pt x="274" y="84"/>
                      <a:pt x="275" y="85"/>
                    </a:cubicBezTo>
                    <a:cubicBezTo>
                      <a:pt x="274" y="85"/>
                      <a:pt x="273" y="85"/>
                      <a:pt x="273" y="85"/>
                    </a:cubicBezTo>
                    <a:cubicBezTo>
                      <a:pt x="274" y="86"/>
                      <a:pt x="275" y="85"/>
                      <a:pt x="276" y="85"/>
                    </a:cubicBezTo>
                    <a:cubicBezTo>
                      <a:pt x="275" y="86"/>
                      <a:pt x="275" y="86"/>
                      <a:pt x="274" y="86"/>
                    </a:cubicBezTo>
                    <a:cubicBezTo>
                      <a:pt x="275" y="86"/>
                      <a:pt x="276" y="85"/>
                      <a:pt x="277" y="85"/>
                    </a:cubicBezTo>
                    <a:cubicBezTo>
                      <a:pt x="278" y="85"/>
                      <a:pt x="279" y="85"/>
                      <a:pt x="281" y="84"/>
                    </a:cubicBezTo>
                    <a:cubicBezTo>
                      <a:pt x="282" y="84"/>
                      <a:pt x="283" y="84"/>
                      <a:pt x="283" y="85"/>
                    </a:cubicBezTo>
                    <a:cubicBezTo>
                      <a:pt x="284" y="85"/>
                      <a:pt x="286" y="85"/>
                      <a:pt x="286" y="86"/>
                    </a:cubicBezTo>
                    <a:cubicBezTo>
                      <a:pt x="286" y="86"/>
                      <a:pt x="286" y="87"/>
                      <a:pt x="287" y="87"/>
                    </a:cubicBezTo>
                    <a:cubicBezTo>
                      <a:pt x="285" y="88"/>
                      <a:pt x="283" y="88"/>
                      <a:pt x="282" y="88"/>
                    </a:cubicBezTo>
                    <a:cubicBezTo>
                      <a:pt x="281" y="88"/>
                      <a:pt x="280" y="88"/>
                      <a:pt x="280" y="88"/>
                    </a:cubicBezTo>
                    <a:cubicBezTo>
                      <a:pt x="279" y="88"/>
                      <a:pt x="278" y="88"/>
                      <a:pt x="277" y="88"/>
                    </a:cubicBezTo>
                    <a:cubicBezTo>
                      <a:pt x="279" y="88"/>
                      <a:pt x="280" y="88"/>
                      <a:pt x="281" y="88"/>
                    </a:cubicBezTo>
                    <a:cubicBezTo>
                      <a:pt x="281" y="89"/>
                      <a:pt x="281" y="89"/>
                      <a:pt x="280" y="89"/>
                    </a:cubicBezTo>
                    <a:cubicBezTo>
                      <a:pt x="280" y="89"/>
                      <a:pt x="280" y="90"/>
                      <a:pt x="279" y="90"/>
                    </a:cubicBezTo>
                    <a:cubicBezTo>
                      <a:pt x="280" y="91"/>
                      <a:pt x="280" y="90"/>
                      <a:pt x="280" y="89"/>
                    </a:cubicBezTo>
                    <a:cubicBezTo>
                      <a:pt x="281" y="89"/>
                      <a:pt x="282" y="88"/>
                      <a:pt x="282" y="88"/>
                    </a:cubicBezTo>
                    <a:cubicBezTo>
                      <a:pt x="283" y="88"/>
                      <a:pt x="284" y="88"/>
                      <a:pt x="284" y="88"/>
                    </a:cubicBezTo>
                    <a:cubicBezTo>
                      <a:pt x="285" y="88"/>
                      <a:pt x="286" y="88"/>
                      <a:pt x="287" y="88"/>
                    </a:cubicBezTo>
                    <a:cubicBezTo>
                      <a:pt x="287" y="88"/>
                      <a:pt x="288" y="89"/>
                      <a:pt x="288" y="89"/>
                    </a:cubicBezTo>
                    <a:cubicBezTo>
                      <a:pt x="289" y="88"/>
                      <a:pt x="289" y="89"/>
                      <a:pt x="290" y="89"/>
                    </a:cubicBezTo>
                    <a:cubicBezTo>
                      <a:pt x="290" y="89"/>
                      <a:pt x="290" y="89"/>
                      <a:pt x="291" y="89"/>
                    </a:cubicBezTo>
                    <a:cubicBezTo>
                      <a:pt x="291" y="89"/>
                      <a:pt x="290" y="90"/>
                      <a:pt x="290" y="90"/>
                    </a:cubicBezTo>
                    <a:cubicBezTo>
                      <a:pt x="291" y="90"/>
                      <a:pt x="291" y="89"/>
                      <a:pt x="292" y="90"/>
                    </a:cubicBezTo>
                    <a:cubicBezTo>
                      <a:pt x="292" y="90"/>
                      <a:pt x="291" y="90"/>
                      <a:pt x="291" y="90"/>
                    </a:cubicBezTo>
                    <a:cubicBezTo>
                      <a:pt x="291" y="91"/>
                      <a:pt x="291" y="90"/>
                      <a:pt x="292" y="90"/>
                    </a:cubicBezTo>
                    <a:cubicBezTo>
                      <a:pt x="292" y="90"/>
                      <a:pt x="292" y="90"/>
                      <a:pt x="293" y="90"/>
                    </a:cubicBezTo>
                    <a:cubicBezTo>
                      <a:pt x="294" y="91"/>
                      <a:pt x="295" y="91"/>
                      <a:pt x="295" y="91"/>
                    </a:cubicBezTo>
                    <a:cubicBezTo>
                      <a:pt x="295" y="91"/>
                      <a:pt x="295" y="91"/>
                      <a:pt x="295" y="91"/>
                    </a:cubicBezTo>
                    <a:cubicBezTo>
                      <a:pt x="295" y="92"/>
                      <a:pt x="296" y="91"/>
                      <a:pt x="296" y="92"/>
                    </a:cubicBezTo>
                    <a:cubicBezTo>
                      <a:pt x="297" y="92"/>
                      <a:pt x="298" y="92"/>
                      <a:pt x="298" y="92"/>
                    </a:cubicBezTo>
                    <a:cubicBezTo>
                      <a:pt x="300" y="93"/>
                      <a:pt x="297" y="93"/>
                      <a:pt x="297" y="93"/>
                    </a:cubicBezTo>
                    <a:cubicBezTo>
                      <a:pt x="296" y="94"/>
                      <a:pt x="294" y="94"/>
                      <a:pt x="294" y="95"/>
                    </a:cubicBezTo>
                    <a:cubicBezTo>
                      <a:pt x="294" y="95"/>
                      <a:pt x="297" y="94"/>
                      <a:pt x="297" y="94"/>
                    </a:cubicBezTo>
                    <a:cubicBezTo>
                      <a:pt x="297" y="94"/>
                      <a:pt x="299" y="93"/>
                      <a:pt x="299" y="94"/>
                    </a:cubicBezTo>
                    <a:cubicBezTo>
                      <a:pt x="299" y="94"/>
                      <a:pt x="298" y="94"/>
                      <a:pt x="298" y="94"/>
                    </a:cubicBezTo>
                    <a:cubicBezTo>
                      <a:pt x="298" y="94"/>
                      <a:pt x="297" y="94"/>
                      <a:pt x="297" y="95"/>
                    </a:cubicBezTo>
                    <a:cubicBezTo>
                      <a:pt x="297" y="95"/>
                      <a:pt x="297" y="95"/>
                      <a:pt x="297" y="95"/>
                    </a:cubicBezTo>
                    <a:cubicBezTo>
                      <a:pt x="298" y="95"/>
                      <a:pt x="298" y="95"/>
                      <a:pt x="298" y="95"/>
                    </a:cubicBezTo>
                    <a:cubicBezTo>
                      <a:pt x="299" y="95"/>
                      <a:pt x="299" y="95"/>
                      <a:pt x="300" y="94"/>
                    </a:cubicBezTo>
                    <a:cubicBezTo>
                      <a:pt x="300" y="94"/>
                      <a:pt x="301" y="93"/>
                      <a:pt x="301" y="94"/>
                    </a:cubicBezTo>
                    <a:cubicBezTo>
                      <a:pt x="301" y="94"/>
                      <a:pt x="302" y="94"/>
                      <a:pt x="303" y="94"/>
                    </a:cubicBezTo>
                    <a:cubicBezTo>
                      <a:pt x="302" y="95"/>
                      <a:pt x="301" y="94"/>
                      <a:pt x="300" y="95"/>
                    </a:cubicBezTo>
                    <a:cubicBezTo>
                      <a:pt x="300" y="95"/>
                      <a:pt x="301" y="95"/>
                      <a:pt x="301" y="95"/>
                    </a:cubicBezTo>
                    <a:cubicBezTo>
                      <a:pt x="300" y="96"/>
                      <a:pt x="298" y="95"/>
                      <a:pt x="298" y="96"/>
                    </a:cubicBezTo>
                    <a:cubicBezTo>
                      <a:pt x="298" y="97"/>
                      <a:pt x="297" y="97"/>
                      <a:pt x="298" y="97"/>
                    </a:cubicBezTo>
                    <a:cubicBezTo>
                      <a:pt x="298" y="98"/>
                      <a:pt x="297" y="98"/>
                      <a:pt x="298" y="98"/>
                    </a:cubicBezTo>
                    <a:cubicBezTo>
                      <a:pt x="298" y="98"/>
                      <a:pt x="298" y="98"/>
                      <a:pt x="298" y="98"/>
                    </a:cubicBezTo>
                    <a:cubicBezTo>
                      <a:pt x="299" y="97"/>
                      <a:pt x="299" y="97"/>
                      <a:pt x="299" y="97"/>
                    </a:cubicBezTo>
                    <a:cubicBezTo>
                      <a:pt x="300" y="96"/>
                      <a:pt x="300" y="96"/>
                      <a:pt x="301" y="96"/>
                    </a:cubicBezTo>
                    <a:cubicBezTo>
                      <a:pt x="301" y="96"/>
                      <a:pt x="302" y="97"/>
                      <a:pt x="302" y="96"/>
                    </a:cubicBezTo>
                    <a:cubicBezTo>
                      <a:pt x="302" y="96"/>
                      <a:pt x="302" y="96"/>
                      <a:pt x="302" y="96"/>
                    </a:cubicBezTo>
                    <a:cubicBezTo>
                      <a:pt x="302" y="96"/>
                      <a:pt x="303" y="96"/>
                      <a:pt x="303" y="96"/>
                    </a:cubicBezTo>
                    <a:cubicBezTo>
                      <a:pt x="303" y="96"/>
                      <a:pt x="302" y="96"/>
                      <a:pt x="302" y="97"/>
                    </a:cubicBezTo>
                    <a:cubicBezTo>
                      <a:pt x="302" y="97"/>
                      <a:pt x="303" y="96"/>
                      <a:pt x="303" y="97"/>
                    </a:cubicBezTo>
                    <a:cubicBezTo>
                      <a:pt x="303" y="97"/>
                      <a:pt x="303" y="97"/>
                      <a:pt x="302" y="97"/>
                    </a:cubicBezTo>
                    <a:cubicBezTo>
                      <a:pt x="303" y="97"/>
                      <a:pt x="303" y="97"/>
                      <a:pt x="303" y="97"/>
                    </a:cubicBezTo>
                    <a:cubicBezTo>
                      <a:pt x="303" y="97"/>
                      <a:pt x="302" y="97"/>
                      <a:pt x="302" y="97"/>
                    </a:cubicBezTo>
                    <a:cubicBezTo>
                      <a:pt x="302" y="97"/>
                      <a:pt x="302" y="97"/>
                      <a:pt x="303" y="97"/>
                    </a:cubicBezTo>
                    <a:cubicBezTo>
                      <a:pt x="303" y="97"/>
                      <a:pt x="302" y="98"/>
                      <a:pt x="302" y="98"/>
                    </a:cubicBezTo>
                    <a:cubicBezTo>
                      <a:pt x="303" y="98"/>
                      <a:pt x="303" y="97"/>
                      <a:pt x="303" y="98"/>
                    </a:cubicBezTo>
                    <a:cubicBezTo>
                      <a:pt x="303" y="98"/>
                      <a:pt x="302" y="98"/>
                      <a:pt x="301" y="98"/>
                    </a:cubicBezTo>
                    <a:cubicBezTo>
                      <a:pt x="301" y="99"/>
                      <a:pt x="302" y="98"/>
                      <a:pt x="302" y="98"/>
                    </a:cubicBezTo>
                    <a:cubicBezTo>
                      <a:pt x="302" y="98"/>
                      <a:pt x="303" y="99"/>
                      <a:pt x="303" y="99"/>
                    </a:cubicBezTo>
                    <a:cubicBezTo>
                      <a:pt x="303" y="100"/>
                      <a:pt x="302" y="99"/>
                      <a:pt x="301" y="99"/>
                    </a:cubicBezTo>
                    <a:cubicBezTo>
                      <a:pt x="301" y="99"/>
                      <a:pt x="302" y="99"/>
                      <a:pt x="302" y="100"/>
                    </a:cubicBezTo>
                    <a:cubicBezTo>
                      <a:pt x="301" y="100"/>
                      <a:pt x="301" y="100"/>
                      <a:pt x="300" y="100"/>
                    </a:cubicBezTo>
                    <a:cubicBezTo>
                      <a:pt x="299" y="100"/>
                      <a:pt x="298" y="100"/>
                      <a:pt x="298" y="100"/>
                    </a:cubicBezTo>
                    <a:cubicBezTo>
                      <a:pt x="299" y="100"/>
                      <a:pt x="301" y="100"/>
                      <a:pt x="302" y="100"/>
                    </a:cubicBezTo>
                    <a:cubicBezTo>
                      <a:pt x="303" y="100"/>
                      <a:pt x="302" y="100"/>
                      <a:pt x="302" y="101"/>
                    </a:cubicBezTo>
                    <a:cubicBezTo>
                      <a:pt x="301" y="101"/>
                      <a:pt x="301" y="101"/>
                      <a:pt x="300" y="101"/>
                    </a:cubicBezTo>
                    <a:cubicBezTo>
                      <a:pt x="301" y="101"/>
                      <a:pt x="301" y="101"/>
                      <a:pt x="302" y="101"/>
                    </a:cubicBezTo>
                    <a:cubicBezTo>
                      <a:pt x="302" y="101"/>
                      <a:pt x="301" y="101"/>
                      <a:pt x="301" y="101"/>
                    </a:cubicBezTo>
                    <a:cubicBezTo>
                      <a:pt x="301" y="101"/>
                      <a:pt x="302" y="101"/>
                      <a:pt x="302" y="101"/>
                    </a:cubicBezTo>
                    <a:cubicBezTo>
                      <a:pt x="302" y="101"/>
                      <a:pt x="302" y="101"/>
                      <a:pt x="303" y="101"/>
                    </a:cubicBezTo>
                    <a:cubicBezTo>
                      <a:pt x="302" y="101"/>
                      <a:pt x="301" y="101"/>
                      <a:pt x="301" y="102"/>
                    </a:cubicBezTo>
                    <a:cubicBezTo>
                      <a:pt x="302" y="102"/>
                      <a:pt x="300" y="102"/>
                      <a:pt x="300" y="102"/>
                    </a:cubicBezTo>
                    <a:cubicBezTo>
                      <a:pt x="301" y="103"/>
                      <a:pt x="301" y="102"/>
                      <a:pt x="302" y="103"/>
                    </a:cubicBezTo>
                    <a:cubicBezTo>
                      <a:pt x="302" y="103"/>
                      <a:pt x="301" y="103"/>
                      <a:pt x="301" y="103"/>
                    </a:cubicBezTo>
                    <a:cubicBezTo>
                      <a:pt x="301" y="103"/>
                      <a:pt x="302" y="103"/>
                      <a:pt x="302" y="103"/>
                    </a:cubicBezTo>
                    <a:cubicBezTo>
                      <a:pt x="302" y="103"/>
                      <a:pt x="301" y="103"/>
                      <a:pt x="301" y="103"/>
                    </a:cubicBezTo>
                    <a:cubicBezTo>
                      <a:pt x="301" y="103"/>
                      <a:pt x="302" y="103"/>
                      <a:pt x="302" y="103"/>
                    </a:cubicBezTo>
                    <a:cubicBezTo>
                      <a:pt x="302" y="104"/>
                      <a:pt x="301" y="104"/>
                      <a:pt x="301" y="104"/>
                    </a:cubicBezTo>
                    <a:cubicBezTo>
                      <a:pt x="301" y="104"/>
                      <a:pt x="301" y="104"/>
                      <a:pt x="300" y="104"/>
                    </a:cubicBezTo>
                    <a:cubicBezTo>
                      <a:pt x="301" y="104"/>
                      <a:pt x="301" y="104"/>
                      <a:pt x="301" y="104"/>
                    </a:cubicBezTo>
                    <a:cubicBezTo>
                      <a:pt x="301" y="104"/>
                      <a:pt x="301" y="104"/>
                      <a:pt x="301" y="105"/>
                    </a:cubicBezTo>
                    <a:cubicBezTo>
                      <a:pt x="301" y="105"/>
                      <a:pt x="302" y="105"/>
                      <a:pt x="302" y="105"/>
                    </a:cubicBezTo>
                    <a:cubicBezTo>
                      <a:pt x="302" y="105"/>
                      <a:pt x="301" y="106"/>
                      <a:pt x="300" y="106"/>
                    </a:cubicBezTo>
                    <a:cubicBezTo>
                      <a:pt x="300" y="106"/>
                      <a:pt x="299" y="106"/>
                      <a:pt x="298" y="106"/>
                    </a:cubicBezTo>
                    <a:cubicBezTo>
                      <a:pt x="300" y="105"/>
                      <a:pt x="296" y="106"/>
                      <a:pt x="296" y="106"/>
                    </a:cubicBezTo>
                    <a:cubicBezTo>
                      <a:pt x="295" y="105"/>
                      <a:pt x="296" y="104"/>
                      <a:pt x="296" y="104"/>
                    </a:cubicBezTo>
                    <a:cubicBezTo>
                      <a:pt x="295" y="103"/>
                      <a:pt x="296" y="103"/>
                      <a:pt x="296" y="102"/>
                    </a:cubicBezTo>
                    <a:cubicBezTo>
                      <a:pt x="297" y="102"/>
                      <a:pt x="295" y="102"/>
                      <a:pt x="295" y="102"/>
                    </a:cubicBezTo>
                    <a:cubicBezTo>
                      <a:pt x="295" y="103"/>
                      <a:pt x="295" y="103"/>
                      <a:pt x="295" y="103"/>
                    </a:cubicBezTo>
                    <a:cubicBezTo>
                      <a:pt x="294" y="104"/>
                      <a:pt x="295" y="104"/>
                      <a:pt x="295" y="105"/>
                    </a:cubicBezTo>
                    <a:cubicBezTo>
                      <a:pt x="294" y="106"/>
                      <a:pt x="293" y="106"/>
                      <a:pt x="293" y="106"/>
                    </a:cubicBezTo>
                    <a:cubicBezTo>
                      <a:pt x="292" y="106"/>
                      <a:pt x="291" y="106"/>
                      <a:pt x="290" y="106"/>
                    </a:cubicBezTo>
                    <a:cubicBezTo>
                      <a:pt x="289" y="106"/>
                      <a:pt x="288" y="105"/>
                      <a:pt x="287" y="105"/>
                    </a:cubicBezTo>
                    <a:cubicBezTo>
                      <a:pt x="285" y="104"/>
                      <a:pt x="284" y="104"/>
                      <a:pt x="284" y="102"/>
                    </a:cubicBezTo>
                    <a:cubicBezTo>
                      <a:pt x="284" y="101"/>
                      <a:pt x="285" y="101"/>
                      <a:pt x="285" y="100"/>
                    </a:cubicBezTo>
                    <a:cubicBezTo>
                      <a:pt x="284" y="99"/>
                      <a:pt x="284" y="99"/>
                      <a:pt x="283" y="99"/>
                    </a:cubicBezTo>
                    <a:cubicBezTo>
                      <a:pt x="283" y="99"/>
                      <a:pt x="283" y="99"/>
                      <a:pt x="283" y="98"/>
                    </a:cubicBezTo>
                    <a:cubicBezTo>
                      <a:pt x="283" y="98"/>
                      <a:pt x="283" y="98"/>
                      <a:pt x="283" y="98"/>
                    </a:cubicBezTo>
                    <a:cubicBezTo>
                      <a:pt x="282" y="98"/>
                      <a:pt x="282" y="98"/>
                      <a:pt x="282" y="98"/>
                    </a:cubicBezTo>
                    <a:cubicBezTo>
                      <a:pt x="282" y="98"/>
                      <a:pt x="283" y="98"/>
                      <a:pt x="283" y="97"/>
                    </a:cubicBezTo>
                    <a:cubicBezTo>
                      <a:pt x="282" y="97"/>
                      <a:pt x="282" y="98"/>
                      <a:pt x="281" y="98"/>
                    </a:cubicBezTo>
                    <a:cubicBezTo>
                      <a:pt x="281" y="98"/>
                      <a:pt x="280" y="98"/>
                      <a:pt x="280" y="98"/>
                    </a:cubicBezTo>
                    <a:cubicBezTo>
                      <a:pt x="279" y="98"/>
                      <a:pt x="278" y="97"/>
                      <a:pt x="278" y="97"/>
                    </a:cubicBezTo>
                    <a:cubicBezTo>
                      <a:pt x="278" y="96"/>
                      <a:pt x="277" y="97"/>
                      <a:pt x="277" y="96"/>
                    </a:cubicBezTo>
                    <a:cubicBezTo>
                      <a:pt x="277" y="96"/>
                      <a:pt x="277" y="96"/>
                      <a:pt x="276" y="96"/>
                    </a:cubicBezTo>
                    <a:cubicBezTo>
                      <a:pt x="275" y="95"/>
                      <a:pt x="274" y="95"/>
                      <a:pt x="273" y="95"/>
                    </a:cubicBezTo>
                    <a:cubicBezTo>
                      <a:pt x="272" y="95"/>
                      <a:pt x="272" y="95"/>
                      <a:pt x="272" y="95"/>
                    </a:cubicBezTo>
                    <a:cubicBezTo>
                      <a:pt x="272" y="95"/>
                      <a:pt x="272" y="95"/>
                      <a:pt x="271" y="95"/>
                    </a:cubicBezTo>
                    <a:cubicBezTo>
                      <a:pt x="271" y="95"/>
                      <a:pt x="270" y="96"/>
                      <a:pt x="270" y="96"/>
                    </a:cubicBezTo>
                    <a:cubicBezTo>
                      <a:pt x="269" y="96"/>
                      <a:pt x="267" y="96"/>
                      <a:pt x="266" y="94"/>
                    </a:cubicBezTo>
                    <a:cubicBezTo>
                      <a:pt x="266" y="94"/>
                      <a:pt x="266" y="94"/>
                      <a:pt x="265" y="93"/>
                    </a:cubicBezTo>
                    <a:cubicBezTo>
                      <a:pt x="265" y="93"/>
                      <a:pt x="264" y="93"/>
                      <a:pt x="264" y="93"/>
                    </a:cubicBezTo>
                    <a:cubicBezTo>
                      <a:pt x="264" y="93"/>
                      <a:pt x="264" y="93"/>
                      <a:pt x="264" y="92"/>
                    </a:cubicBezTo>
                    <a:cubicBezTo>
                      <a:pt x="264" y="92"/>
                      <a:pt x="263" y="92"/>
                      <a:pt x="263" y="92"/>
                    </a:cubicBezTo>
                    <a:cubicBezTo>
                      <a:pt x="262" y="92"/>
                      <a:pt x="262" y="91"/>
                      <a:pt x="262" y="92"/>
                    </a:cubicBezTo>
                    <a:cubicBezTo>
                      <a:pt x="262" y="92"/>
                      <a:pt x="261" y="92"/>
                      <a:pt x="261" y="92"/>
                    </a:cubicBezTo>
                    <a:cubicBezTo>
                      <a:pt x="260" y="91"/>
                      <a:pt x="258" y="90"/>
                      <a:pt x="257" y="91"/>
                    </a:cubicBezTo>
                    <a:cubicBezTo>
                      <a:pt x="257" y="91"/>
                      <a:pt x="260" y="91"/>
                      <a:pt x="259" y="92"/>
                    </a:cubicBezTo>
                    <a:cubicBezTo>
                      <a:pt x="259" y="92"/>
                      <a:pt x="258" y="92"/>
                      <a:pt x="258" y="92"/>
                    </a:cubicBezTo>
                    <a:cubicBezTo>
                      <a:pt x="259" y="93"/>
                      <a:pt x="262" y="92"/>
                      <a:pt x="263" y="93"/>
                    </a:cubicBezTo>
                    <a:cubicBezTo>
                      <a:pt x="262" y="93"/>
                      <a:pt x="261" y="92"/>
                      <a:pt x="261" y="93"/>
                    </a:cubicBezTo>
                    <a:cubicBezTo>
                      <a:pt x="262" y="93"/>
                      <a:pt x="263" y="93"/>
                      <a:pt x="264" y="94"/>
                    </a:cubicBezTo>
                    <a:cubicBezTo>
                      <a:pt x="264" y="94"/>
                      <a:pt x="265" y="94"/>
                      <a:pt x="265" y="94"/>
                    </a:cubicBezTo>
                    <a:cubicBezTo>
                      <a:pt x="265" y="95"/>
                      <a:pt x="264" y="95"/>
                      <a:pt x="263" y="95"/>
                    </a:cubicBezTo>
                    <a:cubicBezTo>
                      <a:pt x="263" y="95"/>
                      <a:pt x="262" y="95"/>
                      <a:pt x="262" y="95"/>
                    </a:cubicBezTo>
                    <a:cubicBezTo>
                      <a:pt x="261" y="95"/>
                      <a:pt x="261" y="95"/>
                      <a:pt x="261" y="95"/>
                    </a:cubicBezTo>
                    <a:cubicBezTo>
                      <a:pt x="261" y="95"/>
                      <a:pt x="261" y="95"/>
                      <a:pt x="261" y="95"/>
                    </a:cubicBezTo>
                    <a:cubicBezTo>
                      <a:pt x="260" y="95"/>
                      <a:pt x="257" y="96"/>
                      <a:pt x="257" y="95"/>
                    </a:cubicBezTo>
                    <a:cubicBezTo>
                      <a:pt x="257" y="96"/>
                      <a:pt x="262" y="95"/>
                      <a:pt x="263" y="95"/>
                    </a:cubicBezTo>
                    <a:cubicBezTo>
                      <a:pt x="264" y="95"/>
                      <a:pt x="265" y="95"/>
                      <a:pt x="266" y="95"/>
                    </a:cubicBezTo>
                    <a:cubicBezTo>
                      <a:pt x="267" y="96"/>
                      <a:pt x="265" y="96"/>
                      <a:pt x="265" y="96"/>
                    </a:cubicBezTo>
                    <a:cubicBezTo>
                      <a:pt x="266" y="96"/>
                      <a:pt x="266" y="96"/>
                      <a:pt x="267" y="96"/>
                    </a:cubicBezTo>
                    <a:cubicBezTo>
                      <a:pt x="268" y="96"/>
                      <a:pt x="268" y="96"/>
                      <a:pt x="269" y="96"/>
                    </a:cubicBezTo>
                    <a:cubicBezTo>
                      <a:pt x="270" y="96"/>
                      <a:pt x="271" y="96"/>
                      <a:pt x="272" y="96"/>
                    </a:cubicBezTo>
                    <a:cubicBezTo>
                      <a:pt x="273" y="96"/>
                      <a:pt x="274" y="96"/>
                      <a:pt x="275" y="96"/>
                    </a:cubicBezTo>
                    <a:cubicBezTo>
                      <a:pt x="275" y="96"/>
                      <a:pt x="277" y="97"/>
                      <a:pt x="277" y="98"/>
                    </a:cubicBezTo>
                    <a:cubicBezTo>
                      <a:pt x="277" y="99"/>
                      <a:pt x="276" y="98"/>
                      <a:pt x="275" y="98"/>
                    </a:cubicBezTo>
                    <a:cubicBezTo>
                      <a:pt x="275" y="99"/>
                      <a:pt x="275" y="99"/>
                      <a:pt x="276" y="99"/>
                    </a:cubicBezTo>
                    <a:cubicBezTo>
                      <a:pt x="275" y="99"/>
                      <a:pt x="274" y="99"/>
                      <a:pt x="273" y="100"/>
                    </a:cubicBezTo>
                    <a:cubicBezTo>
                      <a:pt x="272" y="100"/>
                      <a:pt x="271" y="100"/>
                      <a:pt x="270" y="100"/>
                    </a:cubicBezTo>
                    <a:cubicBezTo>
                      <a:pt x="268" y="101"/>
                      <a:pt x="266" y="101"/>
                      <a:pt x="264" y="101"/>
                    </a:cubicBezTo>
                    <a:cubicBezTo>
                      <a:pt x="263" y="101"/>
                      <a:pt x="262" y="101"/>
                      <a:pt x="262" y="101"/>
                    </a:cubicBezTo>
                    <a:cubicBezTo>
                      <a:pt x="261" y="100"/>
                      <a:pt x="261" y="99"/>
                      <a:pt x="260" y="99"/>
                    </a:cubicBezTo>
                    <a:cubicBezTo>
                      <a:pt x="259" y="99"/>
                      <a:pt x="261" y="101"/>
                      <a:pt x="261" y="101"/>
                    </a:cubicBezTo>
                    <a:cubicBezTo>
                      <a:pt x="261" y="101"/>
                      <a:pt x="256" y="100"/>
                      <a:pt x="256" y="101"/>
                    </a:cubicBezTo>
                    <a:cubicBezTo>
                      <a:pt x="256" y="101"/>
                      <a:pt x="257" y="101"/>
                      <a:pt x="257" y="101"/>
                    </a:cubicBezTo>
                    <a:cubicBezTo>
                      <a:pt x="257" y="101"/>
                      <a:pt x="259" y="102"/>
                      <a:pt x="259" y="102"/>
                    </a:cubicBezTo>
                    <a:cubicBezTo>
                      <a:pt x="258" y="102"/>
                      <a:pt x="257" y="103"/>
                      <a:pt x="256" y="104"/>
                    </a:cubicBezTo>
                    <a:cubicBezTo>
                      <a:pt x="256" y="104"/>
                      <a:pt x="255" y="104"/>
                      <a:pt x="255" y="104"/>
                    </a:cubicBezTo>
                    <a:cubicBezTo>
                      <a:pt x="255" y="104"/>
                      <a:pt x="255" y="104"/>
                      <a:pt x="255" y="104"/>
                    </a:cubicBezTo>
                    <a:cubicBezTo>
                      <a:pt x="255" y="105"/>
                      <a:pt x="253" y="105"/>
                      <a:pt x="252" y="105"/>
                    </a:cubicBezTo>
                    <a:cubicBezTo>
                      <a:pt x="251" y="105"/>
                      <a:pt x="250" y="105"/>
                      <a:pt x="249" y="105"/>
                    </a:cubicBezTo>
                    <a:cubicBezTo>
                      <a:pt x="249" y="105"/>
                      <a:pt x="248" y="106"/>
                      <a:pt x="248" y="106"/>
                    </a:cubicBezTo>
                    <a:cubicBezTo>
                      <a:pt x="249" y="106"/>
                      <a:pt x="250" y="106"/>
                      <a:pt x="251" y="106"/>
                    </a:cubicBezTo>
                    <a:cubicBezTo>
                      <a:pt x="252" y="105"/>
                      <a:pt x="253" y="105"/>
                      <a:pt x="255" y="105"/>
                    </a:cubicBezTo>
                    <a:cubicBezTo>
                      <a:pt x="254" y="106"/>
                      <a:pt x="255" y="106"/>
                      <a:pt x="256" y="106"/>
                    </a:cubicBezTo>
                    <a:cubicBezTo>
                      <a:pt x="257" y="106"/>
                      <a:pt x="258" y="106"/>
                      <a:pt x="260" y="106"/>
                    </a:cubicBezTo>
                    <a:cubicBezTo>
                      <a:pt x="260" y="106"/>
                      <a:pt x="261" y="106"/>
                      <a:pt x="262" y="106"/>
                    </a:cubicBezTo>
                    <a:cubicBezTo>
                      <a:pt x="263" y="106"/>
                      <a:pt x="264" y="106"/>
                      <a:pt x="264" y="106"/>
                    </a:cubicBezTo>
                    <a:cubicBezTo>
                      <a:pt x="265" y="105"/>
                      <a:pt x="266" y="105"/>
                      <a:pt x="267" y="105"/>
                    </a:cubicBezTo>
                    <a:cubicBezTo>
                      <a:pt x="267" y="105"/>
                      <a:pt x="268" y="106"/>
                      <a:pt x="268" y="106"/>
                    </a:cubicBezTo>
                    <a:cubicBezTo>
                      <a:pt x="267" y="107"/>
                      <a:pt x="266" y="107"/>
                      <a:pt x="265" y="107"/>
                    </a:cubicBezTo>
                    <a:cubicBezTo>
                      <a:pt x="263" y="107"/>
                      <a:pt x="262" y="107"/>
                      <a:pt x="260" y="108"/>
                    </a:cubicBezTo>
                    <a:cubicBezTo>
                      <a:pt x="260" y="108"/>
                      <a:pt x="259" y="108"/>
                      <a:pt x="258" y="108"/>
                    </a:cubicBezTo>
                    <a:cubicBezTo>
                      <a:pt x="257" y="109"/>
                      <a:pt x="257" y="109"/>
                      <a:pt x="256" y="109"/>
                    </a:cubicBezTo>
                    <a:cubicBezTo>
                      <a:pt x="254" y="108"/>
                      <a:pt x="253" y="109"/>
                      <a:pt x="252" y="109"/>
                    </a:cubicBezTo>
                    <a:cubicBezTo>
                      <a:pt x="251" y="109"/>
                      <a:pt x="253" y="109"/>
                      <a:pt x="253" y="109"/>
                    </a:cubicBezTo>
                    <a:cubicBezTo>
                      <a:pt x="254" y="109"/>
                      <a:pt x="255" y="109"/>
                      <a:pt x="255" y="109"/>
                    </a:cubicBezTo>
                    <a:cubicBezTo>
                      <a:pt x="256" y="110"/>
                      <a:pt x="257" y="109"/>
                      <a:pt x="258" y="109"/>
                    </a:cubicBezTo>
                    <a:cubicBezTo>
                      <a:pt x="259" y="109"/>
                      <a:pt x="259" y="110"/>
                      <a:pt x="259" y="110"/>
                    </a:cubicBezTo>
                    <a:cubicBezTo>
                      <a:pt x="259" y="110"/>
                      <a:pt x="260" y="110"/>
                      <a:pt x="260" y="110"/>
                    </a:cubicBezTo>
                    <a:cubicBezTo>
                      <a:pt x="261" y="109"/>
                      <a:pt x="262" y="108"/>
                      <a:pt x="263" y="108"/>
                    </a:cubicBezTo>
                    <a:cubicBezTo>
                      <a:pt x="264" y="108"/>
                      <a:pt x="264" y="107"/>
                      <a:pt x="265" y="107"/>
                    </a:cubicBezTo>
                    <a:cubicBezTo>
                      <a:pt x="266" y="107"/>
                      <a:pt x="267" y="108"/>
                      <a:pt x="267" y="108"/>
                    </a:cubicBezTo>
                    <a:cubicBezTo>
                      <a:pt x="270" y="108"/>
                      <a:pt x="273" y="106"/>
                      <a:pt x="276" y="106"/>
                    </a:cubicBezTo>
                    <a:cubicBezTo>
                      <a:pt x="276" y="106"/>
                      <a:pt x="275" y="106"/>
                      <a:pt x="275" y="106"/>
                    </a:cubicBezTo>
                    <a:cubicBezTo>
                      <a:pt x="275" y="106"/>
                      <a:pt x="275" y="106"/>
                      <a:pt x="275" y="106"/>
                    </a:cubicBezTo>
                    <a:cubicBezTo>
                      <a:pt x="275" y="107"/>
                      <a:pt x="275" y="107"/>
                      <a:pt x="276" y="107"/>
                    </a:cubicBezTo>
                    <a:cubicBezTo>
                      <a:pt x="276" y="107"/>
                      <a:pt x="277" y="106"/>
                      <a:pt x="277" y="106"/>
                    </a:cubicBezTo>
                    <a:cubicBezTo>
                      <a:pt x="278" y="106"/>
                      <a:pt x="278" y="107"/>
                      <a:pt x="278" y="107"/>
                    </a:cubicBezTo>
                    <a:cubicBezTo>
                      <a:pt x="280" y="107"/>
                      <a:pt x="280" y="108"/>
                      <a:pt x="281" y="108"/>
                    </a:cubicBezTo>
                    <a:cubicBezTo>
                      <a:pt x="282" y="108"/>
                      <a:pt x="283" y="108"/>
                      <a:pt x="284" y="108"/>
                    </a:cubicBezTo>
                    <a:cubicBezTo>
                      <a:pt x="284" y="109"/>
                      <a:pt x="285" y="108"/>
                      <a:pt x="286" y="109"/>
                    </a:cubicBezTo>
                    <a:cubicBezTo>
                      <a:pt x="288" y="109"/>
                      <a:pt x="290" y="109"/>
                      <a:pt x="292" y="109"/>
                    </a:cubicBezTo>
                    <a:cubicBezTo>
                      <a:pt x="293" y="109"/>
                      <a:pt x="295" y="109"/>
                      <a:pt x="296" y="108"/>
                    </a:cubicBezTo>
                    <a:cubicBezTo>
                      <a:pt x="298" y="108"/>
                      <a:pt x="295" y="110"/>
                      <a:pt x="295" y="110"/>
                    </a:cubicBezTo>
                    <a:cubicBezTo>
                      <a:pt x="295" y="110"/>
                      <a:pt x="294" y="110"/>
                      <a:pt x="294" y="110"/>
                    </a:cubicBezTo>
                    <a:cubicBezTo>
                      <a:pt x="293" y="110"/>
                      <a:pt x="293" y="110"/>
                      <a:pt x="292" y="110"/>
                    </a:cubicBezTo>
                    <a:cubicBezTo>
                      <a:pt x="292" y="110"/>
                      <a:pt x="291" y="110"/>
                      <a:pt x="291" y="110"/>
                    </a:cubicBezTo>
                    <a:cubicBezTo>
                      <a:pt x="290" y="110"/>
                      <a:pt x="291" y="111"/>
                      <a:pt x="291" y="111"/>
                    </a:cubicBezTo>
                    <a:cubicBezTo>
                      <a:pt x="291" y="111"/>
                      <a:pt x="291" y="110"/>
                      <a:pt x="290" y="110"/>
                    </a:cubicBezTo>
                    <a:cubicBezTo>
                      <a:pt x="290" y="110"/>
                      <a:pt x="289" y="110"/>
                      <a:pt x="290" y="111"/>
                    </a:cubicBezTo>
                    <a:cubicBezTo>
                      <a:pt x="289" y="111"/>
                      <a:pt x="288" y="111"/>
                      <a:pt x="288" y="111"/>
                    </a:cubicBezTo>
                    <a:cubicBezTo>
                      <a:pt x="288" y="111"/>
                      <a:pt x="291" y="111"/>
                      <a:pt x="290" y="112"/>
                    </a:cubicBezTo>
                    <a:cubicBezTo>
                      <a:pt x="289" y="112"/>
                      <a:pt x="288" y="111"/>
                      <a:pt x="287" y="111"/>
                    </a:cubicBezTo>
                    <a:cubicBezTo>
                      <a:pt x="287" y="111"/>
                      <a:pt x="288" y="111"/>
                      <a:pt x="288" y="112"/>
                    </a:cubicBezTo>
                    <a:cubicBezTo>
                      <a:pt x="288" y="112"/>
                      <a:pt x="287" y="112"/>
                      <a:pt x="287" y="112"/>
                    </a:cubicBezTo>
                    <a:cubicBezTo>
                      <a:pt x="286" y="112"/>
                      <a:pt x="284" y="112"/>
                      <a:pt x="283" y="112"/>
                    </a:cubicBezTo>
                    <a:cubicBezTo>
                      <a:pt x="284" y="112"/>
                      <a:pt x="284" y="112"/>
                      <a:pt x="285" y="112"/>
                    </a:cubicBezTo>
                    <a:cubicBezTo>
                      <a:pt x="285" y="113"/>
                      <a:pt x="285" y="113"/>
                      <a:pt x="284" y="113"/>
                    </a:cubicBezTo>
                    <a:cubicBezTo>
                      <a:pt x="284" y="113"/>
                      <a:pt x="285" y="113"/>
                      <a:pt x="285" y="113"/>
                    </a:cubicBezTo>
                    <a:cubicBezTo>
                      <a:pt x="284" y="114"/>
                      <a:pt x="283" y="115"/>
                      <a:pt x="282" y="114"/>
                    </a:cubicBezTo>
                    <a:cubicBezTo>
                      <a:pt x="282" y="113"/>
                      <a:pt x="282" y="114"/>
                      <a:pt x="281" y="114"/>
                    </a:cubicBezTo>
                    <a:cubicBezTo>
                      <a:pt x="281" y="114"/>
                      <a:pt x="280" y="113"/>
                      <a:pt x="280" y="113"/>
                    </a:cubicBezTo>
                    <a:cubicBezTo>
                      <a:pt x="280" y="113"/>
                      <a:pt x="282" y="115"/>
                      <a:pt x="281" y="115"/>
                    </a:cubicBezTo>
                    <a:cubicBezTo>
                      <a:pt x="281" y="115"/>
                      <a:pt x="280" y="115"/>
                      <a:pt x="279" y="115"/>
                    </a:cubicBezTo>
                    <a:cubicBezTo>
                      <a:pt x="279" y="115"/>
                      <a:pt x="278" y="116"/>
                      <a:pt x="278" y="115"/>
                    </a:cubicBezTo>
                    <a:cubicBezTo>
                      <a:pt x="278" y="115"/>
                      <a:pt x="278" y="115"/>
                      <a:pt x="277" y="115"/>
                    </a:cubicBezTo>
                    <a:cubicBezTo>
                      <a:pt x="277" y="115"/>
                      <a:pt x="277" y="115"/>
                      <a:pt x="277" y="115"/>
                    </a:cubicBezTo>
                    <a:cubicBezTo>
                      <a:pt x="276" y="115"/>
                      <a:pt x="277" y="115"/>
                      <a:pt x="277" y="116"/>
                    </a:cubicBezTo>
                    <a:cubicBezTo>
                      <a:pt x="278" y="116"/>
                      <a:pt x="276" y="116"/>
                      <a:pt x="276" y="116"/>
                    </a:cubicBezTo>
                    <a:cubicBezTo>
                      <a:pt x="276" y="116"/>
                      <a:pt x="277" y="116"/>
                      <a:pt x="277" y="116"/>
                    </a:cubicBezTo>
                    <a:cubicBezTo>
                      <a:pt x="276" y="117"/>
                      <a:pt x="276" y="117"/>
                      <a:pt x="275" y="117"/>
                    </a:cubicBezTo>
                    <a:cubicBezTo>
                      <a:pt x="274" y="116"/>
                      <a:pt x="273" y="116"/>
                      <a:pt x="272" y="117"/>
                    </a:cubicBezTo>
                    <a:cubicBezTo>
                      <a:pt x="273" y="117"/>
                      <a:pt x="274" y="117"/>
                      <a:pt x="274" y="117"/>
                    </a:cubicBezTo>
                    <a:cubicBezTo>
                      <a:pt x="274" y="118"/>
                      <a:pt x="273" y="117"/>
                      <a:pt x="273" y="118"/>
                    </a:cubicBezTo>
                    <a:cubicBezTo>
                      <a:pt x="273" y="118"/>
                      <a:pt x="273" y="118"/>
                      <a:pt x="273" y="118"/>
                    </a:cubicBezTo>
                    <a:cubicBezTo>
                      <a:pt x="273" y="118"/>
                      <a:pt x="272" y="118"/>
                      <a:pt x="272" y="118"/>
                    </a:cubicBezTo>
                    <a:cubicBezTo>
                      <a:pt x="272" y="118"/>
                      <a:pt x="272" y="118"/>
                      <a:pt x="272" y="119"/>
                    </a:cubicBezTo>
                    <a:cubicBezTo>
                      <a:pt x="272" y="119"/>
                      <a:pt x="271" y="119"/>
                      <a:pt x="271" y="118"/>
                    </a:cubicBezTo>
                    <a:cubicBezTo>
                      <a:pt x="271" y="118"/>
                      <a:pt x="270" y="118"/>
                      <a:pt x="270" y="118"/>
                    </a:cubicBezTo>
                    <a:cubicBezTo>
                      <a:pt x="270" y="118"/>
                      <a:pt x="270" y="118"/>
                      <a:pt x="269" y="118"/>
                    </a:cubicBezTo>
                    <a:cubicBezTo>
                      <a:pt x="269" y="118"/>
                      <a:pt x="270" y="118"/>
                      <a:pt x="270" y="119"/>
                    </a:cubicBezTo>
                    <a:cubicBezTo>
                      <a:pt x="270" y="119"/>
                      <a:pt x="269" y="119"/>
                      <a:pt x="269" y="119"/>
                    </a:cubicBezTo>
                    <a:cubicBezTo>
                      <a:pt x="269" y="119"/>
                      <a:pt x="270" y="119"/>
                      <a:pt x="270" y="119"/>
                    </a:cubicBezTo>
                    <a:cubicBezTo>
                      <a:pt x="270" y="119"/>
                      <a:pt x="268" y="119"/>
                      <a:pt x="268" y="120"/>
                    </a:cubicBezTo>
                    <a:cubicBezTo>
                      <a:pt x="268" y="120"/>
                      <a:pt x="269" y="120"/>
                      <a:pt x="269" y="120"/>
                    </a:cubicBezTo>
                    <a:cubicBezTo>
                      <a:pt x="269" y="120"/>
                      <a:pt x="268" y="120"/>
                      <a:pt x="267" y="120"/>
                    </a:cubicBezTo>
                    <a:cubicBezTo>
                      <a:pt x="267" y="120"/>
                      <a:pt x="268" y="120"/>
                      <a:pt x="267" y="120"/>
                    </a:cubicBezTo>
                    <a:cubicBezTo>
                      <a:pt x="267" y="121"/>
                      <a:pt x="267" y="121"/>
                      <a:pt x="266" y="121"/>
                    </a:cubicBezTo>
                    <a:cubicBezTo>
                      <a:pt x="266" y="121"/>
                      <a:pt x="264" y="121"/>
                      <a:pt x="264" y="121"/>
                    </a:cubicBezTo>
                    <a:cubicBezTo>
                      <a:pt x="263" y="121"/>
                      <a:pt x="264" y="121"/>
                      <a:pt x="263" y="122"/>
                    </a:cubicBezTo>
                    <a:cubicBezTo>
                      <a:pt x="263" y="122"/>
                      <a:pt x="263" y="122"/>
                      <a:pt x="262" y="122"/>
                    </a:cubicBezTo>
                    <a:cubicBezTo>
                      <a:pt x="262" y="122"/>
                      <a:pt x="262" y="122"/>
                      <a:pt x="261" y="122"/>
                    </a:cubicBezTo>
                    <a:cubicBezTo>
                      <a:pt x="261" y="122"/>
                      <a:pt x="260" y="122"/>
                      <a:pt x="260" y="122"/>
                    </a:cubicBezTo>
                    <a:cubicBezTo>
                      <a:pt x="260" y="122"/>
                      <a:pt x="260" y="122"/>
                      <a:pt x="260" y="122"/>
                    </a:cubicBezTo>
                    <a:cubicBezTo>
                      <a:pt x="259" y="122"/>
                      <a:pt x="259" y="122"/>
                      <a:pt x="258" y="122"/>
                    </a:cubicBezTo>
                    <a:cubicBezTo>
                      <a:pt x="257" y="123"/>
                      <a:pt x="257" y="122"/>
                      <a:pt x="256" y="123"/>
                    </a:cubicBezTo>
                    <a:cubicBezTo>
                      <a:pt x="256" y="123"/>
                      <a:pt x="256" y="123"/>
                      <a:pt x="256" y="123"/>
                    </a:cubicBezTo>
                    <a:cubicBezTo>
                      <a:pt x="256" y="123"/>
                      <a:pt x="254" y="123"/>
                      <a:pt x="255" y="123"/>
                    </a:cubicBezTo>
                    <a:cubicBezTo>
                      <a:pt x="254" y="123"/>
                      <a:pt x="253" y="123"/>
                      <a:pt x="253" y="123"/>
                    </a:cubicBezTo>
                    <a:cubicBezTo>
                      <a:pt x="253" y="124"/>
                      <a:pt x="253" y="124"/>
                      <a:pt x="253" y="124"/>
                    </a:cubicBezTo>
                    <a:cubicBezTo>
                      <a:pt x="253" y="124"/>
                      <a:pt x="252" y="124"/>
                      <a:pt x="252" y="124"/>
                    </a:cubicBezTo>
                    <a:cubicBezTo>
                      <a:pt x="251" y="123"/>
                      <a:pt x="251" y="123"/>
                      <a:pt x="251" y="123"/>
                    </a:cubicBezTo>
                    <a:cubicBezTo>
                      <a:pt x="250" y="123"/>
                      <a:pt x="251" y="124"/>
                      <a:pt x="250" y="124"/>
                    </a:cubicBezTo>
                    <a:cubicBezTo>
                      <a:pt x="250" y="124"/>
                      <a:pt x="249" y="124"/>
                      <a:pt x="248" y="124"/>
                    </a:cubicBezTo>
                    <a:cubicBezTo>
                      <a:pt x="249" y="124"/>
                      <a:pt x="248" y="124"/>
                      <a:pt x="248" y="124"/>
                    </a:cubicBezTo>
                    <a:cubicBezTo>
                      <a:pt x="247" y="124"/>
                      <a:pt x="246" y="124"/>
                      <a:pt x="246" y="125"/>
                    </a:cubicBezTo>
                    <a:cubicBezTo>
                      <a:pt x="246" y="125"/>
                      <a:pt x="245" y="125"/>
                      <a:pt x="245" y="125"/>
                    </a:cubicBezTo>
                    <a:cubicBezTo>
                      <a:pt x="245" y="125"/>
                      <a:pt x="244" y="125"/>
                      <a:pt x="244" y="125"/>
                    </a:cubicBezTo>
                    <a:cubicBezTo>
                      <a:pt x="244" y="125"/>
                      <a:pt x="244" y="125"/>
                      <a:pt x="244" y="125"/>
                    </a:cubicBezTo>
                    <a:cubicBezTo>
                      <a:pt x="243" y="125"/>
                      <a:pt x="243" y="125"/>
                      <a:pt x="243" y="125"/>
                    </a:cubicBezTo>
                    <a:cubicBezTo>
                      <a:pt x="243" y="125"/>
                      <a:pt x="242" y="125"/>
                      <a:pt x="242" y="125"/>
                    </a:cubicBezTo>
                    <a:cubicBezTo>
                      <a:pt x="241" y="125"/>
                      <a:pt x="243" y="125"/>
                      <a:pt x="242" y="126"/>
                    </a:cubicBezTo>
                    <a:cubicBezTo>
                      <a:pt x="241" y="126"/>
                      <a:pt x="241" y="125"/>
                      <a:pt x="241" y="125"/>
                    </a:cubicBezTo>
                    <a:cubicBezTo>
                      <a:pt x="240" y="125"/>
                      <a:pt x="241" y="126"/>
                      <a:pt x="240" y="126"/>
                    </a:cubicBezTo>
                    <a:cubicBezTo>
                      <a:pt x="240" y="126"/>
                      <a:pt x="240" y="126"/>
                      <a:pt x="240" y="126"/>
                    </a:cubicBezTo>
                    <a:cubicBezTo>
                      <a:pt x="240" y="126"/>
                      <a:pt x="240" y="126"/>
                      <a:pt x="240" y="126"/>
                    </a:cubicBezTo>
                    <a:cubicBezTo>
                      <a:pt x="240" y="126"/>
                      <a:pt x="238" y="126"/>
                      <a:pt x="239" y="126"/>
                    </a:cubicBezTo>
                    <a:cubicBezTo>
                      <a:pt x="238" y="126"/>
                      <a:pt x="237" y="126"/>
                      <a:pt x="238" y="125"/>
                    </a:cubicBezTo>
                    <a:cubicBezTo>
                      <a:pt x="238" y="125"/>
                      <a:pt x="237" y="124"/>
                      <a:pt x="237" y="124"/>
                    </a:cubicBezTo>
                    <a:cubicBezTo>
                      <a:pt x="237" y="125"/>
                      <a:pt x="236" y="125"/>
                      <a:pt x="236" y="125"/>
                    </a:cubicBezTo>
                    <a:cubicBezTo>
                      <a:pt x="235" y="126"/>
                      <a:pt x="236" y="126"/>
                      <a:pt x="236" y="126"/>
                    </a:cubicBezTo>
                    <a:cubicBezTo>
                      <a:pt x="236" y="126"/>
                      <a:pt x="234" y="126"/>
                      <a:pt x="234" y="126"/>
                    </a:cubicBezTo>
                    <a:cubicBezTo>
                      <a:pt x="234" y="126"/>
                      <a:pt x="235" y="126"/>
                      <a:pt x="235" y="127"/>
                    </a:cubicBezTo>
                    <a:cubicBezTo>
                      <a:pt x="235" y="127"/>
                      <a:pt x="234" y="127"/>
                      <a:pt x="233" y="127"/>
                    </a:cubicBezTo>
                    <a:cubicBezTo>
                      <a:pt x="232" y="127"/>
                      <a:pt x="233" y="127"/>
                      <a:pt x="233" y="126"/>
                    </a:cubicBezTo>
                    <a:cubicBezTo>
                      <a:pt x="233" y="126"/>
                      <a:pt x="230" y="126"/>
                      <a:pt x="230" y="126"/>
                    </a:cubicBezTo>
                    <a:cubicBezTo>
                      <a:pt x="231" y="126"/>
                      <a:pt x="231" y="126"/>
                      <a:pt x="232" y="127"/>
                    </a:cubicBezTo>
                    <a:cubicBezTo>
                      <a:pt x="232" y="127"/>
                      <a:pt x="232" y="127"/>
                      <a:pt x="232" y="128"/>
                    </a:cubicBezTo>
                    <a:cubicBezTo>
                      <a:pt x="232" y="128"/>
                      <a:pt x="231" y="128"/>
                      <a:pt x="231" y="128"/>
                    </a:cubicBezTo>
                    <a:cubicBezTo>
                      <a:pt x="230" y="127"/>
                      <a:pt x="230" y="128"/>
                      <a:pt x="229" y="128"/>
                    </a:cubicBezTo>
                    <a:cubicBezTo>
                      <a:pt x="229" y="128"/>
                      <a:pt x="228" y="128"/>
                      <a:pt x="228" y="128"/>
                    </a:cubicBezTo>
                    <a:cubicBezTo>
                      <a:pt x="228" y="128"/>
                      <a:pt x="225" y="128"/>
                      <a:pt x="225" y="127"/>
                    </a:cubicBezTo>
                    <a:cubicBezTo>
                      <a:pt x="225" y="127"/>
                      <a:pt x="226" y="127"/>
                      <a:pt x="226" y="127"/>
                    </a:cubicBezTo>
                    <a:cubicBezTo>
                      <a:pt x="226" y="127"/>
                      <a:pt x="225" y="127"/>
                      <a:pt x="225" y="127"/>
                    </a:cubicBezTo>
                    <a:cubicBezTo>
                      <a:pt x="225" y="127"/>
                      <a:pt x="225" y="127"/>
                      <a:pt x="225" y="127"/>
                    </a:cubicBezTo>
                    <a:cubicBezTo>
                      <a:pt x="225" y="128"/>
                      <a:pt x="224" y="128"/>
                      <a:pt x="224" y="127"/>
                    </a:cubicBezTo>
                    <a:cubicBezTo>
                      <a:pt x="223" y="127"/>
                      <a:pt x="224" y="127"/>
                      <a:pt x="223" y="126"/>
                    </a:cubicBezTo>
                    <a:cubicBezTo>
                      <a:pt x="224" y="126"/>
                      <a:pt x="224" y="126"/>
                      <a:pt x="225" y="126"/>
                    </a:cubicBezTo>
                    <a:cubicBezTo>
                      <a:pt x="224" y="126"/>
                      <a:pt x="223" y="126"/>
                      <a:pt x="222" y="126"/>
                    </a:cubicBezTo>
                    <a:cubicBezTo>
                      <a:pt x="221" y="126"/>
                      <a:pt x="221" y="125"/>
                      <a:pt x="221" y="125"/>
                    </a:cubicBezTo>
                    <a:cubicBezTo>
                      <a:pt x="221" y="124"/>
                      <a:pt x="221" y="124"/>
                      <a:pt x="221" y="124"/>
                    </a:cubicBezTo>
                    <a:cubicBezTo>
                      <a:pt x="221" y="124"/>
                      <a:pt x="221" y="124"/>
                      <a:pt x="220" y="124"/>
                    </a:cubicBezTo>
                    <a:cubicBezTo>
                      <a:pt x="220" y="124"/>
                      <a:pt x="220" y="124"/>
                      <a:pt x="220" y="124"/>
                    </a:cubicBezTo>
                    <a:cubicBezTo>
                      <a:pt x="220" y="123"/>
                      <a:pt x="220" y="123"/>
                      <a:pt x="220" y="122"/>
                    </a:cubicBezTo>
                    <a:cubicBezTo>
                      <a:pt x="219" y="122"/>
                      <a:pt x="219" y="123"/>
                      <a:pt x="220" y="123"/>
                    </a:cubicBezTo>
                    <a:cubicBezTo>
                      <a:pt x="219" y="124"/>
                      <a:pt x="219" y="124"/>
                      <a:pt x="218" y="124"/>
                    </a:cubicBezTo>
                    <a:cubicBezTo>
                      <a:pt x="218" y="125"/>
                      <a:pt x="219" y="125"/>
                      <a:pt x="220" y="125"/>
                    </a:cubicBezTo>
                    <a:cubicBezTo>
                      <a:pt x="220" y="125"/>
                      <a:pt x="221" y="126"/>
                      <a:pt x="221" y="126"/>
                    </a:cubicBezTo>
                    <a:cubicBezTo>
                      <a:pt x="220" y="127"/>
                      <a:pt x="220" y="126"/>
                      <a:pt x="219" y="126"/>
                    </a:cubicBezTo>
                    <a:cubicBezTo>
                      <a:pt x="219" y="126"/>
                      <a:pt x="218" y="126"/>
                      <a:pt x="218" y="126"/>
                    </a:cubicBezTo>
                    <a:cubicBezTo>
                      <a:pt x="218" y="127"/>
                      <a:pt x="219" y="126"/>
                      <a:pt x="219" y="126"/>
                    </a:cubicBezTo>
                    <a:cubicBezTo>
                      <a:pt x="220" y="127"/>
                      <a:pt x="220" y="127"/>
                      <a:pt x="220" y="127"/>
                    </a:cubicBezTo>
                    <a:cubicBezTo>
                      <a:pt x="220" y="127"/>
                      <a:pt x="221" y="127"/>
                      <a:pt x="221" y="127"/>
                    </a:cubicBezTo>
                    <a:cubicBezTo>
                      <a:pt x="221" y="127"/>
                      <a:pt x="221" y="128"/>
                      <a:pt x="220" y="128"/>
                    </a:cubicBezTo>
                    <a:cubicBezTo>
                      <a:pt x="220" y="128"/>
                      <a:pt x="220" y="128"/>
                      <a:pt x="220" y="128"/>
                    </a:cubicBezTo>
                    <a:cubicBezTo>
                      <a:pt x="220" y="128"/>
                      <a:pt x="220" y="128"/>
                      <a:pt x="220" y="128"/>
                    </a:cubicBezTo>
                    <a:cubicBezTo>
                      <a:pt x="220" y="129"/>
                      <a:pt x="220" y="129"/>
                      <a:pt x="220" y="129"/>
                    </a:cubicBezTo>
                    <a:cubicBezTo>
                      <a:pt x="220" y="129"/>
                      <a:pt x="219" y="129"/>
                      <a:pt x="219" y="130"/>
                    </a:cubicBezTo>
                    <a:cubicBezTo>
                      <a:pt x="219" y="130"/>
                      <a:pt x="218" y="129"/>
                      <a:pt x="217" y="129"/>
                    </a:cubicBezTo>
                    <a:cubicBezTo>
                      <a:pt x="217" y="129"/>
                      <a:pt x="217" y="129"/>
                      <a:pt x="216" y="130"/>
                    </a:cubicBezTo>
                    <a:cubicBezTo>
                      <a:pt x="216" y="130"/>
                      <a:pt x="216" y="130"/>
                      <a:pt x="216" y="130"/>
                    </a:cubicBezTo>
                    <a:cubicBezTo>
                      <a:pt x="215" y="130"/>
                      <a:pt x="215" y="130"/>
                      <a:pt x="214" y="131"/>
                    </a:cubicBezTo>
                    <a:cubicBezTo>
                      <a:pt x="214" y="131"/>
                      <a:pt x="213" y="131"/>
                      <a:pt x="212" y="131"/>
                    </a:cubicBezTo>
                    <a:cubicBezTo>
                      <a:pt x="212" y="131"/>
                      <a:pt x="211" y="131"/>
                      <a:pt x="211" y="131"/>
                    </a:cubicBezTo>
                    <a:cubicBezTo>
                      <a:pt x="211" y="131"/>
                      <a:pt x="211" y="131"/>
                      <a:pt x="211" y="132"/>
                    </a:cubicBezTo>
                    <a:cubicBezTo>
                      <a:pt x="211" y="132"/>
                      <a:pt x="212" y="132"/>
                      <a:pt x="211" y="132"/>
                    </a:cubicBezTo>
                    <a:cubicBezTo>
                      <a:pt x="211" y="132"/>
                      <a:pt x="210" y="133"/>
                      <a:pt x="210" y="132"/>
                    </a:cubicBezTo>
                    <a:cubicBezTo>
                      <a:pt x="210" y="132"/>
                      <a:pt x="209" y="132"/>
                      <a:pt x="209" y="133"/>
                    </a:cubicBezTo>
                    <a:cubicBezTo>
                      <a:pt x="209" y="133"/>
                      <a:pt x="210" y="133"/>
                      <a:pt x="210" y="133"/>
                    </a:cubicBezTo>
                    <a:cubicBezTo>
                      <a:pt x="210" y="133"/>
                      <a:pt x="209" y="133"/>
                      <a:pt x="209" y="134"/>
                    </a:cubicBezTo>
                    <a:cubicBezTo>
                      <a:pt x="209" y="134"/>
                      <a:pt x="210" y="134"/>
                      <a:pt x="209" y="134"/>
                    </a:cubicBezTo>
                    <a:cubicBezTo>
                      <a:pt x="209" y="134"/>
                      <a:pt x="209" y="134"/>
                      <a:pt x="208" y="134"/>
                    </a:cubicBezTo>
                    <a:cubicBezTo>
                      <a:pt x="208" y="134"/>
                      <a:pt x="207" y="134"/>
                      <a:pt x="207" y="134"/>
                    </a:cubicBezTo>
                    <a:cubicBezTo>
                      <a:pt x="207" y="135"/>
                      <a:pt x="208" y="134"/>
                      <a:pt x="208" y="134"/>
                    </a:cubicBezTo>
                    <a:cubicBezTo>
                      <a:pt x="208" y="135"/>
                      <a:pt x="208" y="135"/>
                      <a:pt x="208" y="135"/>
                    </a:cubicBezTo>
                    <a:cubicBezTo>
                      <a:pt x="208" y="136"/>
                      <a:pt x="207" y="135"/>
                      <a:pt x="206" y="136"/>
                    </a:cubicBezTo>
                    <a:cubicBezTo>
                      <a:pt x="206" y="136"/>
                      <a:pt x="207" y="136"/>
                      <a:pt x="207" y="136"/>
                    </a:cubicBezTo>
                    <a:cubicBezTo>
                      <a:pt x="207" y="136"/>
                      <a:pt x="206" y="136"/>
                      <a:pt x="207" y="136"/>
                    </a:cubicBezTo>
                    <a:cubicBezTo>
                      <a:pt x="207" y="136"/>
                      <a:pt x="206" y="137"/>
                      <a:pt x="206" y="137"/>
                    </a:cubicBezTo>
                    <a:cubicBezTo>
                      <a:pt x="206" y="137"/>
                      <a:pt x="206" y="137"/>
                      <a:pt x="205" y="137"/>
                    </a:cubicBezTo>
                    <a:cubicBezTo>
                      <a:pt x="205" y="137"/>
                      <a:pt x="204" y="137"/>
                      <a:pt x="204" y="137"/>
                    </a:cubicBezTo>
                    <a:cubicBezTo>
                      <a:pt x="204" y="138"/>
                      <a:pt x="205" y="137"/>
                      <a:pt x="205" y="138"/>
                    </a:cubicBezTo>
                    <a:cubicBezTo>
                      <a:pt x="205" y="138"/>
                      <a:pt x="203" y="138"/>
                      <a:pt x="203" y="138"/>
                    </a:cubicBezTo>
                    <a:cubicBezTo>
                      <a:pt x="203" y="138"/>
                      <a:pt x="203" y="138"/>
                      <a:pt x="204" y="138"/>
                    </a:cubicBezTo>
                    <a:cubicBezTo>
                      <a:pt x="203" y="138"/>
                      <a:pt x="203" y="138"/>
                      <a:pt x="203" y="138"/>
                    </a:cubicBezTo>
                    <a:cubicBezTo>
                      <a:pt x="203" y="139"/>
                      <a:pt x="201" y="140"/>
                      <a:pt x="203" y="140"/>
                    </a:cubicBezTo>
                    <a:cubicBezTo>
                      <a:pt x="202" y="140"/>
                      <a:pt x="202" y="140"/>
                      <a:pt x="202" y="140"/>
                    </a:cubicBezTo>
                    <a:cubicBezTo>
                      <a:pt x="202" y="140"/>
                      <a:pt x="202" y="140"/>
                      <a:pt x="202" y="140"/>
                    </a:cubicBezTo>
                    <a:cubicBezTo>
                      <a:pt x="201" y="140"/>
                      <a:pt x="202" y="140"/>
                      <a:pt x="202" y="140"/>
                    </a:cubicBezTo>
                    <a:cubicBezTo>
                      <a:pt x="202" y="140"/>
                      <a:pt x="201" y="140"/>
                      <a:pt x="201" y="140"/>
                    </a:cubicBezTo>
                    <a:cubicBezTo>
                      <a:pt x="201" y="140"/>
                      <a:pt x="201" y="141"/>
                      <a:pt x="201" y="140"/>
                    </a:cubicBezTo>
                    <a:cubicBezTo>
                      <a:pt x="201" y="141"/>
                      <a:pt x="200" y="142"/>
                      <a:pt x="199" y="142"/>
                    </a:cubicBezTo>
                    <a:cubicBezTo>
                      <a:pt x="199" y="141"/>
                      <a:pt x="200" y="141"/>
                      <a:pt x="200" y="141"/>
                    </a:cubicBezTo>
                    <a:cubicBezTo>
                      <a:pt x="200" y="141"/>
                      <a:pt x="199" y="142"/>
                      <a:pt x="199" y="141"/>
                    </a:cubicBezTo>
                    <a:cubicBezTo>
                      <a:pt x="198" y="141"/>
                      <a:pt x="199" y="140"/>
                      <a:pt x="199" y="140"/>
                    </a:cubicBezTo>
                    <a:cubicBezTo>
                      <a:pt x="199" y="140"/>
                      <a:pt x="198" y="141"/>
                      <a:pt x="198" y="141"/>
                    </a:cubicBezTo>
                    <a:cubicBezTo>
                      <a:pt x="199" y="141"/>
                      <a:pt x="197" y="141"/>
                      <a:pt x="198" y="142"/>
                    </a:cubicBezTo>
                    <a:cubicBezTo>
                      <a:pt x="198" y="142"/>
                      <a:pt x="199" y="142"/>
                      <a:pt x="198" y="142"/>
                    </a:cubicBezTo>
                    <a:cubicBezTo>
                      <a:pt x="198" y="142"/>
                      <a:pt x="197" y="142"/>
                      <a:pt x="197" y="143"/>
                    </a:cubicBezTo>
                    <a:cubicBezTo>
                      <a:pt x="197" y="143"/>
                      <a:pt x="196" y="143"/>
                      <a:pt x="196" y="143"/>
                    </a:cubicBezTo>
                    <a:cubicBezTo>
                      <a:pt x="196" y="143"/>
                      <a:pt x="196" y="143"/>
                      <a:pt x="196" y="143"/>
                    </a:cubicBezTo>
                    <a:cubicBezTo>
                      <a:pt x="196" y="144"/>
                      <a:pt x="195" y="144"/>
                      <a:pt x="195" y="144"/>
                    </a:cubicBezTo>
                    <a:cubicBezTo>
                      <a:pt x="195" y="144"/>
                      <a:pt x="195" y="144"/>
                      <a:pt x="194" y="144"/>
                    </a:cubicBezTo>
                    <a:cubicBezTo>
                      <a:pt x="194" y="144"/>
                      <a:pt x="194" y="144"/>
                      <a:pt x="195" y="144"/>
                    </a:cubicBezTo>
                    <a:cubicBezTo>
                      <a:pt x="194" y="144"/>
                      <a:pt x="194" y="144"/>
                      <a:pt x="194" y="144"/>
                    </a:cubicBezTo>
                    <a:cubicBezTo>
                      <a:pt x="194" y="145"/>
                      <a:pt x="193" y="144"/>
                      <a:pt x="193" y="144"/>
                    </a:cubicBezTo>
                    <a:cubicBezTo>
                      <a:pt x="192" y="144"/>
                      <a:pt x="193" y="144"/>
                      <a:pt x="193" y="143"/>
                    </a:cubicBezTo>
                    <a:cubicBezTo>
                      <a:pt x="193" y="143"/>
                      <a:pt x="192" y="144"/>
                      <a:pt x="192" y="144"/>
                    </a:cubicBezTo>
                    <a:cubicBezTo>
                      <a:pt x="192" y="144"/>
                      <a:pt x="193" y="145"/>
                      <a:pt x="192" y="145"/>
                    </a:cubicBezTo>
                    <a:cubicBezTo>
                      <a:pt x="192" y="145"/>
                      <a:pt x="191" y="145"/>
                      <a:pt x="191" y="145"/>
                    </a:cubicBezTo>
                    <a:cubicBezTo>
                      <a:pt x="190" y="145"/>
                      <a:pt x="190" y="144"/>
                      <a:pt x="190" y="144"/>
                    </a:cubicBezTo>
                    <a:cubicBezTo>
                      <a:pt x="189" y="144"/>
                      <a:pt x="189" y="145"/>
                      <a:pt x="189" y="144"/>
                    </a:cubicBezTo>
                    <a:cubicBezTo>
                      <a:pt x="188" y="144"/>
                      <a:pt x="188" y="143"/>
                      <a:pt x="188" y="143"/>
                    </a:cubicBezTo>
                    <a:cubicBezTo>
                      <a:pt x="188" y="143"/>
                      <a:pt x="187" y="143"/>
                      <a:pt x="187" y="143"/>
                    </a:cubicBezTo>
                    <a:cubicBezTo>
                      <a:pt x="188" y="144"/>
                      <a:pt x="189" y="144"/>
                      <a:pt x="188" y="145"/>
                    </a:cubicBezTo>
                    <a:cubicBezTo>
                      <a:pt x="188" y="145"/>
                      <a:pt x="188" y="145"/>
                      <a:pt x="189" y="145"/>
                    </a:cubicBezTo>
                    <a:cubicBezTo>
                      <a:pt x="188" y="145"/>
                      <a:pt x="188" y="145"/>
                      <a:pt x="188" y="145"/>
                    </a:cubicBezTo>
                    <a:cubicBezTo>
                      <a:pt x="188" y="145"/>
                      <a:pt x="189" y="146"/>
                      <a:pt x="188" y="146"/>
                    </a:cubicBezTo>
                    <a:cubicBezTo>
                      <a:pt x="188" y="146"/>
                      <a:pt x="188" y="145"/>
                      <a:pt x="187" y="145"/>
                    </a:cubicBezTo>
                    <a:cubicBezTo>
                      <a:pt x="188" y="146"/>
                      <a:pt x="186" y="146"/>
                      <a:pt x="186" y="146"/>
                    </a:cubicBezTo>
                    <a:cubicBezTo>
                      <a:pt x="186" y="146"/>
                      <a:pt x="187" y="146"/>
                      <a:pt x="187" y="146"/>
                    </a:cubicBezTo>
                    <a:cubicBezTo>
                      <a:pt x="187" y="146"/>
                      <a:pt x="185" y="146"/>
                      <a:pt x="186" y="147"/>
                    </a:cubicBezTo>
                    <a:cubicBezTo>
                      <a:pt x="186" y="147"/>
                      <a:pt x="186" y="147"/>
                      <a:pt x="185" y="147"/>
                    </a:cubicBezTo>
                    <a:cubicBezTo>
                      <a:pt x="185" y="147"/>
                      <a:pt x="185" y="147"/>
                      <a:pt x="184" y="147"/>
                    </a:cubicBezTo>
                    <a:cubicBezTo>
                      <a:pt x="184" y="148"/>
                      <a:pt x="183" y="148"/>
                      <a:pt x="183" y="147"/>
                    </a:cubicBezTo>
                    <a:cubicBezTo>
                      <a:pt x="183" y="148"/>
                      <a:pt x="183" y="147"/>
                      <a:pt x="183" y="147"/>
                    </a:cubicBezTo>
                    <a:cubicBezTo>
                      <a:pt x="183" y="147"/>
                      <a:pt x="182" y="147"/>
                      <a:pt x="182" y="148"/>
                    </a:cubicBezTo>
                    <a:cubicBezTo>
                      <a:pt x="182" y="148"/>
                      <a:pt x="182" y="148"/>
                      <a:pt x="182" y="148"/>
                    </a:cubicBezTo>
                    <a:cubicBezTo>
                      <a:pt x="181" y="148"/>
                      <a:pt x="182" y="147"/>
                      <a:pt x="182" y="146"/>
                    </a:cubicBezTo>
                    <a:cubicBezTo>
                      <a:pt x="182" y="146"/>
                      <a:pt x="181" y="146"/>
                      <a:pt x="181" y="147"/>
                    </a:cubicBezTo>
                    <a:cubicBezTo>
                      <a:pt x="181" y="147"/>
                      <a:pt x="181" y="147"/>
                      <a:pt x="181" y="147"/>
                    </a:cubicBezTo>
                    <a:cubicBezTo>
                      <a:pt x="181" y="147"/>
                      <a:pt x="181" y="147"/>
                      <a:pt x="180" y="148"/>
                    </a:cubicBezTo>
                    <a:cubicBezTo>
                      <a:pt x="180" y="148"/>
                      <a:pt x="178" y="148"/>
                      <a:pt x="178" y="148"/>
                    </a:cubicBezTo>
                    <a:cubicBezTo>
                      <a:pt x="178" y="148"/>
                      <a:pt x="178" y="148"/>
                      <a:pt x="178" y="148"/>
                    </a:cubicBezTo>
                    <a:cubicBezTo>
                      <a:pt x="178" y="148"/>
                      <a:pt x="177" y="149"/>
                      <a:pt x="177" y="149"/>
                    </a:cubicBezTo>
                    <a:cubicBezTo>
                      <a:pt x="177" y="148"/>
                      <a:pt x="177" y="148"/>
                      <a:pt x="177" y="148"/>
                    </a:cubicBezTo>
                    <a:cubicBezTo>
                      <a:pt x="177" y="147"/>
                      <a:pt x="177" y="147"/>
                      <a:pt x="177" y="147"/>
                    </a:cubicBezTo>
                    <a:cubicBezTo>
                      <a:pt x="177" y="147"/>
                      <a:pt x="177" y="147"/>
                      <a:pt x="177" y="147"/>
                    </a:cubicBezTo>
                    <a:cubicBezTo>
                      <a:pt x="176" y="147"/>
                      <a:pt x="176" y="147"/>
                      <a:pt x="176" y="148"/>
                    </a:cubicBezTo>
                    <a:cubicBezTo>
                      <a:pt x="176" y="148"/>
                      <a:pt x="176" y="148"/>
                      <a:pt x="175" y="148"/>
                    </a:cubicBezTo>
                    <a:cubicBezTo>
                      <a:pt x="176" y="148"/>
                      <a:pt x="176" y="148"/>
                      <a:pt x="176" y="149"/>
                    </a:cubicBezTo>
                    <a:cubicBezTo>
                      <a:pt x="176" y="150"/>
                      <a:pt x="175" y="149"/>
                      <a:pt x="175" y="149"/>
                    </a:cubicBezTo>
                    <a:cubicBezTo>
                      <a:pt x="175" y="149"/>
                      <a:pt x="175" y="149"/>
                      <a:pt x="175" y="149"/>
                    </a:cubicBezTo>
                    <a:cubicBezTo>
                      <a:pt x="175" y="150"/>
                      <a:pt x="174" y="149"/>
                      <a:pt x="173" y="148"/>
                    </a:cubicBezTo>
                    <a:cubicBezTo>
                      <a:pt x="172" y="148"/>
                      <a:pt x="172" y="148"/>
                      <a:pt x="171" y="148"/>
                    </a:cubicBezTo>
                    <a:cubicBezTo>
                      <a:pt x="171" y="148"/>
                      <a:pt x="172" y="148"/>
                      <a:pt x="172" y="147"/>
                    </a:cubicBezTo>
                    <a:cubicBezTo>
                      <a:pt x="171" y="147"/>
                      <a:pt x="172" y="147"/>
                      <a:pt x="173" y="147"/>
                    </a:cubicBezTo>
                    <a:cubicBezTo>
                      <a:pt x="173" y="147"/>
                      <a:pt x="174" y="146"/>
                      <a:pt x="174" y="146"/>
                    </a:cubicBezTo>
                    <a:cubicBezTo>
                      <a:pt x="174" y="145"/>
                      <a:pt x="176" y="145"/>
                      <a:pt x="176" y="145"/>
                    </a:cubicBezTo>
                    <a:cubicBezTo>
                      <a:pt x="176" y="144"/>
                      <a:pt x="177" y="144"/>
                      <a:pt x="177" y="144"/>
                    </a:cubicBezTo>
                    <a:cubicBezTo>
                      <a:pt x="178" y="144"/>
                      <a:pt x="176" y="144"/>
                      <a:pt x="176" y="144"/>
                    </a:cubicBezTo>
                    <a:cubicBezTo>
                      <a:pt x="176" y="144"/>
                      <a:pt x="176" y="144"/>
                      <a:pt x="175" y="144"/>
                    </a:cubicBezTo>
                    <a:cubicBezTo>
                      <a:pt x="175" y="144"/>
                      <a:pt x="175" y="144"/>
                      <a:pt x="174" y="144"/>
                    </a:cubicBezTo>
                    <a:cubicBezTo>
                      <a:pt x="174" y="144"/>
                      <a:pt x="173" y="144"/>
                      <a:pt x="173" y="143"/>
                    </a:cubicBezTo>
                    <a:cubicBezTo>
                      <a:pt x="173" y="143"/>
                      <a:pt x="173" y="144"/>
                      <a:pt x="172" y="144"/>
                    </a:cubicBezTo>
                    <a:cubicBezTo>
                      <a:pt x="172" y="143"/>
                      <a:pt x="171" y="143"/>
                      <a:pt x="170" y="144"/>
                    </a:cubicBezTo>
                    <a:cubicBezTo>
                      <a:pt x="171" y="144"/>
                      <a:pt x="172" y="144"/>
                      <a:pt x="173" y="144"/>
                    </a:cubicBezTo>
                    <a:cubicBezTo>
                      <a:pt x="174" y="145"/>
                      <a:pt x="173" y="145"/>
                      <a:pt x="172" y="145"/>
                    </a:cubicBezTo>
                    <a:cubicBezTo>
                      <a:pt x="173" y="145"/>
                      <a:pt x="171" y="145"/>
                      <a:pt x="171" y="145"/>
                    </a:cubicBezTo>
                    <a:cubicBezTo>
                      <a:pt x="171" y="145"/>
                      <a:pt x="172" y="145"/>
                      <a:pt x="172" y="145"/>
                    </a:cubicBezTo>
                    <a:cubicBezTo>
                      <a:pt x="172" y="146"/>
                      <a:pt x="171" y="146"/>
                      <a:pt x="171" y="146"/>
                    </a:cubicBezTo>
                    <a:cubicBezTo>
                      <a:pt x="170" y="146"/>
                      <a:pt x="170" y="146"/>
                      <a:pt x="170" y="146"/>
                    </a:cubicBezTo>
                    <a:cubicBezTo>
                      <a:pt x="170" y="146"/>
                      <a:pt x="171" y="146"/>
                      <a:pt x="171" y="146"/>
                    </a:cubicBezTo>
                    <a:cubicBezTo>
                      <a:pt x="171" y="146"/>
                      <a:pt x="170" y="148"/>
                      <a:pt x="170" y="148"/>
                    </a:cubicBezTo>
                    <a:cubicBezTo>
                      <a:pt x="170" y="148"/>
                      <a:pt x="169" y="148"/>
                      <a:pt x="169" y="148"/>
                    </a:cubicBezTo>
                    <a:cubicBezTo>
                      <a:pt x="169" y="148"/>
                      <a:pt x="168" y="147"/>
                      <a:pt x="169" y="148"/>
                    </a:cubicBezTo>
                    <a:cubicBezTo>
                      <a:pt x="169" y="148"/>
                      <a:pt x="168" y="148"/>
                      <a:pt x="168" y="148"/>
                    </a:cubicBezTo>
                    <a:cubicBezTo>
                      <a:pt x="167" y="148"/>
                      <a:pt x="168" y="147"/>
                      <a:pt x="167" y="147"/>
                    </a:cubicBezTo>
                    <a:cubicBezTo>
                      <a:pt x="167" y="147"/>
                      <a:pt x="166" y="148"/>
                      <a:pt x="167" y="148"/>
                    </a:cubicBezTo>
                    <a:cubicBezTo>
                      <a:pt x="167" y="148"/>
                      <a:pt x="169" y="149"/>
                      <a:pt x="169" y="149"/>
                    </a:cubicBezTo>
                    <a:cubicBezTo>
                      <a:pt x="168" y="150"/>
                      <a:pt x="168" y="149"/>
                      <a:pt x="168" y="150"/>
                    </a:cubicBezTo>
                    <a:cubicBezTo>
                      <a:pt x="168" y="150"/>
                      <a:pt x="168" y="150"/>
                      <a:pt x="167" y="150"/>
                    </a:cubicBezTo>
                    <a:cubicBezTo>
                      <a:pt x="167" y="150"/>
                      <a:pt x="168" y="151"/>
                      <a:pt x="167" y="151"/>
                    </a:cubicBezTo>
                    <a:cubicBezTo>
                      <a:pt x="167" y="151"/>
                      <a:pt x="166" y="150"/>
                      <a:pt x="166" y="151"/>
                    </a:cubicBezTo>
                    <a:cubicBezTo>
                      <a:pt x="166" y="151"/>
                      <a:pt x="165" y="151"/>
                      <a:pt x="165" y="151"/>
                    </a:cubicBezTo>
                    <a:cubicBezTo>
                      <a:pt x="165" y="151"/>
                      <a:pt x="166" y="150"/>
                      <a:pt x="166" y="150"/>
                    </a:cubicBezTo>
                    <a:cubicBezTo>
                      <a:pt x="165" y="150"/>
                      <a:pt x="165" y="150"/>
                      <a:pt x="165" y="150"/>
                    </a:cubicBezTo>
                    <a:cubicBezTo>
                      <a:pt x="165" y="150"/>
                      <a:pt x="165" y="151"/>
                      <a:pt x="165" y="150"/>
                    </a:cubicBezTo>
                    <a:cubicBezTo>
                      <a:pt x="165" y="150"/>
                      <a:pt x="164" y="150"/>
                      <a:pt x="164" y="150"/>
                    </a:cubicBezTo>
                    <a:cubicBezTo>
                      <a:pt x="164" y="150"/>
                      <a:pt x="163" y="150"/>
                      <a:pt x="163" y="151"/>
                    </a:cubicBezTo>
                    <a:cubicBezTo>
                      <a:pt x="163" y="151"/>
                      <a:pt x="165" y="151"/>
                      <a:pt x="164" y="151"/>
                    </a:cubicBezTo>
                    <a:cubicBezTo>
                      <a:pt x="164" y="152"/>
                      <a:pt x="163" y="151"/>
                      <a:pt x="162" y="151"/>
                    </a:cubicBezTo>
                    <a:cubicBezTo>
                      <a:pt x="162" y="151"/>
                      <a:pt x="161" y="151"/>
                      <a:pt x="161" y="152"/>
                    </a:cubicBezTo>
                    <a:cubicBezTo>
                      <a:pt x="161" y="151"/>
                      <a:pt x="161" y="151"/>
                      <a:pt x="160" y="150"/>
                    </a:cubicBezTo>
                    <a:cubicBezTo>
                      <a:pt x="160" y="150"/>
                      <a:pt x="159" y="150"/>
                      <a:pt x="159" y="150"/>
                    </a:cubicBezTo>
                    <a:cubicBezTo>
                      <a:pt x="159" y="150"/>
                      <a:pt x="160" y="151"/>
                      <a:pt x="160" y="151"/>
                    </a:cubicBezTo>
                    <a:cubicBezTo>
                      <a:pt x="160" y="151"/>
                      <a:pt x="160" y="151"/>
                      <a:pt x="159" y="151"/>
                    </a:cubicBezTo>
                    <a:cubicBezTo>
                      <a:pt x="159" y="151"/>
                      <a:pt x="159" y="152"/>
                      <a:pt x="159" y="152"/>
                    </a:cubicBezTo>
                    <a:cubicBezTo>
                      <a:pt x="159" y="151"/>
                      <a:pt x="159" y="151"/>
                      <a:pt x="159" y="151"/>
                    </a:cubicBezTo>
                    <a:cubicBezTo>
                      <a:pt x="159" y="151"/>
                      <a:pt x="159" y="152"/>
                      <a:pt x="158" y="152"/>
                    </a:cubicBezTo>
                    <a:cubicBezTo>
                      <a:pt x="158" y="152"/>
                      <a:pt x="157" y="151"/>
                      <a:pt x="158" y="151"/>
                    </a:cubicBezTo>
                    <a:cubicBezTo>
                      <a:pt x="158" y="151"/>
                      <a:pt x="156" y="150"/>
                      <a:pt x="157" y="151"/>
                    </a:cubicBezTo>
                    <a:cubicBezTo>
                      <a:pt x="156" y="151"/>
                      <a:pt x="156" y="151"/>
                      <a:pt x="155" y="151"/>
                    </a:cubicBezTo>
                    <a:cubicBezTo>
                      <a:pt x="155" y="151"/>
                      <a:pt x="156" y="151"/>
                      <a:pt x="156" y="152"/>
                    </a:cubicBezTo>
                    <a:cubicBezTo>
                      <a:pt x="156" y="152"/>
                      <a:pt x="155" y="151"/>
                      <a:pt x="155" y="152"/>
                    </a:cubicBezTo>
                    <a:cubicBezTo>
                      <a:pt x="155" y="152"/>
                      <a:pt x="155" y="152"/>
                      <a:pt x="155" y="152"/>
                    </a:cubicBezTo>
                    <a:cubicBezTo>
                      <a:pt x="154" y="152"/>
                      <a:pt x="154" y="151"/>
                      <a:pt x="154" y="151"/>
                    </a:cubicBezTo>
                    <a:cubicBezTo>
                      <a:pt x="153" y="151"/>
                      <a:pt x="153" y="152"/>
                      <a:pt x="153" y="152"/>
                    </a:cubicBezTo>
                    <a:cubicBezTo>
                      <a:pt x="153" y="152"/>
                      <a:pt x="152" y="152"/>
                      <a:pt x="152" y="152"/>
                    </a:cubicBezTo>
                    <a:cubicBezTo>
                      <a:pt x="152" y="153"/>
                      <a:pt x="155" y="153"/>
                      <a:pt x="155" y="153"/>
                    </a:cubicBezTo>
                    <a:cubicBezTo>
                      <a:pt x="155" y="153"/>
                      <a:pt x="154" y="153"/>
                      <a:pt x="154" y="153"/>
                    </a:cubicBezTo>
                    <a:cubicBezTo>
                      <a:pt x="154" y="153"/>
                      <a:pt x="154" y="153"/>
                      <a:pt x="153" y="153"/>
                    </a:cubicBezTo>
                    <a:cubicBezTo>
                      <a:pt x="154" y="154"/>
                      <a:pt x="154" y="154"/>
                      <a:pt x="154" y="154"/>
                    </a:cubicBezTo>
                    <a:cubicBezTo>
                      <a:pt x="154" y="155"/>
                      <a:pt x="154" y="154"/>
                      <a:pt x="154" y="154"/>
                    </a:cubicBezTo>
                    <a:cubicBezTo>
                      <a:pt x="154" y="154"/>
                      <a:pt x="154" y="155"/>
                      <a:pt x="154" y="155"/>
                    </a:cubicBezTo>
                    <a:cubicBezTo>
                      <a:pt x="154" y="155"/>
                      <a:pt x="154" y="154"/>
                      <a:pt x="153" y="154"/>
                    </a:cubicBezTo>
                    <a:cubicBezTo>
                      <a:pt x="153" y="155"/>
                      <a:pt x="153" y="155"/>
                      <a:pt x="153" y="155"/>
                    </a:cubicBezTo>
                    <a:cubicBezTo>
                      <a:pt x="153" y="155"/>
                      <a:pt x="152" y="155"/>
                      <a:pt x="152" y="155"/>
                    </a:cubicBezTo>
                    <a:cubicBezTo>
                      <a:pt x="152" y="155"/>
                      <a:pt x="153" y="155"/>
                      <a:pt x="153" y="155"/>
                    </a:cubicBezTo>
                    <a:cubicBezTo>
                      <a:pt x="153" y="156"/>
                      <a:pt x="152" y="155"/>
                      <a:pt x="152" y="155"/>
                    </a:cubicBezTo>
                    <a:cubicBezTo>
                      <a:pt x="151" y="155"/>
                      <a:pt x="151" y="156"/>
                      <a:pt x="152" y="156"/>
                    </a:cubicBezTo>
                    <a:cubicBezTo>
                      <a:pt x="152" y="156"/>
                      <a:pt x="152" y="156"/>
                      <a:pt x="152" y="156"/>
                    </a:cubicBezTo>
                    <a:cubicBezTo>
                      <a:pt x="152" y="156"/>
                      <a:pt x="152" y="156"/>
                      <a:pt x="151" y="156"/>
                    </a:cubicBezTo>
                    <a:cubicBezTo>
                      <a:pt x="151" y="156"/>
                      <a:pt x="151" y="157"/>
                      <a:pt x="151" y="157"/>
                    </a:cubicBezTo>
                    <a:cubicBezTo>
                      <a:pt x="150" y="156"/>
                      <a:pt x="150" y="157"/>
                      <a:pt x="150" y="157"/>
                    </a:cubicBezTo>
                    <a:cubicBezTo>
                      <a:pt x="149" y="157"/>
                      <a:pt x="149" y="156"/>
                      <a:pt x="149" y="156"/>
                    </a:cubicBezTo>
                    <a:cubicBezTo>
                      <a:pt x="149" y="157"/>
                      <a:pt x="148" y="156"/>
                      <a:pt x="148" y="155"/>
                    </a:cubicBezTo>
                    <a:cubicBezTo>
                      <a:pt x="147" y="155"/>
                      <a:pt x="147" y="157"/>
                      <a:pt x="147" y="157"/>
                    </a:cubicBezTo>
                    <a:cubicBezTo>
                      <a:pt x="146" y="156"/>
                      <a:pt x="146" y="155"/>
                      <a:pt x="146" y="156"/>
                    </a:cubicBezTo>
                    <a:cubicBezTo>
                      <a:pt x="145" y="156"/>
                      <a:pt x="144" y="155"/>
                      <a:pt x="144" y="156"/>
                    </a:cubicBezTo>
                    <a:cubicBezTo>
                      <a:pt x="144" y="156"/>
                      <a:pt x="145" y="157"/>
                      <a:pt x="144" y="157"/>
                    </a:cubicBezTo>
                    <a:cubicBezTo>
                      <a:pt x="144" y="157"/>
                      <a:pt x="143" y="157"/>
                      <a:pt x="143" y="157"/>
                    </a:cubicBezTo>
                    <a:cubicBezTo>
                      <a:pt x="143" y="158"/>
                      <a:pt x="144" y="158"/>
                      <a:pt x="145" y="158"/>
                    </a:cubicBezTo>
                    <a:cubicBezTo>
                      <a:pt x="144" y="158"/>
                      <a:pt x="144" y="158"/>
                      <a:pt x="144" y="159"/>
                    </a:cubicBezTo>
                    <a:cubicBezTo>
                      <a:pt x="144" y="159"/>
                      <a:pt x="146" y="159"/>
                      <a:pt x="145" y="160"/>
                    </a:cubicBezTo>
                    <a:cubicBezTo>
                      <a:pt x="146" y="160"/>
                      <a:pt x="146" y="160"/>
                      <a:pt x="146" y="161"/>
                    </a:cubicBezTo>
                    <a:cubicBezTo>
                      <a:pt x="146" y="161"/>
                      <a:pt x="146" y="161"/>
                      <a:pt x="146" y="161"/>
                    </a:cubicBezTo>
                    <a:cubicBezTo>
                      <a:pt x="146" y="162"/>
                      <a:pt x="145" y="162"/>
                      <a:pt x="145" y="162"/>
                    </a:cubicBezTo>
                    <a:cubicBezTo>
                      <a:pt x="145" y="162"/>
                      <a:pt x="146" y="162"/>
                      <a:pt x="147" y="163"/>
                    </a:cubicBezTo>
                    <a:cubicBezTo>
                      <a:pt x="147" y="163"/>
                      <a:pt x="145" y="163"/>
                      <a:pt x="145" y="163"/>
                    </a:cubicBezTo>
                    <a:cubicBezTo>
                      <a:pt x="145" y="163"/>
                      <a:pt x="145" y="163"/>
                      <a:pt x="145" y="163"/>
                    </a:cubicBezTo>
                    <a:cubicBezTo>
                      <a:pt x="145" y="163"/>
                      <a:pt x="144" y="163"/>
                      <a:pt x="144" y="163"/>
                    </a:cubicBezTo>
                    <a:cubicBezTo>
                      <a:pt x="143" y="163"/>
                      <a:pt x="143" y="163"/>
                      <a:pt x="142" y="163"/>
                    </a:cubicBezTo>
                    <a:cubicBezTo>
                      <a:pt x="142" y="164"/>
                      <a:pt x="141" y="164"/>
                      <a:pt x="140" y="163"/>
                    </a:cubicBezTo>
                    <a:cubicBezTo>
                      <a:pt x="140" y="163"/>
                      <a:pt x="139" y="163"/>
                      <a:pt x="139" y="163"/>
                    </a:cubicBezTo>
                    <a:cubicBezTo>
                      <a:pt x="139" y="163"/>
                      <a:pt x="138" y="163"/>
                      <a:pt x="137" y="164"/>
                    </a:cubicBezTo>
                    <a:cubicBezTo>
                      <a:pt x="137" y="164"/>
                      <a:pt x="138" y="164"/>
                      <a:pt x="138" y="164"/>
                    </a:cubicBezTo>
                    <a:cubicBezTo>
                      <a:pt x="138" y="164"/>
                      <a:pt x="138" y="165"/>
                      <a:pt x="139" y="165"/>
                    </a:cubicBezTo>
                    <a:cubicBezTo>
                      <a:pt x="139" y="165"/>
                      <a:pt x="140" y="165"/>
                      <a:pt x="140" y="165"/>
                    </a:cubicBezTo>
                    <a:cubicBezTo>
                      <a:pt x="141" y="165"/>
                      <a:pt x="140" y="166"/>
                      <a:pt x="141" y="166"/>
                    </a:cubicBezTo>
                    <a:cubicBezTo>
                      <a:pt x="141" y="166"/>
                      <a:pt x="141" y="165"/>
                      <a:pt x="141" y="165"/>
                    </a:cubicBezTo>
                    <a:cubicBezTo>
                      <a:pt x="142" y="165"/>
                      <a:pt x="142" y="165"/>
                      <a:pt x="143" y="165"/>
                    </a:cubicBezTo>
                    <a:cubicBezTo>
                      <a:pt x="143" y="165"/>
                      <a:pt x="144" y="165"/>
                      <a:pt x="144" y="166"/>
                    </a:cubicBezTo>
                    <a:cubicBezTo>
                      <a:pt x="144" y="166"/>
                      <a:pt x="143" y="166"/>
                      <a:pt x="143" y="166"/>
                    </a:cubicBezTo>
                    <a:cubicBezTo>
                      <a:pt x="143" y="167"/>
                      <a:pt x="143" y="167"/>
                      <a:pt x="143" y="167"/>
                    </a:cubicBezTo>
                    <a:cubicBezTo>
                      <a:pt x="143" y="167"/>
                      <a:pt x="143" y="167"/>
                      <a:pt x="142" y="167"/>
                    </a:cubicBezTo>
                    <a:cubicBezTo>
                      <a:pt x="142" y="167"/>
                      <a:pt x="142" y="167"/>
                      <a:pt x="141" y="167"/>
                    </a:cubicBezTo>
                    <a:cubicBezTo>
                      <a:pt x="142" y="167"/>
                      <a:pt x="142" y="167"/>
                      <a:pt x="143" y="167"/>
                    </a:cubicBezTo>
                    <a:cubicBezTo>
                      <a:pt x="143" y="167"/>
                      <a:pt x="143" y="168"/>
                      <a:pt x="143" y="168"/>
                    </a:cubicBezTo>
                    <a:cubicBezTo>
                      <a:pt x="143" y="168"/>
                      <a:pt x="142" y="169"/>
                      <a:pt x="143" y="169"/>
                    </a:cubicBezTo>
                    <a:cubicBezTo>
                      <a:pt x="143" y="169"/>
                      <a:pt x="142" y="170"/>
                      <a:pt x="142" y="170"/>
                    </a:cubicBezTo>
                    <a:cubicBezTo>
                      <a:pt x="142" y="169"/>
                      <a:pt x="141" y="170"/>
                      <a:pt x="141" y="170"/>
                    </a:cubicBezTo>
                    <a:cubicBezTo>
                      <a:pt x="140" y="170"/>
                      <a:pt x="139" y="169"/>
                      <a:pt x="138" y="169"/>
                    </a:cubicBezTo>
                    <a:cubicBezTo>
                      <a:pt x="138" y="169"/>
                      <a:pt x="137" y="169"/>
                      <a:pt x="137" y="169"/>
                    </a:cubicBezTo>
                    <a:cubicBezTo>
                      <a:pt x="137" y="168"/>
                      <a:pt x="137" y="168"/>
                      <a:pt x="137" y="168"/>
                    </a:cubicBezTo>
                    <a:cubicBezTo>
                      <a:pt x="136" y="168"/>
                      <a:pt x="136" y="168"/>
                      <a:pt x="136" y="168"/>
                    </a:cubicBezTo>
                    <a:cubicBezTo>
                      <a:pt x="136" y="168"/>
                      <a:pt x="135" y="169"/>
                      <a:pt x="135" y="169"/>
                    </a:cubicBezTo>
                    <a:cubicBezTo>
                      <a:pt x="135" y="169"/>
                      <a:pt x="136" y="169"/>
                      <a:pt x="137" y="169"/>
                    </a:cubicBezTo>
                    <a:cubicBezTo>
                      <a:pt x="137" y="169"/>
                      <a:pt x="138" y="170"/>
                      <a:pt x="139" y="170"/>
                    </a:cubicBezTo>
                    <a:cubicBezTo>
                      <a:pt x="139" y="170"/>
                      <a:pt x="139" y="170"/>
                      <a:pt x="140" y="170"/>
                    </a:cubicBezTo>
                    <a:cubicBezTo>
                      <a:pt x="140" y="170"/>
                      <a:pt x="140" y="171"/>
                      <a:pt x="140" y="171"/>
                    </a:cubicBezTo>
                    <a:cubicBezTo>
                      <a:pt x="140" y="171"/>
                      <a:pt x="140" y="171"/>
                      <a:pt x="141" y="171"/>
                    </a:cubicBezTo>
                    <a:cubicBezTo>
                      <a:pt x="141" y="171"/>
                      <a:pt x="140" y="172"/>
                      <a:pt x="140" y="171"/>
                    </a:cubicBezTo>
                    <a:cubicBezTo>
                      <a:pt x="140" y="171"/>
                      <a:pt x="139" y="171"/>
                      <a:pt x="139" y="171"/>
                    </a:cubicBezTo>
                    <a:cubicBezTo>
                      <a:pt x="138" y="171"/>
                      <a:pt x="138" y="171"/>
                      <a:pt x="138" y="171"/>
                    </a:cubicBezTo>
                    <a:cubicBezTo>
                      <a:pt x="138" y="171"/>
                      <a:pt x="138" y="171"/>
                      <a:pt x="138" y="171"/>
                    </a:cubicBezTo>
                    <a:cubicBezTo>
                      <a:pt x="138" y="172"/>
                      <a:pt x="138" y="172"/>
                      <a:pt x="138" y="172"/>
                    </a:cubicBezTo>
                    <a:cubicBezTo>
                      <a:pt x="137" y="173"/>
                      <a:pt x="137" y="171"/>
                      <a:pt x="137" y="171"/>
                    </a:cubicBezTo>
                    <a:cubicBezTo>
                      <a:pt x="136" y="171"/>
                      <a:pt x="137" y="171"/>
                      <a:pt x="137" y="172"/>
                    </a:cubicBezTo>
                    <a:cubicBezTo>
                      <a:pt x="137" y="172"/>
                      <a:pt x="137" y="172"/>
                      <a:pt x="138" y="172"/>
                    </a:cubicBezTo>
                    <a:cubicBezTo>
                      <a:pt x="137" y="173"/>
                      <a:pt x="136" y="171"/>
                      <a:pt x="136" y="171"/>
                    </a:cubicBezTo>
                    <a:cubicBezTo>
                      <a:pt x="136" y="171"/>
                      <a:pt x="137" y="173"/>
                      <a:pt x="136" y="172"/>
                    </a:cubicBezTo>
                    <a:cubicBezTo>
                      <a:pt x="136" y="172"/>
                      <a:pt x="135" y="172"/>
                      <a:pt x="135" y="171"/>
                    </a:cubicBezTo>
                    <a:cubicBezTo>
                      <a:pt x="135" y="172"/>
                      <a:pt x="134" y="172"/>
                      <a:pt x="134" y="172"/>
                    </a:cubicBezTo>
                    <a:cubicBezTo>
                      <a:pt x="135" y="172"/>
                      <a:pt x="137" y="172"/>
                      <a:pt x="137" y="173"/>
                    </a:cubicBezTo>
                    <a:cubicBezTo>
                      <a:pt x="136" y="173"/>
                      <a:pt x="135" y="173"/>
                      <a:pt x="135" y="172"/>
                    </a:cubicBezTo>
                    <a:cubicBezTo>
                      <a:pt x="135" y="172"/>
                      <a:pt x="135" y="172"/>
                      <a:pt x="134" y="172"/>
                    </a:cubicBezTo>
                    <a:cubicBezTo>
                      <a:pt x="134" y="172"/>
                      <a:pt x="134" y="171"/>
                      <a:pt x="133" y="171"/>
                    </a:cubicBezTo>
                    <a:cubicBezTo>
                      <a:pt x="133" y="171"/>
                      <a:pt x="132" y="172"/>
                      <a:pt x="132" y="172"/>
                    </a:cubicBezTo>
                    <a:cubicBezTo>
                      <a:pt x="131" y="173"/>
                      <a:pt x="133" y="173"/>
                      <a:pt x="133" y="173"/>
                    </a:cubicBezTo>
                    <a:cubicBezTo>
                      <a:pt x="133" y="173"/>
                      <a:pt x="132" y="173"/>
                      <a:pt x="132" y="173"/>
                    </a:cubicBezTo>
                    <a:cubicBezTo>
                      <a:pt x="132" y="174"/>
                      <a:pt x="133" y="173"/>
                      <a:pt x="133" y="174"/>
                    </a:cubicBezTo>
                    <a:cubicBezTo>
                      <a:pt x="133" y="174"/>
                      <a:pt x="134" y="174"/>
                      <a:pt x="134" y="174"/>
                    </a:cubicBezTo>
                    <a:cubicBezTo>
                      <a:pt x="134" y="175"/>
                      <a:pt x="133" y="175"/>
                      <a:pt x="134" y="175"/>
                    </a:cubicBezTo>
                    <a:cubicBezTo>
                      <a:pt x="133" y="176"/>
                      <a:pt x="133" y="175"/>
                      <a:pt x="132" y="175"/>
                    </a:cubicBezTo>
                    <a:cubicBezTo>
                      <a:pt x="131" y="174"/>
                      <a:pt x="131" y="174"/>
                      <a:pt x="130" y="174"/>
                    </a:cubicBezTo>
                    <a:cubicBezTo>
                      <a:pt x="130" y="175"/>
                      <a:pt x="132" y="175"/>
                      <a:pt x="132" y="175"/>
                    </a:cubicBezTo>
                    <a:cubicBezTo>
                      <a:pt x="133" y="177"/>
                      <a:pt x="131" y="176"/>
                      <a:pt x="131" y="176"/>
                    </a:cubicBezTo>
                    <a:cubicBezTo>
                      <a:pt x="131" y="176"/>
                      <a:pt x="131" y="176"/>
                      <a:pt x="131" y="176"/>
                    </a:cubicBezTo>
                    <a:cubicBezTo>
                      <a:pt x="131" y="176"/>
                      <a:pt x="129" y="175"/>
                      <a:pt x="130" y="176"/>
                    </a:cubicBezTo>
                    <a:cubicBezTo>
                      <a:pt x="129" y="176"/>
                      <a:pt x="129" y="175"/>
                      <a:pt x="129" y="174"/>
                    </a:cubicBezTo>
                    <a:cubicBezTo>
                      <a:pt x="128" y="174"/>
                      <a:pt x="129" y="175"/>
                      <a:pt x="128" y="175"/>
                    </a:cubicBezTo>
                    <a:cubicBezTo>
                      <a:pt x="128" y="175"/>
                      <a:pt x="129" y="175"/>
                      <a:pt x="129" y="176"/>
                    </a:cubicBezTo>
                    <a:cubicBezTo>
                      <a:pt x="129" y="176"/>
                      <a:pt x="129" y="176"/>
                      <a:pt x="129" y="176"/>
                    </a:cubicBezTo>
                    <a:cubicBezTo>
                      <a:pt x="130" y="176"/>
                      <a:pt x="130" y="176"/>
                      <a:pt x="131" y="176"/>
                    </a:cubicBezTo>
                    <a:cubicBezTo>
                      <a:pt x="131" y="176"/>
                      <a:pt x="131" y="176"/>
                      <a:pt x="132" y="177"/>
                    </a:cubicBezTo>
                    <a:cubicBezTo>
                      <a:pt x="132" y="177"/>
                      <a:pt x="131" y="177"/>
                      <a:pt x="131" y="177"/>
                    </a:cubicBezTo>
                    <a:cubicBezTo>
                      <a:pt x="131" y="177"/>
                      <a:pt x="130" y="177"/>
                      <a:pt x="130" y="177"/>
                    </a:cubicBezTo>
                    <a:cubicBezTo>
                      <a:pt x="130" y="177"/>
                      <a:pt x="130" y="178"/>
                      <a:pt x="130" y="178"/>
                    </a:cubicBezTo>
                    <a:cubicBezTo>
                      <a:pt x="130" y="178"/>
                      <a:pt x="130" y="178"/>
                      <a:pt x="130" y="178"/>
                    </a:cubicBezTo>
                    <a:cubicBezTo>
                      <a:pt x="130" y="178"/>
                      <a:pt x="130" y="178"/>
                      <a:pt x="129" y="178"/>
                    </a:cubicBezTo>
                    <a:cubicBezTo>
                      <a:pt x="129" y="178"/>
                      <a:pt x="128" y="178"/>
                      <a:pt x="128" y="178"/>
                    </a:cubicBezTo>
                    <a:cubicBezTo>
                      <a:pt x="128" y="178"/>
                      <a:pt x="128" y="178"/>
                      <a:pt x="128" y="178"/>
                    </a:cubicBezTo>
                    <a:cubicBezTo>
                      <a:pt x="127" y="178"/>
                      <a:pt x="127" y="178"/>
                      <a:pt x="127" y="178"/>
                    </a:cubicBezTo>
                    <a:cubicBezTo>
                      <a:pt x="126" y="178"/>
                      <a:pt x="125" y="178"/>
                      <a:pt x="126" y="178"/>
                    </a:cubicBezTo>
                    <a:cubicBezTo>
                      <a:pt x="126" y="178"/>
                      <a:pt x="126" y="177"/>
                      <a:pt x="126" y="178"/>
                    </a:cubicBezTo>
                    <a:cubicBezTo>
                      <a:pt x="126" y="177"/>
                      <a:pt x="126" y="177"/>
                      <a:pt x="127" y="177"/>
                    </a:cubicBezTo>
                    <a:cubicBezTo>
                      <a:pt x="126" y="177"/>
                      <a:pt x="126" y="177"/>
                      <a:pt x="125" y="178"/>
                    </a:cubicBezTo>
                    <a:cubicBezTo>
                      <a:pt x="125" y="178"/>
                      <a:pt x="124" y="178"/>
                      <a:pt x="124" y="178"/>
                    </a:cubicBezTo>
                    <a:cubicBezTo>
                      <a:pt x="124" y="178"/>
                      <a:pt x="125" y="178"/>
                      <a:pt x="125" y="178"/>
                    </a:cubicBezTo>
                    <a:cubicBezTo>
                      <a:pt x="125" y="178"/>
                      <a:pt x="125" y="178"/>
                      <a:pt x="125" y="178"/>
                    </a:cubicBezTo>
                    <a:cubicBezTo>
                      <a:pt x="124" y="178"/>
                      <a:pt x="124" y="178"/>
                      <a:pt x="124" y="178"/>
                    </a:cubicBezTo>
                    <a:cubicBezTo>
                      <a:pt x="124" y="178"/>
                      <a:pt x="124" y="179"/>
                      <a:pt x="124" y="179"/>
                    </a:cubicBezTo>
                    <a:cubicBezTo>
                      <a:pt x="124" y="179"/>
                      <a:pt x="124" y="179"/>
                      <a:pt x="123" y="179"/>
                    </a:cubicBezTo>
                    <a:cubicBezTo>
                      <a:pt x="123" y="179"/>
                      <a:pt x="124" y="180"/>
                      <a:pt x="123" y="179"/>
                    </a:cubicBezTo>
                    <a:cubicBezTo>
                      <a:pt x="123" y="179"/>
                      <a:pt x="123" y="179"/>
                      <a:pt x="123" y="179"/>
                    </a:cubicBezTo>
                    <a:cubicBezTo>
                      <a:pt x="123" y="179"/>
                      <a:pt x="123" y="179"/>
                      <a:pt x="123" y="179"/>
                    </a:cubicBezTo>
                    <a:cubicBezTo>
                      <a:pt x="123" y="180"/>
                      <a:pt x="122" y="179"/>
                      <a:pt x="121" y="179"/>
                    </a:cubicBezTo>
                    <a:cubicBezTo>
                      <a:pt x="121" y="179"/>
                      <a:pt x="120" y="179"/>
                      <a:pt x="120" y="179"/>
                    </a:cubicBezTo>
                    <a:cubicBezTo>
                      <a:pt x="119" y="178"/>
                      <a:pt x="120" y="179"/>
                      <a:pt x="119" y="179"/>
                    </a:cubicBezTo>
                    <a:cubicBezTo>
                      <a:pt x="120" y="180"/>
                      <a:pt x="121" y="179"/>
                      <a:pt x="122" y="180"/>
                    </a:cubicBezTo>
                    <a:cubicBezTo>
                      <a:pt x="122" y="181"/>
                      <a:pt x="123" y="180"/>
                      <a:pt x="123" y="180"/>
                    </a:cubicBezTo>
                    <a:cubicBezTo>
                      <a:pt x="124" y="180"/>
                      <a:pt x="125" y="181"/>
                      <a:pt x="124" y="182"/>
                    </a:cubicBezTo>
                    <a:cubicBezTo>
                      <a:pt x="124" y="182"/>
                      <a:pt x="123" y="181"/>
                      <a:pt x="123" y="181"/>
                    </a:cubicBezTo>
                    <a:cubicBezTo>
                      <a:pt x="123" y="181"/>
                      <a:pt x="123" y="182"/>
                      <a:pt x="123" y="181"/>
                    </a:cubicBezTo>
                    <a:cubicBezTo>
                      <a:pt x="123" y="182"/>
                      <a:pt x="124" y="182"/>
                      <a:pt x="124" y="182"/>
                    </a:cubicBezTo>
                    <a:cubicBezTo>
                      <a:pt x="124" y="182"/>
                      <a:pt x="125" y="182"/>
                      <a:pt x="125" y="182"/>
                    </a:cubicBezTo>
                    <a:cubicBezTo>
                      <a:pt x="125" y="182"/>
                      <a:pt x="125" y="182"/>
                      <a:pt x="125" y="182"/>
                    </a:cubicBezTo>
                    <a:cubicBezTo>
                      <a:pt x="124" y="183"/>
                      <a:pt x="123" y="182"/>
                      <a:pt x="122" y="181"/>
                    </a:cubicBezTo>
                    <a:cubicBezTo>
                      <a:pt x="121" y="181"/>
                      <a:pt x="120" y="181"/>
                      <a:pt x="120" y="182"/>
                    </a:cubicBezTo>
                    <a:cubicBezTo>
                      <a:pt x="120" y="181"/>
                      <a:pt x="120" y="182"/>
                      <a:pt x="121" y="182"/>
                    </a:cubicBezTo>
                    <a:cubicBezTo>
                      <a:pt x="121" y="182"/>
                      <a:pt x="121" y="183"/>
                      <a:pt x="122" y="183"/>
                    </a:cubicBezTo>
                    <a:cubicBezTo>
                      <a:pt x="122" y="183"/>
                      <a:pt x="122" y="183"/>
                      <a:pt x="123" y="183"/>
                    </a:cubicBezTo>
                    <a:cubicBezTo>
                      <a:pt x="123" y="183"/>
                      <a:pt x="124" y="183"/>
                      <a:pt x="124" y="183"/>
                    </a:cubicBezTo>
                    <a:cubicBezTo>
                      <a:pt x="124" y="183"/>
                      <a:pt x="124" y="183"/>
                      <a:pt x="124" y="184"/>
                    </a:cubicBezTo>
                    <a:cubicBezTo>
                      <a:pt x="124" y="184"/>
                      <a:pt x="123" y="185"/>
                      <a:pt x="123" y="185"/>
                    </a:cubicBezTo>
                    <a:cubicBezTo>
                      <a:pt x="123" y="185"/>
                      <a:pt x="123" y="185"/>
                      <a:pt x="123" y="185"/>
                    </a:cubicBezTo>
                    <a:cubicBezTo>
                      <a:pt x="123" y="185"/>
                      <a:pt x="123" y="185"/>
                      <a:pt x="122" y="185"/>
                    </a:cubicBezTo>
                    <a:cubicBezTo>
                      <a:pt x="122" y="185"/>
                      <a:pt x="122" y="186"/>
                      <a:pt x="122" y="186"/>
                    </a:cubicBezTo>
                    <a:cubicBezTo>
                      <a:pt x="122" y="186"/>
                      <a:pt x="122" y="186"/>
                      <a:pt x="121" y="186"/>
                    </a:cubicBezTo>
                    <a:cubicBezTo>
                      <a:pt x="122" y="186"/>
                      <a:pt x="121" y="186"/>
                      <a:pt x="121" y="187"/>
                    </a:cubicBezTo>
                    <a:cubicBezTo>
                      <a:pt x="122" y="187"/>
                      <a:pt x="123" y="186"/>
                      <a:pt x="124" y="186"/>
                    </a:cubicBezTo>
                    <a:cubicBezTo>
                      <a:pt x="124" y="186"/>
                      <a:pt x="124" y="186"/>
                      <a:pt x="124" y="187"/>
                    </a:cubicBezTo>
                    <a:cubicBezTo>
                      <a:pt x="123" y="187"/>
                      <a:pt x="122" y="187"/>
                      <a:pt x="122" y="187"/>
                    </a:cubicBezTo>
                    <a:cubicBezTo>
                      <a:pt x="122" y="187"/>
                      <a:pt x="123" y="187"/>
                      <a:pt x="123" y="188"/>
                    </a:cubicBezTo>
                    <a:cubicBezTo>
                      <a:pt x="122" y="188"/>
                      <a:pt x="121" y="189"/>
                      <a:pt x="120" y="189"/>
                    </a:cubicBezTo>
                    <a:cubicBezTo>
                      <a:pt x="119" y="189"/>
                      <a:pt x="118" y="187"/>
                      <a:pt x="118" y="189"/>
                    </a:cubicBezTo>
                    <a:cubicBezTo>
                      <a:pt x="119" y="188"/>
                      <a:pt x="119" y="189"/>
                      <a:pt x="119" y="189"/>
                    </a:cubicBezTo>
                    <a:cubicBezTo>
                      <a:pt x="120" y="189"/>
                      <a:pt x="120" y="189"/>
                      <a:pt x="121" y="189"/>
                    </a:cubicBezTo>
                    <a:cubicBezTo>
                      <a:pt x="121" y="189"/>
                      <a:pt x="122" y="189"/>
                      <a:pt x="122" y="189"/>
                    </a:cubicBezTo>
                    <a:cubicBezTo>
                      <a:pt x="122" y="189"/>
                      <a:pt x="121" y="189"/>
                      <a:pt x="121" y="190"/>
                    </a:cubicBezTo>
                    <a:cubicBezTo>
                      <a:pt x="121" y="190"/>
                      <a:pt x="121" y="190"/>
                      <a:pt x="121" y="190"/>
                    </a:cubicBezTo>
                    <a:cubicBezTo>
                      <a:pt x="121" y="190"/>
                      <a:pt x="121" y="190"/>
                      <a:pt x="120" y="190"/>
                    </a:cubicBezTo>
                    <a:cubicBezTo>
                      <a:pt x="120" y="190"/>
                      <a:pt x="120" y="190"/>
                      <a:pt x="121" y="190"/>
                    </a:cubicBezTo>
                    <a:cubicBezTo>
                      <a:pt x="120" y="190"/>
                      <a:pt x="120" y="190"/>
                      <a:pt x="120" y="190"/>
                    </a:cubicBezTo>
                    <a:cubicBezTo>
                      <a:pt x="121" y="191"/>
                      <a:pt x="115" y="190"/>
                      <a:pt x="115" y="190"/>
                    </a:cubicBezTo>
                    <a:cubicBezTo>
                      <a:pt x="116" y="191"/>
                      <a:pt x="118" y="191"/>
                      <a:pt x="119" y="191"/>
                    </a:cubicBezTo>
                    <a:cubicBezTo>
                      <a:pt x="118" y="192"/>
                      <a:pt x="120" y="192"/>
                      <a:pt x="120" y="192"/>
                    </a:cubicBezTo>
                    <a:cubicBezTo>
                      <a:pt x="120" y="192"/>
                      <a:pt x="117" y="193"/>
                      <a:pt x="117" y="193"/>
                    </a:cubicBezTo>
                    <a:cubicBezTo>
                      <a:pt x="118" y="193"/>
                      <a:pt x="117" y="193"/>
                      <a:pt x="117" y="193"/>
                    </a:cubicBezTo>
                    <a:cubicBezTo>
                      <a:pt x="116" y="193"/>
                      <a:pt x="116" y="193"/>
                      <a:pt x="116" y="193"/>
                    </a:cubicBezTo>
                    <a:cubicBezTo>
                      <a:pt x="115" y="193"/>
                      <a:pt x="114" y="193"/>
                      <a:pt x="113" y="193"/>
                    </a:cubicBezTo>
                    <a:cubicBezTo>
                      <a:pt x="114" y="193"/>
                      <a:pt x="115" y="193"/>
                      <a:pt x="116" y="193"/>
                    </a:cubicBezTo>
                    <a:cubicBezTo>
                      <a:pt x="116" y="194"/>
                      <a:pt x="115" y="193"/>
                      <a:pt x="115" y="194"/>
                    </a:cubicBezTo>
                    <a:cubicBezTo>
                      <a:pt x="116" y="194"/>
                      <a:pt x="117" y="193"/>
                      <a:pt x="118" y="194"/>
                    </a:cubicBezTo>
                    <a:cubicBezTo>
                      <a:pt x="116" y="194"/>
                      <a:pt x="115" y="194"/>
                      <a:pt x="113" y="194"/>
                    </a:cubicBezTo>
                    <a:cubicBezTo>
                      <a:pt x="114" y="195"/>
                      <a:pt x="116" y="194"/>
                      <a:pt x="117" y="195"/>
                    </a:cubicBezTo>
                    <a:cubicBezTo>
                      <a:pt x="116" y="195"/>
                      <a:pt x="116" y="195"/>
                      <a:pt x="115" y="195"/>
                    </a:cubicBezTo>
                    <a:cubicBezTo>
                      <a:pt x="114" y="195"/>
                      <a:pt x="114" y="195"/>
                      <a:pt x="113" y="195"/>
                    </a:cubicBezTo>
                    <a:cubicBezTo>
                      <a:pt x="113" y="195"/>
                      <a:pt x="112" y="195"/>
                      <a:pt x="111" y="195"/>
                    </a:cubicBezTo>
                    <a:cubicBezTo>
                      <a:pt x="111" y="195"/>
                      <a:pt x="110" y="195"/>
                      <a:pt x="109" y="195"/>
                    </a:cubicBezTo>
                    <a:cubicBezTo>
                      <a:pt x="110" y="195"/>
                      <a:pt x="111" y="195"/>
                      <a:pt x="112" y="195"/>
                    </a:cubicBezTo>
                    <a:cubicBezTo>
                      <a:pt x="112" y="195"/>
                      <a:pt x="114" y="195"/>
                      <a:pt x="114" y="196"/>
                    </a:cubicBezTo>
                    <a:cubicBezTo>
                      <a:pt x="114" y="195"/>
                      <a:pt x="115" y="195"/>
                      <a:pt x="116" y="196"/>
                    </a:cubicBezTo>
                    <a:cubicBezTo>
                      <a:pt x="115" y="196"/>
                      <a:pt x="116" y="196"/>
                      <a:pt x="116" y="196"/>
                    </a:cubicBezTo>
                    <a:cubicBezTo>
                      <a:pt x="116" y="196"/>
                      <a:pt x="116" y="196"/>
                      <a:pt x="115" y="196"/>
                    </a:cubicBezTo>
                    <a:cubicBezTo>
                      <a:pt x="115" y="196"/>
                      <a:pt x="115" y="197"/>
                      <a:pt x="115" y="197"/>
                    </a:cubicBezTo>
                    <a:cubicBezTo>
                      <a:pt x="115" y="197"/>
                      <a:pt x="113" y="197"/>
                      <a:pt x="112" y="197"/>
                    </a:cubicBezTo>
                    <a:cubicBezTo>
                      <a:pt x="112" y="197"/>
                      <a:pt x="110" y="196"/>
                      <a:pt x="109" y="197"/>
                    </a:cubicBezTo>
                    <a:cubicBezTo>
                      <a:pt x="110" y="197"/>
                      <a:pt x="112" y="197"/>
                      <a:pt x="112" y="198"/>
                    </a:cubicBezTo>
                    <a:cubicBezTo>
                      <a:pt x="113" y="198"/>
                      <a:pt x="114" y="198"/>
                      <a:pt x="114" y="198"/>
                    </a:cubicBezTo>
                    <a:cubicBezTo>
                      <a:pt x="115" y="198"/>
                      <a:pt x="113" y="198"/>
                      <a:pt x="114" y="198"/>
                    </a:cubicBezTo>
                    <a:cubicBezTo>
                      <a:pt x="113" y="198"/>
                      <a:pt x="113" y="198"/>
                      <a:pt x="112" y="198"/>
                    </a:cubicBezTo>
                    <a:cubicBezTo>
                      <a:pt x="111" y="198"/>
                      <a:pt x="110" y="198"/>
                      <a:pt x="109" y="198"/>
                    </a:cubicBezTo>
                    <a:cubicBezTo>
                      <a:pt x="109" y="198"/>
                      <a:pt x="111" y="198"/>
                      <a:pt x="111" y="198"/>
                    </a:cubicBezTo>
                    <a:cubicBezTo>
                      <a:pt x="111" y="198"/>
                      <a:pt x="112" y="198"/>
                      <a:pt x="113" y="198"/>
                    </a:cubicBezTo>
                    <a:cubicBezTo>
                      <a:pt x="113" y="198"/>
                      <a:pt x="114" y="199"/>
                      <a:pt x="114" y="199"/>
                    </a:cubicBezTo>
                    <a:cubicBezTo>
                      <a:pt x="114" y="199"/>
                      <a:pt x="113" y="200"/>
                      <a:pt x="113" y="200"/>
                    </a:cubicBezTo>
                    <a:cubicBezTo>
                      <a:pt x="112" y="200"/>
                      <a:pt x="111" y="199"/>
                      <a:pt x="110" y="199"/>
                    </a:cubicBezTo>
                    <a:cubicBezTo>
                      <a:pt x="110" y="200"/>
                      <a:pt x="112" y="200"/>
                      <a:pt x="112" y="200"/>
                    </a:cubicBezTo>
                    <a:cubicBezTo>
                      <a:pt x="113" y="200"/>
                      <a:pt x="113" y="199"/>
                      <a:pt x="114" y="199"/>
                    </a:cubicBezTo>
                    <a:cubicBezTo>
                      <a:pt x="114" y="200"/>
                      <a:pt x="113" y="200"/>
                      <a:pt x="113" y="200"/>
                    </a:cubicBezTo>
                    <a:cubicBezTo>
                      <a:pt x="112" y="200"/>
                      <a:pt x="111" y="200"/>
                      <a:pt x="111" y="200"/>
                    </a:cubicBezTo>
                    <a:cubicBezTo>
                      <a:pt x="112" y="200"/>
                      <a:pt x="112" y="200"/>
                      <a:pt x="113" y="200"/>
                    </a:cubicBezTo>
                    <a:cubicBezTo>
                      <a:pt x="112" y="201"/>
                      <a:pt x="111" y="200"/>
                      <a:pt x="111" y="201"/>
                    </a:cubicBezTo>
                    <a:cubicBezTo>
                      <a:pt x="111" y="201"/>
                      <a:pt x="111" y="201"/>
                      <a:pt x="111" y="201"/>
                    </a:cubicBezTo>
                    <a:cubicBezTo>
                      <a:pt x="111" y="201"/>
                      <a:pt x="110" y="200"/>
                      <a:pt x="109" y="201"/>
                    </a:cubicBezTo>
                    <a:cubicBezTo>
                      <a:pt x="109" y="201"/>
                      <a:pt x="110" y="201"/>
                      <a:pt x="110" y="201"/>
                    </a:cubicBezTo>
                    <a:cubicBezTo>
                      <a:pt x="109" y="202"/>
                      <a:pt x="108" y="201"/>
                      <a:pt x="108" y="201"/>
                    </a:cubicBezTo>
                    <a:cubicBezTo>
                      <a:pt x="107" y="201"/>
                      <a:pt x="107" y="200"/>
                      <a:pt x="107" y="200"/>
                    </a:cubicBezTo>
                    <a:cubicBezTo>
                      <a:pt x="107" y="200"/>
                      <a:pt x="107" y="199"/>
                      <a:pt x="107" y="199"/>
                    </a:cubicBezTo>
                    <a:cubicBezTo>
                      <a:pt x="107" y="200"/>
                      <a:pt x="107" y="201"/>
                      <a:pt x="106" y="201"/>
                    </a:cubicBezTo>
                    <a:cubicBezTo>
                      <a:pt x="106" y="200"/>
                      <a:pt x="105" y="200"/>
                      <a:pt x="104" y="200"/>
                    </a:cubicBezTo>
                    <a:cubicBezTo>
                      <a:pt x="104" y="200"/>
                      <a:pt x="103" y="200"/>
                      <a:pt x="103" y="200"/>
                    </a:cubicBezTo>
                    <a:cubicBezTo>
                      <a:pt x="103" y="200"/>
                      <a:pt x="103" y="200"/>
                      <a:pt x="103" y="200"/>
                    </a:cubicBezTo>
                    <a:cubicBezTo>
                      <a:pt x="103" y="201"/>
                      <a:pt x="106" y="200"/>
                      <a:pt x="105" y="202"/>
                    </a:cubicBezTo>
                    <a:cubicBezTo>
                      <a:pt x="106" y="202"/>
                      <a:pt x="105" y="201"/>
                      <a:pt x="106" y="201"/>
                    </a:cubicBezTo>
                    <a:cubicBezTo>
                      <a:pt x="106" y="201"/>
                      <a:pt x="109" y="201"/>
                      <a:pt x="109" y="202"/>
                    </a:cubicBezTo>
                    <a:cubicBezTo>
                      <a:pt x="109" y="202"/>
                      <a:pt x="108" y="202"/>
                      <a:pt x="107" y="202"/>
                    </a:cubicBezTo>
                    <a:cubicBezTo>
                      <a:pt x="107" y="203"/>
                      <a:pt x="107" y="203"/>
                      <a:pt x="106" y="203"/>
                    </a:cubicBezTo>
                    <a:cubicBezTo>
                      <a:pt x="107" y="203"/>
                      <a:pt x="107" y="203"/>
                      <a:pt x="108" y="203"/>
                    </a:cubicBezTo>
                    <a:cubicBezTo>
                      <a:pt x="108" y="202"/>
                      <a:pt x="109" y="202"/>
                      <a:pt x="109" y="202"/>
                    </a:cubicBezTo>
                    <a:cubicBezTo>
                      <a:pt x="110" y="202"/>
                      <a:pt x="110" y="203"/>
                      <a:pt x="110" y="203"/>
                    </a:cubicBezTo>
                    <a:cubicBezTo>
                      <a:pt x="109" y="203"/>
                      <a:pt x="109" y="202"/>
                      <a:pt x="108" y="202"/>
                    </a:cubicBezTo>
                    <a:cubicBezTo>
                      <a:pt x="108" y="203"/>
                      <a:pt x="110" y="203"/>
                      <a:pt x="110" y="203"/>
                    </a:cubicBezTo>
                    <a:cubicBezTo>
                      <a:pt x="110" y="203"/>
                      <a:pt x="110" y="203"/>
                      <a:pt x="109" y="203"/>
                    </a:cubicBezTo>
                    <a:cubicBezTo>
                      <a:pt x="110" y="204"/>
                      <a:pt x="110" y="204"/>
                      <a:pt x="110" y="204"/>
                    </a:cubicBezTo>
                    <a:cubicBezTo>
                      <a:pt x="109" y="204"/>
                      <a:pt x="109" y="204"/>
                      <a:pt x="108" y="204"/>
                    </a:cubicBezTo>
                    <a:cubicBezTo>
                      <a:pt x="108" y="204"/>
                      <a:pt x="109" y="204"/>
                      <a:pt x="109" y="204"/>
                    </a:cubicBezTo>
                    <a:cubicBezTo>
                      <a:pt x="109" y="204"/>
                      <a:pt x="109" y="205"/>
                      <a:pt x="109" y="205"/>
                    </a:cubicBezTo>
                    <a:cubicBezTo>
                      <a:pt x="109" y="205"/>
                      <a:pt x="109" y="204"/>
                      <a:pt x="109" y="205"/>
                    </a:cubicBezTo>
                    <a:cubicBezTo>
                      <a:pt x="109" y="205"/>
                      <a:pt x="109" y="205"/>
                      <a:pt x="109" y="205"/>
                    </a:cubicBezTo>
                    <a:cubicBezTo>
                      <a:pt x="110" y="205"/>
                      <a:pt x="107" y="205"/>
                      <a:pt x="107" y="205"/>
                    </a:cubicBezTo>
                    <a:cubicBezTo>
                      <a:pt x="107" y="205"/>
                      <a:pt x="106" y="205"/>
                      <a:pt x="106" y="205"/>
                    </a:cubicBezTo>
                    <a:cubicBezTo>
                      <a:pt x="106" y="205"/>
                      <a:pt x="106" y="204"/>
                      <a:pt x="105" y="204"/>
                    </a:cubicBezTo>
                    <a:cubicBezTo>
                      <a:pt x="105" y="204"/>
                      <a:pt x="105" y="205"/>
                      <a:pt x="105" y="205"/>
                    </a:cubicBezTo>
                    <a:cubicBezTo>
                      <a:pt x="105" y="205"/>
                      <a:pt x="104" y="205"/>
                      <a:pt x="104" y="205"/>
                    </a:cubicBezTo>
                    <a:cubicBezTo>
                      <a:pt x="103" y="205"/>
                      <a:pt x="102" y="204"/>
                      <a:pt x="101" y="205"/>
                    </a:cubicBezTo>
                    <a:cubicBezTo>
                      <a:pt x="101" y="204"/>
                      <a:pt x="103" y="203"/>
                      <a:pt x="103" y="203"/>
                    </a:cubicBezTo>
                    <a:cubicBezTo>
                      <a:pt x="103" y="203"/>
                      <a:pt x="103" y="203"/>
                      <a:pt x="103" y="202"/>
                    </a:cubicBezTo>
                    <a:cubicBezTo>
                      <a:pt x="103" y="202"/>
                      <a:pt x="102" y="203"/>
                      <a:pt x="102" y="203"/>
                    </a:cubicBezTo>
                    <a:cubicBezTo>
                      <a:pt x="102" y="204"/>
                      <a:pt x="102" y="204"/>
                      <a:pt x="102" y="203"/>
                    </a:cubicBezTo>
                    <a:cubicBezTo>
                      <a:pt x="101" y="203"/>
                      <a:pt x="101" y="203"/>
                      <a:pt x="101" y="203"/>
                    </a:cubicBezTo>
                    <a:cubicBezTo>
                      <a:pt x="101" y="203"/>
                      <a:pt x="101" y="203"/>
                      <a:pt x="101" y="204"/>
                    </a:cubicBezTo>
                    <a:cubicBezTo>
                      <a:pt x="101" y="204"/>
                      <a:pt x="101" y="204"/>
                      <a:pt x="100" y="204"/>
                    </a:cubicBezTo>
                    <a:cubicBezTo>
                      <a:pt x="101" y="204"/>
                      <a:pt x="100" y="205"/>
                      <a:pt x="99" y="205"/>
                    </a:cubicBezTo>
                    <a:cubicBezTo>
                      <a:pt x="100" y="205"/>
                      <a:pt x="100" y="205"/>
                      <a:pt x="100" y="205"/>
                    </a:cubicBezTo>
                    <a:cubicBezTo>
                      <a:pt x="100" y="206"/>
                      <a:pt x="100" y="206"/>
                      <a:pt x="100" y="206"/>
                    </a:cubicBezTo>
                    <a:cubicBezTo>
                      <a:pt x="99" y="206"/>
                      <a:pt x="99" y="207"/>
                      <a:pt x="99" y="206"/>
                    </a:cubicBezTo>
                    <a:cubicBezTo>
                      <a:pt x="99" y="206"/>
                      <a:pt x="99" y="206"/>
                      <a:pt x="100" y="206"/>
                    </a:cubicBezTo>
                    <a:cubicBezTo>
                      <a:pt x="99" y="206"/>
                      <a:pt x="99" y="207"/>
                      <a:pt x="98" y="207"/>
                    </a:cubicBezTo>
                    <a:cubicBezTo>
                      <a:pt x="98" y="206"/>
                      <a:pt x="99" y="206"/>
                      <a:pt x="99" y="205"/>
                    </a:cubicBezTo>
                    <a:cubicBezTo>
                      <a:pt x="99" y="206"/>
                      <a:pt x="98" y="207"/>
                      <a:pt x="98" y="206"/>
                    </a:cubicBezTo>
                    <a:cubicBezTo>
                      <a:pt x="98" y="206"/>
                      <a:pt x="99" y="205"/>
                      <a:pt x="99" y="205"/>
                    </a:cubicBezTo>
                    <a:cubicBezTo>
                      <a:pt x="99" y="205"/>
                      <a:pt x="99" y="205"/>
                      <a:pt x="99" y="205"/>
                    </a:cubicBezTo>
                    <a:cubicBezTo>
                      <a:pt x="98" y="206"/>
                      <a:pt x="98" y="206"/>
                      <a:pt x="97" y="206"/>
                    </a:cubicBezTo>
                    <a:cubicBezTo>
                      <a:pt x="96" y="207"/>
                      <a:pt x="97" y="206"/>
                      <a:pt x="97" y="205"/>
                    </a:cubicBezTo>
                    <a:cubicBezTo>
                      <a:pt x="96" y="205"/>
                      <a:pt x="97" y="207"/>
                      <a:pt x="96" y="206"/>
                    </a:cubicBezTo>
                    <a:cubicBezTo>
                      <a:pt x="95" y="206"/>
                      <a:pt x="95" y="205"/>
                      <a:pt x="96" y="205"/>
                    </a:cubicBezTo>
                    <a:cubicBezTo>
                      <a:pt x="95" y="205"/>
                      <a:pt x="95" y="205"/>
                      <a:pt x="95" y="206"/>
                    </a:cubicBezTo>
                    <a:cubicBezTo>
                      <a:pt x="95" y="206"/>
                      <a:pt x="95" y="206"/>
                      <a:pt x="94" y="206"/>
                    </a:cubicBezTo>
                    <a:cubicBezTo>
                      <a:pt x="95" y="206"/>
                      <a:pt x="95" y="206"/>
                      <a:pt x="95" y="205"/>
                    </a:cubicBezTo>
                    <a:cubicBezTo>
                      <a:pt x="94" y="205"/>
                      <a:pt x="93" y="206"/>
                      <a:pt x="93" y="205"/>
                    </a:cubicBezTo>
                    <a:cubicBezTo>
                      <a:pt x="94" y="205"/>
                      <a:pt x="94" y="205"/>
                      <a:pt x="95" y="204"/>
                    </a:cubicBezTo>
                    <a:cubicBezTo>
                      <a:pt x="96" y="204"/>
                      <a:pt x="97" y="204"/>
                      <a:pt x="97" y="204"/>
                    </a:cubicBezTo>
                    <a:cubicBezTo>
                      <a:pt x="97" y="204"/>
                      <a:pt x="96" y="204"/>
                      <a:pt x="96" y="204"/>
                    </a:cubicBezTo>
                    <a:cubicBezTo>
                      <a:pt x="97" y="204"/>
                      <a:pt x="97" y="204"/>
                      <a:pt x="97" y="203"/>
                    </a:cubicBezTo>
                    <a:cubicBezTo>
                      <a:pt x="98" y="203"/>
                      <a:pt x="98" y="203"/>
                      <a:pt x="98" y="202"/>
                    </a:cubicBezTo>
                    <a:cubicBezTo>
                      <a:pt x="99" y="202"/>
                      <a:pt x="100" y="201"/>
                      <a:pt x="100" y="201"/>
                    </a:cubicBezTo>
                    <a:cubicBezTo>
                      <a:pt x="99" y="201"/>
                      <a:pt x="98" y="202"/>
                      <a:pt x="97" y="203"/>
                    </a:cubicBezTo>
                    <a:cubicBezTo>
                      <a:pt x="96" y="204"/>
                      <a:pt x="96" y="204"/>
                      <a:pt x="95" y="204"/>
                    </a:cubicBezTo>
                    <a:cubicBezTo>
                      <a:pt x="95" y="204"/>
                      <a:pt x="94" y="204"/>
                      <a:pt x="94" y="204"/>
                    </a:cubicBezTo>
                    <a:cubicBezTo>
                      <a:pt x="94" y="205"/>
                      <a:pt x="93" y="205"/>
                      <a:pt x="93" y="205"/>
                    </a:cubicBezTo>
                    <a:cubicBezTo>
                      <a:pt x="93" y="205"/>
                      <a:pt x="93" y="205"/>
                      <a:pt x="93" y="204"/>
                    </a:cubicBezTo>
                    <a:cubicBezTo>
                      <a:pt x="93" y="205"/>
                      <a:pt x="94" y="204"/>
                      <a:pt x="94" y="204"/>
                    </a:cubicBezTo>
                    <a:cubicBezTo>
                      <a:pt x="94" y="204"/>
                      <a:pt x="95" y="203"/>
                      <a:pt x="95" y="203"/>
                    </a:cubicBezTo>
                    <a:cubicBezTo>
                      <a:pt x="96" y="203"/>
                      <a:pt x="96" y="202"/>
                      <a:pt x="97" y="202"/>
                    </a:cubicBezTo>
                    <a:cubicBezTo>
                      <a:pt x="97" y="202"/>
                      <a:pt x="97" y="202"/>
                      <a:pt x="96" y="201"/>
                    </a:cubicBezTo>
                    <a:cubicBezTo>
                      <a:pt x="97" y="201"/>
                      <a:pt x="98" y="201"/>
                      <a:pt x="98" y="200"/>
                    </a:cubicBezTo>
                    <a:cubicBezTo>
                      <a:pt x="98" y="200"/>
                      <a:pt x="98" y="200"/>
                      <a:pt x="99" y="200"/>
                    </a:cubicBezTo>
                    <a:cubicBezTo>
                      <a:pt x="99" y="199"/>
                      <a:pt x="99" y="199"/>
                      <a:pt x="100" y="199"/>
                    </a:cubicBezTo>
                    <a:cubicBezTo>
                      <a:pt x="99" y="199"/>
                      <a:pt x="98" y="200"/>
                      <a:pt x="98" y="200"/>
                    </a:cubicBezTo>
                    <a:cubicBezTo>
                      <a:pt x="97" y="201"/>
                      <a:pt x="96" y="201"/>
                      <a:pt x="95" y="202"/>
                    </a:cubicBezTo>
                    <a:cubicBezTo>
                      <a:pt x="95" y="202"/>
                      <a:pt x="94" y="202"/>
                      <a:pt x="94" y="202"/>
                    </a:cubicBezTo>
                    <a:cubicBezTo>
                      <a:pt x="94" y="201"/>
                      <a:pt x="96" y="200"/>
                      <a:pt x="96" y="200"/>
                    </a:cubicBezTo>
                    <a:cubicBezTo>
                      <a:pt x="96" y="200"/>
                      <a:pt x="95" y="200"/>
                      <a:pt x="95" y="200"/>
                    </a:cubicBezTo>
                    <a:cubicBezTo>
                      <a:pt x="95" y="200"/>
                      <a:pt x="95" y="201"/>
                      <a:pt x="94" y="200"/>
                    </a:cubicBezTo>
                    <a:cubicBezTo>
                      <a:pt x="94" y="200"/>
                      <a:pt x="93" y="201"/>
                      <a:pt x="92" y="201"/>
                    </a:cubicBezTo>
                    <a:cubicBezTo>
                      <a:pt x="93" y="201"/>
                      <a:pt x="93" y="200"/>
                      <a:pt x="94" y="200"/>
                    </a:cubicBezTo>
                    <a:cubicBezTo>
                      <a:pt x="95" y="200"/>
                      <a:pt x="96" y="200"/>
                      <a:pt x="96" y="199"/>
                    </a:cubicBezTo>
                    <a:cubicBezTo>
                      <a:pt x="96" y="199"/>
                      <a:pt x="95" y="200"/>
                      <a:pt x="95" y="199"/>
                    </a:cubicBezTo>
                    <a:cubicBezTo>
                      <a:pt x="94" y="199"/>
                      <a:pt x="94" y="200"/>
                      <a:pt x="94" y="200"/>
                    </a:cubicBezTo>
                    <a:cubicBezTo>
                      <a:pt x="93" y="200"/>
                      <a:pt x="92" y="201"/>
                      <a:pt x="92" y="201"/>
                    </a:cubicBezTo>
                    <a:cubicBezTo>
                      <a:pt x="91" y="201"/>
                      <a:pt x="92" y="201"/>
                      <a:pt x="91" y="201"/>
                    </a:cubicBezTo>
                    <a:cubicBezTo>
                      <a:pt x="91" y="201"/>
                      <a:pt x="92" y="201"/>
                      <a:pt x="92" y="200"/>
                    </a:cubicBezTo>
                    <a:cubicBezTo>
                      <a:pt x="92" y="200"/>
                      <a:pt x="91" y="201"/>
                      <a:pt x="91" y="200"/>
                    </a:cubicBezTo>
                    <a:cubicBezTo>
                      <a:pt x="91" y="200"/>
                      <a:pt x="92" y="200"/>
                      <a:pt x="92" y="200"/>
                    </a:cubicBezTo>
                    <a:cubicBezTo>
                      <a:pt x="92" y="200"/>
                      <a:pt x="91" y="200"/>
                      <a:pt x="91" y="200"/>
                    </a:cubicBezTo>
                    <a:cubicBezTo>
                      <a:pt x="92" y="200"/>
                      <a:pt x="92" y="200"/>
                      <a:pt x="92" y="199"/>
                    </a:cubicBezTo>
                    <a:cubicBezTo>
                      <a:pt x="92" y="199"/>
                      <a:pt x="91" y="200"/>
                      <a:pt x="90" y="199"/>
                    </a:cubicBezTo>
                    <a:cubicBezTo>
                      <a:pt x="91" y="199"/>
                      <a:pt x="91" y="199"/>
                      <a:pt x="91" y="199"/>
                    </a:cubicBezTo>
                    <a:cubicBezTo>
                      <a:pt x="92" y="199"/>
                      <a:pt x="92" y="199"/>
                      <a:pt x="93" y="199"/>
                    </a:cubicBezTo>
                    <a:cubicBezTo>
                      <a:pt x="92" y="198"/>
                      <a:pt x="93" y="198"/>
                      <a:pt x="93" y="198"/>
                    </a:cubicBezTo>
                    <a:cubicBezTo>
                      <a:pt x="94" y="198"/>
                      <a:pt x="94" y="198"/>
                      <a:pt x="94" y="197"/>
                    </a:cubicBezTo>
                    <a:cubicBezTo>
                      <a:pt x="95" y="197"/>
                      <a:pt x="95" y="197"/>
                      <a:pt x="96" y="197"/>
                    </a:cubicBezTo>
                    <a:cubicBezTo>
                      <a:pt x="96" y="197"/>
                      <a:pt x="96" y="197"/>
                      <a:pt x="96" y="197"/>
                    </a:cubicBezTo>
                    <a:cubicBezTo>
                      <a:pt x="96" y="197"/>
                      <a:pt x="95" y="197"/>
                      <a:pt x="95" y="197"/>
                    </a:cubicBezTo>
                    <a:cubicBezTo>
                      <a:pt x="95" y="197"/>
                      <a:pt x="96" y="196"/>
                      <a:pt x="95" y="196"/>
                    </a:cubicBezTo>
                    <a:cubicBezTo>
                      <a:pt x="95" y="196"/>
                      <a:pt x="94" y="197"/>
                      <a:pt x="94" y="197"/>
                    </a:cubicBezTo>
                    <a:cubicBezTo>
                      <a:pt x="94" y="197"/>
                      <a:pt x="91" y="199"/>
                      <a:pt x="90" y="199"/>
                    </a:cubicBezTo>
                    <a:cubicBezTo>
                      <a:pt x="90" y="198"/>
                      <a:pt x="91" y="198"/>
                      <a:pt x="92" y="198"/>
                    </a:cubicBezTo>
                    <a:cubicBezTo>
                      <a:pt x="90" y="197"/>
                      <a:pt x="89" y="200"/>
                      <a:pt x="88" y="199"/>
                    </a:cubicBezTo>
                    <a:cubicBezTo>
                      <a:pt x="87" y="198"/>
                      <a:pt x="89" y="198"/>
                      <a:pt x="89" y="198"/>
                    </a:cubicBezTo>
                    <a:cubicBezTo>
                      <a:pt x="90" y="198"/>
                      <a:pt x="91" y="198"/>
                      <a:pt x="91" y="197"/>
                    </a:cubicBezTo>
                    <a:cubicBezTo>
                      <a:pt x="91" y="197"/>
                      <a:pt x="90" y="197"/>
                      <a:pt x="90" y="198"/>
                    </a:cubicBezTo>
                    <a:cubicBezTo>
                      <a:pt x="89" y="198"/>
                      <a:pt x="89" y="198"/>
                      <a:pt x="88" y="198"/>
                    </a:cubicBezTo>
                    <a:cubicBezTo>
                      <a:pt x="89" y="197"/>
                      <a:pt x="92" y="197"/>
                      <a:pt x="93" y="197"/>
                    </a:cubicBezTo>
                    <a:cubicBezTo>
                      <a:pt x="94" y="196"/>
                      <a:pt x="95" y="196"/>
                      <a:pt x="96" y="195"/>
                    </a:cubicBezTo>
                    <a:cubicBezTo>
                      <a:pt x="96" y="195"/>
                      <a:pt x="97" y="195"/>
                      <a:pt x="97" y="194"/>
                    </a:cubicBezTo>
                    <a:cubicBezTo>
                      <a:pt x="97" y="194"/>
                      <a:pt x="96" y="195"/>
                      <a:pt x="96" y="195"/>
                    </a:cubicBezTo>
                    <a:cubicBezTo>
                      <a:pt x="95" y="195"/>
                      <a:pt x="96" y="194"/>
                      <a:pt x="95" y="194"/>
                    </a:cubicBezTo>
                    <a:cubicBezTo>
                      <a:pt x="95" y="194"/>
                      <a:pt x="95" y="195"/>
                      <a:pt x="95" y="195"/>
                    </a:cubicBezTo>
                    <a:cubicBezTo>
                      <a:pt x="94" y="196"/>
                      <a:pt x="93" y="196"/>
                      <a:pt x="92" y="196"/>
                    </a:cubicBezTo>
                    <a:cubicBezTo>
                      <a:pt x="92" y="197"/>
                      <a:pt x="91" y="197"/>
                      <a:pt x="91" y="197"/>
                    </a:cubicBezTo>
                    <a:cubicBezTo>
                      <a:pt x="91" y="197"/>
                      <a:pt x="90" y="197"/>
                      <a:pt x="90" y="197"/>
                    </a:cubicBezTo>
                    <a:cubicBezTo>
                      <a:pt x="89" y="196"/>
                      <a:pt x="93" y="196"/>
                      <a:pt x="93" y="195"/>
                    </a:cubicBezTo>
                    <a:cubicBezTo>
                      <a:pt x="93" y="195"/>
                      <a:pt x="93" y="195"/>
                      <a:pt x="93" y="195"/>
                    </a:cubicBezTo>
                    <a:cubicBezTo>
                      <a:pt x="93" y="195"/>
                      <a:pt x="93" y="195"/>
                      <a:pt x="93" y="195"/>
                    </a:cubicBezTo>
                    <a:cubicBezTo>
                      <a:pt x="93" y="195"/>
                      <a:pt x="94" y="195"/>
                      <a:pt x="94" y="195"/>
                    </a:cubicBezTo>
                    <a:cubicBezTo>
                      <a:pt x="94" y="194"/>
                      <a:pt x="93" y="194"/>
                      <a:pt x="93" y="195"/>
                    </a:cubicBezTo>
                    <a:cubicBezTo>
                      <a:pt x="93" y="194"/>
                      <a:pt x="93" y="194"/>
                      <a:pt x="92" y="194"/>
                    </a:cubicBezTo>
                    <a:cubicBezTo>
                      <a:pt x="93" y="194"/>
                      <a:pt x="94" y="193"/>
                      <a:pt x="94" y="193"/>
                    </a:cubicBezTo>
                    <a:cubicBezTo>
                      <a:pt x="93" y="193"/>
                      <a:pt x="93" y="194"/>
                      <a:pt x="92" y="194"/>
                    </a:cubicBezTo>
                    <a:cubicBezTo>
                      <a:pt x="92" y="194"/>
                      <a:pt x="91" y="193"/>
                      <a:pt x="91" y="194"/>
                    </a:cubicBezTo>
                    <a:cubicBezTo>
                      <a:pt x="91" y="194"/>
                      <a:pt x="92" y="194"/>
                      <a:pt x="92" y="195"/>
                    </a:cubicBezTo>
                    <a:cubicBezTo>
                      <a:pt x="92" y="195"/>
                      <a:pt x="92" y="195"/>
                      <a:pt x="91" y="195"/>
                    </a:cubicBezTo>
                    <a:cubicBezTo>
                      <a:pt x="92" y="195"/>
                      <a:pt x="91" y="196"/>
                      <a:pt x="90" y="196"/>
                    </a:cubicBezTo>
                    <a:cubicBezTo>
                      <a:pt x="90" y="196"/>
                      <a:pt x="89" y="195"/>
                      <a:pt x="89" y="195"/>
                    </a:cubicBezTo>
                    <a:cubicBezTo>
                      <a:pt x="89" y="195"/>
                      <a:pt x="90" y="196"/>
                      <a:pt x="89" y="196"/>
                    </a:cubicBezTo>
                    <a:cubicBezTo>
                      <a:pt x="88" y="197"/>
                      <a:pt x="89" y="195"/>
                      <a:pt x="88" y="195"/>
                    </a:cubicBezTo>
                    <a:cubicBezTo>
                      <a:pt x="88" y="195"/>
                      <a:pt x="88" y="196"/>
                      <a:pt x="87" y="196"/>
                    </a:cubicBezTo>
                    <a:cubicBezTo>
                      <a:pt x="87" y="196"/>
                      <a:pt x="88" y="196"/>
                      <a:pt x="87" y="196"/>
                    </a:cubicBezTo>
                    <a:cubicBezTo>
                      <a:pt x="86" y="196"/>
                      <a:pt x="86" y="196"/>
                      <a:pt x="86" y="196"/>
                    </a:cubicBezTo>
                    <a:cubicBezTo>
                      <a:pt x="86" y="197"/>
                      <a:pt x="86" y="196"/>
                      <a:pt x="85" y="196"/>
                    </a:cubicBezTo>
                    <a:cubicBezTo>
                      <a:pt x="86" y="197"/>
                      <a:pt x="86" y="197"/>
                      <a:pt x="86" y="197"/>
                    </a:cubicBezTo>
                    <a:cubicBezTo>
                      <a:pt x="85" y="197"/>
                      <a:pt x="85" y="197"/>
                      <a:pt x="85" y="197"/>
                    </a:cubicBezTo>
                    <a:cubicBezTo>
                      <a:pt x="85" y="197"/>
                      <a:pt x="84" y="197"/>
                      <a:pt x="85" y="197"/>
                    </a:cubicBezTo>
                    <a:cubicBezTo>
                      <a:pt x="84" y="197"/>
                      <a:pt x="84" y="197"/>
                      <a:pt x="83" y="197"/>
                    </a:cubicBezTo>
                    <a:cubicBezTo>
                      <a:pt x="84" y="197"/>
                      <a:pt x="84" y="197"/>
                      <a:pt x="84" y="197"/>
                    </a:cubicBezTo>
                    <a:cubicBezTo>
                      <a:pt x="84" y="198"/>
                      <a:pt x="84" y="198"/>
                      <a:pt x="84" y="198"/>
                    </a:cubicBezTo>
                    <a:cubicBezTo>
                      <a:pt x="83" y="198"/>
                      <a:pt x="82" y="198"/>
                      <a:pt x="83" y="198"/>
                    </a:cubicBezTo>
                    <a:cubicBezTo>
                      <a:pt x="83" y="198"/>
                      <a:pt x="82" y="198"/>
                      <a:pt x="82" y="198"/>
                    </a:cubicBezTo>
                    <a:cubicBezTo>
                      <a:pt x="82" y="198"/>
                      <a:pt x="83" y="198"/>
                      <a:pt x="83" y="197"/>
                    </a:cubicBezTo>
                    <a:cubicBezTo>
                      <a:pt x="83" y="198"/>
                      <a:pt x="83" y="198"/>
                      <a:pt x="82" y="198"/>
                    </a:cubicBezTo>
                    <a:cubicBezTo>
                      <a:pt x="82" y="198"/>
                      <a:pt x="82" y="197"/>
                      <a:pt x="82" y="197"/>
                    </a:cubicBezTo>
                    <a:cubicBezTo>
                      <a:pt x="82" y="197"/>
                      <a:pt x="83" y="197"/>
                      <a:pt x="83" y="197"/>
                    </a:cubicBezTo>
                    <a:cubicBezTo>
                      <a:pt x="83" y="196"/>
                      <a:pt x="82" y="197"/>
                      <a:pt x="82" y="197"/>
                    </a:cubicBezTo>
                    <a:cubicBezTo>
                      <a:pt x="82" y="197"/>
                      <a:pt x="82" y="197"/>
                      <a:pt x="82" y="196"/>
                    </a:cubicBezTo>
                    <a:cubicBezTo>
                      <a:pt x="82" y="196"/>
                      <a:pt x="81" y="197"/>
                      <a:pt x="81" y="197"/>
                    </a:cubicBezTo>
                    <a:cubicBezTo>
                      <a:pt x="80" y="197"/>
                      <a:pt x="81" y="197"/>
                      <a:pt x="80" y="197"/>
                    </a:cubicBezTo>
                    <a:cubicBezTo>
                      <a:pt x="80" y="197"/>
                      <a:pt x="79" y="197"/>
                      <a:pt x="79" y="197"/>
                    </a:cubicBezTo>
                    <a:cubicBezTo>
                      <a:pt x="79" y="197"/>
                      <a:pt x="78" y="197"/>
                      <a:pt x="78" y="197"/>
                    </a:cubicBezTo>
                    <a:cubicBezTo>
                      <a:pt x="78" y="197"/>
                      <a:pt x="77" y="197"/>
                      <a:pt x="77" y="197"/>
                    </a:cubicBezTo>
                    <a:cubicBezTo>
                      <a:pt x="76" y="197"/>
                      <a:pt x="76" y="197"/>
                      <a:pt x="76" y="197"/>
                    </a:cubicBezTo>
                    <a:cubicBezTo>
                      <a:pt x="76" y="197"/>
                      <a:pt x="76" y="197"/>
                      <a:pt x="77" y="197"/>
                    </a:cubicBezTo>
                    <a:cubicBezTo>
                      <a:pt x="77" y="197"/>
                      <a:pt x="77" y="198"/>
                      <a:pt x="76" y="198"/>
                    </a:cubicBezTo>
                    <a:cubicBezTo>
                      <a:pt x="77" y="197"/>
                      <a:pt x="79" y="197"/>
                      <a:pt x="80" y="198"/>
                    </a:cubicBezTo>
                    <a:cubicBezTo>
                      <a:pt x="79" y="198"/>
                      <a:pt x="78" y="198"/>
                      <a:pt x="77" y="198"/>
                    </a:cubicBezTo>
                    <a:cubicBezTo>
                      <a:pt x="76" y="198"/>
                      <a:pt x="76" y="198"/>
                      <a:pt x="75" y="198"/>
                    </a:cubicBezTo>
                    <a:cubicBezTo>
                      <a:pt x="75" y="198"/>
                      <a:pt x="75" y="198"/>
                      <a:pt x="75" y="198"/>
                    </a:cubicBezTo>
                    <a:cubicBezTo>
                      <a:pt x="75" y="197"/>
                      <a:pt x="74" y="198"/>
                      <a:pt x="74" y="198"/>
                    </a:cubicBezTo>
                    <a:cubicBezTo>
                      <a:pt x="74" y="198"/>
                      <a:pt x="74" y="198"/>
                      <a:pt x="75" y="198"/>
                    </a:cubicBezTo>
                    <a:cubicBezTo>
                      <a:pt x="75" y="198"/>
                      <a:pt x="75" y="198"/>
                      <a:pt x="75" y="198"/>
                    </a:cubicBezTo>
                    <a:cubicBezTo>
                      <a:pt x="75" y="198"/>
                      <a:pt x="76" y="198"/>
                      <a:pt x="76" y="198"/>
                    </a:cubicBezTo>
                    <a:cubicBezTo>
                      <a:pt x="76" y="198"/>
                      <a:pt x="75" y="199"/>
                      <a:pt x="75" y="199"/>
                    </a:cubicBezTo>
                    <a:cubicBezTo>
                      <a:pt x="76" y="199"/>
                      <a:pt x="76" y="199"/>
                      <a:pt x="77" y="199"/>
                    </a:cubicBezTo>
                    <a:cubicBezTo>
                      <a:pt x="76" y="199"/>
                      <a:pt x="75" y="199"/>
                      <a:pt x="74" y="199"/>
                    </a:cubicBezTo>
                    <a:cubicBezTo>
                      <a:pt x="75" y="199"/>
                      <a:pt x="75" y="199"/>
                      <a:pt x="75" y="199"/>
                    </a:cubicBezTo>
                    <a:cubicBezTo>
                      <a:pt x="74" y="199"/>
                      <a:pt x="74" y="199"/>
                      <a:pt x="74" y="199"/>
                    </a:cubicBezTo>
                    <a:cubicBezTo>
                      <a:pt x="74" y="199"/>
                      <a:pt x="73" y="199"/>
                      <a:pt x="73" y="199"/>
                    </a:cubicBezTo>
                    <a:cubicBezTo>
                      <a:pt x="73" y="199"/>
                      <a:pt x="73" y="199"/>
                      <a:pt x="73" y="199"/>
                    </a:cubicBezTo>
                    <a:cubicBezTo>
                      <a:pt x="73" y="198"/>
                      <a:pt x="73" y="198"/>
                      <a:pt x="72" y="198"/>
                    </a:cubicBezTo>
                    <a:cubicBezTo>
                      <a:pt x="73" y="198"/>
                      <a:pt x="73" y="198"/>
                      <a:pt x="73" y="198"/>
                    </a:cubicBezTo>
                    <a:cubicBezTo>
                      <a:pt x="73" y="198"/>
                      <a:pt x="73" y="198"/>
                      <a:pt x="73" y="198"/>
                    </a:cubicBezTo>
                    <a:cubicBezTo>
                      <a:pt x="73" y="197"/>
                      <a:pt x="74" y="197"/>
                      <a:pt x="75" y="197"/>
                    </a:cubicBezTo>
                    <a:cubicBezTo>
                      <a:pt x="75" y="197"/>
                      <a:pt x="77" y="197"/>
                      <a:pt x="77" y="196"/>
                    </a:cubicBezTo>
                    <a:cubicBezTo>
                      <a:pt x="76" y="196"/>
                      <a:pt x="75" y="196"/>
                      <a:pt x="74" y="197"/>
                    </a:cubicBezTo>
                    <a:cubicBezTo>
                      <a:pt x="74" y="196"/>
                      <a:pt x="72" y="196"/>
                      <a:pt x="72" y="196"/>
                    </a:cubicBezTo>
                    <a:cubicBezTo>
                      <a:pt x="72" y="196"/>
                      <a:pt x="74" y="196"/>
                      <a:pt x="74" y="196"/>
                    </a:cubicBezTo>
                    <a:cubicBezTo>
                      <a:pt x="75" y="196"/>
                      <a:pt x="76" y="196"/>
                      <a:pt x="76" y="196"/>
                    </a:cubicBezTo>
                    <a:cubicBezTo>
                      <a:pt x="77" y="195"/>
                      <a:pt x="76" y="196"/>
                      <a:pt x="76" y="196"/>
                    </a:cubicBezTo>
                    <a:cubicBezTo>
                      <a:pt x="76" y="195"/>
                      <a:pt x="77" y="195"/>
                      <a:pt x="78" y="194"/>
                    </a:cubicBezTo>
                    <a:cubicBezTo>
                      <a:pt x="77" y="194"/>
                      <a:pt x="76" y="195"/>
                      <a:pt x="75" y="195"/>
                    </a:cubicBezTo>
                    <a:cubicBezTo>
                      <a:pt x="74" y="195"/>
                      <a:pt x="75" y="195"/>
                      <a:pt x="75" y="194"/>
                    </a:cubicBezTo>
                    <a:cubicBezTo>
                      <a:pt x="74" y="195"/>
                      <a:pt x="74" y="194"/>
                      <a:pt x="75" y="194"/>
                    </a:cubicBezTo>
                    <a:cubicBezTo>
                      <a:pt x="75" y="194"/>
                      <a:pt x="75" y="194"/>
                      <a:pt x="76" y="193"/>
                    </a:cubicBezTo>
                    <a:cubicBezTo>
                      <a:pt x="76" y="193"/>
                      <a:pt x="77" y="193"/>
                      <a:pt x="77" y="193"/>
                    </a:cubicBezTo>
                    <a:cubicBezTo>
                      <a:pt x="76" y="193"/>
                      <a:pt x="76" y="193"/>
                      <a:pt x="75" y="193"/>
                    </a:cubicBezTo>
                    <a:cubicBezTo>
                      <a:pt x="75" y="193"/>
                      <a:pt x="75" y="194"/>
                      <a:pt x="75" y="194"/>
                    </a:cubicBezTo>
                    <a:cubicBezTo>
                      <a:pt x="75" y="194"/>
                      <a:pt x="74" y="194"/>
                      <a:pt x="74" y="194"/>
                    </a:cubicBezTo>
                    <a:cubicBezTo>
                      <a:pt x="74" y="194"/>
                      <a:pt x="74" y="194"/>
                      <a:pt x="74" y="195"/>
                    </a:cubicBezTo>
                    <a:cubicBezTo>
                      <a:pt x="74" y="195"/>
                      <a:pt x="73" y="195"/>
                      <a:pt x="72" y="195"/>
                    </a:cubicBezTo>
                    <a:cubicBezTo>
                      <a:pt x="72" y="195"/>
                      <a:pt x="74" y="194"/>
                      <a:pt x="74" y="194"/>
                    </a:cubicBezTo>
                    <a:cubicBezTo>
                      <a:pt x="73" y="194"/>
                      <a:pt x="73" y="194"/>
                      <a:pt x="72" y="194"/>
                    </a:cubicBezTo>
                    <a:cubicBezTo>
                      <a:pt x="72" y="194"/>
                      <a:pt x="72" y="194"/>
                      <a:pt x="72" y="194"/>
                    </a:cubicBezTo>
                    <a:cubicBezTo>
                      <a:pt x="72" y="194"/>
                      <a:pt x="72" y="194"/>
                      <a:pt x="72" y="194"/>
                    </a:cubicBezTo>
                    <a:cubicBezTo>
                      <a:pt x="72" y="194"/>
                      <a:pt x="72" y="194"/>
                      <a:pt x="72" y="193"/>
                    </a:cubicBezTo>
                    <a:cubicBezTo>
                      <a:pt x="72" y="194"/>
                      <a:pt x="72" y="194"/>
                      <a:pt x="71" y="194"/>
                    </a:cubicBezTo>
                    <a:cubicBezTo>
                      <a:pt x="71" y="193"/>
                      <a:pt x="73" y="194"/>
                      <a:pt x="73" y="193"/>
                    </a:cubicBezTo>
                    <a:cubicBezTo>
                      <a:pt x="73" y="193"/>
                      <a:pt x="73" y="193"/>
                      <a:pt x="73" y="193"/>
                    </a:cubicBezTo>
                    <a:cubicBezTo>
                      <a:pt x="73" y="192"/>
                      <a:pt x="74" y="193"/>
                      <a:pt x="74" y="192"/>
                    </a:cubicBezTo>
                    <a:cubicBezTo>
                      <a:pt x="74" y="193"/>
                      <a:pt x="73" y="192"/>
                      <a:pt x="73" y="192"/>
                    </a:cubicBezTo>
                    <a:cubicBezTo>
                      <a:pt x="73" y="192"/>
                      <a:pt x="73" y="192"/>
                      <a:pt x="72" y="192"/>
                    </a:cubicBezTo>
                    <a:cubicBezTo>
                      <a:pt x="72" y="192"/>
                      <a:pt x="72" y="192"/>
                      <a:pt x="72" y="192"/>
                    </a:cubicBezTo>
                    <a:cubicBezTo>
                      <a:pt x="72" y="192"/>
                      <a:pt x="72" y="192"/>
                      <a:pt x="72" y="192"/>
                    </a:cubicBezTo>
                    <a:cubicBezTo>
                      <a:pt x="72" y="192"/>
                      <a:pt x="71" y="192"/>
                      <a:pt x="70" y="192"/>
                    </a:cubicBezTo>
                    <a:cubicBezTo>
                      <a:pt x="70" y="192"/>
                      <a:pt x="70" y="192"/>
                      <a:pt x="70" y="192"/>
                    </a:cubicBezTo>
                    <a:cubicBezTo>
                      <a:pt x="70" y="192"/>
                      <a:pt x="69" y="193"/>
                      <a:pt x="69" y="193"/>
                    </a:cubicBezTo>
                    <a:cubicBezTo>
                      <a:pt x="69" y="192"/>
                      <a:pt x="69" y="192"/>
                      <a:pt x="70" y="192"/>
                    </a:cubicBezTo>
                    <a:cubicBezTo>
                      <a:pt x="69" y="192"/>
                      <a:pt x="69" y="192"/>
                      <a:pt x="69" y="192"/>
                    </a:cubicBezTo>
                    <a:cubicBezTo>
                      <a:pt x="70" y="192"/>
                      <a:pt x="71" y="192"/>
                      <a:pt x="72" y="191"/>
                    </a:cubicBezTo>
                    <a:cubicBezTo>
                      <a:pt x="73" y="191"/>
                      <a:pt x="75" y="191"/>
                      <a:pt x="76" y="191"/>
                    </a:cubicBezTo>
                    <a:cubicBezTo>
                      <a:pt x="75" y="191"/>
                      <a:pt x="74" y="191"/>
                      <a:pt x="74" y="191"/>
                    </a:cubicBezTo>
                    <a:cubicBezTo>
                      <a:pt x="74" y="191"/>
                      <a:pt x="75" y="191"/>
                      <a:pt x="75" y="191"/>
                    </a:cubicBezTo>
                    <a:cubicBezTo>
                      <a:pt x="76" y="190"/>
                      <a:pt x="74" y="190"/>
                      <a:pt x="74" y="190"/>
                    </a:cubicBezTo>
                    <a:cubicBezTo>
                      <a:pt x="73" y="191"/>
                      <a:pt x="71" y="191"/>
                      <a:pt x="69" y="192"/>
                    </a:cubicBezTo>
                    <a:cubicBezTo>
                      <a:pt x="70" y="191"/>
                      <a:pt x="68" y="191"/>
                      <a:pt x="69" y="191"/>
                    </a:cubicBezTo>
                    <a:cubicBezTo>
                      <a:pt x="69" y="191"/>
                      <a:pt x="68" y="191"/>
                      <a:pt x="68" y="191"/>
                    </a:cubicBezTo>
                    <a:cubicBezTo>
                      <a:pt x="68" y="190"/>
                      <a:pt x="69" y="190"/>
                      <a:pt x="70" y="190"/>
                    </a:cubicBezTo>
                    <a:cubicBezTo>
                      <a:pt x="71" y="190"/>
                      <a:pt x="72" y="190"/>
                      <a:pt x="73" y="190"/>
                    </a:cubicBezTo>
                    <a:cubicBezTo>
                      <a:pt x="72" y="189"/>
                      <a:pt x="71" y="190"/>
                      <a:pt x="70" y="190"/>
                    </a:cubicBezTo>
                    <a:cubicBezTo>
                      <a:pt x="70" y="190"/>
                      <a:pt x="71" y="190"/>
                      <a:pt x="71" y="190"/>
                    </a:cubicBezTo>
                    <a:cubicBezTo>
                      <a:pt x="70" y="190"/>
                      <a:pt x="70" y="190"/>
                      <a:pt x="70" y="190"/>
                    </a:cubicBezTo>
                    <a:cubicBezTo>
                      <a:pt x="70" y="189"/>
                      <a:pt x="70" y="189"/>
                      <a:pt x="70" y="189"/>
                    </a:cubicBezTo>
                    <a:cubicBezTo>
                      <a:pt x="71" y="189"/>
                      <a:pt x="71" y="189"/>
                      <a:pt x="71" y="189"/>
                    </a:cubicBezTo>
                    <a:cubicBezTo>
                      <a:pt x="72" y="189"/>
                      <a:pt x="71" y="189"/>
                      <a:pt x="72" y="188"/>
                    </a:cubicBezTo>
                    <a:cubicBezTo>
                      <a:pt x="71" y="188"/>
                      <a:pt x="71" y="189"/>
                      <a:pt x="71" y="189"/>
                    </a:cubicBezTo>
                    <a:cubicBezTo>
                      <a:pt x="70" y="189"/>
                      <a:pt x="70" y="189"/>
                      <a:pt x="69" y="189"/>
                    </a:cubicBezTo>
                    <a:cubicBezTo>
                      <a:pt x="70" y="189"/>
                      <a:pt x="70" y="189"/>
                      <a:pt x="70" y="188"/>
                    </a:cubicBezTo>
                    <a:cubicBezTo>
                      <a:pt x="70" y="188"/>
                      <a:pt x="71" y="188"/>
                      <a:pt x="71" y="188"/>
                    </a:cubicBezTo>
                    <a:cubicBezTo>
                      <a:pt x="72" y="187"/>
                      <a:pt x="72" y="187"/>
                      <a:pt x="72" y="187"/>
                    </a:cubicBezTo>
                    <a:cubicBezTo>
                      <a:pt x="72" y="187"/>
                      <a:pt x="74" y="187"/>
                      <a:pt x="74" y="186"/>
                    </a:cubicBezTo>
                    <a:cubicBezTo>
                      <a:pt x="73" y="186"/>
                      <a:pt x="72" y="186"/>
                      <a:pt x="72" y="187"/>
                    </a:cubicBezTo>
                    <a:cubicBezTo>
                      <a:pt x="71" y="187"/>
                      <a:pt x="70" y="187"/>
                      <a:pt x="70" y="188"/>
                    </a:cubicBezTo>
                    <a:cubicBezTo>
                      <a:pt x="69" y="188"/>
                      <a:pt x="69" y="190"/>
                      <a:pt x="68" y="189"/>
                    </a:cubicBezTo>
                    <a:cubicBezTo>
                      <a:pt x="68" y="188"/>
                      <a:pt x="70" y="187"/>
                      <a:pt x="70" y="187"/>
                    </a:cubicBezTo>
                    <a:cubicBezTo>
                      <a:pt x="69" y="187"/>
                      <a:pt x="69" y="188"/>
                      <a:pt x="68" y="188"/>
                    </a:cubicBezTo>
                    <a:cubicBezTo>
                      <a:pt x="67" y="188"/>
                      <a:pt x="69" y="187"/>
                      <a:pt x="69" y="187"/>
                    </a:cubicBezTo>
                    <a:cubicBezTo>
                      <a:pt x="69" y="187"/>
                      <a:pt x="69" y="187"/>
                      <a:pt x="68" y="187"/>
                    </a:cubicBezTo>
                    <a:cubicBezTo>
                      <a:pt x="69" y="186"/>
                      <a:pt x="70" y="187"/>
                      <a:pt x="71" y="186"/>
                    </a:cubicBezTo>
                    <a:cubicBezTo>
                      <a:pt x="72" y="186"/>
                      <a:pt x="72" y="186"/>
                      <a:pt x="72" y="186"/>
                    </a:cubicBezTo>
                    <a:cubicBezTo>
                      <a:pt x="73" y="186"/>
                      <a:pt x="73" y="186"/>
                      <a:pt x="73" y="185"/>
                    </a:cubicBezTo>
                    <a:cubicBezTo>
                      <a:pt x="73" y="185"/>
                      <a:pt x="73" y="185"/>
                      <a:pt x="72" y="185"/>
                    </a:cubicBezTo>
                    <a:cubicBezTo>
                      <a:pt x="72" y="185"/>
                      <a:pt x="72" y="185"/>
                      <a:pt x="73" y="185"/>
                    </a:cubicBezTo>
                    <a:cubicBezTo>
                      <a:pt x="72" y="185"/>
                      <a:pt x="71" y="185"/>
                      <a:pt x="71" y="185"/>
                    </a:cubicBezTo>
                    <a:cubicBezTo>
                      <a:pt x="71" y="185"/>
                      <a:pt x="72" y="184"/>
                      <a:pt x="73" y="184"/>
                    </a:cubicBezTo>
                    <a:cubicBezTo>
                      <a:pt x="71" y="184"/>
                      <a:pt x="71" y="186"/>
                      <a:pt x="71" y="186"/>
                    </a:cubicBezTo>
                    <a:cubicBezTo>
                      <a:pt x="70" y="186"/>
                      <a:pt x="69" y="186"/>
                      <a:pt x="69" y="186"/>
                    </a:cubicBezTo>
                    <a:cubicBezTo>
                      <a:pt x="69" y="186"/>
                      <a:pt x="69" y="186"/>
                      <a:pt x="69" y="186"/>
                    </a:cubicBezTo>
                    <a:cubicBezTo>
                      <a:pt x="69" y="186"/>
                      <a:pt x="69" y="186"/>
                      <a:pt x="69" y="186"/>
                    </a:cubicBezTo>
                    <a:cubicBezTo>
                      <a:pt x="68" y="186"/>
                      <a:pt x="68" y="186"/>
                      <a:pt x="67" y="186"/>
                    </a:cubicBezTo>
                    <a:cubicBezTo>
                      <a:pt x="66" y="186"/>
                      <a:pt x="68" y="186"/>
                      <a:pt x="68" y="186"/>
                    </a:cubicBezTo>
                    <a:cubicBezTo>
                      <a:pt x="68" y="186"/>
                      <a:pt x="67" y="186"/>
                      <a:pt x="67" y="186"/>
                    </a:cubicBezTo>
                    <a:cubicBezTo>
                      <a:pt x="68" y="186"/>
                      <a:pt x="68" y="186"/>
                      <a:pt x="69" y="185"/>
                    </a:cubicBezTo>
                    <a:cubicBezTo>
                      <a:pt x="68" y="185"/>
                      <a:pt x="67" y="186"/>
                      <a:pt x="67" y="185"/>
                    </a:cubicBezTo>
                    <a:cubicBezTo>
                      <a:pt x="67" y="185"/>
                      <a:pt x="69" y="185"/>
                      <a:pt x="70" y="185"/>
                    </a:cubicBezTo>
                    <a:cubicBezTo>
                      <a:pt x="69" y="185"/>
                      <a:pt x="69" y="185"/>
                      <a:pt x="69" y="185"/>
                    </a:cubicBezTo>
                    <a:cubicBezTo>
                      <a:pt x="69" y="185"/>
                      <a:pt x="71" y="184"/>
                      <a:pt x="70" y="185"/>
                    </a:cubicBezTo>
                    <a:cubicBezTo>
                      <a:pt x="70" y="184"/>
                      <a:pt x="70" y="184"/>
                      <a:pt x="70" y="184"/>
                    </a:cubicBezTo>
                    <a:cubicBezTo>
                      <a:pt x="70" y="184"/>
                      <a:pt x="69" y="184"/>
                      <a:pt x="69" y="185"/>
                    </a:cubicBezTo>
                    <a:cubicBezTo>
                      <a:pt x="69" y="185"/>
                      <a:pt x="68" y="185"/>
                      <a:pt x="67" y="185"/>
                    </a:cubicBezTo>
                    <a:cubicBezTo>
                      <a:pt x="68" y="185"/>
                      <a:pt x="68" y="184"/>
                      <a:pt x="69" y="184"/>
                    </a:cubicBezTo>
                    <a:cubicBezTo>
                      <a:pt x="70" y="184"/>
                      <a:pt x="71" y="184"/>
                      <a:pt x="71" y="184"/>
                    </a:cubicBezTo>
                    <a:cubicBezTo>
                      <a:pt x="70" y="184"/>
                      <a:pt x="69" y="184"/>
                      <a:pt x="69" y="184"/>
                    </a:cubicBezTo>
                    <a:cubicBezTo>
                      <a:pt x="69" y="184"/>
                      <a:pt x="69" y="183"/>
                      <a:pt x="69" y="183"/>
                    </a:cubicBezTo>
                    <a:cubicBezTo>
                      <a:pt x="69" y="183"/>
                      <a:pt x="68" y="184"/>
                      <a:pt x="68" y="184"/>
                    </a:cubicBezTo>
                    <a:cubicBezTo>
                      <a:pt x="67" y="184"/>
                      <a:pt x="66" y="184"/>
                      <a:pt x="66" y="184"/>
                    </a:cubicBezTo>
                    <a:cubicBezTo>
                      <a:pt x="66" y="184"/>
                      <a:pt x="67" y="184"/>
                      <a:pt x="67" y="183"/>
                    </a:cubicBezTo>
                    <a:cubicBezTo>
                      <a:pt x="67" y="184"/>
                      <a:pt x="66" y="183"/>
                      <a:pt x="66" y="183"/>
                    </a:cubicBezTo>
                    <a:cubicBezTo>
                      <a:pt x="66" y="183"/>
                      <a:pt x="66" y="183"/>
                      <a:pt x="66" y="183"/>
                    </a:cubicBezTo>
                    <a:cubicBezTo>
                      <a:pt x="65" y="183"/>
                      <a:pt x="66" y="183"/>
                      <a:pt x="65" y="183"/>
                    </a:cubicBezTo>
                    <a:cubicBezTo>
                      <a:pt x="65" y="182"/>
                      <a:pt x="64" y="182"/>
                      <a:pt x="64" y="181"/>
                    </a:cubicBezTo>
                    <a:cubicBezTo>
                      <a:pt x="65" y="181"/>
                      <a:pt x="65" y="180"/>
                      <a:pt x="66" y="179"/>
                    </a:cubicBezTo>
                    <a:cubicBezTo>
                      <a:pt x="67" y="179"/>
                      <a:pt x="69" y="178"/>
                      <a:pt x="69" y="177"/>
                    </a:cubicBezTo>
                    <a:cubicBezTo>
                      <a:pt x="69" y="178"/>
                      <a:pt x="67" y="179"/>
                      <a:pt x="67" y="178"/>
                    </a:cubicBezTo>
                    <a:cubicBezTo>
                      <a:pt x="66" y="179"/>
                      <a:pt x="66" y="179"/>
                      <a:pt x="65" y="179"/>
                    </a:cubicBezTo>
                    <a:cubicBezTo>
                      <a:pt x="65" y="178"/>
                      <a:pt x="67" y="177"/>
                      <a:pt x="68" y="177"/>
                    </a:cubicBezTo>
                    <a:cubicBezTo>
                      <a:pt x="69" y="177"/>
                      <a:pt x="71" y="177"/>
                      <a:pt x="71" y="176"/>
                    </a:cubicBezTo>
                    <a:cubicBezTo>
                      <a:pt x="70" y="176"/>
                      <a:pt x="69" y="176"/>
                      <a:pt x="68" y="177"/>
                    </a:cubicBezTo>
                    <a:cubicBezTo>
                      <a:pt x="67" y="177"/>
                      <a:pt x="66" y="178"/>
                      <a:pt x="65" y="178"/>
                    </a:cubicBezTo>
                    <a:cubicBezTo>
                      <a:pt x="65" y="178"/>
                      <a:pt x="65" y="178"/>
                      <a:pt x="65" y="178"/>
                    </a:cubicBezTo>
                    <a:cubicBezTo>
                      <a:pt x="65" y="178"/>
                      <a:pt x="66" y="177"/>
                      <a:pt x="66" y="177"/>
                    </a:cubicBezTo>
                    <a:cubicBezTo>
                      <a:pt x="66" y="177"/>
                      <a:pt x="67" y="177"/>
                      <a:pt x="67" y="176"/>
                    </a:cubicBezTo>
                    <a:cubicBezTo>
                      <a:pt x="67" y="176"/>
                      <a:pt x="68" y="176"/>
                      <a:pt x="67" y="176"/>
                    </a:cubicBezTo>
                    <a:cubicBezTo>
                      <a:pt x="67" y="176"/>
                      <a:pt x="67" y="176"/>
                      <a:pt x="67" y="176"/>
                    </a:cubicBezTo>
                    <a:cubicBezTo>
                      <a:pt x="66" y="177"/>
                      <a:pt x="65" y="177"/>
                      <a:pt x="64" y="177"/>
                    </a:cubicBezTo>
                    <a:cubicBezTo>
                      <a:pt x="64" y="176"/>
                      <a:pt x="65" y="176"/>
                      <a:pt x="65" y="176"/>
                    </a:cubicBezTo>
                    <a:cubicBezTo>
                      <a:pt x="64" y="176"/>
                      <a:pt x="64" y="176"/>
                      <a:pt x="65" y="175"/>
                    </a:cubicBezTo>
                    <a:cubicBezTo>
                      <a:pt x="65" y="175"/>
                      <a:pt x="66" y="175"/>
                      <a:pt x="66" y="175"/>
                    </a:cubicBezTo>
                    <a:cubicBezTo>
                      <a:pt x="66" y="174"/>
                      <a:pt x="69" y="174"/>
                      <a:pt x="69" y="174"/>
                    </a:cubicBezTo>
                    <a:cubicBezTo>
                      <a:pt x="69" y="174"/>
                      <a:pt x="68" y="174"/>
                      <a:pt x="67" y="174"/>
                    </a:cubicBezTo>
                    <a:cubicBezTo>
                      <a:pt x="67" y="174"/>
                      <a:pt x="66" y="175"/>
                      <a:pt x="66" y="174"/>
                    </a:cubicBezTo>
                    <a:cubicBezTo>
                      <a:pt x="65" y="174"/>
                      <a:pt x="63" y="175"/>
                      <a:pt x="63" y="175"/>
                    </a:cubicBezTo>
                    <a:cubicBezTo>
                      <a:pt x="62" y="175"/>
                      <a:pt x="64" y="174"/>
                      <a:pt x="64" y="174"/>
                    </a:cubicBezTo>
                    <a:cubicBezTo>
                      <a:pt x="63" y="174"/>
                      <a:pt x="63" y="175"/>
                      <a:pt x="62" y="175"/>
                    </a:cubicBezTo>
                    <a:cubicBezTo>
                      <a:pt x="61" y="175"/>
                      <a:pt x="62" y="174"/>
                      <a:pt x="63" y="174"/>
                    </a:cubicBezTo>
                    <a:cubicBezTo>
                      <a:pt x="62" y="174"/>
                      <a:pt x="62" y="174"/>
                      <a:pt x="62" y="174"/>
                    </a:cubicBezTo>
                    <a:cubicBezTo>
                      <a:pt x="62" y="174"/>
                      <a:pt x="62" y="174"/>
                      <a:pt x="62" y="173"/>
                    </a:cubicBezTo>
                    <a:cubicBezTo>
                      <a:pt x="62" y="174"/>
                      <a:pt x="62" y="173"/>
                      <a:pt x="62" y="173"/>
                    </a:cubicBezTo>
                    <a:cubicBezTo>
                      <a:pt x="63" y="173"/>
                      <a:pt x="63" y="173"/>
                      <a:pt x="64" y="173"/>
                    </a:cubicBezTo>
                    <a:cubicBezTo>
                      <a:pt x="65" y="173"/>
                      <a:pt x="65" y="173"/>
                      <a:pt x="66" y="173"/>
                    </a:cubicBezTo>
                    <a:cubicBezTo>
                      <a:pt x="67" y="173"/>
                      <a:pt x="67" y="172"/>
                      <a:pt x="68" y="172"/>
                    </a:cubicBezTo>
                    <a:cubicBezTo>
                      <a:pt x="67" y="172"/>
                      <a:pt x="66" y="173"/>
                      <a:pt x="65" y="172"/>
                    </a:cubicBezTo>
                    <a:cubicBezTo>
                      <a:pt x="64" y="172"/>
                      <a:pt x="63" y="173"/>
                      <a:pt x="63" y="173"/>
                    </a:cubicBezTo>
                    <a:cubicBezTo>
                      <a:pt x="62" y="173"/>
                      <a:pt x="63" y="172"/>
                      <a:pt x="63" y="172"/>
                    </a:cubicBezTo>
                    <a:cubicBezTo>
                      <a:pt x="63" y="172"/>
                      <a:pt x="62" y="173"/>
                      <a:pt x="62" y="173"/>
                    </a:cubicBezTo>
                    <a:cubicBezTo>
                      <a:pt x="62" y="172"/>
                      <a:pt x="62" y="172"/>
                      <a:pt x="62" y="172"/>
                    </a:cubicBezTo>
                    <a:cubicBezTo>
                      <a:pt x="62" y="172"/>
                      <a:pt x="62" y="172"/>
                      <a:pt x="62" y="172"/>
                    </a:cubicBezTo>
                    <a:cubicBezTo>
                      <a:pt x="62" y="172"/>
                      <a:pt x="63" y="171"/>
                      <a:pt x="64" y="171"/>
                    </a:cubicBezTo>
                    <a:cubicBezTo>
                      <a:pt x="64" y="171"/>
                      <a:pt x="65" y="171"/>
                      <a:pt x="66" y="171"/>
                    </a:cubicBezTo>
                    <a:cubicBezTo>
                      <a:pt x="65" y="171"/>
                      <a:pt x="64" y="171"/>
                      <a:pt x="64" y="171"/>
                    </a:cubicBezTo>
                    <a:cubicBezTo>
                      <a:pt x="63" y="171"/>
                      <a:pt x="62" y="171"/>
                      <a:pt x="63" y="170"/>
                    </a:cubicBezTo>
                    <a:cubicBezTo>
                      <a:pt x="64" y="170"/>
                      <a:pt x="64" y="170"/>
                      <a:pt x="65" y="170"/>
                    </a:cubicBezTo>
                    <a:cubicBezTo>
                      <a:pt x="65" y="170"/>
                      <a:pt x="68" y="170"/>
                      <a:pt x="67" y="170"/>
                    </a:cubicBezTo>
                    <a:cubicBezTo>
                      <a:pt x="69" y="170"/>
                      <a:pt x="66" y="170"/>
                      <a:pt x="66" y="170"/>
                    </a:cubicBezTo>
                    <a:cubicBezTo>
                      <a:pt x="65" y="170"/>
                      <a:pt x="63" y="170"/>
                      <a:pt x="63" y="170"/>
                    </a:cubicBezTo>
                    <a:cubicBezTo>
                      <a:pt x="63" y="171"/>
                      <a:pt x="63" y="171"/>
                      <a:pt x="63" y="171"/>
                    </a:cubicBezTo>
                    <a:cubicBezTo>
                      <a:pt x="62" y="171"/>
                      <a:pt x="62" y="171"/>
                      <a:pt x="61" y="171"/>
                    </a:cubicBezTo>
                    <a:cubicBezTo>
                      <a:pt x="61" y="171"/>
                      <a:pt x="60" y="171"/>
                      <a:pt x="61" y="171"/>
                    </a:cubicBezTo>
                    <a:cubicBezTo>
                      <a:pt x="61" y="171"/>
                      <a:pt x="61" y="171"/>
                      <a:pt x="62" y="170"/>
                    </a:cubicBezTo>
                    <a:cubicBezTo>
                      <a:pt x="61" y="170"/>
                      <a:pt x="60" y="170"/>
                      <a:pt x="61" y="170"/>
                    </a:cubicBezTo>
                    <a:cubicBezTo>
                      <a:pt x="61" y="169"/>
                      <a:pt x="62" y="169"/>
                      <a:pt x="62" y="169"/>
                    </a:cubicBezTo>
                    <a:cubicBezTo>
                      <a:pt x="61" y="169"/>
                      <a:pt x="61" y="169"/>
                      <a:pt x="60" y="169"/>
                    </a:cubicBezTo>
                    <a:cubicBezTo>
                      <a:pt x="61" y="168"/>
                      <a:pt x="62" y="169"/>
                      <a:pt x="63" y="169"/>
                    </a:cubicBezTo>
                    <a:cubicBezTo>
                      <a:pt x="63" y="169"/>
                      <a:pt x="64" y="168"/>
                      <a:pt x="64" y="168"/>
                    </a:cubicBezTo>
                    <a:cubicBezTo>
                      <a:pt x="65" y="168"/>
                      <a:pt x="65" y="168"/>
                      <a:pt x="66" y="167"/>
                    </a:cubicBezTo>
                    <a:cubicBezTo>
                      <a:pt x="65" y="167"/>
                      <a:pt x="64" y="168"/>
                      <a:pt x="62" y="168"/>
                    </a:cubicBezTo>
                    <a:cubicBezTo>
                      <a:pt x="62" y="168"/>
                      <a:pt x="61" y="168"/>
                      <a:pt x="62" y="168"/>
                    </a:cubicBezTo>
                    <a:cubicBezTo>
                      <a:pt x="62" y="168"/>
                      <a:pt x="63" y="168"/>
                      <a:pt x="62" y="167"/>
                    </a:cubicBezTo>
                    <a:cubicBezTo>
                      <a:pt x="63" y="167"/>
                      <a:pt x="63" y="167"/>
                      <a:pt x="63" y="167"/>
                    </a:cubicBezTo>
                    <a:cubicBezTo>
                      <a:pt x="63" y="166"/>
                      <a:pt x="62" y="167"/>
                      <a:pt x="61" y="166"/>
                    </a:cubicBezTo>
                    <a:cubicBezTo>
                      <a:pt x="62" y="166"/>
                      <a:pt x="62" y="166"/>
                      <a:pt x="63" y="166"/>
                    </a:cubicBezTo>
                    <a:cubicBezTo>
                      <a:pt x="63" y="166"/>
                      <a:pt x="63" y="167"/>
                      <a:pt x="64" y="166"/>
                    </a:cubicBezTo>
                    <a:cubicBezTo>
                      <a:pt x="64" y="166"/>
                      <a:pt x="63" y="166"/>
                      <a:pt x="63" y="166"/>
                    </a:cubicBezTo>
                    <a:cubicBezTo>
                      <a:pt x="64" y="166"/>
                      <a:pt x="65" y="166"/>
                      <a:pt x="67" y="166"/>
                    </a:cubicBezTo>
                    <a:cubicBezTo>
                      <a:pt x="67" y="166"/>
                      <a:pt x="68" y="165"/>
                      <a:pt x="69" y="165"/>
                    </a:cubicBezTo>
                    <a:cubicBezTo>
                      <a:pt x="70" y="165"/>
                      <a:pt x="70" y="165"/>
                      <a:pt x="71" y="165"/>
                    </a:cubicBezTo>
                    <a:cubicBezTo>
                      <a:pt x="71" y="165"/>
                      <a:pt x="71" y="165"/>
                      <a:pt x="72" y="165"/>
                    </a:cubicBezTo>
                    <a:cubicBezTo>
                      <a:pt x="72" y="165"/>
                      <a:pt x="73" y="164"/>
                      <a:pt x="73" y="165"/>
                    </a:cubicBezTo>
                    <a:cubicBezTo>
                      <a:pt x="73" y="165"/>
                      <a:pt x="73" y="165"/>
                      <a:pt x="73" y="165"/>
                    </a:cubicBezTo>
                    <a:cubicBezTo>
                      <a:pt x="73" y="165"/>
                      <a:pt x="74" y="164"/>
                      <a:pt x="73" y="164"/>
                    </a:cubicBezTo>
                    <a:cubicBezTo>
                      <a:pt x="72" y="164"/>
                      <a:pt x="71" y="165"/>
                      <a:pt x="70" y="165"/>
                    </a:cubicBezTo>
                    <a:cubicBezTo>
                      <a:pt x="71" y="164"/>
                      <a:pt x="72" y="164"/>
                      <a:pt x="72" y="163"/>
                    </a:cubicBezTo>
                    <a:cubicBezTo>
                      <a:pt x="72" y="163"/>
                      <a:pt x="71" y="164"/>
                      <a:pt x="71" y="164"/>
                    </a:cubicBezTo>
                    <a:cubicBezTo>
                      <a:pt x="70" y="164"/>
                      <a:pt x="69" y="165"/>
                      <a:pt x="68" y="165"/>
                    </a:cubicBezTo>
                    <a:cubicBezTo>
                      <a:pt x="66" y="165"/>
                      <a:pt x="65" y="165"/>
                      <a:pt x="64" y="166"/>
                    </a:cubicBezTo>
                    <a:cubicBezTo>
                      <a:pt x="63" y="166"/>
                      <a:pt x="62" y="166"/>
                      <a:pt x="62" y="165"/>
                    </a:cubicBezTo>
                    <a:cubicBezTo>
                      <a:pt x="62" y="165"/>
                      <a:pt x="63" y="165"/>
                      <a:pt x="63" y="165"/>
                    </a:cubicBezTo>
                    <a:cubicBezTo>
                      <a:pt x="63" y="165"/>
                      <a:pt x="64" y="165"/>
                      <a:pt x="64" y="165"/>
                    </a:cubicBezTo>
                    <a:cubicBezTo>
                      <a:pt x="64" y="165"/>
                      <a:pt x="63" y="165"/>
                      <a:pt x="63" y="165"/>
                    </a:cubicBezTo>
                    <a:cubicBezTo>
                      <a:pt x="63" y="165"/>
                      <a:pt x="63" y="165"/>
                      <a:pt x="62" y="165"/>
                    </a:cubicBezTo>
                    <a:cubicBezTo>
                      <a:pt x="62" y="165"/>
                      <a:pt x="61" y="165"/>
                      <a:pt x="62" y="165"/>
                    </a:cubicBezTo>
                    <a:cubicBezTo>
                      <a:pt x="61" y="165"/>
                      <a:pt x="61" y="165"/>
                      <a:pt x="61" y="165"/>
                    </a:cubicBezTo>
                    <a:cubicBezTo>
                      <a:pt x="61" y="164"/>
                      <a:pt x="62" y="164"/>
                      <a:pt x="63" y="164"/>
                    </a:cubicBezTo>
                    <a:cubicBezTo>
                      <a:pt x="63" y="164"/>
                      <a:pt x="63" y="164"/>
                      <a:pt x="63" y="164"/>
                    </a:cubicBezTo>
                    <a:cubicBezTo>
                      <a:pt x="64" y="164"/>
                      <a:pt x="64" y="165"/>
                      <a:pt x="64" y="165"/>
                    </a:cubicBezTo>
                    <a:cubicBezTo>
                      <a:pt x="65" y="165"/>
                      <a:pt x="66" y="164"/>
                      <a:pt x="66" y="164"/>
                    </a:cubicBezTo>
                    <a:cubicBezTo>
                      <a:pt x="67" y="164"/>
                      <a:pt x="67" y="164"/>
                      <a:pt x="67" y="164"/>
                    </a:cubicBezTo>
                    <a:cubicBezTo>
                      <a:pt x="67" y="164"/>
                      <a:pt x="68" y="164"/>
                      <a:pt x="68" y="164"/>
                    </a:cubicBezTo>
                    <a:cubicBezTo>
                      <a:pt x="68" y="164"/>
                      <a:pt x="67" y="164"/>
                      <a:pt x="67" y="164"/>
                    </a:cubicBezTo>
                    <a:cubicBezTo>
                      <a:pt x="68" y="164"/>
                      <a:pt x="68" y="163"/>
                      <a:pt x="69" y="162"/>
                    </a:cubicBezTo>
                    <a:cubicBezTo>
                      <a:pt x="69" y="162"/>
                      <a:pt x="69" y="162"/>
                      <a:pt x="69" y="162"/>
                    </a:cubicBezTo>
                    <a:cubicBezTo>
                      <a:pt x="70" y="163"/>
                      <a:pt x="71" y="163"/>
                      <a:pt x="71" y="163"/>
                    </a:cubicBezTo>
                    <a:cubicBezTo>
                      <a:pt x="71" y="163"/>
                      <a:pt x="70" y="163"/>
                      <a:pt x="70" y="162"/>
                    </a:cubicBezTo>
                    <a:cubicBezTo>
                      <a:pt x="71" y="163"/>
                      <a:pt x="74" y="163"/>
                      <a:pt x="74" y="162"/>
                    </a:cubicBezTo>
                    <a:cubicBezTo>
                      <a:pt x="74" y="162"/>
                      <a:pt x="73" y="162"/>
                      <a:pt x="73" y="162"/>
                    </a:cubicBezTo>
                    <a:cubicBezTo>
                      <a:pt x="72" y="163"/>
                      <a:pt x="71" y="162"/>
                      <a:pt x="71" y="162"/>
                    </a:cubicBezTo>
                    <a:cubicBezTo>
                      <a:pt x="71" y="162"/>
                      <a:pt x="72" y="162"/>
                      <a:pt x="72" y="161"/>
                    </a:cubicBezTo>
                    <a:cubicBezTo>
                      <a:pt x="72" y="161"/>
                      <a:pt x="71" y="162"/>
                      <a:pt x="71" y="161"/>
                    </a:cubicBezTo>
                    <a:cubicBezTo>
                      <a:pt x="71" y="161"/>
                      <a:pt x="71" y="161"/>
                      <a:pt x="71" y="161"/>
                    </a:cubicBezTo>
                    <a:cubicBezTo>
                      <a:pt x="71" y="161"/>
                      <a:pt x="71" y="161"/>
                      <a:pt x="70" y="161"/>
                    </a:cubicBezTo>
                    <a:cubicBezTo>
                      <a:pt x="70" y="161"/>
                      <a:pt x="70" y="161"/>
                      <a:pt x="69" y="161"/>
                    </a:cubicBezTo>
                    <a:cubicBezTo>
                      <a:pt x="70" y="160"/>
                      <a:pt x="71" y="160"/>
                      <a:pt x="72" y="160"/>
                    </a:cubicBezTo>
                    <a:cubicBezTo>
                      <a:pt x="72" y="160"/>
                      <a:pt x="73" y="160"/>
                      <a:pt x="73" y="160"/>
                    </a:cubicBezTo>
                    <a:cubicBezTo>
                      <a:pt x="73" y="160"/>
                      <a:pt x="72" y="160"/>
                      <a:pt x="72" y="160"/>
                    </a:cubicBezTo>
                    <a:cubicBezTo>
                      <a:pt x="72" y="160"/>
                      <a:pt x="73" y="160"/>
                      <a:pt x="74" y="160"/>
                    </a:cubicBezTo>
                    <a:cubicBezTo>
                      <a:pt x="75" y="160"/>
                      <a:pt x="74" y="162"/>
                      <a:pt x="75" y="162"/>
                    </a:cubicBezTo>
                    <a:cubicBezTo>
                      <a:pt x="76" y="162"/>
                      <a:pt x="76" y="163"/>
                      <a:pt x="77" y="163"/>
                    </a:cubicBezTo>
                    <a:cubicBezTo>
                      <a:pt x="79" y="164"/>
                      <a:pt x="77" y="163"/>
                      <a:pt x="78" y="162"/>
                    </a:cubicBezTo>
                    <a:cubicBezTo>
                      <a:pt x="77" y="162"/>
                      <a:pt x="75" y="162"/>
                      <a:pt x="75" y="161"/>
                    </a:cubicBezTo>
                    <a:cubicBezTo>
                      <a:pt x="75" y="160"/>
                      <a:pt x="76" y="160"/>
                      <a:pt x="77" y="160"/>
                    </a:cubicBezTo>
                    <a:cubicBezTo>
                      <a:pt x="76" y="160"/>
                      <a:pt x="76" y="160"/>
                      <a:pt x="75" y="160"/>
                    </a:cubicBezTo>
                    <a:cubicBezTo>
                      <a:pt x="75" y="159"/>
                      <a:pt x="77" y="158"/>
                      <a:pt x="77" y="158"/>
                    </a:cubicBezTo>
                    <a:cubicBezTo>
                      <a:pt x="76" y="158"/>
                      <a:pt x="75" y="159"/>
                      <a:pt x="74" y="159"/>
                    </a:cubicBezTo>
                    <a:cubicBezTo>
                      <a:pt x="73" y="159"/>
                      <a:pt x="73" y="159"/>
                      <a:pt x="73" y="159"/>
                    </a:cubicBezTo>
                    <a:cubicBezTo>
                      <a:pt x="73" y="158"/>
                      <a:pt x="72" y="157"/>
                      <a:pt x="73" y="157"/>
                    </a:cubicBezTo>
                    <a:cubicBezTo>
                      <a:pt x="72" y="157"/>
                      <a:pt x="73" y="156"/>
                      <a:pt x="72" y="156"/>
                    </a:cubicBezTo>
                    <a:cubicBezTo>
                      <a:pt x="72" y="155"/>
                      <a:pt x="73" y="155"/>
                      <a:pt x="74" y="155"/>
                    </a:cubicBezTo>
                    <a:cubicBezTo>
                      <a:pt x="73" y="155"/>
                      <a:pt x="73" y="156"/>
                      <a:pt x="72" y="155"/>
                    </a:cubicBezTo>
                    <a:cubicBezTo>
                      <a:pt x="72" y="155"/>
                      <a:pt x="72" y="155"/>
                      <a:pt x="72" y="155"/>
                    </a:cubicBezTo>
                    <a:cubicBezTo>
                      <a:pt x="72" y="155"/>
                      <a:pt x="72" y="156"/>
                      <a:pt x="72" y="156"/>
                    </a:cubicBezTo>
                    <a:cubicBezTo>
                      <a:pt x="72" y="156"/>
                      <a:pt x="72" y="156"/>
                      <a:pt x="71" y="156"/>
                    </a:cubicBezTo>
                    <a:cubicBezTo>
                      <a:pt x="72" y="156"/>
                      <a:pt x="71" y="157"/>
                      <a:pt x="71" y="157"/>
                    </a:cubicBezTo>
                    <a:cubicBezTo>
                      <a:pt x="72" y="157"/>
                      <a:pt x="72" y="157"/>
                      <a:pt x="73" y="157"/>
                    </a:cubicBezTo>
                    <a:cubicBezTo>
                      <a:pt x="72" y="157"/>
                      <a:pt x="72" y="158"/>
                      <a:pt x="72" y="158"/>
                    </a:cubicBezTo>
                    <a:cubicBezTo>
                      <a:pt x="73" y="158"/>
                      <a:pt x="72" y="158"/>
                      <a:pt x="72" y="159"/>
                    </a:cubicBezTo>
                    <a:cubicBezTo>
                      <a:pt x="72" y="159"/>
                      <a:pt x="72" y="159"/>
                      <a:pt x="72" y="159"/>
                    </a:cubicBezTo>
                    <a:cubicBezTo>
                      <a:pt x="72" y="159"/>
                      <a:pt x="71" y="159"/>
                      <a:pt x="71" y="159"/>
                    </a:cubicBezTo>
                    <a:cubicBezTo>
                      <a:pt x="71" y="159"/>
                      <a:pt x="70" y="160"/>
                      <a:pt x="70" y="160"/>
                    </a:cubicBezTo>
                    <a:cubicBezTo>
                      <a:pt x="70" y="160"/>
                      <a:pt x="68" y="160"/>
                      <a:pt x="69" y="160"/>
                    </a:cubicBezTo>
                    <a:cubicBezTo>
                      <a:pt x="69" y="160"/>
                      <a:pt x="67" y="161"/>
                      <a:pt x="67" y="160"/>
                    </a:cubicBezTo>
                    <a:cubicBezTo>
                      <a:pt x="68" y="160"/>
                      <a:pt x="69" y="159"/>
                      <a:pt x="69" y="159"/>
                    </a:cubicBezTo>
                    <a:cubicBezTo>
                      <a:pt x="68" y="158"/>
                      <a:pt x="65" y="163"/>
                      <a:pt x="63" y="163"/>
                    </a:cubicBezTo>
                    <a:cubicBezTo>
                      <a:pt x="62" y="163"/>
                      <a:pt x="62" y="164"/>
                      <a:pt x="62" y="164"/>
                    </a:cubicBezTo>
                    <a:cubicBezTo>
                      <a:pt x="61" y="164"/>
                      <a:pt x="61" y="164"/>
                      <a:pt x="60" y="165"/>
                    </a:cubicBezTo>
                    <a:cubicBezTo>
                      <a:pt x="59" y="165"/>
                      <a:pt x="59" y="164"/>
                      <a:pt x="60" y="164"/>
                    </a:cubicBezTo>
                    <a:cubicBezTo>
                      <a:pt x="60" y="164"/>
                      <a:pt x="60" y="164"/>
                      <a:pt x="60" y="163"/>
                    </a:cubicBezTo>
                    <a:cubicBezTo>
                      <a:pt x="60" y="163"/>
                      <a:pt x="60" y="163"/>
                      <a:pt x="60" y="163"/>
                    </a:cubicBezTo>
                    <a:cubicBezTo>
                      <a:pt x="60" y="163"/>
                      <a:pt x="60" y="163"/>
                      <a:pt x="60" y="163"/>
                    </a:cubicBezTo>
                    <a:cubicBezTo>
                      <a:pt x="60" y="162"/>
                      <a:pt x="60" y="162"/>
                      <a:pt x="61" y="162"/>
                    </a:cubicBezTo>
                    <a:cubicBezTo>
                      <a:pt x="60" y="162"/>
                      <a:pt x="60" y="161"/>
                      <a:pt x="60" y="161"/>
                    </a:cubicBezTo>
                    <a:cubicBezTo>
                      <a:pt x="61" y="161"/>
                      <a:pt x="61" y="161"/>
                      <a:pt x="61" y="160"/>
                    </a:cubicBezTo>
                    <a:cubicBezTo>
                      <a:pt x="60" y="160"/>
                      <a:pt x="61" y="159"/>
                      <a:pt x="62" y="159"/>
                    </a:cubicBezTo>
                    <a:cubicBezTo>
                      <a:pt x="62" y="159"/>
                      <a:pt x="63" y="159"/>
                      <a:pt x="63" y="159"/>
                    </a:cubicBezTo>
                    <a:cubicBezTo>
                      <a:pt x="64" y="158"/>
                      <a:pt x="66" y="158"/>
                      <a:pt x="67" y="158"/>
                    </a:cubicBezTo>
                    <a:cubicBezTo>
                      <a:pt x="67" y="157"/>
                      <a:pt x="69" y="157"/>
                      <a:pt x="69" y="157"/>
                    </a:cubicBezTo>
                    <a:cubicBezTo>
                      <a:pt x="68" y="157"/>
                      <a:pt x="68" y="157"/>
                      <a:pt x="67" y="157"/>
                    </a:cubicBezTo>
                    <a:cubicBezTo>
                      <a:pt x="68" y="157"/>
                      <a:pt x="67" y="157"/>
                      <a:pt x="67" y="157"/>
                    </a:cubicBezTo>
                    <a:cubicBezTo>
                      <a:pt x="66" y="158"/>
                      <a:pt x="66" y="158"/>
                      <a:pt x="65" y="158"/>
                    </a:cubicBezTo>
                    <a:cubicBezTo>
                      <a:pt x="65" y="157"/>
                      <a:pt x="66" y="157"/>
                      <a:pt x="66" y="157"/>
                    </a:cubicBezTo>
                    <a:cubicBezTo>
                      <a:pt x="65" y="157"/>
                      <a:pt x="65" y="157"/>
                      <a:pt x="65" y="157"/>
                    </a:cubicBezTo>
                    <a:cubicBezTo>
                      <a:pt x="64" y="158"/>
                      <a:pt x="65" y="158"/>
                      <a:pt x="64" y="158"/>
                    </a:cubicBezTo>
                    <a:cubicBezTo>
                      <a:pt x="64" y="158"/>
                      <a:pt x="63" y="158"/>
                      <a:pt x="63" y="158"/>
                    </a:cubicBezTo>
                    <a:cubicBezTo>
                      <a:pt x="63" y="159"/>
                      <a:pt x="62" y="159"/>
                      <a:pt x="62" y="159"/>
                    </a:cubicBezTo>
                    <a:cubicBezTo>
                      <a:pt x="62" y="158"/>
                      <a:pt x="64" y="158"/>
                      <a:pt x="62" y="158"/>
                    </a:cubicBezTo>
                    <a:cubicBezTo>
                      <a:pt x="62" y="158"/>
                      <a:pt x="61" y="159"/>
                      <a:pt x="61" y="159"/>
                    </a:cubicBezTo>
                    <a:cubicBezTo>
                      <a:pt x="61" y="159"/>
                      <a:pt x="61" y="158"/>
                      <a:pt x="61" y="158"/>
                    </a:cubicBezTo>
                    <a:cubicBezTo>
                      <a:pt x="61" y="158"/>
                      <a:pt x="63" y="157"/>
                      <a:pt x="63" y="157"/>
                    </a:cubicBezTo>
                    <a:cubicBezTo>
                      <a:pt x="63" y="157"/>
                      <a:pt x="63" y="157"/>
                      <a:pt x="62" y="157"/>
                    </a:cubicBezTo>
                    <a:cubicBezTo>
                      <a:pt x="63" y="157"/>
                      <a:pt x="62" y="157"/>
                      <a:pt x="62" y="157"/>
                    </a:cubicBezTo>
                    <a:cubicBezTo>
                      <a:pt x="62" y="156"/>
                      <a:pt x="62" y="156"/>
                      <a:pt x="62" y="156"/>
                    </a:cubicBezTo>
                    <a:cubicBezTo>
                      <a:pt x="61" y="156"/>
                      <a:pt x="63" y="156"/>
                      <a:pt x="63" y="156"/>
                    </a:cubicBezTo>
                    <a:cubicBezTo>
                      <a:pt x="62" y="156"/>
                      <a:pt x="63" y="155"/>
                      <a:pt x="63" y="155"/>
                    </a:cubicBezTo>
                    <a:cubicBezTo>
                      <a:pt x="64" y="155"/>
                      <a:pt x="64" y="154"/>
                      <a:pt x="65" y="154"/>
                    </a:cubicBezTo>
                    <a:cubicBezTo>
                      <a:pt x="64" y="154"/>
                      <a:pt x="63" y="155"/>
                      <a:pt x="62" y="155"/>
                    </a:cubicBezTo>
                    <a:cubicBezTo>
                      <a:pt x="62" y="155"/>
                      <a:pt x="63" y="155"/>
                      <a:pt x="63" y="154"/>
                    </a:cubicBezTo>
                    <a:cubicBezTo>
                      <a:pt x="63" y="154"/>
                      <a:pt x="63" y="154"/>
                      <a:pt x="63" y="154"/>
                    </a:cubicBezTo>
                    <a:cubicBezTo>
                      <a:pt x="63" y="154"/>
                      <a:pt x="63" y="154"/>
                      <a:pt x="62" y="154"/>
                    </a:cubicBezTo>
                    <a:cubicBezTo>
                      <a:pt x="62" y="154"/>
                      <a:pt x="62" y="154"/>
                      <a:pt x="62" y="154"/>
                    </a:cubicBezTo>
                    <a:cubicBezTo>
                      <a:pt x="62" y="154"/>
                      <a:pt x="61" y="155"/>
                      <a:pt x="60" y="155"/>
                    </a:cubicBezTo>
                    <a:cubicBezTo>
                      <a:pt x="60" y="155"/>
                      <a:pt x="61" y="154"/>
                      <a:pt x="61" y="154"/>
                    </a:cubicBezTo>
                    <a:cubicBezTo>
                      <a:pt x="61" y="154"/>
                      <a:pt x="60" y="154"/>
                      <a:pt x="61" y="154"/>
                    </a:cubicBezTo>
                    <a:cubicBezTo>
                      <a:pt x="61" y="153"/>
                      <a:pt x="62" y="153"/>
                      <a:pt x="62" y="153"/>
                    </a:cubicBezTo>
                    <a:cubicBezTo>
                      <a:pt x="64" y="152"/>
                      <a:pt x="66" y="152"/>
                      <a:pt x="68" y="151"/>
                    </a:cubicBezTo>
                    <a:cubicBezTo>
                      <a:pt x="68" y="151"/>
                      <a:pt x="67" y="151"/>
                      <a:pt x="67" y="151"/>
                    </a:cubicBezTo>
                    <a:cubicBezTo>
                      <a:pt x="68" y="150"/>
                      <a:pt x="70" y="150"/>
                      <a:pt x="72" y="150"/>
                    </a:cubicBezTo>
                    <a:cubicBezTo>
                      <a:pt x="73" y="149"/>
                      <a:pt x="74" y="149"/>
                      <a:pt x="75" y="150"/>
                    </a:cubicBezTo>
                    <a:cubicBezTo>
                      <a:pt x="75" y="150"/>
                      <a:pt x="75" y="150"/>
                      <a:pt x="76" y="150"/>
                    </a:cubicBezTo>
                    <a:cubicBezTo>
                      <a:pt x="76" y="150"/>
                      <a:pt x="77" y="150"/>
                      <a:pt x="77" y="150"/>
                    </a:cubicBezTo>
                    <a:cubicBezTo>
                      <a:pt x="77" y="150"/>
                      <a:pt x="76" y="150"/>
                      <a:pt x="76" y="150"/>
                    </a:cubicBezTo>
                    <a:cubicBezTo>
                      <a:pt x="75" y="150"/>
                      <a:pt x="76" y="150"/>
                      <a:pt x="76" y="150"/>
                    </a:cubicBezTo>
                    <a:cubicBezTo>
                      <a:pt x="76" y="149"/>
                      <a:pt x="75" y="150"/>
                      <a:pt x="75" y="149"/>
                    </a:cubicBezTo>
                    <a:cubicBezTo>
                      <a:pt x="74" y="149"/>
                      <a:pt x="73" y="149"/>
                      <a:pt x="73" y="149"/>
                    </a:cubicBezTo>
                    <a:cubicBezTo>
                      <a:pt x="71" y="149"/>
                      <a:pt x="69" y="150"/>
                      <a:pt x="68" y="150"/>
                    </a:cubicBezTo>
                    <a:cubicBezTo>
                      <a:pt x="67" y="150"/>
                      <a:pt x="67" y="150"/>
                      <a:pt x="67" y="151"/>
                    </a:cubicBezTo>
                    <a:cubicBezTo>
                      <a:pt x="67" y="151"/>
                      <a:pt x="66" y="152"/>
                      <a:pt x="66" y="152"/>
                    </a:cubicBezTo>
                    <a:cubicBezTo>
                      <a:pt x="65" y="152"/>
                      <a:pt x="64" y="152"/>
                      <a:pt x="63" y="152"/>
                    </a:cubicBezTo>
                    <a:cubicBezTo>
                      <a:pt x="63" y="153"/>
                      <a:pt x="63" y="153"/>
                      <a:pt x="63" y="153"/>
                    </a:cubicBezTo>
                    <a:cubicBezTo>
                      <a:pt x="62" y="153"/>
                      <a:pt x="62" y="153"/>
                      <a:pt x="61" y="153"/>
                    </a:cubicBezTo>
                    <a:cubicBezTo>
                      <a:pt x="61" y="152"/>
                      <a:pt x="62" y="152"/>
                      <a:pt x="62" y="152"/>
                    </a:cubicBezTo>
                    <a:cubicBezTo>
                      <a:pt x="62" y="152"/>
                      <a:pt x="61" y="153"/>
                      <a:pt x="61" y="152"/>
                    </a:cubicBezTo>
                    <a:cubicBezTo>
                      <a:pt x="61" y="152"/>
                      <a:pt x="61" y="152"/>
                      <a:pt x="62" y="151"/>
                    </a:cubicBezTo>
                    <a:cubicBezTo>
                      <a:pt x="62" y="151"/>
                      <a:pt x="63" y="151"/>
                      <a:pt x="63" y="150"/>
                    </a:cubicBezTo>
                    <a:cubicBezTo>
                      <a:pt x="62" y="151"/>
                      <a:pt x="61" y="152"/>
                      <a:pt x="60" y="152"/>
                    </a:cubicBezTo>
                    <a:cubicBezTo>
                      <a:pt x="60" y="152"/>
                      <a:pt x="60" y="151"/>
                      <a:pt x="60" y="151"/>
                    </a:cubicBezTo>
                    <a:cubicBezTo>
                      <a:pt x="61" y="151"/>
                      <a:pt x="61" y="151"/>
                      <a:pt x="61" y="151"/>
                    </a:cubicBezTo>
                    <a:cubicBezTo>
                      <a:pt x="61" y="151"/>
                      <a:pt x="61" y="151"/>
                      <a:pt x="60" y="151"/>
                    </a:cubicBezTo>
                    <a:cubicBezTo>
                      <a:pt x="61" y="151"/>
                      <a:pt x="62" y="151"/>
                      <a:pt x="62" y="150"/>
                    </a:cubicBezTo>
                    <a:cubicBezTo>
                      <a:pt x="62" y="150"/>
                      <a:pt x="61" y="151"/>
                      <a:pt x="61" y="151"/>
                    </a:cubicBezTo>
                    <a:cubicBezTo>
                      <a:pt x="61" y="150"/>
                      <a:pt x="61" y="150"/>
                      <a:pt x="62" y="150"/>
                    </a:cubicBezTo>
                    <a:cubicBezTo>
                      <a:pt x="62" y="150"/>
                      <a:pt x="62" y="149"/>
                      <a:pt x="62" y="149"/>
                    </a:cubicBezTo>
                    <a:cubicBezTo>
                      <a:pt x="61" y="149"/>
                      <a:pt x="61" y="151"/>
                      <a:pt x="60" y="150"/>
                    </a:cubicBezTo>
                    <a:cubicBezTo>
                      <a:pt x="60" y="150"/>
                      <a:pt x="59" y="150"/>
                      <a:pt x="59" y="150"/>
                    </a:cubicBezTo>
                    <a:cubicBezTo>
                      <a:pt x="58" y="151"/>
                      <a:pt x="58" y="150"/>
                      <a:pt x="58" y="150"/>
                    </a:cubicBezTo>
                    <a:cubicBezTo>
                      <a:pt x="58" y="150"/>
                      <a:pt x="60" y="150"/>
                      <a:pt x="61" y="149"/>
                    </a:cubicBezTo>
                    <a:cubicBezTo>
                      <a:pt x="60" y="149"/>
                      <a:pt x="59" y="150"/>
                      <a:pt x="58" y="150"/>
                    </a:cubicBezTo>
                    <a:cubicBezTo>
                      <a:pt x="58" y="150"/>
                      <a:pt x="59" y="149"/>
                      <a:pt x="59" y="149"/>
                    </a:cubicBezTo>
                    <a:cubicBezTo>
                      <a:pt x="60" y="148"/>
                      <a:pt x="61" y="149"/>
                      <a:pt x="61" y="148"/>
                    </a:cubicBezTo>
                    <a:cubicBezTo>
                      <a:pt x="62" y="148"/>
                      <a:pt x="62" y="148"/>
                      <a:pt x="62" y="148"/>
                    </a:cubicBezTo>
                    <a:cubicBezTo>
                      <a:pt x="63" y="148"/>
                      <a:pt x="63" y="148"/>
                      <a:pt x="63" y="148"/>
                    </a:cubicBezTo>
                    <a:cubicBezTo>
                      <a:pt x="64" y="148"/>
                      <a:pt x="65" y="148"/>
                      <a:pt x="65" y="149"/>
                    </a:cubicBezTo>
                    <a:cubicBezTo>
                      <a:pt x="65" y="149"/>
                      <a:pt x="66" y="148"/>
                      <a:pt x="66" y="148"/>
                    </a:cubicBezTo>
                    <a:cubicBezTo>
                      <a:pt x="65" y="148"/>
                      <a:pt x="67" y="148"/>
                      <a:pt x="67" y="148"/>
                    </a:cubicBezTo>
                    <a:cubicBezTo>
                      <a:pt x="67" y="147"/>
                      <a:pt x="68" y="147"/>
                      <a:pt x="69" y="147"/>
                    </a:cubicBezTo>
                    <a:cubicBezTo>
                      <a:pt x="69" y="147"/>
                      <a:pt x="69" y="148"/>
                      <a:pt x="70" y="148"/>
                    </a:cubicBezTo>
                    <a:cubicBezTo>
                      <a:pt x="70" y="147"/>
                      <a:pt x="69" y="147"/>
                      <a:pt x="69" y="147"/>
                    </a:cubicBezTo>
                    <a:cubicBezTo>
                      <a:pt x="69" y="147"/>
                      <a:pt x="70" y="147"/>
                      <a:pt x="70" y="147"/>
                    </a:cubicBezTo>
                    <a:cubicBezTo>
                      <a:pt x="70" y="146"/>
                      <a:pt x="69" y="147"/>
                      <a:pt x="68" y="147"/>
                    </a:cubicBezTo>
                    <a:cubicBezTo>
                      <a:pt x="67" y="147"/>
                      <a:pt x="67" y="147"/>
                      <a:pt x="66" y="148"/>
                    </a:cubicBezTo>
                    <a:cubicBezTo>
                      <a:pt x="65" y="148"/>
                      <a:pt x="65" y="148"/>
                      <a:pt x="64" y="148"/>
                    </a:cubicBezTo>
                    <a:cubicBezTo>
                      <a:pt x="63" y="148"/>
                      <a:pt x="64" y="147"/>
                      <a:pt x="64" y="147"/>
                    </a:cubicBezTo>
                    <a:cubicBezTo>
                      <a:pt x="64" y="147"/>
                      <a:pt x="63" y="148"/>
                      <a:pt x="63" y="148"/>
                    </a:cubicBezTo>
                    <a:cubicBezTo>
                      <a:pt x="62" y="147"/>
                      <a:pt x="62" y="148"/>
                      <a:pt x="62" y="148"/>
                    </a:cubicBezTo>
                    <a:cubicBezTo>
                      <a:pt x="61" y="148"/>
                      <a:pt x="59" y="149"/>
                      <a:pt x="58" y="148"/>
                    </a:cubicBezTo>
                    <a:cubicBezTo>
                      <a:pt x="59" y="148"/>
                      <a:pt x="59" y="148"/>
                      <a:pt x="59" y="148"/>
                    </a:cubicBezTo>
                    <a:cubicBezTo>
                      <a:pt x="59" y="148"/>
                      <a:pt x="59" y="148"/>
                      <a:pt x="58" y="148"/>
                    </a:cubicBezTo>
                    <a:cubicBezTo>
                      <a:pt x="59" y="148"/>
                      <a:pt x="61" y="148"/>
                      <a:pt x="62" y="147"/>
                    </a:cubicBezTo>
                    <a:cubicBezTo>
                      <a:pt x="61" y="147"/>
                      <a:pt x="60" y="147"/>
                      <a:pt x="60" y="147"/>
                    </a:cubicBezTo>
                    <a:cubicBezTo>
                      <a:pt x="59" y="148"/>
                      <a:pt x="59" y="148"/>
                      <a:pt x="58" y="148"/>
                    </a:cubicBezTo>
                    <a:cubicBezTo>
                      <a:pt x="57" y="148"/>
                      <a:pt x="57" y="147"/>
                      <a:pt x="58" y="147"/>
                    </a:cubicBezTo>
                    <a:cubicBezTo>
                      <a:pt x="59" y="147"/>
                      <a:pt x="59" y="147"/>
                      <a:pt x="60" y="147"/>
                    </a:cubicBezTo>
                    <a:cubicBezTo>
                      <a:pt x="59" y="147"/>
                      <a:pt x="58" y="147"/>
                      <a:pt x="58" y="147"/>
                    </a:cubicBezTo>
                    <a:cubicBezTo>
                      <a:pt x="58" y="146"/>
                      <a:pt x="60" y="146"/>
                      <a:pt x="61" y="146"/>
                    </a:cubicBezTo>
                    <a:cubicBezTo>
                      <a:pt x="62" y="146"/>
                      <a:pt x="63" y="145"/>
                      <a:pt x="64" y="144"/>
                    </a:cubicBezTo>
                    <a:cubicBezTo>
                      <a:pt x="65" y="144"/>
                      <a:pt x="66" y="143"/>
                      <a:pt x="67" y="143"/>
                    </a:cubicBezTo>
                    <a:cubicBezTo>
                      <a:pt x="68" y="143"/>
                      <a:pt x="70" y="143"/>
                      <a:pt x="71" y="142"/>
                    </a:cubicBezTo>
                    <a:cubicBezTo>
                      <a:pt x="70" y="142"/>
                      <a:pt x="72" y="141"/>
                      <a:pt x="72" y="141"/>
                    </a:cubicBezTo>
                    <a:cubicBezTo>
                      <a:pt x="72" y="141"/>
                      <a:pt x="73" y="141"/>
                      <a:pt x="74" y="141"/>
                    </a:cubicBezTo>
                    <a:cubicBezTo>
                      <a:pt x="74" y="140"/>
                      <a:pt x="75" y="141"/>
                      <a:pt x="76" y="140"/>
                    </a:cubicBezTo>
                    <a:cubicBezTo>
                      <a:pt x="75" y="140"/>
                      <a:pt x="75" y="140"/>
                      <a:pt x="75" y="140"/>
                    </a:cubicBezTo>
                    <a:cubicBezTo>
                      <a:pt x="76" y="140"/>
                      <a:pt x="77" y="139"/>
                      <a:pt x="78" y="139"/>
                    </a:cubicBezTo>
                    <a:cubicBezTo>
                      <a:pt x="78" y="138"/>
                      <a:pt x="80" y="139"/>
                      <a:pt x="80" y="139"/>
                    </a:cubicBezTo>
                    <a:cubicBezTo>
                      <a:pt x="81" y="139"/>
                      <a:pt x="81" y="139"/>
                      <a:pt x="82" y="139"/>
                    </a:cubicBezTo>
                    <a:cubicBezTo>
                      <a:pt x="83" y="139"/>
                      <a:pt x="83" y="139"/>
                      <a:pt x="84" y="139"/>
                    </a:cubicBezTo>
                    <a:cubicBezTo>
                      <a:pt x="84" y="139"/>
                      <a:pt x="83" y="139"/>
                      <a:pt x="82" y="139"/>
                    </a:cubicBezTo>
                    <a:cubicBezTo>
                      <a:pt x="82" y="139"/>
                      <a:pt x="81" y="139"/>
                      <a:pt x="81" y="139"/>
                    </a:cubicBezTo>
                    <a:cubicBezTo>
                      <a:pt x="80" y="139"/>
                      <a:pt x="80" y="139"/>
                      <a:pt x="80" y="139"/>
                    </a:cubicBezTo>
                    <a:cubicBezTo>
                      <a:pt x="81" y="138"/>
                      <a:pt x="82" y="138"/>
                      <a:pt x="83" y="138"/>
                    </a:cubicBezTo>
                    <a:cubicBezTo>
                      <a:pt x="84" y="138"/>
                      <a:pt x="84" y="138"/>
                      <a:pt x="85" y="138"/>
                    </a:cubicBezTo>
                    <a:cubicBezTo>
                      <a:pt x="86" y="138"/>
                      <a:pt x="86" y="138"/>
                      <a:pt x="87" y="138"/>
                    </a:cubicBezTo>
                    <a:cubicBezTo>
                      <a:pt x="87" y="138"/>
                      <a:pt x="86" y="138"/>
                      <a:pt x="85" y="138"/>
                    </a:cubicBezTo>
                    <a:cubicBezTo>
                      <a:pt x="84" y="138"/>
                      <a:pt x="84" y="138"/>
                      <a:pt x="83" y="138"/>
                    </a:cubicBezTo>
                    <a:cubicBezTo>
                      <a:pt x="83" y="137"/>
                      <a:pt x="83" y="137"/>
                      <a:pt x="83" y="137"/>
                    </a:cubicBezTo>
                    <a:cubicBezTo>
                      <a:pt x="81" y="138"/>
                      <a:pt x="79" y="138"/>
                      <a:pt x="78" y="139"/>
                    </a:cubicBezTo>
                    <a:cubicBezTo>
                      <a:pt x="77" y="139"/>
                      <a:pt x="76" y="139"/>
                      <a:pt x="74" y="140"/>
                    </a:cubicBezTo>
                    <a:cubicBezTo>
                      <a:pt x="73" y="140"/>
                      <a:pt x="72" y="141"/>
                      <a:pt x="71" y="141"/>
                    </a:cubicBezTo>
                    <a:cubicBezTo>
                      <a:pt x="69" y="143"/>
                      <a:pt x="66" y="143"/>
                      <a:pt x="64" y="144"/>
                    </a:cubicBezTo>
                    <a:cubicBezTo>
                      <a:pt x="63" y="145"/>
                      <a:pt x="62" y="145"/>
                      <a:pt x="61" y="146"/>
                    </a:cubicBezTo>
                    <a:cubicBezTo>
                      <a:pt x="60" y="146"/>
                      <a:pt x="59" y="146"/>
                      <a:pt x="59" y="146"/>
                    </a:cubicBezTo>
                    <a:cubicBezTo>
                      <a:pt x="58" y="146"/>
                      <a:pt x="57" y="146"/>
                      <a:pt x="57" y="146"/>
                    </a:cubicBezTo>
                    <a:cubicBezTo>
                      <a:pt x="57" y="146"/>
                      <a:pt x="57" y="146"/>
                      <a:pt x="58" y="146"/>
                    </a:cubicBezTo>
                    <a:cubicBezTo>
                      <a:pt x="57" y="146"/>
                      <a:pt x="57" y="146"/>
                      <a:pt x="57" y="146"/>
                    </a:cubicBezTo>
                    <a:cubicBezTo>
                      <a:pt x="58" y="145"/>
                      <a:pt x="60" y="145"/>
                      <a:pt x="61" y="145"/>
                    </a:cubicBezTo>
                    <a:cubicBezTo>
                      <a:pt x="60" y="145"/>
                      <a:pt x="60" y="145"/>
                      <a:pt x="59" y="145"/>
                    </a:cubicBezTo>
                    <a:cubicBezTo>
                      <a:pt x="59" y="145"/>
                      <a:pt x="58" y="145"/>
                      <a:pt x="58" y="145"/>
                    </a:cubicBezTo>
                    <a:cubicBezTo>
                      <a:pt x="57" y="145"/>
                      <a:pt x="57" y="144"/>
                      <a:pt x="57" y="144"/>
                    </a:cubicBezTo>
                    <a:cubicBezTo>
                      <a:pt x="58" y="143"/>
                      <a:pt x="59" y="143"/>
                      <a:pt x="59" y="143"/>
                    </a:cubicBezTo>
                    <a:cubicBezTo>
                      <a:pt x="59" y="143"/>
                      <a:pt x="59" y="143"/>
                      <a:pt x="58" y="143"/>
                    </a:cubicBezTo>
                    <a:cubicBezTo>
                      <a:pt x="59" y="142"/>
                      <a:pt x="61" y="142"/>
                      <a:pt x="62" y="142"/>
                    </a:cubicBezTo>
                    <a:cubicBezTo>
                      <a:pt x="61" y="142"/>
                      <a:pt x="61" y="142"/>
                      <a:pt x="61" y="142"/>
                    </a:cubicBezTo>
                    <a:cubicBezTo>
                      <a:pt x="62" y="143"/>
                      <a:pt x="63" y="142"/>
                      <a:pt x="64" y="142"/>
                    </a:cubicBezTo>
                    <a:cubicBezTo>
                      <a:pt x="65" y="142"/>
                      <a:pt x="67" y="143"/>
                      <a:pt x="68" y="142"/>
                    </a:cubicBezTo>
                    <a:cubicBezTo>
                      <a:pt x="67" y="142"/>
                      <a:pt x="65" y="142"/>
                      <a:pt x="64" y="142"/>
                    </a:cubicBezTo>
                    <a:cubicBezTo>
                      <a:pt x="63" y="142"/>
                      <a:pt x="62" y="142"/>
                      <a:pt x="60" y="142"/>
                    </a:cubicBezTo>
                    <a:cubicBezTo>
                      <a:pt x="61" y="142"/>
                      <a:pt x="61" y="142"/>
                      <a:pt x="61" y="141"/>
                    </a:cubicBezTo>
                    <a:cubicBezTo>
                      <a:pt x="61" y="141"/>
                      <a:pt x="61" y="141"/>
                      <a:pt x="60" y="141"/>
                    </a:cubicBezTo>
                    <a:cubicBezTo>
                      <a:pt x="61" y="140"/>
                      <a:pt x="63" y="141"/>
                      <a:pt x="65" y="141"/>
                    </a:cubicBezTo>
                    <a:cubicBezTo>
                      <a:pt x="65" y="141"/>
                      <a:pt x="67" y="141"/>
                      <a:pt x="67" y="140"/>
                    </a:cubicBezTo>
                    <a:cubicBezTo>
                      <a:pt x="66" y="140"/>
                      <a:pt x="64" y="141"/>
                      <a:pt x="63" y="140"/>
                    </a:cubicBezTo>
                    <a:cubicBezTo>
                      <a:pt x="64" y="140"/>
                      <a:pt x="65" y="140"/>
                      <a:pt x="65" y="140"/>
                    </a:cubicBezTo>
                    <a:cubicBezTo>
                      <a:pt x="65" y="140"/>
                      <a:pt x="67" y="140"/>
                      <a:pt x="67" y="139"/>
                    </a:cubicBezTo>
                    <a:cubicBezTo>
                      <a:pt x="66" y="139"/>
                      <a:pt x="65" y="140"/>
                      <a:pt x="64" y="140"/>
                    </a:cubicBezTo>
                    <a:cubicBezTo>
                      <a:pt x="64" y="140"/>
                      <a:pt x="64" y="139"/>
                      <a:pt x="65" y="139"/>
                    </a:cubicBezTo>
                    <a:cubicBezTo>
                      <a:pt x="66" y="139"/>
                      <a:pt x="66" y="139"/>
                      <a:pt x="67" y="139"/>
                    </a:cubicBezTo>
                    <a:cubicBezTo>
                      <a:pt x="67" y="139"/>
                      <a:pt x="68" y="139"/>
                      <a:pt x="69" y="139"/>
                    </a:cubicBezTo>
                    <a:cubicBezTo>
                      <a:pt x="69" y="139"/>
                      <a:pt x="70" y="140"/>
                      <a:pt x="70" y="139"/>
                    </a:cubicBezTo>
                    <a:cubicBezTo>
                      <a:pt x="70" y="139"/>
                      <a:pt x="69" y="139"/>
                      <a:pt x="69" y="139"/>
                    </a:cubicBezTo>
                    <a:cubicBezTo>
                      <a:pt x="69" y="139"/>
                      <a:pt x="70" y="139"/>
                      <a:pt x="70" y="138"/>
                    </a:cubicBezTo>
                    <a:cubicBezTo>
                      <a:pt x="70" y="138"/>
                      <a:pt x="69" y="139"/>
                      <a:pt x="69" y="138"/>
                    </a:cubicBezTo>
                    <a:cubicBezTo>
                      <a:pt x="69" y="138"/>
                      <a:pt x="69" y="138"/>
                      <a:pt x="69" y="138"/>
                    </a:cubicBezTo>
                    <a:cubicBezTo>
                      <a:pt x="69" y="138"/>
                      <a:pt x="69" y="138"/>
                      <a:pt x="68" y="139"/>
                    </a:cubicBezTo>
                    <a:cubicBezTo>
                      <a:pt x="67" y="139"/>
                      <a:pt x="67" y="139"/>
                      <a:pt x="66" y="139"/>
                    </a:cubicBezTo>
                    <a:cubicBezTo>
                      <a:pt x="66" y="138"/>
                      <a:pt x="65" y="139"/>
                      <a:pt x="65" y="138"/>
                    </a:cubicBezTo>
                    <a:cubicBezTo>
                      <a:pt x="64" y="138"/>
                      <a:pt x="64" y="138"/>
                      <a:pt x="63" y="138"/>
                    </a:cubicBezTo>
                    <a:cubicBezTo>
                      <a:pt x="63" y="138"/>
                      <a:pt x="62" y="139"/>
                      <a:pt x="61" y="139"/>
                    </a:cubicBezTo>
                    <a:cubicBezTo>
                      <a:pt x="61" y="139"/>
                      <a:pt x="60" y="138"/>
                      <a:pt x="60" y="138"/>
                    </a:cubicBezTo>
                    <a:cubicBezTo>
                      <a:pt x="60" y="138"/>
                      <a:pt x="62" y="138"/>
                      <a:pt x="62" y="138"/>
                    </a:cubicBezTo>
                    <a:cubicBezTo>
                      <a:pt x="63" y="138"/>
                      <a:pt x="64" y="138"/>
                      <a:pt x="64" y="138"/>
                    </a:cubicBezTo>
                    <a:cubicBezTo>
                      <a:pt x="64" y="138"/>
                      <a:pt x="60" y="138"/>
                      <a:pt x="60" y="137"/>
                    </a:cubicBezTo>
                    <a:cubicBezTo>
                      <a:pt x="60" y="137"/>
                      <a:pt x="63" y="137"/>
                      <a:pt x="63" y="137"/>
                    </a:cubicBezTo>
                    <a:cubicBezTo>
                      <a:pt x="63" y="137"/>
                      <a:pt x="60" y="137"/>
                      <a:pt x="59" y="137"/>
                    </a:cubicBezTo>
                    <a:cubicBezTo>
                      <a:pt x="59" y="135"/>
                      <a:pt x="63" y="136"/>
                      <a:pt x="64" y="136"/>
                    </a:cubicBezTo>
                    <a:cubicBezTo>
                      <a:pt x="64" y="136"/>
                      <a:pt x="63" y="136"/>
                      <a:pt x="63" y="136"/>
                    </a:cubicBezTo>
                    <a:cubicBezTo>
                      <a:pt x="64" y="135"/>
                      <a:pt x="65" y="135"/>
                      <a:pt x="66" y="135"/>
                    </a:cubicBezTo>
                    <a:cubicBezTo>
                      <a:pt x="67" y="135"/>
                      <a:pt x="68" y="135"/>
                      <a:pt x="70" y="135"/>
                    </a:cubicBezTo>
                    <a:cubicBezTo>
                      <a:pt x="71" y="135"/>
                      <a:pt x="72" y="134"/>
                      <a:pt x="73" y="134"/>
                    </a:cubicBezTo>
                    <a:cubicBezTo>
                      <a:pt x="74" y="134"/>
                      <a:pt x="74" y="134"/>
                      <a:pt x="75" y="135"/>
                    </a:cubicBezTo>
                    <a:cubicBezTo>
                      <a:pt x="75" y="135"/>
                      <a:pt x="76" y="134"/>
                      <a:pt x="76" y="134"/>
                    </a:cubicBezTo>
                    <a:cubicBezTo>
                      <a:pt x="77" y="134"/>
                      <a:pt x="78" y="134"/>
                      <a:pt x="78" y="135"/>
                    </a:cubicBezTo>
                    <a:cubicBezTo>
                      <a:pt x="79" y="136"/>
                      <a:pt x="79" y="137"/>
                      <a:pt x="81" y="136"/>
                    </a:cubicBezTo>
                    <a:cubicBezTo>
                      <a:pt x="82" y="136"/>
                      <a:pt x="82" y="136"/>
                      <a:pt x="84" y="136"/>
                    </a:cubicBezTo>
                    <a:cubicBezTo>
                      <a:pt x="84" y="136"/>
                      <a:pt x="85" y="136"/>
                      <a:pt x="86" y="136"/>
                    </a:cubicBezTo>
                    <a:cubicBezTo>
                      <a:pt x="85" y="136"/>
                      <a:pt x="85" y="136"/>
                      <a:pt x="85" y="136"/>
                    </a:cubicBezTo>
                    <a:cubicBezTo>
                      <a:pt x="84" y="135"/>
                      <a:pt x="84" y="136"/>
                      <a:pt x="84" y="136"/>
                    </a:cubicBezTo>
                    <a:cubicBezTo>
                      <a:pt x="83" y="136"/>
                      <a:pt x="82" y="136"/>
                      <a:pt x="81" y="136"/>
                    </a:cubicBezTo>
                    <a:cubicBezTo>
                      <a:pt x="79" y="137"/>
                      <a:pt x="79" y="135"/>
                      <a:pt x="78" y="134"/>
                    </a:cubicBezTo>
                    <a:cubicBezTo>
                      <a:pt x="79" y="134"/>
                      <a:pt x="80" y="134"/>
                      <a:pt x="81" y="134"/>
                    </a:cubicBezTo>
                    <a:cubicBezTo>
                      <a:pt x="80" y="133"/>
                      <a:pt x="79" y="134"/>
                      <a:pt x="77" y="134"/>
                    </a:cubicBezTo>
                    <a:cubicBezTo>
                      <a:pt x="76" y="134"/>
                      <a:pt x="74" y="134"/>
                      <a:pt x="72" y="134"/>
                    </a:cubicBezTo>
                    <a:cubicBezTo>
                      <a:pt x="71" y="134"/>
                      <a:pt x="70" y="134"/>
                      <a:pt x="68" y="135"/>
                    </a:cubicBezTo>
                    <a:cubicBezTo>
                      <a:pt x="68" y="135"/>
                      <a:pt x="65" y="135"/>
                      <a:pt x="66" y="134"/>
                    </a:cubicBezTo>
                    <a:cubicBezTo>
                      <a:pt x="65" y="134"/>
                      <a:pt x="65" y="135"/>
                      <a:pt x="64" y="135"/>
                    </a:cubicBezTo>
                    <a:cubicBezTo>
                      <a:pt x="63" y="135"/>
                      <a:pt x="62" y="136"/>
                      <a:pt x="61" y="136"/>
                    </a:cubicBezTo>
                    <a:cubicBezTo>
                      <a:pt x="61" y="135"/>
                      <a:pt x="60" y="136"/>
                      <a:pt x="61" y="135"/>
                    </a:cubicBezTo>
                    <a:cubicBezTo>
                      <a:pt x="61" y="135"/>
                      <a:pt x="62" y="134"/>
                      <a:pt x="62" y="134"/>
                    </a:cubicBezTo>
                    <a:cubicBezTo>
                      <a:pt x="64" y="133"/>
                      <a:pt x="66" y="133"/>
                      <a:pt x="68" y="132"/>
                    </a:cubicBezTo>
                    <a:cubicBezTo>
                      <a:pt x="68" y="132"/>
                      <a:pt x="67" y="132"/>
                      <a:pt x="67" y="132"/>
                    </a:cubicBezTo>
                    <a:cubicBezTo>
                      <a:pt x="68" y="132"/>
                      <a:pt x="69" y="132"/>
                      <a:pt x="70" y="131"/>
                    </a:cubicBezTo>
                    <a:cubicBezTo>
                      <a:pt x="69" y="131"/>
                      <a:pt x="69" y="131"/>
                      <a:pt x="68" y="131"/>
                    </a:cubicBezTo>
                    <a:cubicBezTo>
                      <a:pt x="68" y="131"/>
                      <a:pt x="70" y="131"/>
                      <a:pt x="70" y="131"/>
                    </a:cubicBezTo>
                    <a:cubicBezTo>
                      <a:pt x="71" y="131"/>
                      <a:pt x="72" y="131"/>
                      <a:pt x="73" y="131"/>
                    </a:cubicBezTo>
                    <a:cubicBezTo>
                      <a:pt x="72" y="131"/>
                      <a:pt x="71" y="131"/>
                      <a:pt x="71" y="131"/>
                    </a:cubicBezTo>
                    <a:cubicBezTo>
                      <a:pt x="71" y="131"/>
                      <a:pt x="72" y="131"/>
                      <a:pt x="72" y="131"/>
                    </a:cubicBezTo>
                    <a:cubicBezTo>
                      <a:pt x="73" y="131"/>
                      <a:pt x="73" y="130"/>
                      <a:pt x="73" y="130"/>
                    </a:cubicBezTo>
                    <a:cubicBezTo>
                      <a:pt x="74" y="130"/>
                      <a:pt x="74" y="131"/>
                      <a:pt x="75" y="131"/>
                    </a:cubicBezTo>
                    <a:cubicBezTo>
                      <a:pt x="75" y="131"/>
                      <a:pt x="76" y="131"/>
                      <a:pt x="76" y="131"/>
                    </a:cubicBezTo>
                    <a:cubicBezTo>
                      <a:pt x="77" y="131"/>
                      <a:pt x="77" y="131"/>
                      <a:pt x="77" y="131"/>
                    </a:cubicBezTo>
                    <a:cubicBezTo>
                      <a:pt x="77" y="132"/>
                      <a:pt x="77" y="132"/>
                      <a:pt x="78" y="132"/>
                    </a:cubicBezTo>
                    <a:cubicBezTo>
                      <a:pt x="79" y="132"/>
                      <a:pt x="80" y="131"/>
                      <a:pt x="81" y="131"/>
                    </a:cubicBezTo>
                    <a:cubicBezTo>
                      <a:pt x="82" y="131"/>
                      <a:pt x="83" y="132"/>
                      <a:pt x="84" y="132"/>
                    </a:cubicBezTo>
                    <a:cubicBezTo>
                      <a:pt x="84" y="133"/>
                      <a:pt x="85" y="133"/>
                      <a:pt x="86" y="133"/>
                    </a:cubicBezTo>
                    <a:cubicBezTo>
                      <a:pt x="87" y="133"/>
                      <a:pt x="88" y="133"/>
                      <a:pt x="89" y="133"/>
                    </a:cubicBezTo>
                    <a:cubicBezTo>
                      <a:pt x="89" y="133"/>
                      <a:pt x="89" y="133"/>
                      <a:pt x="88" y="133"/>
                    </a:cubicBezTo>
                    <a:cubicBezTo>
                      <a:pt x="88" y="133"/>
                      <a:pt x="87" y="133"/>
                      <a:pt x="87" y="133"/>
                    </a:cubicBezTo>
                    <a:cubicBezTo>
                      <a:pt x="86" y="133"/>
                      <a:pt x="86" y="133"/>
                      <a:pt x="85" y="133"/>
                    </a:cubicBezTo>
                    <a:cubicBezTo>
                      <a:pt x="85" y="133"/>
                      <a:pt x="84" y="132"/>
                      <a:pt x="84" y="132"/>
                    </a:cubicBezTo>
                    <a:cubicBezTo>
                      <a:pt x="84" y="132"/>
                      <a:pt x="84" y="132"/>
                      <a:pt x="85" y="132"/>
                    </a:cubicBezTo>
                    <a:cubicBezTo>
                      <a:pt x="84" y="132"/>
                      <a:pt x="84" y="132"/>
                      <a:pt x="83" y="132"/>
                    </a:cubicBezTo>
                    <a:cubicBezTo>
                      <a:pt x="83" y="132"/>
                      <a:pt x="84" y="132"/>
                      <a:pt x="84" y="131"/>
                    </a:cubicBezTo>
                    <a:cubicBezTo>
                      <a:pt x="84" y="131"/>
                      <a:pt x="83" y="132"/>
                      <a:pt x="83" y="131"/>
                    </a:cubicBezTo>
                    <a:cubicBezTo>
                      <a:pt x="82" y="131"/>
                      <a:pt x="82" y="131"/>
                      <a:pt x="81" y="131"/>
                    </a:cubicBezTo>
                    <a:cubicBezTo>
                      <a:pt x="82" y="131"/>
                      <a:pt x="83" y="131"/>
                      <a:pt x="83" y="131"/>
                    </a:cubicBezTo>
                    <a:cubicBezTo>
                      <a:pt x="84" y="131"/>
                      <a:pt x="85" y="131"/>
                      <a:pt x="85" y="130"/>
                    </a:cubicBezTo>
                    <a:cubicBezTo>
                      <a:pt x="86" y="130"/>
                      <a:pt x="87" y="130"/>
                      <a:pt x="88" y="130"/>
                    </a:cubicBezTo>
                    <a:cubicBezTo>
                      <a:pt x="88" y="130"/>
                      <a:pt x="89" y="130"/>
                      <a:pt x="89" y="130"/>
                    </a:cubicBezTo>
                    <a:cubicBezTo>
                      <a:pt x="89" y="130"/>
                      <a:pt x="88" y="130"/>
                      <a:pt x="88" y="129"/>
                    </a:cubicBezTo>
                    <a:cubicBezTo>
                      <a:pt x="88" y="130"/>
                      <a:pt x="87" y="129"/>
                      <a:pt x="87" y="129"/>
                    </a:cubicBezTo>
                    <a:cubicBezTo>
                      <a:pt x="86" y="129"/>
                      <a:pt x="86" y="129"/>
                      <a:pt x="85" y="130"/>
                    </a:cubicBezTo>
                    <a:cubicBezTo>
                      <a:pt x="86" y="130"/>
                      <a:pt x="86" y="129"/>
                      <a:pt x="87" y="130"/>
                    </a:cubicBezTo>
                    <a:cubicBezTo>
                      <a:pt x="86" y="130"/>
                      <a:pt x="86" y="130"/>
                      <a:pt x="86" y="130"/>
                    </a:cubicBezTo>
                    <a:cubicBezTo>
                      <a:pt x="86" y="130"/>
                      <a:pt x="85" y="130"/>
                      <a:pt x="85" y="130"/>
                    </a:cubicBezTo>
                    <a:cubicBezTo>
                      <a:pt x="85" y="130"/>
                      <a:pt x="85" y="130"/>
                      <a:pt x="85" y="130"/>
                    </a:cubicBezTo>
                    <a:cubicBezTo>
                      <a:pt x="84" y="130"/>
                      <a:pt x="84" y="130"/>
                      <a:pt x="84" y="130"/>
                    </a:cubicBezTo>
                    <a:cubicBezTo>
                      <a:pt x="83" y="130"/>
                      <a:pt x="82" y="131"/>
                      <a:pt x="82" y="130"/>
                    </a:cubicBezTo>
                    <a:cubicBezTo>
                      <a:pt x="83" y="130"/>
                      <a:pt x="82" y="129"/>
                      <a:pt x="82" y="129"/>
                    </a:cubicBezTo>
                    <a:cubicBezTo>
                      <a:pt x="82" y="129"/>
                      <a:pt x="83" y="129"/>
                      <a:pt x="84" y="129"/>
                    </a:cubicBezTo>
                    <a:cubicBezTo>
                      <a:pt x="85" y="130"/>
                      <a:pt x="84" y="129"/>
                      <a:pt x="85" y="128"/>
                    </a:cubicBezTo>
                    <a:cubicBezTo>
                      <a:pt x="84" y="129"/>
                      <a:pt x="83" y="128"/>
                      <a:pt x="83" y="129"/>
                    </a:cubicBezTo>
                    <a:cubicBezTo>
                      <a:pt x="82" y="129"/>
                      <a:pt x="81" y="129"/>
                      <a:pt x="81" y="129"/>
                    </a:cubicBezTo>
                    <a:cubicBezTo>
                      <a:pt x="81" y="129"/>
                      <a:pt x="82" y="130"/>
                      <a:pt x="82" y="130"/>
                    </a:cubicBezTo>
                    <a:cubicBezTo>
                      <a:pt x="81" y="130"/>
                      <a:pt x="81" y="131"/>
                      <a:pt x="80" y="131"/>
                    </a:cubicBezTo>
                    <a:cubicBezTo>
                      <a:pt x="80" y="131"/>
                      <a:pt x="80" y="131"/>
                      <a:pt x="80" y="131"/>
                    </a:cubicBezTo>
                    <a:cubicBezTo>
                      <a:pt x="80" y="130"/>
                      <a:pt x="79" y="131"/>
                      <a:pt x="78" y="131"/>
                    </a:cubicBezTo>
                    <a:cubicBezTo>
                      <a:pt x="78" y="131"/>
                      <a:pt x="77" y="131"/>
                      <a:pt x="78" y="131"/>
                    </a:cubicBezTo>
                    <a:cubicBezTo>
                      <a:pt x="78" y="130"/>
                      <a:pt x="79" y="131"/>
                      <a:pt x="79" y="130"/>
                    </a:cubicBezTo>
                    <a:cubicBezTo>
                      <a:pt x="79" y="130"/>
                      <a:pt x="77" y="131"/>
                      <a:pt x="77" y="131"/>
                    </a:cubicBezTo>
                    <a:cubicBezTo>
                      <a:pt x="76" y="130"/>
                      <a:pt x="76" y="130"/>
                      <a:pt x="75" y="130"/>
                    </a:cubicBezTo>
                    <a:cubicBezTo>
                      <a:pt x="75" y="130"/>
                      <a:pt x="75" y="130"/>
                      <a:pt x="75" y="130"/>
                    </a:cubicBezTo>
                    <a:cubicBezTo>
                      <a:pt x="76" y="129"/>
                      <a:pt x="77" y="129"/>
                      <a:pt x="79" y="129"/>
                    </a:cubicBezTo>
                    <a:cubicBezTo>
                      <a:pt x="79" y="129"/>
                      <a:pt x="81" y="129"/>
                      <a:pt x="81" y="128"/>
                    </a:cubicBezTo>
                    <a:cubicBezTo>
                      <a:pt x="80" y="129"/>
                      <a:pt x="79" y="129"/>
                      <a:pt x="78" y="129"/>
                    </a:cubicBezTo>
                    <a:cubicBezTo>
                      <a:pt x="76" y="129"/>
                      <a:pt x="75" y="129"/>
                      <a:pt x="74" y="130"/>
                    </a:cubicBezTo>
                    <a:cubicBezTo>
                      <a:pt x="73" y="130"/>
                      <a:pt x="73" y="130"/>
                      <a:pt x="72" y="130"/>
                    </a:cubicBezTo>
                    <a:cubicBezTo>
                      <a:pt x="71" y="130"/>
                      <a:pt x="70" y="130"/>
                      <a:pt x="69" y="131"/>
                    </a:cubicBezTo>
                    <a:cubicBezTo>
                      <a:pt x="67" y="131"/>
                      <a:pt x="66" y="132"/>
                      <a:pt x="64" y="133"/>
                    </a:cubicBezTo>
                    <a:cubicBezTo>
                      <a:pt x="64" y="133"/>
                      <a:pt x="63" y="133"/>
                      <a:pt x="63" y="132"/>
                    </a:cubicBezTo>
                    <a:cubicBezTo>
                      <a:pt x="64" y="132"/>
                      <a:pt x="65" y="132"/>
                      <a:pt x="65" y="132"/>
                    </a:cubicBezTo>
                    <a:cubicBezTo>
                      <a:pt x="65" y="132"/>
                      <a:pt x="64" y="132"/>
                      <a:pt x="64" y="132"/>
                    </a:cubicBezTo>
                    <a:cubicBezTo>
                      <a:pt x="65" y="131"/>
                      <a:pt x="65" y="131"/>
                      <a:pt x="65" y="131"/>
                    </a:cubicBezTo>
                    <a:cubicBezTo>
                      <a:pt x="66" y="130"/>
                      <a:pt x="65" y="130"/>
                      <a:pt x="65" y="130"/>
                    </a:cubicBezTo>
                    <a:cubicBezTo>
                      <a:pt x="65" y="130"/>
                      <a:pt x="66" y="130"/>
                      <a:pt x="67" y="130"/>
                    </a:cubicBezTo>
                    <a:cubicBezTo>
                      <a:pt x="67" y="130"/>
                      <a:pt x="66" y="130"/>
                      <a:pt x="66" y="130"/>
                    </a:cubicBezTo>
                    <a:cubicBezTo>
                      <a:pt x="67" y="130"/>
                      <a:pt x="67" y="130"/>
                      <a:pt x="68" y="130"/>
                    </a:cubicBezTo>
                    <a:cubicBezTo>
                      <a:pt x="68" y="130"/>
                      <a:pt x="67" y="130"/>
                      <a:pt x="67" y="130"/>
                    </a:cubicBezTo>
                    <a:cubicBezTo>
                      <a:pt x="67" y="130"/>
                      <a:pt x="67" y="130"/>
                      <a:pt x="67" y="129"/>
                    </a:cubicBezTo>
                    <a:cubicBezTo>
                      <a:pt x="67" y="129"/>
                      <a:pt x="67" y="129"/>
                      <a:pt x="67" y="129"/>
                    </a:cubicBezTo>
                    <a:cubicBezTo>
                      <a:pt x="67" y="129"/>
                      <a:pt x="68" y="129"/>
                      <a:pt x="68" y="129"/>
                    </a:cubicBezTo>
                    <a:cubicBezTo>
                      <a:pt x="68" y="130"/>
                      <a:pt x="68" y="130"/>
                      <a:pt x="68" y="130"/>
                    </a:cubicBezTo>
                    <a:cubicBezTo>
                      <a:pt x="68" y="130"/>
                      <a:pt x="68" y="130"/>
                      <a:pt x="69" y="130"/>
                    </a:cubicBezTo>
                    <a:cubicBezTo>
                      <a:pt x="68" y="130"/>
                      <a:pt x="68" y="130"/>
                      <a:pt x="68" y="130"/>
                    </a:cubicBezTo>
                    <a:cubicBezTo>
                      <a:pt x="69" y="129"/>
                      <a:pt x="69" y="129"/>
                      <a:pt x="70" y="129"/>
                    </a:cubicBezTo>
                    <a:cubicBezTo>
                      <a:pt x="69" y="129"/>
                      <a:pt x="69" y="129"/>
                      <a:pt x="68" y="129"/>
                    </a:cubicBezTo>
                    <a:cubicBezTo>
                      <a:pt x="69" y="129"/>
                      <a:pt x="70" y="128"/>
                      <a:pt x="71" y="128"/>
                    </a:cubicBezTo>
                    <a:cubicBezTo>
                      <a:pt x="71" y="128"/>
                      <a:pt x="70" y="128"/>
                      <a:pt x="69" y="128"/>
                    </a:cubicBezTo>
                    <a:cubicBezTo>
                      <a:pt x="69" y="128"/>
                      <a:pt x="70" y="128"/>
                      <a:pt x="70" y="128"/>
                    </a:cubicBezTo>
                    <a:cubicBezTo>
                      <a:pt x="71" y="128"/>
                      <a:pt x="72" y="128"/>
                      <a:pt x="72" y="128"/>
                    </a:cubicBezTo>
                    <a:cubicBezTo>
                      <a:pt x="73" y="129"/>
                      <a:pt x="74" y="129"/>
                      <a:pt x="75" y="129"/>
                    </a:cubicBezTo>
                    <a:cubicBezTo>
                      <a:pt x="76" y="129"/>
                      <a:pt x="77" y="129"/>
                      <a:pt x="77" y="128"/>
                    </a:cubicBezTo>
                    <a:cubicBezTo>
                      <a:pt x="75" y="129"/>
                      <a:pt x="72" y="129"/>
                      <a:pt x="70" y="127"/>
                    </a:cubicBezTo>
                    <a:cubicBezTo>
                      <a:pt x="70" y="127"/>
                      <a:pt x="71" y="127"/>
                      <a:pt x="71" y="127"/>
                    </a:cubicBezTo>
                    <a:cubicBezTo>
                      <a:pt x="71" y="127"/>
                      <a:pt x="69" y="127"/>
                      <a:pt x="70" y="127"/>
                    </a:cubicBezTo>
                    <a:cubicBezTo>
                      <a:pt x="69" y="127"/>
                      <a:pt x="69" y="127"/>
                      <a:pt x="68" y="127"/>
                    </a:cubicBezTo>
                    <a:cubicBezTo>
                      <a:pt x="69" y="126"/>
                      <a:pt x="70" y="126"/>
                      <a:pt x="71" y="127"/>
                    </a:cubicBezTo>
                    <a:cubicBezTo>
                      <a:pt x="72" y="127"/>
                      <a:pt x="74" y="128"/>
                      <a:pt x="75" y="128"/>
                    </a:cubicBezTo>
                    <a:cubicBezTo>
                      <a:pt x="75" y="127"/>
                      <a:pt x="74" y="127"/>
                      <a:pt x="73" y="127"/>
                    </a:cubicBezTo>
                    <a:cubicBezTo>
                      <a:pt x="73" y="126"/>
                      <a:pt x="75" y="127"/>
                      <a:pt x="76" y="127"/>
                    </a:cubicBezTo>
                    <a:cubicBezTo>
                      <a:pt x="78" y="128"/>
                      <a:pt x="79" y="128"/>
                      <a:pt x="81" y="128"/>
                    </a:cubicBezTo>
                    <a:cubicBezTo>
                      <a:pt x="82" y="128"/>
                      <a:pt x="83" y="127"/>
                      <a:pt x="84" y="128"/>
                    </a:cubicBezTo>
                    <a:cubicBezTo>
                      <a:pt x="85" y="128"/>
                      <a:pt x="86" y="128"/>
                      <a:pt x="86" y="129"/>
                    </a:cubicBezTo>
                    <a:cubicBezTo>
                      <a:pt x="87" y="129"/>
                      <a:pt x="87" y="129"/>
                      <a:pt x="88" y="129"/>
                    </a:cubicBezTo>
                    <a:cubicBezTo>
                      <a:pt x="89" y="129"/>
                      <a:pt x="90" y="129"/>
                      <a:pt x="91" y="129"/>
                    </a:cubicBezTo>
                    <a:cubicBezTo>
                      <a:pt x="90" y="129"/>
                      <a:pt x="88" y="129"/>
                      <a:pt x="88" y="128"/>
                    </a:cubicBezTo>
                    <a:cubicBezTo>
                      <a:pt x="88" y="128"/>
                      <a:pt x="87" y="128"/>
                      <a:pt x="87" y="128"/>
                    </a:cubicBezTo>
                    <a:cubicBezTo>
                      <a:pt x="87" y="128"/>
                      <a:pt x="87" y="128"/>
                      <a:pt x="87" y="128"/>
                    </a:cubicBezTo>
                    <a:cubicBezTo>
                      <a:pt x="87" y="128"/>
                      <a:pt x="86" y="128"/>
                      <a:pt x="85" y="127"/>
                    </a:cubicBezTo>
                    <a:cubicBezTo>
                      <a:pt x="86" y="127"/>
                      <a:pt x="86" y="127"/>
                      <a:pt x="86" y="127"/>
                    </a:cubicBezTo>
                    <a:cubicBezTo>
                      <a:pt x="86" y="127"/>
                      <a:pt x="85" y="127"/>
                      <a:pt x="85" y="127"/>
                    </a:cubicBezTo>
                    <a:cubicBezTo>
                      <a:pt x="85" y="127"/>
                      <a:pt x="85" y="127"/>
                      <a:pt x="85" y="127"/>
                    </a:cubicBezTo>
                    <a:cubicBezTo>
                      <a:pt x="84" y="127"/>
                      <a:pt x="83" y="127"/>
                      <a:pt x="83" y="126"/>
                    </a:cubicBezTo>
                    <a:cubicBezTo>
                      <a:pt x="83" y="126"/>
                      <a:pt x="86" y="127"/>
                      <a:pt x="86" y="126"/>
                    </a:cubicBezTo>
                    <a:cubicBezTo>
                      <a:pt x="86" y="126"/>
                      <a:pt x="84" y="126"/>
                      <a:pt x="84" y="126"/>
                    </a:cubicBezTo>
                    <a:cubicBezTo>
                      <a:pt x="84" y="126"/>
                      <a:pt x="86" y="125"/>
                      <a:pt x="86" y="125"/>
                    </a:cubicBezTo>
                    <a:cubicBezTo>
                      <a:pt x="85" y="124"/>
                      <a:pt x="89" y="124"/>
                      <a:pt x="89" y="124"/>
                    </a:cubicBezTo>
                    <a:cubicBezTo>
                      <a:pt x="89" y="123"/>
                      <a:pt x="87" y="124"/>
                      <a:pt x="86" y="124"/>
                    </a:cubicBezTo>
                    <a:cubicBezTo>
                      <a:pt x="86" y="124"/>
                      <a:pt x="85" y="124"/>
                      <a:pt x="85" y="124"/>
                    </a:cubicBezTo>
                    <a:cubicBezTo>
                      <a:pt x="84" y="124"/>
                      <a:pt x="83" y="124"/>
                      <a:pt x="83" y="124"/>
                    </a:cubicBezTo>
                    <a:cubicBezTo>
                      <a:pt x="83" y="125"/>
                      <a:pt x="83" y="125"/>
                      <a:pt x="84" y="125"/>
                    </a:cubicBezTo>
                    <a:cubicBezTo>
                      <a:pt x="84" y="125"/>
                      <a:pt x="85" y="125"/>
                      <a:pt x="85" y="125"/>
                    </a:cubicBezTo>
                    <a:cubicBezTo>
                      <a:pt x="85" y="126"/>
                      <a:pt x="82" y="126"/>
                      <a:pt x="82" y="126"/>
                    </a:cubicBezTo>
                    <a:cubicBezTo>
                      <a:pt x="81" y="126"/>
                      <a:pt x="80" y="126"/>
                      <a:pt x="79" y="126"/>
                    </a:cubicBezTo>
                    <a:cubicBezTo>
                      <a:pt x="78" y="126"/>
                      <a:pt x="77" y="127"/>
                      <a:pt x="75" y="127"/>
                    </a:cubicBezTo>
                    <a:cubicBezTo>
                      <a:pt x="76" y="126"/>
                      <a:pt x="75" y="126"/>
                      <a:pt x="76" y="126"/>
                    </a:cubicBezTo>
                    <a:cubicBezTo>
                      <a:pt x="75" y="126"/>
                      <a:pt x="74" y="126"/>
                      <a:pt x="74" y="126"/>
                    </a:cubicBezTo>
                    <a:cubicBezTo>
                      <a:pt x="74" y="126"/>
                      <a:pt x="74" y="126"/>
                      <a:pt x="74" y="126"/>
                    </a:cubicBezTo>
                    <a:cubicBezTo>
                      <a:pt x="74" y="127"/>
                      <a:pt x="73" y="126"/>
                      <a:pt x="73" y="126"/>
                    </a:cubicBezTo>
                    <a:cubicBezTo>
                      <a:pt x="73" y="126"/>
                      <a:pt x="73" y="126"/>
                      <a:pt x="73" y="126"/>
                    </a:cubicBezTo>
                    <a:cubicBezTo>
                      <a:pt x="73" y="126"/>
                      <a:pt x="73" y="126"/>
                      <a:pt x="73" y="126"/>
                    </a:cubicBezTo>
                    <a:cubicBezTo>
                      <a:pt x="73" y="125"/>
                      <a:pt x="75" y="125"/>
                      <a:pt x="75" y="125"/>
                    </a:cubicBezTo>
                    <a:cubicBezTo>
                      <a:pt x="74" y="125"/>
                      <a:pt x="73" y="125"/>
                      <a:pt x="72" y="125"/>
                    </a:cubicBezTo>
                    <a:cubicBezTo>
                      <a:pt x="72" y="126"/>
                      <a:pt x="72" y="126"/>
                      <a:pt x="71" y="125"/>
                    </a:cubicBezTo>
                    <a:cubicBezTo>
                      <a:pt x="71" y="125"/>
                      <a:pt x="70" y="126"/>
                      <a:pt x="70" y="126"/>
                    </a:cubicBezTo>
                    <a:cubicBezTo>
                      <a:pt x="70" y="125"/>
                      <a:pt x="70" y="125"/>
                      <a:pt x="70" y="125"/>
                    </a:cubicBezTo>
                    <a:cubicBezTo>
                      <a:pt x="70" y="125"/>
                      <a:pt x="71" y="125"/>
                      <a:pt x="71" y="125"/>
                    </a:cubicBezTo>
                    <a:cubicBezTo>
                      <a:pt x="72" y="126"/>
                      <a:pt x="73" y="125"/>
                      <a:pt x="74" y="125"/>
                    </a:cubicBezTo>
                    <a:cubicBezTo>
                      <a:pt x="74" y="124"/>
                      <a:pt x="76" y="124"/>
                      <a:pt x="76" y="124"/>
                    </a:cubicBezTo>
                    <a:cubicBezTo>
                      <a:pt x="77" y="124"/>
                      <a:pt x="77" y="124"/>
                      <a:pt x="78" y="123"/>
                    </a:cubicBezTo>
                    <a:cubicBezTo>
                      <a:pt x="77" y="123"/>
                      <a:pt x="76" y="124"/>
                      <a:pt x="76" y="123"/>
                    </a:cubicBezTo>
                    <a:cubicBezTo>
                      <a:pt x="77" y="123"/>
                      <a:pt x="78" y="123"/>
                      <a:pt x="79" y="123"/>
                    </a:cubicBezTo>
                    <a:cubicBezTo>
                      <a:pt x="79" y="123"/>
                      <a:pt x="80" y="123"/>
                      <a:pt x="80" y="123"/>
                    </a:cubicBezTo>
                    <a:cubicBezTo>
                      <a:pt x="81" y="123"/>
                      <a:pt x="81" y="123"/>
                      <a:pt x="82" y="123"/>
                    </a:cubicBezTo>
                    <a:cubicBezTo>
                      <a:pt x="82" y="123"/>
                      <a:pt x="81" y="123"/>
                      <a:pt x="81" y="123"/>
                    </a:cubicBezTo>
                    <a:cubicBezTo>
                      <a:pt x="81" y="123"/>
                      <a:pt x="81" y="123"/>
                      <a:pt x="82" y="123"/>
                    </a:cubicBezTo>
                    <a:cubicBezTo>
                      <a:pt x="82" y="123"/>
                      <a:pt x="83" y="123"/>
                      <a:pt x="83" y="123"/>
                    </a:cubicBezTo>
                    <a:cubicBezTo>
                      <a:pt x="83" y="123"/>
                      <a:pt x="85" y="123"/>
                      <a:pt x="84" y="123"/>
                    </a:cubicBezTo>
                    <a:cubicBezTo>
                      <a:pt x="85" y="123"/>
                      <a:pt x="85" y="123"/>
                      <a:pt x="85" y="123"/>
                    </a:cubicBezTo>
                    <a:cubicBezTo>
                      <a:pt x="85" y="123"/>
                      <a:pt x="86" y="123"/>
                      <a:pt x="86" y="123"/>
                    </a:cubicBezTo>
                    <a:cubicBezTo>
                      <a:pt x="86" y="123"/>
                      <a:pt x="87" y="123"/>
                      <a:pt x="87" y="123"/>
                    </a:cubicBezTo>
                    <a:cubicBezTo>
                      <a:pt x="87" y="123"/>
                      <a:pt x="87" y="123"/>
                      <a:pt x="88" y="123"/>
                    </a:cubicBezTo>
                    <a:cubicBezTo>
                      <a:pt x="88" y="122"/>
                      <a:pt x="88" y="122"/>
                      <a:pt x="88" y="122"/>
                    </a:cubicBezTo>
                    <a:cubicBezTo>
                      <a:pt x="88" y="122"/>
                      <a:pt x="88" y="122"/>
                      <a:pt x="89" y="122"/>
                    </a:cubicBezTo>
                    <a:cubicBezTo>
                      <a:pt x="89" y="122"/>
                      <a:pt x="89" y="122"/>
                      <a:pt x="90" y="122"/>
                    </a:cubicBezTo>
                    <a:cubicBezTo>
                      <a:pt x="89" y="122"/>
                      <a:pt x="89" y="122"/>
                      <a:pt x="89" y="122"/>
                    </a:cubicBezTo>
                    <a:cubicBezTo>
                      <a:pt x="89" y="121"/>
                      <a:pt x="89" y="121"/>
                      <a:pt x="89" y="121"/>
                    </a:cubicBezTo>
                    <a:cubicBezTo>
                      <a:pt x="90" y="121"/>
                      <a:pt x="91" y="121"/>
                      <a:pt x="91" y="121"/>
                    </a:cubicBezTo>
                    <a:cubicBezTo>
                      <a:pt x="91" y="120"/>
                      <a:pt x="90" y="121"/>
                      <a:pt x="90" y="121"/>
                    </a:cubicBezTo>
                    <a:cubicBezTo>
                      <a:pt x="89" y="121"/>
                      <a:pt x="88" y="122"/>
                      <a:pt x="87" y="121"/>
                    </a:cubicBezTo>
                    <a:cubicBezTo>
                      <a:pt x="87" y="121"/>
                      <a:pt x="87" y="121"/>
                      <a:pt x="87" y="121"/>
                    </a:cubicBezTo>
                    <a:cubicBezTo>
                      <a:pt x="88" y="121"/>
                      <a:pt x="88" y="120"/>
                      <a:pt x="88" y="120"/>
                    </a:cubicBezTo>
                    <a:cubicBezTo>
                      <a:pt x="88" y="120"/>
                      <a:pt x="89" y="120"/>
                      <a:pt x="90" y="120"/>
                    </a:cubicBezTo>
                    <a:cubicBezTo>
                      <a:pt x="90" y="120"/>
                      <a:pt x="88" y="120"/>
                      <a:pt x="88" y="120"/>
                    </a:cubicBezTo>
                    <a:cubicBezTo>
                      <a:pt x="88" y="120"/>
                      <a:pt x="89" y="119"/>
                      <a:pt x="89" y="119"/>
                    </a:cubicBezTo>
                    <a:cubicBezTo>
                      <a:pt x="89" y="119"/>
                      <a:pt x="89" y="119"/>
                      <a:pt x="89" y="119"/>
                    </a:cubicBezTo>
                    <a:cubicBezTo>
                      <a:pt x="89" y="119"/>
                      <a:pt x="90" y="118"/>
                      <a:pt x="90" y="118"/>
                    </a:cubicBezTo>
                    <a:cubicBezTo>
                      <a:pt x="90" y="118"/>
                      <a:pt x="90" y="118"/>
                      <a:pt x="91" y="118"/>
                    </a:cubicBezTo>
                    <a:cubicBezTo>
                      <a:pt x="91" y="118"/>
                      <a:pt x="92" y="118"/>
                      <a:pt x="92" y="118"/>
                    </a:cubicBezTo>
                    <a:cubicBezTo>
                      <a:pt x="92" y="118"/>
                      <a:pt x="90" y="118"/>
                      <a:pt x="90" y="119"/>
                    </a:cubicBezTo>
                    <a:cubicBezTo>
                      <a:pt x="91" y="119"/>
                      <a:pt x="92" y="118"/>
                      <a:pt x="92" y="118"/>
                    </a:cubicBezTo>
                    <a:cubicBezTo>
                      <a:pt x="93" y="118"/>
                      <a:pt x="93" y="118"/>
                      <a:pt x="93" y="119"/>
                    </a:cubicBezTo>
                    <a:cubicBezTo>
                      <a:pt x="93" y="119"/>
                      <a:pt x="93" y="119"/>
                      <a:pt x="93" y="119"/>
                    </a:cubicBezTo>
                    <a:cubicBezTo>
                      <a:pt x="93" y="120"/>
                      <a:pt x="95" y="120"/>
                      <a:pt x="94" y="119"/>
                    </a:cubicBezTo>
                    <a:cubicBezTo>
                      <a:pt x="94" y="119"/>
                      <a:pt x="94" y="119"/>
                      <a:pt x="94" y="119"/>
                    </a:cubicBezTo>
                    <a:cubicBezTo>
                      <a:pt x="93" y="118"/>
                      <a:pt x="94" y="119"/>
                      <a:pt x="94" y="119"/>
                    </a:cubicBezTo>
                    <a:cubicBezTo>
                      <a:pt x="95" y="119"/>
                      <a:pt x="95" y="118"/>
                      <a:pt x="95" y="118"/>
                    </a:cubicBezTo>
                    <a:cubicBezTo>
                      <a:pt x="95" y="119"/>
                      <a:pt x="95" y="119"/>
                      <a:pt x="95" y="119"/>
                    </a:cubicBezTo>
                    <a:cubicBezTo>
                      <a:pt x="95" y="119"/>
                      <a:pt x="96" y="119"/>
                      <a:pt x="96" y="119"/>
                    </a:cubicBezTo>
                    <a:cubicBezTo>
                      <a:pt x="96" y="118"/>
                      <a:pt x="94" y="118"/>
                      <a:pt x="94" y="118"/>
                    </a:cubicBezTo>
                    <a:cubicBezTo>
                      <a:pt x="94" y="118"/>
                      <a:pt x="93" y="118"/>
                      <a:pt x="93" y="118"/>
                    </a:cubicBezTo>
                    <a:cubicBezTo>
                      <a:pt x="93" y="117"/>
                      <a:pt x="95" y="118"/>
                      <a:pt x="95" y="118"/>
                    </a:cubicBezTo>
                    <a:cubicBezTo>
                      <a:pt x="96" y="118"/>
                      <a:pt x="97" y="118"/>
                      <a:pt x="97" y="117"/>
                    </a:cubicBezTo>
                    <a:cubicBezTo>
                      <a:pt x="96" y="117"/>
                      <a:pt x="96" y="117"/>
                      <a:pt x="95" y="117"/>
                    </a:cubicBezTo>
                    <a:cubicBezTo>
                      <a:pt x="94" y="117"/>
                      <a:pt x="96" y="116"/>
                      <a:pt x="96" y="116"/>
                    </a:cubicBezTo>
                    <a:cubicBezTo>
                      <a:pt x="96" y="116"/>
                      <a:pt x="95" y="116"/>
                      <a:pt x="95" y="116"/>
                    </a:cubicBezTo>
                    <a:cubicBezTo>
                      <a:pt x="94" y="116"/>
                      <a:pt x="94" y="117"/>
                      <a:pt x="94" y="117"/>
                    </a:cubicBezTo>
                    <a:cubicBezTo>
                      <a:pt x="94" y="117"/>
                      <a:pt x="93" y="117"/>
                      <a:pt x="93" y="117"/>
                    </a:cubicBezTo>
                    <a:cubicBezTo>
                      <a:pt x="92" y="117"/>
                      <a:pt x="92" y="117"/>
                      <a:pt x="92" y="117"/>
                    </a:cubicBezTo>
                    <a:cubicBezTo>
                      <a:pt x="91" y="117"/>
                      <a:pt x="91" y="117"/>
                      <a:pt x="90" y="117"/>
                    </a:cubicBezTo>
                    <a:cubicBezTo>
                      <a:pt x="90" y="116"/>
                      <a:pt x="92" y="117"/>
                      <a:pt x="92" y="116"/>
                    </a:cubicBezTo>
                    <a:cubicBezTo>
                      <a:pt x="92" y="116"/>
                      <a:pt x="92" y="116"/>
                      <a:pt x="92" y="116"/>
                    </a:cubicBezTo>
                    <a:cubicBezTo>
                      <a:pt x="92" y="116"/>
                      <a:pt x="93" y="116"/>
                      <a:pt x="93" y="116"/>
                    </a:cubicBezTo>
                    <a:cubicBezTo>
                      <a:pt x="93" y="116"/>
                      <a:pt x="93" y="116"/>
                      <a:pt x="93" y="115"/>
                    </a:cubicBezTo>
                    <a:cubicBezTo>
                      <a:pt x="93" y="115"/>
                      <a:pt x="93" y="115"/>
                      <a:pt x="93" y="115"/>
                    </a:cubicBezTo>
                    <a:cubicBezTo>
                      <a:pt x="94" y="115"/>
                      <a:pt x="94" y="114"/>
                      <a:pt x="95" y="114"/>
                    </a:cubicBezTo>
                    <a:cubicBezTo>
                      <a:pt x="95" y="115"/>
                      <a:pt x="96" y="115"/>
                      <a:pt x="96" y="114"/>
                    </a:cubicBezTo>
                    <a:cubicBezTo>
                      <a:pt x="97" y="114"/>
                      <a:pt x="97" y="114"/>
                      <a:pt x="98" y="114"/>
                    </a:cubicBezTo>
                    <a:cubicBezTo>
                      <a:pt x="98" y="114"/>
                      <a:pt x="97" y="114"/>
                      <a:pt x="96" y="114"/>
                    </a:cubicBezTo>
                    <a:cubicBezTo>
                      <a:pt x="96" y="114"/>
                      <a:pt x="96" y="114"/>
                      <a:pt x="95" y="114"/>
                    </a:cubicBezTo>
                    <a:cubicBezTo>
                      <a:pt x="95" y="114"/>
                      <a:pt x="94" y="114"/>
                      <a:pt x="95" y="114"/>
                    </a:cubicBezTo>
                    <a:cubicBezTo>
                      <a:pt x="95" y="114"/>
                      <a:pt x="93" y="114"/>
                      <a:pt x="93" y="114"/>
                    </a:cubicBezTo>
                    <a:cubicBezTo>
                      <a:pt x="93" y="114"/>
                      <a:pt x="94" y="114"/>
                      <a:pt x="94" y="114"/>
                    </a:cubicBezTo>
                    <a:cubicBezTo>
                      <a:pt x="94" y="113"/>
                      <a:pt x="94" y="113"/>
                      <a:pt x="95" y="113"/>
                    </a:cubicBezTo>
                    <a:cubicBezTo>
                      <a:pt x="95" y="113"/>
                      <a:pt x="96" y="113"/>
                      <a:pt x="97" y="113"/>
                    </a:cubicBezTo>
                    <a:cubicBezTo>
                      <a:pt x="97" y="113"/>
                      <a:pt x="96" y="113"/>
                      <a:pt x="96" y="113"/>
                    </a:cubicBezTo>
                    <a:cubicBezTo>
                      <a:pt x="96" y="113"/>
                      <a:pt x="94" y="113"/>
                      <a:pt x="95" y="112"/>
                    </a:cubicBezTo>
                    <a:cubicBezTo>
                      <a:pt x="96" y="112"/>
                      <a:pt x="96" y="112"/>
                      <a:pt x="97" y="112"/>
                    </a:cubicBezTo>
                    <a:cubicBezTo>
                      <a:pt x="98" y="112"/>
                      <a:pt x="98" y="112"/>
                      <a:pt x="99" y="112"/>
                    </a:cubicBezTo>
                    <a:cubicBezTo>
                      <a:pt x="99" y="111"/>
                      <a:pt x="99" y="111"/>
                      <a:pt x="99" y="111"/>
                    </a:cubicBezTo>
                    <a:cubicBezTo>
                      <a:pt x="99" y="111"/>
                      <a:pt x="98" y="111"/>
                      <a:pt x="98" y="111"/>
                    </a:cubicBezTo>
                    <a:cubicBezTo>
                      <a:pt x="98" y="111"/>
                      <a:pt x="97" y="110"/>
                      <a:pt x="98" y="110"/>
                    </a:cubicBezTo>
                    <a:cubicBezTo>
                      <a:pt x="99" y="110"/>
                      <a:pt x="100" y="110"/>
                      <a:pt x="100" y="110"/>
                    </a:cubicBezTo>
                    <a:cubicBezTo>
                      <a:pt x="101" y="109"/>
                      <a:pt x="99" y="109"/>
                      <a:pt x="99" y="109"/>
                    </a:cubicBezTo>
                    <a:cubicBezTo>
                      <a:pt x="99" y="109"/>
                      <a:pt x="99" y="109"/>
                      <a:pt x="98" y="109"/>
                    </a:cubicBezTo>
                    <a:cubicBezTo>
                      <a:pt x="96" y="110"/>
                      <a:pt x="95" y="110"/>
                      <a:pt x="93" y="110"/>
                    </a:cubicBezTo>
                    <a:cubicBezTo>
                      <a:pt x="93" y="110"/>
                      <a:pt x="94" y="110"/>
                      <a:pt x="95" y="109"/>
                    </a:cubicBezTo>
                    <a:cubicBezTo>
                      <a:pt x="95" y="109"/>
                      <a:pt x="95" y="110"/>
                      <a:pt x="96" y="109"/>
                    </a:cubicBezTo>
                    <a:cubicBezTo>
                      <a:pt x="96" y="109"/>
                      <a:pt x="95" y="109"/>
                      <a:pt x="95" y="109"/>
                    </a:cubicBezTo>
                    <a:cubicBezTo>
                      <a:pt x="95" y="109"/>
                      <a:pt x="95" y="109"/>
                      <a:pt x="94" y="109"/>
                    </a:cubicBezTo>
                    <a:cubicBezTo>
                      <a:pt x="94" y="109"/>
                      <a:pt x="94" y="109"/>
                      <a:pt x="93" y="109"/>
                    </a:cubicBezTo>
                    <a:cubicBezTo>
                      <a:pt x="93" y="110"/>
                      <a:pt x="92" y="110"/>
                      <a:pt x="92" y="110"/>
                    </a:cubicBezTo>
                    <a:cubicBezTo>
                      <a:pt x="91" y="110"/>
                      <a:pt x="91" y="110"/>
                      <a:pt x="91" y="110"/>
                    </a:cubicBezTo>
                    <a:cubicBezTo>
                      <a:pt x="90" y="109"/>
                      <a:pt x="90" y="110"/>
                      <a:pt x="89" y="110"/>
                    </a:cubicBezTo>
                    <a:cubicBezTo>
                      <a:pt x="88" y="110"/>
                      <a:pt x="88" y="109"/>
                      <a:pt x="88" y="109"/>
                    </a:cubicBezTo>
                    <a:cubicBezTo>
                      <a:pt x="87" y="109"/>
                      <a:pt x="87" y="109"/>
                      <a:pt x="86" y="109"/>
                    </a:cubicBezTo>
                    <a:cubicBezTo>
                      <a:pt x="86" y="109"/>
                      <a:pt x="85" y="109"/>
                      <a:pt x="85" y="108"/>
                    </a:cubicBezTo>
                    <a:cubicBezTo>
                      <a:pt x="84" y="107"/>
                      <a:pt x="84" y="107"/>
                      <a:pt x="83" y="107"/>
                    </a:cubicBezTo>
                    <a:cubicBezTo>
                      <a:pt x="81" y="106"/>
                      <a:pt x="79" y="107"/>
                      <a:pt x="77" y="106"/>
                    </a:cubicBezTo>
                    <a:cubicBezTo>
                      <a:pt x="77" y="106"/>
                      <a:pt x="76" y="106"/>
                      <a:pt x="76" y="106"/>
                    </a:cubicBezTo>
                    <a:cubicBezTo>
                      <a:pt x="75" y="105"/>
                      <a:pt x="75" y="105"/>
                      <a:pt x="75" y="105"/>
                    </a:cubicBezTo>
                    <a:cubicBezTo>
                      <a:pt x="75" y="104"/>
                      <a:pt x="74" y="104"/>
                      <a:pt x="73" y="104"/>
                    </a:cubicBezTo>
                    <a:cubicBezTo>
                      <a:pt x="74" y="103"/>
                      <a:pt x="75" y="103"/>
                      <a:pt x="76" y="102"/>
                    </a:cubicBezTo>
                    <a:cubicBezTo>
                      <a:pt x="77" y="102"/>
                      <a:pt x="79" y="102"/>
                      <a:pt x="80" y="102"/>
                    </a:cubicBezTo>
                    <a:cubicBezTo>
                      <a:pt x="83" y="103"/>
                      <a:pt x="85" y="102"/>
                      <a:pt x="88" y="103"/>
                    </a:cubicBezTo>
                    <a:cubicBezTo>
                      <a:pt x="89" y="104"/>
                      <a:pt x="90" y="104"/>
                      <a:pt x="91" y="105"/>
                    </a:cubicBezTo>
                    <a:cubicBezTo>
                      <a:pt x="92" y="105"/>
                      <a:pt x="92" y="105"/>
                      <a:pt x="93" y="106"/>
                    </a:cubicBezTo>
                    <a:cubicBezTo>
                      <a:pt x="94" y="106"/>
                      <a:pt x="94" y="106"/>
                      <a:pt x="95" y="106"/>
                    </a:cubicBezTo>
                    <a:cubicBezTo>
                      <a:pt x="95" y="106"/>
                      <a:pt x="96" y="106"/>
                      <a:pt x="96" y="106"/>
                    </a:cubicBezTo>
                    <a:cubicBezTo>
                      <a:pt x="97" y="106"/>
                      <a:pt x="98" y="106"/>
                      <a:pt x="98" y="107"/>
                    </a:cubicBezTo>
                    <a:cubicBezTo>
                      <a:pt x="99" y="107"/>
                      <a:pt x="99" y="107"/>
                      <a:pt x="100" y="107"/>
                    </a:cubicBezTo>
                    <a:cubicBezTo>
                      <a:pt x="100" y="106"/>
                      <a:pt x="99" y="106"/>
                      <a:pt x="99" y="106"/>
                    </a:cubicBezTo>
                    <a:cubicBezTo>
                      <a:pt x="99" y="106"/>
                      <a:pt x="101" y="105"/>
                      <a:pt x="101" y="105"/>
                    </a:cubicBezTo>
                    <a:cubicBezTo>
                      <a:pt x="101" y="105"/>
                      <a:pt x="97" y="107"/>
                      <a:pt x="97" y="106"/>
                    </a:cubicBezTo>
                    <a:cubicBezTo>
                      <a:pt x="97" y="105"/>
                      <a:pt x="98" y="105"/>
                      <a:pt x="98" y="105"/>
                    </a:cubicBezTo>
                    <a:cubicBezTo>
                      <a:pt x="97" y="105"/>
                      <a:pt x="96" y="105"/>
                      <a:pt x="96" y="105"/>
                    </a:cubicBezTo>
                    <a:cubicBezTo>
                      <a:pt x="96" y="104"/>
                      <a:pt x="97" y="104"/>
                      <a:pt x="97" y="104"/>
                    </a:cubicBezTo>
                    <a:cubicBezTo>
                      <a:pt x="97" y="104"/>
                      <a:pt x="98" y="105"/>
                      <a:pt x="98" y="105"/>
                    </a:cubicBezTo>
                    <a:cubicBezTo>
                      <a:pt x="98" y="105"/>
                      <a:pt x="98" y="105"/>
                      <a:pt x="98" y="105"/>
                    </a:cubicBezTo>
                    <a:cubicBezTo>
                      <a:pt x="99" y="104"/>
                      <a:pt x="99" y="105"/>
                      <a:pt x="99" y="105"/>
                    </a:cubicBezTo>
                    <a:cubicBezTo>
                      <a:pt x="99" y="105"/>
                      <a:pt x="99" y="104"/>
                      <a:pt x="99" y="104"/>
                    </a:cubicBezTo>
                    <a:cubicBezTo>
                      <a:pt x="99" y="104"/>
                      <a:pt x="98" y="104"/>
                      <a:pt x="98" y="104"/>
                    </a:cubicBezTo>
                    <a:cubicBezTo>
                      <a:pt x="99" y="104"/>
                      <a:pt x="99" y="104"/>
                      <a:pt x="100" y="104"/>
                    </a:cubicBezTo>
                    <a:cubicBezTo>
                      <a:pt x="100" y="104"/>
                      <a:pt x="100" y="104"/>
                      <a:pt x="101" y="104"/>
                    </a:cubicBezTo>
                    <a:cubicBezTo>
                      <a:pt x="101" y="104"/>
                      <a:pt x="100" y="103"/>
                      <a:pt x="100" y="103"/>
                    </a:cubicBezTo>
                    <a:cubicBezTo>
                      <a:pt x="99" y="103"/>
                      <a:pt x="98" y="104"/>
                      <a:pt x="98" y="104"/>
                    </a:cubicBezTo>
                    <a:cubicBezTo>
                      <a:pt x="98" y="103"/>
                      <a:pt x="98" y="103"/>
                      <a:pt x="98" y="103"/>
                    </a:cubicBezTo>
                    <a:cubicBezTo>
                      <a:pt x="97" y="103"/>
                      <a:pt x="97" y="104"/>
                      <a:pt x="96" y="103"/>
                    </a:cubicBezTo>
                    <a:cubicBezTo>
                      <a:pt x="95" y="103"/>
                      <a:pt x="97" y="103"/>
                      <a:pt x="97" y="102"/>
                    </a:cubicBezTo>
                    <a:cubicBezTo>
                      <a:pt x="98" y="102"/>
                      <a:pt x="100" y="104"/>
                      <a:pt x="101" y="103"/>
                    </a:cubicBezTo>
                    <a:cubicBezTo>
                      <a:pt x="101" y="103"/>
                      <a:pt x="100" y="103"/>
                      <a:pt x="100" y="102"/>
                    </a:cubicBezTo>
                    <a:cubicBezTo>
                      <a:pt x="100" y="102"/>
                      <a:pt x="100" y="102"/>
                      <a:pt x="100" y="102"/>
                    </a:cubicBezTo>
                    <a:cubicBezTo>
                      <a:pt x="100" y="102"/>
                      <a:pt x="99" y="102"/>
                      <a:pt x="99" y="102"/>
                    </a:cubicBezTo>
                    <a:cubicBezTo>
                      <a:pt x="98" y="102"/>
                      <a:pt x="98" y="101"/>
                      <a:pt x="97" y="101"/>
                    </a:cubicBezTo>
                    <a:cubicBezTo>
                      <a:pt x="96" y="101"/>
                      <a:pt x="96" y="101"/>
                      <a:pt x="95" y="101"/>
                    </a:cubicBezTo>
                    <a:cubicBezTo>
                      <a:pt x="95" y="101"/>
                      <a:pt x="94" y="101"/>
                      <a:pt x="94" y="100"/>
                    </a:cubicBezTo>
                    <a:cubicBezTo>
                      <a:pt x="95" y="100"/>
                      <a:pt x="96" y="100"/>
                      <a:pt x="98" y="101"/>
                    </a:cubicBezTo>
                    <a:cubicBezTo>
                      <a:pt x="98" y="101"/>
                      <a:pt x="100" y="101"/>
                      <a:pt x="101" y="100"/>
                    </a:cubicBezTo>
                    <a:cubicBezTo>
                      <a:pt x="100" y="100"/>
                      <a:pt x="99" y="100"/>
                      <a:pt x="98" y="100"/>
                    </a:cubicBezTo>
                    <a:cubicBezTo>
                      <a:pt x="98" y="100"/>
                      <a:pt x="97" y="100"/>
                      <a:pt x="97" y="100"/>
                    </a:cubicBezTo>
                    <a:cubicBezTo>
                      <a:pt x="97" y="100"/>
                      <a:pt x="98" y="100"/>
                      <a:pt x="98" y="100"/>
                    </a:cubicBezTo>
                    <a:cubicBezTo>
                      <a:pt x="97" y="100"/>
                      <a:pt x="99" y="99"/>
                      <a:pt x="99" y="99"/>
                    </a:cubicBezTo>
                    <a:cubicBezTo>
                      <a:pt x="98" y="99"/>
                      <a:pt x="97" y="100"/>
                      <a:pt x="96" y="100"/>
                    </a:cubicBezTo>
                    <a:cubicBezTo>
                      <a:pt x="95" y="99"/>
                      <a:pt x="95" y="99"/>
                      <a:pt x="94" y="99"/>
                    </a:cubicBezTo>
                    <a:cubicBezTo>
                      <a:pt x="94" y="100"/>
                      <a:pt x="93" y="100"/>
                      <a:pt x="92" y="100"/>
                    </a:cubicBezTo>
                    <a:cubicBezTo>
                      <a:pt x="92" y="99"/>
                      <a:pt x="95" y="98"/>
                      <a:pt x="95" y="98"/>
                    </a:cubicBezTo>
                    <a:cubicBezTo>
                      <a:pt x="96" y="98"/>
                      <a:pt x="97" y="98"/>
                      <a:pt x="97" y="98"/>
                    </a:cubicBezTo>
                    <a:cubicBezTo>
                      <a:pt x="98" y="98"/>
                      <a:pt x="98" y="98"/>
                      <a:pt x="97" y="98"/>
                    </a:cubicBezTo>
                    <a:cubicBezTo>
                      <a:pt x="97" y="97"/>
                      <a:pt x="97" y="97"/>
                      <a:pt x="97" y="97"/>
                    </a:cubicBezTo>
                    <a:cubicBezTo>
                      <a:pt x="96" y="97"/>
                      <a:pt x="96" y="98"/>
                      <a:pt x="95" y="98"/>
                    </a:cubicBezTo>
                    <a:cubicBezTo>
                      <a:pt x="94" y="99"/>
                      <a:pt x="93" y="99"/>
                      <a:pt x="92" y="99"/>
                    </a:cubicBezTo>
                    <a:cubicBezTo>
                      <a:pt x="92" y="99"/>
                      <a:pt x="90" y="99"/>
                      <a:pt x="90" y="99"/>
                    </a:cubicBezTo>
                    <a:cubicBezTo>
                      <a:pt x="90" y="99"/>
                      <a:pt x="91" y="99"/>
                      <a:pt x="91" y="99"/>
                    </a:cubicBezTo>
                    <a:cubicBezTo>
                      <a:pt x="92" y="98"/>
                      <a:pt x="92" y="98"/>
                      <a:pt x="93" y="98"/>
                    </a:cubicBezTo>
                    <a:cubicBezTo>
                      <a:pt x="93" y="97"/>
                      <a:pt x="93" y="97"/>
                      <a:pt x="94" y="97"/>
                    </a:cubicBezTo>
                    <a:cubicBezTo>
                      <a:pt x="95" y="97"/>
                      <a:pt x="96" y="97"/>
                      <a:pt x="97" y="97"/>
                    </a:cubicBezTo>
                    <a:cubicBezTo>
                      <a:pt x="98" y="96"/>
                      <a:pt x="100" y="97"/>
                      <a:pt x="100" y="96"/>
                    </a:cubicBezTo>
                    <a:cubicBezTo>
                      <a:pt x="100" y="96"/>
                      <a:pt x="98" y="96"/>
                      <a:pt x="98" y="96"/>
                    </a:cubicBezTo>
                    <a:cubicBezTo>
                      <a:pt x="97" y="96"/>
                      <a:pt x="96" y="96"/>
                      <a:pt x="95" y="97"/>
                    </a:cubicBezTo>
                    <a:cubicBezTo>
                      <a:pt x="93" y="97"/>
                      <a:pt x="90" y="98"/>
                      <a:pt x="89" y="97"/>
                    </a:cubicBezTo>
                    <a:cubicBezTo>
                      <a:pt x="89" y="96"/>
                      <a:pt x="90" y="96"/>
                      <a:pt x="91" y="96"/>
                    </a:cubicBezTo>
                    <a:cubicBezTo>
                      <a:pt x="92" y="96"/>
                      <a:pt x="93" y="95"/>
                      <a:pt x="94" y="95"/>
                    </a:cubicBezTo>
                    <a:cubicBezTo>
                      <a:pt x="95" y="95"/>
                      <a:pt x="96" y="95"/>
                      <a:pt x="97" y="95"/>
                    </a:cubicBezTo>
                    <a:cubicBezTo>
                      <a:pt x="97" y="95"/>
                      <a:pt x="100" y="95"/>
                      <a:pt x="99" y="94"/>
                    </a:cubicBezTo>
                    <a:cubicBezTo>
                      <a:pt x="99" y="94"/>
                      <a:pt x="98" y="94"/>
                      <a:pt x="98" y="94"/>
                    </a:cubicBezTo>
                    <a:cubicBezTo>
                      <a:pt x="98" y="95"/>
                      <a:pt x="97" y="95"/>
                      <a:pt x="96" y="95"/>
                    </a:cubicBezTo>
                    <a:cubicBezTo>
                      <a:pt x="96" y="95"/>
                      <a:pt x="92" y="95"/>
                      <a:pt x="93" y="94"/>
                    </a:cubicBezTo>
                    <a:cubicBezTo>
                      <a:pt x="92" y="94"/>
                      <a:pt x="91" y="94"/>
                      <a:pt x="90" y="94"/>
                    </a:cubicBezTo>
                    <a:cubicBezTo>
                      <a:pt x="90" y="94"/>
                      <a:pt x="88" y="94"/>
                      <a:pt x="88" y="94"/>
                    </a:cubicBezTo>
                    <a:cubicBezTo>
                      <a:pt x="89" y="93"/>
                      <a:pt x="91" y="93"/>
                      <a:pt x="91" y="93"/>
                    </a:cubicBezTo>
                    <a:cubicBezTo>
                      <a:pt x="92" y="93"/>
                      <a:pt x="92" y="93"/>
                      <a:pt x="92" y="92"/>
                    </a:cubicBezTo>
                    <a:cubicBezTo>
                      <a:pt x="92" y="92"/>
                      <a:pt x="93" y="92"/>
                      <a:pt x="94" y="91"/>
                    </a:cubicBezTo>
                    <a:cubicBezTo>
                      <a:pt x="93" y="91"/>
                      <a:pt x="91" y="92"/>
                      <a:pt x="91" y="92"/>
                    </a:cubicBezTo>
                    <a:cubicBezTo>
                      <a:pt x="91" y="93"/>
                      <a:pt x="91" y="93"/>
                      <a:pt x="90" y="93"/>
                    </a:cubicBezTo>
                    <a:cubicBezTo>
                      <a:pt x="89" y="93"/>
                      <a:pt x="89" y="94"/>
                      <a:pt x="88" y="94"/>
                    </a:cubicBezTo>
                    <a:cubicBezTo>
                      <a:pt x="88" y="93"/>
                      <a:pt x="89" y="93"/>
                      <a:pt x="89" y="93"/>
                    </a:cubicBezTo>
                    <a:cubicBezTo>
                      <a:pt x="89" y="93"/>
                      <a:pt x="89" y="92"/>
                      <a:pt x="89" y="92"/>
                    </a:cubicBezTo>
                    <a:cubicBezTo>
                      <a:pt x="89" y="91"/>
                      <a:pt x="89" y="91"/>
                      <a:pt x="88" y="91"/>
                    </a:cubicBezTo>
                    <a:cubicBezTo>
                      <a:pt x="88" y="90"/>
                      <a:pt x="88" y="90"/>
                      <a:pt x="88" y="90"/>
                    </a:cubicBezTo>
                    <a:cubicBezTo>
                      <a:pt x="88" y="90"/>
                      <a:pt x="88" y="89"/>
                      <a:pt x="88" y="89"/>
                    </a:cubicBezTo>
                    <a:cubicBezTo>
                      <a:pt x="88" y="88"/>
                      <a:pt x="89" y="89"/>
                      <a:pt x="90" y="88"/>
                    </a:cubicBezTo>
                    <a:cubicBezTo>
                      <a:pt x="89" y="88"/>
                      <a:pt x="88" y="88"/>
                      <a:pt x="87" y="88"/>
                    </a:cubicBezTo>
                    <a:cubicBezTo>
                      <a:pt x="87" y="89"/>
                      <a:pt x="87" y="89"/>
                      <a:pt x="87" y="89"/>
                    </a:cubicBezTo>
                    <a:cubicBezTo>
                      <a:pt x="88" y="89"/>
                      <a:pt x="87" y="90"/>
                      <a:pt x="87" y="90"/>
                    </a:cubicBezTo>
                    <a:cubicBezTo>
                      <a:pt x="87" y="91"/>
                      <a:pt x="88" y="91"/>
                      <a:pt x="88" y="92"/>
                    </a:cubicBezTo>
                    <a:cubicBezTo>
                      <a:pt x="88" y="92"/>
                      <a:pt x="88" y="93"/>
                      <a:pt x="88" y="93"/>
                    </a:cubicBezTo>
                    <a:cubicBezTo>
                      <a:pt x="87" y="93"/>
                      <a:pt x="87" y="94"/>
                      <a:pt x="86" y="94"/>
                    </a:cubicBezTo>
                    <a:cubicBezTo>
                      <a:pt x="85" y="94"/>
                      <a:pt x="84" y="94"/>
                      <a:pt x="84" y="94"/>
                    </a:cubicBezTo>
                    <a:cubicBezTo>
                      <a:pt x="85" y="94"/>
                      <a:pt x="85" y="95"/>
                      <a:pt x="84" y="95"/>
                    </a:cubicBezTo>
                    <a:cubicBezTo>
                      <a:pt x="84" y="95"/>
                      <a:pt x="83" y="95"/>
                      <a:pt x="83" y="95"/>
                    </a:cubicBezTo>
                    <a:cubicBezTo>
                      <a:pt x="83" y="94"/>
                      <a:pt x="83" y="94"/>
                      <a:pt x="83" y="94"/>
                    </a:cubicBezTo>
                    <a:cubicBezTo>
                      <a:pt x="83" y="94"/>
                      <a:pt x="82" y="95"/>
                      <a:pt x="82" y="95"/>
                    </a:cubicBezTo>
                    <a:cubicBezTo>
                      <a:pt x="83" y="95"/>
                      <a:pt x="84" y="95"/>
                      <a:pt x="83" y="96"/>
                    </a:cubicBezTo>
                    <a:cubicBezTo>
                      <a:pt x="82" y="97"/>
                      <a:pt x="81" y="97"/>
                      <a:pt x="80" y="97"/>
                    </a:cubicBezTo>
                    <a:cubicBezTo>
                      <a:pt x="80" y="97"/>
                      <a:pt x="79" y="97"/>
                      <a:pt x="78" y="97"/>
                    </a:cubicBezTo>
                    <a:cubicBezTo>
                      <a:pt x="78" y="97"/>
                      <a:pt x="78" y="97"/>
                      <a:pt x="77" y="97"/>
                    </a:cubicBezTo>
                    <a:cubicBezTo>
                      <a:pt x="76" y="97"/>
                      <a:pt x="75" y="98"/>
                      <a:pt x="75" y="97"/>
                    </a:cubicBezTo>
                    <a:cubicBezTo>
                      <a:pt x="75" y="97"/>
                      <a:pt x="73" y="97"/>
                      <a:pt x="73" y="96"/>
                    </a:cubicBezTo>
                    <a:cubicBezTo>
                      <a:pt x="73" y="96"/>
                      <a:pt x="74" y="97"/>
                      <a:pt x="74" y="97"/>
                    </a:cubicBezTo>
                    <a:cubicBezTo>
                      <a:pt x="73" y="97"/>
                      <a:pt x="73" y="97"/>
                      <a:pt x="72" y="97"/>
                    </a:cubicBezTo>
                    <a:cubicBezTo>
                      <a:pt x="72" y="97"/>
                      <a:pt x="71" y="97"/>
                      <a:pt x="71" y="96"/>
                    </a:cubicBezTo>
                    <a:cubicBezTo>
                      <a:pt x="71" y="96"/>
                      <a:pt x="71" y="95"/>
                      <a:pt x="71" y="95"/>
                    </a:cubicBezTo>
                    <a:cubicBezTo>
                      <a:pt x="71" y="95"/>
                      <a:pt x="72" y="95"/>
                      <a:pt x="72" y="95"/>
                    </a:cubicBezTo>
                    <a:cubicBezTo>
                      <a:pt x="71" y="95"/>
                      <a:pt x="71" y="95"/>
                      <a:pt x="70" y="94"/>
                    </a:cubicBezTo>
                    <a:cubicBezTo>
                      <a:pt x="71" y="94"/>
                      <a:pt x="72" y="94"/>
                      <a:pt x="72" y="94"/>
                    </a:cubicBezTo>
                    <a:cubicBezTo>
                      <a:pt x="73" y="94"/>
                      <a:pt x="73" y="93"/>
                      <a:pt x="74" y="93"/>
                    </a:cubicBezTo>
                    <a:cubicBezTo>
                      <a:pt x="74" y="93"/>
                      <a:pt x="74" y="94"/>
                      <a:pt x="75" y="94"/>
                    </a:cubicBezTo>
                    <a:cubicBezTo>
                      <a:pt x="74" y="93"/>
                      <a:pt x="77" y="93"/>
                      <a:pt x="77" y="93"/>
                    </a:cubicBezTo>
                    <a:cubicBezTo>
                      <a:pt x="78" y="93"/>
                      <a:pt x="79" y="92"/>
                      <a:pt x="81" y="92"/>
                    </a:cubicBezTo>
                    <a:cubicBezTo>
                      <a:pt x="82" y="91"/>
                      <a:pt x="82" y="90"/>
                      <a:pt x="83" y="90"/>
                    </a:cubicBezTo>
                    <a:cubicBezTo>
                      <a:pt x="83" y="89"/>
                      <a:pt x="82" y="90"/>
                      <a:pt x="82" y="91"/>
                    </a:cubicBezTo>
                    <a:cubicBezTo>
                      <a:pt x="81" y="91"/>
                      <a:pt x="80" y="91"/>
                      <a:pt x="79" y="92"/>
                    </a:cubicBezTo>
                    <a:cubicBezTo>
                      <a:pt x="79" y="92"/>
                      <a:pt x="78" y="92"/>
                      <a:pt x="77" y="92"/>
                    </a:cubicBezTo>
                    <a:cubicBezTo>
                      <a:pt x="76" y="92"/>
                      <a:pt x="75" y="92"/>
                      <a:pt x="74" y="92"/>
                    </a:cubicBezTo>
                    <a:cubicBezTo>
                      <a:pt x="75" y="91"/>
                      <a:pt x="75" y="91"/>
                      <a:pt x="76" y="91"/>
                    </a:cubicBezTo>
                    <a:cubicBezTo>
                      <a:pt x="76" y="91"/>
                      <a:pt x="76" y="91"/>
                      <a:pt x="76" y="91"/>
                    </a:cubicBezTo>
                    <a:cubicBezTo>
                      <a:pt x="76" y="90"/>
                      <a:pt x="77" y="90"/>
                      <a:pt x="78" y="90"/>
                    </a:cubicBezTo>
                    <a:cubicBezTo>
                      <a:pt x="78" y="90"/>
                      <a:pt x="80" y="90"/>
                      <a:pt x="80" y="89"/>
                    </a:cubicBezTo>
                    <a:cubicBezTo>
                      <a:pt x="80" y="89"/>
                      <a:pt x="80" y="88"/>
                      <a:pt x="80" y="88"/>
                    </a:cubicBezTo>
                    <a:cubicBezTo>
                      <a:pt x="81" y="88"/>
                      <a:pt x="82" y="89"/>
                      <a:pt x="82" y="88"/>
                    </a:cubicBezTo>
                    <a:cubicBezTo>
                      <a:pt x="82" y="88"/>
                      <a:pt x="81" y="88"/>
                      <a:pt x="81" y="88"/>
                    </a:cubicBezTo>
                    <a:cubicBezTo>
                      <a:pt x="81" y="88"/>
                      <a:pt x="81" y="88"/>
                      <a:pt x="81" y="88"/>
                    </a:cubicBezTo>
                    <a:cubicBezTo>
                      <a:pt x="80" y="88"/>
                      <a:pt x="79" y="89"/>
                      <a:pt x="78" y="88"/>
                    </a:cubicBezTo>
                    <a:cubicBezTo>
                      <a:pt x="78" y="88"/>
                      <a:pt x="78" y="88"/>
                      <a:pt x="79" y="87"/>
                    </a:cubicBezTo>
                    <a:cubicBezTo>
                      <a:pt x="78" y="87"/>
                      <a:pt x="78" y="88"/>
                      <a:pt x="78" y="88"/>
                    </a:cubicBezTo>
                    <a:cubicBezTo>
                      <a:pt x="78" y="88"/>
                      <a:pt x="77" y="88"/>
                      <a:pt x="77" y="88"/>
                    </a:cubicBezTo>
                    <a:cubicBezTo>
                      <a:pt x="75" y="88"/>
                      <a:pt x="77" y="87"/>
                      <a:pt x="78" y="87"/>
                    </a:cubicBezTo>
                    <a:cubicBezTo>
                      <a:pt x="79" y="87"/>
                      <a:pt x="81" y="87"/>
                      <a:pt x="82" y="87"/>
                    </a:cubicBezTo>
                    <a:cubicBezTo>
                      <a:pt x="83" y="87"/>
                      <a:pt x="83" y="87"/>
                      <a:pt x="84" y="87"/>
                    </a:cubicBezTo>
                    <a:cubicBezTo>
                      <a:pt x="85" y="87"/>
                      <a:pt x="85" y="87"/>
                      <a:pt x="85" y="87"/>
                    </a:cubicBezTo>
                    <a:cubicBezTo>
                      <a:pt x="85" y="87"/>
                      <a:pt x="82" y="88"/>
                      <a:pt x="82" y="87"/>
                    </a:cubicBezTo>
                    <a:cubicBezTo>
                      <a:pt x="82" y="87"/>
                      <a:pt x="80" y="87"/>
                      <a:pt x="81" y="86"/>
                    </a:cubicBezTo>
                    <a:cubicBezTo>
                      <a:pt x="82" y="86"/>
                      <a:pt x="82" y="86"/>
                      <a:pt x="83" y="86"/>
                    </a:cubicBezTo>
                    <a:cubicBezTo>
                      <a:pt x="83" y="86"/>
                      <a:pt x="84" y="86"/>
                      <a:pt x="84" y="86"/>
                    </a:cubicBezTo>
                    <a:cubicBezTo>
                      <a:pt x="84" y="86"/>
                      <a:pt x="83" y="86"/>
                      <a:pt x="83" y="86"/>
                    </a:cubicBezTo>
                    <a:cubicBezTo>
                      <a:pt x="82" y="86"/>
                      <a:pt x="83" y="86"/>
                      <a:pt x="83" y="86"/>
                    </a:cubicBezTo>
                    <a:cubicBezTo>
                      <a:pt x="83" y="86"/>
                      <a:pt x="83" y="85"/>
                      <a:pt x="84" y="85"/>
                    </a:cubicBezTo>
                    <a:cubicBezTo>
                      <a:pt x="84" y="85"/>
                      <a:pt x="84" y="85"/>
                      <a:pt x="85" y="85"/>
                    </a:cubicBezTo>
                    <a:cubicBezTo>
                      <a:pt x="84" y="85"/>
                      <a:pt x="84" y="85"/>
                      <a:pt x="84" y="85"/>
                    </a:cubicBezTo>
                    <a:cubicBezTo>
                      <a:pt x="84" y="85"/>
                      <a:pt x="85" y="85"/>
                      <a:pt x="86" y="85"/>
                    </a:cubicBezTo>
                    <a:cubicBezTo>
                      <a:pt x="85" y="84"/>
                      <a:pt x="84" y="85"/>
                      <a:pt x="83" y="85"/>
                    </a:cubicBezTo>
                    <a:cubicBezTo>
                      <a:pt x="84" y="84"/>
                      <a:pt x="85" y="85"/>
                      <a:pt x="85" y="84"/>
                    </a:cubicBezTo>
                    <a:cubicBezTo>
                      <a:pt x="85" y="84"/>
                      <a:pt x="85" y="84"/>
                      <a:pt x="85" y="83"/>
                    </a:cubicBezTo>
                    <a:cubicBezTo>
                      <a:pt x="85" y="83"/>
                      <a:pt x="85" y="83"/>
                      <a:pt x="85" y="83"/>
                    </a:cubicBezTo>
                    <a:cubicBezTo>
                      <a:pt x="85" y="83"/>
                      <a:pt x="85" y="83"/>
                      <a:pt x="85" y="83"/>
                    </a:cubicBezTo>
                    <a:cubicBezTo>
                      <a:pt x="85" y="83"/>
                      <a:pt x="83" y="83"/>
                      <a:pt x="83" y="83"/>
                    </a:cubicBezTo>
                    <a:cubicBezTo>
                      <a:pt x="83" y="82"/>
                      <a:pt x="84" y="82"/>
                      <a:pt x="84" y="82"/>
                    </a:cubicBezTo>
                    <a:cubicBezTo>
                      <a:pt x="83" y="82"/>
                      <a:pt x="83" y="83"/>
                      <a:pt x="83" y="83"/>
                    </a:cubicBezTo>
                    <a:cubicBezTo>
                      <a:pt x="82" y="82"/>
                      <a:pt x="82" y="82"/>
                      <a:pt x="82" y="82"/>
                    </a:cubicBezTo>
                    <a:cubicBezTo>
                      <a:pt x="81" y="82"/>
                      <a:pt x="81" y="82"/>
                      <a:pt x="81" y="82"/>
                    </a:cubicBezTo>
                    <a:cubicBezTo>
                      <a:pt x="80" y="82"/>
                      <a:pt x="79" y="82"/>
                      <a:pt x="79" y="82"/>
                    </a:cubicBezTo>
                    <a:cubicBezTo>
                      <a:pt x="79" y="81"/>
                      <a:pt x="81" y="82"/>
                      <a:pt x="81" y="82"/>
                    </a:cubicBezTo>
                    <a:cubicBezTo>
                      <a:pt x="81" y="82"/>
                      <a:pt x="82" y="81"/>
                      <a:pt x="82" y="81"/>
                    </a:cubicBezTo>
                    <a:cubicBezTo>
                      <a:pt x="82" y="81"/>
                      <a:pt x="82" y="81"/>
                      <a:pt x="82" y="81"/>
                    </a:cubicBezTo>
                    <a:cubicBezTo>
                      <a:pt x="82" y="80"/>
                      <a:pt x="84" y="82"/>
                      <a:pt x="84" y="81"/>
                    </a:cubicBezTo>
                    <a:cubicBezTo>
                      <a:pt x="84" y="81"/>
                      <a:pt x="82" y="80"/>
                      <a:pt x="82" y="80"/>
                    </a:cubicBezTo>
                    <a:cubicBezTo>
                      <a:pt x="82" y="80"/>
                      <a:pt x="83" y="80"/>
                      <a:pt x="83" y="80"/>
                    </a:cubicBezTo>
                    <a:cubicBezTo>
                      <a:pt x="83" y="80"/>
                      <a:pt x="84" y="79"/>
                      <a:pt x="84" y="79"/>
                    </a:cubicBezTo>
                    <a:cubicBezTo>
                      <a:pt x="84" y="79"/>
                      <a:pt x="85" y="79"/>
                      <a:pt x="85" y="80"/>
                    </a:cubicBezTo>
                    <a:cubicBezTo>
                      <a:pt x="85" y="80"/>
                      <a:pt x="85" y="79"/>
                      <a:pt x="85" y="79"/>
                    </a:cubicBezTo>
                    <a:cubicBezTo>
                      <a:pt x="85" y="79"/>
                      <a:pt x="84" y="79"/>
                      <a:pt x="84" y="79"/>
                    </a:cubicBezTo>
                    <a:cubicBezTo>
                      <a:pt x="83" y="79"/>
                      <a:pt x="83" y="79"/>
                      <a:pt x="83" y="78"/>
                    </a:cubicBezTo>
                    <a:cubicBezTo>
                      <a:pt x="83" y="77"/>
                      <a:pt x="82" y="78"/>
                      <a:pt x="82" y="78"/>
                    </a:cubicBezTo>
                    <a:cubicBezTo>
                      <a:pt x="82" y="78"/>
                      <a:pt x="82" y="77"/>
                      <a:pt x="82" y="77"/>
                    </a:cubicBezTo>
                    <a:cubicBezTo>
                      <a:pt x="82" y="77"/>
                      <a:pt x="81" y="77"/>
                      <a:pt x="80" y="77"/>
                    </a:cubicBezTo>
                    <a:cubicBezTo>
                      <a:pt x="81" y="77"/>
                      <a:pt x="82" y="77"/>
                      <a:pt x="82" y="77"/>
                    </a:cubicBezTo>
                    <a:cubicBezTo>
                      <a:pt x="82" y="76"/>
                      <a:pt x="81" y="77"/>
                      <a:pt x="81" y="77"/>
                    </a:cubicBezTo>
                    <a:cubicBezTo>
                      <a:pt x="81" y="76"/>
                      <a:pt x="81" y="76"/>
                      <a:pt x="82" y="76"/>
                    </a:cubicBezTo>
                    <a:cubicBezTo>
                      <a:pt x="81" y="76"/>
                      <a:pt x="82" y="76"/>
                      <a:pt x="82" y="76"/>
                    </a:cubicBezTo>
                    <a:cubicBezTo>
                      <a:pt x="83" y="76"/>
                      <a:pt x="83" y="77"/>
                      <a:pt x="84" y="76"/>
                    </a:cubicBezTo>
                    <a:cubicBezTo>
                      <a:pt x="83" y="76"/>
                      <a:pt x="83" y="76"/>
                      <a:pt x="82" y="75"/>
                    </a:cubicBezTo>
                    <a:cubicBezTo>
                      <a:pt x="83" y="75"/>
                      <a:pt x="83" y="75"/>
                      <a:pt x="84" y="75"/>
                    </a:cubicBezTo>
                    <a:cubicBezTo>
                      <a:pt x="85" y="75"/>
                      <a:pt x="84" y="75"/>
                      <a:pt x="84" y="75"/>
                    </a:cubicBezTo>
                    <a:cubicBezTo>
                      <a:pt x="83" y="75"/>
                      <a:pt x="83" y="75"/>
                      <a:pt x="82" y="74"/>
                    </a:cubicBezTo>
                    <a:cubicBezTo>
                      <a:pt x="82" y="74"/>
                      <a:pt x="83" y="74"/>
                      <a:pt x="83" y="74"/>
                    </a:cubicBezTo>
                    <a:cubicBezTo>
                      <a:pt x="83" y="74"/>
                      <a:pt x="81" y="73"/>
                      <a:pt x="81" y="73"/>
                    </a:cubicBezTo>
                    <a:cubicBezTo>
                      <a:pt x="81" y="73"/>
                      <a:pt x="82" y="73"/>
                      <a:pt x="82" y="73"/>
                    </a:cubicBezTo>
                    <a:cubicBezTo>
                      <a:pt x="82" y="73"/>
                      <a:pt x="82" y="73"/>
                      <a:pt x="82" y="73"/>
                    </a:cubicBezTo>
                    <a:cubicBezTo>
                      <a:pt x="82" y="73"/>
                      <a:pt x="82" y="73"/>
                      <a:pt x="82" y="72"/>
                    </a:cubicBezTo>
                    <a:cubicBezTo>
                      <a:pt x="83" y="72"/>
                      <a:pt x="83" y="72"/>
                      <a:pt x="84" y="72"/>
                    </a:cubicBezTo>
                    <a:cubicBezTo>
                      <a:pt x="83" y="71"/>
                      <a:pt x="83" y="72"/>
                      <a:pt x="82" y="72"/>
                    </a:cubicBezTo>
                    <a:cubicBezTo>
                      <a:pt x="81" y="72"/>
                      <a:pt x="81" y="72"/>
                      <a:pt x="80" y="73"/>
                    </a:cubicBezTo>
                    <a:cubicBezTo>
                      <a:pt x="79" y="73"/>
                      <a:pt x="78" y="73"/>
                      <a:pt x="77" y="73"/>
                    </a:cubicBezTo>
                    <a:cubicBezTo>
                      <a:pt x="76" y="73"/>
                      <a:pt x="76" y="73"/>
                      <a:pt x="75" y="73"/>
                    </a:cubicBezTo>
                    <a:cubicBezTo>
                      <a:pt x="75" y="72"/>
                      <a:pt x="76" y="73"/>
                      <a:pt x="76" y="73"/>
                    </a:cubicBezTo>
                    <a:cubicBezTo>
                      <a:pt x="76" y="72"/>
                      <a:pt x="77" y="72"/>
                      <a:pt x="77" y="72"/>
                    </a:cubicBezTo>
                    <a:cubicBezTo>
                      <a:pt x="78" y="72"/>
                      <a:pt x="79" y="72"/>
                      <a:pt x="80" y="72"/>
                    </a:cubicBezTo>
                    <a:cubicBezTo>
                      <a:pt x="80" y="72"/>
                      <a:pt x="81" y="72"/>
                      <a:pt x="81" y="72"/>
                    </a:cubicBezTo>
                    <a:cubicBezTo>
                      <a:pt x="82" y="72"/>
                      <a:pt x="82" y="72"/>
                      <a:pt x="83" y="71"/>
                    </a:cubicBezTo>
                    <a:cubicBezTo>
                      <a:pt x="82" y="71"/>
                      <a:pt x="82" y="71"/>
                      <a:pt x="81" y="71"/>
                    </a:cubicBezTo>
                    <a:cubicBezTo>
                      <a:pt x="81" y="71"/>
                      <a:pt x="81" y="71"/>
                      <a:pt x="81" y="71"/>
                    </a:cubicBezTo>
                    <a:cubicBezTo>
                      <a:pt x="81" y="71"/>
                      <a:pt x="81" y="71"/>
                      <a:pt x="80" y="71"/>
                    </a:cubicBezTo>
                    <a:cubicBezTo>
                      <a:pt x="82" y="70"/>
                      <a:pt x="83" y="71"/>
                      <a:pt x="84" y="71"/>
                    </a:cubicBezTo>
                    <a:cubicBezTo>
                      <a:pt x="85" y="70"/>
                      <a:pt x="83" y="70"/>
                      <a:pt x="83" y="70"/>
                    </a:cubicBezTo>
                    <a:cubicBezTo>
                      <a:pt x="82" y="70"/>
                      <a:pt x="81" y="71"/>
                      <a:pt x="81" y="70"/>
                    </a:cubicBezTo>
                    <a:cubicBezTo>
                      <a:pt x="81" y="70"/>
                      <a:pt x="82" y="70"/>
                      <a:pt x="83" y="70"/>
                    </a:cubicBezTo>
                    <a:cubicBezTo>
                      <a:pt x="84" y="70"/>
                      <a:pt x="84" y="70"/>
                      <a:pt x="85" y="70"/>
                    </a:cubicBezTo>
                    <a:cubicBezTo>
                      <a:pt x="84" y="70"/>
                      <a:pt x="85" y="69"/>
                      <a:pt x="85" y="69"/>
                    </a:cubicBezTo>
                    <a:cubicBezTo>
                      <a:pt x="84" y="69"/>
                      <a:pt x="83" y="69"/>
                      <a:pt x="83" y="69"/>
                    </a:cubicBezTo>
                    <a:cubicBezTo>
                      <a:pt x="83" y="69"/>
                      <a:pt x="84" y="69"/>
                      <a:pt x="84" y="68"/>
                    </a:cubicBezTo>
                    <a:cubicBezTo>
                      <a:pt x="83" y="68"/>
                      <a:pt x="82" y="69"/>
                      <a:pt x="82" y="68"/>
                    </a:cubicBezTo>
                    <a:cubicBezTo>
                      <a:pt x="82" y="68"/>
                      <a:pt x="81" y="68"/>
                      <a:pt x="81" y="68"/>
                    </a:cubicBezTo>
                    <a:cubicBezTo>
                      <a:pt x="81" y="68"/>
                      <a:pt x="80" y="68"/>
                      <a:pt x="81" y="68"/>
                    </a:cubicBezTo>
                    <a:cubicBezTo>
                      <a:pt x="80" y="68"/>
                      <a:pt x="80" y="67"/>
                      <a:pt x="80" y="68"/>
                    </a:cubicBezTo>
                    <a:cubicBezTo>
                      <a:pt x="80" y="67"/>
                      <a:pt x="81" y="67"/>
                      <a:pt x="82" y="67"/>
                    </a:cubicBezTo>
                    <a:cubicBezTo>
                      <a:pt x="83" y="67"/>
                      <a:pt x="82" y="67"/>
                      <a:pt x="82" y="67"/>
                    </a:cubicBezTo>
                    <a:cubicBezTo>
                      <a:pt x="82" y="66"/>
                      <a:pt x="81" y="66"/>
                      <a:pt x="81" y="66"/>
                    </a:cubicBezTo>
                    <a:cubicBezTo>
                      <a:pt x="80" y="66"/>
                      <a:pt x="80" y="66"/>
                      <a:pt x="79" y="65"/>
                    </a:cubicBezTo>
                    <a:cubicBezTo>
                      <a:pt x="79" y="65"/>
                      <a:pt x="76" y="65"/>
                      <a:pt x="75" y="65"/>
                    </a:cubicBezTo>
                    <a:cubicBezTo>
                      <a:pt x="76" y="64"/>
                      <a:pt x="79" y="64"/>
                      <a:pt x="76" y="64"/>
                    </a:cubicBezTo>
                    <a:cubicBezTo>
                      <a:pt x="76" y="64"/>
                      <a:pt x="75" y="63"/>
                      <a:pt x="75" y="63"/>
                    </a:cubicBezTo>
                    <a:cubicBezTo>
                      <a:pt x="75" y="62"/>
                      <a:pt x="76" y="63"/>
                      <a:pt x="76" y="62"/>
                    </a:cubicBezTo>
                    <a:cubicBezTo>
                      <a:pt x="76" y="62"/>
                      <a:pt x="76" y="62"/>
                      <a:pt x="77" y="62"/>
                    </a:cubicBezTo>
                    <a:cubicBezTo>
                      <a:pt x="76" y="61"/>
                      <a:pt x="75" y="62"/>
                      <a:pt x="74" y="62"/>
                    </a:cubicBezTo>
                    <a:cubicBezTo>
                      <a:pt x="74" y="62"/>
                      <a:pt x="76" y="62"/>
                      <a:pt x="77" y="62"/>
                    </a:cubicBezTo>
                    <a:cubicBezTo>
                      <a:pt x="77" y="61"/>
                      <a:pt x="78" y="61"/>
                      <a:pt x="78" y="61"/>
                    </a:cubicBezTo>
                    <a:cubicBezTo>
                      <a:pt x="78" y="61"/>
                      <a:pt x="77" y="61"/>
                      <a:pt x="77" y="60"/>
                    </a:cubicBezTo>
                    <a:cubicBezTo>
                      <a:pt x="77" y="60"/>
                      <a:pt x="78" y="60"/>
                      <a:pt x="78" y="60"/>
                    </a:cubicBezTo>
                    <a:cubicBezTo>
                      <a:pt x="78" y="60"/>
                      <a:pt x="77" y="60"/>
                      <a:pt x="77" y="60"/>
                    </a:cubicBezTo>
                    <a:cubicBezTo>
                      <a:pt x="77" y="59"/>
                      <a:pt x="78" y="59"/>
                      <a:pt x="78" y="59"/>
                    </a:cubicBezTo>
                    <a:cubicBezTo>
                      <a:pt x="78" y="59"/>
                      <a:pt x="76" y="59"/>
                      <a:pt x="76" y="59"/>
                    </a:cubicBezTo>
                    <a:cubicBezTo>
                      <a:pt x="75" y="59"/>
                      <a:pt x="74" y="59"/>
                      <a:pt x="74" y="59"/>
                    </a:cubicBezTo>
                    <a:cubicBezTo>
                      <a:pt x="74" y="59"/>
                      <a:pt x="74" y="59"/>
                      <a:pt x="74" y="59"/>
                    </a:cubicBezTo>
                    <a:cubicBezTo>
                      <a:pt x="74" y="59"/>
                      <a:pt x="73" y="59"/>
                      <a:pt x="73" y="59"/>
                    </a:cubicBezTo>
                    <a:cubicBezTo>
                      <a:pt x="73" y="59"/>
                      <a:pt x="74" y="59"/>
                      <a:pt x="73" y="58"/>
                    </a:cubicBezTo>
                    <a:cubicBezTo>
                      <a:pt x="73" y="58"/>
                      <a:pt x="75" y="58"/>
                      <a:pt x="74" y="58"/>
                    </a:cubicBezTo>
                    <a:cubicBezTo>
                      <a:pt x="73" y="58"/>
                      <a:pt x="72" y="58"/>
                      <a:pt x="72" y="58"/>
                    </a:cubicBezTo>
                    <a:cubicBezTo>
                      <a:pt x="71" y="58"/>
                      <a:pt x="70" y="59"/>
                      <a:pt x="70" y="58"/>
                    </a:cubicBezTo>
                    <a:cubicBezTo>
                      <a:pt x="70" y="58"/>
                      <a:pt x="72" y="58"/>
                      <a:pt x="72" y="58"/>
                    </a:cubicBezTo>
                    <a:cubicBezTo>
                      <a:pt x="71" y="57"/>
                      <a:pt x="70" y="58"/>
                      <a:pt x="69" y="57"/>
                    </a:cubicBezTo>
                    <a:cubicBezTo>
                      <a:pt x="70" y="57"/>
                      <a:pt x="69" y="57"/>
                      <a:pt x="69" y="57"/>
                    </a:cubicBezTo>
                    <a:cubicBezTo>
                      <a:pt x="70" y="57"/>
                      <a:pt x="69" y="56"/>
                      <a:pt x="68" y="56"/>
                    </a:cubicBezTo>
                    <a:cubicBezTo>
                      <a:pt x="68" y="56"/>
                      <a:pt x="68" y="56"/>
                      <a:pt x="67" y="56"/>
                    </a:cubicBezTo>
                    <a:cubicBezTo>
                      <a:pt x="67" y="57"/>
                      <a:pt x="67" y="56"/>
                      <a:pt x="67" y="56"/>
                    </a:cubicBezTo>
                    <a:cubicBezTo>
                      <a:pt x="67" y="56"/>
                      <a:pt x="66" y="56"/>
                      <a:pt x="66" y="57"/>
                    </a:cubicBezTo>
                    <a:cubicBezTo>
                      <a:pt x="65" y="57"/>
                      <a:pt x="64" y="57"/>
                      <a:pt x="65" y="56"/>
                    </a:cubicBezTo>
                    <a:cubicBezTo>
                      <a:pt x="65" y="56"/>
                      <a:pt x="65" y="56"/>
                      <a:pt x="65" y="56"/>
                    </a:cubicBezTo>
                    <a:cubicBezTo>
                      <a:pt x="65" y="56"/>
                      <a:pt x="66" y="56"/>
                      <a:pt x="65" y="55"/>
                    </a:cubicBezTo>
                    <a:cubicBezTo>
                      <a:pt x="64" y="55"/>
                      <a:pt x="63" y="55"/>
                      <a:pt x="63" y="55"/>
                    </a:cubicBezTo>
                    <a:cubicBezTo>
                      <a:pt x="62" y="55"/>
                      <a:pt x="61" y="55"/>
                      <a:pt x="60" y="55"/>
                    </a:cubicBezTo>
                    <a:cubicBezTo>
                      <a:pt x="59" y="55"/>
                      <a:pt x="58" y="55"/>
                      <a:pt x="57" y="55"/>
                    </a:cubicBezTo>
                    <a:cubicBezTo>
                      <a:pt x="58" y="54"/>
                      <a:pt x="57" y="54"/>
                      <a:pt x="56" y="55"/>
                    </a:cubicBezTo>
                    <a:cubicBezTo>
                      <a:pt x="56" y="55"/>
                      <a:pt x="55" y="54"/>
                      <a:pt x="54" y="55"/>
                    </a:cubicBezTo>
                    <a:cubicBezTo>
                      <a:pt x="54" y="55"/>
                      <a:pt x="54" y="55"/>
                      <a:pt x="53" y="55"/>
                    </a:cubicBezTo>
                    <a:cubicBezTo>
                      <a:pt x="53" y="55"/>
                      <a:pt x="53" y="55"/>
                      <a:pt x="53" y="55"/>
                    </a:cubicBezTo>
                    <a:cubicBezTo>
                      <a:pt x="54" y="54"/>
                      <a:pt x="53" y="54"/>
                      <a:pt x="52" y="54"/>
                    </a:cubicBezTo>
                    <a:cubicBezTo>
                      <a:pt x="50" y="54"/>
                      <a:pt x="49" y="54"/>
                      <a:pt x="47" y="55"/>
                    </a:cubicBezTo>
                    <a:cubicBezTo>
                      <a:pt x="46" y="55"/>
                      <a:pt x="46" y="56"/>
                      <a:pt x="45" y="56"/>
                    </a:cubicBezTo>
                    <a:cubicBezTo>
                      <a:pt x="44" y="56"/>
                      <a:pt x="45" y="54"/>
                      <a:pt x="45" y="54"/>
                    </a:cubicBezTo>
                    <a:cubicBezTo>
                      <a:pt x="45" y="53"/>
                      <a:pt x="43" y="55"/>
                      <a:pt x="43" y="55"/>
                    </a:cubicBezTo>
                    <a:cubicBezTo>
                      <a:pt x="42" y="55"/>
                      <a:pt x="41" y="54"/>
                      <a:pt x="42" y="55"/>
                    </a:cubicBezTo>
                    <a:cubicBezTo>
                      <a:pt x="41" y="55"/>
                      <a:pt x="41" y="55"/>
                      <a:pt x="41" y="55"/>
                    </a:cubicBezTo>
                    <a:cubicBezTo>
                      <a:pt x="41" y="55"/>
                      <a:pt x="41" y="56"/>
                      <a:pt x="41" y="56"/>
                    </a:cubicBezTo>
                    <a:cubicBezTo>
                      <a:pt x="40" y="56"/>
                      <a:pt x="40" y="55"/>
                      <a:pt x="40" y="55"/>
                    </a:cubicBezTo>
                    <a:cubicBezTo>
                      <a:pt x="40" y="55"/>
                      <a:pt x="39" y="55"/>
                      <a:pt x="39" y="55"/>
                    </a:cubicBezTo>
                    <a:cubicBezTo>
                      <a:pt x="39" y="55"/>
                      <a:pt x="39" y="56"/>
                      <a:pt x="38" y="56"/>
                    </a:cubicBezTo>
                    <a:cubicBezTo>
                      <a:pt x="38" y="56"/>
                      <a:pt x="37" y="56"/>
                      <a:pt x="37" y="56"/>
                    </a:cubicBezTo>
                    <a:cubicBezTo>
                      <a:pt x="37" y="55"/>
                      <a:pt x="37" y="55"/>
                      <a:pt x="38" y="55"/>
                    </a:cubicBezTo>
                    <a:cubicBezTo>
                      <a:pt x="37" y="55"/>
                      <a:pt x="37" y="56"/>
                      <a:pt x="36" y="56"/>
                    </a:cubicBezTo>
                    <a:cubicBezTo>
                      <a:pt x="36" y="57"/>
                      <a:pt x="35" y="57"/>
                      <a:pt x="34" y="57"/>
                    </a:cubicBezTo>
                    <a:cubicBezTo>
                      <a:pt x="34" y="57"/>
                      <a:pt x="33" y="56"/>
                      <a:pt x="33" y="56"/>
                    </a:cubicBezTo>
                    <a:cubicBezTo>
                      <a:pt x="33" y="56"/>
                      <a:pt x="33" y="56"/>
                      <a:pt x="34" y="56"/>
                    </a:cubicBezTo>
                    <a:cubicBezTo>
                      <a:pt x="34" y="56"/>
                      <a:pt x="34" y="55"/>
                      <a:pt x="35" y="55"/>
                    </a:cubicBezTo>
                    <a:cubicBezTo>
                      <a:pt x="34" y="55"/>
                      <a:pt x="36" y="55"/>
                      <a:pt x="36" y="55"/>
                    </a:cubicBezTo>
                    <a:cubicBezTo>
                      <a:pt x="35" y="54"/>
                      <a:pt x="34" y="54"/>
                      <a:pt x="34" y="55"/>
                    </a:cubicBezTo>
                    <a:cubicBezTo>
                      <a:pt x="33" y="55"/>
                      <a:pt x="33" y="55"/>
                      <a:pt x="32" y="54"/>
                    </a:cubicBezTo>
                    <a:cubicBezTo>
                      <a:pt x="32" y="54"/>
                      <a:pt x="32" y="55"/>
                      <a:pt x="31" y="55"/>
                    </a:cubicBezTo>
                    <a:cubicBezTo>
                      <a:pt x="31" y="55"/>
                      <a:pt x="30" y="55"/>
                      <a:pt x="30" y="56"/>
                    </a:cubicBezTo>
                    <a:cubicBezTo>
                      <a:pt x="29" y="56"/>
                      <a:pt x="30" y="56"/>
                      <a:pt x="29" y="56"/>
                    </a:cubicBezTo>
                    <a:cubicBezTo>
                      <a:pt x="28" y="56"/>
                      <a:pt x="28" y="56"/>
                      <a:pt x="28" y="55"/>
                    </a:cubicBezTo>
                    <a:cubicBezTo>
                      <a:pt x="28" y="55"/>
                      <a:pt x="28" y="55"/>
                      <a:pt x="28" y="55"/>
                    </a:cubicBezTo>
                    <a:cubicBezTo>
                      <a:pt x="28" y="55"/>
                      <a:pt x="27" y="54"/>
                      <a:pt x="26" y="55"/>
                    </a:cubicBezTo>
                    <a:cubicBezTo>
                      <a:pt x="25" y="55"/>
                      <a:pt x="26" y="55"/>
                      <a:pt x="25" y="55"/>
                    </a:cubicBezTo>
                    <a:cubicBezTo>
                      <a:pt x="25" y="55"/>
                      <a:pt x="24" y="55"/>
                      <a:pt x="24" y="55"/>
                    </a:cubicBezTo>
                    <a:cubicBezTo>
                      <a:pt x="24" y="56"/>
                      <a:pt x="26" y="55"/>
                      <a:pt x="25" y="56"/>
                    </a:cubicBezTo>
                    <a:cubicBezTo>
                      <a:pt x="25" y="56"/>
                      <a:pt x="27" y="57"/>
                      <a:pt x="28" y="57"/>
                    </a:cubicBezTo>
                    <a:cubicBezTo>
                      <a:pt x="28" y="57"/>
                      <a:pt x="25" y="57"/>
                      <a:pt x="24" y="57"/>
                    </a:cubicBezTo>
                    <a:cubicBezTo>
                      <a:pt x="23" y="56"/>
                      <a:pt x="21" y="57"/>
                      <a:pt x="20" y="56"/>
                    </a:cubicBezTo>
                    <a:cubicBezTo>
                      <a:pt x="19" y="56"/>
                      <a:pt x="16" y="56"/>
                      <a:pt x="16" y="56"/>
                    </a:cubicBezTo>
                    <a:cubicBezTo>
                      <a:pt x="16" y="56"/>
                      <a:pt x="16" y="56"/>
                      <a:pt x="17" y="56"/>
                    </a:cubicBezTo>
                    <a:cubicBezTo>
                      <a:pt x="16" y="55"/>
                      <a:pt x="15" y="55"/>
                      <a:pt x="14" y="55"/>
                    </a:cubicBezTo>
                    <a:cubicBezTo>
                      <a:pt x="15" y="55"/>
                      <a:pt x="14" y="55"/>
                      <a:pt x="14" y="55"/>
                    </a:cubicBezTo>
                    <a:cubicBezTo>
                      <a:pt x="13" y="55"/>
                      <a:pt x="13" y="54"/>
                      <a:pt x="12" y="54"/>
                    </a:cubicBezTo>
                    <a:cubicBezTo>
                      <a:pt x="11" y="54"/>
                      <a:pt x="10" y="54"/>
                      <a:pt x="11" y="53"/>
                    </a:cubicBezTo>
                    <a:cubicBezTo>
                      <a:pt x="12" y="53"/>
                      <a:pt x="13" y="53"/>
                      <a:pt x="14" y="53"/>
                    </a:cubicBezTo>
                    <a:cubicBezTo>
                      <a:pt x="15" y="53"/>
                      <a:pt x="15" y="53"/>
                      <a:pt x="16" y="53"/>
                    </a:cubicBezTo>
                    <a:cubicBezTo>
                      <a:pt x="16" y="52"/>
                      <a:pt x="18" y="52"/>
                      <a:pt x="17" y="52"/>
                    </a:cubicBezTo>
                    <a:cubicBezTo>
                      <a:pt x="18" y="52"/>
                      <a:pt x="20" y="52"/>
                      <a:pt x="22" y="52"/>
                    </a:cubicBezTo>
                    <a:cubicBezTo>
                      <a:pt x="22" y="52"/>
                      <a:pt x="24" y="52"/>
                      <a:pt x="23" y="51"/>
                    </a:cubicBezTo>
                    <a:cubicBezTo>
                      <a:pt x="23" y="51"/>
                      <a:pt x="23" y="51"/>
                      <a:pt x="24" y="51"/>
                    </a:cubicBezTo>
                    <a:cubicBezTo>
                      <a:pt x="23" y="51"/>
                      <a:pt x="23" y="51"/>
                      <a:pt x="22" y="51"/>
                    </a:cubicBezTo>
                    <a:cubicBezTo>
                      <a:pt x="21" y="51"/>
                      <a:pt x="21" y="51"/>
                      <a:pt x="20" y="51"/>
                    </a:cubicBezTo>
                    <a:cubicBezTo>
                      <a:pt x="18" y="51"/>
                      <a:pt x="16" y="51"/>
                      <a:pt x="15" y="51"/>
                    </a:cubicBezTo>
                    <a:cubicBezTo>
                      <a:pt x="14" y="51"/>
                      <a:pt x="13" y="51"/>
                      <a:pt x="12" y="51"/>
                    </a:cubicBezTo>
                    <a:cubicBezTo>
                      <a:pt x="12" y="51"/>
                      <a:pt x="11" y="50"/>
                      <a:pt x="11" y="50"/>
                    </a:cubicBezTo>
                    <a:cubicBezTo>
                      <a:pt x="12" y="49"/>
                      <a:pt x="13" y="49"/>
                      <a:pt x="14" y="49"/>
                    </a:cubicBezTo>
                    <a:cubicBezTo>
                      <a:pt x="15" y="49"/>
                      <a:pt x="15" y="49"/>
                      <a:pt x="16" y="48"/>
                    </a:cubicBezTo>
                    <a:cubicBezTo>
                      <a:pt x="15" y="48"/>
                      <a:pt x="14" y="49"/>
                      <a:pt x="13" y="49"/>
                    </a:cubicBezTo>
                    <a:cubicBezTo>
                      <a:pt x="12" y="49"/>
                      <a:pt x="11" y="49"/>
                      <a:pt x="10" y="50"/>
                    </a:cubicBezTo>
                    <a:cubicBezTo>
                      <a:pt x="9" y="50"/>
                      <a:pt x="8" y="50"/>
                      <a:pt x="7" y="50"/>
                    </a:cubicBezTo>
                    <a:cubicBezTo>
                      <a:pt x="7" y="50"/>
                      <a:pt x="7" y="50"/>
                      <a:pt x="7" y="50"/>
                    </a:cubicBezTo>
                    <a:cubicBezTo>
                      <a:pt x="7" y="49"/>
                      <a:pt x="6" y="49"/>
                      <a:pt x="6" y="49"/>
                    </a:cubicBezTo>
                    <a:cubicBezTo>
                      <a:pt x="6" y="49"/>
                      <a:pt x="8" y="49"/>
                      <a:pt x="8" y="49"/>
                    </a:cubicBezTo>
                    <a:cubicBezTo>
                      <a:pt x="8" y="49"/>
                      <a:pt x="8" y="49"/>
                      <a:pt x="7" y="49"/>
                    </a:cubicBezTo>
                    <a:cubicBezTo>
                      <a:pt x="7" y="49"/>
                      <a:pt x="7" y="49"/>
                      <a:pt x="7" y="49"/>
                    </a:cubicBezTo>
                    <a:cubicBezTo>
                      <a:pt x="6" y="49"/>
                      <a:pt x="4" y="49"/>
                      <a:pt x="5" y="48"/>
                    </a:cubicBezTo>
                    <a:cubicBezTo>
                      <a:pt x="5" y="48"/>
                      <a:pt x="7" y="47"/>
                      <a:pt x="7" y="47"/>
                    </a:cubicBezTo>
                    <a:cubicBezTo>
                      <a:pt x="8" y="47"/>
                      <a:pt x="9" y="47"/>
                      <a:pt x="10" y="47"/>
                    </a:cubicBezTo>
                    <a:cubicBezTo>
                      <a:pt x="10" y="47"/>
                      <a:pt x="9" y="47"/>
                      <a:pt x="9" y="47"/>
                    </a:cubicBezTo>
                    <a:cubicBezTo>
                      <a:pt x="11" y="46"/>
                      <a:pt x="14" y="46"/>
                      <a:pt x="17" y="47"/>
                    </a:cubicBezTo>
                    <a:cubicBezTo>
                      <a:pt x="20" y="47"/>
                      <a:pt x="22" y="47"/>
                      <a:pt x="25" y="47"/>
                    </a:cubicBezTo>
                    <a:cubicBezTo>
                      <a:pt x="27" y="47"/>
                      <a:pt x="28" y="47"/>
                      <a:pt x="29" y="47"/>
                    </a:cubicBezTo>
                    <a:cubicBezTo>
                      <a:pt x="31" y="47"/>
                      <a:pt x="32" y="47"/>
                      <a:pt x="34" y="47"/>
                    </a:cubicBezTo>
                    <a:cubicBezTo>
                      <a:pt x="34" y="47"/>
                      <a:pt x="35" y="47"/>
                      <a:pt x="35" y="47"/>
                    </a:cubicBezTo>
                    <a:cubicBezTo>
                      <a:pt x="36" y="47"/>
                      <a:pt x="37" y="48"/>
                      <a:pt x="37" y="47"/>
                    </a:cubicBezTo>
                    <a:cubicBezTo>
                      <a:pt x="37" y="47"/>
                      <a:pt x="39" y="47"/>
                      <a:pt x="39" y="47"/>
                    </a:cubicBezTo>
                    <a:cubicBezTo>
                      <a:pt x="38" y="46"/>
                      <a:pt x="37" y="47"/>
                      <a:pt x="36" y="47"/>
                    </a:cubicBezTo>
                    <a:cubicBezTo>
                      <a:pt x="34" y="47"/>
                      <a:pt x="33" y="47"/>
                      <a:pt x="31" y="47"/>
                    </a:cubicBezTo>
                    <a:cubicBezTo>
                      <a:pt x="29" y="47"/>
                      <a:pt x="28" y="47"/>
                      <a:pt x="26" y="47"/>
                    </a:cubicBezTo>
                    <a:cubicBezTo>
                      <a:pt x="25" y="47"/>
                      <a:pt x="25" y="47"/>
                      <a:pt x="24" y="47"/>
                    </a:cubicBezTo>
                    <a:cubicBezTo>
                      <a:pt x="23" y="47"/>
                      <a:pt x="22" y="47"/>
                      <a:pt x="22" y="46"/>
                    </a:cubicBezTo>
                    <a:cubicBezTo>
                      <a:pt x="22" y="46"/>
                      <a:pt x="23" y="46"/>
                      <a:pt x="23" y="46"/>
                    </a:cubicBezTo>
                    <a:cubicBezTo>
                      <a:pt x="24" y="46"/>
                      <a:pt x="25" y="46"/>
                      <a:pt x="26" y="46"/>
                    </a:cubicBezTo>
                    <a:cubicBezTo>
                      <a:pt x="27" y="45"/>
                      <a:pt x="29" y="45"/>
                      <a:pt x="31" y="45"/>
                    </a:cubicBezTo>
                    <a:cubicBezTo>
                      <a:pt x="32" y="45"/>
                      <a:pt x="34" y="45"/>
                      <a:pt x="36" y="45"/>
                    </a:cubicBezTo>
                    <a:cubicBezTo>
                      <a:pt x="37" y="46"/>
                      <a:pt x="38" y="47"/>
                      <a:pt x="39" y="46"/>
                    </a:cubicBezTo>
                    <a:cubicBezTo>
                      <a:pt x="39" y="46"/>
                      <a:pt x="37" y="46"/>
                      <a:pt x="38" y="45"/>
                    </a:cubicBezTo>
                    <a:cubicBezTo>
                      <a:pt x="38" y="45"/>
                      <a:pt x="39" y="45"/>
                      <a:pt x="40" y="45"/>
                    </a:cubicBezTo>
                    <a:cubicBezTo>
                      <a:pt x="41" y="45"/>
                      <a:pt x="41" y="45"/>
                      <a:pt x="42" y="44"/>
                    </a:cubicBezTo>
                    <a:cubicBezTo>
                      <a:pt x="42" y="44"/>
                      <a:pt x="41" y="44"/>
                      <a:pt x="42" y="44"/>
                    </a:cubicBezTo>
                    <a:cubicBezTo>
                      <a:pt x="42" y="44"/>
                      <a:pt x="42" y="44"/>
                      <a:pt x="41" y="44"/>
                    </a:cubicBezTo>
                    <a:cubicBezTo>
                      <a:pt x="42" y="44"/>
                      <a:pt x="42" y="44"/>
                      <a:pt x="42" y="43"/>
                    </a:cubicBezTo>
                    <a:cubicBezTo>
                      <a:pt x="42" y="43"/>
                      <a:pt x="39" y="43"/>
                      <a:pt x="40" y="43"/>
                    </a:cubicBezTo>
                    <a:cubicBezTo>
                      <a:pt x="40" y="42"/>
                      <a:pt x="39" y="43"/>
                      <a:pt x="38" y="43"/>
                    </a:cubicBezTo>
                    <a:cubicBezTo>
                      <a:pt x="38" y="43"/>
                      <a:pt x="37" y="43"/>
                      <a:pt x="37" y="43"/>
                    </a:cubicBezTo>
                    <a:cubicBezTo>
                      <a:pt x="36" y="43"/>
                      <a:pt x="36" y="43"/>
                      <a:pt x="36" y="44"/>
                    </a:cubicBezTo>
                    <a:cubicBezTo>
                      <a:pt x="35" y="44"/>
                      <a:pt x="34" y="44"/>
                      <a:pt x="34" y="44"/>
                    </a:cubicBezTo>
                    <a:cubicBezTo>
                      <a:pt x="32" y="44"/>
                      <a:pt x="31" y="44"/>
                      <a:pt x="30" y="44"/>
                    </a:cubicBezTo>
                    <a:cubicBezTo>
                      <a:pt x="30" y="44"/>
                      <a:pt x="28" y="45"/>
                      <a:pt x="28" y="44"/>
                    </a:cubicBezTo>
                    <a:cubicBezTo>
                      <a:pt x="29" y="44"/>
                      <a:pt x="27" y="43"/>
                      <a:pt x="26" y="43"/>
                    </a:cubicBezTo>
                    <a:cubicBezTo>
                      <a:pt x="26" y="44"/>
                      <a:pt x="27" y="44"/>
                      <a:pt x="26" y="44"/>
                    </a:cubicBezTo>
                    <a:cubicBezTo>
                      <a:pt x="25" y="44"/>
                      <a:pt x="23" y="45"/>
                      <a:pt x="22" y="45"/>
                    </a:cubicBezTo>
                    <a:cubicBezTo>
                      <a:pt x="21" y="45"/>
                      <a:pt x="20" y="44"/>
                      <a:pt x="19" y="44"/>
                    </a:cubicBezTo>
                    <a:cubicBezTo>
                      <a:pt x="18" y="44"/>
                      <a:pt x="17" y="44"/>
                      <a:pt x="16" y="44"/>
                    </a:cubicBezTo>
                    <a:cubicBezTo>
                      <a:pt x="17" y="43"/>
                      <a:pt x="19" y="43"/>
                      <a:pt x="20" y="43"/>
                    </a:cubicBezTo>
                    <a:cubicBezTo>
                      <a:pt x="20" y="43"/>
                      <a:pt x="21" y="43"/>
                      <a:pt x="21" y="43"/>
                    </a:cubicBezTo>
                    <a:cubicBezTo>
                      <a:pt x="21" y="43"/>
                      <a:pt x="22" y="43"/>
                      <a:pt x="22" y="43"/>
                    </a:cubicBezTo>
                    <a:cubicBezTo>
                      <a:pt x="22" y="43"/>
                      <a:pt x="22" y="42"/>
                      <a:pt x="23" y="42"/>
                    </a:cubicBezTo>
                    <a:cubicBezTo>
                      <a:pt x="22" y="42"/>
                      <a:pt x="22" y="43"/>
                      <a:pt x="21" y="43"/>
                    </a:cubicBezTo>
                    <a:cubicBezTo>
                      <a:pt x="20" y="43"/>
                      <a:pt x="20" y="43"/>
                      <a:pt x="19" y="43"/>
                    </a:cubicBezTo>
                    <a:cubicBezTo>
                      <a:pt x="18" y="43"/>
                      <a:pt x="16" y="43"/>
                      <a:pt x="15" y="43"/>
                    </a:cubicBezTo>
                    <a:cubicBezTo>
                      <a:pt x="15" y="42"/>
                      <a:pt x="17" y="42"/>
                      <a:pt x="17" y="42"/>
                    </a:cubicBezTo>
                    <a:cubicBezTo>
                      <a:pt x="18" y="42"/>
                      <a:pt x="18" y="42"/>
                      <a:pt x="19" y="42"/>
                    </a:cubicBezTo>
                    <a:cubicBezTo>
                      <a:pt x="19" y="42"/>
                      <a:pt x="20" y="42"/>
                      <a:pt x="20" y="42"/>
                    </a:cubicBezTo>
                    <a:cubicBezTo>
                      <a:pt x="18" y="41"/>
                      <a:pt x="16" y="42"/>
                      <a:pt x="13" y="42"/>
                    </a:cubicBezTo>
                    <a:cubicBezTo>
                      <a:pt x="13" y="42"/>
                      <a:pt x="11" y="42"/>
                      <a:pt x="11" y="42"/>
                    </a:cubicBezTo>
                    <a:cubicBezTo>
                      <a:pt x="11" y="42"/>
                      <a:pt x="13" y="42"/>
                      <a:pt x="13" y="41"/>
                    </a:cubicBezTo>
                    <a:cubicBezTo>
                      <a:pt x="13" y="41"/>
                      <a:pt x="11" y="41"/>
                      <a:pt x="10" y="41"/>
                    </a:cubicBezTo>
                    <a:cubicBezTo>
                      <a:pt x="11" y="41"/>
                      <a:pt x="10" y="41"/>
                      <a:pt x="10" y="41"/>
                    </a:cubicBezTo>
                    <a:cubicBezTo>
                      <a:pt x="9" y="41"/>
                      <a:pt x="8" y="41"/>
                      <a:pt x="7" y="41"/>
                    </a:cubicBezTo>
                    <a:cubicBezTo>
                      <a:pt x="8" y="40"/>
                      <a:pt x="7" y="40"/>
                      <a:pt x="8" y="40"/>
                    </a:cubicBezTo>
                    <a:cubicBezTo>
                      <a:pt x="7" y="40"/>
                      <a:pt x="6" y="40"/>
                      <a:pt x="6" y="40"/>
                    </a:cubicBezTo>
                    <a:cubicBezTo>
                      <a:pt x="5" y="39"/>
                      <a:pt x="5" y="39"/>
                      <a:pt x="4" y="39"/>
                    </a:cubicBezTo>
                    <a:cubicBezTo>
                      <a:pt x="5" y="39"/>
                      <a:pt x="5" y="39"/>
                      <a:pt x="6" y="39"/>
                    </a:cubicBezTo>
                    <a:cubicBezTo>
                      <a:pt x="6" y="39"/>
                      <a:pt x="6" y="39"/>
                      <a:pt x="6" y="39"/>
                    </a:cubicBezTo>
                    <a:cubicBezTo>
                      <a:pt x="7" y="38"/>
                      <a:pt x="8" y="38"/>
                      <a:pt x="9" y="38"/>
                    </a:cubicBezTo>
                    <a:cubicBezTo>
                      <a:pt x="8" y="38"/>
                      <a:pt x="7" y="38"/>
                      <a:pt x="7" y="38"/>
                    </a:cubicBezTo>
                    <a:cubicBezTo>
                      <a:pt x="7" y="37"/>
                      <a:pt x="8" y="37"/>
                      <a:pt x="9" y="37"/>
                    </a:cubicBezTo>
                    <a:cubicBezTo>
                      <a:pt x="9" y="37"/>
                      <a:pt x="9" y="37"/>
                      <a:pt x="9" y="37"/>
                    </a:cubicBezTo>
                    <a:cubicBezTo>
                      <a:pt x="9" y="37"/>
                      <a:pt x="9" y="37"/>
                      <a:pt x="10" y="36"/>
                    </a:cubicBezTo>
                    <a:cubicBezTo>
                      <a:pt x="9" y="36"/>
                      <a:pt x="11" y="36"/>
                      <a:pt x="12" y="36"/>
                    </a:cubicBezTo>
                    <a:cubicBezTo>
                      <a:pt x="13" y="36"/>
                      <a:pt x="15" y="36"/>
                      <a:pt x="16" y="35"/>
                    </a:cubicBezTo>
                    <a:cubicBezTo>
                      <a:pt x="18" y="35"/>
                      <a:pt x="19" y="35"/>
                      <a:pt x="21" y="35"/>
                    </a:cubicBezTo>
                    <a:cubicBezTo>
                      <a:pt x="21" y="35"/>
                      <a:pt x="22" y="35"/>
                      <a:pt x="22" y="35"/>
                    </a:cubicBezTo>
                    <a:cubicBezTo>
                      <a:pt x="23" y="35"/>
                      <a:pt x="24" y="35"/>
                      <a:pt x="24" y="35"/>
                    </a:cubicBezTo>
                    <a:cubicBezTo>
                      <a:pt x="25" y="35"/>
                      <a:pt x="28" y="35"/>
                      <a:pt x="28" y="34"/>
                    </a:cubicBezTo>
                    <a:cubicBezTo>
                      <a:pt x="28" y="34"/>
                      <a:pt x="30" y="34"/>
                      <a:pt x="30" y="34"/>
                    </a:cubicBezTo>
                    <a:cubicBezTo>
                      <a:pt x="31" y="34"/>
                      <a:pt x="31" y="34"/>
                      <a:pt x="32" y="34"/>
                    </a:cubicBezTo>
                    <a:cubicBezTo>
                      <a:pt x="33" y="34"/>
                      <a:pt x="33" y="33"/>
                      <a:pt x="34" y="33"/>
                    </a:cubicBezTo>
                    <a:cubicBezTo>
                      <a:pt x="35" y="33"/>
                      <a:pt x="35" y="34"/>
                      <a:pt x="36" y="34"/>
                    </a:cubicBezTo>
                    <a:cubicBezTo>
                      <a:pt x="36" y="33"/>
                      <a:pt x="36" y="33"/>
                      <a:pt x="35" y="33"/>
                    </a:cubicBezTo>
                    <a:cubicBezTo>
                      <a:pt x="35" y="33"/>
                      <a:pt x="34" y="33"/>
                      <a:pt x="35" y="33"/>
                    </a:cubicBezTo>
                    <a:cubicBezTo>
                      <a:pt x="35" y="32"/>
                      <a:pt x="36" y="32"/>
                      <a:pt x="37" y="32"/>
                    </a:cubicBezTo>
                    <a:cubicBezTo>
                      <a:pt x="38" y="32"/>
                      <a:pt x="39" y="32"/>
                      <a:pt x="41" y="32"/>
                    </a:cubicBezTo>
                    <a:cubicBezTo>
                      <a:pt x="41" y="32"/>
                      <a:pt x="42" y="32"/>
                      <a:pt x="43" y="32"/>
                    </a:cubicBezTo>
                    <a:cubicBezTo>
                      <a:pt x="43" y="32"/>
                      <a:pt x="44" y="32"/>
                      <a:pt x="44" y="32"/>
                    </a:cubicBezTo>
                    <a:cubicBezTo>
                      <a:pt x="44" y="32"/>
                      <a:pt x="46" y="31"/>
                      <a:pt x="46" y="31"/>
                    </a:cubicBezTo>
                    <a:cubicBezTo>
                      <a:pt x="47" y="31"/>
                      <a:pt x="47" y="31"/>
                      <a:pt x="48" y="31"/>
                    </a:cubicBezTo>
                    <a:cubicBezTo>
                      <a:pt x="48" y="31"/>
                      <a:pt x="49" y="31"/>
                      <a:pt x="49" y="31"/>
                    </a:cubicBezTo>
                    <a:cubicBezTo>
                      <a:pt x="49" y="31"/>
                      <a:pt x="50" y="31"/>
                      <a:pt x="50" y="32"/>
                    </a:cubicBezTo>
                    <a:cubicBezTo>
                      <a:pt x="50" y="31"/>
                      <a:pt x="50" y="31"/>
                      <a:pt x="51" y="31"/>
                    </a:cubicBezTo>
                    <a:cubicBezTo>
                      <a:pt x="51" y="31"/>
                      <a:pt x="50" y="31"/>
                      <a:pt x="50" y="31"/>
                    </a:cubicBezTo>
                    <a:cubicBezTo>
                      <a:pt x="51" y="32"/>
                      <a:pt x="52" y="31"/>
                      <a:pt x="53" y="31"/>
                    </a:cubicBezTo>
                    <a:cubicBezTo>
                      <a:pt x="53" y="31"/>
                      <a:pt x="53" y="31"/>
                      <a:pt x="53" y="31"/>
                    </a:cubicBezTo>
                    <a:cubicBezTo>
                      <a:pt x="53" y="32"/>
                      <a:pt x="54" y="32"/>
                      <a:pt x="54" y="32"/>
                    </a:cubicBezTo>
                    <a:cubicBezTo>
                      <a:pt x="54" y="32"/>
                      <a:pt x="55" y="32"/>
                      <a:pt x="55" y="31"/>
                    </a:cubicBezTo>
                    <a:cubicBezTo>
                      <a:pt x="55" y="31"/>
                      <a:pt x="56" y="31"/>
                      <a:pt x="56" y="31"/>
                    </a:cubicBezTo>
                    <a:cubicBezTo>
                      <a:pt x="56" y="31"/>
                      <a:pt x="57" y="31"/>
                      <a:pt x="57" y="31"/>
                    </a:cubicBezTo>
                    <a:cubicBezTo>
                      <a:pt x="57" y="31"/>
                      <a:pt x="58" y="31"/>
                      <a:pt x="58" y="31"/>
                    </a:cubicBezTo>
                    <a:cubicBezTo>
                      <a:pt x="59" y="30"/>
                      <a:pt x="59" y="30"/>
                      <a:pt x="59" y="30"/>
                    </a:cubicBezTo>
                    <a:cubicBezTo>
                      <a:pt x="60" y="30"/>
                      <a:pt x="61" y="30"/>
                      <a:pt x="62" y="30"/>
                    </a:cubicBezTo>
                    <a:cubicBezTo>
                      <a:pt x="63" y="29"/>
                      <a:pt x="64" y="29"/>
                      <a:pt x="65" y="29"/>
                    </a:cubicBezTo>
                    <a:cubicBezTo>
                      <a:pt x="65" y="28"/>
                      <a:pt x="67" y="27"/>
                      <a:pt x="66" y="27"/>
                    </a:cubicBezTo>
                    <a:cubicBezTo>
                      <a:pt x="66" y="27"/>
                      <a:pt x="66" y="27"/>
                      <a:pt x="66" y="27"/>
                    </a:cubicBezTo>
                    <a:cubicBezTo>
                      <a:pt x="66" y="27"/>
                      <a:pt x="66" y="26"/>
                      <a:pt x="67" y="26"/>
                    </a:cubicBezTo>
                    <a:cubicBezTo>
                      <a:pt x="67" y="26"/>
                      <a:pt x="66" y="26"/>
                      <a:pt x="67" y="26"/>
                    </a:cubicBezTo>
                    <a:cubicBezTo>
                      <a:pt x="66" y="26"/>
                      <a:pt x="68" y="25"/>
                      <a:pt x="68" y="25"/>
                    </a:cubicBezTo>
                    <a:cubicBezTo>
                      <a:pt x="68" y="25"/>
                      <a:pt x="68" y="25"/>
                      <a:pt x="68" y="25"/>
                    </a:cubicBezTo>
                    <a:cubicBezTo>
                      <a:pt x="68" y="24"/>
                      <a:pt x="69" y="24"/>
                      <a:pt x="69" y="24"/>
                    </a:cubicBezTo>
                    <a:cubicBezTo>
                      <a:pt x="70" y="24"/>
                      <a:pt x="71" y="24"/>
                      <a:pt x="71" y="24"/>
                    </a:cubicBezTo>
                    <a:cubicBezTo>
                      <a:pt x="72" y="24"/>
                      <a:pt x="73" y="24"/>
                      <a:pt x="74" y="24"/>
                    </a:cubicBezTo>
                    <a:cubicBezTo>
                      <a:pt x="75" y="24"/>
                      <a:pt x="76" y="24"/>
                      <a:pt x="76" y="24"/>
                    </a:cubicBezTo>
                    <a:cubicBezTo>
                      <a:pt x="76" y="23"/>
                      <a:pt x="75" y="24"/>
                      <a:pt x="75" y="23"/>
                    </a:cubicBezTo>
                    <a:cubicBezTo>
                      <a:pt x="74" y="23"/>
                      <a:pt x="75" y="23"/>
                      <a:pt x="75" y="23"/>
                    </a:cubicBezTo>
                    <a:cubicBezTo>
                      <a:pt x="74" y="23"/>
                      <a:pt x="73" y="24"/>
                      <a:pt x="72" y="24"/>
                    </a:cubicBezTo>
                    <a:cubicBezTo>
                      <a:pt x="71" y="24"/>
                      <a:pt x="69" y="24"/>
                      <a:pt x="68" y="24"/>
                    </a:cubicBezTo>
                    <a:cubicBezTo>
                      <a:pt x="67" y="24"/>
                      <a:pt x="66" y="24"/>
                      <a:pt x="65" y="24"/>
                    </a:cubicBezTo>
                    <a:cubicBezTo>
                      <a:pt x="64" y="25"/>
                      <a:pt x="62" y="25"/>
                      <a:pt x="62" y="24"/>
                    </a:cubicBezTo>
                    <a:cubicBezTo>
                      <a:pt x="61" y="24"/>
                      <a:pt x="58" y="24"/>
                      <a:pt x="57" y="24"/>
                    </a:cubicBezTo>
                    <a:cubicBezTo>
                      <a:pt x="57" y="24"/>
                      <a:pt x="56" y="24"/>
                      <a:pt x="56" y="24"/>
                    </a:cubicBezTo>
                    <a:cubicBezTo>
                      <a:pt x="56" y="23"/>
                      <a:pt x="55" y="24"/>
                      <a:pt x="55" y="23"/>
                    </a:cubicBezTo>
                    <a:cubicBezTo>
                      <a:pt x="55" y="23"/>
                      <a:pt x="55" y="23"/>
                      <a:pt x="56" y="22"/>
                    </a:cubicBezTo>
                    <a:cubicBezTo>
                      <a:pt x="56" y="22"/>
                      <a:pt x="57" y="22"/>
                      <a:pt x="58" y="22"/>
                    </a:cubicBezTo>
                    <a:cubicBezTo>
                      <a:pt x="59" y="22"/>
                      <a:pt x="61" y="22"/>
                      <a:pt x="62" y="21"/>
                    </a:cubicBezTo>
                    <a:cubicBezTo>
                      <a:pt x="61" y="21"/>
                      <a:pt x="62" y="21"/>
                      <a:pt x="62" y="21"/>
                    </a:cubicBezTo>
                    <a:cubicBezTo>
                      <a:pt x="63" y="20"/>
                      <a:pt x="64" y="20"/>
                      <a:pt x="65" y="20"/>
                    </a:cubicBezTo>
                    <a:cubicBezTo>
                      <a:pt x="66" y="20"/>
                      <a:pt x="66" y="20"/>
                      <a:pt x="67" y="20"/>
                    </a:cubicBezTo>
                    <a:cubicBezTo>
                      <a:pt x="68" y="20"/>
                      <a:pt x="69" y="20"/>
                      <a:pt x="70" y="20"/>
                    </a:cubicBezTo>
                    <a:cubicBezTo>
                      <a:pt x="70" y="20"/>
                      <a:pt x="69" y="20"/>
                      <a:pt x="69" y="20"/>
                    </a:cubicBezTo>
                    <a:cubicBezTo>
                      <a:pt x="69" y="19"/>
                      <a:pt x="74" y="19"/>
                      <a:pt x="74" y="19"/>
                    </a:cubicBezTo>
                    <a:cubicBezTo>
                      <a:pt x="75" y="18"/>
                      <a:pt x="75" y="18"/>
                      <a:pt x="76" y="18"/>
                    </a:cubicBezTo>
                    <a:cubicBezTo>
                      <a:pt x="76" y="18"/>
                      <a:pt x="77" y="18"/>
                      <a:pt x="77" y="18"/>
                    </a:cubicBezTo>
                    <a:cubicBezTo>
                      <a:pt x="77" y="18"/>
                      <a:pt x="77" y="18"/>
                      <a:pt x="77" y="18"/>
                    </a:cubicBezTo>
                    <a:cubicBezTo>
                      <a:pt x="77" y="17"/>
                      <a:pt x="77" y="17"/>
                      <a:pt x="78" y="17"/>
                    </a:cubicBezTo>
                    <a:cubicBezTo>
                      <a:pt x="79" y="17"/>
                      <a:pt x="80" y="17"/>
                      <a:pt x="81" y="17"/>
                    </a:cubicBezTo>
                    <a:cubicBezTo>
                      <a:pt x="82" y="17"/>
                      <a:pt x="83" y="16"/>
                      <a:pt x="84" y="16"/>
                    </a:cubicBezTo>
                    <a:cubicBezTo>
                      <a:pt x="86" y="16"/>
                      <a:pt x="85" y="17"/>
                      <a:pt x="85" y="18"/>
                    </a:cubicBezTo>
                    <a:cubicBezTo>
                      <a:pt x="86" y="18"/>
                      <a:pt x="87" y="19"/>
                      <a:pt x="87" y="19"/>
                    </a:cubicBezTo>
                    <a:cubicBezTo>
                      <a:pt x="87" y="19"/>
                      <a:pt x="87" y="19"/>
                      <a:pt x="87" y="18"/>
                    </a:cubicBezTo>
                    <a:cubicBezTo>
                      <a:pt x="86" y="18"/>
                      <a:pt x="86" y="18"/>
                      <a:pt x="86" y="17"/>
                    </a:cubicBezTo>
                    <a:cubicBezTo>
                      <a:pt x="87" y="16"/>
                      <a:pt x="88" y="16"/>
                      <a:pt x="90" y="16"/>
                    </a:cubicBezTo>
                    <a:cubicBezTo>
                      <a:pt x="92" y="16"/>
                      <a:pt x="94" y="16"/>
                      <a:pt x="95" y="16"/>
                    </a:cubicBezTo>
                    <a:cubicBezTo>
                      <a:pt x="96" y="17"/>
                      <a:pt x="97" y="17"/>
                      <a:pt x="98" y="17"/>
                    </a:cubicBezTo>
                    <a:cubicBezTo>
                      <a:pt x="99" y="16"/>
                      <a:pt x="100" y="16"/>
                      <a:pt x="101" y="16"/>
                    </a:cubicBezTo>
                    <a:cubicBezTo>
                      <a:pt x="101" y="16"/>
                      <a:pt x="100" y="16"/>
                      <a:pt x="100" y="15"/>
                    </a:cubicBezTo>
                    <a:cubicBezTo>
                      <a:pt x="100" y="15"/>
                      <a:pt x="100" y="15"/>
                      <a:pt x="100" y="15"/>
                    </a:cubicBezTo>
                    <a:cubicBezTo>
                      <a:pt x="101" y="15"/>
                      <a:pt x="102" y="15"/>
                      <a:pt x="103" y="14"/>
                    </a:cubicBezTo>
                    <a:cubicBezTo>
                      <a:pt x="103" y="14"/>
                      <a:pt x="104" y="14"/>
                      <a:pt x="104" y="14"/>
                    </a:cubicBezTo>
                    <a:cubicBezTo>
                      <a:pt x="104" y="14"/>
                      <a:pt x="103" y="14"/>
                      <a:pt x="103" y="13"/>
                    </a:cubicBezTo>
                    <a:cubicBezTo>
                      <a:pt x="103" y="13"/>
                      <a:pt x="102" y="13"/>
                      <a:pt x="102" y="12"/>
                    </a:cubicBezTo>
                    <a:cubicBezTo>
                      <a:pt x="103" y="11"/>
                      <a:pt x="104" y="12"/>
                      <a:pt x="106" y="11"/>
                    </a:cubicBezTo>
                    <a:cubicBezTo>
                      <a:pt x="107" y="11"/>
                      <a:pt x="109" y="11"/>
                      <a:pt x="111" y="11"/>
                    </a:cubicBezTo>
                    <a:cubicBezTo>
                      <a:pt x="112" y="11"/>
                      <a:pt x="114" y="11"/>
                      <a:pt x="115" y="11"/>
                    </a:cubicBezTo>
                    <a:cubicBezTo>
                      <a:pt x="116" y="11"/>
                      <a:pt x="117" y="11"/>
                      <a:pt x="117" y="11"/>
                    </a:cubicBezTo>
                    <a:cubicBezTo>
                      <a:pt x="118" y="11"/>
                      <a:pt x="118" y="12"/>
                      <a:pt x="118" y="12"/>
                    </a:cubicBezTo>
                    <a:cubicBezTo>
                      <a:pt x="118" y="12"/>
                      <a:pt x="117" y="12"/>
                      <a:pt x="118" y="12"/>
                    </a:cubicBezTo>
                    <a:cubicBezTo>
                      <a:pt x="118" y="13"/>
                      <a:pt x="119" y="13"/>
                      <a:pt x="120" y="13"/>
                    </a:cubicBezTo>
                    <a:cubicBezTo>
                      <a:pt x="121" y="13"/>
                      <a:pt x="122" y="13"/>
                      <a:pt x="123" y="13"/>
                    </a:cubicBezTo>
                    <a:cubicBezTo>
                      <a:pt x="124" y="13"/>
                      <a:pt x="124" y="14"/>
                      <a:pt x="125" y="14"/>
                    </a:cubicBezTo>
                    <a:cubicBezTo>
                      <a:pt x="125" y="14"/>
                      <a:pt x="125" y="14"/>
                      <a:pt x="125" y="14"/>
                    </a:cubicBezTo>
                    <a:cubicBezTo>
                      <a:pt x="125" y="15"/>
                      <a:pt x="126" y="14"/>
                      <a:pt x="126" y="14"/>
                    </a:cubicBezTo>
                    <a:cubicBezTo>
                      <a:pt x="127" y="15"/>
                      <a:pt x="128" y="15"/>
                      <a:pt x="129" y="15"/>
                    </a:cubicBezTo>
                    <a:cubicBezTo>
                      <a:pt x="128" y="14"/>
                      <a:pt x="127" y="14"/>
                      <a:pt x="126" y="14"/>
                    </a:cubicBezTo>
                    <a:cubicBezTo>
                      <a:pt x="126" y="14"/>
                      <a:pt x="126" y="14"/>
                      <a:pt x="125" y="14"/>
                    </a:cubicBezTo>
                    <a:cubicBezTo>
                      <a:pt x="125" y="13"/>
                      <a:pt x="125" y="13"/>
                      <a:pt x="124" y="13"/>
                    </a:cubicBezTo>
                    <a:cubicBezTo>
                      <a:pt x="123" y="13"/>
                      <a:pt x="122" y="13"/>
                      <a:pt x="121" y="13"/>
                    </a:cubicBezTo>
                    <a:cubicBezTo>
                      <a:pt x="121" y="12"/>
                      <a:pt x="120" y="12"/>
                      <a:pt x="120" y="11"/>
                    </a:cubicBezTo>
                    <a:cubicBezTo>
                      <a:pt x="119" y="11"/>
                      <a:pt x="119" y="11"/>
                      <a:pt x="118" y="11"/>
                    </a:cubicBezTo>
                    <a:cubicBezTo>
                      <a:pt x="117" y="11"/>
                      <a:pt x="116" y="11"/>
                      <a:pt x="115" y="10"/>
                    </a:cubicBezTo>
                    <a:cubicBezTo>
                      <a:pt x="118" y="10"/>
                      <a:pt x="121" y="10"/>
                      <a:pt x="124" y="9"/>
                    </a:cubicBezTo>
                    <a:cubicBezTo>
                      <a:pt x="126" y="9"/>
                      <a:pt x="128" y="9"/>
                      <a:pt x="130" y="9"/>
                    </a:cubicBezTo>
                    <a:cubicBezTo>
                      <a:pt x="131" y="9"/>
                      <a:pt x="132" y="9"/>
                      <a:pt x="134" y="9"/>
                    </a:cubicBezTo>
                    <a:cubicBezTo>
                      <a:pt x="134" y="9"/>
                      <a:pt x="135" y="9"/>
                      <a:pt x="136" y="9"/>
                    </a:cubicBezTo>
                    <a:cubicBezTo>
                      <a:pt x="136" y="9"/>
                      <a:pt x="137" y="9"/>
                      <a:pt x="138" y="9"/>
                    </a:cubicBezTo>
                    <a:cubicBezTo>
                      <a:pt x="139" y="9"/>
                      <a:pt x="141" y="8"/>
                      <a:pt x="141" y="9"/>
                    </a:cubicBezTo>
                    <a:cubicBezTo>
                      <a:pt x="140" y="9"/>
                      <a:pt x="141" y="9"/>
                      <a:pt x="142" y="9"/>
                    </a:cubicBezTo>
                    <a:cubicBezTo>
                      <a:pt x="142" y="9"/>
                      <a:pt x="142" y="9"/>
                      <a:pt x="142" y="9"/>
                    </a:cubicBezTo>
                    <a:cubicBezTo>
                      <a:pt x="142" y="9"/>
                      <a:pt x="140" y="8"/>
                      <a:pt x="140" y="8"/>
                    </a:cubicBezTo>
                    <a:cubicBezTo>
                      <a:pt x="141" y="8"/>
                      <a:pt x="142" y="8"/>
                      <a:pt x="143" y="8"/>
                    </a:cubicBezTo>
                    <a:cubicBezTo>
                      <a:pt x="144" y="8"/>
                      <a:pt x="145" y="8"/>
                      <a:pt x="146" y="8"/>
                    </a:cubicBezTo>
                    <a:cubicBezTo>
                      <a:pt x="147" y="8"/>
                      <a:pt x="148" y="8"/>
                      <a:pt x="149" y="8"/>
                    </a:cubicBezTo>
                    <a:cubicBezTo>
                      <a:pt x="149" y="9"/>
                      <a:pt x="150" y="9"/>
                      <a:pt x="150" y="10"/>
                    </a:cubicBezTo>
                    <a:cubicBezTo>
                      <a:pt x="150" y="10"/>
                      <a:pt x="150" y="10"/>
                      <a:pt x="150" y="10"/>
                    </a:cubicBezTo>
                    <a:cubicBezTo>
                      <a:pt x="150" y="10"/>
                      <a:pt x="150" y="11"/>
                      <a:pt x="150" y="11"/>
                    </a:cubicBezTo>
                    <a:cubicBezTo>
                      <a:pt x="150" y="11"/>
                      <a:pt x="149" y="12"/>
                      <a:pt x="148" y="12"/>
                    </a:cubicBezTo>
                    <a:cubicBezTo>
                      <a:pt x="148" y="12"/>
                      <a:pt x="147" y="12"/>
                      <a:pt x="146" y="13"/>
                    </a:cubicBezTo>
                    <a:cubicBezTo>
                      <a:pt x="146" y="13"/>
                      <a:pt x="146" y="13"/>
                      <a:pt x="146" y="13"/>
                    </a:cubicBezTo>
                    <a:cubicBezTo>
                      <a:pt x="146" y="14"/>
                      <a:pt x="147" y="14"/>
                      <a:pt x="147" y="14"/>
                    </a:cubicBezTo>
                    <a:cubicBezTo>
                      <a:pt x="147" y="14"/>
                      <a:pt x="147" y="14"/>
                      <a:pt x="147" y="14"/>
                    </a:cubicBezTo>
                    <a:cubicBezTo>
                      <a:pt x="147" y="13"/>
                      <a:pt x="148" y="14"/>
                      <a:pt x="148" y="13"/>
                    </a:cubicBezTo>
                    <a:cubicBezTo>
                      <a:pt x="148" y="12"/>
                      <a:pt x="149" y="12"/>
                      <a:pt x="149" y="12"/>
                    </a:cubicBezTo>
                    <a:cubicBezTo>
                      <a:pt x="150" y="12"/>
                      <a:pt x="151" y="12"/>
                      <a:pt x="152" y="11"/>
                    </a:cubicBezTo>
                    <a:cubicBezTo>
                      <a:pt x="153" y="11"/>
                      <a:pt x="153" y="11"/>
                      <a:pt x="153" y="11"/>
                    </a:cubicBezTo>
                    <a:cubicBezTo>
                      <a:pt x="153" y="10"/>
                      <a:pt x="153" y="10"/>
                      <a:pt x="154" y="10"/>
                    </a:cubicBezTo>
                    <a:cubicBezTo>
                      <a:pt x="156" y="10"/>
                      <a:pt x="157" y="11"/>
                      <a:pt x="159" y="11"/>
                    </a:cubicBezTo>
                    <a:cubicBezTo>
                      <a:pt x="162" y="11"/>
                      <a:pt x="164" y="12"/>
                      <a:pt x="167" y="12"/>
                    </a:cubicBezTo>
                    <a:cubicBezTo>
                      <a:pt x="168" y="12"/>
                      <a:pt x="167" y="13"/>
                      <a:pt x="168" y="13"/>
                    </a:cubicBezTo>
                    <a:cubicBezTo>
                      <a:pt x="169" y="13"/>
                      <a:pt x="170" y="13"/>
                      <a:pt x="171" y="13"/>
                    </a:cubicBezTo>
                    <a:cubicBezTo>
                      <a:pt x="170" y="13"/>
                      <a:pt x="170" y="13"/>
                      <a:pt x="169" y="13"/>
                    </a:cubicBezTo>
                    <a:cubicBezTo>
                      <a:pt x="169" y="12"/>
                      <a:pt x="170" y="12"/>
                      <a:pt x="169" y="12"/>
                    </a:cubicBezTo>
                    <a:cubicBezTo>
                      <a:pt x="169" y="12"/>
                      <a:pt x="168" y="12"/>
                      <a:pt x="168" y="12"/>
                    </a:cubicBezTo>
                    <a:cubicBezTo>
                      <a:pt x="168" y="12"/>
                      <a:pt x="166" y="12"/>
                      <a:pt x="166" y="11"/>
                    </a:cubicBezTo>
                    <a:cubicBezTo>
                      <a:pt x="165" y="11"/>
                      <a:pt x="164" y="11"/>
                      <a:pt x="164" y="11"/>
                    </a:cubicBezTo>
                    <a:cubicBezTo>
                      <a:pt x="165" y="11"/>
                      <a:pt x="166" y="11"/>
                      <a:pt x="166" y="11"/>
                    </a:cubicBezTo>
                    <a:cubicBezTo>
                      <a:pt x="167" y="11"/>
                      <a:pt x="168" y="11"/>
                      <a:pt x="169" y="11"/>
                    </a:cubicBezTo>
                    <a:cubicBezTo>
                      <a:pt x="171" y="11"/>
                      <a:pt x="172" y="12"/>
                      <a:pt x="173" y="11"/>
                    </a:cubicBezTo>
                    <a:cubicBezTo>
                      <a:pt x="172" y="10"/>
                      <a:pt x="170" y="10"/>
                      <a:pt x="168" y="9"/>
                    </a:cubicBezTo>
                    <a:cubicBezTo>
                      <a:pt x="168" y="9"/>
                      <a:pt x="168" y="9"/>
                      <a:pt x="168" y="8"/>
                    </a:cubicBezTo>
                    <a:cubicBezTo>
                      <a:pt x="168" y="8"/>
                      <a:pt x="167" y="8"/>
                      <a:pt x="167" y="8"/>
                    </a:cubicBezTo>
                    <a:cubicBezTo>
                      <a:pt x="167" y="7"/>
                      <a:pt x="167" y="7"/>
                      <a:pt x="167" y="7"/>
                    </a:cubicBezTo>
                    <a:cubicBezTo>
                      <a:pt x="169" y="7"/>
                      <a:pt x="171" y="7"/>
                      <a:pt x="172" y="7"/>
                    </a:cubicBezTo>
                    <a:cubicBezTo>
                      <a:pt x="173" y="7"/>
                      <a:pt x="174" y="7"/>
                      <a:pt x="175" y="7"/>
                    </a:cubicBezTo>
                    <a:cubicBezTo>
                      <a:pt x="176" y="7"/>
                      <a:pt x="177" y="7"/>
                      <a:pt x="178" y="7"/>
                    </a:cubicBezTo>
                    <a:cubicBezTo>
                      <a:pt x="179" y="7"/>
                      <a:pt x="179" y="8"/>
                      <a:pt x="180" y="8"/>
                    </a:cubicBezTo>
                    <a:cubicBezTo>
                      <a:pt x="181" y="8"/>
                      <a:pt x="182" y="8"/>
                      <a:pt x="183" y="8"/>
                    </a:cubicBezTo>
                    <a:cubicBezTo>
                      <a:pt x="183" y="8"/>
                      <a:pt x="186" y="9"/>
                      <a:pt x="186" y="9"/>
                    </a:cubicBezTo>
                    <a:cubicBezTo>
                      <a:pt x="187" y="9"/>
                      <a:pt x="188" y="9"/>
                      <a:pt x="190" y="9"/>
                    </a:cubicBezTo>
                    <a:cubicBezTo>
                      <a:pt x="191" y="10"/>
                      <a:pt x="193" y="10"/>
                      <a:pt x="194" y="10"/>
                    </a:cubicBezTo>
                    <a:cubicBezTo>
                      <a:pt x="194" y="10"/>
                      <a:pt x="194" y="11"/>
                      <a:pt x="193" y="11"/>
                    </a:cubicBezTo>
                    <a:cubicBezTo>
                      <a:pt x="194" y="11"/>
                      <a:pt x="195" y="11"/>
                      <a:pt x="196" y="11"/>
                    </a:cubicBezTo>
                    <a:cubicBezTo>
                      <a:pt x="197" y="11"/>
                      <a:pt x="198" y="12"/>
                      <a:pt x="199" y="12"/>
                    </a:cubicBezTo>
                    <a:cubicBezTo>
                      <a:pt x="200" y="12"/>
                      <a:pt x="202" y="11"/>
                      <a:pt x="204" y="11"/>
                    </a:cubicBezTo>
                    <a:cubicBezTo>
                      <a:pt x="203" y="11"/>
                      <a:pt x="203" y="11"/>
                      <a:pt x="202" y="11"/>
                    </a:cubicBezTo>
                    <a:cubicBezTo>
                      <a:pt x="203" y="11"/>
                      <a:pt x="202" y="11"/>
                      <a:pt x="202" y="11"/>
                    </a:cubicBezTo>
                    <a:cubicBezTo>
                      <a:pt x="202" y="11"/>
                      <a:pt x="202" y="11"/>
                      <a:pt x="201" y="11"/>
                    </a:cubicBezTo>
                    <a:cubicBezTo>
                      <a:pt x="201" y="11"/>
                      <a:pt x="202" y="11"/>
                      <a:pt x="202" y="11"/>
                    </a:cubicBezTo>
                    <a:cubicBezTo>
                      <a:pt x="202" y="11"/>
                      <a:pt x="201" y="11"/>
                      <a:pt x="200" y="10"/>
                    </a:cubicBezTo>
                    <a:cubicBezTo>
                      <a:pt x="200" y="10"/>
                      <a:pt x="203" y="10"/>
                      <a:pt x="204" y="10"/>
                    </a:cubicBezTo>
                    <a:cubicBezTo>
                      <a:pt x="204" y="10"/>
                      <a:pt x="202" y="9"/>
                      <a:pt x="202" y="9"/>
                    </a:cubicBezTo>
                    <a:cubicBezTo>
                      <a:pt x="203" y="8"/>
                      <a:pt x="205" y="8"/>
                      <a:pt x="206" y="8"/>
                    </a:cubicBezTo>
                    <a:cubicBezTo>
                      <a:pt x="208" y="8"/>
                      <a:pt x="209" y="9"/>
                      <a:pt x="211" y="9"/>
                    </a:cubicBezTo>
                    <a:cubicBezTo>
                      <a:pt x="213" y="9"/>
                      <a:pt x="214" y="9"/>
                      <a:pt x="216" y="9"/>
                    </a:cubicBezTo>
                    <a:cubicBezTo>
                      <a:pt x="215" y="8"/>
                      <a:pt x="213" y="9"/>
                      <a:pt x="211" y="8"/>
                    </a:cubicBezTo>
                    <a:cubicBezTo>
                      <a:pt x="210" y="8"/>
                      <a:pt x="209" y="8"/>
                      <a:pt x="209" y="8"/>
                    </a:cubicBezTo>
                    <a:cubicBezTo>
                      <a:pt x="208" y="8"/>
                      <a:pt x="209" y="8"/>
                      <a:pt x="209" y="8"/>
                    </a:cubicBezTo>
                    <a:cubicBezTo>
                      <a:pt x="208" y="7"/>
                      <a:pt x="208" y="7"/>
                      <a:pt x="207" y="7"/>
                    </a:cubicBezTo>
                    <a:cubicBezTo>
                      <a:pt x="206" y="7"/>
                      <a:pt x="206" y="7"/>
                      <a:pt x="205" y="7"/>
                    </a:cubicBezTo>
                    <a:cubicBezTo>
                      <a:pt x="204" y="6"/>
                      <a:pt x="203" y="6"/>
                      <a:pt x="203" y="6"/>
                    </a:cubicBezTo>
                    <a:cubicBezTo>
                      <a:pt x="202" y="6"/>
                      <a:pt x="201" y="6"/>
                      <a:pt x="200" y="5"/>
                    </a:cubicBezTo>
                    <a:cubicBezTo>
                      <a:pt x="199" y="5"/>
                      <a:pt x="200" y="5"/>
                      <a:pt x="200" y="5"/>
                    </a:cubicBezTo>
                    <a:cubicBezTo>
                      <a:pt x="203" y="5"/>
                      <a:pt x="206" y="5"/>
                      <a:pt x="209" y="5"/>
                    </a:cubicBezTo>
                    <a:cubicBezTo>
                      <a:pt x="213" y="5"/>
                      <a:pt x="217" y="5"/>
                      <a:pt x="220" y="5"/>
                    </a:cubicBezTo>
                    <a:cubicBezTo>
                      <a:pt x="220" y="5"/>
                      <a:pt x="220" y="6"/>
                      <a:pt x="220" y="6"/>
                    </a:cubicBezTo>
                    <a:cubicBezTo>
                      <a:pt x="220" y="6"/>
                      <a:pt x="222" y="6"/>
                      <a:pt x="221" y="7"/>
                    </a:cubicBezTo>
                    <a:cubicBezTo>
                      <a:pt x="221" y="7"/>
                      <a:pt x="222" y="7"/>
                      <a:pt x="222" y="7"/>
                    </a:cubicBezTo>
                    <a:cubicBezTo>
                      <a:pt x="222" y="7"/>
                      <a:pt x="222" y="7"/>
                      <a:pt x="222" y="7"/>
                    </a:cubicBezTo>
                    <a:cubicBezTo>
                      <a:pt x="222" y="6"/>
                      <a:pt x="222" y="6"/>
                      <a:pt x="223" y="6"/>
                    </a:cubicBezTo>
                    <a:cubicBezTo>
                      <a:pt x="222" y="6"/>
                      <a:pt x="222" y="6"/>
                      <a:pt x="221" y="6"/>
                    </a:cubicBezTo>
                    <a:cubicBezTo>
                      <a:pt x="223" y="5"/>
                      <a:pt x="225" y="6"/>
                      <a:pt x="226" y="6"/>
                    </a:cubicBezTo>
                    <a:cubicBezTo>
                      <a:pt x="227" y="6"/>
                      <a:pt x="228" y="7"/>
                      <a:pt x="229" y="7"/>
                    </a:cubicBezTo>
                    <a:cubicBezTo>
                      <a:pt x="229" y="7"/>
                      <a:pt x="230" y="6"/>
                      <a:pt x="230" y="7"/>
                    </a:cubicBezTo>
                    <a:cubicBezTo>
                      <a:pt x="231" y="7"/>
                      <a:pt x="231" y="7"/>
                      <a:pt x="231" y="7"/>
                    </a:cubicBezTo>
                    <a:cubicBezTo>
                      <a:pt x="231" y="7"/>
                      <a:pt x="230" y="7"/>
                      <a:pt x="231" y="8"/>
                    </a:cubicBezTo>
                    <a:cubicBezTo>
                      <a:pt x="231" y="8"/>
                      <a:pt x="232" y="8"/>
                      <a:pt x="232" y="8"/>
                    </a:cubicBezTo>
                    <a:cubicBezTo>
                      <a:pt x="231" y="7"/>
                      <a:pt x="232" y="7"/>
                      <a:pt x="233" y="7"/>
                    </a:cubicBezTo>
                    <a:cubicBezTo>
                      <a:pt x="232" y="7"/>
                      <a:pt x="232" y="7"/>
                      <a:pt x="232" y="7"/>
                    </a:cubicBezTo>
                    <a:cubicBezTo>
                      <a:pt x="232" y="6"/>
                      <a:pt x="232" y="6"/>
                      <a:pt x="233" y="6"/>
                    </a:cubicBezTo>
                    <a:cubicBezTo>
                      <a:pt x="233" y="6"/>
                      <a:pt x="232" y="6"/>
                      <a:pt x="232" y="6"/>
                    </a:cubicBezTo>
                    <a:cubicBezTo>
                      <a:pt x="231" y="6"/>
                      <a:pt x="230" y="6"/>
                      <a:pt x="229" y="6"/>
                    </a:cubicBezTo>
                    <a:cubicBezTo>
                      <a:pt x="228" y="5"/>
                      <a:pt x="226" y="5"/>
                      <a:pt x="225" y="5"/>
                    </a:cubicBezTo>
                    <a:cubicBezTo>
                      <a:pt x="223" y="5"/>
                      <a:pt x="222" y="5"/>
                      <a:pt x="220" y="5"/>
                    </a:cubicBezTo>
                    <a:cubicBezTo>
                      <a:pt x="218" y="5"/>
                      <a:pt x="215" y="5"/>
                      <a:pt x="212" y="5"/>
                    </a:cubicBezTo>
                    <a:cubicBezTo>
                      <a:pt x="211" y="5"/>
                      <a:pt x="209" y="5"/>
                      <a:pt x="208" y="5"/>
                    </a:cubicBezTo>
                    <a:cubicBezTo>
                      <a:pt x="207" y="5"/>
                      <a:pt x="207" y="5"/>
                      <a:pt x="206" y="5"/>
                    </a:cubicBezTo>
                    <a:cubicBezTo>
                      <a:pt x="206" y="5"/>
                      <a:pt x="205" y="4"/>
                      <a:pt x="204" y="4"/>
                    </a:cubicBezTo>
                    <a:cubicBezTo>
                      <a:pt x="205" y="5"/>
                      <a:pt x="205" y="5"/>
                      <a:pt x="205" y="5"/>
                    </a:cubicBezTo>
                    <a:cubicBezTo>
                      <a:pt x="204" y="5"/>
                      <a:pt x="204" y="5"/>
                      <a:pt x="203" y="5"/>
                    </a:cubicBezTo>
                    <a:cubicBezTo>
                      <a:pt x="202" y="5"/>
                      <a:pt x="201" y="5"/>
                      <a:pt x="200" y="5"/>
                    </a:cubicBezTo>
                    <a:cubicBezTo>
                      <a:pt x="198" y="5"/>
                      <a:pt x="196" y="4"/>
                      <a:pt x="194" y="4"/>
                    </a:cubicBezTo>
                    <a:cubicBezTo>
                      <a:pt x="195" y="4"/>
                      <a:pt x="195" y="4"/>
                      <a:pt x="196" y="4"/>
                    </a:cubicBezTo>
                    <a:cubicBezTo>
                      <a:pt x="197" y="4"/>
                      <a:pt x="198" y="4"/>
                      <a:pt x="199" y="4"/>
                    </a:cubicBezTo>
                    <a:cubicBezTo>
                      <a:pt x="198" y="4"/>
                      <a:pt x="196" y="4"/>
                      <a:pt x="195" y="4"/>
                    </a:cubicBezTo>
                    <a:cubicBezTo>
                      <a:pt x="196" y="3"/>
                      <a:pt x="197" y="3"/>
                      <a:pt x="198" y="3"/>
                    </a:cubicBezTo>
                    <a:cubicBezTo>
                      <a:pt x="199" y="3"/>
                      <a:pt x="200" y="3"/>
                      <a:pt x="201" y="3"/>
                    </a:cubicBezTo>
                    <a:cubicBezTo>
                      <a:pt x="202" y="4"/>
                      <a:pt x="202" y="4"/>
                      <a:pt x="203" y="4"/>
                    </a:cubicBezTo>
                    <a:cubicBezTo>
                      <a:pt x="203" y="4"/>
                      <a:pt x="205" y="4"/>
                      <a:pt x="204" y="4"/>
                    </a:cubicBezTo>
                    <a:cubicBezTo>
                      <a:pt x="205" y="4"/>
                      <a:pt x="206" y="4"/>
                      <a:pt x="206" y="4"/>
                    </a:cubicBezTo>
                    <a:cubicBezTo>
                      <a:pt x="207" y="4"/>
                      <a:pt x="208" y="4"/>
                      <a:pt x="209" y="4"/>
                    </a:cubicBezTo>
                    <a:cubicBezTo>
                      <a:pt x="210" y="4"/>
                      <a:pt x="212" y="4"/>
                      <a:pt x="214" y="4"/>
                    </a:cubicBezTo>
                    <a:cubicBezTo>
                      <a:pt x="213" y="4"/>
                      <a:pt x="212" y="4"/>
                      <a:pt x="211" y="4"/>
                    </a:cubicBezTo>
                    <a:cubicBezTo>
                      <a:pt x="210" y="4"/>
                      <a:pt x="209" y="4"/>
                      <a:pt x="208" y="4"/>
                    </a:cubicBezTo>
                    <a:cubicBezTo>
                      <a:pt x="207" y="4"/>
                      <a:pt x="206" y="4"/>
                      <a:pt x="205" y="4"/>
                    </a:cubicBezTo>
                    <a:cubicBezTo>
                      <a:pt x="204" y="4"/>
                      <a:pt x="203" y="3"/>
                      <a:pt x="203" y="3"/>
                    </a:cubicBezTo>
                    <a:cubicBezTo>
                      <a:pt x="203" y="3"/>
                      <a:pt x="204" y="3"/>
                      <a:pt x="204" y="3"/>
                    </a:cubicBezTo>
                    <a:cubicBezTo>
                      <a:pt x="205" y="3"/>
                      <a:pt x="206" y="3"/>
                      <a:pt x="206" y="3"/>
                    </a:cubicBezTo>
                    <a:cubicBezTo>
                      <a:pt x="207" y="3"/>
                      <a:pt x="207" y="3"/>
                      <a:pt x="207" y="3"/>
                    </a:cubicBezTo>
                    <a:cubicBezTo>
                      <a:pt x="208" y="3"/>
                      <a:pt x="209" y="3"/>
                      <a:pt x="209" y="3"/>
                    </a:cubicBezTo>
                    <a:cubicBezTo>
                      <a:pt x="210" y="3"/>
                      <a:pt x="212" y="3"/>
                      <a:pt x="213" y="3"/>
                    </a:cubicBezTo>
                    <a:cubicBezTo>
                      <a:pt x="214" y="3"/>
                      <a:pt x="215" y="3"/>
                      <a:pt x="215" y="3"/>
                    </a:cubicBezTo>
                    <a:cubicBezTo>
                      <a:pt x="216" y="3"/>
                      <a:pt x="217" y="3"/>
                      <a:pt x="218" y="3"/>
                    </a:cubicBezTo>
                    <a:cubicBezTo>
                      <a:pt x="216" y="2"/>
                      <a:pt x="214" y="3"/>
                      <a:pt x="212" y="3"/>
                    </a:cubicBezTo>
                    <a:cubicBezTo>
                      <a:pt x="214" y="2"/>
                      <a:pt x="216" y="3"/>
                      <a:pt x="218" y="2"/>
                    </a:cubicBezTo>
                    <a:cubicBezTo>
                      <a:pt x="218" y="2"/>
                      <a:pt x="217" y="2"/>
                      <a:pt x="217" y="2"/>
                    </a:cubicBezTo>
                    <a:cubicBezTo>
                      <a:pt x="217" y="2"/>
                      <a:pt x="217" y="2"/>
                      <a:pt x="218" y="2"/>
                    </a:cubicBezTo>
                    <a:cubicBezTo>
                      <a:pt x="217" y="2"/>
                      <a:pt x="216" y="2"/>
                      <a:pt x="216" y="2"/>
                    </a:cubicBezTo>
                    <a:cubicBezTo>
                      <a:pt x="217" y="2"/>
                      <a:pt x="219" y="2"/>
                      <a:pt x="221" y="2"/>
                    </a:cubicBezTo>
                    <a:cubicBezTo>
                      <a:pt x="221" y="3"/>
                      <a:pt x="224" y="2"/>
                      <a:pt x="225" y="3"/>
                    </a:cubicBezTo>
                    <a:cubicBezTo>
                      <a:pt x="224" y="3"/>
                      <a:pt x="224" y="3"/>
                      <a:pt x="223" y="3"/>
                    </a:cubicBezTo>
                    <a:cubicBezTo>
                      <a:pt x="224" y="3"/>
                      <a:pt x="226" y="3"/>
                      <a:pt x="227" y="3"/>
                    </a:cubicBezTo>
                    <a:cubicBezTo>
                      <a:pt x="228" y="4"/>
                      <a:pt x="229" y="4"/>
                      <a:pt x="231" y="4"/>
                    </a:cubicBezTo>
                    <a:cubicBezTo>
                      <a:pt x="232" y="4"/>
                      <a:pt x="233" y="4"/>
                      <a:pt x="234" y="4"/>
                    </a:cubicBezTo>
                    <a:cubicBezTo>
                      <a:pt x="236" y="4"/>
                      <a:pt x="237" y="4"/>
                      <a:pt x="239" y="4"/>
                    </a:cubicBezTo>
                    <a:cubicBezTo>
                      <a:pt x="239" y="5"/>
                      <a:pt x="240" y="5"/>
                      <a:pt x="240" y="5"/>
                    </a:cubicBezTo>
                    <a:cubicBezTo>
                      <a:pt x="240" y="5"/>
                      <a:pt x="240" y="5"/>
                      <a:pt x="241" y="5"/>
                    </a:cubicBezTo>
                    <a:cubicBezTo>
                      <a:pt x="241" y="5"/>
                      <a:pt x="241" y="5"/>
                      <a:pt x="242" y="5"/>
                    </a:cubicBezTo>
                    <a:cubicBezTo>
                      <a:pt x="241" y="5"/>
                      <a:pt x="240" y="5"/>
                      <a:pt x="240" y="5"/>
                    </a:cubicBezTo>
                    <a:cubicBezTo>
                      <a:pt x="240" y="4"/>
                      <a:pt x="239" y="4"/>
                      <a:pt x="239" y="4"/>
                    </a:cubicBezTo>
                    <a:cubicBezTo>
                      <a:pt x="239" y="3"/>
                      <a:pt x="242" y="4"/>
                      <a:pt x="243" y="4"/>
                    </a:cubicBezTo>
                    <a:cubicBezTo>
                      <a:pt x="245" y="4"/>
                      <a:pt x="247" y="4"/>
                      <a:pt x="249" y="4"/>
                    </a:cubicBezTo>
                    <a:cubicBezTo>
                      <a:pt x="247" y="3"/>
                      <a:pt x="244" y="4"/>
                      <a:pt x="241" y="3"/>
                    </a:cubicBezTo>
                    <a:cubicBezTo>
                      <a:pt x="242" y="3"/>
                      <a:pt x="242" y="3"/>
                      <a:pt x="243" y="3"/>
                    </a:cubicBezTo>
                    <a:cubicBezTo>
                      <a:pt x="244" y="3"/>
                      <a:pt x="245" y="3"/>
                      <a:pt x="246" y="3"/>
                    </a:cubicBezTo>
                    <a:cubicBezTo>
                      <a:pt x="248" y="3"/>
                      <a:pt x="250" y="3"/>
                      <a:pt x="252" y="3"/>
                    </a:cubicBezTo>
                    <a:cubicBezTo>
                      <a:pt x="251" y="3"/>
                      <a:pt x="249" y="3"/>
                      <a:pt x="248" y="3"/>
                    </a:cubicBezTo>
                    <a:cubicBezTo>
                      <a:pt x="249" y="3"/>
                      <a:pt x="248" y="3"/>
                      <a:pt x="247" y="3"/>
                    </a:cubicBezTo>
                    <a:cubicBezTo>
                      <a:pt x="247" y="3"/>
                      <a:pt x="246" y="3"/>
                      <a:pt x="246" y="3"/>
                    </a:cubicBezTo>
                    <a:cubicBezTo>
                      <a:pt x="247" y="2"/>
                      <a:pt x="246" y="2"/>
                      <a:pt x="246" y="2"/>
                    </a:cubicBezTo>
                    <a:cubicBezTo>
                      <a:pt x="245" y="2"/>
                      <a:pt x="245" y="2"/>
                      <a:pt x="244" y="2"/>
                    </a:cubicBezTo>
                    <a:cubicBezTo>
                      <a:pt x="243" y="3"/>
                      <a:pt x="242" y="2"/>
                      <a:pt x="241" y="2"/>
                    </a:cubicBezTo>
                    <a:cubicBezTo>
                      <a:pt x="242" y="2"/>
                      <a:pt x="242" y="2"/>
                      <a:pt x="242" y="2"/>
                    </a:cubicBezTo>
                    <a:cubicBezTo>
                      <a:pt x="242" y="2"/>
                      <a:pt x="242" y="2"/>
                      <a:pt x="242" y="2"/>
                    </a:cubicBezTo>
                    <a:cubicBezTo>
                      <a:pt x="242" y="1"/>
                      <a:pt x="242" y="1"/>
                      <a:pt x="243" y="1"/>
                    </a:cubicBezTo>
                    <a:cubicBezTo>
                      <a:pt x="242" y="1"/>
                      <a:pt x="242" y="1"/>
                      <a:pt x="242" y="1"/>
                    </a:cubicBezTo>
                    <a:cubicBezTo>
                      <a:pt x="243" y="1"/>
                      <a:pt x="244" y="1"/>
                      <a:pt x="245" y="1"/>
                    </a:cubicBezTo>
                    <a:cubicBezTo>
                      <a:pt x="246" y="1"/>
                      <a:pt x="247" y="2"/>
                      <a:pt x="248" y="1"/>
                    </a:cubicBezTo>
                    <a:cubicBezTo>
                      <a:pt x="248" y="1"/>
                      <a:pt x="247" y="1"/>
                      <a:pt x="247" y="1"/>
                    </a:cubicBezTo>
                    <a:cubicBezTo>
                      <a:pt x="248" y="1"/>
                      <a:pt x="249" y="1"/>
                      <a:pt x="250" y="1"/>
                    </a:cubicBezTo>
                    <a:cubicBezTo>
                      <a:pt x="251" y="1"/>
                      <a:pt x="251" y="1"/>
                      <a:pt x="251" y="1"/>
                    </a:cubicBezTo>
                    <a:cubicBezTo>
                      <a:pt x="251" y="1"/>
                      <a:pt x="252" y="1"/>
                      <a:pt x="253" y="1"/>
                    </a:cubicBezTo>
                    <a:cubicBezTo>
                      <a:pt x="254" y="1"/>
                      <a:pt x="255" y="2"/>
                      <a:pt x="256" y="1"/>
                    </a:cubicBezTo>
                    <a:cubicBezTo>
                      <a:pt x="255" y="1"/>
                      <a:pt x="255" y="1"/>
                      <a:pt x="255" y="1"/>
                    </a:cubicBezTo>
                    <a:cubicBezTo>
                      <a:pt x="255" y="1"/>
                      <a:pt x="255" y="1"/>
                      <a:pt x="256" y="1"/>
                    </a:cubicBezTo>
                    <a:cubicBezTo>
                      <a:pt x="255" y="1"/>
                      <a:pt x="254" y="1"/>
                      <a:pt x="254" y="1"/>
                    </a:cubicBezTo>
                    <a:cubicBezTo>
                      <a:pt x="254" y="1"/>
                      <a:pt x="254" y="1"/>
                      <a:pt x="254" y="1"/>
                    </a:cubicBezTo>
                    <a:cubicBezTo>
                      <a:pt x="254" y="1"/>
                      <a:pt x="255" y="0"/>
                      <a:pt x="256" y="0"/>
                    </a:cubicBezTo>
                    <a:cubicBezTo>
                      <a:pt x="256" y="0"/>
                      <a:pt x="257" y="0"/>
                      <a:pt x="258" y="0"/>
                    </a:cubicBezTo>
                    <a:cubicBezTo>
                      <a:pt x="260" y="0"/>
                      <a:pt x="262" y="1"/>
                      <a:pt x="263" y="0"/>
                    </a:cubicBezTo>
                    <a:cubicBezTo>
                      <a:pt x="264" y="0"/>
                      <a:pt x="265" y="0"/>
                      <a:pt x="266" y="0"/>
                    </a:cubicBezTo>
                    <a:cubicBezTo>
                      <a:pt x="267" y="0"/>
                      <a:pt x="267" y="1"/>
                      <a:pt x="268" y="0"/>
                    </a:cubicBezTo>
                    <a:cubicBezTo>
                      <a:pt x="269" y="0"/>
                      <a:pt x="270" y="1"/>
                      <a:pt x="271" y="1"/>
                    </a:cubicBezTo>
                    <a:cubicBezTo>
                      <a:pt x="271" y="0"/>
                      <a:pt x="270" y="1"/>
                      <a:pt x="270" y="0"/>
                    </a:cubicBezTo>
                    <a:cubicBezTo>
                      <a:pt x="272" y="0"/>
                      <a:pt x="274" y="0"/>
                      <a:pt x="275" y="0"/>
                    </a:cubicBezTo>
                    <a:cubicBezTo>
                      <a:pt x="276" y="0"/>
                      <a:pt x="277" y="0"/>
                      <a:pt x="278" y="0"/>
                    </a:cubicBezTo>
                    <a:cubicBezTo>
                      <a:pt x="279" y="0"/>
                      <a:pt x="279" y="0"/>
                      <a:pt x="279" y="0"/>
                    </a:cubicBezTo>
                    <a:cubicBezTo>
                      <a:pt x="280" y="0"/>
                      <a:pt x="281" y="0"/>
                      <a:pt x="280" y="0"/>
                    </a:cubicBezTo>
                    <a:cubicBezTo>
                      <a:pt x="281" y="0"/>
                      <a:pt x="282" y="0"/>
                      <a:pt x="283" y="0"/>
                    </a:cubicBezTo>
                    <a:cubicBezTo>
                      <a:pt x="284" y="0"/>
                      <a:pt x="285" y="0"/>
                      <a:pt x="286" y="0"/>
                    </a:cubicBezTo>
                    <a:cubicBezTo>
                      <a:pt x="288" y="0"/>
                      <a:pt x="290" y="0"/>
                      <a:pt x="292" y="0"/>
                    </a:cubicBezTo>
                    <a:cubicBezTo>
                      <a:pt x="293" y="0"/>
                      <a:pt x="294" y="0"/>
                      <a:pt x="295" y="0"/>
                    </a:cubicBezTo>
                    <a:cubicBezTo>
                      <a:pt x="295" y="0"/>
                      <a:pt x="296" y="0"/>
                      <a:pt x="296" y="0"/>
                    </a:cubicBezTo>
                    <a:cubicBezTo>
                      <a:pt x="297" y="0"/>
                      <a:pt x="297" y="0"/>
                      <a:pt x="297" y="1"/>
                    </a:cubicBezTo>
                    <a:cubicBezTo>
                      <a:pt x="297" y="1"/>
                      <a:pt x="297" y="1"/>
                      <a:pt x="297" y="1"/>
                    </a:cubicBezTo>
                    <a:cubicBezTo>
                      <a:pt x="298" y="1"/>
                      <a:pt x="298" y="1"/>
                      <a:pt x="299" y="1"/>
                    </a:cubicBezTo>
                    <a:cubicBezTo>
                      <a:pt x="299" y="0"/>
                      <a:pt x="300" y="0"/>
                      <a:pt x="301" y="1"/>
                    </a:cubicBezTo>
                    <a:cubicBezTo>
                      <a:pt x="301" y="1"/>
                      <a:pt x="300" y="1"/>
                      <a:pt x="299" y="1"/>
                    </a:cubicBezTo>
                    <a:cubicBezTo>
                      <a:pt x="300" y="1"/>
                      <a:pt x="302" y="1"/>
                      <a:pt x="303" y="1"/>
                    </a:cubicBezTo>
                    <a:cubicBezTo>
                      <a:pt x="303" y="1"/>
                      <a:pt x="302" y="1"/>
                      <a:pt x="302" y="1"/>
                    </a:cubicBezTo>
                    <a:cubicBezTo>
                      <a:pt x="304" y="0"/>
                      <a:pt x="307" y="1"/>
                      <a:pt x="309" y="1"/>
                    </a:cubicBezTo>
                    <a:cubicBezTo>
                      <a:pt x="312" y="1"/>
                      <a:pt x="314" y="1"/>
                      <a:pt x="317" y="2"/>
                    </a:cubicBezTo>
                    <a:cubicBezTo>
                      <a:pt x="316" y="3"/>
                      <a:pt x="314" y="2"/>
                      <a:pt x="313" y="3"/>
                    </a:cubicBezTo>
                    <a:cubicBezTo>
                      <a:pt x="311" y="3"/>
                      <a:pt x="309" y="3"/>
                      <a:pt x="307" y="3"/>
                    </a:cubicBezTo>
                    <a:cubicBezTo>
                      <a:pt x="303" y="3"/>
                      <a:pt x="299" y="3"/>
                      <a:pt x="295" y="3"/>
                    </a:cubicBezTo>
                    <a:cubicBezTo>
                      <a:pt x="291" y="3"/>
                      <a:pt x="287" y="3"/>
                      <a:pt x="283" y="3"/>
                    </a:cubicBezTo>
                    <a:cubicBezTo>
                      <a:pt x="281" y="3"/>
                      <a:pt x="279" y="3"/>
                      <a:pt x="277" y="3"/>
                    </a:cubicBezTo>
                    <a:cubicBezTo>
                      <a:pt x="276" y="3"/>
                      <a:pt x="274" y="3"/>
                      <a:pt x="272" y="3"/>
                    </a:cubicBezTo>
                    <a:cubicBezTo>
                      <a:pt x="273" y="3"/>
                      <a:pt x="274" y="3"/>
                      <a:pt x="275" y="3"/>
                    </a:cubicBezTo>
                    <a:cubicBezTo>
                      <a:pt x="276" y="3"/>
                      <a:pt x="276" y="3"/>
                      <a:pt x="277" y="4"/>
                    </a:cubicBezTo>
                    <a:cubicBezTo>
                      <a:pt x="274" y="4"/>
                      <a:pt x="271" y="4"/>
                      <a:pt x="268" y="4"/>
                    </a:cubicBezTo>
                    <a:cubicBezTo>
                      <a:pt x="265" y="4"/>
                      <a:pt x="262" y="4"/>
                      <a:pt x="259" y="4"/>
                    </a:cubicBezTo>
                    <a:cubicBezTo>
                      <a:pt x="259" y="4"/>
                      <a:pt x="260" y="4"/>
                      <a:pt x="260" y="4"/>
                    </a:cubicBezTo>
                    <a:cubicBezTo>
                      <a:pt x="260" y="5"/>
                      <a:pt x="258" y="5"/>
                      <a:pt x="258" y="5"/>
                    </a:cubicBezTo>
                    <a:cubicBezTo>
                      <a:pt x="259" y="6"/>
                      <a:pt x="260" y="5"/>
                      <a:pt x="260" y="5"/>
                    </a:cubicBezTo>
                    <a:cubicBezTo>
                      <a:pt x="262" y="4"/>
                      <a:pt x="263" y="4"/>
                      <a:pt x="264" y="4"/>
                    </a:cubicBezTo>
                    <a:cubicBezTo>
                      <a:pt x="265" y="4"/>
                      <a:pt x="267" y="4"/>
                      <a:pt x="268" y="4"/>
                    </a:cubicBezTo>
                    <a:cubicBezTo>
                      <a:pt x="268" y="4"/>
                      <a:pt x="269" y="5"/>
                      <a:pt x="268" y="5"/>
                    </a:cubicBezTo>
                    <a:cubicBezTo>
                      <a:pt x="268" y="5"/>
                      <a:pt x="269" y="5"/>
                      <a:pt x="269" y="5"/>
                    </a:cubicBezTo>
                    <a:cubicBezTo>
                      <a:pt x="269" y="4"/>
                      <a:pt x="272" y="4"/>
                      <a:pt x="272" y="4"/>
                    </a:cubicBezTo>
                    <a:cubicBezTo>
                      <a:pt x="275" y="4"/>
                      <a:pt x="277" y="4"/>
                      <a:pt x="280" y="4"/>
                    </a:cubicBezTo>
                    <a:cubicBezTo>
                      <a:pt x="280" y="4"/>
                      <a:pt x="281" y="4"/>
                      <a:pt x="282" y="4"/>
                    </a:cubicBezTo>
                    <a:cubicBezTo>
                      <a:pt x="283" y="4"/>
                      <a:pt x="284" y="4"/>
                      <a:pt x="285" y="3"/>
                    </a:cubicBezTo>
                    <a:cubicBezTo>
                      <a:pt x="287" y="3"/>
                      <a:pt x="288" y="3"/>
                      <a:pt x="289" y="3"/>
                    </a:cubicBezTo>
                    <a:cubicBezTo>
                      <a:pt x="290" y="3"/>
                      <a:pt x="292" y="3"/>
                      <a:pt x="293" y="3"/>
                    </a:cubicBezTo>
                    <a:cubicBezTo>
                      <a:pt x="295" y="3"/>
                      <a:pt x="298" y="3"/>
                      <a:pt x="300" y="3"/>
                    </a:cubicBezTo>
                    <a:cubicBezTo>
                      <a:pt x="302" y="3"/>
                      <a:pt x="304" y="3"/>
                      <a:pt x="306" y="3"/>
                    </a:cubicBezTo>
                    <a:cubicBezTo>
                      <a:pt x="309" y="3"/>
                      <a:pt x="311" y="3"/>
                      <a:pt x="313" y="3"/>
                    </a:cubicBezTo>
                    <a:cubicBezTo>
                      <a:pt x="315" y="3"/>
                      <a:pt x="316" y="3"/>
                      <a:pt x="317" y="3"/>
                    </a:cubicBezTo>
                    <a:cubicBezTo>
                      <a:pt x="318" y="3"/>
                      <a:pt x="320" y="3"/>
                      <a:pt x="321" y="3"/>
                    </a:cubicBezTo>
                    <a:cubicBezTo>
                      <a:pt x="321" y="3"/>
                      <a:pt x="320" y="3"/>
                      <a:pt x="320" y="3"/>
                    </a:cubicBezTo>
                    <a:cubicBezTo>
                      <a:pt x="320" y="4"/>
                      <a:pt x="321" y="4"/>
                      <a:pt x="321" y="4"/>
                    </a:cubicBezTo>
                    <a:cubicBezTo>
                      <a:pt x="321" y="4"/>
                      <a:pt x="320" y="4"/>
                      <a:pt x="320" y="4"/>
                    </a:cubicBezTo>
                    <a:cubicBezTo>
                      <a:pt x="319" y="4"/>
                      <a:pt x="319" y="5"/>
                      <a:pt x="318" y="5"/>
                    </a:cubicBezTo>
                    <a:cubicBezTo>
                      <a:pt x="317" y="5"/>
                      <a:pt x="315" y="5"/>
                      <a:pt x="314" y="5"/>
                    </a:cubicBezTo>
                    <a:cubicBezTo>
                      <a:pt x="318" y="6"/>
                      <a:pt x="322" y="4"/>
                      <a:pt x="326" y="4"/>
                    </a:cubicBezTo>
                    <a:cubicBezTo>
                      <a:pt x="326" y="5"/>
                      <a:pt x="325" y="5"/>
                      <a:pt x="325" y="5"/>
                    </a:cubicBezTo>
                    <a:cubicBezTo>
                      <a:pt x="325" y="5"/>
                      <a:pt x="325" y="5"/>
                      <a:pt x="325" y="5"/>
                    </a:cubicBezTo>
                    <a:cubicBezTo>
                      <a:pt x="325" y="5"/>
                      <a:pt x="325" y="5"/>
                      <a:pt x="325" y="5"/>
                    </a:cubicBezTo>
                    <a:cubicBezTo>
                      <a:pt x="326" y="5"/>
                      <a:pt x="327" y="5"/>
                      <a:pt x="328" y="5"/>
                    </a:cubicBezTo>
                    <a:cubicBezTo>
                      <a:pt x="329" y="5"/>
                      <a:pt x="329" y="5"/>
                      <a:pt x="330" y="5"/>
                    </a:cubicBezTo>
                    <a:cubicBezTo>
                      <a:pt x="331" y="5"/>
                      <a:pt x="331" y="5"/>
                      <a:pt x="332" y="5"/>
                    </a:cubicBezTo>
                    <a:cubicBezTo>
                      <a:pt x="333" y="5"/>
                      <a:pt x="335" y="5"/>
                      <a:pt x="336" y="6"/>
                    </a:cubicBezTo>
                    <a:cubicBezTo>
                      <a:pt x="337" y="6"/>
                      <a:pt x="337" y="6"/>
                      <a:pt x="338" y="6"/>
                    </a:cubicBezTo>
                    <a:cubicBezTo>
                      <a:pt x="338" y="6"/>
                      <a:pt x="339" y="6"/>
                      <a:pt x="340" y="6"/>
                    </a:cubicBezTo>
                    <a:cubicBezTo>
                      <a:pt x="340" y="6"/>
                      <a:pt x="338" y="7"/>
                      <a:pt x="338" y="7"/>
                    </a:cubicBezTo>
                    <a:cubicBezTo>
                      <a:pt x="336" y="7"/>
                      <a:pt x="335" y="7"/>
                      <a:pt x="334" y="8"/>
                    </a:cubicBezTo>
                    <a:cubicBezTo>
                      <a:pt x="334" y="8"/>
                      <a:pt x="332" y="8"/>
                      <a:pt x="332" y="8"/>
                    </a:cubicBezTo>
                    <a:cubicBezTo>
                      <a:pt x="331" y="8"/>
                      <a:pt x="330" y="8"/>
                      <a:pt x="329" y="8"/>
                    </a:cubicBezTo>
                    <a:cubicBezTo>
                      <a:pt x="327" y="8"/>
                      <a:pt x="325" y="8"/>
                      <a:pt x="322" y="9"/>
                    </a:cubicBezTo>
                    <a:cubicBezTo>
                      <a:pt x="317" y="9"/>
                      <a:pt x="313" y="9"/>
                      <a:pt x="308" y="9"/>
                    </a:cubicBezTo>
                    <a:cubicBezTo>
                      <a:pt x="303" y="9"/>
                      <a:pt x="298" y="9"/>
                      <a:pt x="293" y="9"/>
                    </a:cubicBezTo>
                    <a:cubicBezTo>
                      <a:pt x="291" y="9"/>
                      <a:pt x="289" y="9"/>
                      <a:pt x="287" y="9"/>
                    </a:cubicBezTo>
                    <a:cubicBezTo>
                      <a:pt x="287" y="9"/>
                      <a:pt x="288" y="10"/>
                      <a:pt x="288" y="10"/>
                    </a:cubicBezTo>
                    <a:cubicBezTo>
                      <a:pt x="285" y="10"/>
                      <a:pt x="281" y="10"/>
                      <a:pt x="278" y="11"/>
                    </a:cubicBezTo>
                    <a:cubicBezTo>
                      <a:pt x="275" y="11"/>
                      <a:pt x="271" y="11"/>
                      <a:pt x="268" y="12"/>
                    </a:cubicBezTo>
                    <a:cubicBezTo>
                      <a:pt x="269" y="12"/>
                      <a:pt x="269" y="12"/>
                      <a:pt x="269" y="12"/>
                    </a:cubicBezTo>
                    <a:cubicBezTo>
                      <a:pt x="269" y="12"/>
                      <a:pt x="268" y="12"/>
                      <a:pt x="268" y="13"/>
                    </a:cubicBezTo>
                    <a:cubicBezTo>
                      <a:pt x="270" y="13"/>
                      <a:pt x="271" y="12"/>
                      <a:pt x="273" y="12"/>
                    </a:cubicBezTo>
                    <a:cubicBezTo>
                      <a:pt x="275" y="12"/>
                      <a:pt x="276" y="12"/>
                      <a:pt x="278" y="11"/>
                    </a:cubicBezTo>
                    <a:cubicBezTo>
                      <a:pt x="280" y="11"/>
                      <a:pt x="281" y="11"/>
                      <a:pt x="283" y="11"/>
                    </a:cubicBezTo>
                    <a:cubicBezTo>
                      <a:pt x="285" y="11"/>
                      <a:pt x="287" y="11"/>
                      <a:pt x="289" y="11"/>
                    </a:cubicBezTo>
                    <a:cubicBezTo>
                      <a:pt x="288" y="11"/>
                      <a:pt x="288" y="11"/>
                      <a:pt x="288" y="11"/>
                    </a:cubicBezTo>
                    <a:cubicBezTo>
                      <a:pt x="288" y="11"/>
                      <a:pt x="292" y="11"/>
                      <a:pt x="292" y="10"/>
                    </a:cubicBezTo>
                    <a:cubicBezTo>
                      <a:pt x="294" y="10"/>
                      <a:pt x="295" y="10"/>
                      <a:pt x="297" y="10"/>
                    </a:cubicBezTo>
                    <a:cubicBezTo>
                      <a:pt x="300" y="10"/>
                      <a:pt x="303" y="10"/>
                      <a:pt x="306" y="10"/>
                    </a:cubicBezTo>
                    <a:cubicBezTo>
                      <a:pt x="307" y="10"/>
                      <a:pt x="309" y="10"/>
                      <a:pt x="311" y="10"/>
                    </a:cubicBezTo>
                    <a:cubicBezTo>
                      <a:pt x="311" y="10"/>
                      <a:pt x="315" y="11"/>
                      <a:pt x="315" y="10"/>
                    </a:cubicBezTo>
                    <a:cubicBezTo>
                      <a:pt x="315" y="10"/>
                      <a:pt x="315" y="11"/>
                      <a:pt x="315" y="11"/>
                    </a:cubicBezTo>
                    <a:cubicBezTo>
                      <a:pt x="315" y="11"/>
                      <a:pt x="315" y="11"/>
                      <a:pt x="315" y="11"/>
                    </a:cubicBezTo>
                    <a:cubicBezTo>
                      <a:pt x="314" y="12"/>
                      <a:pt x="314" y="12"/>
                      <a:pt x="313" y="12"/>
                    </a:cubicBezTo>
                    <a:cubicBezTo>
                      <a:pt x="312" y="12"/>
                      <a:pt x="310" y="12"/>
                      <a:pt x="309" y="13"/>
                    </a:cubicBezTo>
                    <a:cubicBezTo>
                      <a:pt x="307" y="13"/>
                      <a:pt x="305" y="13"/>
                      <a:pt x="304" y="13"/>
                    </a:cubicBezTo>
                    <a:cubicBezTo>
                      <a:pt x="303" y="13"/>
                      <a:pt x="299" y="14"/>
                      <a:pt x="299" y="14"/>
                    </a:cubicBezTo>
                    <a:cubicBezTo>
                      <a:pt x="299" y="14"/>
                      <a:pt x="302" y="14"/>
                      <a:pt x="301" y="14"/>
                    </a:cubicBezTo>
                    <a:cubicBezTo>
                      <a:pt x="301" y="15"/>
                      <a:pt x="300" y="14"/>
                      <a:pt x="299" y="15"/>
                    </a:cubicBezTo>
                    <a:cubicBezTo>
                      <a:pt x="301" y="15"/>
                      <a:pt x="303" y="14"/>
                      <a:pt x="304" y="14"/>
                    </a:cubicBezTo>
                    <a:cubicBezTo>
                      <a:pt x="306" y="14"/>
                      <a:pt x="308" y="14"/>
                      <a:pt x="311" y="13"/>
                    </a:cubicBezTo>
                    <a:cubicBezTo>
                      <a:pt x="313" y="13"/>
                      <a:pt x="315" y="13"/>
                      <a:pt x="317" y="12"/>
                    </a:cubicBezTo>
                    <a:cubicBezTo>
                      <a:pt x="318" y="12"/>
                      <a:pt x="319" y="12"/>
                      <a:pt x="320" y="12"/>
                    </a:cubicBezTo>
                    <a:cubicBezTo>
                      <a:pt x="320" y="12"/>
                      <a:pt x="321" y="12"/>
                      <a:pt x="321" y="12"/>
                    </a:cubicBezTo>
                    <a:cubicBezTo>
                      <a:pt x="321" y="12"/>
                      <a:pt x="321" y="11"/>
                      <a:pt x="321" y="11"/>
                    </a:cubicBezTo>
                    <a:cubicBezTo>
                      <a:pt x="321" y="11"/>
                      <a:pt x="321" y="11"/>
                      <a:pt x="321" y="11"/>
                    </a:cubicBezTo>
                    <a:cubicBezTo>
                      <a:pt x="322" y="10"/>
                      <a:pt x="325" y="10"/>
                      <a:pt x="327" y="10"/>
                    </a:cubicBezTo>
                    <a:cubicBezTo>
                      <a:pt x="328" y="10"/>
                      <a:pt x="329" y="10"/>
                      <a:pt x="330" y="10"/>
                    </a:cubicBezTo>
                    <a:cubicBezTo>
                      <a:pt x="331" y="10"/>
                      <a:pt x="332" y="10"/>
                      <a:pt x="333" y="10"/>
                    </a:cubicBezTo>
                    <a:cubicBezTo>
                      <a:pt x="334" y="10"/>
                      <a:pt x="334" y="11"/>
                      <a:pt x="333" y="11"/>
                    </a:cubicBezTo>
                    <a:cubicBezTo>
                      <a:pt x="333" y="12"/>
                      <a:pt x="333" y="13"/>
                      <a:pt x="332" y="13"/>
                    </a:cubicBezTo>
                    <a:cubicBezTo>
                      <a:pt x="331" y="14"/>
                      <a:pt x="330" y="14"/>
                      <a:pt x="330" y="15"/>
                    </a:cubicBezTo>
                    <a:cubicBezTo>
                      <a:pt x="328" y="15"/>
                      <a:pt x="327" y="15"/>
                      <a:pt x="326" y="15"/>
                    </a:cubicBezTo>
                    <a:cubicBezTo>
                      <a:pt x="326" y="15"/>
                      <a:pt x="327" y="15"/>
                      <a:pt x="327" y="15"/>
                    </a:cubicBezTo>
                    <a:cubicBezTo>
                      <a:pt x="327" y="16"/>
                      <a:pt x="326" y="16"/>
                      <a:pt x="326" y="16"/>
                    </a:cubicBezTo>
                    <a:cubicBezTo>
                      <a:pt x="325" y="16"/>
                      <a:pt x="324" y="16"/>
                      <a:pt x="323" y="17"/>
                    </a:cubicBezTo>
                    <a:cubicBezTo>
                      <a:pt x="322" y="17"/>
                      <a:pt x="320" y="18"/>
                      <a:pt x="319" y="18"/>
                    </a:cubicBezTo>
                    <a:cubicBezTo>
                      <a:pt x="319" y="19"/>
                      <a:pt x="319" y="19"/>
                      <a:pt x="319" y="19"/>
                    </a:cubicBezTo>
                    <a:cubicBezTo>
                      <a:pt x="318" y="19"/>
                      <a:pt x="317" y="19"/>
                      <a:pt x="315" y="20"/>
                    </a:cubicBezTo>
                    <a:cubicBezTo>
                      <a:pt x="316" y="20"/>
                      <a:pt x="317" y="20"/>
                      <a:pt x="317" y="20"/>
                    </a:cubicBezTo>
                    <a:cubicBezTo>
                      <a:pt x="317" y="20"/>
                      <a:pt x="316" y="20"/>
                      <a:pt x="316" y="20"/>
                    </a:cubicBezTo>
                    <a:cubicBezTo>
                      <a:pt x="315" y="20"/>
                      <a:pt x="314" y="20"/>
                      <a:pt x="314" y="21"/>
                    </a:cubicBezTo>
                    <a:cubicBezTo>
                      <a:pt x="316" y="21"/>
                      <a:pt x="318" y="20"/>
                      <a:pt x="319" y="20"/>
                    </a:cubicBezTo>
                    <a:cubicBezTo>
                      <a:pt x="320" y="19"/>
                      <a:pt x="320" y="19"/>
                      <a:pt x="320" y="19"/>
                    </a:cubicBezTo>
                    <a:cubicBezTo>
                      <a:pt x="321" y="19"/>
                      <a:pt x="322" y="19"/>
                      <a:pt x="321" y="18"/>
                    </a:cubicBezTo>
                    <a:cubicBezTo>
                      <a:pt x="322" y="18"/>
                      <a:pt x="323" y="18"/>
                      <a:pt x="324" y="18"/>
                    </a:cubicBezTo>
                    <a:cubicBezTo>
                      <a:pt x="325" y="18"/>
                      <a:pt x="326" y="17"/>
                      <a:pt x="327" y="17"/>
                    </a:cubicBezTo>
                    <a:cubicBezTo>
                      <a:pt x="329" y="16"/>
                      <a:pt x="331" y="16"/>
                      <a:pt x="333" y="15"/>
                    </a:cubicBezTo>
                    <a:cubicBezTo>
                      <a:pt x="334" y="15"/>
                      <a:pt x="334" y="15"/>
                      <a:pt x="335" y="15"/>
                    </a:cubicBezTo>
                    <a:cubicBezTo>
                      <a:pt x="335" y="15"/>
                      <a:pt x="335" y="14"/>
                      <a:pt x="336" y="14"/>
                    </a:cubicBezTo>
                    <a:cubicBezTo>
                      <a:pt x="337" y="14"/>
                      <a:pt x="338" y="14"/>
                      <a:pt x="339" y="14"/>
                    </a:cubicBezTo>
                    <a:cubicBezTo>
                      <a:pt x="340" y="13"/>
                      <a:pt x="341" y="13"/>
                      <a:pt x="342" y="13"/>
                    </a:cubicBezTo>
                    <a:cubicBezTo>
                      <a:pt x="343" y="13"/>
                      <a:pt x="344" y="12"/>
                      <a:pt x="345" y="13"/>
                    </a:cubicBezTo>
                    <a:cubicBezTo>
                      <a:pt x="345" y="13"/>
                      <a:pt x="344" y="13"/>
                      <a:pt x="343" y="13"/>
                    </a:cubicBezTo>
                    <a:cubicBezTo>
                      <a:pt x="343" y="13"/>
                      <a:pt x="342" y="14"/>
                      <a:pt x="343" y="14"/>
                    </a:cubicBezTo>
                    <a:cubicBezTo>
                      <a:pt x="343" y="14"/>
                      <a:pt x="344" y="14"/>
                      <a:pt x="344" y="14"/>
                    </a:cubicBezTo>
                    <a:cubicBezTo>
                      <a:pt x="345" y="14"/>
                      <a:pt x="346" y="14"/>
                      <a:pt x="347" y="14"/>
                    </a:cubicBezTo>
                    <a:cubicBezTo>
                      <a:pt x="348" y="13"/>
                      <a:pt x="349" y="13"/>
                      <a:pt x="350" y="13"/>
                    </a:cubicBezTo>
                    <a:cubicBezTo>
                      <a:pt x="350" y="14"/>
                      <a:pt x="351" y="14"/>
                      <a:pt x="351" y="14"/>
                    </a:cubicBezTo>
                    <a:cubicBezTo>
                      <a:pt x="352" y="13"/>
                      <a:pt x="353" y="14"/>
                      <a:pt x="354" y="14"/>
                    </a:cubicBezTo>
                    <a:cubicBezTo>
                      <a:pt x="354" y="14"/>
                      <a:pt x="355" y="14"/>
                      <a:pt x="356" y="14"/>
                    </a:cubicBezTo>
                    <a:cubicBezTo>
                      <a:pt x="356" y="14"/>
                      <a:pt x="356" y="14"/>
                      <a:pt x="356" y="13"/>
                    </a:cubicBezTo>
                    <a:cubicBezTo>
                      <a:pt x="356" y="13"/>
                      <a:pt x="356" y="13"/>
                      <a:pt x="355" y="13"/>
                    </a:cubicBezTo>
                    <a:cubicBezTo>
                      <a:pt x="356" y="13"/>
                      <a:pt x="358" y="14"/>
                      <a:pt x="358" y="13"/>
                    </a:cubicBezTo>
                    <a:cubicBezTo>
                      <a:pt x="358" y="13"/>
                      <a:pt x="358" y="13"/>
                      <a:pt x="359" y="13"/>
                    </a:cubicBezTo>
                    <a:cubicBezTo>
                      <a:pt x="358" y="13"/>
                      <a:pt x="357" y="13"/>
                      <a:pt x="358" y="12"/>
                    </a:cubicBezTo>
                    <a:cubicBezTo>
                      <a:pt x="358" y="12"/>
                      <a:pt x="358" y="12"/>
                      <a:pt x="359" y="12"/>
                    </a:cubicBezTo>
                    <a:cubicBezTo>
                      <a:pt x="360" y="12"/>
                      <a:pt x="360" y="12"/>
                      <a:pt x="361" y="12"/>
                    </a:cubicBezTo>
                    <a:cubicBezTo>
                      <a:pt x="360" y="12"/>
                      <a:pt x="360" y="12"/>
                      <a:pt x="360" y="12"/>
                    </a:cubicBezTo>
                    <a:cubicBezTo>
                      <a:pt x="360" y="12"/>
                      <a:pt x="360" y="12"/>
                      <a:pt x="360" y="11"/>
                    </a:cubicBezTo>
                    <a:cubicBezTo>
                      <a:pt x="360" y="11"/>
                      <a:pt x="361" y="12"/>
                      <a:pt x="362" y="11"/>
                    </a:cubicBezTo>
                    <a:cubicBezTo>
                      <a:pt x="362" y="11"/>
                      <a:pt x="364" y="12"/>
                      <a:pt x="364" y="11"/>
                    </a:cubicBezTo>
                    <a:cubicBezTo>
                      <a:pt x="364" y="11"/>
                      <a:pt x="364" y="11"/>
                      <a:pt x="364" y="11"/>
                    </a:cubicBezTo>
                    <a:cubicBezTo>
                      <a:pt x="364" y="11"/>
                      <a:pt x="369" y="11"/>
                      <a:pt x="370" y="11"/>
                    </a:cubicBezTo>
                    <a:cubicBezTo>
                      <a:pt x="371" y="11"/>
                      <a:pt x="372" y="11"/>
                      <a:pt x="374" y="11"/>
                    </a:cubicBezTo>
                    <a:cubicBezTo>
                      <a:pt x="375" y="11"/>
                      <a:pt x="377" y="11"/>
                      <a:pt x="378" y="11"/>
                    </a:cubicBezTo>
                    <a:cubicBezTo>
                      <a:pt x="380" y="11"/>
                      <a:pt x="383" y="12"/>
                      <a:pt x="385" y="12"/>
                    </a:cubicBezTo>
                    <a:cubicBezTo>
                      <a:pt x="386" y="12"/>
                      <a:pt x="387" y="12"/>
                      <a:pt x="389" y="12"/>
                    </a:cubicBezTo>
                    <a:cubicBezTo>
                      <a:pt x="390" y="13"/>
                      <a:pt x="391" y="13"/>
                      <a:pt x="392" y="13"/>
                    </a:cubicBezTo>
                    <a:close/>
                    <a:moveTo>
                      <a:pt x="279" y="9"/>
                    </a:moveTo>
                    <a:cubicBezTo>
                      <a:pt x="279" y="9"/>
                      <a:pt x="280" y="9"/>
                      <a:pt x="281" y="9"/>
                    </a:cubicBezTo>
                    <a:cubicBezTo>
                      <a:pt x="282" y="9"/>
                      <a:pt x="283" y="9"/>
                      <a:pt x="283" y="9"/>
                    </a:cubicBezTo>
                    <a:cubicBezTo>
                      <a:pt x="284" y="9"/>
                      <a:pt x="284" y="9"/>
                      <a:pt x="284" y="9"/>
                    </a:cubicBezTo>
                    <a:cubicBezTo>
                      <a:pt x="282" y="9"/>
                      <a:pt x="281" y="9"/>
                      <a:pt x="279" y="9"/>
                    </a:cubicBezTo>
                    <a:close/>
                    <a:moveTo>
                      <a:pt x="85" y="137"/>
                    </a:moveTo>
                    <a:cubicBezTo>
                      <a:pt x="85" y="137"/>
                      <a:pt x="85" y="137"/>
                      <a:pt x="85" y="137"/>
                    </a:cubicBezTo>
                    <a:cubicBezTo>
                      <a:pt x="85" y="137"/>
                      <a:pt x="85" y="137"/>
                      <a:pt x="85" y="137"/>
                    </a:cubicBezTo>
                    <a:close/>
                    <a:moveTo>
                      <a:pt x="91" y="131"/>
                    </a:moveTo>
                    <a:cubicBezTo>
                      <a:pt x="90" y="131"/>
                      <a:pt x="90" y="131"/>
                      <a:pt x="89" y="131"/>
                    </a:cubicBezTo>
                    <a:cubicBezTo>
                      <a:pt x="89" y="131"/>
                      <a:pt x="88" y="131"/>
                      <a:pt x="87" y="131"/>
                    </a:cubicBezTo>
                    <a:cubicBezTo>
                      <a:pt x="87" y="131"/>
                      <a:pt x="87" y="131"/>
                      <a:pt x="86" y="131"/>
                    </a:cubicBezTo>
                    <a:cubicBezTo>
                      <a:pt x="87" y="131"/>
                      <a:pt x="87" y="131"/>
                      <a:pt x="88" y="131"/>
                    </a:cubicBezTo>
                    <a:cubicBezTo>
                      <a:pt x="88" y="131"/>
                      <a:pt x="89" y="131"/>
                      <a:pt x="89" y="131"/>
                    </a:cubicBezTo>
                    <a:cubicBezTo>
                      <a:pt x="90" y="131"/>
                      <a:pt x="90" y="131"/>
                      <a:pt x="90" y="131"/>
                    </a:cubicBezTo>
                    <a:cubicBezTo>
                      <a:pt x="90" y="131"/>
                      <a:pt x="91" y="131"/>
                      <a:pt x="91" y="131"/>
                    </a:cubicBezTo>
                    <a:close/>
                    <a:moveTo>
                      <a:pt x="313" y="53"/>
                    </a:moveTo>
                    <a:cubicBezTo>
                      <a:pt x="313" y="53"/>
                      <a:pt x="315" y="53"/>
                      <a:pt x="315" y="53"/>
                    </a:cubicBezTo>
                    <a:cubicBezTo>
                      <a:pt x="315" y="53"/>
                      <a:pt x="316" y="53"/>
                      <a:pt x="316" y="53"/>
                    </a:cubicBezTo>
                    <a:cubicBezTo>
                      <a:pt x="316" y="53"/>
                      <a:pt x="316" y="53"/>
                      <a:pt x="316" y="53"/>
                    </a:cubicBezTo>
                    <a:cubicBezTo>
                      <a:pt x="315" y="53"/>
                      <a:pt x="315" y="53"/>
                      <a:pt x="315" y="53"/>
                    </a:cubicBezTo>
                    <a:cubicBezTo>
                      <a:pt x="314" y="53"/>
                      <a:pt x="314" y="52"/>
                      <a:pt x="313" y="53"/>
                    </a:cubicBezTo>
                    <a:cubicBezTo>
                      <a:pt x="314" y="53"/>
                      <a:pt x="313" y="53"/>
                      <a:pt x="313" y="53"/>
                    </a:cubicBezTo>
                    <a:close/>
                    <a:moveTo>
                      <a:pt x="89" y="201"/>
                    </a:moveTo>
                    <a:cubicBezTo>
                      <a:pt x="90" y="201"/>
                      <a:pt x="90" y="201"/>
                      <a:pt x="90" y="200"/>
                    </a:cubicBezTo>
                    <a:cubicBezTo>
                      <a:pt x="90" y="200"/>
                      <a:pt x="91" y="200"/>
                      <a:pt x="91" y="200"/>
                    </a:cubicBezTo>
                    <a:cubicBezTo>
                      <a:pt x="90" y="200"/>
                      <a:pt x="89" y="200"/>
                      <a:pt x="89" y="200"/>
                    </a:cubicBezTo>
                    <a:cubicBezTo>
                      <a:pt x="89" y="200"/>
                      <a:pt x="90" y="201"/>
                      <a:pt x="89" y="20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5" name="Greece">
                <a:extLst>
                  <a:ext uri="{FF2B5EF4-FFF2-40B4-BE49-F238E27FC236}">
                    <a16:creationId xmlns:a16="http://schemas.microsoft.com/office/drawing/2014/main" id="{3181444E-306C-73C6-6B6E-6F0DAF8D5A6D}"/>
                  </a:ext>
                </a:extLst>
              </p:cNvPr>
              <p:cNvSpPr>
                <a:spLocks noEditPoints="1"/>
              </p:cNvSpPr>
              <p:nvPr/>
            </p:nvSpPr>
            <p:spPr bwMode="auto">
              <a:xfrm>
                <a:off x="6341633" y="2420218"/>
                <a:ext cx="283268" cy="266605"/>
              </a:xfrm>
              <a:custGeom>
                <a:avLst/>
                <a:gdLst/>
                <a:ahLst/>
                <a:cxnLst>
                  <a:cxn ang="0">
                    <a:pos x="54" y="14"/>
                  </a:cxn>
                  <a:cxn ang="0">
                    <a:pos x="37" y="28"/>
                  </a:cxn>
                  <a:cxn ang="0">
                    <a:pos x="59" y="29"/>
                  </a:cxn>
                  <a:cxn ang="0">
                    <a:pos x="36" y="41"/>
                  </a:cxn>
                  <a:cxn ang="0">
                    <a:pos x="53" y="50"/>
                  </a:cxn>
                  <a:cxn ang="0">
                    <a:pos x="54" y="59"/>
                  </a:cxn>
                  <a:cxn ang="0">
                    <a:pos x="50" y="47"/>
                  </a:cxn>
                  <a:cxn ang="0">
                    <a:pos x="51" y="21"/>
                  </a:cxn>
                  <a:cxn ang="0">
                    <a:pos x="49" y="21"/>
                  </a:cxn>
                  <a:cxn ang="0">
                    <a:pos x="3" y="24"/>
                  </a:cxn>
                  <a:cxn ang="0">
                    <a:pos x="11" y="33"/>
                  </a:cxn>
                  <a:cxn ang="0">
                    <a:pos x="59" y="39"/>
                  </a:cxn>
                  <a:cxn ang="0">
                    <a:pos x="9" y="37"/>
                  </a:cxn>
                  <a:cxn ang="0">
                    <a:pos x="43" y="40"/>
                  </a:cxn>
                  <a:cxn ang="0">
                    <a:pos x="37" y="32"/>
                  </a:cxn>
                  <a:cxn ang="0">
                    <a:pos x="33" y="31"/>
                  </a:cxn>
                  <a:cxn ang="0">
                    <a:pos x="42" y="38"/>
                  </a:cxn>
                  <a:cxn ang="0">
                    <a:pos x="69" y="43"/>
                  </a:cxn>
                  <a:cxn ang="0">
                    <a:pos x="80" y="58"/>
                  </a:cxn>
                  <a:cxn ang="0">
                    <a:pos x="64" y="70"/>
                  </a:cxn>
                  <a:cxn ang="0">
                    <a:pos x="51" y="69"/>
                  </a:cxn>
                  <a:cxn ang="0">
                    <a:pos x="41" y="68"/>
                  </a:cxn>
                  <a:cxn ang="0">
                    <a:pos x="48" y="73"/>
                  </a:cxn>
                  <a:cxn ang="0">
                    <a:pos x="36" y="43"/>
                  </a:cxn>
                  <a:cxn ang="0">
                    <a:pos x="13" y="43"/>
                  </a:cxn>
                  <a:cxn ang="0">
                    <a:pos x="45" y="44"/>
                  </a:cxn>
                  <a:cxn ang="0">
                    <a:pos x="72" y="65"/>
                  </a:cxn>
                  <a:cxn ang="0">
                    <a:pos x="46" y="12"/>
                  </a:cxn>
                  <a:cxn ang="0">
                    <a:pos x="69" y="51"/>
                  </a:cxn>
                  <a:cxn ang="0">
                    <a:pos x="70" y="54"/>
                  </a:cxn>
                  <a:cxn ang="0">
                    <a:pos x="40" y="44"/>
                  </a:cxn>
                  <a:cxn ang="0">
                    <a:pos x="34" y="34"/>
                  </a:cxn>
                  <a:cxn ang="0">
                    <a:pos x="29" y="31"/>
                  </a:cxn>
                  <a:cxn ang="0">
                    <a:pos x="31" y="27"/>
                  </a:cxn>
                  <a:cxn ang="0">
                    <a:pos x="27" y="16"/>
                  </a:cxn>
                  <a:cxn ang="0">
                    <a:pos x="33" y="16"/>
                  </a:cxn>
                  <a:cxn ang="0">
                    <a:pos x="39" y="19"/>
                  </a:cxn>
                  <a:cxn ang="0">
                    <a:pos x="43" y="18"/>
                  </a:cxn>
                  <a:cxn ang="0">
                    <a:pos x="43" y="9"/>
                  </a:cxn>
                  <a:cxn ang="0">
                    <a:pos x="55" y="10"/>
                  </a:cxn>
                  <a:cxn ang="0">
                    <a:pos x="60" y="8"/>
                  </a:cxn>
                  <a:cxn ang="0">
                    <a:pos x="58" y="2"/>
                  </a:cxn>
                  <a:cxn ang="0">
                    <a:pos x="46" y="4"/>
                  </a:cxn>
                  <a:cxn ang="0">
                    <a:pos x="38" y="3"/>
                  </a:cxn>
                  <a:cxn ang="0">
                    <a:pos x="23" y="6"/>
                  </a:cxn>
                  <a:cxn ang="0">
                    <a:pos x="13" y="12"/>
                  </a:cxn>
                  <a:cxn ang="0">
                    <a:pos x="7" y="22"/>
                  </a:cxn>
                  <a:cxn ang="0">
                    <a:pos x="7" y="27"/>
                  </a:cxn>
                  <a:cxn ang="0">
                    <a:pos x="13" y="29"/>
                  </a:cxn>
                  <a:cxn ang="0">
                    <a:pos x="13" y="33"/>
                  </a:cxn>
                  <a:cxn ang="0">
                    <a:pos x="16" y="37"/>
                  </a:cxn>
                  <a:cxn ang="0">
                    <a:pos x="25" y="37"/>
                  </a:cxn>
                  <a:cxn ang="0">
                    <a:pos x="31" y="39"/>
                  </a:cxn>
                  <a:cxn ang="0">
                    <a:pos x="30" y="41"/>
                  </a:cxn>
                  <a:cxn ang="0">
                    <a:pos x="17" y="40"/>
                  </a:cxn>
                  <a:cxn ang="0">
                    <a:pos x="20" y="52"/>
                  </a:cxn>
                  <a:cxn ang="0">
                    <a:pos x="27" y="55"/>
                  </a:cxn>
                  <a:cxn ang="0">
                    <a:pos x="29" y="54"/>
                  </a:cxn>
                  <a:cxn ang="0">
                    <a:pos x="33" y="54"/>
                  </a:cxn>
                  <a:cxn ang="0">
                    <a:pos x="33" y="48"/>
                  </a:cxn>
                  <a:cxn ang="0">
                    <a:pos x="35" y="46"/>
                  </a:cxn>
                  <a:cxn ang="0">
                    <a:pos x="37" y="40"/>
                  </a:cxn>
                </a:cxnLst>
                <a:rect l="0" t="0" r="r" b="b"/>
                <a:pathLst>
                  <a:path w="80" h="75">
                    <a:moveTo>
                      <a:pt x="53" y="55"/>
                    </a:moveTo>
                    <a:cubicBezTo>
                      <a:pt x="53" y="55"/>
                      <a:pt x="53" y="54"/>
                      <a:pt x="53" y="54"/>
                    </a:cubicBezTo>
                    <a:cubicBezTo>
                      <a:pt x="54" y="54"/>
                      <a:pt x="55" y="55"/>
                      <a:pt x="54" y="56"/>
                    </a:cubicBezTo>
                    <a:cubicBezTo>
                      <a:pt x="54" y="55"/>
                      <a:pt x="53" y="55"/>
                      <a:pt x="53" y="55"/>
                    </a:cubicBezTo>
                    <a:close/>
                    <a:moveTo>
                      <a:pt x="56" y="51"/>
                    </a:moveTo>
                    <a:cubicBezTo>
                      <a:pt x="56" y="51"/>
                      <a:pt x="56" y="50"/>
                      <a:pt x="55" y="50"/>
                    </a:cubicBezTo>
                    <a:cubicBezTo>
                      <a:pt x="55" y="49"/>
                      <a:pt x="54" y="50"/>
                      <a:pt x="54" y="51"/>
                    </a:cubicBezTo>
                    <a:cubicBezTo>
                      <a:pt x="54" y="51"/>
                      <a:pt x="54" y="52"/>
                      <a:pt x="55" y="53"/>
                    </a:cubicBezTo>
                    <a:cubicBezTo>
                      <a:pt x="55" y="52"/>
                      <a:pt x="56" y="52"/>
                      <a:pt x="56" y="51"/>
                    </a:cubicBezTo>
                    <a:close/>
                    <a:moveTo>
                      <a:pt x="54" y="14"/>
                    </a:moveTo>
                    <a:cubicBezTo>
                      <a:pt x="55" y="13"/>
                      <a:pt x="53" y="13"/>
                      <a:pt x="52" y="14"/>
                    </a:cubicBezTo>
                    <a:cubicBezTo>
                      <a:pt x="52" y="14"/>
                      <a:pt x="54" y="15"/>
                      <a:pt x="54" y="14"/>
                    </a:cubicBezTo>
                    <a:close/>
                    <a:moveTo>
                      <a:pt x="52" y="46"/>
                    </a:moveTo>
                    <a:cubicBezTo>
                      <a:pt x="53" y="46"/>
                      <a:pt x="52" y="45"/>
                      <a:pt x="52" y="45"/>
                    </a:cubicBezTo>
                    <a:cubicBezTo>
                      <a:pt x="51" y="45"/>
                      <a:pt x="51" y="45"/>
                      <a:pt x="50" y="44"/>
                    </a:cubicBezTo>
                    <a:cubicBezTo>
                      <a:pt x="50" y="44"/>
                      <a:pt x="50" y="45"/>
                      <a:pt x="51" y="45"/>
                    </a:cubicBezTo>
                    <a:cubicBezTo>
                      <a:pt x="51" y="45"/>
                      <a:pt x="52" y="46"/>
                      <a:pt x="52" y="46"/>
                    </a:cubicBezTo>
                    <a:close/>
                    <a:moveTo>
                      <a:pt x="38" y="29"/>
                    </a:moveTo>
                    <a:cubicBezTo>
                      <a:pt x="38" y="29"/>
                      <a:pt x="38" y="29"/>
                      <a:pt x="38" y="28"/>
                    </a:cubicBezTo>
                    <a:cubicBezTo>
                      <a:pt x="38" y="28"/>
                      <a:pt x="37" y="28"/>
                      <a:pt x="37" y="28"/>
                    </a:cubicBezTo>
                    <a:cubicBezTo>
                      <a:pt x="37" y="27"/>
                      <a:pt x="37" y="28"/>
                      <a:pt x="37" y="28"/>
                    </a:cubicBezTo>
                    <a:cubicBezTo>
                      <a:pt x="37" y="29"/>
                      <a:pt x="38" y="29"/>
                      <a:pt x="38" y="29"/>
                    </a:cubicBezTo>
                    <a:close/>
                    <a:moveTo>
                      <a:pt x="62" y="27"/>
                    </a:moveTo>
                    <a:cubicBezTo>
                      <a:pt x="62" y="27"/>
                      <a:pt x="61" y="27"/>
                      <a:pt x="62" y="27"/>
                    </a:cubicBezTo>
                    <a:cubicBezTo>
                      <a:pt x="62" y="26"/>
                      <a:pt x="61" y="26"/>
                      <a:pt x="61" y="26"/>
                    </a:cubicBezTo>
                    <a:cubicBezTo>
                      <a:pt x="60" y="26"/>
                      <a:pt x="60" y="26"/>
                      <a:pt x="60" y="26"/>
                    </a:cubicBezTo>
                    <a:cubicBezTo>
                      <a:pt x="59" y="26"/>
                      <a:pt x="59" y="26"/>
                      <a:pt x="59" y="27"/>
                    </a:cubicBezTo>
                    <a:cubicBezTo>
                      <a:pt x="58" y="27"/>
                      <a:pt x="57" y="27"/>
                      <a:pt x="57" y="27"/>
                    </a:cubicBezTo>
                    <a:cubicBezTo>
                      <a:pt x="57" y="27"/>
                      <a:pt x="57" y="28"/>
                      <a:pt x="57" y="28"/>
                    </a:cubicBezTo>
                    <a:cubicBezTo>
                      <a:pt x="58" y="29"/>
                      <a:pt x="59" y="29"/>
                      <a:pt x="59" y="29"/>
                    </a:cubicBezTo>
                    <a:cubicBezTo>
                      <a:pt x="59" y="28"/>
                      <a:pt x="60" y="28"/>
                      <a:pt x="60" y="28"/>
                    </a:cubicBezTo>
                    <a:cubicBezTo>
                      <a:pt x="62" y="27"/>
                      <a:pt x="59" y="29"/>
                      <a:pt x="59" y="29"/>
                    </a:cubicBezTo>
                    <a:cubicBezTo>
                      <a:pt x="59" y="29"/>
                      <a:pt x="60" y="29"/>
                      <a:pt x="60" y="30"/>
                    </a:cubicBezTo>
                    <a:cubicBezTo>
                      <a:pt x="61" y="30"/>
                      <a:pt x="62" y="30"/>
                      <a:pt x="62" y="30"/>
                    </a:cubicBezTo>
                    <a:cubicBezTo>
                      <a:pt x="63" y="30"/>
                      <a:pt x="64" y="30"/>
                      <a:pt x="63" y="29"/>
                    </a:cubicBezTo>
                    <a:cubicBezTo>
                      <a:pt x="63" y="29"/>
                      <a:pt x="62" y="28"/>
                      <a:pt x="63" y="29"/>
                    </a:cubicBezTo>
                    <a:cubicBezTo>
                      <a:pt x="63" y="29"/>
                      <a:pt x="63" y="29"/>
                      <a:pt x="63" y="30"/>
                    </a:cubicBezTo>
                    <a:cubicBezTo>
                      <a:pt x="64" y="30"/>
                      <a:pt x="64" y="29"/>
                      <a:pt x="64" y="29"/>
                    </a:cubicBezTo>
                    <a:cubicBezTo>
                      <a:pt x="63" y="28"/>
                      <a:pt x="63" y="28"/>
                      <a:pt x="62" y="27"/>
                    </a:cubicBezTo>
                    <a:close/>
                    <a:moveTo>
                      <a:pt x="36" y="41"/>
                    </a:moveTo>
                    <a:cubicBezTo>
                      <a:pt x="36" y="41"/>
                      <a:pt x="36" y="41"/>
                      <a:pt x="36" y="41"/>
                    </a:cubicBezTo>
                    <a:cubicBezTo>
                      <a:pt x="36" y="41"/>
                      <a:pt x="36" y="41"/>
                      <a:pt x="36" y="41"/>
                    </a:cubicBezTo>
                    <a:cubicBezTo>
                      <a:pt x="36" y="41"/>
                      <a:pt x="35" y="42"/>
                      <a:pt x="36" y="42"/>
                    </a:cubicBezTo>
                    <a:cubicBezTo>
                      <a:pt x="36" y="42"/>
                      <a:pt x="37" y="42"/>
                      <a:pt x="37" y="41"/>
                    </a:cubicBezTo>
                    <a:cubicBezTo>
                      <a:pt x="37" y="41"/>
                      <a:pt x="37" y="41"/>
                      <a:pt x="36" y="41"/>
                    </a:cubicBezTo>
                    <a:cubicBezTo>
                      <a:pt x="36" y="41"/>
                      <a:pt x="36" y="41"/>
                      <a:pt x="36" y="41"/>
                    </a:cubicBezTo>
                    <a:close/>
                    <a:moveTo>
                      <a:pt x="52" y="52"/>
                    </a:moveTo>
                    <a:cubicBezTo>
                      <a:pt x="53" y="51"/>
                      <a:pt x="53" y="51"/>
                      <a:pt x="53" y="51"/>
                    </a:cubicBezTo>
                    <a:cubicBezTo>
                      <a:pt x="53" y="51"/>
                      <a:pt x="53" y="50"/>
                      <a:pt x="53" y="50"/>
                    </a:cubicBezTo>
                    <a:cubicBezTo>
                      <a:pt x="53" y="50"/>
                      <a:pt x="53" y="50"/>
                      <a:pt x="53" y="50"/>
                    </a:cubicBezTo>
                    <a:cubicBezTo>
                      <a:pt x="53" y="50"/>
                      <a:pt x="53" y="50"/>
                      <a:pt x="53" y="50"/>
                    </a:cubicBezTo>
                    <a:cubicBezTo>
                      <a:pt x="52" y="50"/>
                      <a:pt x="52" y="50"/>
                      <a:pt x="52" y="51"/>
                    </a:cubicBezTo>
                    <a:cubicBezTo>
                      <a:pt x="51" y="52"/>
                      <a:pt x="52" y="52"/>
                      <a:pt x="52" y="52"/>
                    </a:cubicBezTo>
                    <a:close/>
                    <a:moveTo>
                      <a:pt x="47" y="51"/>
                    </a:moveTo>
                    <a:cubicBezTo>
                      <a:pt x="47" y="51"/>
                      <a:pt x="48" y="53"/>
                      <a:pt x="48" y="53"/>
                    </a:cubicBezTo>
                    <a:cubicBezTo>
                      <a:pt x="48" y="52"/>
                      <a:pt x="48" y="51"/>
                      <a:pt x="47" y="51"/>
                    </a:cubicBezTo>
                    <a:close/>
                    <a:moveTo>
                      <a:pt x="55" y="59"/>
                    </a:moveTo>
                    <a:cubicBezTo>
                      <a:pt x="56" y="59"/>
                      <a:pt x="55" y="58"/>
                      <a:pt x="55" y="58"/>
                    </a:cubicBezTo>
                    <a:cubicBezTo>
                      <a:pt x="55" y="58"/>
                      <a:pt x="54" y="57"/>
                      <a:pt x="54" y="57"/>
                    </a:cubicBezTo>
                    <a:cubicBezTo>
                      <a:pt x="54" y="58"/>
                      <a:pt x="55" y="59"/>
                      <a:pt x="54" y="59"/>
                    </a:cubicBezTo>
                    <a:cubicBezTo>
                      <a:pt x="55" y="59"/>
                      <a:pt x="55" y="59"/>
                      <a:pt x="55" y="59"/>
                    </a:cubicBezTo>
                    <a:close/>
                    <a:moveTo>
                      <a:pt x="59" y="46"/>
                    </a:moveTo>
                    <a:cubicBezTo>
                      <a:pt x="60" y="46"/>
                      <a:pt x="61" y="46"/>
                      <a:pt x="61" y="45"/>
                    </a:cubicBezTo>
                    <a:cubicBezTo>
                      <a:pt x="62" y="45"/>
                      <a:pt x="63" y="44"/>
                      <a:pt x="62" y="44"/>
                    </a:cubicBezTo>
                    <a:cubicBezTo>
                      <a:pt x="62" y="44"/>
                      <a:pt x="62" y="44"/>
                      <a:pt x="61" y="45"/>
                    </a:cubicBezTo>
                    <a:cubicBezTo>
                      <a:pt x="61" y="45"/>
                      <a:pt x="60" y="45"/>
                      <a:pt x="60" y="45"/>
                    </a:cubicBezTo>
                    <a:cubicBezTo>
                      <a:pt x="60" y="45"/>
                      <a:pt x="59" y="46"/>
                      <a:pt x="59" y="46"/>
                    </a:cubicBezTo>
                    <a:close/>
                    <a:moveTo>
                      <a:pt x="49" y="46"/>
                    </a:moveTo>
                    <a:cubicBezTo>
                      <a:pt x="49" y="46"/>
                      <a:pt x="49" y="47"/>
                      <a:pt x="49" y="48"/>
                    </a:cubicBezTo>
                    <a:cubicBezTo>
                      <a:pt x="50" y="47"/>
                      <a:pt x="50" y="47"/>
                      <a:pt x="50" y="47"/>
                    </a:cubicBezTo>
                    <a:cubicBezTo>
                      <a:pt x="50" y="47"/>
                      <a:pt x="50" y="46"/>
                      <a:pt x="49" y="46"/>
                    </a:cubicBezTo>
                    <a:close/>
                    <a:moveTo>
                      <a:pt x="46" y="32"/>
                    </a:moveTo>
                    <a:cubicBezTo>
                      <a:pt x="46" y="32"/>
                      <a:pt x="47" y="33"/>
                      <a:pt x="47" y="32"/>
                    </a:cubicBezTo>
                    <a:cubicBezTo>
                      <a:pt x="47" y="32"/>
                      <a:pt x="46" y="32"/>
                      <a:pt x="46" y="31"/>
                    </a:cubicBezTo>
                    <a:cubicBezTo>
                      <a:pt x="45" y="31"/>
                      <a:pt x="46" y="31"/>
                      <a:pt x="45" y="30"/>
                    </a:cubicBezTo>
                    <a:cubicBezTo>
                      <a:pt x="45" y="29"/>
                      <a:pt x="44" y="31"/>
                      <a:pt x="45" y="31"/>
                    </a:cubicBezTo>
                    <a:cubicBezTo>
                      <a:pt x="45" y="31"/>
                      <a:pt x="46" y="32"/>
                      <a:pt x="46" y="32"/>
                    </a:cubicBezTo>
                    <a:cubicBezTo>
                      <a:pt x="45" y="32"/>
                      <a:pt x="45" y="32"/>
                      <a:pt x="46" y="32"/>
                    </a:cubicBezTo>
                    <a:close/>
                    <a:moveTo>
                      <a:pt x="50" y="21"/>
                    </a:moveTo>
                    <a:cubicBezTo>
                      <a:pt x="50" y="21"/>
                      <a:pt x="50" y="21"/>
                      <a:pt x="51" y="21"/>
                    </a:cubicBezTo>
                    <a:cubicBezTo>
                      <a:pt x="51" y="21"/>
                      <a:pt x="50" y="20"/>
                      <a:pt x="51" y="20"/>
                    </a:cubicBezTo>
                    <a:cubicBezTo>
                      <a:pt x="50" y="20"/>
                      <a:pt x="52" y="20"/>
                      <a:pt x="51" y="20"/>
                    </a:cubicBezTo>
                    <a:cubicBezTo>
                      <a:pt x="51" y="21"/>
                      <a:pt x="52" y="21"/>
                      <a:pt x="52" y="21"/>
                    </a:cubicBezTo>
                    <a:cubicBezTo>
                      <a:pt x="52" y="21"/>
                      <a:pt x="52" y="20"/>
                      <a:pt x="52" y="20"/>
                    </a:cubicBezTo>
                    <a:cubicBezTo>
                      <a:pt x="52" y="19"/>
                      <a:pt x="52" y="19"/>
                      <a:pt x="53" y="18"/>
                    </a:cubicBezTo>
                    <a:cubicBezTo>
                      <a:pt x="52" y="19"/>
                      <a:pt x="52" y="19"/>
                      <a:pt x="52" y="19"/>
                    </a:cubicBezTo>
                    <a:cubicBezTo>
                      <a:pt x="51" y="19"/>
                      <a:pt x="51" y="19"/>
                      <a:pt x="50" y="19"/>
                    </a:cubicBezTo>
                    <a:cubicBezTo>
                      <a:pt x="50" y="19"/>
                      <a:pt x="49" y="19"/>
                      <a:pt x="49" y="19"/>
                    </a:cubicBezTo>
                    <a:cubicBezTo>
                      <a:pt x="49" y="19"/>
                      <a:pt x="49" y="20"/>
                      <a:pt x="49" y="20"/>
                    </a:cubicBezTo>
                    <a:cubicBezTo>
                      <a:pt x="49" y="20"/>
                      <a:pt x="49" y="20"/>
                      <a:pt x="49" y="21"/>
                    </a:cubicBezTo>
                    <a:cubicBezTo>
                      <a:pt x="49" y="21"/>
                      <a:pt x="50" y="20"/>
                      <a:pt x="50" y="21"/>
                    </a:cubicBezTo>
                    <a:close/>
                    <a:moveTo>
                      <a:pt x="4" y="24"/>
                    </a:moveTo>
                    <a:cubicBezTo>
                      <a:pt x="3" y="24"/>
                      <a:pt x="3" y="23"/>
                      <a:pt x="3" y="23"/>
                    </a:cubicBezTo>
                    <a:cubicBezTo>
                      <a:pt x="3" y="23"/>
                      <a:pt x="3" y="23"/>
                      <a:pt x="3" y="22"/>
                    </a:cubicBezTo>
                    <a:cubicBezTo>
                      <a:pt x="3" y="22"/>
                      <a:pt x="3" y="22"/>
                      <a:pt x="4" y="22"/>
                    </a:cubicBezTo>
                    <a:cubicBezTo>
                      <a:pt x="4" y="21"/>
                      <a:pt x="3" y="21"/>
                      <a:pt x="2" y="21"/>
                    </a:cubicBezTo>
                    <a:cubicBezTo>
                      <a:pt x="2" y="21"/>
                      <a:pt x="0" y="21"/>
                      <a:pt x="1" y="22"/>
                    </a:cubicBezTo>
                    <a:cubicBezTo>
                      <a:pt x="1" y="22"/>
                      <a:pt x="1" y="22"/>
                      <a:pt x="1" y="22"/>
                    </a:cubicBezTo>
                    <a:cubicBezTo>
                      <a:pt x="1" y="22"/>
                      <a:pt x="2" y="23"/>
                      <a:pt x="2" y="23"/>
                    </a:cubicBezTo>
                    <a:cubicBezTo>
                      <a:pt x="2" y="23"/>
                      <a:pt x="3" y="24"/>
                      <a:pt x="3" y="24"/>
                    </a:cubicBezTo>
                    <a:cubicBezTo>
                      <a:pt x="3" y="25"/>
                      <a:pt x="4" y="25"/>
                      <a:pt x="5" y="26"/>
                    </a:cubicBezTo>
                    <a:cubicBezTo>
                      <a:pt x="6" y="25"/>
                      <a:pt x="4" y="25"/>
                      <a:pt x="4" y="24"/>
                    </a:cubicBezTo>
                    <a:close/>
                    <a:moveTo>
                      <a:pt x="11" y="31"/>
                    </a:moveTo>
                    <a:cubicBezTo>
                      <a:pt x="11" y="31"/>
                      <a:pt x="11" y="31"/>
                      <a:pt x="11" y="31"/>
                    </a:cubicBezTo>
                    <a:cubicBezTo>
                      <a:pt x="11" y="31"/>
                      <a:pt x="11" y="31"/>
                      <a:pt x="11" y="31"/>
                    </a:cubicBezTo>
                    <a:close/>
                    <a:moveTo>
                      <a:pt x="9" y="34"/>
                    </a:moveTo>
                    <a:cubicBezTo>
                      <a:pt x="10" y="34"/>
                      <a:pt x="10" y="34"/>
                      <a:pt x="10" y="34"/>
                    </a:cubicBezTo>
                    <a:cubicBezTo>
                      <a:pt x="10" y="34"/>
                      <a:pt x="10" y="34"/>
                      <a:pt x="10" y="34"/>
                    </a:cubicBezTo>
                    <a:cubicBezTo>
                      <a:pt x="10" y="34"/>
                      <a:pt x="11" y="34"/>
                      <a:pt x="11" y="34"/>
                    </a:cubicBezTo>
                    <a:cubicBezTo>
                      <a:pt x="11" y="34"/>
                      <a:pt x="11" y="33"/>
                      <a:pt x="11" y="33"/>
                    </a:cubicBezTo>
                    <a:cubicBezTo>
                      <a:pt x="11" y="33"/>
                      <a:pt x="11" y="32"/>
                      <a:pt x="11" y="32"/>
                    </a:cubicBezTo>
                    <a:cubicBezTo>
                      <a:pt x="11" y="32"/>
                      <a:pt x="11" y="32"/>
                      <a:pt x="11" y="31"/>
                    </a:cubicBezTo>
                    <a:cubicBezTo>
                      <a:pt x="10" y="32"/>
                      <a:pt x="9" y="34"/>
                      <a:pt x="9" y="34"/>
                    </a:cubicBezTo>
                    <a:close/>
                    <a:moveTo>
                      <a:pt x="60" y="35"/>
                    </a:moveTo>
                    <a:cubicBezTo>
                      <a:pt x="59" y="35"/>
                      <a:pt x="59" y="34"/>
                      <a:pt x="59" y="34"/>
                    </a:cubicBezTo>
                    <a:cubicBezTo>
                      <a:pt x="58" y="34"/>
                      <a:pt x="58" y="34"/>
                      <a:pt x="58" y="34"/>
                    </a:cubicBezTo>
                    <a:cubicBezTo>
                      <a:pt x="57" y="34"/>
                      <a:pt x="58" y="35"/>
                      <a:pt x="58" y="36"/>
                    </a:cubicBezTo>
                    <a:cubicBezTo>
                      <a:pt x="58" y="36"/>
                      <a:pt x="59" y="37"/>
                      <a:pt x="58" y="37"/>
                    </a:cubicBezTo>
                    <a:cubicBezTo>
                      <a:pt x="58" y="38"/>
                      <a:pt x="58" y="37"/>
                      <a:pt x="58" y="38"/>
                    </a:cubicBezTo>
                    <a:cubicBezTo>
                      <a:pt x="57" y="38"/>
                      <a:pt x="59" y="39"/>
                      <a:pt x="59" y="39"/>
                    </a:cubicBezTo>
                    <a:cubicBezTo>
                      <a:pt x="59" y="39"/>
                      <a:pt x="60" y="38"/>
                      <a:pt x="60" y="38"/>
                    </a:cubicBezTo>
                    <a:cubicBezTo>
                      <a:pt x="60" y="38"/>
                      <a:pt x="60" y="38"/>
                      <a:pt x="60" y="37"/>
                    </a:cubicBezTo>
                    <a:cubicBezTo>
                      <a:pt x="60" y="37"/>
                      <a:pt x="60" y="36"/>
                      <a:pt x="60" y="35"/>
                    </a:cubicBezTo>
                    <a:cubicBezTo>
                      <a:pt x="60" y="35"/>
                      <a:pt x="60" y="34"/>
                      <a:pt x="60" y="35"/>
                    </a:cubicBezTo>
                    <a:close/>
                    <a:moveTo>
                      <a:pt x="12" y="40"/>
                    </a:moveTo>
                    <a:cubicBezTo>
                      <a:pt x="12" y="40"/>
                      <a:pt x="12" y="39"/>
                      <a:pt x="12" y="39"/>
                    </a:cubicBezTo>
                    <a:cubicBezTo>
                      <a:pt x="11" y="39"/>
                      <a:pt x="11" y="38"/>
                      <a:pt x="11" y="38"/>
                    </a:cubicBezTo>
                    <a:cubicBezTo>
                      <a:pt x="11" y="38"/>
                      <a:pt x="11" y="38"/>
                      <a:pt x="11" y="38"/>
                    </a:cubicBezTo>
                    <a:cubicBezTo>
                      <a:pt x="10" y="38"/>
                      <a:pt x="10" y="35"/>
                      <a:pt x="10" y="36"/>
                    </a:cubicBezTo>
                    <a:cubicBezTo>
                      <a:pt x="9" y="36"/>
                      <a:pt x="10" y="37"/>
                      <a:pt x="9" y="37"/>
                    </a:cubicBezTo>
                    <a:cubicBezTo>
                      <a:pt x="9" y="37"/>
                      <a:pt x="8" y="37"/>
                      <a:pt x="8" y="37"/>
                    </a:cubicBezTo>
                    <a:cubicBezTo>
                      <a:pt x="8" y="37"/>
                      <a:pt x="7" y="39"/>
                      <a:pt x="8" y="39"/>
                    </a:cubicBezTo>
                    <a:cubicBezTo>
                      <a:pt x="9" y="39"/>
                      <a:pt x="8" y="38"/>
                      <a:pt x="9" y="38"/>
                    </a:cubicBezTo>
                    <a:cubicBezTo>
                      <a:pt x="9" y="38"/>
                      <a:pt x="9" y="39"/>
                      <a:pt x="9" y="39"/>
                    </a:cubicBezTo>
                    <a:cubicBezTo>
                      <a:pt x="9" y="39"/>
                      <a:pt x="9" y="39"/>
                      <a:pt x="9" y="39"/>
                    </a:cubicBezTo>
                    <a:cubicBezTo>
                      <a:pt x="9" y="39"/>
                      <a:pt x="9" y="40"/>
                      <a:pt x="10" y="40"/>
                    </a:cubicBezTo>
                    <a:cubicBezTo>
                      <a:pt x="11" y="39"/>
                      <a:pt x="11" y="40"/>
                      <a:pt x="12" y="40"/>
                    </a:cubicBezTo>
                    <a:close/>
                    <a:moveTo>
                      <a:pt x="42" y="38"/>
                    </a:moveTo>
                    <a:cubicBezTo>
                      <a:pt x="42" y="38"/>
                      <a:pt x="42" y="38"/>
                      <a:pt x="42" y="38"/>
                    </a:cubicBezTo>
                    <a:cubicBezTo>
                      <a:pt x="43" y="39"/>
                      <a:pt x="43" y="39"/>
                      <a:pt x="43" y="40"/>
                    </a:cubicBezTo>
                    <a:cubicBezTo>
                      <a:pt x="43" y="40"/>
                      <a:pt x="44" y="40"/>
                      <a:pt x="44" y="40"/>
                    </a:cubicBezTo>
                    <a:cubicBezTo>
                      <a:pt x="44" y="41"/>
                      <a:pt x="44" y="41"/>
                      <a:pt x="44" y="41"/>
                    </a:cubicBezTo>
                    <a:cubicBezTo>
                      <a:pt x="45" y="40"/>
                      <a:pt x="45" y="41"/>
                      <a:pt x="46" y="41"/>
                    </a:cubicBezTo>
                    <a:cubicBezTo>
                      <a:pt x="46" y="41"/>
                      <a:pt x="47" y="39"/>
                      <a:pt x="46" y="39"/>
                    </a:cubicBezTo>
                    <a:cubicBezTo>
                      <a:pt x="45" y="39"/>
                      <a:pt x="43" y="39"/>
                      <a:pt x="43" y="38"/>
                    </a:cubicBezTo>
                    <a:cubicBezTo>
                      <a:pt x="43" y="38"/>
                      <a:pt x="43" y="37"/>
                      <a:pt x="42" y="36"/>
                    </a:cubicBezTo>
                    <a:cubicBezTo>
                      <a:pt x="42" y="36"/>
                      <a:pt x="43" y="35"/>
                      <a:pt x="43" y="35"/>
                    </a:cubicBezTo>
                    <a:cubicBezTo>
                      <a:pt x="43" y="35"/>
                      <a:pt x="41" y="34"/>
                      <a:pt x="42" y="34"/>
                    </a:cubicBezTo>
                    <a:cubicBezTo>
                      <a:pt x="41" y="33"/>
                      <a:pt x="39" y="34"/>
                      <a:pt x="38" y="32"/>
                    </a:cubicBezTo>
                    <a:cubicBezTo>
                      <a:pt x="38" y="32"/>
                      <a:pt x="38" y="32"/>
                      <a:pt x="37" y="32"/>
                    </a:cubicBezTo>
                    <a:cubicBezTo>
                      <a:pt x="37" y="32"/>
                      <a:pt x="37" y="32"/>
                      <a:pt x="37" y="32"/>
                    </a:cubicBezTo>
                    <a:cubicBezTo>
                      <a:pt x="36" y="32"/>
                      <a:pt x="36" y="32"/>
                      <a:pt x="36" y="31"/>
                    </a:cubicBezTo>
                    <a:cubicBezTo>
                      <a:pt x="35" y="31"/>
                      <a:pt x="35" y="30"/>
                      <a:pt x="34" y="30"/>
                    </a:cubicBezTo>
                    <a:cubicBezTo>
                      <a:pt x="34" y="29"/>
                      <a:pt x="33" y="30"/>
                      <a:pt x="33" y="30"/>
                    </a:cubicBezTo>
                    <a:cubicBezTo>
                      <a:pt x="32" y="30"/>
                      <a:pt x="32" y="30"/>
                      <a:pt x="32" y="30"/>
                    </a:cubicBezTo>
                    <a:cubicBezTo>
                      <a:pt x="32" y="31"/>
                      <a:pt x="32" y="31"/>
                      <a:pt x="31" y="31"/>
                    </a:cubicBezTo>
                    <a:cubicBezTo>
                      <a:pt x="31" y="31"/>
                      <a:pt x="30" y="31"/>
                      <a:pt x="30" y="31"/>
                    </a:cubicBezTo>
                    <a:cubicBezTo>
                      <a:pt x="30" y="32"/>
                      <a:pt x="31" y="32"/>
                      <a:pt x="31" y="32"/>
                    </a:cubicBezTo>
                    <a:cubicBezTo>
                      <a:pt x="31" y="32"/>
                      <a:pt x="31" y="31"/>
                      <a:pt x="31" y="31"/>
                    </a:cubicBezTo>
                    <a:cubicBezTo>
                      <a:pt x="32" y="31"/>
                      <a:pt x="32" y="31"/>
                      <a:pt x="33" y="31"/>
                    </a:cubicBezTo>
                    <a:cubicBezTo>
                      <a:pt x="33" y="32"/>
                      <a:pt x="34" y="32"/>
                      <a:pt x="34" y="33"/>
                    </a:cubicBezTo>
                    <a:cubicBezTo>
                      <a:pt x="35" y="33"/>
                      <a:pt x="36" y="34"/>
                      <a:pt x="36" y="34"/>
                    </a:cubicBezTo>
                    <a:cubicBezTo>
                      <a:pt x="37" y="35"/>
                      <a:pt x="37" y="34"/>
                      <a:pt x="37" y="35"/>
                    </a:cubicBezTo>
                    <a:cubicBezTo>
                      <a:pt x="37" y="36"/>
                      <a:pt x="37" y="36"/>
                      <a:pt x="38" y="36"/>
                    </a:cubicBezTo>
                    <a:cubicBezTo>
                      <a:pt x="38" y="36"/>
                      <a:pt x="38" y="36"/>
                      <a:pt x="39" y="36"/>
                    </a:cubicBezTo>
                    <a:cubicBezTo>
                      <a:pt x="39" y="36"/>
                      <a:pt x="40" y="36"/>
                      <a:pt x="41" y="36"/>
                    </a:cubicBezTo>
                    <a:cubicBezTo>
                      <a:pt x="41" y="36"/>
                      <a:pt x="42" y="37"/>
                      <a:pt x="41" y="37"/>
                    </a:cubicBezTo>
                    <a:cubicBezTo>
                      <a:pt x="41" y="37"/>
                      <a:pt x="42" y="37"/>
                      <a:pt x="42" y="37"/>
                    </a:cubicBezTo>
                    <a:cubicBezTo>
                      <a:pt x="42" y="38"/>
                      <a:pt x="42" y="38"/>
                      <a:pt x="42" y="38"/>
                    </a:cubicBezTo>
                    <a:cubicBezTo>
                      <a:pt x="42" y="38"/>
                      <a:pt x="42" y="38"/>
                      <a:pt x="42" y="38"/>
                    </a:cubicBezTo>
                    <a:cubicBezTo>
                      <a:pt x="42" y="38"/>
                      <a:pt x="42" y="38"/>
                      <a:pt x="42" y="38"/>
                    </a:cubicBezTo>
                    <a:close/>
                    <a:moveTo>
                      <a:pt x="69" y="43"/>
                    </a:moveTo>
                    <a:cubicBezTo>
                      <a:pt x="69" y="43"/>
                      <a:pt x="68" y="43"/>
                      <a:pt x="68" y="43"/>
                    </a:cubicBezTo>
                    <a:cubicBezTo>
                      <a:pt x="68" y="43"/>
                      <a:pt x="68" y="43"/>
                      <a:pt x="68" y="43"/>
                    </a:cubicBezTo>
                    <a:cubicBezTo>
                      <a:pt x="67" y="43"/>
                      <a:pt x="67" y="43"/>
                      <a:pt x="66" y="43"/>
                    </a:cubicBezTo>
                    <a:cubicBezTo>
                      <a:pt x="65" y="43"/>
                      <a:pt x="64" y="43"/>
                      <a:pt x="64" y="44"/>
                    </a:cubicBezTo>
                    <a:cubicBezTo>
                      <a:pt x="64" y="44"/>
                      <a:pt x="65" y="44"/>
                      <a:pt x="65" y="44"/>
                    </a:cubicBezTo>
                    <a:cubicBezTo>
                      <a:pt x="66" y="44"/>
                      <a:pt x="66" y="45"/>
                      <a:pt x="67" y="45"/>
                    </a:cubicBezTo>
                    <a:cubicBezTo>
                      <a:pt x="67" y="45"/>
                      <a:pt x="68" y="44"/>
                      <a:pt x="69" y="44"/>
                    </a:cubicBezTo>
                    <a:cubicBezTo>
                      <a:pt x="69" y="44"/>
                      <a:pt x="68" y="43"/>
                      <a:pt x="69" y="43"/>
                    </a:cubicBezTo>
                    <a:close/>
                    <a:moveTo>
                      <a:pt x="80" y="58"/>
                    </a:moveTo>
                    <a:cubicBezTo>
                      <a:pt x="80" y="58"/>
                      <a:pt x="79" y="58"/>
                      <a:pt x="79" y="58"/>
                    </a:cubicBezTo>
                    <a:cubicBezTo>
                      <a:pt x="79" y="58"/>
                      <a:pt x="78" y="59"/>
                      <a:pt x="78" y="59"/>
                    </a:cubicBezTo>
                    <a:cubicBezTo>
                      <a:pt x="77" y="59"/>
                      <a:pt x="77" y="59"/>
                      <a:pt x="77" y="60"/>
                    </a:cubicBezTo>
                    <a:cubicBezTo>
                      <a:pt x="76" y="60"/>
                      <a:pt x="76" y="61"/>
                      <a:pt x="76" y="61"/>
                    </a:cubicBezTo>
                    <a:cubicBezTo>
                      <a:pt x="77" y="62"/>
                      <a:pt x="76" y="63"/>
                      <a:pt x="76" y="64"/>
                    </a:cubicBezTo>
                    <a:cubicBezTo>
                      <a:pt x="77" y="64"/>
                      <a:pt x="78" y="63"/>
                      <a:pt x="78" y="63"/>
                    </a:cubicBezTo>
                    <a:cubicBezTo>
                      <a:pt x="78" y="62"/>
                      <a:pt x="79" y="62"/>
                      <a:pt x="79" y="62"/>
                    </a:cubicBezTo>
                    <a:cubicBezTo>
                      <a:pt x="79" y="61"/>
                      <a:pt x="80" y="60"/>
                      <a:pt x="80" y="59"/>
                    </a:cubicBezTo>
                    <a:cubicBezTo>
                      <a:pt x="80" y="59"/>
                      <a:pt x="80" y="58"/>
                      <a:pt x="80" y="58"/>
                    </a:cubicBezTo>
                    <a:close/>
                    <a:moveTo>
                      <a:pt x="50" y="43"/>
                    </a:moveTo>
                    <a:cubicBezTo>
                      <a:pt x="50" y="43"/>
                      <a:pt x="50" y="43"/>
                      <a:pt x="50" y="42"/>
                    </a:cubicBezTo>
                    <a:cubicBezTo>
                      <a:pt x="50" y="42"/>
                      <a:pt x="50" y="42"/>
                      <a:pt x="49" y="42"/>
                    </a:cubicBezTo>
                    <a:cubicBezTo>
                      <a:pt x="49" y="42"/>
                      <a:pt x="49" y="42"/>
                      <a:pt x="48" y="41"/>
                    </a:cubicBezTo>
                    <a:cubicBezTo>
                      <a:pt x="48" y="41"/>
                      <a:pt x="48" y="41"/>
                      <a:pt x="47" y="41"/>
                    </a:cubicBezTo>
                    <a:cubicBezTo>
                      <a:pt x="47" y="41"/>
                      <a:pt x="47" y="42"/>
                      <a:pt x="48" y="42"/>
                    </a:cubicBezTo>
                    <a:cubicBezTo>
                      <a:pt x="48" y="42"/>
                      <a:pt x="49" y="44"/>
                      <a:pt x="50" y="44"/>
                    </a:cubicBezTo>
                    <a:cubicBezTo>
                      <a:pt x="50" y="44"/>
                      <a:pt x="50" y="44"/>
                      <a:pt x="50" y="43"/>
                    </a:cubicBezTo>
                    <a:cubicBezTo>
                      <a:pt x="50" y="43"/>
                      <a:pt x="50" y="43"/>
                      <a:pt x="50" y="43"/>
                    </a:cubicBezTo>
                    <a:close/>
                    <a:moveTo>
                      <a:pt x="64" y="70"/>
                    </a:moveTo>
                    <a:cubicBezTo>
                      <a:pt x="63" y="70"/>
                      <a:pt x="63" y="71"/>
                      <a:pt x="62" y="71"/>
                    </a:cubicBezTo>
                    <a:cubicBezTo>
                      <a:pt x="61" y="71"/>
                      <a:pt x="61" y="71"/>
                      <a:pt x="60" y="72"/>
                    </a:cubicBezTo>
                    <a:cubicBezTo>
                      <a:pt x="60" y="72"/>
                      <a:pt x="59" y="73"/>
                      <a:pt x="59" y="72"/>
                    </a:cubicBezTo>
                    <a:cubicBezTo>
                      <a:pt x="58" y="72"/>
                      <a:pt x="59" y="71"/>
                      <a:pt x="58" y="71"/>
                    </a:cubicBezTo>
                    <a:cubicBezTo>
                      <a:pt x="58" y="71"/>
                      <a:pt x="58" y="70"/>
                      <a:pt x="59" y="70"/>
                    </a:cubicBezTo>
                    <a:cubicBezTo>
                      <a:pt x="59" y="70"/>
                      <a:pt x="58" y="70"/>
                      <a:pt x="58" y="70"/>
                    </a:cubicBezTo>
                    <a:cubicBezTo>
                      <a:pt x="57" y="70"/>
                      <a:pt x="57" y="70"/>
                      <a:pt x="56" y="70"/>
                    </a:cubicBezTo>
                    <a:cubicBezTo>
                      <a:pt x="55" y="70"/>
                      <a:pt x="55" y="70"/>
                      <a:pt x="54" y="70"/>
                    </a:cubicBezTo>
                    <a:cubicBezTo>
                      <a:pt x="54" y="70"/>
                      <a:pt x="53" y="70"/>
                      <a:pt x="53" y="70"/>
                    </a:cubicBezTo>
                    <a:cubicBezTo>
                      <a:pt x="52" y="70"/>
                      <a:pt x="52" y="69"/>
                      <a:pt x="51" y="69"/>
                    </a:cubicBezTo>
                    <a:cubicBezTo>
                      <a:pt x="50" y="69"/>
                      <a:pt x="49" y="69"/>
                      <a:pt x="48" y="69"/>
                    </a:cubicBezTo>
                    <a:cubicBezTo>
                      <a:pt x="47" y="70"/>
                      <a:pt x="46" y="70"/>
                      <a:pt x="45" y="70"/>
                    </a:cubicBezTo>
                    <a:cubicBezTo>
                      <a:pt x="45" y="70"/>
                      <a:pt x="45" y="70"/>
                      <a:pt x="45" y="69"/>
                    </a:cubicBezTo>
                    <a:cubicBezTo>
                      <a:pt x="45" y="69"/>
                      <a:pt x="45" y="68"/>
                      <a:pt x="44" y="69"/>
                    </a:cubicBezTo>
                    <a:cubicBezTo>
                      <a:pt x="44" y="69"/>
                      <a:pt x="43" y="69"/>
                      <a:pt x="43" y="68"/>
                    </a:cubicBezTo>
                    <a:cubicBezTo>
                      <a:pt x="43" y="68"/>
                      <a:pt x="44" y="68"/>
                      <a:pt x="44" y="68"/>
                    </a:cubicBezTo>
                    <a:cubicBezTo>
                      <a:pt x="44" y="68"/>
                      <a:pt x="44" y="67"/>
                      <a:pt x="44" y="67"/>
                    </a:cubicBezTo>
                    <a:cubicBezTo>
                      <a:pt x="43" y="67"/>
                      <a:pt x="43" y="67"/>
                      <a:pt x="43" y="68"/>
                    </a:cubicBezTo>
                    <a:cubicBezTo>
                      <a:pt x="43" y="68"/>
                      <a:pt x="42" y="68"/>
                      <a:pt x="42" y="68"/>
                    </a:cubicBezTo>
                    <a:cubicBezTo>
                      <a:pt x="42" y="68"/>
                      <a:pt x="41" y="68"/>
                      <a:pt x="41" y="68"/>
                    </a:cubicBezTo>
                    <a:cubicBezTo>
                      <a:pt x="40" y="68"/>
                      <a:pt x="40" y="67"/>
                      <a:pt x="40" y="66"/>
                    </a:cubicBezTo>
                    <a:cubicBezTo>
                      <a:pt x="40" y="66"/>
                      <a:pt x="40" y="67"/>
                      <a:pt x="40" y="67"/>
                    </a:cubicBezTo>
                    <a:cubicBezTo>
                      <a:pt x="40" y="67"/>
                      <a:pt x="40" y="68"/>
                      <a:pt x="40" y="68"/>
                    </a:cubicBezTo>
                    <a:cubicBezTo>
                      <a:pt x="39" y="69"/>
                      <a:pt x="39" y="67"/>
                      <a:pt x="39" y="67"/>
                    </a:cubicBezTo>
                    <a:cubicBezTo>
                      <a:pt x="38" y="67"/>
                      <a:pt x="39" y="70"/>
                      <a:pt x="38" y="70"/>
                    </a:cubicBezTo>
                    <a:cubicBezTo>
                      <a:pt x="38" y="71"/>
                      <a:pt x="40" y="71"/>
                      <a:pt x="41" y="71"/>
                    </a:cubicBezTo>
                    <a:cubicBezTo>
                      <a:pt x="41" y="71"/>
                      <a:pt x="42" y="71"/>
                      <a:pt x="43" y="71"/>
                    </a:cubicBezTo>
                    <a:cubicBezTo>
                      <a:pt x="43" y="72"/>
                      <a:pt x="44" y="71"/>
                      <a:pt x="44" y="72"/>
                    </a:cubicBezTo>
                    <a:cubicBezTo>
                      <a:pt x="45" y="72"/>
                      <a:pt x="46" y="71"/>
                      <a:pt x="46" y="72"/>
                    </a:cubicBezTo>
                    <a:cubicBezTo>
                      <a:pt x="47" y="72"/>
                      <a:pt x="48" y="72"/>
                      <a:pt x="48" y="73"/>
                    </a:cubicBezTo>
                    <a:cubicBezTo>
                      <a:pt x="49" y="73"/>
                      <a:pt x="49" y="72"/>
                      <a:pt x="49" y="73"/>
                    </a:cubicBezTo>
                    <a:cubicBezTo>
                      <a:pt x="50" y="73"/>
                      <a:pt x="50" y="74"/>
                      <a:pt x="49" y="74"/>
                    </a:cubicBezTo>
                    <a:cubicBezTo>
                      <a:pt x="50" y="75"/>
                      <a:pt x="51" y="74"/>
                      <a:pt x="51" y="74"/>
                    </a:cubicBezTo>
                    <a:cubicBezTo>
                      <a:pt x="52" y="74"/>
                      <a:pt x="53" y="74"/>
                      <a:pt x="53" y="74"/>
                    </a:cubicBezTo>
                    <a:cubicBezTo>
                      <a:pt x="54" y="74"/>
                      <a:pt x="55" y="74"/>
                      <a:pt x="56" y="74"/>
                    </a:cubicBezTo>
                    <a:cubicBezTo>
                      <a:pt x="57" y="74"/>
                      <a:pt x="57" y="74"/>
                      <a:pt x="58" y="74"/>
                    </a:cubicBezTo>
                    <a:cubicBezTo>
                      <a:pt x="59" y="73"/>
                      <a:pt x="60" y="73"/>
                      <a:pt x="62" y="74"/>
                    </a:cubicBezTo>
                    <a:cubicBezTo>
                      <a:pt x="63" y="74"/>
                      <a:pt x="63" y="72"/>
                      <a:pt x="64" y="72"/>
                    </a:cubicBezTo>
                    <a:cubicBezTo>
                      <a:pt x="63" y="72"/>
                      <a:pt x="64" y="70"/>
                      <a:pt x="64" y="70"/>
                    </a:cubicBezTo>
                    <a:close/>
                    <a:moveTo>
                      <a:pt x="36" y="43"/>
                    </a:moveTo>
                    <a:cubicBezTo>
                      <a:pt x="36" y="43"/>
                      <a:pt x="36" y="44"/>
                      <a:pt x="36" y="44"/>
                    </a:cubicBezTo>
                    <a:cubicBezTo>
                      <a:pt x="37" y="44"/>
                      <a:pt x="37" y="44"/>
                      <a:pt x="37" y="43"/>
                    </a:cubicBezTo>
                    <a:cubicBezTo>
                      <a:pt x="37" y="43"/>
                      <a:pt x="36" y="43"/>
                      <a:pt x="36" y="43"/>
                    </a:cubicBezTo>
                    <a:close/>
                    <a:moveTo>
                      <a:pt x="45" y="47"/>
                    </a:moveTo>
                    <a:cubicBezTo>
                      <a:pt x="45" y="48"/>
                      <a:pt x="45" y="48"/>
                      <a:pt x="45" y="48"/>
                    </a:cubicBezTo>
                    <a:cubicBezTo>
                      <a:pt x="45" y="49"/>
                      <a:pt x="45" y="47"/>
                      <a:pt x="46" y="47"/>
                    </a:cubicBezTo>
                    <a:cubicBezTo>
                      <a:pt x="46" y="47"/>
                      <a:pt x="45" y="47"/>
                      <a:pt x="45" y="46"/>
                    </a:cubicBezTo>
                    <a:cubicBezTo>
                      <a:pt x="45" y="46"/>
                      <a:pt x="45" y="47"/>
                      <a:pt x="45" y="47"/>
                    </a:cubicBezTo>
                    <a:cubicBezTo>
                      <a:pt x="45" y="47"/>
                      <a:pt x="45" y="47"/>
                      <a:pt x="45" y="47"/>
                    </a:cubicBezTo>
                    <a:close/>
                    <a:moveTo>
                      <a:pt x="13" y="43"/>
                    </a:moveTo>
                    <a:cubicBezTo>
                      <a:pt x="12" y="42"/>
                      <a:pt x="12" y="43"/>
                      <a:pt x="12" y="42"/>
                    </a:cubicBezTo>
                    <a:cubicBezTo>
                      <a:pt x="11" y="42"/>
                      <a:pt x="11" y="42"/>
                      <a:pt x="11" y="42"/>
                    </a:cubicBezTo>
                    <a:cubicBezTo>
                      <a:pt x="10" y="42"/>
                      <a:pt x="11" y="43"/>
                      <a:pt x="11" y="43"/>
                    </a:cubicBezTo>
                    <a:cubicBezTo>
                      <a:pt x="11" y="44"/>
                      <a:pt x="12" y="44"/>
                      <a:pt x="13" y="45"/>
                    </a:cubicBezTo>
                    <a:cubicBezTo>
                      <a:pt x="13" y="44"/>
                      <a:pt x="13" y="44"/>
                      <a:pt x="13" y="44"/>
                    </a:cubicBezTo>
                    <a:cubicBezTo>
                      <a:pt x="13" y="44"/>
                      <a:pt x="14" y="44"/>
                      <a:pt x="14" y="44"/>
                    </a:cubicBezTo>
                    <a:cubicBezTo>
                      <a:pt x="14" y="44"/>
                      <a:pt x="13" y="43"/>
                      <a:pt x="13" y="43"/>
                    </a:cubicBezTo>
                    <a:close/>
                    <a:moveTo>
                      <a:pt x="45" y="44"/>
                    </a:moveTo>
                    <a:cubicBezTo>
                      <a:pt x="44" y="44"/>
                      <a:pt x="44" y="45"/>
                      <a:pt x="44" y="46"/>
                    </a:cubicBezTo>
                    <a:cubicBezTo>
                      <a:pt x="44" y="46"/>
                      <a:pt x="45" y="45"/>
                      <a:pt x="45" y="44"/>
                    </a:cubicBezTo>
                    <a:close/>
                    <a:moveTo>
                      <a:pt x="72" y="65"/>
                    </a:moveTo>
                    <a:cubicBezTo>
                      <a:pt x="72" y="64"/>
                      <a:pt x="71" y="65"/>
                      <a:pt x="71" y="65"/>
                    </a:cubicBezTo>
                    <a:cubicBezTo>
                      <a:pt x="71" y="66"/>
                      <a:pt x="71" y="66"/>
                      <a:pt x="71" y="66"/>
                    </a:cubicBezTo>
                    <a:cubicBezTo>
                      <a:pt x="70" y="67"/>
                      <a:pt x="71" y="67"/>
                      <a:pt x="71" y="68"/>
                    </a:cubicBezTo>
                    <a:cubicBezTo>
                      <a:pt x="71" y="68"/>
                      <a:pt x="71" y="68"/>
                      <a:pt x="71" y="69"/>
                    </a:cubicBezTo>
                    <a:cubicBezTo>
                      <a:pt x="71" y="69"/>
                      <a:pt x="71" y="69"/>
                      <a:pt x="71" y="69"/>
                    </a:cubicBezTo>
                    <a:cubicBezTo>
                      <a:pt x="72" y="69"/>
                      <a:pt x="71" y="69"/>
                      <a:pt x="71" y="69"/>
                    </a:cubicBezTo>
                    <a:cubicBezTo>
                      <a:pt x="72" y="68"/>
                      <a:pt x="72" y="68"/>
                      <a:pt x="72" y="68"/>
                    </a:cubicBezTo>
                    <a:cubicBezTo>
                      <a:pt x="72" y="68"/>
                      <a:pt x="71" y="67"/>
                      <a:pt x="71" y="67"/>
                    </a:cubicBezTo>
                    <a:cubicBezTo>
                      <a:pt x="71" y="66"/>
                      <a:pt x="72" y="66"/>
                      <a:pt x="72" y="65"/>
                    </a:cubicBezTo>
                    <a:close/>
                    <a:moveTo>
                      <a:pt x="47" y="55"/>
                    </a:moveTo>
                    <a:cubicBezTo>
                      <a:pt x="47" y="54"/>
                      <a:pt x="46" y="55"/>
                      <a:pt x="46" y="54"/>
                    </a:cubicBezTo>
                    <a:cubicBezTo>
                      <a:pt x="45" y="54"/>
                      <a:pt x="46" y="55"/>
                      <a:pt x="45" y="55"/>
                    </a:cubicBezTo>
                    <a:cubicBezTo>
                      <a:pt x="45" y="55"/>
                      <a:pt x="45" y="54"/>
                      <a:pt x="45" y="55"/>
                    </a:cubicBezTo>
                    <a:cubicBezTo>
                      <a:pt x="45" y="55"/>
                      <a:pt x="45" y="55"/>
                      <a:pt x="45" y="55"/>
                    </a:cubicBezTo>
                    <a:cubicBezTo>
                      <a:pt x="45" y="55"/>
                      <a:pt x="47" y="56"/>
                      <a:pt x="47" y="55"/>
                    </a:cubicBezTo>
                    <a:close/>
                    <a:moveTo>
                      <a:pt x="45" y="10"/>
                    </a:moveTo>
                    <a:cubicBezTo>
                      <a:pt x="44" y="10"/>
                      <a:pt x="43" y="12"/>
                      <a:pt x="44" y="12"/>
                    </a:cubicBezTo>
                    <a:cubicBezTo>
                      <a:pt x="45" y="12"/>
                      <a:pt x="45" y="12"/>
                      <a:pt x="45" y="12"/>
                    </a:cubicBezTo>
                    <a:cubicBezTo>
                      <a:pt x="45" y="13"/>
                      <a:pt x="46" y="12"/>
                      <a:pt x="46" y="12"/>
                    </a:cubicBezTo>
                    <a:cubicBezTo>
                      <a:pt x="47" y="12"/>
                      <a:pt x="46" y="10"/>
                      <a:pt x="45" y="10"/>
                    </a:cubicBezTo>
                    <a:close/>
                    <a:moveTo>
                      <a:pt x="32" y="60"/>
                    </a:moveTo>
                    <a:cubicBezTo>
                      <a:pt x="32" y="60"/>
                      <a:pt x="32" y="61"/>
                      <a:pt x="33" y="61"/>
                    </a:cubicBezTo>
                    <a:cubicBezTo>
                      <a:pt x="34" y="61"/>
                      <a:pt x="33" y="60"/>
                      <a:pt x="34" y="60"/>
                    </a:cubicBezTo>
                    <a:cubicBezTo>
                      <a:pt x="34" y="60"/>
                      <a:pt x="32" y="59"/>
                      <a:pt x="32" y="58"/>
                    </a:cubicBezTo>
                    <a:cubicBezTo>
                      <a:pt x="32" y="58"/>
                      <a:pt x="32" y="60"/>
                      <a:pt x="32" y="60"/>
                    </a:cubicBezTo>
                    <a:close/>
                    <a:moveTo>
                      <a:pt x="69" y="52"/>
                    </a:moveTo>
                    <a:cubicBezTo>
                      <a:pt x="69" y="52"/>
                      <a:pt x="69" y="52"/>
                      <a:pt x="69" y="52"/>
                    </a:cubicBezTo>
                    <a:cubicBezTo>
                      <a:pt x="69" y="52"/>
                      <a:pt x="69" y="52"/>
                      <a:pt x="69" y="52"/>
                    </a:cubicBezTo>
                    <a:cubicBezTo>
                      <a:pt x="69" y="52"/>
                      <a:pt x="69" y="52"/>
                      <a:pt x="69" y="51"/>
                    </a:cubicBezTo>
                    <a:cubicBezTo>
                      <a:pt x="68" y="51"/>
                      <a:pt x="68" y="51"/>
                      <a:pt x="68" y="51"/>
                    </a:cubicBezTo>
                    <a:cubicBezTo>
                      <a:pt x="68" y="51"/>
                      <a:pt x="68" y="51"/>
                      <a:pt x="68" y="52"/>
                    </a:cubicBezTo>
                    <a:cubicBezTo>
                      <a:pt x="68" y="52"/>
                      <a:pt x="68" y="52"/>
                      <a:pt x="69" y="52"/>
                    </a:cubicBezTo>
                    <a:close/>
                    <a:moveTo>
                      <a:pt x="54" y="47"/>
                    </a:moveTo>
                    <a:cubicBezTo>
                      <a:pt x="54" y="46"/>
                      <a:pt x="53" y="47"/>
                      <a:pt x="54" y="47"/>
                    </a:cubicBezTo>
                    <a:cubicBezTo>
                      <a:pt x="54" y="47"/>
                      <a:pt x="54" y="47"/>
                      <a:pt x="54" y="47"/>
                    </a:cubicBezTo>
                    <a:cubicBezTo>
                      <a:pt x="55" y="46"/>
                      <a:pt x="54" y="46"/>
                      <a:pt x="54" y="47"/>
                    </a:cubicBezTo>
                    <a:close/>
                    <a:moveTo>
                      <a:pt x="70" y="53"/>
                    </a:moveTo>
                    <a:cubicBezTo>
                      <a:pt x="69" y="54"/>
                      <a:pt x="67" y="55"/>
                      <a:pt x="69" y="55"/>
                    </a:cubicBezTo>
                    <a:cubicBezTo>
                      <a:pt x="68" y="54"/>
                      <a:pt x="70" y="55"/>
                      <a:pt x="70" y="54"/>
                    </a:cubicBezTo>
                    <a:cubicBezTo>
                      <a:pt x="70" y="54"/>
                      <a:pt x="72" y="53"/>
                      <a:pt x="72" y="53"/>
                    </a:cubicBezTo>
                    <a:cubicBezTo>
                      <a:pt x="72" y="52"/>
                      <a:pt x="70" y="53"/>
                      <a:pt x="70" y="53"/>
                    </a:cubicBezTo>
                    <a:close/>
                    <a:moveTo>
                      <a:pt x="77" y="57"/>
                    </a:moveTo>
                    <a:cubicBezTo>
                      <a:pt x="77" y="57"/>
                      <a:pt x="77" y="56"/>
                      <a:pt x="77" y="56"/>
                    </a:cubicBezTo>
                    <a:cubicBezTo>
                      <a:pt x="76" y="56"/>
                      <a:pt x="77" y="56"/>
                      <a:pt x="77" y="56"/>
                    </a:cubicBezTo>
                    <a:cubicBezTo>
                      <a:pt x="76" y="55"/>
                      <a:pt x="76" y="56"/>
                      <a:pt x="76" y="56"/>
                    </a:cubicBezTo>
                    <a:cubicBezTo>
                      <a:pt x="76" y="56"/>
                      <a:pt x="77" y="57"/>
                      <a:pt x="77" y="57"/>
                    </a:cubicBezTo>
                    <a:close/>
                    <a:moveTo>
                      <a:pt x="39" y="43"/>
                    </a:moveTo>
                    <a:cubicBezTo>
                      <a:pt x="39" y="43"/>
                      <a:pt x="39" y="43"/>
                      <a:pt x="40" y="43"/>
                    </a:cubicBezTo>
                    <a:cubicBezTo>
                      <a:pt x="40" y="43"/>
                      <a:pt x="40" y="43"/>
                      <a:pt x="40" y="44"/>
                    </a:cubicBezTo>
                    <a:cubicBezTo>
                      <a:pt x="41" y="44"/>
                      <a:pt x="42" y="45"/>
                      <a:pt x="42" y="44"/>
                    </a:cubicBezTo>
                    <a:cubicBezTo>
                      <a:pt x="42" y="43"/>
                      <a:pt x="40" y="39"/>
                      <a:pt x="41" y="39"/>
                    </a:cubicBezTo>
                    <a:cubicBezTo>
                      <a:pt x="42" y="39"/>
                      <a:pt x="41" y="38"/>
                      <a:pt x="41" y="38"/>
                    </a:cubicBezTo>
                    <a:cubicBezTo>
                      <a:pt x="40" y="37"/>
                      <a:pt x="39" y="37"/>
                      <a:pt x="39" y="37"/>
                    </a:cubicBezTo>
                    <a:cubicBezTo>
                      <a:pt x="38" y="37"/>
                      <a:pt x="37" y="37"/>
                      <a:pt x="37" y="36"/>
                    </a:cubicBezTo>
                    <a:cubicBezTo>
                      <a:pt x="37" y="35"/>
                      <a:pt x="37" y="35"/>
                      <a:pt x="36" y="35"/>
                    </a:cubicBezTo>
                    <a:cubicBezTo>
                      <a:pt x="36" y="35"/>
                      <a:pt x="35" y="35"/>
                      <a:pt x="35" y="35"/>
                    </a:cubicBezTo>
                    <a:cubicBezTo>
                      <a:pt x="35" y="35"/>
                      <a:pt x="35" y="35"/>
                      <a:pt x="35" y="35"/>
                    </a:cubicBezTo>
                    <a:cubicBezTo>
                      <a:pt x="35" y="35"/>
                      <a:pt x="34" y="34"/>
                      <a:pt x="34" y="35"/>
                    </a:cubicBezTo>
                    <a:cubicBezTo>
                      <a:pt x="34" y="34"/>
                      <a:pt x="35" y="34"/>
                      <a:pt x="34" y="34"/>
                    </a:cubicBezTo>
                    <a:cubicBezTo>
                      <a:pt x="34" y="33"/>
                      <a:pt x="33" y="33"/>
                      <a:pt x="33" y="33"/>
                    </a:cubicBezTo>
                    <a:cubicBezTo>
                      <a:pt x="33" y="34"/>
                      <a:pt x="33" y="34"/>
                      <a:pt x="33" y="34"/>
                    </a:cubicBezTo>
                    <a:cubicBezTo>
                      <a:pt x="32" y="34"/>
                      <a:pt x="32" y="33"/>
                      <a:pt x="32" y="33"/>
                    </a:cubicBezTo>
                    <a:cubicBezTo>
                      <a:pt x="32" y="32"/>
                      <a:pt x="31" y="32"/>
                      <a:pt x="31" y="32"/>
                    </a:cubicBezTo>
                    <a:cubicBezTo>
                      <a:pt x="30" y="32"/>
                      <a:pt x="30" y="32"/>
                      <a:pt x="30" y="32"/>
                    </a:cubicBezTo>
                    <a:cubicBezTo>
                      <a:pt x="30" y="32"/>
                      <a:pt x="30" y="32"/>
                      <a:pt x="30" y="32"/>
                    </a:cubicBezTo>
                    <a:cubicBezTo>
                      <a:pt x="30" y="32"/>
                      <a:pt x="29" y="32"/>
                      <a:pt x="29" y="32"/>
                    </a:cubicBezTo>
                    <a:cubicBezTo>
                      <a:pt x="29" y="31"/>
                      <a:pt x="28" y="32"/>
                      <a:pt x="28" y="32"/>
                    </a:cubicBezTo>
                    <a:cubicBezTo>
                      <a:pt x="28" y="32"/>
                      <a:pt x="27" y="31"/>
                      <a:pt x="27" y="31"/>
                    </a:cubicBezTo>
                    <a:cubicBezTo>
                      <a:pt x="27" y="30"/>
                      <a:pt x="28" y="31"/>
                      <a:pt x="29" y="31"/>
                    </a:cubicBezTo>
                    <a:cubicBezTo>
                      <a:pt x="29" y="31"/>
                      <a:pt x="29" y="31"/>
                      <a:pt x="30" y="31"/>
                    </a:cubicBezTo>
                    <a:cubicBezTo>
                      <a:pt x="30" y="31"/>
                      <a:pt x="30" y="31"/>
                      <a:pt x="30" y="31"/>
                    </a:cubicBezTo>
                    <a:cubicBezTo>
                      <a:pt x="30" y="30"/>
                      <a:pt x="31" y="31"/>
                      <a:pt x="31" y="30"/>
                    </a:cubicBezTo>
                    <a:cubicBezTo>
                      <a:pt x="31" y="30"/>
                      <a:pt x="32" y="30"/>
                      <a:pt x="32" y="29"/>
                    </a:cubicBezTo>
                    <a:cubicBezTo>
                      <a:pt x="32" y="29"/>
                      <a:pt x="31" y="30"/>
                      <a:pt x="31" y="30"/>
                    </a:cubicBezTo>
                    <a:cubicBezTo>
                      <a:pt x="31" y="29"/>
                      <a:pt x="31" y="28"/>
                      <a:pt x="31" y="28"/>
                    </a:cubicBezTo>
                    <a:cubicBezTo>
                      <a:pt x="31" y="29"/>
                      <a:pt x="30" y="28"/>
                      <a:pt x="30" y="28"/>
                    </a:cubicBezTo>
                    <a:cubicBezTo>
                      <a:pt x="30" y="28"/>
                      <a:pt x="30" y="28"/>
                      <a:pt x="30" y="28"/>
                    </a:cubicBezTo>
                    <a:cubicBezTo>
                      <a:pt x="30" y="28"/>
                      <a:pt x="30" y="28"/>
                      <a:pt x="30" y="27"/>
                    </a:cubicBezTo>
                    <a:cubicBezTo>
                      <a:pt x="29" y="27"/>
                      <a:pt x="30" y="27"/>
                      <a:pt x="31" y="27"/>
                    </a:cubicBezTo>
                    <a:cubicBezTo>
                      <a:pt x="30" y="26"/>
                      <a:pt x="31" y="26"/>
                      <a:pt x="32" y="26"/>
                    </a:cubicBezTo>
                    <a:cubicBezTo>
                      <a:pt x="32" y="26"/>
                      <a:pt x="33" y="27"/>
                      <a:pt x="33" y="28"/>
                    </a:cubicBezTo>
                    <a:cubicBezTo>
                      <a:pt x="33" y="28"/>
                      <a:pt x="32" y="29"/>
                      <a:pt x="32" y="29"/>
                    </a:cubicBezTo>
                    <a:cubicBezTo>
                      <a:pt x="33" y="28"/>
                      <a:pt x="32" y="29"/>
                      <a:pt x="32" y="29"/>
                    </a:cubicBezTo>
                    <a:cubicBezTo>
                      <a:pt x="32" y="29"/>
                      <a:pt x="33" y="29"/>
                      <a:pt x="33" y="28"/>
                    </a:cubicBezTo>
                    <a:cubicBezTo>
                      <a:pt x="33" y="28"/>
                      <a:pt x="34" y="28"/>
                      <a:pt x="34" y="28"/>
                    </a:cubicBezTo>
                    <a:cubicBezTo>
                      <a:pt x="35" y="27"/>
                      <a:pt x="33" y="25"/>
                      <a:pt x="33" y="25"/>
                    </a:cubicBezTo>
                    <a:cubicBezTo>
                      <a:pt x="32" y="24"/>
                      <a:pt x="30" y="24"/>
                      <a:pt x="30" y="22"/>
                    </a:cubicBezTo>
                    <a:cubicBezTo>
                      <a:pt x="30" y="21"/>
                      <a:pt x="29" y="20"/>
                      <a:pt x="28" y="19"/>
                    </a:cubicBezTo>
                    <a:cubicBezTo>
                      <a:pt x="27" y="18"/>
                      <a:pt x="26" y="17"/>
                      <a:pt x="27" y="16"/>
                    </a:cubicBezTo>
                    <a:cubicBezTo>
                      <a:pt x="27" y="15"/>
                      <a:pt x="28" y="15"/>
                      <a:pt x="27" y="15"/>
                    </a:cubicBezTo>
                    <a:cubicBezTo>
                      <a:pt x="27" y="14"/>
                      <a:pt x="27" y="14"/>
                      <a:pt x="27" y="14"/>
                    </a:cubicBezTo>
                    <a:cubicBezTo>
                      <a:pt x="28" y="14"/>
                      <a:pt x="27" y="13"/>
                      <a:pt x="27" y="13"/>
                    </a:cubicBezTo>
                    <a:cubicBezTo>
                      <a:pt x="28" y="13"/>
                      <a:pt x="28" y="13"/>
                      <a:pt x="28" y="13"/>
                    </a:cubicBezTo>
                    <a:cubicBezTo>
                      <a:pt x="28" y="12"/>
                      <a:pt x="29" y="13"/>
                      <a:pt x="29" y="12"/>
                    </a:cubicBezTo>
                    <a:cubicBezTo>
                      <a:pt x="29" y="11"/>
                      <a:pt x="30" y="12"/>
                      <a:pt x="30" y="13"/>
                    </a:cubicBezTo>
                    <a:cubicBezTo>
                      <a:pt x="30" y="14"/>
                      <a:pt x="29" y="13"/>
                      <a:pt x="29" y="13"/>
                    </a:cubicBezTo>
                    <a:cubicBezTo>
                      <a:pt x="29" y="14"/>
                      <a:pt x="30" y="14"/>
                      <a:pt x="30" y="15"/>
                    </a:cubicBezTo>
                    <a:cubicBezTo>
                      <a:pt x="30" y="14"/>
                      <a:pt x="31" y="15"/>
                      <a:pt x="31" y="16"/>
                    </a:cubicBezTo>
                    <a:cubicBezTo>
                      <a:pt x="32" y="16"/>
                      <a:pt x="33" y="16"/>
                      <a:pt x="33" y="16"/>
                    </a:cubicBezTo>
                    <a:cubicBezTo>
                      <a:pt x="34" y="17"/>
                      <a:pt x="34" y="17"/>
                      <a:pt x="34" y="18"/>
                    </a:cubicBezTo>
                    <a:cubicBezTo>
                      <a:pt x="34" y="18"/>
                      <a:pt x="34" y="19"/>
                      <a:pt x="34" y="19"/>
                    </a:cubicBezTo>
                    <a:cubicBezTo>
                      <a:pt x="34" y="19"/>
                      <a:pt x="35" y="19"/>
                      <a:pt x="36" y="19"/>
                    </a:cubicBezTo>
                    <a:cubicBezTo>
                      <a:pt x="36" y="20"/>
                      <a:pt x="37" y="20"/>
                      <a:pt x="37" y="20"/>
                    </a:cubicBezTo>
                    <a:cubicBezTo>
                      <a:pt x="37" y="19"/>
                      <a:pt x="36" y="19"/>
                      <a:pt x="35" y="18"/>
                    </a:cubicBezTo>
                    <a:cubicBezTo>
                      <a:pt x="35" y="18"/>
                      <a:pt x="34" y="17"/>
                      <a:pt x="34" y="17"/>
                    </a:cubicBezTo>
                    <a:cubicBezTo>
                      <a:pt x="33" y="16"/>
                      <a:pt x="34" y="16"/>
                      <a:pt x="34" y="16"/>
                    </a:cubicBezTo>
                    <a:cubicBezTo>
                      <a:pt x="36" y="16"/>
                      <a:pt x="37" y="16"/>
                      <a:pt x="37" y="17"/>
                    </a:cubicBezTo>
                    <a:cubicBezTo>
                      <a:pt x="38" y="18"/>
                      <a:pt x="38" y="18"/>
                      <a:pt x="38" y="19"/>
                    </a:cubicBezTo>
                    <a:cubicBezTo>
                      <a:pt x="38" y="19"/>
                      <a:pt x="38" y="19"/>
                      <a:pt x="39" y="19"/>
                    </a:cubicBezTo>
                    <a:cubicBezTo>
                      <a:pt x="39" y="19"/>
                      <a:pt x="39" y="20"/>
                      <a:pt x="40" y="19"/>
                    </a:cubicBezTo>
                    <a:cubicBezTo>
                      <a:pt x="39" y="19"/>
                      <a:pt x="40" y="19"/>
                      <a:pt x="40" y="19"/>
                    </a:cubicBezTo>
                    <a:cubicBezTo>
                      <a:pt x="40" y="18"/>
                      <a:pt x="40" y="19"/>
                      <a:pt x="40" y="18"/>
                    </a:cubicBezTo>
                    <a:cubicBezTo>
                      <a:pt x="40" y="18"/>
                      <a:pt x="40" y="18"/>
                      <a:pt x="40" y="18"/>
                    </a:cubicBezTo>
                    <a:cubicBezTo>
                      <a:pt x="40" y="17"/>
                      <a:pt x="39" y="17"/>
                      <a:pt x="39" y="17"/>
                    </a:cubicBezTo>
                    <a:cubicBezTo>
                      <a:pt x="38" y="17"/>
                      <a:pt x="37" y="17"/>
                      <a:pt x="37" y="16"/>
                    </a:cubicBezTo>
                    <a:cubicBezTo>
                      <a:pt x="37" y="15"/>
                      <a:pt x="38" y="15"/>
                      <a:pt x="39" y="15"/>
                    </a:cubicBezTo>
                    <a:cubicBezTo>
                      <a:pt x="39" y="15"/>
                      <a:pt x="39" y="15"/>
                      <a:pt x="40" y="16"/>
                    </a:cubicBezTo>
                    <a:cubicBezTo>
                      <a:pt x="40" y="16"/>
                      <a:pt x="41" y="16"/>
                      <a:pt x="41" y="16"/>
                    </a:cubicBezTo>
                    <a:cubicBezTo>
                      <a:pt x="42" y="16"/>
                      <a:pt x="42" y="18"/>
                      <a:pt x="43" y="18"/>
                    </a:cubicBezTo>
                    <a:cubicBezTo>
                      <a:pt x="43" y="18"/>
                      <a:pt x="43" y="17"/>
                      <a:pt x="43" y="17"/>
                    </a:cubicBezTo>
                    <a:cubicBezTo>
                      <a:pt x="42" y="16"/>
                      <a:pt x="42" y="15"/>
                      <a:pt x="41" y="15"/>
                    </a:cubicBezTo>
                    <a:cubicBezTo>
                      <a:pt x="41" y="15"/>
                      <a:pt x="40" y="15"/>
                      <a:pt x="39" y="14"/>
                    </a:cubicBezTo>
                    <a:cubicBezTo>
                      <a:pt x="40" y="15"/>
                      <a:pt x="39" y="15"/>
                      <a:pt x="38" y="14"/>
                    </a:cubicBezTo>
                    <a:cubicBezTo>
                      <a:pt x="37" y="14"/>
                      <a:pt x="38" y="13"/>
                      <a:pt x="39" y="13"/>
                    </a:cubicBezTo>
                    <a:cubicBezTo>
                      <a:pt x="38" y="13"/>
                      <a:pt x="37" y="12"/>
                      <a:pt x="37" y="12"/>
                    </a:cubicBezTo>
                    <a:cubicBezTo>
                      <a:pt x="36" y="11"/>
                      <a:pt x="37" y="11"/>
                      <a:pt x="37" y="10"/>
                    </a:cubicBezTo>
                    <a:cubicBezTo>
                      <a:pt x="38" y="10"/>
                      <a:pt x="39" y="11"/>
                      <a:pt x="39" y="11"/>
                    </a:cubicBezTo>
                    <a:cubicBezTo>
                      <a:pt x="40" y="11"/>
                      <a:pt x="41" y="10"/>
                      <a:pt x="42" y="10"/>
                    </a:cubicBezTo>
                    <a:cubicBezTo>
                      <a:pt x="42" y="10"/>
                      <a:pt x="43" y="9"/>
                      <a:pt x="43" y="9"/>
                    </a:cubicBezTo>
                    <a:cubicBezTo>
                      <a:pt x="43" y="8"/>
                      <a:pt x="44" y="8"/>
                      <a:pt x="44" y="8"/>
                    </a:cubicBezTo>
                    <a:cubicBezTo>
                      <a:pt x="44" y="8"/>
                      <a:pt x="45" y="9"/>
                      <a:pt x="44" y="9"/>
                    </a:cubicBezTo>
                    <a:cubicBezTo>
                      <a:pt x="45" y="9"/>
                      <a:pt x="45" y="10"/>
                      <a:pt x="46" y="9"/>
                    </a:cubicBezTo>
                    <a:cubicBezTo>
                      <a:pt x="47" y="9"/>
                      <a:pt x="47" y="9"/>
                      <a:pt x="48" y="9"/>
                    </a:cubicBezTo>
                    <a:cubicBezTo>
                      <a:pt x="48" y="8"/>
                      <a:pt x="48" y="8"/>
                      <a:pt x="49" y="8"/>
                    </a:cubicBezTo>
                    <a:cubicBezTo>
                      <a:pt x="49" y="8"/>
                      <a:pt x="49" y="8"/>
                      <a:pt x="49" y="8"/>
                    </a:cubicBezTo>
                    <a:cubicBezTo>
                      <a:pt x="49" y="8"/>
                      <a:pt x="49" y="8"/>
                      <a:pt x="49" y="8"/>
                    </a:cubicBezTo>
                    <a:cubicBezTo>
                      <a:pt x="50" y="9"/>
                      <a:pt x="50" y="8"/>
                      <a:pt x="51" y="9"/>
                    </a:cubicBezTo>
                    <a:cubicBezTo>
                      <a:pt x="51" y="9"/>
                      <a:pt x="52" y="9"/>
                      <a:pt x="53" y="9"/>
                    </a:cubicBezTo>
                    <a:cubicBezTo>
                      <a:pt x="54" y="9"/>
                      <a:pt x="54" y="10"/>
                      <a:pt x="55" y="10"/>
                    </a:cubicBezTo>
                    <a:cubicBezTo>
                      <a:pt x="56" y="10"/>
                      <a:pt x="57" y="9"/>
                      <a:pt x="57" y="10"/>
                    </a:cubicBezTo>
                    <a:cubicBezTo>
                      <a:pt x="57" y="10"/>
                      <a:pt x="57" y="10"/>
                      <a:pt x="58" y="10"/>
                    </a:cubicBezTo>
                    <a:cubicBezTo>
                      <a:pt x="57" y="10"/>
                      <a:pt x="57" y="10"/>
                      <a:pt x="57" y="10"/>
                    </a:cubicBezTo>
                    <a:cubicBezTo>
                      <a:pt x="58" y="10"/>
                      <a:pt x="58" y="11"/>
                      <a:pt x="58" y="11"/>
                    </a:cubicBezTo>
                    <a:cubicBezTo>
                      <a:pt x="58" y="10"/>
                      <a:pt x="59" y="10"/>
                      <a:pt x="59" y="10"/>
                    </a:cubicBezTo>
                    <a:cubicBezTo>
                      <a:pt x="59" y="9"/>
                      <a:pt x="59" y="9"/>
                      <a:pt x="59" y="9"/>
                    </a:cubicBezTo>
                    <a:cubicBezTo>
                      <a:pt x="59" y="9"/>
                      <a:pt x="60" y="9"/>
                      <a:pt x="60" y="9"/>
                    </a:cubicBezTo>
                    <a:cubicBezTo>
                      <a:pt x="60" y="9"/>
                      <a:pt x="60" y="8"/>
                      <a:pt x="60" y="8"/>
                    </a:cubicBezTo>
                    <a:cubicBezTo>
                      <a:pt x="60" y="8"/>
                      <a:pt x="60" y="8"/>
                      <a:pt x="60" y="8"/>
                    </a:cubicBezTo>
                    <a:cubicBezTo>
                      <a:pt x="60" y="8"/>
                      <a:pt x="60" y="8"/>
                      <a:pt x="60" y="8"/>
                    </a:cubicBezTo>
                    <a:cubicBezTo>
                      <a:pt x="60" y="7"/>
                      <a:pt x="60" y="7"/>
                      <a:pt x="60" y="7"/>
                    </a:cubicBezTo>
                    <a:cubicBezTo>
                      <a:pt x="60" y="6"/>
                      <a:pt x="59" y="5"/>
                      <a:pt x="60" y="5"/>
                    </a:cubicBezTo>
                    <a:cubicBezTo>
                      <a:pt x="60" y="5"/>
                      <a:pt x="60" y="5"/>
                      <a:pt x="61" y="5"/>
                    </a:cubicBezTo>
                    <a:cubicBezTo>
                      <a:pt x="61" y="4"/>
                      <a:pt x="61" y="4"/>
                      <a:pt x="61" y="4"/>
                    </a:cubicBezTo>
                    <a:cubicBezTo>
                      <a:pt x="62" y="4"/>
                      <a:pt x="62" y="4"/>
                      <a:pt x="62" y="3"/>
                    </a:cubicBezTo>
                    <a:cubicBezTo>
                      <a:pt x="62" y="2"/>
                      <a:pt x="62" y="1"/>
                      <a:pt x="61" y="1"/>
                    </a:cubicBezTo>
                    <a:cubicBezTo>
                      <a:pt x="60" y="0"/>
                      <a:pt x="59" y="0"/>
                      <a:pt x="59" y="0"/>
                    </a:cubicBezTo>
                    <a:cubicBezTo>
                      <a:pt x="58" y="0"/>
                      <a:pt x="58" y="0"/>
                      <a:pt x="57" y="0"/>
                    </a:cubicBezTo>
                    <a:cubicBezTo>
                      <a:pt x="57" y="0"/>
                      <a:pt x="57" y="1"/>
                      <a:pt x="58" y="1"/>
                    </a:cubicBezTo>
                    <a:cubicBezTo>
                      <a:pt x="58" y="1"/>
                      <a:pt x="58" y="2"/>
                      <a:pt x="58" y="2"/>
                    </a:cubicBezTo>
                    <a:cubicBezTo>
                      <a:pt x="58" y="2"/>
                      <a:pt x="58" y="2"/>
                      <a:pt x="58" y="3"/>
                    </a:cubicBezTo>
                    <a:cubicBezTo>
                      <a:pt x="58" y="3"/>
                      <a:pt x="58" y="3"/>
                      <a:pt x="58" y="3"/>
                    </a:cubicBezTo>
                    <a:cubicBezTo>
                      <a:pt x="58" y="4"/>
                      <a:pt x="58" y="4"/>
                      <a:pt x="57" y="4"/>
                    </a:cubicBezTo>
                    <a:cubicBezTo>
                      <a:pt x="57" y="4"/>
                      <a:pt x="56" y="4"/>
                      <a:pt x="56" y="5"/>
                    </a:cubicBezTo>
                    <a:cubicBezTo>
                      <a:pt x="55" y="4"/>
                      <a:pt x="55" y="4"/>
                      <a:pt x="54" y="5"/>
                    </a:cubicBezTo>
                    <a:cubicBezTo>
                      <a:pt x="54" y="5"/>
                      <a:pt x="53" y="4"/>
                      <a:pt x="53" y="5"/>
                    </a:cubicBezTo>
                    <a:cubicBezTo>
                      <a:pt x="52" y="5"/>
                      <a:pt x="50" y="6"/>
                      <a:pt x="50" y="5"/>
                    </a:cubicBezTo>
                    <a:cubicBezTo>
                      <a:pt x="49" y="5"/>
                      <a:pt x="49" y="4"/>
                      <a:pt x="48" y="4"/>
                    </a:cubicBezTo>
                    <a:cubicBezTo>
                      <a:pt x="48" y="4"/>
                      <a:pt x="47" y="4"/>
                      <a:pt x="47" y="4"/>
                    </a:cubicBezTo>
                    <a:cubicBezTo>
                      <a:pt x="46" y="4"/>
                      <a:pt x="46" y="3"/>
                      <a:pt x="46" y="4"/>
                    </a:cubicBezTo>
                    <a:cubicBezTo>
                      <a:pt x="46" y="4"/>
                      <a:pt x="45" y="4"/>
                      <a:pt x="45" y="3"/>
                    </a:cubicBezTo>
                    <a:cubicBezTo>
                      <a:pt x="45" y="3"/>
                      <a:pt x="44" y="3"/>
                      <a:pt x="44" y="3"/>
                    </a:cubicBezTo>
                    <a:cubicBezTo>
                      <a:pt x="44" y="3"/>
                      <a:pt x="44" y="2"/>
                      <a:pt x="44" y="2"/>
                    </a:cubicBezTo>
                    <a:cubicBezTo>
                      <a:pt x="43" y="2"/>
                      <a:pt x="41" y="3"/>
                      <a:pt x="41" y="2"/>
                    </a:cubicBezTo>
                    <a:cubicBezTo>
                      <a:pt x="41" y="2"/>
                      <a:pt x="41" y="2"/>
                      <a:pt x="41" y="2"/>
                    </a:cubicBezTo>
                    <a:cubicBezTo>
                      <a:pt x="40" y="2"/>
                      <a:pt x="40" y="2"/>
                      <a:pt x="40" y="2"/>
                    </a:cubicBezTo>
                    <a:cubicBezTo>
                      <a:pt x="39" y="2"/>
                      <a:pt x="40" y="3"/>
                      <a:pt x="39" y="3"/>
                    </a:cubicBezTo>
                    <a:cubicBezTo>
                      <a:pt x="39" y="3"/>
                      <a:pt x="39" y="3"/>
                      <a:pt x="39" y="3"/>
                    </a:cubicBezTo>
                    <a:cubicBezTo>
                      <a:pt x="38" y="3"/>
                      <a:pt x="38" y="3"/>
                      <a:pt x="38" y="3"/>
                    </a:cubicBezTo>
                    <a:cubicBezTo>
                      <a:pt x="38" y="3"/>
                      <a:pt x="38" y="3"/>
                      <a:pt x="38" y="3"/>
                    </a:cubicBezTo>
                    <a:cubicBezTo>
                      <a:pt x="37" y="3"/>
                      <a:pt x="37" y="3"/>
                      <a:pt x="36" y="4"/>
                    </a:cubicBezTo>
                    <a:cubicBezTo>
                      <a:pt x="35" y="4"/>
                      <a:pt x="35" y="3"/>
                      <a:pt x="34" y="3"/>
                    </a:cubicBezTo>
                    <a:cubicBezTo>
                      <a:pt x="34" y="4"/>
                      <a:pt x="33" y="4"/>
                      <a:pt x="33" y="4"/>
                    </a:cubicBezTo>
                    <a:cubicBezTo>
                      <a:pt x="32" y="3"/>
                      <a:pt x="32" y="4"/>
                      <a:pt x="32" y="4"/>
                    </a:cubicBezTo>
                    <a:cubicBezTo>
                      <a:pt x="31" y="5"/>
                      <a:pt x="30" y="4"/>
                      <a:pt x="29" y="4"/>
                    </a:cubicBezTo>
                    <a:cubicBezTo>
                      <a:pt x="28" y="4"/>
                      <a:pt x="28" y="4"/>
                      <a:pt x="28" y="5"/>
                    </a:cubicBezTo>
                    <a:cubicBezTo>
                      <a:pt x="28" y="5"/>
                      <a:pt x="28" y="6"/>
                      <a:pt x="28" y="6"/>
                    </a:cubicBezTo>
                    <a:cubicBezTo>
                      <a:pt x="28" y="7"/>
                      <a:pt x="27" y="6"/>
                      <a:pt x="27" y="6"/>
                    </a:cubicBezTo>
                    <a:cubicBezTo>
                      <a:pt x="27" y="6"/>
                      <a:pt x="27" y="7"/>
                      <a:pt x="26" y="7"/>
                    </a:cubicBezTo>
                    <a:cubicBezTo>
                      <a:pt x="25" y="7"/>
                      <a:pt x="24" y="6"/>
                      <a:pt x="23" y="6"/>
                    </a:cubicBezTo>
                    <a:cubicBezTo>
                      <a:pt x="22" y="7"/>
                      <a:pt x="22" y="6"/>
                      <a:pt x="22" y="6"/>
                    </a:cubicBezTo>
                    <a:cubicBezTo>
                      <a:pt x="21" y="6"/>
                      <a:pt x="21" y="7"/>
                      <a:pt x="20" y="7"/>
                    </a:cubicBezTo>
                    <a:cubicBezTo>
                      <a:pt x="20" y="8"/>
                      <a:pt x="20" y="8"/>
                      <a:pt x="20" y="8"/>
                    </a:cubicBezTo>
                    <a:cubicBezTo>
                      <a:pt x="19" y="8"/>
                      <a:pt x="20" y="9"/>
                      <a:pt x="19" y="9"/>
                    </a:cubicBezTo>
                    <a:cubicBezTo>
                      <a:pt x="19" y="9"/>
                      <a:pt x="19" y="9"/>
                      <a:pt x="18" y="9"/>
                    </a:cubicBezTo>
                    <a:cubicBezTo>
                      <a:pt x="17" y="9"/>
                      <a:pt x="17" y="9"/>
                      <a:pt x="16" y="9"/>
                    </a:cubicBezTo>
                    <a:cubicBezTo>
                      <a:pt x="16" y="9"/>
                      <a:pt x="15" y="10"/>
                      <a:pt x="15" y="9"/>
                    </a:cubicBezTo>
                    <a:cubicBezTo>
                      <a:pt x="14" y="9"/>
                      <a:pt x="13" y="9"/>
                      <a:pt x="13" y="9"/>
                    </a:cubicBezTo>
                    <a:cubicBezTo>
                      <a:pt x="12" y="9"/>
                      <a:pt x="12" y="10"/>
                      <a:pt x="12" y="10"/>
                    </a:cubicBezTo>
                    <a:cubicBezTo>
                      <a:pt x="12" y="11"/>
                      <a:pt x="13" y="11"/>
                      <a:pt x="13" y="12"/>
                    </a:cubicBezTo>
                    <a:cubicBezTo>
                      <a:pt x="13" y="12"/>
                      <a:pt x="13" y="13"/>
                      <a:pt x="12" y="13"/>
                    </a:cubicBezTo>
                    <a:cubicBezTo>
                      <a:pt x="12" y="14"/>
                      <a:pt x="11" y="13"/>
                      <a:pt x="11" y="14"/>
                    </a:cubicBezTo>
                    <a:cubicBezTo>
                      <a:pt x="11" y="15"/>
                      <a:pt x="10" y="15"/>
                      <a:pt x="10" y="16"/>
                    </a:cubicBezTo>
                    <a:cubicBezTo>
                      <a:pt x="10" y="16"/>
                      <a:pt x="10" y="17"/>
                      <a:pt x="10" y="17"/>
                    </a:cubicBezTo>
                    <a:cubicBezTo>
                      <a:pt x="10" y="17"/>
                      <a:pt x="10" y="18"/>
                      <a:pt x="10" y="18"/>
                    </a:cubicBezTo>
                    <a:cubicBezTo>
                      <a:pt x="9" y="18"/>
                      <a:pt x="9" y="18"/>
                      <a:pt x="8" y="18"/>
                    </a:cubicBezTo>
                    <a:cubicBezTo>
                      <a:pt x="8" y="18"/>
                      <a:pt x="8" y="18"/>
                      <a:pt x="7" y="19"/>
                    </a:cubicBezTo>
                    <a:cubicBezTo>
                      <a:pt x="7" y="19"/>
                      <a:pt x="7" y="19"/>
                      <a:pt x="7" y="19"/>
                    </a:cubicBezTo>
                    <a:cubicBezTo>
                      <a:pt x="7" y="19"/>
                      <a:pt x="7" y="20"/>
                      <a:pt x="8" y="20"/>
                    </a:cubicBezTo>
                    <a:cubicBezTo>
                      <a:pt x="8" y="22"/>
                      <a:pt x="6" y="20"/>
                      <a:pt x="7" y="22"/>
                    </a:cubicBezTo>
                    <a:cubicBezTo>
                      <a:pt x="7" y="22"/>
                      <a:pt x="6" y="23"/>
                      <a:pt x="6" y="23"/>
                    </a:cubicBezTo>
                    <a:cubicBezTo>
                      <a:pt x="5" y="23"/>
                      <a:pt x="5" y="22"/>
                      <a:pt x="4" y="22"/>
                    </a:cubicBezTo>
                    <a:cubicBezTo>
                      <a:pt x="5" y="22"/>
                      <a:pt x="5" y="23"/>
                      <a:pt x="6" y="23"/>
                    </a:cubicBezTo>
                    <a:cubicBezTo>
                      <a:pt x="6" y="24"/>
                      <a:pt x="5" y="24"/>
                      <a:pt x="5" y="24"/>
                    </a:cubicBezTo>
                    <a:cubicBezTo>
                      <a:pt x="6" y="24"/>
                      <a:pt x="6" y="24"/>
                      <a:pt x="6" y="24"/>
                    </a:cubicBezTo>
                    <a:cubicBezTo>
                      <a:pt x="6" y="24"/>
                      <a:pt x="6" y="24"/>
                      <a:pt x="6" y="24"/>
                    </a:cubicBezTo>
                    <a:cubicBezTo>
                      <a:pt x="6" y="24"/>
                      <a:pt x="6" y="24"/>
                      <a:pt x="6" y="24"/>
                    </a:cubicBezTo>
                    <a:cubicBezTo>
                      <a:pt x="7" y="24"/>
                      <a:pt x="6" y="24"/>
                      <a:pt x="6" y="24"/>
                    </a:cubicBezTo>
                    <a:cubicBezTo>
                      <a:pt x="7" y="25"/>
                      <a:pt x="6" y="25"/>
                      <a:pt x="6" y="25"/>
                    </a:cubicBezTo>
                    <a:cubicBezTo>
                      <a:pt x="6" y="25"/>
                      <a:pt x="7" y="26"/>
                      <a:pt x="7" y="27"/>
                    </a:cubicBezTo>
                    <a:cubicBezTo>
                      <a:pt x="8" y="27"/>
                      <a:pt x="8" y="27"/>
                      <a:pt x="8" y="27"/>
                    </a:cubicBezTo>
                    <a:cubicBezTo>
                      <a:pt x="9" y="27"/>
                      <a:pt x="9" y="27"/>
                      <a:pt x="9" y="28"/>
                    </a:cubicBezTo>
                    <a:cubicBezTo>
                      <a:pt x="9" y="28"/>
                      <a:pt x="11" y="29"/>
                      <a:pt x="11" y="30"/>
                    </a:cubicBezTo>
                    <a:cubicBezTo>
                      <a:pt x="11" y="30"/>
                      <a:pt x="11" y="30"/>
                      <a:pt x="11" y="30"/>
                    </a:cubicBezTo>
                    <a:cubicBezTo>
                      <a:pt x="11" y="30"/>
                      <a:pt x="12" y="30"/>
                      <a:pt x="12" y="30"/>
                    </a:cubicBezTo>
                    <a:cubicBezTo>
                      <a:pt x="12" y="30"/>
                      <a:pt x="11" y="30"/>
                      <a:pt x="11" y="30"/>
                    </a:cubicBezTo>
                    <a:cubicBezTo>
                      <a:pt x="11" y="29"/>
                      <a:pt x="12" y="29"/>
                      <a:pt x="11" y="29"/>
                    </a:cubicBezTo>
                    <a:cubicBezTo>
                      <a:pt x="11" y="29"/>
                      <a:pt x="12" y="29"/>
                      <a:pt x="12" y="29"/>
                    </a:cubicBezTo>
                    <a:cubicBezTo>
                      <a:pt x="12" y="29"/>
                      <a:pt x="12" y="30"/>
                      <a:pt x="12" y="29"/>
                    </a:cubicBezTo>
                    <a:cubicBezTo>
                      <a:pt x="12" y="29"/>
                      <a:pt x="13" y="29"/>
                      <a:pt x="13" y="29"/>
                    </a:cubicBezTo>
                    <a:cubicBezTo>
                      <a:pt x="13" y="29"/>
                      <a:pt x="14" y="30"/>
                      <a:pt x="14" y="30"/>
                    </a:cubicBezTo>
                    <a:cubicBezTo>
                      <a:pt x="13" y="29"/>
                      <a:pt x="15" y="29"/>
                      <a:pt x="15" y="30"/>
                    </a:cubicBezTo>
                    <a:cubicBezTo>
                      <a:pt x="15" y="30"/>
                      <a:pt x="15" y="31"/>
                      <a:pt x="15" y="31"/>
                    </a:cubicBezTo>
                    <a:cubicBezTo>
                      <a:pt x="15" y="31"/>
                      <a:pt x="14" y="30"/>
                      <a:pt x="14" y="31"/>
                    </a:cubicBezTo>
                    <a:cubicBezTo>
                      <a:pt x="14" y="31"/>
                      <a:pt x="14" y="30"/>
                      <a:pt x="13" y="30"/>
                    </a:cubicBezTo>
                    <a:cubicBezTo>
                      <a:pt x="13" y="30"/>
                      <a:pt x="12" y="31"/>
                      <a:pt x="12" y="30"/>
                    </a:cubicBezTo>
                    <a:cubicBezTo>
                      <a:pt x="12" y="31"/>
                      <a:pt x="11" y="31"/>
                      <a:pt x="11" y="30"/>
                    </a:cubicBezTo>
                    <a:cubicBezTo>
                      <a:pt x="11" y="31"/>
                      <a:pt x="11" y="31"/>
                      <a:pt x="12" y="31"/>
                    </a:cubicBezTo>
                    <a:cubicBezTo>
                      <a:pt x="11" y="31"/>
                      <a:pt x="11" y="33"/>
                      <a:pt x="12" y="32"/>
                    </a:cubicBezTo>
                    <a:cubicBezTo>
                      <a:pt x="12" y="32"/>
                      <a:pt x="13" y="32"/>
                      <a:pt x="13" y="33"/>
                    </a:cubicBezTo>
                    <a:cubicBezTo>
                      <a:pt x="13" y="34"/>
                      <a:pt x="13" y="33"/>
                      <a:pt x="13" y="33"/>
                    </a:cubicBezTo>
                    <a:cubicBezTo>
                      <a:pt x="14" y="34"/>
                      <a:pt x="14" y="34"/>
                      <a:pt x="14" y="34"/>
                    </a:cubicBezTo>
                    <a:cubicBezTo>
                      <a:pt x="14" y="34"/>
                      <a:pt x="14" y="35"/>
                      <a:pt x="14" y="35"/>
                    </a:cubicBezTo>
                    <a:cubicBezTo>
                      <a:pt x="14" y="35"/>
                      <a:pt x="14" y="35"/>
                      <a:pt x="14" y="35"/>
                    </a:cubicBezTo>
                    <a:cubicBezTo>
                      <a:pt x="15" y="35"/>
                      <a:pt x="14" y="36"/>
                      <a:pt x="15" y="36"/>
                    </a:cubicBezTo>
                    <a:cubicBezTo>
                      <a:pt x="15" y="36"/>
                      <a:pt x="15" y="36"/>
                      <a:pt x="14" y="36"/>
                    </a:cubicBezTo>
                    <a:cubicBezTo>
                      <a:pt x="14" y="36"/>
                      <a:pt x="15" y="37"/>
                      <a:pt x="15" y="37"/>
                    </a:cubicBezTo>
                    <a:cubicBezTo>
                      <a:pt x="14" y="37"/>
                      <a:pt x="15" y="37"/>
                      <a:pt x="14" y="37"/>
                    </a:cubicBezTo>
                    <a:cubicBezTo>
                      <a:pt x="15" y="37"/>
                      <a:pt x="15" y="38"/>
                      <a:pt x="15" y="37"/>
                    </a:cubicBezTo>
                    <a:cubicBezTo>
                      <a:pt x="16" y="37"/>
                      <a:pt x="16" y="37"/>
                      <a:pt x="16" y="37"/>
                    </a:cubicBezTo>
                    <a:cubicBezTo>
                      <a:pt x="16" y="37"/>
                      <a:pt x="17" y="37"/>
                      <a:pt x="17" y="36"/>
                    </a:cubicBezTo>
                    <a:cubicBezTo>
                      <a:pt x="17" y="36"/>
                      <a:pt x="16" y="36"/>
                      <a:pt x="16" y="35"/>
                    </a:cubicBezTo>
                    <a:cubicBezTo>
                      <a:pt x="16" y="35"/>
                      <a:pt x="17" y="36"/>
                      <a:pt x="17" y="36"/>
                    </a:cubicBezTo>
                    <a:cubicBezTo>
                      <a:pt x="18" y="37"/>
                      <a:pt x="17" y="37"/>
                      <a:pt x="18" y="37"/>
                    </a:cubicBezTo>
                    <a:cubicBezTo>
                      <a:pt x="18" y="37"/>
                      <a:pt x="18" y="37"/>
                      <a:pt x="18" y="37"/>
                    </a:cubicBezTo>
                    <a:cubicBezTo>
                      <a:pt x="19" y="37"/>
                      <a:pt x="20" y="36"/>
                      <a:pt x="20" y="37"/>
                    </a:cubicBezTo>
                    <a:cubicBezTo>
                      <a:pt x="21" y="37"/>
                      <a:pt x="21" y="37"/>
                      <a:pt x="21" y="37"/>
                    </a:cubicBezTo>
                    <a:cubicBezTo>
                      <a:pt x="21" y="36"/>
                      <a:pt x="22" y="37"/>
                      <a:pt x="22" y="37"/>
                    </a:cubicBezTo>
                    <a:cubicBezTo>
                      <a:pt x="22" y="36"/>
                      <a:pt x="23" y="36"/>
                      <a:pt x="24" y="37"/>
                    </a:cubicBezTo>
                    <a:cubicBezTo>
                      <a:pt x="24" y="37"/>
                      <a:pt x="24" y="37"/>
                      <a:pt x="25" y="37"/>
                    </a:cubicBezTo>
                    <a:cubicBezTo>
                      <a:pt x="25" y="37"/>
                      <a:pt x="26" y="37"/>
                      <a:pt x="26" y="37"/>
                    </a:cubicBezTo>
                    <a:cubicBezTo>
                      <a:pt x="27" y="37"/>
                      <a:pt x="26" y="36"/>
                      <a:pt x="26" y="36"/>
                    </a:cubicBezTo>
                    <a:cubicBezTo>
                      <a:pt x="27" y="36"/>
                      <a:pt x="27" y="37"/>
                      <a:pt x="28" y="37"/>
                    </a:cubicBezTo>
                    <a:cubicBezTo>
                      <a:pt x="28" y="38"/>
                      <a:pt x="28" y="37"/>
                      <a:pt x="28" y="37"/>
                    </a:cubicBezTo>
                    <a:cubicBezTo>
                      <a:pt x="28" y="37"/>
                      <a:pt x="28" y="37"/>
                      <a:pt x="28" y="37"/>
                    </a:cubicBezTo>
                    <a:cubicBezTo>
                      <a:pt x="29" y="36"/>
                      <a:pt x="29" y="37"/>
                      <a:pt x="29" y="37"/>
                    </a:cubicBezTo>
                    <a:cubicBezTo>
                      <a:pt x="29" y="38"/>
                      <a:pt x="30" y="37"/>
                      <a:pt x="30" y="38"/>
                    </a:cubicBezTo>
                    <a:cubicBezTo>
                      <a:pt x="30" y="38"/>
                      <a:pt x="30" y="38"/>
                      <a:pt x="30" y="38"/>
                    </a:cubicBezTo>
                    <a:cubicBezTo>
                      <a:pt x="30" y="38"/>
                      <a:pt x="30" y="38"/>
                      <a:pt x="30" y="38"/>
                    </a:cubicBezTo>
                    <a:cubicBezTo>
                      <a:pt x="31" y="38"/>
                      <a:pt x="31" y="39"/>
                      <a:pt x="31" y="39"/>
                    </a:cubicBezTo>
                    <a:cubicBezTo>
                      <a:pt x="31" y="39"/>
                      <a:pt x="31" y="38"/>
                      <a:pt x="31" y="38"/>
                    </a:cubicBezTo>
                    <a:cubicBezTo>
                      <a:pt x="31" y="38"/>
                      <a:pt x="32" y="38"/>
                      <a:pt x="32" y="39"/>
                    </a:cubicBezTo>
                    <a:cubicBezTo>
                      <a:pt x="32" y="39"/>
                      <a:pt x="33" y="38"/>
                      <a:pt x="33" y="39"/>
                    </a:cubicBezTo>
                    <a:cubicBezTo>
                      <a:pt x="33" y="39"/>
                      <a:pt x="34" y="39"/>
                      <a:pt x="34" y="39"/>
                    </a:cubicBezTo>
                    <a:cubicBezTo>
                      <a:pt x="34" y="39"/>
                      <a:pt x="34" y="39"/>
                      <a:pt x="33" y="39"/>
                    </a:cubicBezTo>
                    <a:cubicBezTo>
                      <a:pt x="34" y="39"/>
                      <a:pt x="34" y="39"/>
                      <a:pt x="34" y="40"/>
                    </a:cubicBezTo>
                    <a:cubicBezTo>
                      <a:pt x="34" y="40"/>
                      <a:pt x="33" y="40"/>
                      <a:pt x="33" y="40"/>
                    </a:cubicBezTo>
                    <a:cubicBezTo>
                      <a:pt x="32" y="40"/>
                      <a:pt x="31" y="40"/>
                      <a:pt x="31" y="40"/>
                    </a:cubicBezTo>
                    <a:cubicBezTo>
                      <a:pt x="31" y="40"/>
                      <a:pt x="32" y="41"/>
                      <a:pt x="31" y="41"/>
                    </a:cubicBezTo>
                    <a:cubicBezTo>
                      <a:pt x="31" y="42"/>
                      <a:pt x="30" y="41"/>
                      <a:pt x="30" y="41"/>
                    </a:cubicBezTo>
                    <a:cubicBezTo>
                      <a:pt x="29" y="40"/>
                      <a:pt x="28" y="39"/>
                      <a:pt x="27" y="39"/>
                    </a:cubicBezTo>
                    <a:cubicBezTo>
                      <a:pt x="27" y="39"/>
                      <a:pt x="26" y="39"/>
                      <a:pt x="26" y="39"/>
                    </a:cubicBezTo>
                    <a:cubicBezTo>
                      <a:pt x="25" y="39"/>
                      <a:pt x="25" y="39"/>
                      <a:pt x="24" y="38"/>
                    </a:cubicBezTo>
                    <a:cubicBezTo>
                      <a:pt x="24" y="38"/>
                      <a:pt x="23" y="37"/>
                      <a:pt x="22" y="37"/>
                    </a:cubicBezTo>
                    <a:cubicBezTo>
                      <a:pt x="21" y="37"/>
                      <a:pt x="20" y="38"/>
                      <a:pt x="20" y="38"/>
                    </a:cubicBezTo>
                    <a:cubicBezTo>
                      <a:pt x="20" y="39"/>
                      <a:pt x="19" y="39"/>
                      <a:pt x="19" y="39"/>
                    </a:cubicBezTo>
                    <a:cubicBezTo>
                      <a:pt x="18" y="39"/>
                      <a:pt x="18" y="39"/>
                      <a:pt x="18" y="38"/>
                    </a:cubicBezTo>
                    <a:cubicBezTo>
                      <a:pt x="17" y="38"/>
                      <a:pt x="17" y="38"/>
                      <a:pt x="17" y="39"/>
                    </a:cubicBezTo>
                    <a:cubicBezTo>
                      <a:pt x="17" y="39"/>
                      <a:pt x="17" y="38"/>
                      <a:pt x="17" y="38"/>
                    </a:cubicBezTo>
                    <a:cubicBezTo>
                      <a:pt x="17" y="39"/>
                      <a:pt x="17" y="39"/>
                      <a:pt x="17" y="40"/>
                    </a:cubicBezTo>
                    <a:cubicBezTo>
                      <a:pt x="17" y="40"/>
                      <a:pt x="17" y="40"/>
                      <a:pt x="16" y="41"/>
                    </a:cubicBezTo>
                    <a:cubicBezTo>
                      <a:pt x="17" y="40"/>
                      <a:pt x="17" y="40"/>
                      <a:pt x="17" y="40"/>
                    </a:cubicBezTo>
                    <a:cubicBezTo>
                      <a:pt x="17" y="41"/>
                      <a:pt x="16" y="41"/>
                      <a:pt x="15" y="41"/>
                    </a:cubicBezTo>
                    <a:cubicBezTo>
                      <a:pt x="15" y="42"/>
                      <a:pt x="15" y="42"/>
                      <a:pt x="15" y="42"/>
                    </a:cubicBezTo>
                    <a:cubicBezTo>
                      <a:pt x="15" y="43"/>
                      <a:pt x="16" y="43"/>
                      <a:pt x="16" y="43"/>
                    </a:cubicBezTo>
                    <a:cubicBezTo>
                      <a:pt x="17" y="43"/>
                      <a:pt x="17" y="44"/>
                      <a:pt x="17" y="45"/>
                    </a:cubicBezTo>
                    <a:cubicBezTo>
                      <a:pt x="17" y="44"/>
                      <a:pt x="19" y="45"/>
                      <a:pt x="19" y="46"/>
                    </a:cubicBezTo>
                    <a:cubicBezTo>
                      <a:pt x="19" y="46"/>
                      <a:pt x="20" y="47"/>
                      <a:pt x="20" y="48"/>
                    </a:cubicBezTo>
                    <a:cubicBezTo>
                      <a:pt x="21" y="49"/>
                      <a:pt x="20" y="49"/>
                      <a:pt x="19" y="50"/>
                    </a:cubicBezTo>
                    <a:cubicBezTo>
                      <a:pt x="19" y="51"/>
                      <a:pt x="20" y="51"/>
                      <a:pt x="20" y="52"/>
                    </a:cubicBezTo>
                    <a:cubicBezTo>
                      <a:pt x="20" y="52"/>
                      <a:pt x="21" y="52"/>
                      <a:pt x="21" y="53"/>
                    </a:cubicBezTo>
                    <a:cubicBezTo>
                      <a:pt x="21" y="53"/>
                      <a:pt x="21" y="54"/>
                      <a:pt x="21" y="54"/>
                    </a:cubicBezTo>
                    <a:cubicBezTo>
                      <a:pt x="21" y="54"/>
                      <a:pt x="22" y="54"/>
                      <a:pt x="22" y="54"/>
                    </a:cubicBezTo>
                    <a:cubicBezTo>
                      <a:pt x="22" y="54"/>
                      <a:pt x="22" y="54"/>
                      <a:pt x="22" y="55"/>
                    </a:cubicBezTo>
                    <a:cubicBezTo>
                      <a:pt x="23" y="55"/>
                      <a:pt x="23" y="54"/>
                      <a:pt x="23" y="54"/>
                    </a:cubicBezTo>
                    <a:cubicBezTo>
                      <a:pt x="23" y="54"/>
                      <a:pt x="23" y="53"/>
                      <a:pt x="23" y="52"/>
                    </a:cubicBezTo>
                    <a:cubicBezTo>
                      <a:pt x="23" y="52"/>
                      <a:pt x="23" y="51"/>
                      <a:pt x="24" y="51"/>
                    </a:cubicBezTo>
                    <a:cubicBezTo>
                      <a:pt x="25" y="51"/>
                      <a:pt x="25" y="52"/>
                      <a:pt x="25" y="52"/>
                    </a:cubicBezTo>
                    <a:cubicBezTo>
                      <a:pt x="25" y="53"/>
                      <a:pt x="25" y="53"/>
                      <a:pt x="26" y="53"/>
                    </a:cubicBezTo>
                    <a:cubicBezTo>
                      <a:pt x="26" y="54"/>
                      <a:pt x="26" y="54"/>
                      <a:pt x="27" y="55"/>
                    </a:cubicBezTo>
                    <a:cubicBezTo>
                      <a:pt x="27" y="55"/>
                      <a:pt x="27" y="56"/>
                      <a:pt x="27" y="56"/>
                    </a:cubicBezTo>
                    <a:cubicBezTo>
                      <a:pt x="27" y="57"/>
                      <a:pt x="27" y="57"/>
                      <a:pt x="27" y="57"/>
                    </a:cubicBezTo>
                    <a:cubicBezTo>
                      <a:pt x="28" y="58"/>
                      <a:pt x="28" y="58"/>
                      <a:pt x="28" y="58"/>
                    </a:cubicBezTo>
                    <a:cubicBezTo>
                      <a:pt x="28" y="58"/>
                      <a:pt x="28" y="57"/>
                      <a:pt x="28" y="57"/>
                    </a:cubicBezTo>
                    <a:cubicBezTo>
                      <a:pt x="28" y="56"/>
                      <a:pt x="28" y="56"/>
                      <a:pt x="28" y="56"/>
                    </a:cubicBezTo>
                    <a:cubicBezTo>
                      <a:pt x="28" y="56"/>
                      <a:pt x="28" y="55"/>
                      <a:pt x="28" y="55"/>
                    </a:cubicBezTo>
                    <a:cubicBezTo>
                      <a:pt x="28" y="55"/>
                      <a:pt x="28" y="55"/>
                      <a:pt x="28" y="55"/>
                    </a:cubicBezTo>
                    <a:cubicBezTo>
                      <a:pt x="29" y="55"/>
                      <a:pt x="28" y="55"/>
                      <a:pt x="28" y="55"/>
                    </a:cubicBezTo>
                    <a:cubicBezTo>
                      <a:pt x="28" y="55"/>
                      <a:pt x="29" y="55"/>
                      <a:pt x="29" y="54"/>
                    </a:cubicBezTo>
                    <a:cubicBezTo>
                      <a:pt x="29" y="54"/>
                      <a:pt x="29" y="54"/>
                      <a:pt x="29" y="54"/>
                    </a:cubicBezTo>
                    <a:cubicBezTo>
                      <a:pt x="29" y="54"/>
                      <a:pt x="30" y="54"/>
                      <a:pt x="31" y="54"/>
                    </a:cubicBezTo>
                    <a:cubicBezTo>
                      <a:pt x="31" y="54"/>
                      <a:pt x="31" y="55"/>
                      <a:pt x="31" y="55"/>
                    </a:cubicBezTo>
                    <a:cubicBezTo>
                      <a:pt x="31" y="55"/>
                      <a:pt x="32" y="56"/>
                      <a:pt x="32" y="56"/>
                    </a:cubicBezTo>
                    <a:cubicBezTo>
                      <a:pt x="32" y="56"/>
                      <a:pt x="32" y="57"/>
                      <a:pt x="33" y="57"/>
                    </a:cubicBezTo>
                    <a:cubicBezTo>
                      <a:pt x="33" y="57"/>
                      <a:pt x="33" y="57"/>
                      <a:pt x="33" y="57"/>
                    </a:cubicBezTo>
                    <a:cubicBezTo>
                      <a:pt x="34" y="58"/>
                      <a:pt x="34" y="58"/>
                      <a:pt x="34" y="58"/>
                    </a:cubicBezTo>
                    <a:cubicBezTo>
                      <a:pt x="35" y="58"/>
                      <a:pt x="35" y="58"/>
                      <a:pt x="34" y="57"/>
                    </a:cubicBezTo>
                    <a:cubicBezTo>
                      <a:pt x="34" y="57"/>
                      <a:pt x="34" y="57"/>
                      <a:pt x="34" y="57"/>
                    </a:cubicBezTo>
                    <a:cubicBezTo>
                      <a:pt x="33" y="56"/>
                      <a:pt x="32" y="56"/>
                      <a:pt x="33" y="55"/>
                    </a:cubicBezTo>
                    <a:cubicBezTo>
                      <a:pt x="32" y="55"/>
                      <a:pt x="33" y="55"/>
                      <a:pt x="33" y="54"/>
                    </a:cubicBezTo>
                    <a:cubicBezTo>
                      <a:pt x="34" y="54"/>
                      <a:pt x="33" y="53"/>
                      <a:pt x="33" y="53"/>
                    </a:cubicBezTo>
                    <a:cubicBezTo>
                      <a:pt x="33" y="52"/>
                      <a:pt x="33" y="52"/>
                      <a:pt x="32" y="51"/>
                    </a:cubicBezTo>
                    <a:cubicBezTo>
                      <a:pt x="32" y="50"/>
                      <a:pt x="31" y="50"/>
                      <a:pt x="31" y="50"/>
                    </a:cubicBezTo>
                    <a:cubicBezTo>
                      <a:pt x="32" y="49"/>
                      <a:pt x="29" y="47"/>
                      <a:pt x="30" y="45"/>
                    </a:cubicBezTo>
                    <a:cubicBezTo>
                      <a:pt x="30" y="45"/>
                      <a:pt x="31" y="46"/>
                      <a:pt x="31" y="46"/>
                    </a:cubicBezTo>
                    <a:cubicBezTo>
                      <a:pt x="31" y="46"/>
                      <a:pt x="32" y="46"/>
                      <a:pt x="32" y="47"/>
                    </a:cubicBezTo>
                    <a:cubicBezTo>
                      <a:pt x="33" y="46"/>
                      <a:pt x="33" y="47"/>
                      <a:pt x="33" y="47"/>
                    </a:cubicBezTo>
                    <a:cubicBezTo>
                      <a:pt x="33" y="47"/>
                      <a:pt x="33" y="47"/>
                      <a:pt x="33" y="47"/>
                    </a:cubicBezTo>
                    <a:cubicBezTo>
                      <a:pt x="33" y="47"/>
                      <a:pt x="33" y="47"/>
                      <a:pt x="33" y="48"/>
                    </a:cubicBezTo>
                    <a:cubicBezTo>
                      <a:pt x="33" y="48"/>
                      <a:pt x="33" y="48"/>
                      <a:pt x="33" y="48"/>
                    </a:cubicBezTo>
                    <a:cubicBezTo>
                      <a:pt x="33" y="48"/>
                      <a:pt x="33" y="48"/>
                      <a:pt x="33" y="48"/>
                    </a:cubicBezTo>
                    <a:cubicBezTo>
                      <a:pt x="33" y="48"/>
                      <a:pt x="34" y="48"/>
                      <a:pt x="34" y="48"/>
                    </a:cubicBezTo>
                    <a:cubicBezTo>
                      <a:pt x="33" y="49"/>
                      <a:pt x="34" y="48"/>
                      <a:pt x="34" y="48"/>
                    </a:cubicBezTo>
                    <a:cubicBezTo>
                      <a:pt x="34" y="48"/>
                      <a:pt x="34" y="48"/>
                      <a:pt x="35" y="48"/>
                    </a:cubicBezTo>
                    <a:cubicBezTo>
                      <a:pt x="34" y="47"/>
                      <a:pt x="36" y="47"/>
                      <a:pt x="36" y="47"/>
                    </a:cubicBezTo>
                    <a:cubicBezTo>
                      <a:pt x="38" y="47"/>
                      <a:pt x="36" y="46"/>
                      <a:pt x="36" y="46"/>
                    </a:cubicBezTo>
                    <a:cubicBezTo>
                      <a:pt x="36" y="46"/>
                      <a:pt x="36" y="46"/>
                      <a:pt x="36" y="46"/>
                    </a:cubicBezTo>
                    <a:cubicBezTo>
                      <a:pt x="36" y="45"/>
                      <a:pt x="36" y="45"/>
                      <a:pt x="36" y="45"/>
                    </a:cubicBezTo>
                    <a:cubicBezTo>
                      <a:pt x="36" y="45"/>
                      <a:pt x="35" y="45"/>
                      <a:pt x="35" y="45"/>
                    </a:cubicBezTo>
                    <a:cubicBezTo>
                      <a:pt x="35" y="45"/>
                      <a:pt x="36" y="46"/>
                      <a:pt x="35" y="46"/>
                    </a:cubicBezTo>
                    <a:cubicBezTo>
                      <a:pt x="35" y="46"/>
                      <a:pt x="34" y="45"/>
                      <a:pt x="34" y="45"/>
                    </a:cubicBezTo>
                    <a:cubicBezTo>
                      <a:pt x="34" y="45"/>
                      <a:pt x="33" y="43"/>
                      <a:pt x="33" y="43"/>
                    </a:cubicBezTo>
                    <a:cubicBezTo>
                      <a:pt x="34" y="43"/>
                      <a:pt x="33" y="42"/>
                      <a:pt x="33" y="42"/>
                    </a:cubicBezTo>
                    <a:cubicBezTo>
                      <a:pt x="33" y="42"/>
                      <a:pt x="32" y="43"/>
                      <a:pt x="32" y="42"/>
                    </a:cubicBezTo>
                    <a:cubicBezTo>
                      <a:pt x="32" y="42"/>
                      <a:pt x="32" y="42"/>
                      <a:pt x="32" y="42"/>
                    </a:cubicBezTo>
                    <a:cubicBezTo>
                      <a:pt x="32" y="42"/>
                      <a:pt x="33" y="42"/>
                      <a:pt x="33" y="42"/>
                    </a:cubicBezTo>
                    <a:cubicBezTo>
                      <a:pt x="33" y="41"/>
                      <a:pt x="34" y="41"/>
                      <a:pt x="34" y="41"/>
                    </a:cubicBezTo>
                    <a:cubicBezTo>
                      <a:pt x="35" y="41"/>
                      <a:pt x="35" y="41"/>
                      <a:pt x="36" y="41"/>
                    </a:cubicBezTo>
                    <a:cubicBezTo>
                      <a:pt x="35" y="41"/>
                      <a:pt x="36" y="40"/>
                      <a:pt x="36" y="40"/>
                    </a:cubicBezTo>
                    <a:cubicBezTo>
                      <a:pt x="37" y="40"/>
                      <a:pt x="37" y="40"/>
                      <a:pt x="37" y="40"/>
                    </a:cubicBezTo>
                    <a:cubicBezTo>
                      <a:pt x="37" y="41"/>
                      <a:pt x="37" y="41"/>
                      <a:pt x="37" y="41"/>
                    </a:cubicBezTo>
                    <a:cubicBezTo>
                      <a:pt x="37" y="41"/>
                      <a:pt x="38" y="41"/>
                      <a:pt x="38" y="41"/>
                    </a:cubicBezTo>
                    <a:cubicBezTo>
                      <a:pt x="38" y="41"/>
                      <a:pt x="39" y="42"/>
                      <a:pt x="39" y="43"/>
                    </a:cubicBezTo>
                    <a:close/>
                    <a:moveTo>
                      <a:pt x="18" y="37"/>
                    </a:moveTo>
                    <a:cubicBezTo>
                      <a:pt x="18" y="37"/>
                      <a:pt x="18" y="37"/>
                      <a:pt x="18" y="37"/>
                    </a:cubicBezTo>
                    <a:cubicBezTo>
                      <a:pt x="18" y="37"/>
                      <a:pt x="18" y="37"/>
                      <a:pt x="18" y="37"/>
                    </a:cubicBezTo>
                    <a:cubicBezTo>
                      <a:pt x="18" y="37"/>
                      <a:pt x="18" y="37"/>
                      <a:pt x="18" y="3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6" name="Ghana">
                <a:extLst>
                  <a:ext uri="{FF2B5EF4-FFF2-40B4-BE49-F238E27FC236}">
                    <a16:creationId xmlns:a16="http://schemas.microsoft.com/office/drawing/2014/main" id="{D2197A45-0D1C-5070-60A7-1437BB694AD2}"/>
                  </a:ext>
                </a:extLst>
              </p:cNvPr>
              <p:cNvSpPr>
                <a:spLocks/>
              </p:cNvSpPr>
              <p:nvPr/>
            </p:nvSpPr>
            <p:spPr bwMode="auto">
              <a:xfrm>
                <a:off x="5583963" y="3608176"/>
                <a:ext cx="151925" cy="254844"/>
              </a:xfrm>
              <a:custGeom>
                <a:avLst/>
                <a:gdLst/>
                <a:ahLst/>
                <a:cxnLst>
                  <a:cxn ang="0">
                    <a:pos x="39" y="52"/>
                  </a:cxn>
                  <a:cxn ang="0">
                    <a:pos x="37" y="48"/>
                  </a:cxn>
                  <a:cxn ang="0">
                    <a:pos x="38" y="44"/>
                  </a:cxn>
                  <a:cxn ang="0">
                    <a:pos x="37" y="40"/>
                  </a:cxn>
                  <a:cxn ang="0">
                    <a:pos x="38" y="35"/>
                  </a:cxn>
                  <a:cxn ang="0">
                    <a:pos x="38" y="30"/>
                  </a:cxn>
                  <a:cxn ang="0">
                    <a:pos x="36" y="27"/>
                  </a:cxn>
                  <a:cxn ang="0">
                    <a:pos x="37" y="22"/>
                  </a:cxn>
                  <a:cxn ang="0">
                    <a:pos x="37" y="20"/>
                  </a:cxn>
                  <a:cxn ang="0">
                    <a:pos x="34" y="19"/>
                  </a:cxn>
                  <a:cxn ang="0">
                    <a:pos x="35" y="18"/>
                  </a:cxn>
                  <a:cxn ang="0">
                    <a:pos x="35" y="17"/>
                  </a:cxn>
                  <a:cxn ang="0">
                    <a:pos x="35" y="14"/>
                  </a:cxn>
                  <a:cxn ang="0">
                    <a:pos x="35" y="10"/>
                  </a:cxn>
                  <a:cxn ang="0">
                    <a:pos x="35" y="9"/>
                  </a:cxn>
                  <a:cxn ang="0">
                    <a:pos x="31" y="6"/>
                  </a:cxn>
                  <a:cxn ang="0">
                    <a:pos x="32" y="2"/>
                  </a:cxn>
                  <a:cxn ang="0">
                    <a:pos x="29" y="1"/>
                  </a:cxn>
                  <a:cxn ang="0">
                    <a:pos x="27" y="3"/>
                  </a:cxn>
                  <a:cxn ang="0">
                    <a:pos x="24" y="2"/>
                  </a:cxn>
                  <a:cxn ang="0">
                    <a:pos x="21" y="2"/>
                  </a:cxn>
                  <a:cxn ang="0">
                    <a:pos x="13" y="2"/>
                  </a:cxn>
                  <a:cxn ang="0">
                    <a:pos x="5" y="3"/>
                  </a:cxn>
                  <a:cxn ang="0">
                    <a:pos x="4" y="8"/>
                  </a:cxn>
                  <a:cxn ang="0">
                    <a:pos x="5" y="10"/>
                  </a:cxn>
                  <a:cxn ang="0">
                    <a:pos x="5" y="16"/>
                  </a:cxn>
                  <a:cxn ang="0">
                    <a:pos x="6" y="19"/>
                  </a:cxn>
                  <a:cxn ang="0">
                    <a:pos x="5" y="22"/>
                  </a:cxn>
                  <a:cxn ang="0">
                    <a:pos x="6" y="27"/>
                  </a:cxn>
                  <a:cxn ang="0">
                    <a:pos x="7" y="34"/>
                  </a:cxn>
                  <a:cxn ang="0">
                    <a:pos x="4" y="38"/>
                  </a:cxn>
                  <a:cxn ang="0">
                    <a:pos x="3" y="44"/>
                  </a:cxn>
                  <a:cxn ang="0">
                    <a:pos x="0" y="49"/>
                  </a:cxn>
                  <a:cxn ang="0">
                    <a:pos x="1" y="54"/>
                  </a:cxn>
                  <a:cxn ang="0">
                    <a:pos x="2" y="60"/>
                  </a:cxn>
                  <a:cxn ang="0">
                    <a:pos x="5" y="63"/>
                  </a:cxn>
                  <a:cxn ang="0">
                    <a:pos x="5" y="67"/>
                  </a:cxn>
                  <a:cxn ang="0">
                    <a:pos x="3" y="68"/>
                  </a:cxn>
                  <a:cxn ang="0">
                    <a:pos x="12" y="71"/>
                  </a:cxn>
                  <a:cxn ang="0">
                    <a:pos x="15" y="69"/>
                  </a:cxn>
                  <a:cxn ang="0">
                    <a:pos x="22" y="66"/>
                  </a:cxn>
                  <a:cxn ang="0">
                    <a:pos x="31" y="62"/>
                  </a:cxn>
                  <a:cxn ang="0">
                    <a:pos x="38" y="60"/>
                  </a:cxn>
                  <a:cxn ang="0">
                    <a:pos x="34" y="56"/>
                  </a:cxn>
                  <a:cxn ang="0">
                    <a:pos x="38" y="60"/>
                  </a:cxn>
                  <a:cxn ang="0">
                    <a:pos x="43" y="57"/>
                  </a:cxn>
                </a:cxnLst>
                <a:rect l="0" t="0" r="r" b="b"/>
                <a:pathLst>
                  <a:path w="43" h="72">
                    <a:moveTo>
                      <a:pt x="42" y="56"/>
                    </a:moveTo>
                    <a:cubicBezTo>
                      <a:pt x="42" y="56"/>
                      <a:pt x="42" y="55"/>
                      <a:pt x="42" y="54"/>
                    </a:cubicBezTo>
                    <a:cubicBezTo>
                      <a:pt x="41" y="53"/>
                      <a:pt x="39" y="53"/>
                      <a:pt x="39" y="52"/>
                    </a:cubicBezTo>
                    <a:cubicBezTo>
                      <a:pt x="38" y="51"/>
                      <a:pt x="39" y="51"/>
                      <a:pt x="38" y="51"/>
                    </a:cubicBezTo>
                    <a:cubicBezTo>
                      <a:pt x="38" y="50"/>
                      <a:pt x="38" y="50"/>
                      <a:pt x="38" y="49"/>
                    </a:cubicBezTo>
                    <a:cubicBezTo>
                      <a:pt x="38" y="49"/>
                      <a:pt x="37" y="49"/>
                      <a:pt x="37" y="48"/>
                    </a:cubicBezTo>
                    <a:cubicBezTo>
                      <a:pt x="37" y="48"/>
                      <a:pt x="37" y="47"/>
                      <a:pt x="37" y="47"/>
                    </a:cubicBezTo>
                    <a:cubicBezTo>
                      <a:pt x="36" y="46"/>
                      <a:pt x="37" y="47"/>
                      <a:pt x="38" y="46"/>
                    </a:cubicBezTo>
                    <a:cubicBezTo>
                      <a:pt x="38" y="45"/>
                      <a:pt x="38" y="45"/>
                      <a:pt x="38" y="44"/>
                    </a:cubicBezTo>
                    <a:cubicBezTo>
                      <a:pt x="38" y="44"/>
                      <a:pt x="38" y="43"/>
                      <a:pt x="38" y="42"/>
                    </a:cubicBezTo>
                    <a:cubicBezTo>
                      <a:pt x="38" y="42"/>
                      <a:pt x="37" y="42"/>
                      <a:pt x="37" y="42"/>
                    </a:cubicBezTo>
                    <a:cubicBezTo>
                      <a:pt x="37" y="42"/>
                      <a:pt x="37" y="41"/>
                      <a:pt x="37" y="40"/>
                    </a:cubicBezTo>
                    <a:cubicBezTo>
                      <a:pt x="37" y="40"/>
                      <a:pt x="37" y="40"/>
                      <a:pt x="37" y="39"/>
                    </a:cubicBezTo>
                    <a:cubicBezTo>
                      <a:pt x="37" y="39"/>
                      <a:pt x="38" y="39"/>
                      <a:pt x="38" y="38"/>
                    </a:cubicBezTo>
                    <a:cubicBezTo>
                      <a:pt x="38" y="37"/>
                      <a:pt x="38" y="36"/>
                      <a:pt x="38" y="35"/>
                    </a:cubicBezTo>
                    <a:cubicBezTo>
                      <a:pt x="38" y="35"/>
                      <a:pt x="38" y="34"/>
                      <a:pt x="37" y="33"/>
                    </a:cubicBezTo>
                    <a:cubicBezTo>
                      <a:pt x="37" y="33"/>
                      <a:pt x="38" y="33"/>
                      <a:pt x="39" y="32"/>
                    </a:cubicBezTo>
                    <a:cubicBezTo>
                      <a:pt x="39" y="32"/>
                      <a:pt x="38" y="31"/>
                      <a:pt x="38" y="30"/>
                    </a:cubicBezTo>
                    <a:cubicBezTo>
                      <a:pt x="38" y="30"/>
                      <a:pt x="37" y="29"/>
                      <a:pt x="36" y="29"/>
                    </a:cubicBezTo>
                    <a:cubicBezTo>
                      <a:pt x="36" y="28"/>
                      <a:pt x="36" y="28"/>
                      <a:pt x="35" y="27"/>
                    </a:cubicBezTo>
                    <a:cubicBezTo>
                      <a:pt x="35" y="27"/>
                      <a:pt x="36" y="27"/>
                      <a:pt x="36" y="27"/>
                    </a:cubicBezTo>
                    <a:cubicBezTo>
                      <a:pt x="37" y="26"/>
                      <a:pt x="37" y="26"/>
                      <a:pt x="37" y="25"/>
                    </a:cubicBezTo>
                    <a:cubicBezTo>
                      <a:pt x="36" y="24"/>
                      <a:pt x="36" y="24"/>
                      <a:pt x="36" y="23"/>
                    </a:cubicBezTo>
                    <a:cubicBezTo>
                      <a:pt x="36" y="23"/>
                      <a:pt x="37" y="23"/>
                      <a:pt x="37" y="22"/>
                    </a:cubicBezTo>
                    <a:cubicBezTo>
                      <a:pt x="37" y="22"/>
                      <a:pt x="37" y="22"/>
                      <a:pt x="37" y="21"/>
                    </a:cubicBezTo>
                    <a:cubicBezTo>
                      <a:pt x="37" y="21"/>
                      <a:pt x="37" y="21"/>
                      <a:pt x="37" y="20"/>
                    </a:cubicBezTo>
                    <a:cubicBezTo>
                      <a:pt x="37" y="20"/>
                      <a:pt x="37" y="20"/>
                      <a:pt x="37" y="20"/>
                    </a:cubicBezTo>
                    <a:cubicBezTo>
                      <a:pt x="37" y="19"/>
                      <a:pt x="37" y="19"/>
                      <a:pt x="36" y="19"/>
                    </a:cubicBezTo>
                    <a:cubicBezTo>
                      <a:pt x="36" y="19"/>
                      <a:pt x="35" y="19"/>
                      <a:pt x="35" y="19"/>
                    </a:cubicBezTo>
                    <a:cubicBezTo>
                      <a:pt x="35" y="19"/>
                      <a:pt x="34" y="20"/>
                      <a:pt x="34" y="19"/>
                    </a:cubicBezTo>
                    <a:cubicBezTo>
                      <a:pt x="34" y="19"/>
                      <a:pt x="35" y="19"/>
                      <a:pt x="35" y="19"/>
                    </a:cubicBezTo>
                    <a:cubicBezTo>
                      <a:pt x="34" y="19"/>
                      <a:pt x="34" y="19"/>
                      <a:pt x="34" y="19"/>
                    </a:cubicBezTo>
                    <a:cubicBezTo>
                      <a:pt x="34" y="18"/>
                      <a:pt x="35" y="18"/>
                      <a:pt x="35" y="18"/>
                    </a:cubicBezTo>
                    <a:cubicBezTo>
                      <a:pt x="35" y="18"/>
                      <a:pt x="36" y="18"/>
                      <a:pt x="35" y="18"/>
                    </a:cubicBezTo>
                    <a:cubicBezTo>
                      <a:pt x="35" y="18"/>
                      <a:pt x="35" y="18"/>
                      <a:pt x="34" y="17"/>
                    </a:cubicBezTo>
                    <a:cubicBezTo>
                      <a:pt x="34" y="17"/>
                      <a:pt x="34" y="17"/>
                      <a:pt x="35" y="17"/>
                    </a:cubicBezTo>
                    <a:cubicBezTo>
                      <a:pt x="35" y="18"/>
                      <a:pt x="35" y="17"/>
                      <a:pt x="35" y="16"/>
                    </a:cubicBezTo>
                    <a:cubicBezTo>
                      <a:pt x="35" y="16"/>
                      <a:pt x="35" y="15"/>
                      <a:pt x="35" y="15"/>
                    </a:cubicBezTo>
                    <a:cubicBezTo>
                      <a:pt x="35" y="15"/>
                      <a:pt x="35" y="14"/>
                      <a:pt x="35" y="14"/>
                    </a:cubicBezTo>
                    <a:cubicBezTo>
                      <a:pt x="36" y="14"/>
                      <a:pt x="35" y="13"/>
                      <a:pt x="36" y="13"/>
                    </a:cubicBezTo>
                    <a:cubicBezTo>
                      <a:pt x="36" y="13"/>
                      <a:pt x="35" y="12"/>
                      <a:pt x="35" y="12"/>
                    </a:cubicBezTo>
                    <a:cubicBezTo>
                      <a:pt x="35" y="11"/>
                      <a:pt x="35" y="11"/>
                      <a:pt x="35" y="10"/>
                    </a:cubicBezTo>
                    <a:cubicBezTo>
                      <a:pt x="35" y="10"/>
                      <a:pt x="36" y="10"/>
                      <a:pt x="36" y="10"/>
                    </a:cubicBezTo>
                    <a:cubicBezTo>
                      <a:pt x="36" y="10"/>
                      <a:pt x="35" y="10"/>
                      <a:pt x="35" y="10"/>
                    </a:cubicBezTo>
                    <a:cubicBezTo>
                      <a:pt x="35" y="10"/>
                      <a:pt x="35" y="9"/>
                      <a:pt x="35" y="9"/>
                    </a:cubicBezTo>
                    <a:cubicBezTo>
                      <a:pt x="35" y="9"/>
                      <a:pt x="34" y="9"/>
                      <a:pt x="34" y="9"/>
                    </a:cubicBezTo>
                    <a:cubicBezTo>
                      <a:pt x="33" y="9"/>
                      <a:pt x="33" y="8"/>
                      <a:pt x="33" y="7"/>
                    </a:cubicBezTo>
                    <a:cubicBezTo>
                      <a:pt x="32" y="7"/>
                      <a:pt x="31" y="7"/>
                      <a:pt x="31" y="6"/>
                    </a:cubicBezTo>
                    <a:cubicBezTo>
                      <a:pt x="31" y="5"/>
                      <a:pt x="32" y="5"/>
                      <a:pt x="32" y="4"/>
                    </a:cubicBezTo>
                    <a:cubicBezTo>
                      <a:pt x="32" y="4"/>
                      <a:pt x="32" y="3"/>
                      <a:pt x="32" y="3"/>
                    </a:cubicBezTo>
                    <a:cubicBezTo>
                      <a:pt x="32" y="2"/>
                      <a:pt x="32" y="2"/>
                      <a:pt x="32" y="2"/>
                    </a:cubicBezTo>
                    <a:cubicBezTo>
                      <a:pt x="32" y="1"/>
                      <a:pt x="32" y="1"/>
                      <a:pt x="31" y="1"/>
                    </a:cubicBezTo>
                    <a:cubicBezTo>
                      <a:pt x="31" y="1"/>
                      <a:pt x="30" y="0"/>
                      <a:pt x="29" y="1"/>
                    </a:cubicBezTo>
                    <a:cubicBezTo>
                      <a:pt x="29" y="1"/>
                      <a:pt x="29" y="1"/>
                      <a:pt x="29" y="1"/>
                    </a:cubicBezTo>
                    <a:cubicBezTo>
                      <a:pt x="29" y="1"/>
                      <a:pt x="28" y="2"/>
                      <a:pt x="28" y="1"/>
                    </a:cubicBezTo>
                    <a:cubicBezTo>
                      <a:pt x="28" y="1"/>
                      <a:pt x="28" y="2"/>
                      <a:pt x="27" y="2"/>
                    </a:cubicBezTo>
                    <a:cubicBezTo>
                      <a:pt x="27" y="2"/>
                      <a:pt x="27" y="2"/>
                      <a:pt x="27" y="3"/>
                    </a:cubicBezTo>
                    <a:cubicBezTo>
                      <a:pt x="26" y="3"/>
                      <a:pt x="26" y="3"/>
                      <a:pt x="26" y="3"/>
                    </a:cubicBezTo>
                    <a:cubicBezTo>
                      <a:pt x="26" y="3"/>
                      <a:pt x="26" y="3"/>
                      <a:pt x="25" y="3"/>
                    </a:cubicBezTo>
                    <a:cubicBezTo>
                      <a:pt x="25" y="2"/>
                      <a:pt x="25" y="2"/>
                      <a:pt x="24" y="2"/>
                    </a:cubicBezTo>
                    <a:cubicBezTo>
                      <a:pt x="24" y="2"/>
                      <a:pt x="24" y="2"/>
                      <a:pt x="24" y="3"/>
                    </a:cubicBezTo>
                    <a:cubicBezTo>
                      <a:pt x="23" y="3"/>
                      <a:pt x="23" y="2"/>
                      <a:pt x="23" y="2"/>
                    </a:cubicBezTo>
                    <a:cubicBezTo>
                      <a:pt x="23" y="2"/>
                      <a:pt x="22" y="2"/>
                      <a:pt x="21" y="2"/>
                    </a:cubicBezTo>
                    <a:cubicBezTo>
                      <a:pt x="20" y="2"/>
                      <a:pt x="20" y="2"/>
                      <a:pt x="19" y="2"/>
                    </a:cubicBezTo>
                    <a:cubicBezTo>
                      <a:pt x="18" y="2"/>
                      <a:pt x="18" y="2"/>
                      <a:pt x="17" y="2"/>
                    </a:cubicBezTo>
                    <a:cubicBezTo>
                      <a:pt x="16" y="2"/>
                      <a:pt x="14" y="2"/>
                      <a:pt x="13" y="2"/>
                    </a:cubicBezTo>
                    <a:cubicBezTo>
                      <a:pt x="11" y="2"/>
                      <a:pt x="9" y="2"/>
                      <a:pt x="8" y="2"/>
                    </a:cubicBezTo>
                    <a:cubicBezTo>
                      <a:pt x="7" y="2"/>
                      <a:pt x="6" y="3"/>
                      <a:pt x="5" y="2"/>
                    </a:cubicBezTo>
                    <a:cubicBezTo>
                      <a:pt x="4" y="2"/>
                      <a:pt x="5" y="3"/>
                      <a:pt x="5" y="3"/>
                    </a:cubicBezTo>
                    <a:cubicBezTo>
                      <a:pt x="5" y="3"/>
                      <a:pt x="3" y="5"/>
                      <a:pt x="4" y="6"/>
                    </a:cubicBezTo>
                    <a:cubicBezTo>
                      <a:pt x="4" y="6"/>
                      <a:pt x="4" y="7"/>
                      <a:pt x="4" y="7"/>
                    </a:cubicBezTo>
                    <a:cubicBezTo>
                      <a:pt x="4" y="8"/>
                      <a:pt x="4" y="8"/>
                      <a:pt x="4" y="8"/>
                    </a:cubicBezTo>
                    <a:cubicBezTo>
                      <a:pt x="4" y="9"/>
                      <a:pt x="5" y="9"/>
                      <a:pt x="5" y="9"/>
                    </a:cubicBezTo>
                    <a:cubicBezTo>
                      <a:pt x="5" y="9"/>
                      <a:pt x="4" y="9"/>
                      <a:pt x="4" y="10"/>
                    </a:cubicBezTo>
                    <a:cubicBezTo>
                      <a:pt x="4" y="10"/>
                      <a:pt x="5" y="10"/>
                      <a:pt x="5" y="10"/>
                    </a:cubicBezTo>
                    <a:cubicBezTo>
                      <a:pt x="5" y="11"/>
                      <a:pt x="5" y="11"/>
                      <a:pt x="5" y="11"/>
                    </a:cubicBezTo>
                    <a:cubicBezTo>
                      <a:pt x="5" y="12"/>
                      <a:pt x="5" y="13"/>
                      <a:pt x="5" y="13"/>
                    </a:cubicBezTo>
                    <a:cubicBezTo>
                      <a:pt x="5" y="14"/>
                      <a:pt x="6" y="15"/>
                      <a:pt x="5" y="16"/>
                    </a:cubicBezTo>
                    <a:cubicBezTo>
                      <a:pt x="5" y="16"/>
                      <a:pt x="5" y="16"/>
                      <a:pt x="5" y="17"/>
                    </a:cubicBezTo>
                    <a:cubicBezTo>
                      <a:pt x="5" y="17"/>
                      <a:pt x="5" y="18"/>
                      <a:pt x="5" y="18"/>
                    </a:cubicBezTo>
                    <a:cubicBezTo>
                      <a:pt x="5" y="19"/>
                      <a:pt x="6" y="19"/>
                      <a:pt x="6" y="19"/>
                    </a:cubicBezTo>
                    <a:cubicBezTo>
                      <a:pt x="6" y="20"/>
                      <a:pt x="6" y="20"/>
                      <a:pt x="6" y="21"/>
                    </a:cubicBezTo>
                    <a:cubicBezTo>
                      <a:pt x="6" y="21"/>
                      <a:pt x="6" y="21"/>
                      <a:pt x="6" y="22"/>
                    </a:cubicBezTo>
                    <a:cubicBezTo>
                      <a:pt x="6" y="22"/>
                      <a:pt x="5" y="22"/>
                      <a:pt x="5" y="22"/>
                    </a:cubicBezTo>
                    <a:cubicBezTo>
                      <a:pt x="5" y="23"/>
                      <a:pt x="5" y="24"/>
                      <a:pt x="5" y="24"/>
                    </a:cubicBezTo>
                    <a:cubicBezTo>
                      <a:pt x="5" y="24"/>
                      <a:pt x="6" y="24"/>
                      <a:pt x="6" y="24"/>
                    </a:cubicBezTo>
                    <a:cubicBezTo>
                      <a:pt x="6" y="24"/>
                      <a:pt x="7" y="26"/>
                      <a:pt x="6" y="27"/>
                    </a:cubicBezTo>
                    <a:cubicBezTo>
                      <a:pt x="7" y="27"/>
                      <a:pt x="7" y="31"/>
                      <a:pt x="7" y="32"/>
                    </a:cubicBezTo>
                    <a:cubicBezTo>
                      <a:pt x="8" y="32"/>
                      <a:pt x="8" y="33"/>
                      <a:pt x="7" y="33"/>
                    </a:cubicBezTo>
                    <a:cubicBezTo>
                      <a:pt x="7" y="33"/>
                      <a:pt x="6" y="34"/>
                      <a:pt x="7" y="34"/>
                    </a:cubicBezTo>
                    <a:cubicBezTo>
                      <a:pt x="7" y="35"/>
                      <a:pt x="6" y="35"/>
                      <a:pt x="6" y="35"/>
                    </a:cubicBezTo>
                    <a:cubicBezTo>
                      <a:pt x="6" y="35"/>
                      <a:pt x="5" y="36"/>
                      <a:pt x="5" y="36"/>
                    </a:cubicBezTo>
                    <a:cubicBezTo>
                      <a:pt x="5" y="36"/>
                      <a:pt x="5" y="37"/>
                      <a:pt x="4" y="38"/>
                    </a:cubicBezTo>
                    <a:cubicBezTo>
                      <a:pt x="4" y="38"/>
                      <a:pt x="4" y="39"/>
                      <a:pt x="4" y="39"/>
                    </a:cubicBezTo>
                    <a:cubicBezTo>
                      <a:pt x="3" y="40"/>
                      <a:pt x="3" y="41"/>
                      <a:pt x="3" y="43"/>
                    </a:cubicBezTo>
                    <a:cubicBezTo>
                      <a:pt x="3" y="43"/>
                      <a:pt x="3" y="44"/>
                      <a:pt x="3" y="44"/>
                    </a:cubicBezTo>
                    <a:cubicBezTo>
                      <a:pt x="3" y="45"/>
                      <a:pt x="2" y="45"/>
                      <a:pt x="2" y="45"/>
                    </a:cubicBezTo>
                    <a:cubicBezTo>
                      <a:pt x="2" y="46"/>
                      <a:pt x="1" y="46"/>
                      <a:pt x="1" y="47"/>
                    </a:cubicBezTo>
                    <a:cubicBezTo>
                      <a:pt x="1" y="47"/>
                      <a:pt x="0" y="48"/>
                      <a:pt x="0" y="49"/>
                    </a:cubicBezTo>
                    <a:cubicBezTo>
                      <a:pt x="0" y="49"/>
                      <a:pt x="1" y="49"/>
                      <a:pt x="1" y="50"/>
                    </a:cubicBezTo>
                    <a:cubicBezTo>
                      <a:pt x="0" y="50"/>
                      <a:pt x="0" y="50"/>
                      <a:pt x="0" y="51"/>
                    </a:cubicBezTo>
                    <a:cubicBezTo>
                      <a:pt x="0" y="52"/>
                      <a:pt x="0" y="53"/>
                      <a:pt x="1" y="54"/>
                    </a:cubicBezTo>
                    <a:cubicBezTo>
                      <a:pt x="1" y="55"/>
                      <a:pt x="2" y="56"/>
                      <a:pt x="2" y="57"/>
                    </a:cubicBezTo>
                    <a:cubicBezTo>
                      <a:pt x="2" y="58"/>
                      <a:pt x="2" y="58"/>
                      <a:pt x="2" y="59"/>
                    </a:cubicBezTo>
                    <a:cubicBezTo>
                      <a:pt x="2" y="59"/>
                      <a:pt x="2" y="60"/>
                      <a:pt x="2" y="60"/>
                    </a:cubicBezTo>
                    <a:cubicBezTo>
                      <a:pt x="2" y="61"/>
                      <a:pt x="3" y="60"/>
                      <a:pt x="3" y="61"/>
                    </a:cubicBezTo>
                    <a:cubicBezTo>
                      <a:pt x="3" y="62"/>
                      <a:pt x="4" y="61"/>
                      <a:pt x="4" y="61"/>
                    </a:cubicBezTo>
                    <a:cubicBezTo>
                      <a:pt x="5" y="62"/>
                      <a:pt x="5" y="63"/>
                      <a:pt x="5" y="63"/>
                    </a:cubicBezTo>
                    <a:cubicBezTo>
                      <a:pt x="5" y="64"/>
                      <a:pt x="6" y="64"/>
                      <a:pt x="5" y="64"/>
                    </a:cubicBezTo>
                    <a:cubicBezTo>
                      <a:pt x="5" y="65"/>
                      <a:pt x="5" y="64"/>
                      <a:pt x="5" y="65"/>
                    </a:cubicBezTo>
                    <a:cubicBezTo>
                      <a:pt x="5" y="65"/>
                      <a:pt x="5" y="66"/>
                      <a:pt x="5" y="67"/>
                    </a:cubicBezTo>
                    <a:cubicBezTo>
                      <a:pt x="5" y="68"/>
                      <a:pt x="4" y="67"/>
                      <a:pt x="4" y="67"/>
                    </a:cubicBezTo>
                    <a:cubicBezTo>
                      <a:pt x="3" y="67"/>
                      <a:pt x="2" y="67"/>
                      <a:pt x="1" y="67"/>
                    </a:cubicBezTo>
                    <a:cubicBezTo>
                      <a:pt x="1" y="67"/>
                      <a:pt x="3" y="68"/>
                      <a:pt x="3" y="68"/>
                    </a:cubicBezTo>
                    <a:cubicBezTo>
                      <a:pt x="4" y="68"/>
                      <a:pt x="6" y="68"/>
                      <a:pt x="7" y="69"/>
                    </a:cubicBezTo>
                    <a:cubicBezTo>
                      <a:pt x="8" y="69"/>
                      <a:pt x="9" y="69"/>
                      <a:pt x="10" y="70"/>
                    </a:cubicBezTo>
                    <a:cubicBezTo>
                      <a:pt x="11" y="71"/>
                      <a:pt x="11" y="72"/>
                      <a:pt x="12" y="71"/>
                    </a:cubicBezTo>
                    <a:cubicBezTo>
                      <a:pt x="13" y="71"/>
                      <a:pt x="13" y="70"/>
                      <a:pt x="13" y="70"/>
                    </a:cubicBezTo>
                    <a:cubicBezTo>
                      <a:pt x="14" y="70"/>
                      <a:pt x="14" y="70"/>
                      <a:pt x="14" y="70"/>
                    </a:cubicBezTo>
                    <a:cubicBezTo>
                      <a:pt x="15" y="69"/>
                      <a:pt x="15" y="69"/>
                      <a:pt x="15" y="69"/>
                    </a:cubicBezTo>
                    <a:cubicBezTo>
                      <a:pt x="16" y="69"/>
                      <a:pt x="16" y="68"/>
                      <a:pt x="16" y="68"/>
                    </a:cubicBezTo>
                    <a:cubicBezTo>
                      <a:pt x="17" y="68"/>
                      <a:pt x="18" y="68"/>
                      <a:pt x="19" y="67"/>
                    </a:cubicBezTo>
                    <a:cubicBezTo>
                      <a:pt x="20" y="67"/>
                      <a:pt x="21" y="66"/>
                      <a:pt x="22" y="66"/>
                    </a:cubicBezTo>
                    <a:cubicBezTo>
                      <a:pt x="23" y="66"/>
                      <a:pt x="24" y="66"/>
                      <a:pt x="25" y="65"/>
                    </a:cubicBezTo>
                    <a:cubicBezTo>
                      <a:pt x="25" y="64"/>
                      <a:pt x="26" y="65"/>
                      <a:pt x="27" y="64"/>
                    </a:cubicBezTo>
                    <a:cubicBezTo>
                      <a:pt x="28" y="63"/>
                      <a:pt x="30" y="62"/>
                      <a:pt x="31" y="62"/>
                    </a:cubicBezTo>
                    <a:cubicBezTo>
                      <a:pt x="32" y="61"/>
                      <a:pt x="33" y="61"/>
                      <a:pt x="33" y="60"/>
                    </a:cubicBezTo>
                    <a:cubicBezTo>
                      <a:pt x="34" y="60"/>
                      <a:pt x="35" y="60"/>
                      <a:pt x="37" y="60"/>
                    </a:cubicBezTo>
                    <a:cubicBezTo>
                      <a:pt x="37" y="60"/>
                      <a:pt x="38" y="60"/>
                      <a:pt x="38" y="60"/>
                    </a:cubicBezTo>
                    <a:cubicBezTo>
                      <a:pt x="38" y="59"/>
                      <a:pt x="38" y="59"/>
                      <a:pt x="38" y="58"/>
                    </a:cubicBezTo>
                    <a:cubicBezTo>
                      <a:pt x="37" y="58"/>
                      <a:pt x="36" y="56"/>
                      <a:pt x="35" y="57"/>
                    </a:cubicBezTo>
                    <a:cubicBezTo>
                      <a:pt x="35" y="58"/>
                      <a:pt x="34" y="56"/>
                      <a:pt x="34" y="56"/>
                    </a:cubicBezTo>
                    <a:cubicBezTo>
                      <a:pt x="34" y="56"/>
                      <a:pt x="34" y="57"/>
                      <a:pt x="35" y="57"/>
                    </a:cubicBezTo>
                    <a:cubicBezTo>
                      <a:pt x="36" y="57"/>
                      <a:pt x="36" y="56"/>
                      <a:pt x="36" y="57"/>
                    </a:cubicBezTo>
                    <a:cubicBezTo>
                      <a:pt x="38" y="57"/>
                      <a:pt x="38" y="59"/>
                      <a:pt x="38" y="60"/>
                    </a:cubicBezTo>
                    <a:cubicBezTo>
                      <a:pt x="38" y="61"/>
                      <a:pt x="41" y="60"/>
                      <a:pt x="41" y="59"/>
                    </a:cubicBezTo>
                    <a:cubicBezTo>
                      <a:pt x="41" y="59"/>
                      <a:pt x="41" y="58"/>
                      <a:pt x="42" y="58"/>
                    </a:cubicBezTo>
                    <a:cubicBezTo>
                      <a:pt x="42" y="57"/>
                      <a:pt x="42" y="57"/>
                      <a:pt x="43" y="57"/>
                    </a:cubicBezTo>
                    <a:cubicBezTo>
                      <a:pt x="43" y="56"/>
                      <a:pt x="43" y="55"/>
                      <a:pt x="42" y="5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7" name="Germany">
                <a:extLst>
                  <a:ext uri="{FF2B5EF4-FFF2-40B4-BE49-F238E27FC236}">
                    <a16:creationId xmlns:a16="http://schemas.microsoft.com/office/drawing/2014/main" id="{D2CBFCDE-1B9F-1124-1924-84840C045BF7}"/>
                  </a:ext>
                </a:extLst>
              </p:cNvPr>
              <p:cNvSpPr>
                <a:spLocks noEditPoints="1"/>
              </p:cNvSpPr>
              <p:nvPr/>
            </p:nvSpPr>
            <p:spPr bwMode="auto">
              <a:xfrm>
                <a:off x="5917220" y="1913472"/>
                <a:ext cx="272486" cy="294048"/>
              </a:xfrm>
              <a:custGeom>
                <a:avLst/>
                <a:gdLst/>
                <a:ahLst/>
                <a:cxnLst>
                  <a:cxn ang="0">
                    <a:pos x="45" y="7"/>
                  </a:cxn>
                  <a:cxn ang="0">
                    <a:pos x="61" y="9"/>
                  </a:cxn>
                  <a:cxn ang="0">
                    <a:pos x="65" y="9"/>
                  </a:cxn>
                  <a:cxn ang="0">
                    <a:pos x="60" y="6"/>
                  </a:cxn>
                  <a:cxn ang="0">
                    <a:pos x="62" y="6"/>
                  </a:cxn>
                  <a:cxn ang="0">
                    <a:pos x="61" y="7"/>
                  </a:cxn>
                  <a:cxn ang="0">
                    <a:pos x="61" y="7"/>
                  </a:cxn>
                  <a:cxn ang="0">
                    <a:pos x="74" y="45"/>
                  </a:cxn>
                  <a:cxn ang="0">
                    <a:pos x="71" y="44"/>
                  </a:cxn>
                  <a:cxn ang="0">
                    <a:pos x="63" y="47"/>
                  </a:cxn>
                  <a:cxn ang="0">
                    <a:pos x="57" y="50"/>
                  </a:cxn>
                  <a:cxn ang="0">
                    <a:pos x="53" y="52"/>
                  </a:cxn>
                  <a:cxn ang="0">
                    <a:pos x="56" y="58"/>
                  </a:cxn>
                  <a:cxn ang="0">
                    <a:pos x="66" y="66"/>
                  </a:cxn>
                  <a:cxn ang="0">
                    <a:pos x="63" y="71"/>
                  </a:cxn>
                  <a:cxn ang="0">
                    <a:pos x="59" y="79"/>
                  </a:cxn>
                  <a:cxn ang="0">
                    <a:pos x="51" y="79"/>
                  </a:cxn>
                  <a:cxn ang="0">
                    <a:pos x="43" y="81"/>
                  </a:cxn>
                  <a:cxn ang="0">
                    <a:pos x="38" y="81"/>
                  </a:cxn>
                  <a:cxn ang="0">
                    <a:pos x="31" y="80"/>
                  </a:cxn>
                  <a:cxn ang="0">
                    <a:pos x="23" y="78"/>
                  </a:cxn>
                  <a:cxn ang="0">
                    <a:pos x="17" y="80"/>
                  </a:cxn>
                  <a:cxn ang="0">
                    <a:pos x="14" y="74"/>
                  </a:cxn>
                  <a:cxn ang="0">
                    <a:pos x="18" y="67"/>
                  </a:cxn>
                  <a:cxn ang="0">
                    <a:pos x="9" y="62"/>
                  </a:cxn>
                  <a:cxn ang="0">
                    <a:pos x="4" y="58"/>
                  </a:cxn>
                  <a:cxn ang="0">
                    <a:pos x="2" y="52"/>
                  </a:cxn>
                  <a:cxn ang="0">
                    <a:pos x="3" y="47"/>
                  </a:cxn>
                  <a:cxn ang="0">
                    <a:pos x="0" y="43"/>
                  </a:cxn>
                  <a:cxn ang="0">
                    <a:pos x="2" y="37"/>
                  </a:cxn>
                  <a:cxn ang="0">
                    <a:pos x="4" y="34"/>
                  </a:cxn>
                  <a:cxn ang="0">
                    <a:pos x="9" y="31"/>
                  </a:cxn>
                  <a:cxn ang="0">
                    <a:pos x="8" y="26"/>
                  </a:cxn>
                  <a:cxn ang="0">
                    <a:pos x="10" y="17"/>
                  </a:cxn>
                  <a:cxn ang="0">
                    <a:pos x="19" y="17"/>
                  </a:cxn>
                  <a:cxn ang="0">
                    <a:pos x="22" y="17"/>
                  </a:cxn>
                  <a:cxn ang="0">
                    <a:pos x="26" y="14"/>
                  </a:cxn>
                  <a:cxn ang="0">
                    <a:pos x="31" y="16"/>
                  </a:cxn>
                  <a:cxn ang="0">
                    <a:pos x="25" y="10"/>
                  </a:cxn>
                  <a:cxn ang="0">
                    <a:pos x="23" y="8"/>
                  </a:cxn>
                  <a:cxn ang="0">
                    <a:pos x="21" y="4"/>
                  </a:cxn>
                  <a:cxn ang="0">
                    <a:pos x="29" y="3"/>
                  </a:cxn>
                  <a:cxn ang="0">
                    <a:pos x="34" y="5"/>
                  </a:cxn>
                  <a:cxn ang="0">
                    <a:pos x="36" y="8"/>
                  </a:cxn>
                  <a:cxn ang="0">
                    <a:pos x="43" y="8"/>
                  </a:cxn>
                  <a:cxn ang="0">
                    <a:pos x="47" y="12"/>
                  </a:cxn>
                  <a:cxn ang="0">
                    <a:pos x="52" y="10"/>
                  </a:cxn>
                  <a:cxn ang="0">
                    <a:pos x="54" y="9"/>
                  </a:cxn>
                  <a:cxn ang="0">
                    <a:pos x="60" y="9"/>
                  </a:cxn>
                  <a:cxn ang="0">
                    <a:pos x="65" y="10"/>
                  </a:cxn>
                  <a:cxn ang="0">
                    <a:pos x="66" y="12"/>
                  </a:cxn>
                  <a:cxn ang="0">
                    <a:pos x="65" y="11"/>
                  </a:cxn>
                  <a:cxn ang="0">
                    <a:pos x="70" y="17"/>
                  </a:cxn>
                  <a:cxn ang="0">
                    <a:pos x="69" y="24"/>
                  </a:cxn>
                  <a:cxn ang="0">
                    <a:pos x="74" y="33"/>
                  </a:cxn>
                  <a:cxn ang="0">
                    <a:pos x="22" y="18"/>
                  </a:cxn>
                </a:cxnLst>
                <a:rect l="0" t="0" r="r" b="b"/>
                <a:pathLst>
                  <a:path w="77" h="83">
                    <a:moveTo>
                      <a:pt x="15" y="14"/>
                    </a:moveTo>
                    <a:cubicBezTo>
                      <a:pt x="15" y="14"/>
                      <a:pt x="14" y="15"/>
                      <a:pt x="14" y="15"/>
                    </a:cubicBezTo>
                    <a:cubicBezTo>
                      <a:pt x="14" y="14"/>
                      <a:pt x="14" y="14"/>
                      <a:pt x="14" y="14"/>
                    </a:cubicBezTo>
                    <a:cubicBezTo>
                      <a:pt x="14" y="14"/>
                      <a:pt x="15" y="14"/>
                      <a:pt x="15" y="14"/>
                    </a:cubicBezTo>
                    <a:close/>
                    <a:moveTo>
                      <a:pt x="43" y="7"/>
                    </a:moveTo>
                    <a:cubicBezTo>
                      <a:pt x="44" y="8"/>
                      <a:pt x="44" y="7"/>
                      <a:pt x="45" y="7"/>
                    </a:cubicBezTo>
                    <a:cubicBezTo>
                      <a:pt x="45" y="7"/>
                      <a:pt x="45" y="7"/>
                      <a:pt x="45" y="7"/>
                    </a:cubicBezTo>
                    <a:cubicBezTo>
                      <a:pt x="45" y="7"/>
                      <a:pt x="44" y="6"/>
                      <a:pt x="44" y="6"/>
                    </a:cubicBezTo>
                    <a:cubicBezTo>
                      <a:pt x="43" y="6"/>
                      <a:pt x="42" y="7"/>
                      <a:pt x="43" y="7"/>
                    </a:cubicBezTo>
                    <a:cubicBezTo>
                      <a:pt x="43" y="7"/>
                      <a:pt x="43" y="7"/>
                      <a:pt x="43" y="7"/>
                    </a:cubicBezTo>
                    <a:close/>
                    <a:moveTo>
                      <a:pt x="60" y="9"/>
                    </a:moveTo>
                    <a:cubicBezTo>
                      <a:pt x="60" y="9"/>
                      <a:pt x="60" y="9"/>
                      <a:pt x="60" y="9"/>
                    </a:cubicBezTo>
                    <a:cubicBezTo>
                      <a:pt x="61" y="8"/>
                      <a:pt x="61" y="9"/>
                      <a:pt x="62" y="9"/>
                    </a:cubicBezTo>
                    <a:cubicBezTo>
                      <a:pt x="62" y="9"/>
                      <a:pt x="62" y="9"/>
                      <a:pt x="61" y="9"/>
                    </a:cubicBezTo>
                    <a:cubicBezTo>
                      <a:pt x="62" y="9"/>
                      <a:pt x="62" y="10"/>
                      <a:pt x="62" y="9"/>
                    </a:cubicBezTo>
                    <a:cubicBezTo>
                      <a:pt x="62" y="9"/>
                      <a:pt x="62" y="9"/>
                      <a:pt x="62" y="9"/>
                    </a:cubicBezTo>
                    <a:cubicBezTo>
                      <a:pt x="62" y="9"/>
                      <a:pt x="63" y="8"/>
                      <a:pt x="63" y="8"/>
                    </a:cubicBezTo>
                    <a:cubicBezTo>
                      <a:pt x="63" y="8"/>
                      <a:pt x="64" y="8"/>
                      <a:pt x="64" y="8"/>
                    </a:cubicBezTo>
                    <a:cubicBezTo>
                      <a:pt x="64" y="8"/>
                      <a:pt x="64" y="8"/>
                      <a:pt x="65" y="8"/>
                    </a:cubicBezTo>
                    <a:cubicBezTo>
                      <a:pt x="65" y="8"/>
                      <a:pt x="64" y="9"/>
                      <a:pt x="64" y="9"/>
                    </a:cubicBezTo>
                    <a:cubicBezTo>
                      <a:pt x="64" y="9"/>
                      <a:pt x="65" y="9"/>
                      <a:pt x="65" y="9"/>
                    </a:cubicBezTo>
                    <a:cubicBezTo>
                      <a:pt x="65" y="9"/>
                      <a:pt x="65" y="8"/>
                      <a:pt x="65" y="8"/>
                    </a:cubicBezTo>
                    <a:cubicBezTo>
                      <a:pt x="65" y="8"/>
                      <a:pt x="64" y="8"/>
                      <a:pt x="64" y="7"/>
                    </a:cubicBezTo>
                    <a:cubicBezTo>
                      <a:pt x="64" y="7"/>
                      <a:pt x="63" y="7"/>
                      <a:pt x="64" y="7"/>
                    </a:cubicBezTo>
                    <a:cubicBezTo>
                      <a:pt x="64" y="7"/>
                      <a:pt x="65" y="6"/>
                      <a:pt x="64" y="6"/>
                    </a:cubicBezTo>
                    <a:cubicBezTo>
                      <a:pt x="64" y="6"/>
                      <a:pt x="61" y="6"/>
                      <a:pt x="62" y="5"/>
                    </a:cubicBezTo>
                    <a:cubicBezTo>
                      <a:pt x="62" y="5"/>
                      <a:pt x="61" y="5"/>
                      <a:pt x="61" y="5"/>
                    </a:cubicBezTo>
                    <a:cubicBezTo>
                      <a:pt x="61" y="5"/>
                      <a:pt x="61" y="6"/>
                      <a:pt x="60" y="6"/>
                    </a:cubicBezTo>
                    <a:cubicBezTo>
                      <a:pt x="60" y="6"/>
                      <a:pt x="61" y="5"/>
                      <a:pt x="61" y="5"/>
                    </a:cubicBezTo>
                    <a:cubicBezTo>
                      <a:pt x="61" y="5"/>
                      <a:pt x="61" y="6"/>
                      <a:pt x="61" y="6"/>
                    </a:cubicBezTo>
                    <a:cubicBezTo>
                      <a:pt x="61" y="6"/>
                      <a:pt x="62" y="5"/>
                      <a:pt x="62" y="5"/>
                    </a:cubicBezTo>
                    <a:cubicBezTo>
                      <a:pt x="62" y="6"/>
                      <a:pt x="63" y="6"/>
                      <a:pt x="63" y="6"/>
                    </a:cubicBezTo>
                    <a:cubicBezTo>
                      <a:pt x="63" y="6"/>
                      <a:pt x="63" y="7"/>
                      <a:pt x="63" y="7"/>
                    </a:cubicBezTo>
                    <a:cubicBezTo>
                      <a:pt x="62" y="7"/>
                      <a:pt x="62" y="6"/>
                      <a:pt x="62" y="6"/>
                    </a:cubicBezTo>
                    <a:cubicBezTo>
                      <a:pt x="62" y="6"/>
                      <a:pt x="62" y="6"/>
                      <a:pt x="62" y="6"/>
                    </a:cubicBezTo>
                    <a:cubicBezTo>
                      <a:pt x="62" y="6"/>
                      <a:pt x="62" y="6"/>
                      <a:pt x="62" y="6"/>
                    </a:cubicBezTo>
                    <a:cubicBezTo>
                      <a:pt x="62" y="6"/>
                      <a:pt x="61" y="6"/>
                      <a:pt x="61" y="6"/>
                    </a:cubicBezTo>
                    <a:cubicBezTo>
                      <a:pt x="61" y="6"/>
                      <a:pt x="60" y="6"/>
                      <a:pt x="60" y="6"/>
                    </a:cubicBezTo>
                    <a:cubicBezTo>
                      <a:pt x="60" y="6"/>
                      <a:pt x="61" y="7"/>
                      <a:pt x="61" y="7"/>
                    </a:cubicBezTo>
                    <a:cubicBezTo>
                      <a:pt x="61" y="7"/>
                      <a:pt x="61" y="7"/>
                      <a:pt x="61" y="7"/>
                    </a:cubicBezTo>
                    <a:cubicBezTo>
                      <a:pt x="61" y="7"/>
                      <a:pt x="61" y="7"/>
                      <a:pt x="61" y="7"/>
                    </a:cubicBezTo>
                    <a:cubicBezTo>
                      <a:pt x="61" y="7"/>
                      <a:pt x="61" y="7"/>
                      <a:pt x="61" y="7"/>
                    </a:cubicBezTo>
                    <a:cubicBezTo>
                      <a:pt x="61" y="7"/>
                      <a:pt x="61" y="7"/>
                      <a:pt x="61" y="7"/>
                    </a:cubicBezTo>
                    <a:cubicBezTo>
                      <a:pt x="61" y="7"/>
                      <a:pt x="60" y="7"/>
                      <a:pt x="60" y="7"/>
                    </a:cubicBezTo>
                    <a:cubicBezTo>
                      <a:pt x="61" y="7"/>
                      <a:pt x="61" y="8"/>
                      <a:pt x="61" y="8"/>
                    </a:cubicBezTo>
                    <a:cubicBezTo>
                      <a:pt x="61" y="8"/>
                      <a:pt x="59" y="8"/>
                      <a:pt x="60" y="9"/>
                    </a:cubicBezTo>
                    <a:close/>
                    <a:moveTo>
                      <a:pt x="61" y="7"/>
                    </a:moveTo>
                    <a:cubicBezTo>
                      <a:pt x="61" y="7"/>
                      <a:pt x="61" y="7"/>
                      <a:pt x="61" y="7"/>
                    </a:cubicBezTo>
                    <a:cubicBezTo>
                      <a:pt x="61" y="7"/>
                      <a:pt x="61" y="7"/>
                      <a:pt x="61" y="7"/>
                    </a:cubicBezTo>
                    <a:cubicBezTo>
                      <a:pt x="61" y="7"/>
                      <a:pt x="61" y="7"/>
                      <a:pt x="61" y="7"/>
                    </a:cubicBezTo>
                    <a:close/>
                    <a:moveTo>
                      <a:pt x="43" y="8"/>
                    </a:moveTo>
                    <a:cubicBezTo>
                      <a:pt x="43" y="8"/>
                      <a:pt x="43" y="8"/>
                      <a:pt x="43" y="8"/>
                    </a:cubicBezTo>
                    <a:cubicBezTo>
                      <a:pt x="42" y="8"/>
                      <a:pt x="42" y="8"/>
                      <a:pt x="43" y="8"/>
                    </a:cubicBezTo>
                    <a:close/>
                    <a:moveTo>
                      <a:pt x="77" y="41"/>
                    </a:moveTo>
                    <a:cubicBezTo>
                      <a:pt x="76" y="42"/>
                      <a:pt x="76" y="43"/>
                      <a:pt x="75" y="44"/>
                    </a:cubicBezTo>
                    <a:cubicBezTo>
                      <a:pt x="75" y="44"/>
                      <a:pt x="75" y="45"/>
                      <a:pt x="74" y="45"/>
                    </a:cubicBezTo>
                    <a:cubicBezTo>
                      <a:pt x="74" y="45"/>
                      <a:pt x="73" y="45"/>
                      <a:pt x="73" y="45"/>
                    </a:cubicBezTo>
                    <a:cubicBezTo>
                      <a:pt x="73" y="45"/>
                      <a:pt x="74" y="44"/>
                      <a:pt x="73" y="44"/>
                    </a:cubicBezTo>
                    <a:cubicBezTo>
                      <a:pt x="73" y="44"/>
                      <a:pt x="73" y="44"/>
                      <a:pt x="73" y="44"/>
                    </a:cubicBezTo>
                    <a:cubicBezTo>
                      <a:pt x="73" y="44"/>
                      <a:pt x="73" y="44"/>
                      <a:pt x="73" y="43"/>
                    </a:cubicBezTo>
                    <a:cubicBezTo>
                      <a:pt x="73" y="43"/>
                      <a:pt x="72" y="43"/>
                      <a:pt x="72" y="43"/>
                    </a:cubicBezTo>
                    <a:cubicBezTo>
                      <a:pt x="71" y="43"/>
                      <a:pt x="71" y="43"/>
                      <a:pt x="70" y="43"/>
                    </a:cubicBezTo>
                    <a:cubicBezTo>
                      <a:pt x="70" y="43"/>
                      <a:pt x="71" y="44"/>
                      <a:pt x="71" y="44"/>
                    </a:cubicBezTo>
                    <a:cubicBezTo>
                      <a:pt x="70" y="44"/>
                      <a:pt x="72" y="44"/>
                      <a:pt x="71" y="44"/>
                    </a:cubicBezTo>
                    <a:cubicBezTo>
                      <a:pt x="71" y="45"/>
                      <a:pt x="70" y="44"/>
                      <a:pt x="70" y="45"/>
                    </a:cubicBezTo>
                    <a:cubicBezTo>
                      <a:pt x="70" y="45"/>
                      <a:pt x="69" y="45"/>
                      <a:pt x="69" y="45"/>
                    </a:cubicBezTo>
                    <a:cubicBezTo>
                      <a:pt x="68" y="45"/>
                      <a:pt x="68" y="45"/>
                      <a:pt x="67" y="46"/>
                    </a:cubicBezTo>
                    <a:cubicBezTo>
                      <a:pt x="67" y="46"/>
                      <a:pt x="66" y="46"/>
                      <a:pt x="66" y="46"/>
                    </a:cubicBezTo>
                    <a:cubicBezTo>
                      <a:pt x="65" y="46"/>
                      <a:pt x="64" y="46"/>
                      <a:pt x="64" y="47"/>
                    </a:cubicBezTo>
                    <a:cubicBezTo>
                      <a:pt x="64" y="47"/>
                      <a:pt x="63" y="48"/>
                      <a:pt x="63" y="47"/>
                    </a:cubicBezTo>
                    <a:cubicBezTo>
                      <a:pt x="63" y="47"/>
                      <a:pt x="63" y="47"/>
                      <a:pt x="63" y="47"/>
                    </a:cubicBezTo>
                    <a:cubicBezTo>
                      <a:pt x="62" y="48"/>
                      <a:pt x="62" y="48"/>
                      <a:pt x="62" y="48"/>
                    </a:cubicBezTo>
                    <a:cubicBezTo>
                      <a:pt x="61" y="48"/>
                      <a:pt x="61" y="49"/>
                      <a:pt x="61" y="49"/>
                    </a:cubicBezTo>
                    <a:cubicBezTo>
                      <a:pt x="60" y="49"/>
                      <a:pt x="60" y="48"/>
                      <a:pt x="60" y="49"/>
                    </a:cubicBezTo>
                    <a:cubicBezTo>
                      <a:pt x="60" y="49"/>
                      <a:pt x="60" y="49"/>
                      <a:pt x="59" y="50"/>
                    </a:cubicBezTo>
                    <a:cubicBezTo>
                      <a:pt x="59" y="50"/>
                      <a:pt x="58" y="49"/>
                      <a:pt x="58" y="49"/>
                    </a:cubicBezTo>
                    <a:cubicBezTo>
                      <a:pt x="58" y="49"/>
                      <a:pt x="57" y="50"/>
                      <a:pt x="57" y="50"/>
                    </a:cubicBezTo>
                    <a:cubicBezTo>
                      <a:pt x="57" y="50"/>
                      <a:pt x="56" y="50"/>
                      <a:pt x="56" y="50"/>
                    </a:cubicBezTo>
                    <a:cubicBezTo>
                      <a:pt x="56" y="50"/>
                      <a:pt x="55" y="50"/>
                      <a:pt x="55" y="50"/>
                    </a:cubicBezTo>
                    <a:cubicBezTo>
                      <a:pt x="54" y="51"/>
                      <a:pt x="54" y="51"/>
                      <a:pt x="54" y="52"/>
                    </a:cubicBezTo>
                    <a:cubicBezTo>
                      <a:pt x="54" y="53"/>
                      <a:pt x="53" y="51"/>
                      <a:pt x="53" y="51"/>
                    </a:cubicBezTo>
                    <a:cubicBezTo>
                      <a:pt x="53" y="51"/>
                      <a:pt x="53" y="51"/>
                      <a:pt x="53" y="51"/>
                    </a:cubicBezTo>
                    <a:cubicBezTo>
                      <a:pt x="53" y="50"/>
                      <a:pt x="52" y="50"/>
                      <a:pt x="52" y="50"/>
                    </a:cubicBezTo>
                    <a:cubicBezTo>
                      <a:pt x="53" y="51"/>
                      <a:pt x="52" y="51"/>
                      <a:pt x="53" y="52"/>
                    </a:cubicBezTo>
                    <a:cubicBezTo>
                      <a:pt x="53" y="52"/>
                      <a:pt x="53" y="53"/>
                      <a:pt x="53" y="53"/>
                    </a:cubicBezTo>
                    <a:cubicBezTo>
                      <a:pt x="54" y="54"/>
                      <a:pt x="55" y="54"/>
                      <a:pt x="55" y="54"/>
                    </a:cubicBezTo>
                    <a:cubicBezTo>
                      <a:pt x="55" y="54"/>
                      <a:pt x="55" y="54"/>
                      <a:pt x="55" y="54"/>
                    </a:cubicBezTo>
                    <a:cubicBezTo>
                      <a:pt x="55" y="55"/>
                      <a:pt x="56" y="55"/>
                      <a:pt x="56" y="55"/>
                    </a:cubicBezTo>
                    <a:cubicBezTo>
                      <a:pt x="56" y="55"/>
                      <a:pt x="54" y="56"/>
                      <a:pt x="55" y="57"/>
                    </a:cubicBezTo>
                    <a:cubicBezTo>
                      <a:pt x="55" y="57"/>
                      <a:pt x="55" y="57"/>
                      <a:pt x="55" y="57"/>
                    </a:cubicBezTo>
                    <a:cubicBezTo>
                      <a:pt x="56" y="57"/>
                      <a:pt x="56" y="58"/>
                      <a:pt x="56" y="58"/>
                    </a:cubicBezTo>
                    <a:cubicBezTo>
                      <a:pt x="56" y="58"/>
                      <a:pt x="57" y="59"/>
                      <a:pt x="57" y="59"/>
                    </a:cubicBezTo>
                    <a:cubicBezTo>
                      <a:pt x="57" y="60"/>
                      <a:pt x="58" y="61"/>
                      <a:pt x="58" y="61"/>
                    </a:cubicBezTo>
                    <a:cubicBezTo>
                      <a:pt x="59" y="61"/>
                      <a:pt x="59" y="61"/>
                      <a:pt x="59" y="61"/>
                    </a:cubicBezTo>
                    <a:cubicBezTo>
                      <a:pt x="61" y="61"/>
                      <a:pt x="61" y="63"/>
                      <a:pt x="62" y="63"/>
                    </a:cubicBezTo>
                    <a:cubicBezTo>
                      <a:pt x="63" y="64"/>
                      <a:pt x="63" y="64"/>
                      <a:pt x="63" y="65"/>
                    </a:cubicBezTo>
                    <a:cubicBezTo>
                      <a:pt x="64" y="65"/>
                      <a:pt x="64" y="65"/>
                      <a:pt x="65" y="65"/>
                    </a:cubicBezTo>
                    <a:cubicBezTo>
                      <a:pt x="65" y="65"/>
                      <a:pt x="66" y="66"/>
                      <a:pt x="66" y="66"/>
                    </a:cubicBezTo>
                    <a:cubicBezTo>
                      <a:pt x="66" y="66"/>
                      <a:pt x="67" y="66"/>
                      <a:pt x="67" y="67"/>
                    </a:cubicBezTo>
                    <a:cubicBezTo>
                      <a:pt x="67" y="67"/>
                      <a:pt x="67" y="67"/>
                      <a:pt x="67" y="68"/>
                    </a:cubicBezTo>
                    <a:cubicBezTo>
                      <a:pt x="67" y="68"/>
                      <a:pt x="67" y="68"/>
                      <a:pt x="67" y="68"/>
                    </a:cubicBezTo>
                    <a:cubicBezTo>
                      <a:pt x="67" y="69"/>
                      <a:pt x="66" y="69"/>
                      <a:pt x="66" y="69"/>
                    </a:cubicBezTo>
                    <a:cubicBezTo>
                      <a:pt x="66" y="70"/>
                      <a:pt x="66" y="70"/>
                      <a:pt x="66" y="69"/>
                    </a:cubicBezTo>
                    <a:cubicBezTo>
                      <a:pt x="65" y="69"/>
                      <a:pt x="64" y="69"/>
                      <a:pt x="64" y="70"/>
                    </a:cubicBezTo>
                    <a:cubicBezTo>
                      <a:pt x="64" y="70"/>
                      <a:pt x="64" y="71"/>
                      <a:pt x="63" y="71"/>
                    </a:cubicBezTo>
                    <a:cubicBezTo>
                      <a:pt x="63" y="72"/>
                      <a:pt x="62" y="72"/>
                      <a:pt x="61" y="72"/>
                    </a:cubicBezTo>
                    <a:cubicBezTo>
                      <a:pt x="61" y="72"/>
                      <a:pt x="57" y="74"/>
                      <a:pt x="58" y="75"/>
                    </a:cubicBezTo>
                    <a:cubicBezTo>
                      <a:pt x="59" y="75"/>
                      <a:pt x="60" y="76"/>
                      <a:pt x="60" y="77"/>
                    </a:cubicBezTo>
                    <a:cubicBezTo>
                      <a:pt x="60" y="77"/>
                      <a:pt x="60" y="78"/>
                      <a:pt x="59" y="78"/>
                    </a:cubicBezTo>
                    <a:cubicBezTo>
                      <a:pt x="59" y="78"/>
                      <a:pt x="60" y="78"/>
                      <a:pt x="60" y="78"/>
                    </a:cubicBezTo>
                    <a:cubicBezTo>
                      <a:pt x="61" y="79"/>
                      <a:pt x="61" y="81"/>
                      <a:pt x="60" y="81"/>
                    </a:cubicBezTo>
                    <a:cubicBezTo>
                      <a:pt x="60" y="81"/>
                      <a:pt x="58" y="79"/>
                      <a:pt x="59" y="79"/>
                    </a:cubicBezTo>
                    <a:cubicBezTo>
                      <a:pt x="58" y="79"/>
                      <a:pt x="58" y="79"/>
                      <a:pt x="57" y="79"/>
                    </a:cubicBezTo>
                    <a:cubicBezTo>
                      <a:pt x="57" y="79"/>
                      <a:pt x="56" y="79"/>
                      <a:pt x="56" y="79"/>
                    </a:cubicBezTo>
                    <a:cubicBezTo>
                      <a:pt x="55" y="79"/>
                      <a:pt x="55" y="79"/>
                      <a:pt x="55" y="78"/>
                    </a:cubicBezTo>
                    <a:cubicBezTo>
                      <a:pt x="54" y="78"/>
                      <a:pt x="53" y="79"/>
                      <a:pt x="54" y="78"/>
                    </a:cubicBezTo>
                    <a:cubicBezTo>
                      <a:pt x="53" y="78"/>
                      <a:pt x="53" y="78"/>
                      <a:pt x="53" y="79"/>
                    </a:cubicBezTo>
                    <a:cubicBezTo>
                      <a:pt x="53" y="79"/>
                      <a:pt x="53" y="79"/>
                      <a:pt x="53" y="79"/>
                    </a:cubicBezTo>
                    <a:cubicBezTo>
                      <a:pt x="52" y="79"/>
                      <a:pt x="52" y="79"/>
                      <a:pt x="51" y="79"/>
                    </a:cubicBezTo>
                    <a:cubicBezTo>
                      <a:pt x="51" y="80"/>
                      <a:pt x="50" y="80"/>
                      <a:pt x="50" y="80"/>
                    </a:cubicBezTo>
                    <a:cubicBezTo>
                      <a:pt x="49" y="80"/>
                      <a:pt x="48" y="79"/>
                      <a:pt x="48" y="80"/>
                    </a:cubicBezTo>
                    <a:cubicBezTo>
                      <a:pt x="48" y="80"/>
                      <a:pt x="48" y="80"/>
                      <a:pt x="48" y="80"/>
                    </a:cubicBezTo>
                    <a:cubicBezTo>
                      <a:pt x="47" y="80"/>
                      <a:pt x="46" y="81"/>
                      <a:pt x="47" y="81"/>
                    </a:cubicBezTo>
                    <a:cubicBezTo>
                      <a:pt x="46" y="81"/>
                      <a:pt x="46" y="82"/>
                      <a:pt x="45" y="82"/>
                    </a:cubicBezTo>
                    <a:cubicBezTo>
                      <a:pt x="45" y="82"/>
                      <a:pt x="45" y="81"/>
                      <a:pt x="44" y="81"/>
                    </a:cubicBezTo>
                    <a:cubicBezTo>
                      <a:pt x="44" y="82"/>
                      <a:pt x="43" y="82"/>
                      <a:pt x="43" y="81"/>
                    </a:cubicBezTo>
                    <a:cubicBezTo>
                      <a:pt x="43" y="81"/>
                      <a:pt x="42" y="81"/>
                      <a:pt x="42" y="81"/>
                    </a:cubicBezTo>
                    <a:cubicBezTo>
                      <a:pt x="42" y="81"/>
                      <a:pt x="42" y="80"/>
                      <a:pt x="42" y="80"/>
                    </a:cubicBezTo>
                    <a:cubicBezTo>
                      <a:pt x="42" y="80"/>
                      <a:pt x="42" y="80"/>
                      <a:pt x="41" y="80"/>
                    </a:cubicBezTo>
                    <a:cubicBezTo>
                      <a:pt x="41" y="80"/>
                      <a:pt x="40" y="80"/>
                      <a:pt x="40" y="80"/>
                    </a:cubicBezTo>
                    <a:cubicBezTo>
                      <a:pt x="39" y="80"/>
                      <a:pt x="39" y="80"/>
                      <a:pt x="39" y="80"/>
                    </a:cubicBezTo>
                    <a:cubicBezTo>
                      <a:pt x="38" y="80"/>
                      <a:pt x="39" y="80"/>
                      <a:pt x="39" y="80"/>
                    </a:cubicBezTo>
                    <a:cubicBezTo>
                      <a:pt x="38" y="79"/>
                      <a:pt x="38" y="81"/>
                      <a:pt x="38" y="81"/>
                    </a:cubicBezTo>
                    <a:cubicBezTo>
                      <a:pt x="38" y="82"/>
                      <a:pt x="37" y="83"/>
                      <a:pt x="36" y="83"/>
                    </a:cubicBezTo>
                    <a:cubicBezTo>
                      <a:pt x="36" y="83"/>
                      <a:pt x="37" y="82"/>
                      <a:pt x="36" y="82"/>
                    </a:cubicBezTo>
                    <a:cubicBezTo>
                      <a:pt x="36" y="82"/>
                      <a:pt x="35" y="82"/>
                      <a:pt x="35" y="82"/>
                    </a:cubicBezTo>
                    <a:cubicBezTo>
                      <a:pt x="35" y="81"/>
                      <a:pt x="34" y="80"/>
                      <a:pt x="34" y="80"/>
                    </a:cubicBezTo>
                    <a:cubicBezTo>
                      <a:pt x="34" y="80"/>
                      <a:pt x="33" y="80"/>
                      <a:pt x="33" y="80"/>
                    </a:cubicBezTo>
                    <a:cubicBezTo>
                      <a:pt x="33" y="80"/>
                      <a:pt x="33" y="79"/>
                      <a:pt x="33" y="80"/>
                    </a:cubicBezTo>
                    <a:cubicBezTo>
                      <a:pt x="32" y="80"/>
                      <a:pt x="32" y="80"/>
                      <a:pt x="31" y="80"/>
                    </a:cubicBezTo>
                    <a:cubicBezTo>
                      <a:pt x="30" y="80"/>
                      <a:pt x="29" y="79"/>
                      <a:pt x="28" y="79"/>
                    </a:cubicBezTo>
                    <a:cubicBezTo>
                      <a:pt x="27" y="79"/>
                      <a:pt x="27" y="79"/>
                      <a:pt x="26" y="79"/>
                    </a:cubicBezTo>
                    <a:cubicBezTo>
                      <a:pt x="25" y="79"/>
                      <a:pt x="24" y="79"/>
                      <a:pt x="25" y="78"/>
                    </a:cubicBezTo>
                    <a:cubicBezTo>
                      <a:pt x="24" y="78"/>
                      <a:pt x="24" y="78"/>
                      <a:pt x="24" y="79"/>
                    </a:cubicBezTo>
                    <a:cubicBezTo>
                      <a:pt x="24" y="79"/>
                      <a:pt x="24" y="79"/>
                      <a:pt x="24" y="78"/>
                    </a:cubicBezTo>
                    <a:cubicBezTo>
                      <a:pt x="24" y="78"/>
                      <a:pt x="24" y="78"/>
                      <a:pt x="24" y="78"/>
                    </a:cubicBezTo>
                    <a:cubicBezTo>
                      <a:pt x="23" y="78"/>
                      <a:pt x="23" y="77"/>
                      <a:pt x="23" y="78"/>
                    </a:cubicBezTo>
                    <a:cubicBezTo>
                      <a:pt x="23" y="77"/>
                      <a:pt x="21" y="78"/>
                      <a:pt x="21" y="79"/>
                    </a:cubicBezTo>
                    <a:cubicBezTo>
                      <a:pt x="21" y="79"/>
                      <a:pt x="22" y="79"/>
                      <a:pt x="22" y="79"/>
                    </a:cubicBezTo>
                    <a:cubicBezTo>
                      <a:pt x="23" y="79"/>
                      <a:pt x="23" y="79"/>
                      <a:pt x="22" y="80"/>
                    </a:cubicBezTo>
                    <a:cubicBezTo>
                      <a:pt x="22" y="79"/>
                      <a:pt x="21" y="79"/>
                      <a:pt x="22" y="80"/>
                    </a:cubicBezTo>
                    <a:cubicBezTo>
                      <a:pt x="21" y="80"/>
                      <a:pt x="20" y="80"/>
                      <a:pt x="19" y="79"/>
                    </a:cubicBezTo>
                    <a:cubicBezTo>
                      <a:pt x="19" y="79"/>
                      <a:pt x="18" y="80"/>
                      <a:pt x="18" y="80"/>
                    </a:cubicBezTo>
                    <a:cubicBezTo>
                      <a:pt x="17" y="80"/>
                      <a:pt x="17" y="80"/>
                      <a:pt x="17" y="80"/>
                    </a:cubicBezTo>
                    <a:cubicBezTo>
                      <a:pt x="16" y="80"/>
                      <a:pt x="16" y="80"/>
                      <a:pt x="16" y="80"/>
                    </a:cubicBezTo>
                    <a:cubicBezTo>
                      <a:pt x="15" y="80"/>
                      <a:pt x="15" y="80"/>
                      <a:pt x="14" y="80"/>
                    </a:cubicBezTo>
                    <a:cubicBezTo>
                      <a:pt x="14" y="80"/>
                      <a:pt x="15" y="80"/>
                      <a:pt x="15" y="79"/>
                    </a:cubicBezTo>
                    <a:cubicBezTo>
                      <a:pt x="14" y="79"/>
                      <a:pt x="14" y="80"/>
                      <a:pt x="14" y="80"/>
                    </a:cubicBezTo>
                    <a:cubicBezTo>
                      <a:pt x="14" y="79"/>
                      <a:pt x="13" y="79"/>
                      <a:pt x="13" y="78"/>
                    </a:cubicBezTo>
                    <a:cubicBezTo>
                      <a:pt x="14" y="78"/>
                      <a:pt x="13" y="77"/>
                      <a:pt x="14" y="76"/>
                    </a:cubicBezTo>
                    <a:cubicBezTo>
                      <a:pt x="14" y="75"/>
                      <a:pt x="14" y="75"/>
                      <a:pt x="14" y="74"/>
                    </a:cubicBezTo>
                    <a:cubicBezTo>
                      <a:pt x="14" y="74"/>
                      <a:pt x="14" y="73"/>
                      <a:pt x="14" y="73"/>
                    </a:cubicBezTo>
                    <a:cubicBezTo>
                      <a:pt x="15" y="72"/>
                      <a:pt x="15" y="72"/>
                      <a:pt x="15" y="72"/>
                    </a:cubicBezTo>
                    <a:cubicBezTo>
                      <a:pt x="15" y="72"/>
                      <a:pt x="15" y="71"/>
                      <a:pt x="15" y="71"/>
                    </a:cubicBezTo>
                    <a:cubicBezTo>
                      <a:pt x="15" y="70"/>
                      <a:pt x="16" y="70"/>
                      <a:pt x="16" y="70"/>
                    </a:cubicBezTo>
                    <a:cubicBezTo>
                      <a:pt x="16" y="69"/>
                      <a:pt x="16" y="68"/>
                      <a:pt x="17" y="68"/>
                    </a:cubicBezTo>
                    <a:cubicBezTo>
                      <a:pt x="17" y="68"/>
                      <a:pt x="17" y="67"/>
                      <a:pt x="17" y="67"/>
                    </a:cubicBezTo>
                    <a:cubicBezTo>
                      <a:pt x="17" y="67"/>
                      <a:pt x="18" y="67"/>
                      <a:pt x="18" y="67"/>
                    </a:cubicBezTo>
                    <a:cubicBezTo>
                      <a:pt x="19" y="66"/>
                      <a:pt x="19" y="65"/>
                      <a:pt x="19" y="65"/>
                    </a:cubicBezTo>
                    <a:cubicBezTo>
                      <a:pt x="18" y="65"/>
                      <a:pt x="17" y="64"/>
                      <a:pt x="16" y="64"/>
                    </a:cubicBezTo>
                    <a:cubicBezTo>
                      <a:pt x="16" y="64"/>
                      <a:pt x="14" y="64"/>
                      <a:pt x="14" y="64"/>
                    </a:cubicBezTo>
                    <a:cubicBezTo>
                      <a:pt x="13" y="63"/>
                      <a:pt x="13" y="62"/>
                      <a:pt x="12" y="63"/>
                    </a:cubicBezTo>
                    <a:cubicBezTo>
                      <a:pt x="11" y="64"/>
                      <a:pt x="11" y="63"/>
                      <a:pt x="10" y="63"/>
                    </a:cubicBezTo>
                    <a:cubicBezTo>
                      <a:pt x="10" y="63"/>
                      <a:pt x="9" y="63"/>
                      <a:pt x="9" y="63"/>
                    </a:cubicBezTo>
                    <a:cubicBezTo>
                      <a:pt x="9" y="63"/>
                      <a:pt x="9" y="62"/>
                      <a:pt x="9" y="62"/>
                    </a:cubicBezTo>
                    <a:cubicBezTo>
                      <a:pt x="8" y="62"/>
                      <a:pt x="8" y="62"/>
                      <a:pt x="8" y="63"/>
                    </a:cubicBezTo>
                    <a:cubicBezTo>
                      <a:pt x="8" y="63"/>
                      <a:pt x="7" y="63"/>
                      <a:pt x="7" y="63"/>
                    </a:cubicBezTo>
                    <a:cubicBezTo>
                      <a:pt x="7" y="63"/>
                      <a:pt x="7" y="62"/>
                      <a:pt x="7" y="62"/>
                    </a:cubicBezTo>
                    <a:cubicBezTo>
                      <a:pt x="6" y="62"/>
                      <a:pt x="6" y="62"/>
                      <a:pt x="6" y="61"/>
                    </a:cubicBezTo>
                    <a:cubicBezTo>
                      <a:pt x="5" y="61"/>
                      <a:pt x="5" y="61"/>
                      <a:pt x="5" y="60"/>
                    </a:cubicBezTo>
                    <a:cubicBezTo>
                      <a:pt x="5" y="60"/>
                      <a:pt x="4" y="59"/>
                      <a:pt x="4" y="60"/>
                    </a:cubicBezTo>
                    <a:cubicBezTo>
                      <a:pt x="4" y="59"/>
                      <a:pt x="4" y="59"/>
                      <a:pt x="4" y="58"/>
                    </a:cubicBezTo>
                    <a:cubicBezTo>
                      <a:pt x="4" y="58"/>
                      <a:pt x="4" y="58"/>
                      <a:pt x="4" y="57"/>
                    </a:cubicBezTo>
                    <a:cubicBezTo>
                      <a:pt x="5" y="57"/>
                      <a:pt x="5" y="57"/>
                      <a:pt x="5" y="57"/>
                    </a:cubicBezTo>
                    <a:cubicBezTo>
                      <a:pt x="5" y="57"/>
                      <a:pt x="5" y="56"/>
                      <a:pt x="5" y="56"/>
                    </a:cubicBezTo>
                    <a:cubicBezTo>
                      <a:pt x="5" y="56"/>
                      <a:pt x="4" y="56"/>
                      <a:pt x="4" y="56"/>
                    </a:cubicBezTo>
                    <a:cubicBezTo>
                      <a:pt x="3" y="55"/>
                      <a:pt x="2" y="54"/>
                      <a:pt x="2" y="54"/>
                    </a:cubicBezTo>
                    <a:cubicBezTo>
                      <a:pt x="2" y="53"/>
                      <a:pt x="2" y="53"/>
                      <a:pt x="2" y="52"/>
                    </a:cubicBezTo>
                    <a:cubicBezTo>
                      <a:pt x="2" y="52"/>
                      <a:pt x="2" y="52"/>
                      <a:pt x="2" y="52"/>
                    </a:cubicBezTo>
                    <a:cubicBezTo>
                      <a:pt x="3" y="51"/>
                      <a:pt x="2" y="52"/>
                      <a:pt x="3" y="51"/>
                    </a:cubicBezTo>
                    <a:cubicBezTo>
                      <a:pt x="3" y="51"/>
                      <a:pt x="3" y="51"/>
                      <a:pt x="3" y="51"/>
                    </a:cubicBezTo>
                    <a:cubicBezTo>
                      <a:pt x="4" y="51"/>
                      <a:pt x="4" y="51"/>
                      <a:pt x="4" y="50"/>
                    </a:cubicBezTo>
                    <a:cubicBezTo>
                      <a:pt x="4" y="50"/>
                      <a:pt x="4" y="49"/>
                      <a:pt x="4" y="49"/>
                    </a:cubicBezTo>
                    <a:cubicBezTo>
                      <a:pt x="4" y="49"/>
                      <a:pt x="4" y="49"/>
                      <a:pt x="4" y="49"/>
                    </a:cubicBezTo>
                    <a:cubicBezTo>
                      <a:pt x="3" y="49"/>
                      <a:pt x="3" y="49"/>
                      <a:pt x="3" y="48"/>
                    </a:cubicBezTo>
                    <a:cubicBezTo>
                      <a:pt x="2" y="48"/>
                      <a:pt x="3" y="48"/>
                      <a:pt x="3" y="47"/>
                    </a:cubicBezTo>
                    <a:cubicBezTo>
                      <a:pt x="3" y="47"/>
                      <a:pt x="2" y="47"/>
                      <a:pt x="2" y="47"/>
                    </a:cubicBezTo>
                    <a:cubicBezTo>
                      <a:pt x="2" y="46"/>
                      <a:pt x="2" y="46"/>
                      <a:pt x="2" y="46"/>
                    </a:cubicBezTo>
                    <a:cubicBezTo>
                      <a:pt x="1" y="46"/>
                      <a:pt x="1" y="46"/>
                      <a:pt x="1" y="45"/>
                    </a:cubicBezTo>
                    <a:cubicBezTo>
                      <a:pt x="1" y="45"/>
                      <a:pt x="2" y="45"/>
                      <a:pt x="2" y="45"/>
                    </a:cubicBezTo>
                    <a:cubicBezTo>
                      <a:pt x="2" y="44"/>
                      <a:pt x="1" y="44"/>
                      <a:pt x="1" y="44"/>
                    </a:cubicBezTo>
                    <a:cubicBezTo>
                      <a:pt x="1" y="43"/>
                      <a:pt x="0" y="43"/>
                      <a:pt x="0" y="44"/>
                    </a:cubicBezTo>
                    <a:cubicBezTo>
                      <a:pt x="0" y="43"/>
                      <a:pt x="0" y="43"/>
                      <a:pt x="0" y="43"/>
                    </a:cubicBezTo>
                    <a:cubicBezTo>
                      <a:pt x="0" y="42"/>
                      <a:pt x="0" y="43"/>
                      <a:pt x="0" y="43"/>
                    </a:cubicBezTo>
                    <a:cubicBezTo>
                      <a:pt x="1" y="43"/>
                      <a:pt x="2" y="42"/>
                      <a:pt x="2" y="42"/>
                    </a:cubicBezTo>
                    <a:cubicBezTo>
                      <a:pt x="2" y="41"/>
                      <a:pt x="2" y="41"/>
                      <a:pt x="2" y="41"/>
                    </a:cubicBezTo>
                    <a:cubicBezTo>
                      <a:pt x="2" y="41"/>
                      <a:pt x="2" y="42"/>
                      <a:pt x="2" y="41"/>
                    </a:cubicBezTo>
                    <a:cubicBezTo>
                      <a:pt x="2" y="41"/>
                      <a:pt x="2" y="41"/>
                      <a:pt x="2" y="41"/>
                    </a:cubicBezTo>
                    <a:cubicBezTo>
                      <a:pt x="3" y="40"/>
                      <a:pt x="3" y="39"/>
                      <a:pt x="3" y="38"/>
                    </a:cubicBezTo>
                    <a:cubicBezTo>
                      <a:pt x="3" y="38"/>
                      <a:pt x="2" y="37"/>
                      <a:pt x="2" y="37"/>
                    </a:cubicBezTo>
                    <a:cubicBezTo>
                      <a:pt x="2" y="37"/>
                      <a:pt x="2" y="37"/>
                      <a:pt x="2" y="36"/>
                    </a:cubicBezTo>
                    <a:cubicBezTo>
                      <a:pt x="2" y="36"/>
                      <a:pt x="1" y="36"/>
                      <a:pt x="1" y="36"/>
                    </a:cubicBezTo>
                    <a:cubicBezTo>
                      <a:pt x="2" y="36"/>
                      <a:pt x="1" y="36"/>
                      <a:pt x="1" y="35"/>
                    </a:cubicBezTo>
                    <a:cubicBezTo>
                      <a:pt x="1" y="35"/>
                      <a:pt x="1" y="35"/>
                      <a:pt x="1" y="35"/>
                    </a:cubicBezTo>
                    <a:cubicBezTo>
                      <a:pt x="1" y="34"/>
                      <a:pt x="2" y="34"/>
                      <a:pt x="2" y="34"/>
                    </a:cubicBezTo>
                    <a:cubicBezTo>
                      <a:pt x="3" y="35"/>
                      <a:pt x="2" y="34"/>
                      <a:pt x="2" y="34"/>
                    </a:cubicBezTo>
                    <a:cubicBezTo>
                      <a:pt x="3" y="34"/>
                      <a:pt x="4" y="34"/>
                      <a:pt x="4" y="34"/>
                    </a:cubicBezTo>
                    <a:cubicBezTo>
                      <a:pt x="4" y="34"/>
                      <a:pt x="5" y="35"/>
                      <a:pt x="5" y="34"/>
                    </a:cubicBezTo>
                    <a:cubicBezTo>
                      <a:pt x="5" y="34"/>
                      <a:pt x="5" y="34"/>
                      <a:pt x="6" y="34"/>
                    </a:cubicBezTo>
                    <a:cubicBezTo>
                      <a:pt x="6" y="34"/>
                      <a:pt x="7" y="34"/>
                      <a:pt x="7" y="34"/>
                    </a:cubicBezTo>
                    <a:cubicBezTo>
                      <a:pt x="9" y="33"/>
                      <a:pt x="8" y="33"/>
                      <a:pt x="7" y="32"/>
                    </a:cubicBezTo>
                    <a:cubicBezTo>
                      <a:pt x="7" y="32"/>
                      <a:pt x="7" y="32"/>
                      <a:pt x="7" y="32"/>
                    </a:cubicBezTo>
                    <a:cubicBezTo>
                      <a:pt x="8" y="31"/>
                      <a:pt x="8" y="32"/>
                      <a:pt x="8" y="31"/>
                    </a:cubicBezTo>
                    <a:cubicBezTo>
                      <a:pt x="9" y="31"/>
                      <a:pt x="9" y="31"/>
                      <a:pt x="9" y="31"/>
                    </a:cubicBezTo>
                    <a:cubicBezTo>
                      <a:pt x="9" y="31"/>
                      <a:pt x="10" y="30"/>
                      <a:pt x="10" y="30"/>
                    </a:cubicBezTo>
                    <a:cubicBezTo>
                      <a:pt x="10" y="30"/>
                      <a:pt x="10" y="30"/>
                      <a:pt x="10" y="30"/>
                    </a:cubicBezTo>
                    <a:cubicBezTo>
                      <a:pt x="10" y="30"/>
                      <a:pt x="10" y="29"/>
                      <a:pt x="10" y="29"/>
                    </a:cubicBezTo>
                    <a:cubicBezTo>
                      <a:pt x="10" y="29"/>
                      <a:pt x="10" y="28"/>
                      <a:pt x="9" y="28"/>
                    </a:cubicBezTo>
                    <a:cubicBezTo>
                      <a:pt x="9" y="28"/>
                      <a:pt x="8" y="28"/>
                      <a:pt x="8" y="28"/>
                    </a:cubicBezTo>
                    <a:cubicBezTo>
                      <a:pt x="7" y="28"/>
                      <a:pt x="7" y="27"/>
                      <a:pt x="8" y="27"/>
                    </a:cubicBezTo>
                    <a:cubicBezTo>
                      <a:pt x="7" y="26"/>
                      <a:pt x="7" y="26"/>
                      <a:pt x="8" y="26"/>
                    </a:cubicBezTo>
                    <a:cubicBezTo>
                      <a:pt x="9" y="26"/>
                      <a:pt x="9" y="26"/>
                      <a:pt x="10" y="26"/>
                    </a:cubicBezTo>
                    <a:cubicBezTo>
                      <a:pt x="10" y="26"/>
                      <a:pt x="10" y="26"/>
                      <a:pt x="10" y="25"/>
                    </a:cubicBezTo>
                    <a:cubicBezTo>
                      <a:pt x="10" y="25"/>
                      <a:pt x="10" y="24"/>
                      <a:pt x="11" y="24"/>
                    </a:cubicBezTo>
                    <a:cubicBezTo>
                      <a:pt x="11" y="23"/>
                      <a:pt x="12" y="22"/>
                      <a:pt x="11" y="21"/>
                    </a:cubicBezTo>
                    <a:cubicBezTo>
                      <a:pt x="11" y="20"/>
                      <a:pt x="12" y="18"/>
                      <a:pt x="13" y="19"/>
                    </a:cubicBezTo>
                    <a:cubicBezTo>
                      <a:pt x="12" y="18"/>
                      <a:pt x="11" y="19"/>
                      <a:pt x="10" y="19"/>
                    </a:cubicBezTo>
                    <a:cubicBezTo>
                      <a:pt x="10" y="18"/>
                      <a:pt x="10" y="18"/>
                      <a:pt x="10" y="17"/>
                    </a:cubicBezTo>
                    <a:cubicBezTo>
                      <a:pt x="10" y="17"/>
                      <a:pt x="11" y="17"/>
                      <a:pt x="11" y="16"/>
                    </a:cubicBezTo>
                    <a:cubicBezTo>
                      <a:pt x="10" y="16"/>
                      <a:pt x="11" y="16"/>
                      <a:pt x="11" y="15"/>
                    </a:cubicBezTo>
                    <a:cubicBezTo>
                      <a:pt x="12" y="15"/>
                      <a:pt x="13" y="15"/>
                      <a:pt x="14" y="15"/>
                    </a:cubicBezTo>
                    <a:cubicBezTo>
                      <a:pt x="14" y="15"/>
                      <a:pt x="15" y="15"/>
                      <a:pt x="16" y="15"/>
                    </a:cubicBezTo>
                    <a:cubicBezTo>
                      <a:pt x="17" y="15"/>
                      <a:pt x="18" y="15"/>
                      <a:pt x="18" y="15"/>
                    </a:cubicBezTo>
                    <a:cubicBezTo>
                      <a:pt x="18" y="15"/>
                      <a:pt x="19" y="16"/>
                      <a:pt x="19" y="16"/>
                    </a:cubicBezTo>
                    <a:cubicBezTo>
                      <a:pt x="19" y="16"/>
                      <a:pt x="19" y="16"/>
                      <a:pt x="19" y="17"/>
                    </a:cubicBezTo>
                    <a:cubicBezTo>
                      <a:pt x="19" y="17"/>
                      <a:pt x="19" y="17"/>
                      <a:pt x="19" y="17"/>
                    </a:cubicBezTo>
                    <a:cubicBezTo>
                      <a:pt x="19" y="17"/>
                      <a:pt x="19" y="17"/>
                      <a:pt x="19" y="17"/>
                    </a:cubicBezTo>
                    <a:cubicBezTo>
                      <a:pt x="19" y="18"/>
                      <a:pt x="19" y="17"/>
                      <a:pt x="19" y="17"/>
                    </a:cubicBezTo>
                    <a:cubicBezTo>
                      <a:pt x="20" y="18"/>
                      <a:pt x="20" y="18"/>
                      <a:pt x="20" y="18"/>
                    </a:cubicBezTo>
                    <a:cubicBezTo>
                      <a:pt x="21" y="17"/>
                      <a:pt x="21" y="17"/>
                      <a:pt x="20" y="17"/>
                    </a:cubicBezTo>
                    <a:cubicBezTo>
                      <a:pt x="20" y="17"/>
                      <a:pt x="20" y="16"/>
                      <a:pt x="21" y="16"/>
                    </a:cubicBezTo>
                    <a:cubicBezTo>
                      <a:pt x="21" y="16"/>
                      <a:pt x="22" y="16"/>
                      <a:pt x="22" y="17"/>
                    </a:cubicBezTo>
                    <a:cubicBezTo>
                      <a:pt x="22" y="16"/>
                      <a:pt x="22" y="17"/>
                      <a:pt x="22" y="17"/>
                    </a:cubicBezTo>
                    <a:cubicBezTo>
                      <a:pt x="22" y="17"/>
                      <a:pt x="23" y="17"/>
                      <a:pt x="23" y="16"/>
                    </a:cubicBezTo>
                    <a:cubicBezTo>
                      <a:pt x="23" y="16"/>
                      <a:pt x="22" y="15"/>
                      <a:pt x="22" y="15"/>
                    </a:cubicBezTo>
                    <a:cubicBezTo>
                      <a:pt x="22" y="15"/>
                      <a:pt x="22" y="14"/>
                      <a:pt x="22" y="14"/>
                    </a:cubicBezTo>
                    <a:cubicBezTo>
                      <a:pt x="23" y="13"/>
                      <a:pt x="23" y="13"/>
                      <a:pt x="23" y="13"/>
                    </a:cubicBezTo>
                    <a:cubicBezTo>
                      <a:pt x="24" y="13"/>
                      <a:pt x="24" y="13"/>
                      <a:pt x="24" y="13"/>
                    </a:cubicBezTo>
                    <a:cubicBezTo>
                      <a:pt x="25" y="13"/>
                      <a:pt x="25" y="14"/>
                      <a:pt x="26" y="14"/>
                    </a:cubicBezTo>
                    <a:cubicBezTo>
                      <a:pt x="26" y="13"/>
                      <a:pt x="27" y="13"/>
                      <a:pt x="28" y="13"/>
                    </a:cubicBezTo>
                    <a:cubicBezTo>
                      <a:pt x="29" y="13"/>
                      <a:pt x="29" y="14"/>
                      <a:pt x="30" y="14"/>
                    </a:cubicBezTo>
                    <a:cubicBezTo>
                      <a:pt x="30" y="15"/>
                      <a:pt x="30" y="16"/>
                      <a:pt x="31" y="16"/>
                    </a:cubicBezTo>
                    <a:cubicBezTo>
                      <a:pt x="32" y="16"/>
                      <a:pt x="32" y="16"/>
                      <a:pt x="32" y="16"/>
                    </a:cubicBezTo>
                    <a:cubicBezTo>
                      <a:pt x="32" y="16"/>
                      <a:pt x="33" y="17"/>
                      <a:pt x="33" y="17"/>
                    </a:cubicBezTo>
                    <a:cubicBezTo>
                      <a:pt x="33" y="16"/>
                      <a:pt x="32" y="16"/>
                      <a:pt x="32" y="16"/>
                    </a:cubicBezTo>
                    <a:cubicBezTo>
                      <a:pt x="31" y="16"/>
                      <a:pt x="31" y="16"/>
                      <a:pt x="31" y="16"/>
                    </a:cubicBezTo>
                    <a:cubicBezTo>
                      <a:pt x="31" y="16"/>
                      <a:pt x="30" y="15"/>
                      <a:pt x="31" y="16"/>
                    </a:cubicBezTo>
                    <a:cubicBezTo>
                      <a:pt x="31" y="15"/>
                      <a:pt x="30" y="15"/>
                      <a:pt x="30" y="14"/>
                    </a:cubicBezTo>
                    <a:cubicBezTo>
                      <a:pt x="29" y="14"/>
                      <a:pt x="29" y="13"/>
                      <a:pt x="28" y="13"/>
                    </a:cubicBezTo>
                    <a:cubicBezTo>
                      <a:pt x="27" y="13"/>
                      <a:pt x="26" y="13"/>
                      <a:pt x="25" y="12"/>
                    </a:cubicBezTo>
                    <a:cubicBezTo>
                      <a:pt x="25" y="11"/>
                      <a:pt x="26" y="11"/>
                      <a:pt x="26" y="12"/>
                    </a:cubicBezTo>
                    <a:cubicBezTo>
                      <a:pt x="27" y="12"/>
                      <a:pt x="26" y="10"/>
                      <a:pt x="26" y="10"/>
                    </a:cubicBezTo>
                    <a:cubicBezTo>
                      <a:pt x="25" y="10"/>
                      <a:pt x="25" y="10"/>
                      <a:pt x="25" y="10"/>
                    </a:cubicBezTo>
                    <a:cubicBezTo>
                      <a:pt x="25" y="10"/>
                      <a:pt x="25" y="9"/>
                      <a:pt x="25" y="9"/>
                    </a:cubicBezTo>
                    <a:cubicBezTo>
                      <a:pt x="25" y="9"/>
                      <a:pt x="26" y="9"/>
                      <a:pt x="26" y="9"/>
                    </a:cubicBezTo>
                    <a:cubicBezTo>
                      <a:pt x="26" y="9"/>
                      <a:pt x="26" y="9"/>
                      <a:pt x="26" y="8"/>
                    </a:cubicBezTo>
                    <a:cubicBezTo>
                      <a:pt x="25" y="9"/>
                      <a:pt x="25" y="9"/>
                      <a:pt x="24" y="9"/>
                    </a:cubicBezTo>
                    <a:cubicBezTo>
                      <a:pt x="24" y="9"/>
                      <a:pt x="23" y="9"/>
                      <a:pt x="23" y="8"/>
                    </a:cubicBezTo>
                    <a:cubicBezTo>
                      <a:pt x="23" y="8"/>
                      <a:pt x="24" y="8"/>
                      <a:pt x="24" y="8"/>
                    </a:cubicBezTo>
                    <a:cubicBezTo>
                      <a:pt x="24" y="8"/>
                      <a:pt x="23" y="8"/>
                      <a:pt x="23" y="8"/>
                    </a:cubicBezTo>
                    <a:cubicBezTo>
                      <a:pt x="24" y="7"/>
                      <a:pt x="25" y="8"/>
                      <a:pt x="26" y="7"/>
                    </a:cubicBezTo>
                    <a:cubicBezTo>
                      <a:pt x="26" y="7"/>
                      <a:pt x="27" y="7"/>
                      <a:pt x="26" y="6"/>
                    </a:cubicBezTo>
                    <a:cubicBezTo>
                      <a:pt x="26" y="6"/>
                      <a:pt x="25" y="5"/>
                      <a:pt x="25" y="5"/>
                    </a:cubicBezTo>
                    <a:cubicBezTo>
                      <a:pt x="26" y="5"/>
                      <a:pt x="24" y="4"/>
                      <a:pt x="24" y="4"/>
                    </a:cubicBezTo>
                    <a:cubicBezTo>
                      <a:pt x="24" y="4"/>
                      <a:pt x="23" y="3"/>
                      <a:pt x="23" y="3"/>
                    </a:cubicBezTo>
                    <a:cubicBezTo>
                      <a:pt x="23" y="2"/>
                      <a:pt x="22" y="3"/>
                      <a:pt x="21" y="3"/>
                    </a:cubicBezTo>
                    <a:cubicBezTo>
                      <a:pt x="20" y="2"/>
                      <a:pt x="21" y="4"/>
                      <a:pt x="21" y="4"/>
                    </a:cubicBezTo>
                    <a:cubicBezTo>
                      <a:pt x="20" y="3"/>
                      <a:pt x="21" y="0"/>
                      <a:pt x="22" y="1"/>
                    </a:cubicBezTo>
                    <a:cubicBezTo>
                      <a:pt x="22" y="1"/>
                      <a:pt x="22" y="1"/>
                      <a:pt x="22" y="1"/>
                    </a:cubicBezTo>
                    <a:cubicBezTo>
                      <a:pt x="22" y="1"/>
                      <a:pt x="20" y="2"/>
                      <a:pt x="21" y="3"/>
                    </a:cubicBezTo>
                    <a:cubicBezTo>
                      <a:pt x="22" y="3"/>
                      <a:pt x="24" y="3"/>
                      <a:pt x="24" y="2"/>
                    </a:cubicBezTo>
                    <a:cubicBezTo>
                      <a:pt x="24" y="3"/>
                      <a:pt x="25" y="2"/>
                      <a:pt x="25" y="2"/>
                    </a:cubicBezTo>
                    <a:cubicBezTo>
                      <a:pt x="26" y="2"/>
                      <a:pt x="27" y="3"/>
                      <a:pt x="28" y="3"/>
                    </a:cubicBezTo>
                    <a:cubicBezTo>
                      <a:pt x="28" y="3"/>
                      <a:pt x="28" y="3"/>
                      <a:pt x="29" y="3"/>
                    </a:cubicBezTo>
                    <a:cubicBezTo>
                      <a:pt x="29" y="3"/>
                      <a:pt x="30" y="3"/>
                      <a:pt x="30" y="3"/>
                    </a:cubicBezTo>
                    <a:cubicBezTo>
                      <a:pt x="30" y="3"/>
                      <a:pt x="31" y="3"/>
                      <a:pt x="31" y="3"/>
                    </a:cubicBezTo>
                    <a:cubicBezTo>
                      <a:pt x="31" y="3"/>
                      <a:pt x="32" y="3"/>
                      <a:pt x="32" y="3"/>
                    </a:cubicBezTo>
                    <a:cubicBezTo>
                      <a:pt x="32" y="3"/>
                      <a:pt x="33" y="4"/>
                      <a:pt x="33" y="4"/>
                    </a:cubicBezTo>
                    <a:cubicBezTo>
                      <a:pt x="34" y="4"/>
                      <a:pt x="34" y="3"/>
                      <a:pt x="34" y="4"/>
                    </a:cubicBezTo>
                    <a:cubicBezTo>
                      <a:pt x="34" y="4"/>
                      <a:pt x="35" y="4"/>
                      <a:pt x="34" y="5"/>
                    </a:cubicBezTo>
                    <a:cubicBezTo>
                      <a:pt x="34" y="5"/>
                      <a:pt x="34" y="5"/>
                      <a:pt x="34" y="5"/>
                    </a:cubicBezTo>
                    <a:cubicBezTo>
                      <a:pt x="35" y="5"/>
                      <a:pt x="35" y="5"/>
                      <a:pt x="35" y="6"/>
                    </a:cubicBezTo>
                    <a:cubicBezTo>
                      <a:pt x="35" y="6"/>
                      <a:pt x="34" y="6"/>
                      <a:pt x="34" y="7"/>
                    </a:cubicBezTo>
                    <a:cubicBezTo>
                      <a:pt x="34" y="7"/>
                      <a:pt x="33" y="7"/>
                      <a:pt x="33" y="7"/>
                    </a:cubicBezTo>
                    <a:cubicBezTo>
                      <a:pt x="33" y="7"/>
                      <a:pt x="34" y="7"/>
                      <a:pt x="34" y="7"/>
                    </a:cubicBezTo>
                    <a:cubicBezTo>
                      <a:pt x="35" y="7"/>
                      <a:pt x="35" y="7"/>
                      <a:pt x="36" y="7"/>
                    </a:cubicBezTo>
                    <a:cubicBezTo>
                      <a:pt x="36" y="7"/>
                      <a:pt x="36" y="8"/>
                      <a:pt x="36" y="8"/>
                    </a:cubicBezTo>
                    <a:cubicBezTo>
                      <a:pt x="36" y="8"/>
                      <a:pt x="36" y="8"/>
                      <a:pt x="36" y="8"/>
                    </a:cubicBezTo>
                    <a:cubicBezTo>
                      <a:pt x="36" y="8"/>
                      <a:pt x="36" y="7"/>
                      <a:pt x="37" y="7"/>
                    </a:cubicBezTo>
                    <a:cubicBezTo>
                      <a:pt x="38" y="7"/>
                      <a:pt x="38" y="8"/>
                      <a:pt x="39" y="8"/>
                    </a:cubicBezTo>
                    <a:cubicBezTo>
                      <a:pt x="40" y="8"/>
                      <a:pt x="40" y="9"/>
                      <a:pt x="41" y="8"/>
                    </a:cubicBezTo>
                    <a:cubicBezTo>
                      <a:pt x="42" y="8"/>
                      <a:pt x="42" y="8"/>
                      <a:pt x="43" y="8"/>
                    </a:cubicBezTo>
                    <a:cubicBezTo>
                      <a:pt x="43" y="8"/>
                      <a:pt x="43" y="8"/>
                      <a:pt x="43" y="8"/>
                    </a:cubicBezTo>
                    <a:cubicBezTo>
                      <a:pt x="43" y="8"/>
                      <a:pt x="44" y="8"/>
                      <a:pt x="44" y="8"/>
                    </a:cubicBezTo>
                    <a:cubicBezTo>
                      <a:pt x="44" y="8"/>
                      <a:pt x="43" y="8"/>
                      <a:pt x="43" y="8"/>
                    </a:cubicBezTo>
                    <a:cubicBezTo>
                      <a:pt x="44" y="10"/>
                      <a:pt x="43" y="10"/>
                      <a:pt x="41" y="11"/>
                    </a:cubicBezTo>
                    <a:cubicBezTo>
                      <a:pt x="40" y="11"/>
                      <a:pt x="41" y="12"/>
                      <a:pt x="41" y="12"/>
                    </a:cubicBezTo>
                    <a:cubicBezTo>
                      <a:pt x="42" y="12"/>
                      <a:pt x="42" y="12"/>
                      <a:pt x="42" y="12"/>
                    </a:cubicBezTo>
                    <a:cubicBezTo>
                      <a:pt x="42" y="12"/>
                      <a:pt x="43" y="12"/>
                      <a:pt x="43" y="12"/>
                    </a:cubicBezTo>
                    <a:cubicBezTo>
                      <a:pt x="44" y="11"/>
                      <a:pt x="44" y="12"/>
                      <a:pt x="45" y="12"/>
                    </a:cubicBezTo>
                    <a:cubicBezTo>
                      <a:pt x="45" y="12"/>
                      <a:pt x="46" y="13"/>
                      <a:pt x="46" y="13"/>
                    </a:cubicBezTo>
                    <a:cubicBezTo>
                      <a:pt x="46" y="13"/>
                      <a:pt x="46" y="13"/>
                      <a:pt x="47" y="12"/>
                    </a:cubicBezTo>
                    <a:cubicBezTo>
                      <a:pt x="47" y="12"/>
                      <a:pt x="47" y="12"/>
                      <a:pt x="47" y="11"/>
                    </a:cubicBezTo>
                    <a:cubicBezTo>
                      <a:pt x="47" y="11"/>
                      <a:pt x="48" y="11"/>
                      <a:pt x="48" y="11"/>
                    </a:cubicBezTo>
                    <a:cubicBezTo>
                      <a:pt x="48" y="11"/>
                      <a:pt x="47" y="11"/>
                      <a:pt x="47" y="11"/>
                    </a:cubicBezTo>
                    <a:cubicBezTo>
                      <a:pt x="47" y="10"/>
                      <a:pt x="49" y="10"/>
                      <a:pt x="50" y="10"/>
                    </a:cubicBezTo>
                    <a:cubicBezTo>
                      <a:pt x="50" y="10"/>
                      <a:pt x="51" y="10"/>
                      <a:pt x="51" y="10"/>
                    </a:cubicBezTo>
                    <a:cubicBezTo>
                      <a:pt x="52" y="10"/>
                      <a:pt x="51" y="10"/>
                      <a:pt x="52" y="11"/>
                    </a:cubicBezTo>
                    <a:cubicBezTo>
                      <a:pt x="52" y="10"/>
                      <a:pt x="52" y="10"/>
                      <a:pt x="52" y="10"/>
                    </a:cubicBezTo>
                    <a:cubicBezTo>
                      <a:pt x="52" y="10"/>
                      <a:pt x="52" y="9"/>
                      <a:pt x="53" y="9"/>
                    </a:cubicBezTo>
                    <a:cubicBezTo>
                      <a:pt x="53" y="9"/>
                      <a:pt x="53" y="9"/>
                      <a:pt x="54" y="9"/>
                    </a:cubicBezTo>
                    <a:cubicBezTo>
                      <a:pt x="54" y="8"/>
                      <a:pt x="54" y="7"/>
                      <a:pt x="55" y="7"/>
                    </a:cubicBezTo>
                    <a:cubicBezTo>
                      <a:pt x="55" y="7"/>
                      <a:pt x="58" y="7"/>
                      <a:pt x="58" y="7"/>
                    </a:cubicBezTo>
                    <a:cubicBezTo>
                      <a:pt x="58" y="8"/>
                      <a:pt x="55" y="7"/>
                      <a:pt x="56" y="8"/>
                    </a:cubicBezTo>
                    <a:cubicBezTo>
                      <a:pt x="55" y="8"/>
                      <a:pt x="54" y="8"/>
                      <a:pt x="54" y="8"/>
                    </a:cubicBezTo>
                    <a:cubicBezTo>
                      <a:pt x="54" y="9"/>
                      <a:pt x="54" y="9"/>
                      <a:pt x="54" y="9"/>
                    </a:cubicBezTo>
                    <a:cubicBezTo>
                      <a:pt x="54" y="9"/>
                      <a:pt x="55" y="8"/>
                      <a:pt x="55" y="8"/>
                    </a:cubicBezTo>
                    <a:cubicBezTo>
                      <a:pt x="55" y="8"/>
                      <a:pt x="56" y="8"/>
                      <a:pt x="56" y="8"/>
                    </a:cubicBezTo>
                    <a:cubicBezTo>
                      <a:pt x="56" y="8"/>
                      <a:pt x="57" y="7"/>
                      <a:pt x="56" y="8"/>
                    </a:cubicBezTo>
                    <a:cubicBezTo>
                      <a:pt x="57" y="8"/>
                      <a:pt x="57" y="8"/>
                      <a:pt x="57" y="8"/>
                    </a:cubicBezTo>
                    <a:cubicBezTo>
                      <a:pt x="58" y="8"/>
                      <a:pt x="58" y="7"/>
                      <a:pt x="59" y="7"/>
                    </a:cubicBezTo>
                    <a:cubicBezTo>
                      <a:pt x="59" y="7"/>
                      <a:pt x="60" y="8"/>
                      <a:pt x="60" y="8"/>
                    </a:cubicBezTo>
                    <a:cubicBezTo>
                      <a:pt x="60" y="8"/>
                      <a:pt x="60" y="8"/>
                      <a:pt x="60" y="9"/>
                    </a:cubicBezTo>
                    <a:cubicBezTo>
                      <a:pt x="60" y="9"/>
                      <a:pt x="60" y="9"/>
                      <a:pt x="60" y="9"/>
                    </a:cubicBezTo>
                    <a:cubicBezTo>
                      <a:pt x="61" y="9"/>
                      <a:pt x="62" y="9"/>
                      <a:pt x="62" y="10"/>
                    </a:cubicBezTo>
                    <a:cubicBezTo>
                      <a:pt x="62" y="10"/>
                      <a:pt x="62" y="10"/>
                      <a:pt x="62" y="10"/>
                    </a:cubicBezTo>
                    <a:cubicBezTo>
                      <a:pt x="63" y="10"/>
                      <a:pt x="63" y="11"/>
                      <a:pt x="63" y="11"/>
                    </a:cubicBezTo>
                    <a:cubicBezTo>
                      <a:pt x="64" y="10"/>
                      <a:pt x="64" y="10"/>
                      <a:pt x="65" y="10"/>
                    </a:cubicBezTo>
                    <a:cubicBezTo>
                      <a:pt x="65" y="10"/>
                      <a:pt x="65" y="10"/>
                      <a:pt x="66" y="11"/>
                    </a:cubicBezTo>
                    <a:cubicBezTo>
                      <a:pt x="66" y="11"/>
                      <a:pt x="66" y="11"/>
                      <a:pt x="65" y="10"/>
                    </a:cubicBezTo>
                    <a:cubicBezTo>
                      <a:pt x="65" y="10"/>
                      <a:pt x="65" y="10"/>
                      <a:pt x="66" y="10"/>
                    </a:cubicBezTo>
                    <a:cubicBezTo>
                      <a:pt x="66" y="11"/>
                      <a:pt x="67" y="11"/>
                      <a:pt x="67" y="11"/>
                    </a:cubicBezTo>
                    <a:cubicBezTo>
                      <a:pt x="68" y="12"/>
                      <a:pt x="68" y="12"/>
                      <a:pt x="69" y="12"/>
                    </a:cubicBezTo>
                    <a:cubicBezTo>
                      <a:pt x="69" y="13"/>
                      <a:pt x="69" y="13"/>
                      <a:pt x="69" y="13"/>
                    </a:cubicBezTo>
                    <a:cubicBezTo>
                      <a:pt x="68" y="13"/>
                      <a:pt x="68" y="13"/>
                      <a:pt x="67" y="13"/>
                    </a:cubicBezTo>
                    <a:cubicBezTo>
                      <a:pt x="67" y="13"/>
                      <a:pt x="65" y="13"/>
                      <a:pt x="66" y="13"/>
                    </a:cubicBezTo>
                    <a:cubicBezTo>
                      <a:pt x="66" y="13"/>
                      <a:pt x="67" y="13"/>
                      <a:pt x="66" y="12"/>
                    </a:cubicBezTo>
                    <a:cubicBezTo>
                      <a:pt x="66" y="12"/>
                      <a:pt x="67" y="12"/>
                      <a:pt x="67" y="12"/>
                    </a:cubicBezTo>
                    <a:cubicBezTo>
                      <a:pt x="67" y="12"/>
                      <a:pt x="67" y="12"/>
                      <a:pt x="68" y="12"/>
                    </a:cubicBezTo>
                    <a:cubicBezTo>
                      <a:pt x="68" y="12"/>
                      <a:pt x="67" y="12"/>
                      <a:pt x="67" y="11"/>
                    </a:cubicBezTo>
                    <a:cubicBezTo>
                      <a:pt x="66" y="11"/>
                      <a:pt x="67" y="12"/>
                      <a:pt x="66" y="12"/>
                    </a:cubicBezTo>
                    <a:cubicBezTo>
                      <a:pt x="66" y="12"/>
                      <a:pt x="66" y="11"/>
                      <a:pt x="66" y="11"/>
                    </a:cubicBezTo>
                    <a:cubicBezTo>
                      <a:pt x="66" y="11"/>
                      <a:pt x="65" y="12"/>
                      <a:pt x="65" y="12"/>
                    </a:cubicBezTo>
                    <a:cubicBezTo>
                      <a:pt x="65" y="11"/>
                      <a:pt x="65" y="11"/>
                      <a:pt x="65" y="11"/>
                    </a:cubicBezTo>
                    <a:cubicBezTo>
                      <a:pt x="65" y="11"/>
                      <a:pt x="65" y="11"/>
                      <a:pt x="65" y="11"/>
                    </a:cubicBezTo>
                    <a:cubicBezTo>
                      <a:pt x="65" y="12"/>
                      <a:pt x="66" y="12"/>
                      <a:pt x="66" y="12"/>
                    </a:cubicBezTo>
                    <a:cubicBezTo>
                      <a:pt x="67" y="13"/>
                      <a:pt x="66" y="13"/>
                      <a:pt x="66" y="13"/>
                    </a:cubicBezTo>
                    <a:cubicBezTo>
                      <a:pt x="65" y="14"/>
                      <a:pt x="68" y="14"/>
                      <a:pt x="68" y="14"/>
                    </a:cubicBezTo>
                    <a:cubicBezTo>
                      <a:pt x="68" y="14"/>
                      <a:pt x="69" y="15"/>
                      <a:pt x="69" y="14"/>
                    </a:cubicBezTo>
                    <a:cubicBezTo>
                      <a:pt x="69" y="14"/>
                      <a:pt x="69" y="15"/>
                      <a:pt x="69" y="15"/>
                    </a:cubicBezTo>
                    <a:cubicBezTo>
                      <a:pt x="70" y="15"/>
                      <a:pt x="70" y="16"/>
                      <a:pt x="70" y="17"/>
                    </a:cubicBezTo>
                    <a:cubicBezTo>
                      <a:pt x="70" y="17"/>
                      <a:pt x="71" y="18"/>
                      <a:pt x="71" y="18"/>
                    </a:cubicBezTo>
                    <a:cubicBezTo>
                      <a:pt x="71" y="19"/>
                      <a:pt x="71" y="19"/>
                      <a:pt x="71" y="20"/>
                    </a:cubicBezTo>
                    <a:cubicBezTo>
                      <a:pt x="71" y="20"/>
                      <a:pt x="71" y="20"/>
                      <a:pt x="71" y="20"/>
                    </a:cubicBezTo>
                    <a:cubicBezTo>
                      <a:pt x="70" y="20"/>
                      <a:pt x="71" y="21"/>
                      <a:pt x="71" y="21"/>
                    </a:cubicBezTo>
                    <a:cubicBezTo>
                      <a:pt x="70" y="22"/>
                      <a:pt x="70" y="22"/>
                      <a:pt x="69" y="22"/>
                    </a:cubicBezTo>
                    <a:cubicBezTo>
                      <a:pt x="69" y="22"/>
                      <a:pt x="69" y="23"/>
                      <a:pt x="69" y="23"/>
                    </a:cubicBezTo>
                    <a:cubicBezTo>
                      <a:pt x="69" y="23"/>
                      <a:pt x="68" y="24"/>
                      <a:pt x="69" y="24"/>
                    </a:cubicBezTo>
                    <a:cubicBezTo>
                      <a:pt x="69" y="24"/>
                      <a:pt x="70" y="25"/>
                      <a:pt x="71" y="25"/>
                    </a:cubicBezTo>
                    <a:cubicBezTo>
                      <a:pt x="72" y="26"/>
                      <a:pt x="72" y="26"/>
                      <a:pt x="73" y="26"/>
                    </a:cubicBezTo>
                    <a:cubicBezTo>
                      <a:pt x="73" y="27"/>
                      <a:pt x="73" y="27"/>
                      <a:pt x="73" y="27"/>
                    </a:cubicBezTo>
                    <a:cubicBezTo>
                      <a:pt x="73" y="28"/>
                      <a:pt x="72" y="28"/>
                      <a:pt x="72" y="29"/>
                    </a:cubicBezTo>
                    <a:cubicBezTo>
                      <a:pt x="73" y="30"/>
                      <a:pt x="73" y="30"/>
                      <a:pt x="73" y="31"/>
                    </a:cubicBezTo>
                    <a:cubicBezTo>
                      <a:pt x="73" y="31"/>
                      <a:pt x="73" y="31"/>
                      <a:pt x="74" y="32"/>
                    </a:cubicBezTo>
                    <a:cubicBezTo>
                      <a:pt x="74" y="32"/>
                      <a:pt x="74" y="32"/>
                      <a:pt x="74" y="33"/>
                    </a:cubicBezTo>
                    <a:cubicBezTo>
                      <a:pt x="74" y="33"/>
                      <a:pt x="74" y="33"/>
                      <a:pt x="73" y="34"/>
                    </a:cubicBezTo>
                    <a:cubicBezTo>
                      <a:pt x="73" y="34"/>
                      <a:pt x="73" y="34"/>
                      <a:pt x="73" y="35"/>
                    </a:cubicBezTo>
                    <a:cubicBezTo>
                      <a:pt x="73" y="36"/>
                      <a:pt x="74" y="36"/>
                      <a:pt x="74" y="37"/>
                    </a:cubicBezTo>
                    <a:cubicBezTo>
                      <a:pt x="73" y="38"/>
                      <a:pt x="75" y="38"/>
                      <a:pt x="75" y="38"/>
                    </a:cubicBezTo>
                    <a:cubicBezTo>
                      <a:pt x="76" y="38"/>
                      <a:pt x="76" y="39"/>
                      <a:pt x="76" y="39"/>
                    </a:cubicBezTo>
                    <a:cubicBezTo>
                      <a:pt x="76" y="40"/>
                      <a:pt x="77" y="40"/>
                      <a:pt x="77" y="41"/>
                    </a:cubicBezTo>
                    <a:close/>
                    <a:moveTo>
                      <a:pt x="22" y="18"/>
                    </a:moveTo>
                    <a:cubicBezTo>
                      <a:pt x="22" y="18"/>
                      <a:pt x="22" y="18"/>
                      <a:pt x="22" y="18"/>
                    </a:cubicBezTo>
                    <a:cubicBezTo>
                      <a:pt x="22" y="18"/>
                      <a:pt x="22" y="18"/>
                      <a:pt x="22" y="18"/>
                    </a:cubicBezTo>
                    <a:close/>
                    <a:moveTo>
                      <a:pt x="13" y="15"/>
                    </a:moveTo>
                    <a:cubicBezTo>
                      <a:pt x="12" y="14"/>
                      <a:pt x="11" y="15"/>
                      <a:pt x="11" y="15"/>
                    </a:cubicBezTo>
                    <a:cubicBezTo>
                      <a:pt x="11" y="15"/>
                      <a:pt x="11" y="15"/>
                      <a:pt x="11" y="15"/>
                    </a:cubicBezTo>
                    <a:cubicBezTo>
                      <a:pt x="12" y="15"/>
                      <a:pt x="12" y="15"/>
                      <a:pt x="13" y="1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8" name="Georgia">
                <a:extLst>
                  <a:ext uri="{FF2B5EF4-FFF2-40B4-BE49-F238E27FC236}">
                    <a16:creationId xmlns:a16="http://schemas.microsoft.com/office/drawing/2014/main" id="{F9EC5BF6-52F3-DAA7-0385-8DB0689FC950}"/>
                  </a:ext>
                </a:extLst>
              </p:cNvPr>
              <p:cNvSpPr>
                <a:spLocks/>
              </p:cNvSpPr>
              <p:nvPr/>
            </p:nvSpPr>
            <p:spPr bwMode="auto">
              <a:xfrm>
                <a:off x="6971877" y="2349646"/>
                <a:ext cx="223476" cy="98997"/>
              </a:xfrm>
              <a:custGeom>
                <a:avLst/>
                <a:gdLst/>
                <a:ahLst/>
                <a:cxnLst>
                  <a:cxn ang="0">
                    <a:pos x="59" y="22"/>
                  </a:cxn>
                  <a:cxn ang="0">
                    <a:pos x="58" y="20"/>
                  </a:cxn>
                  <a:cxn ang="0">
                    <a:pos x="58" y="18"/>
                  </a:cxn>
                  <a:cxn ang="0">
                    <a:pos x="56" y="17"/>
                  </a:cxn>
                  <a:cxn ang="0">
                    <a:pos x="54" y="16"/>
                  </a:cxn>
                  <a:cxn ang="0">
                    <a:pos x="52" y="12"/>
                  </a:cxn>
                  <a:cxn ang="0">
                    <a:pos x="47" y="10"/>
                  </a:cxn>
                  <a:cxn ang="0">
                    <a:pos x="44" y="9"/>
                  </a:cxn>
                  <a:cxn ang="0">
                    <a:pos x="42" y="9"/>
                  </a:cxn>
                  <a:cxn ang="0">
                    <a:pos x="39" y="9"/>
                  </a:cxn>
                  <a:cxn ang="0">
                    <a:pos x="36" y="11"/>
                  </a:cxn>
                  <a:cxn ang="0">
                    <a:pos x="34" y="10"/>
                  </a:cxn>
                  <a:cxn ang="0">
                    <a:pos x="31" y="8"/>
                  </a:cxn>
                  <a:cxn ang="0">
                    <a:pos x="27" y="5"/>
                  </a:cxn>
                  <a:cxn ang="0">
                    <a:pos x="23" y="4"/>
                  </a:cxn>
                  <a:cxn ang="0">
                    <a:pos x="20" y="4"/>
                  </a:cxn>
                  <a:cxn ang="0">
                    <a:pos x="17" y="4"/>
                  </a:cxn>
                  <a:cxn ang="0">
                    <a:pos x="12" y="2"/>
                  </a:cxn>
                  <a:cxn ang="0">
                    <a:pos x="9" y="2"/>
                  </a:cxn>
                  <a:cxn ang="0">
                    <a:pos x="5" y="0"/>
                  </a:cxn>
                  <a:cxn ang="0">
                    <a:pos x="2" y="0"/>
                  </a:cxn>
                  <a:cxn ang="0">
                    <a:pos x="2" y="3"/>
                  </a:cxn>
                  <a:cxn ang="0">
                    <a:pos x="4" y="5"/>
                  </a:cxn>
                  <a:cxn ang="0">
                    <a:pos x="8" y="5"/>
                  </a:cxn>
                  <a:cxn ang="0">
                    <a:pos x="10" y="7"/>
                  </a:cxn>
                  <a:cxn ang="0">
                    <a:pos x="14" y="9"/>
                  </a:cxn>
                  <a:cxn ang="0">
                    <a:pos x="16" y="14"/>
                  </a:cxn>
                  <a:cxn ang="0">
                    <a:pos x="17" y="15"/>
                  </a:cxn>
                  <a:cxn ang="0">
                    <a:pos x="18" y="17"/>
                  </a:cxn>
                  <a:cxn ang="0">
                    <a:pos x="19" y="23"/>
                  </a:cxn>
                  <a:cxn ang="0">
                    <a:pos x="21" y="22"/>
                  </a:cxn>
                  <a:cxn ang="0">
                    <a:pos x="25" y="22"/>
                  </a:cxn>
                  <a:cxn ang="0">
                    <a:pos x="28" y="23"/>
                  </a:cxn>
                  <a:cxn ang="0">
                    <a:pos x="29" y="23"/>
                  </a:cxn>
                  <a:cxn ang="0">
                    <a:pos x="32" y="25"/>
                  </a:cxn>
                  <a:cxn ang="0">
                    <a:pos x="33" y="26"/>
                  </a:cxn>
                  <a:cxn ang="0">
                    <a:pos x="35" y="26"/>
                  </a:cxn>
                  <a:cxn ang="0">
                    <a:pos x="38" y="26"/>
                  </a:cxn>
                  <a:cxn ang="0">
                    <a:pos x="40" y="26"/>
                  </a:cxn>
                  <a:cxn ang="0">
                    <a:pos x="42" y="26"/>
                  </a:cxn>
                  <a:cxn ang="0">
                    <a:pos x="44" y="26"/>
                  </a:cxn>
                  <a:cxn ang="0">
                    <a:pos x="45" y="25"/>
                  </a:cxn>
                  <a:cxn ang="0">
                    <a:pos x="46" y="25"/>
                  </a:cxn>
                  <a:cxn ang="0">
                    <a:pos x="49" y="24"/>
                  </a:cxn>
                  <a:cxn ang="0">
                    <a:pos x="51" y="23"/>
                  </a:cxn>
                  <a:cxn ang="0">
                    <a:pos x="54" y="25"/>
                  </a:cxn>
                  <a:cxn ang="0">
                    <a:pos x="57" y="26"/>
                  </a:cxn>
                  <a:cxn ang="0">
                    <a:pos x="61" y="27"/>
                  </a:cxn>
                  <a:cxn ang="0">
                    <a:pos x="62" y="27"/>
                  </a:cxn>
                  <a:cxn ang="0">
                    <a:pos x="60" y="23"/>
                  </a:cxn>
                </a:cxnLst>
                <a:rect l="0" t="0" r="r" b="b"/>
                <a:pathLst>
                  <a:path w="63" h="28">
                    <a:moveTo>
                      <a:pt x="60" y="23"/>
                    </a:moveTo>
                    <a:cubicBezTo>
                      <a:pt x="59" y="23"/>
                      <a:pt x="59" y="22"/>
                      <a:pt x="59" y="22"/>
                    </a:cubicBezTo>
                    <a:cubicBezTo>
                      <a:pt x="58" y="21"/>
                      <a:pt x="58" y="21"/>
                      <a:pt x="58" y="21"/>
                    </a:cubicBezTo>
                    <a:cubicBezTo>
                      <a:pt x="57" y="21"/>
                      <a:pt x="57" y="20"/>
                      <a:pt x="58" y="20"/>
                    </a:cubicBezTo>
                    <a:cubicBezTo>
                      <a:pt x="58" y="20"/>
                      <a:pt x="59" y="20"/>
                      <a:pt x="59" y="19"/>
                    </a:cubicBezTo>
                    <a:cubicBezTo>
                      <a:pt x="60" y="18"/>
                      <a:pt x="59" y="18"/>
                      <a:pt x="58" y="18"/>
                    </a:cubicBezTo>
                    <a:cubicBezTo>
                      <a:pt x="58" y="17"/>
                      <a:pt x="58" y="17"/>
                      <a:pt x="57" y="17"/>
                    </a:cubicBezTo>
                    <a:cubicBezTo>
                      <a:pt x="56" y="17"/>
                      <a:pt x="56" y="17"/>
                      <a:pt x="56" y="17"/>
                    </a:cubicBezTo>
                    <a:cubicBezTo>
                      <a:pt x="55" y="17"/>
                      <a:pt x="55" y="17"/>
                      <a:pt x="55" y="17"/>
                    </a:cubicBezTo>
                    <a:cubicBezTo>
                      <a:pt x="54" y="16"/>
                      <a:pt x="54" y="16"/>
                      <a:pt x="54" y="16"/>
                    </a:cubicBezTo>
                    <a:cubicBezTo>
                      <a:pt x="53" y="16"/>
                      <a:pt x="51" y="15"/>
                      <a:pt x="52" y="14"/>
                    </a:cubicBezTo>
                    <a:cubicBezTo>
                      <a:pt x="52" y="13"/>
                      <a:pt x="52" y="13"/>
                      <a:pt x="52" y="12"/>
                    </a:cubicBezTo>
                    <a:cubicBezTo>
                      <a:pt x="52" y="11"/>
                      <a:pt x="50" y="11"/>
                      <a:pt x="49" y="11"/>
                    </a:cubicBezTo>
                    <a:cubicBezTo>
                      <a:pt x="48" y="11"/>
                      <a:pt x="48" y="11"/>
                      <a:pt x="47" y="10"/>
                    </a:cubicBezTo>
                    <a:cubicBezTo>
                      <a:pt x="47" y="9"/>
                      <a:pt x="46" y="9"/>
                      <a:pt x="46" y="9"/>
                    </a:cubicBezTo>
                    <a:cubicBezTo>
                      <a:pt x="45" y="9"/>
                      <a:pt x="45" y="9"/>
                      <a:pt x="44" y="9"/>
                    </a:cubicBezTo>
                    <a:cubicBezTo>
                      <a:pt x="43" y="8"/>
                      <a:pt x="44" y="10"/>
                      <a:pt x="43" y="10"/>
                    </a:cubicBezTo>
                    <a:cubicBezTo>
                      <a:pt x="43" y="10"/>
                      <a:pt x="42" y="9"/>
                      <a:pt x="42" y="9"/>
                    </a:cubicBezTo>
                    <a:cubicBezTo>
                      <a:pt x="41" y="9"/>
                      <a:pt x="41" y="9"/>
                      <a:pt x="40" y="9"/>
                    </a:cubicBezTo>
                    <a:cubicBezTo>
                      <a:pt x="40" y="9"/>
                      <a:pt x="39" y="9"/>
                      <a:pt x="39" y="9"/>
                    </a:cubicBezTo>
                    <a:cubicBezTo>
                      <a:pt x="38" y="10"/>
                      <a:pt x="38" y="10"/>
                      <a:pt x="38" y="10"/>
                    </a:cubicBezTo>
                    <a:cubicBezTo>
                      <a:pt x="37" y="10"/>
                      <a:pt x="37" y="11"/>
                      <a:pt x="36" y="11"/>
                    </a:cubicBezTo>
                    <a:cubicBezTo>
                      <a:pt x="36" y="11"/>
                      <a:pt x="35" y="11"/>
                      <a:pt x="35" y="11"/>
                    </a:cubicBezTo>
                    <a:cubicBezTo>
                      <a:pt x="35" y="10"/>
                      <a:pt x="34" y="10"/>
                      <a:pt x="34" y="10"/>
                    </a:cubicBezTo>
                    <a:cubicBezTo>
                      <a:pt x="35" y="9"/>
                      <a:pt x="34" y="8"/>
                      <a:pt x="33" y="8"/>
                    </a:cubicBezTo>
                    <a:cubicBezTo>
                      <a:pt x="32" y="8"/>
                      <a:pt x="32" y="8"/>
                      <a:pt x="31" y="8"/>
                    </a:cubicBezTo>
                    <a:cubicBezTo>
                      <a:pt x="31" y="7"/>
                      <a:pt x="30" y="7"/>
                      <a:pt x="30" y="7"/>
                    </a:cubicBezTo>
                    <a:cubicBezTo>
                      <a:pt x="29" y="7"/>
                      <a:pt x="27" y="6"/>
                      <a:pt x="27" y="5"/>
                    </a:cubicBezTo>
                    <a:cubicBezTo>
                      <a:pt x="27" y="5"/>
                      <a:pt x="25" y="4"/>
                      <a:pt x="24" y="4"/>
                    </a:cubicBezTo>
                    <a:cubicBezTo>
                      <a:pt x="24" y="4"/>
                      <a:pt x="24" y="5"/>
                      <a:pt x="23" y="4"/>
                    </a:cubicBezTo>
                    <a:cubicBezTo>
                      <a:pt x="23" y="4"/>
                      <a:pt x="22" y="4"/>
                      <a:pt x="22" y="4"/>
                    </a:cubicBezTo>
                    <a:cubicBezTo>
                      <a:pt x="21" y="4"/>
                      <a:pt x="21" y="4"/>
                      <a:pt x="20" y="4"/>
                    </a:cubicBezTo>
                    <a:cubicBezTo>
                      <a:pt x="19" y="4"/>
                      <a:pt x="19" y="4"/>
                      <a:pt x="19" y="4"/>
                    </a:cubicBezTo>
                    <a:cubicBezTo>
                      <a:pt x="18" y="4"/>
                      <a:pt x="18" y="4"/>
                      <a:pt x="17" y="4"/>
                    </a:cubicBezTo>
                    <a:cubicBezTo>
                      <a:pt x="16" y="4"/>
                      <a:pt x="16" y="4"/>
                      <a:pt x="15" y="4"/>
                    </a:cubicBezTo>
                    <a:cubicBezTo>
                      <a:pt x="14" y="4"/>
                      <a:pt x="13" y="3"/>
                      <a:pt x="12" y="2"/>
                    </a:cubicBezTo>
                    <a:cubicBezTo>
                      <a:pt x="11" y="2"/>
                      <a:pt x="11" y="2"/>
                      <a:pt x="10" y="2"/>
                    </a:cubicBezTo>
                    <a:cubicBezTo>
                      <a:pt x="9" y="2"/>
                      <a:pt x="9" y="2"/>
                      <a:pt x="9" y="2"/>
                    </a:cubicBezTo>
                    <a:cubicBezTo>
                      <a:pt x="8" y="1"/>
                      <a:pt x="7" y="1"/>
                      <a:pt x="7" y="1"/>
                    </a:cubicBezTo>
                    <a:cubicBezTo>
                      <a:pt x="6" y="1"/>
                      <a:pt x="6" y="0"/>
                      <a:pt x="5" y="0"/>
                    </a:cubicBezTo>
                    <a:cubicBezTo>
                      <a:pt x="5" y="1"/>
                      <a:pt x="4" y="1"/>
                      <a:pt x="4" y="0"/>
                    </a:cubicBezTo>
                    <a:cubicBezTo>
                      <a:pt x="3" y="0"/>
                      <a:pt x="2" y="0"/>
                      <a:pt x="2" y="0"/>
                    </a:cubicBezTo>
                    <a:cubicBezTo>
                      <a:pt x="0" y="0"/>
                      <a:pt x="0" y="1"/>
                      <a:pt x="0" y="2"/>
                    </a:cubicBezTo>
                    <a:cubicBezTo>
                      <a:pt x="1" y="2"/>
                      <a:pt x="2" y="2"/>
                      <a:pt x="2" y="3"/>
                    </a:cubicBezTo>
                    <a:cubicBezTo>
                      <a:pt x="3" y="3"/>
                      <a:pt x="3" y="4"/>
                      <a:pt x="3" y="4"/>
                    </a:cubicBezTo>
                    <a:cubicBezTo>
                      <a:pt x="3" y="5"/>
                      <a:pt x="4" y="4"/>
                      <a:pt x="4" y="5"/>
                    </a:cubicBezTo>
                    <a:cubicBezTo>
                      <a:pt x="5" y="5"/>
                      <a:pt x="5" y="5"/>
                      <a:pt x="6" y="5"/>
                    </a:cubicBezTo>
                    <a:cubicBezTo>
                      <a:pt x="6" y="5"/>
                      <a:pt x="7" y="5"/>
                      <a:pt x="8" y="5"/>
                    </a:cubicBezTo>
                    <a:cubicBezTo>
                      <a:pt x="8" y="6"/>
                      <a:pt x="8" y="6"/>
                      <a:pt x="9" y="6"/>
                    </a:cubicBezTo>
                    <a:cubicBezTo>
                      <a:pt x="9" y="7"/>
                      <a:pt x="10" y="6"/>
                      <a:pt x="10" y="7"/>
                    </a:cubicBezTo>
                    <a:cubicBezTo>
                      <a:pt x="10" y="7"/>
                      <a:pt x="10" y="8"/>
                      <a:pt x="11" y="8"/>
                    </a:cubicBezTo>
                    <a:cubicBezTo>
                      <a:pt x="11" y="9"/>
                      <a:pt x="13" y="9"/>
                      <a:pt x="14" y="9"/>
                    </a:cubicBezTo>
                    <a:cubicBezTo>
                      <a:pt x="14" y="10"/>
                      <a:pt x="15" y="11"/>
                      <a:pt x="15" y="12"/>
                    </a:cubicBezTo>
                    <a:cubicBezTo>
                      <a:pt x="15" y="13"/>
                      <a:pt x="16" y="13"/>
                      <a:pt x="16" y="14"/>
                    </a:cubicBezTo>
                    <a:cubicBezTo>
                      <a:pt x="16" y="15"/>
                      <a:pt x="16" y="15"/>
                      <a:pt x="16" y="15"/>
                    </a:cubicBezTo>
                    <a:cubicBezTo>
                      <a:pt x="17" y="16"/>
                      <a:pt x="17" y="16"/>
                      <a:pt x="17" y="15"/>
                    </a:cubicBezTo>
                    <a:cubicBezTo>
                      <a:pt x="18" y="15"/>
                      <a:pt x="17" y="16"/>
                      <a:pt x="17" y="16"/>
                    </a:cubicBezTo>
                    <a:cubicBezTo>
                      <a:pt x="17" y="16"/>
                      <a:pt x="18" y="17"/>
                      <a:pt x="18" y="17"/>
                    </a:cubicBezTo>
                    <a:cubicBezTo>
                      <a:pt x="18" y="19"/>
                      <a:pt x="17" y="21"/>
                      <a:pt x="16" y="22"/>
                    </a:cubicBezTo>
                    <a:cubicBezTo>
                      <a:pt x="17" y="22"/>
                      <a:pt x="18" y="23"/>
                      <a:pt x="19" y="23"/>
                    </a:cubicBezTo>
                    <a:cubicBezTo>
                      <a:pt x="19" y="23"/>
                      <a:pt x="20" y="23"/>
                      <a:pt x="20" y="23"/>
                    </a:cubicBezTo>
                    <a:cubicBezTo>
                      <a:pt x="20" y="22"/>
                      <a:pt x="20" y="22"/>
                      <a:pt x="21" y="22"/>
                    </a:cubicBezTo>
                    <a:cubicBezTo>
                      <a:pt x="22" y="23"/>
                      <a:pt x="23" y="22"/>
                      <a:pt x="24" y="23"/>
                    </a:cubicBezTo>
                    <a:cubicBezTo>
                      <a:pt x="25" y="23"/>
                      <a:pt x="25" y="23"/>
                      <a:pt x="25" y="22"/>
                    </a:cubicBezTo>
                    <a:cubicBezTo>
                      <a:pt x="26" y="21"/>
                      <a:pt x="27" y="22"/>
                      <a:pt x="28" y="22"/>
                    </a:cubicBezTo>
                    <a:cubicBezTo>
                      <a:pt x="28" y="22"/>
                      <a:pt x="27" y="23"/>
                      <a:pt x="28" y="23"/>
                    </a:cubicBezTo>
                    <a:cubicBezTo>
                      <a:pt x="28" y="23"/>
                      <a:pt x="28" y="23"/>
                      <a:pt x="28" y="22"/>
                    </a:cubicBezTo>
                    <a:cubicBezTo>
                      <a:pt x="28" y="22"/>
                      <a:pt x="29" y="23"/>
                      <a:pt x="29" y="23"/>
                    </a:cubicBezTo>
                    <a:cubicBezTo>
                      <a:pt x="30" y="24"/>
                      <a:pt x="30" y="24"/>
                      <a:pt x="31" y="24"/>
                    </a:cubicBezTo>
                    <a:cubicBezTo>
                      <a:pt x="31" y="24"/>
                      <a:pt x="31" y="24"/>
                      <a:pt x="32" y="25"/>
                    </a:cubicBezTo>
                    <a:cubicBezTo>
                      <a:pt x="32" y="25"/>
                      <a:pt x="31" y="25"/>
                      <a:pt x="31" y="25"/>
                    </a:cubicBezTo>
                    <a:cubicBezTo>
                      <a:pt x="32" y="25"/>
                      <a:pt x="32" y="27"/>
                      <a:pt x="33" y="26"/>
                    </a:cubicBezTo>
                    <a:cubicBezTo>
                      <a:pt x="33" y="26"/>
                      <a:pt x="34" y="26"/>
                      <a:pt x="34" y="27"/>
                    </a:cubicBezTo>
                    <a:cubicBezTo>
                      <a:pt x="34" y="27"/>
                      <a:pt x="35" y="26"/>
                      <a:pt x="35" y="26"/>
                    </a:cubicBezTo>
                    <a:cubicBezTo>
                      <a:pt x="36" y="27"/>
                      <a:pt x="36" y="27"/>
                      <a:pt x="37" y="27"/>
                    </a:cubicBezTo>
                    <a:cubicBezTo>
                      <a:pt x="37" y="27"/>
                      <a:pt x="37" y="26"/>
                      <a:pt x="38" y="26"/>
                    </a:cubicBezTo>
                    <a:cubicBezTo>
                      <a:pt x="38" y="26"/>
                      <a:pt x="39" y="26"/>
                      <a:pt x="39" y="26"/>
                    </a:cubicBezTo>
                    <a:cubicBezTo>
                      <a:pt x="40" y="26"/>
                      <a:pt x="40" y="26"/>
                      <a:pt x="40" y="26"/>
                    </a:cubicBezTo>
                    <a:cubicBezTo>
                      <a:pt x="41" y="25"/>
                      <a:pt x="41" y="25"/>
                      <a:pt x="41" y="26"/>
                    </a:cubicBezTo>
                    <a:cubicBezTo>
                      <a:pt x="41" y="26"/>
                      <a:pt x="42" y="26"/>
                      <a:pt x="42" y="26"/>
                    </a:cubicBezTo>
                    <a:cubicBezTo>
                      <a:pt x="42" y="25"/>
                      <a:pt x="43" y="26"/>
                      <a:pt x="43" y="26"/>
                    </a:cubicBezTo>
                    <a:cubicBezTo>
                      <a:pt x="43" y="26"/>
                      <a:pt x="43" y="26"/>
                      <a:pt x="44" y="26"/>
                    </a:cubicBezTo>
                    <a:cubicBezTo>
                      <a:pt x="44" y="26"/>
                      <a:pt x="44" y="26"/>
                      <a:pt x="44" y="26"/>
                    </a:cubicBezTo>
                    <a:cubicBezTo>
                      <a:pt x="44" y="25"/>
                      <a:pt x="44" y="25"/>
                      <a:pt x="45" y="25"/>
                    </a:cubicBezTo>
                    <a:cubicBezTo>
                      <a:pt x="45" y="25"/>
                      <a:pt x="46" y="26"/>
                      <a:pt x="47" y="26"/>
                    </a:cubicBezTo>
                    <a:cubicBezTo>
                      <a:pt x="47" y="26"/>
                      <a:pt x="46" y="25"/>
                      <a:pt x="46" y="25"/>
                    </a:cubicBezTo>
                    <a:cubicBezTo>
                      <a:pt x="46" y="25"/>
                      <a:pt x="47" y="25"/>
                      <a:pt x="47" y="25"/>
                    </a:cubicBezTo>
                    <a:cubicBezTo>
                      <a:pt x="48" y="25"/>
                      <a:pt x="48" y="24"/>
                      <a:pt x="49" y="24"/>
                    </a:cubicBezTo>
                    <a:cubicBezTo>
                      <a:pt x="49" y="24"/>
                      <a:pt x="49" y="23"/>
                      <a:pt x="50" y="23"/>
                    </a:cubicBezTo>
                    <a:cubicBezTo>
                      <a:pt x="50" y="23"/>
                      <a:pt x="51" y="23"/>
                      <a:pt x="51" y="23"/>
                    </a:cubicBezTo>
                    <a:cubicBezTo>
                      <a:pt x="51" y="23"/>
                      <a:pt x="54" y="24"/>
                      <a:pt x="54" y="24"/>
                    </a:cubicBezTo>
                    <a:cubicBezTo>
                      <a:pt x="54" y="25"/>
                      <a:pt x="53" y="24"/>
                      <a:pt x="54" y="25"/>
                    </a:cubicBezTo>
                    <a:cubicBezTo>
                      <a:pt x="54" y="25"/>
                      <a:pt x="55" y="26"/>
                      <a:pt x="55" y="26"/>
                    </a:cubicBezTo>
                    <a:cubicBezTo>
                      <a:pt x="56" y="26"/>
                      <a:pt x="57" y="26"/>
                      <a:pt x="57" y="26"/>
                    </a:cubicBezTo>
                    <a:cubicBezTo>
                      <a:pt x="58" y="26"/>
                      <a:pt x="58" y="26"/>
                      <a:pt x="59" y="26"/>
                    </a:cubicBezTo>
                    <a:cubicBezTo>
                      <a:pt x="59" y="26"/>
                      <a:pt x="61" y="28"/>
                      <a:pt x="61" y="27"/>
                    </a:cubicBezTo>
                    <a:cubicBezTo>
                      <a:pt x="62" y="27"/>
                      <a:pt x="61" y="27"/>
                      <a:pt x="62" y="27"/>
                    </a:cubicBezTo>
                    <a:cubicBezTo>
                      <a:pt x="62" y="27"/>
                      <a:pt x="62" y="27"/>
                      <a:pt x="62" y="27"/>
                    </a:cubicBezTo>
                    <a:cubicBezTo>
                      <a:pt x="62" y="26"/>
                      <a:pt x="63" y="25"/>
                      <a:pt x="63" y="25"/>
                    </a:cubicBezTo>
                    <a:cubicBezTo>
                      <a:pt x="63" y="24"/>
                      <a:pt x="60" y="23"/>
                      <a:pt x="60" y="2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19" name="Gambia">
                <a:extLst>
                  <a:ext uri="{FF2B5EF4-FFF2-40B4-BE49-F238E27FC236}">
                    <a16:creationId xmlns:a16="http://schemas.microsoft.com/office/drawing/2014/main" id="{644C2B93-EA35-8D93-CF10-BFF3B0CD5E11}"/>
                  </a:ext>
                </a:extLst>
              </p:cNvPr>
              <p:cNvSpPr>
                <a:spLocks/>
              </p:cNvSpPr>
              <p:nvPr/>
            </p:nvSpPr>
            <p:spPr bwMode="auto">
              <a:xfrm>
                <a:off x="5123288" y="3505259"/>
                <a:ext cx="106839" cy="32346"/>
              </a:xfrm>
              <a:custGeom>
                <a:avLst/>
                <a:gdLst/>
                <a:ahLst/>
                <a:cxnLst>
                  <a:cxn ang="0">
                    <a:pos x="28" y="3"/>
                  </a:cxn>
                  <a:cxn ang="0">
                    <a:pos x="25" y="4"/>
                  </a:cxn>
                  <a:cxn ang="0">
                    <a:pos x="23" y="3"/>
                  </a:cxn>
                  <a:cxn ang="0">
                    <a:pos x="22" y="2"/>
                  </a:cxn>
                  <a:cxn ang="0">
                    <a:pos x="20" y="3"/>
                  </a:cxn>
                  <a:cxn ang="0">
                    <a:pos x="18" y="1"/>
                  </a:cxn>
                  <a:cxn ang="0">
                    <a:pos x="17" y="1"/>
                  </a:cxn>
                  <a:cxn ang="0">
                    <a:pos x="15" y="1"/>
                  </a:cxn>
                  <a:cxn ang="0">
                    <a:pos x="13" y="2"/>
                  </a:cxn>
                  <a:cxn ang="0">
                    <a:pos x="7" y="3"/>
                  </a:cxn>
                  <a:cxn ang="0">
                    <a:pos x="3" y="3"/>
                  </a:cxn>
                  <a:cxn ang="0">
                    <a:pos x="3" y="5"/>
                  </a:cxn>
                  <a:cxn ang="0">
                    <a:pos x="3" y="5"/>
                  </a:cxn>
                  <a:cxn ang="0">
                    <a:pos x="5" y="6"/>
                  </a:cxn>
                  <a:cxn ang="0">
                    <a:pos x="5" y="5"/>
                  </a:cxn>
                  <a:cxn ang="0">
                    <a:pos x="7" y="4"/>
                  </a:cxn>
                  <a:cxn ang="0">
                    <a:pos x="10" y="4"/>
                  </a:cxn>
                  <a:cxn ang="0">
                    <a:pos x="12" y="4"/>
                  </a:cxn>
                  <a:cxn ang="0">
                    <a:pos x="13" y="4"/>
                  </a:cxn>
                  <a:cxn ang="0">
                    <a:pos x="15" y="4"/>
                  </a:cxn>
                  <a:cxn ang="0">
                    <a:pos x="13" y="4"/>
                  </a:cxn>
                  <a:cxn ang="0">
                    <a:pos x="12" y="4"/>
                  </a:cxn>
                  <a:cxn ang="0">
                    <a:pos x="11" y="4"/>
                  </a:cxn>
                  <a:cxn ang="0">
                    <a:pos x="7" y="5"/>
                  </a:cxn>
                  <a:cxn ang="0">
                    <a:pos x="7" y="6"/>
                  </a:cxn>
                  <a:cxn ang="0">
                    <a:pos x="6" y="6"/>
                  </a:cxn>
                  <a:cxn ang="0">
                    <a:pos x="5" y="6"/>
                  </a:cxn>
                  <a:cxn ang="0">
                    <a:pos x="4" y="6"/>
                  </a:cxn>
                  <a:cxn ang="0">
                    <a:pos x="4" y="7"/>
                  </a:cxn>
                  <a:cxn ang="0">
                    <a:pos x="4" y="7"/>
                  </a:cxn>
                  <a:cxn ang="0">
                    <a:pos x="3" y="6"/>
                  </a:cxn>
                  <a:cxn ang="0">
                    <a:pos x="2" y="6"/>
                  </a:cxn>
                  <a:cxn ang="0">
                    <a:pos x="2" y="5"/>
                  </a:cxn>
                  <a:cxn ang="0">
                    <a:pos x="2" y="4"/>
                  </a:cxn>
                  <a:cxn ang="0">
                    <a:pos x="1" y="5"/>
                  </a:cxn>
                  <a:cxn ang="0">
                    <a:pos x="0" y="6"/>
                  </a:cxn>
                  <a:cxn ang="0">
                    <a:pos x="1" y="9"/>
                  </a:cxn>
                  <a:cxn ang="0">
                    <a:pos x="1" y="8"/>
                  </a:cxn>
                  <a:cxn ang="0">
                    <a:pos x="3" y="8"/>
                  </a:cxn>
                  <a:cxn ang="0">
                    <a:pos x="8" y="8"/>
                  </a:cxn>
                  <a:cxn ang="0">
                    <a:pos x="10" y="7"/>
                  </a:cxn>
                  <a:cxn ang="0">
                    <a:pos x="10" y="6"/>
                  </a:cxn>
                  <a:cxn ang="0">
                    <a:pos x="12" y="5"/>
                  </a:cxn>
                  <a:cxn ang="0">
                    <a:pos x="13" y="5"/>
                  </a:cxn>
                  <a:cxn ang="0">
                    <a:pos x="15" y="5"/>
                  </a:cxn>
                  <a:cxn ang="0">
                    <a:pos x="16" y="4"/>
                  </a:cxn>
                  <a:cxn ang="0">
                    <a:pos x="17" y="4"/>
                  </a:cxn>
                  <a:cxn ang="0">
                    <a:pos x="19" y="4"/>
                  </a:cxn>
                  <a:cxn ang="0">
                    <a:pos x="20" y="5"/>
                  </a:cxn>
                  <a:cxn ang="0">
                    <a:pos x="22" y="6"/>
                  </a:cxn>
                  <a:cxn ang="0">
                    <a:pos x="23" y="7"/>
                  </a:cxn>
                  <a:cxn ang="0">
                    <a:pos x="25" y="7"/>
                  </a:cxn>
                  <a:cxn ang="0">
                    <a:pos x="27" y="6"/>
                  </a:cxn>
                  <a:cxn ang="0">
                    <a:pos x="29" y="6"/>
                  </a:cxn>
                  <a:cxn ang="0">
                    <a:pos x="28" y="3"/>
                  </a:cxn>
                </a:cxnLst>
                <a:rect l="0" t="0" r="r" b="b"/>
                <a:pathLst>
                  <a:path w="30" h="9">
                    <a:moveTo>
                      <a:pt x="28" y="3"/>
                    </a:moveTo>
                    <a:cubicBezTo>
                      <a:pt x="27" y="2"/>
                      <a:pt x="25" y="4"/>
                      <a:pt x="25" y="4"/>
                    </a:cubicBezTo>
                    <a:cubicBezTo>
                      <a:pt x="23" y="5"/>
                      <a:pt x="23" y="4"/>
                      <a:pt x="23" y="3"/>
                    </a:cubicBezTo>
                    <a:cubicBezTo>
                      <a:pt x="22" y="2"/>
                      <a:pt x="22" y="2"/>
                      <a:pt x="22" y="2"/>
                    </a:cubicBezTo>
                    <a:cubicBezTo>
                      <a:pt x="21" y="2"/>
                      <a:pt x="21" y="3"/>
                      <a:pt x="20" y="3"/>
                    </a:cubicBezTo>
                    <a:cubicBezTo>
                      <a:pt x="19" y="2"/>
                      <a:pt x="20" y="1"/>
                      <a:pt x="18" y="1"/>
                    </a:cubicBezTo>
                    <a:cubicBezTo>
                      <a:pt x="18" y="1"/>
                      <a:pt x="17" y="0"/>
                      <a:pt x="17" y="1"/>
                    </a:cubicBezTo>
                    <a:cubicBezTo>
                      <a:pt x="16" y="1"/>
                      <a:pt x="16" y="1"/>
                      <a:pt x="15" y="1"/>
                    </a:cubicBezTo>
                    <a:cubicBezTo>
                      <a:pt x="14" y="0"/>
                      <a:pt x="13" y="1"/>
                      <a:pt x="13" y="2"/>
                    </a:cubicBezTo>
                    <a:cubicBezTo>
                      <a:pt x="13" y="3"/>
                      <a:pt x="8" y="3"/>
                      <a:pt x="7" y="3"/>
                    </a:cubicBezTo>
                    <a:cubicBezTo>
                      <a:pt x="5" y="3"/>
                      <a:pt x="5" y="3"/>
                      <a:pt x="3" y="3"/>
                    </a:cubicBezTo>
                    <a:cubicBezTo>
                      <a:pt x="3" y="3"/>
                      <a:pt x="3" y="4"/>
                      <a:pt x="3" y="5"/>
                    </a:cubicBezTo>
                    <a:cubicBezTo>
                      <a:pt x="3" y="5"/>
                      <a:pt x="3" y="5"/>
                      <a:pt x="3" y="5"/>
                    </a:cubicBezTo>
                    <a:cubicBezTo>
                      <a:pt x="4" y="6"/>
                      <a:pt x="4" y="6"/>
                      <a:pt x="5" y="6"/>
                    </a:cubicBezTo>
                    <a:cubicBezTo>
                      <a:pt x="5" y="6"/>
                      <a:pt x="5" y="5"/>
                      <a:pt x="5" y="5"/>
                    </a:cubicBezTo>
                    <a:cubicBezTo>
                      <a:pt x="5" y="6"/>
                      <a:pt x="6" y="4"/>
                      <a:pt x="7" y="4"/>
                    </a:cubicBezTo>
                    <a:cubicBezTo>
                      <a:pt x="8" y="5"/>
                      <a:pt x="9" y="5"/>
                      <a:pt x="10" y="4"/>
                    </a:cubicBezTo>
                    <a:cubicBezTo>
                      <a:pt x="11" y="4"/>
                      <a:pt x="11" y="4"/>
                      <a:pt x="12" y="4"/>
                    </a:cubicBezTo>
                    <a:cubicBezTo>
                      <a:pt x="12" y="4"/>
                      <a:pt x="12" y="3"/>
                      <a:pt x="13" y="4"/>
                    </a:cubicBezTo>
                    <a:cubicBezTo>
                      <a:pt x="13" y="4"/>
                      <a:pt x="15" y="5"/>
                      <a:pt x="15" y="4"/>
                    </a:cubicBezTo>
                    <a:cubicBezTo>
                      <a:pt x="15" y="5"/>
                      <a:pt x="14" y="4"/>
                      <a:pt x="13" y="4"/>
                    </a:cubicBezTo>
                    <a:cubicBezTo>
                      <a:pt x="13" y="4"/>
                      <a:pt x="13" y="4"/>
                      <a:pt x="12" y="4"/>
                    </a:cubicBezTo>
                    <a:cubicBezTo>
                      <a:pt x="12" y="5"/>
                      <a:pt x="11" y="4"/>
                      <a:pt x="11" y="4"/>
                    </a:cubicBezTo>
                    <a:cubicBezTo>
                      <a:pt x="10" y="5"/>
                      <a:pt x="8" y="5"/>
                      <a:pt x="7" y="5"/>
                    </a:cubicBezTo>
                    <a:cubicBezTo>
                      <a:pt x="5" y="5"/>
                      <a:pt x="6" y="7"/>
                      <a:pt x="7" y="6"/>
                    </a:cubicBezTo>
                    <a:cubicBezTo>
                      <a:pt x="6" y="7"/>
                      <a:pt x="6" y="6"/>
                      <a:pt x="6" y="6"/>
                    </a:cubicBezTo>
                    <a:cubicBezTo>
                      <a:pt x="5" y="6"/>
                      <a:pt x="5" y="6"/>
                      <a:pt x="5" y="6"/>
                    </a:cubicBezTo>
                    <a:cubicBezTo>
                      <a:pt x="4" y="6"/>
                      <a:pt x="4" y="6"/>
                      <a:pt x="4" y="6"/>
                    </a:cubicBezTo>
                    <a:cubicBezTo>
                      <a:pt x="4" y="7"/>
                      <a:pt x="4" y="7"/>
                      <a:pt x="4" y="7"/>
                    </a:cubicBezTo>
                    <a:cubicBezTo>
                      <a:pt x="4" y="7"/>
                      <a:pt x="4" y="7"/>
                      <a:pt x="4" y="7"/>
                    </a:cubicBezTo>
                    <a:cubicBezTo>
                      <a:pt x="4" y="6"/>
                      <a:pt x="3" y="6"/>
                      <a:pt x="3" y="6"/>
                    </a:cubicBezTo>
                    <a:cubicBezTo>
                      <a:pt x="3" y="6"/>
                      <a:pt x="3" y="6"/>
                      <a:pt x="2" y="6"/>
                    </a:cubicBezTo>
                    <a:cubicBezTo>
                      <a:pt x="2" y="5"/>
                      <a:pt x="2" y="5"/>
                      <a:pt x="2" y="5"/>
                    </a:cubicBezTo>
                    <a:cubicBezTo>
                      <a:pt x="3" y="4"/>
                      <a:pt x="2" y="4"/>
                      <a:pt x="2" y="4"/>
                    </a:cubicBezTo>
                    <a:cubicBezTo>
                      <a:pt x="1" y="4"/>
                      <a:pt x="1" y="4"/>
                      <a:pt x="1" y="5"/>
                    </a:cubicBezTo>
                    <a:cubicBezTo>
                      <a:pt x="0" y="5"/>
                      <a:pt x="0" y="5"/>
                      <a:pt x="0" y="6"/>
                    </a:cubicBezTo>
                    <a:cubicBezTo>
                      <a:pt x="0" y="7"/>
                      <a:pt x="0" y="8"/>
                      <a:pt x="1" y="9"/>
                    </a:cubicBezTo>
                    <a:cubicBezTo>
                      <a:pt x="1" y="8"/>
                      <a:pt x="1" y="8"/>
                      <a:pt x="1" y="8"/>
                    </a:cubicBezTo>
                    <a:cubicBezTo>
                      <a:pt x="2" y="7"/>
                      <a:pt x="3" y="8"/>
                      <a:pt x="3" y="8"/>
                    </a:cubicBezTo>
                    <a:cubicBezTo>
                      <a:pt x="5" y="8"/>
                      <a:pt x="7" y="8"/>
                      <a:pt x="8" y="8"/>
                    </a:cubicBezTo>
                    <a:cubicBezTo>
                      <a:pt x="9" y="8"/>
                      <a:pt x="10" y="8"/>
                      <a:pt x="10" y="7"/>
                    </a:cubicBezTo>
                    <a:cubicBezTo>
                      <a:pt x="10" y="7"/>
                      <a:pt x="10" y="6"/>
                      <a:pt x="10" y="6"/>
                    </a:cubicBezTo>
                    <a:cubicBezTo>
                      <a:pt x="10" y="5"/>
                      <a:pt x="11" y="5"/>
                      <a:pt x="12" y="5"/>
                    </a:cubicBezTo>
                    <a:cubicBezTo>
                      <a:pt x="12" y="6"/>
                      <a:pt x="13" y="5"/>
                      <a:pt x="13" y="5"/>
                    </a:cubicBezTo>
                    <a:cubicBezTo>
                      <a:pt x="14" y="5"/>
                      <a:pt x="14" y="6"/>
                      <a:pt x="15" y="5"/>
                    </a:cubicBezTo>
                    <a:cubicBezTo>
                      <a:pt x="16" y="5"/>
                      <a:pt x="16" y="4"/>
                      <a:pt x="16" y="4"/>
                    </a:cubicBezTo>
                    <a:cubicBezTo>
                      <a:pt x="16" y="3"/>
                      <a:pt x="17" y="3"/>
                      <a:pt x="17" y="4"/>
                    </a:cubicBezTo>
                    <a:cubicBezTo>
                      <a:pt x="18" y="4"/>
                      <a:pt x="18" y="4"/>
                      <a:pt x="19" y="4"/>
                    </a:cubicBezTo>
                    <a:cubicBezTo>
                      <a:pt x="20" y="5"/>
                      <a:pt x="20" y="5"/>
                      <a:pt x="20" y="5"/>
                    </a:cubicBezTo>
                    <a:cubicBezTo>
                      <a:pt x="21" y="6"/>
                      <a:pt x="22" y="5"/>
                      <a:pt x="22" y="6"/>
                    </a:cubicBezTo>
                    <a:cubicBezTo>
                      <a:pt x="22" y="6"/>
                      <a:pt x="23" y="6"/>
                      <a:pt x="23" y="7"/>
                    </a:cubicBezTo>
                    <a:cubicBezTo>
                      <a:pt x="24" y="7"/>
                      <a:pt x="25" y="7"/>
                      <a:pt x="25" y="7"/>
                    </a:cubicBezTo>
                    <a:cubicBezTo>
                      <a:pt x="26" y="7"/>
                      <a:pt x="26" y="6"/>
                      <a:pt x="27" y="6"/>
                    </a:cubicBezTo>
                    <a:cubicBezTo>
                      <a:pt x="27" y="6"/>
                      <a:pt x="28" y="6"/>
                      <a:pt x="29" y="6"/>
                    </a:cubicBezTo>
                    <a:cubicBezTo>
                      <a:pt x="30" y="5"/>
                      <a:pt x="29" y="4"/>
                      <a:pt x="28" y="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0" name="Gabon">
                <a:extLst>
                  <a:ext uri="{FF2B5EF4-FFF2-40B4-BE49-F238E27FC236}">
                    <a16:creationId xmlns:a16="http://schemas.microsoft.com/office/drawing/2014/main" id="{26340C06-0637-EE04-15C8-CDC61209C869}"/>
                  </a:ext>
                </a:extLst>
              </p:cNvPr>
              <p:cNvSpPr>
                <a:spLocks/>
              </p:cNvSpPr>
              <p:nvPr/>
            </p:nvSpPr>
            <p:spPr bwMode="auto">
              <a:xfrm>
                <a:off x="5994654" y="3952216"/>
                <a:ext cx="197993" cy="244060"/>
              </a:xfrm>
              <a:custGeom>
                <a:avLst/>
                <a:gdLst/>
                <a:ahLst/>
                <a:cxnLst>
                  <a:cxn ang="0">
                    <a:pos x="56" y="40"/>
                  </a:cxn>
                  <a:cxn ang="0">
                    <a:pos x="56" y="34"/>
                  </a:cxn>
                  <a:cxn ang="0">
                    <a:pos x="52" y="29"/>
                  </a:cxn>
                  <a:cxn ang="0">
                    <a:pos x="52" y="22"/>
                  </a:cxn>
                  <a:cxn ang="0">
                    <a:pos x="56" y="17"/>
                  </a:cxn>
                  <a:cxn ang="0">
                    <a:pos x="52" y="11"/>
                  </a:cxn>
                  <a:cxn ang="0">
                    <a:pos x="45" y="12"/>
                  </a:cxn>
                  <a:cxn ang="0">
                    <a:pos x="43" y="9"/>
                  </a:cxn>
                  <a:cxn ang="0">
                    <a:pos x="44" y="3"/>
                  </a:cxn>
                  <a:cxn ang="0">
                    <a:pos x="38" y="1"/>
                  </a:cxn>
                  <a:cxn ang="0">
                    <a:pos x="26" y="1"/>
                  </a:cxn>
                  <a:cxn ang="0">
                    <a:pos x="25" y="15"/>
                  </a:cxn>
                  <a:cxn ang="0">
                    <a:pos x="12" y="16"/>
                  </a:cxn>
                  <a:cxn ang="0">
                    <a:pos x="9" y="20"/>
                  </a:cxn>
                  <a:cxn ang="0">
                    <a:pos x="8" y="19"/>
                  </a:cxn>
                  <a:cxn ang="0">
                    <a:pos x="6" y="20"/>
                  </a:cxn>
                  <a:cxn ang="0">
                    <a:pos x="11" y="24"/>
                  </a:cxn>
                  <a:cxn ang="0">
                    <a:pos x="10" y="25"/>
                  </a:cxn>
                  <a:cxn ang="0">
                    <a:pos x="8" y="25"/>
                  </a:cxn>
                  <a:cxn ang="0">
                    <a:pos x="6" y="24"/>
                  </a:cxn>
                  <a:cxn ang="0">
                    <a:pos x="5" y="31"/>
                  </a:cxn>
                  <a:cxn ang="0">
                    <a:pos x="2" y="34"/>
                  </a:cxn>
                  <a:cxn ang="0">
                    <a:pos x="1" y="34"/>
                  </a:cxn>
                  <a:cxn ang="0">
                    <a:pos x="2" y="37"/>
                  </a:cxn>
                  <a:cxn ang="0">
                    <a:pos x="4" y="41"/>
                  </a:cxn>
                  <a:cxn ang="0">
                    <a:pos x="6" y="42"/>
                  </a:cxn>
                  <a:cxn ang="0">
                    <a:pos x="7" y="43"/>
                  </a:cxn>
                  <a:cxn ang="0">
                    <a:pos x="6" y="45"/>
                  </a:cxn>
                  <a:cxn ang="0">
                    <a:pos x="3" y="41"/>
                  </a:cxn>
                  <a:cxn ang="0">
                    <a:pos x="6" y="47"/>
                  </a:cxn>
                  <a:cxn ang="0">
                    <a:pos x="8" y="48"/>
                  </a:cxn>
                  <a:cxn ang="0">
                    <a:pos x="6" y="47"/>
                  </a:cxn>
                  <a:cxn ang="0">
                    <a:pos x="9" y="52"/>
                  </a:cxn>
                  <a:cxn ang="0">
                    <a:pos x="12" y="53"/>
                  </a:cxn>
                  <a:cxn ang="0">
                    <a:pos x="13" y="54"/>
                  </a:cxn>
                  <a:cxn ang="0">
                    <a:pos x="11" y="53"/>
                  </a:cxn>
                  <a:cxn ang="0">
                    <a:pos x="19" y="63"/>
                  </a:cxn>
                  <a:cxn ang="0">
                    <a:pos x="24" y="69"/>
                  </a:cxn>
                  <a:cxn ang="0">
                    <a:pos x="29" y="67"/>
                  </a:cxn>
                  <a:cxn ang="0">
                    <a:pos x="31" y="63"/>
                  </a:cxn>
                  <a:cxn ang="0">
                    <a:pos x="30" y="60"/>
                  </a:cxn>
                  <a:cxn ang="0">
                    <a:pos x="28" y="55"/>
                  </a:cxn>
                  <a:cxn ang="0">
                    <a:pos x="31" y="52"/>
                  </a:cxn>
                  <a:cxn ang="0">
                    <a:pos x="37" y="49"/>
                  </a:cxn>
                  <a:cxn ang="0">
                    <a:pos x="41" y="50"/>
                  </a:cxn>
                  <a:cxn ang="0">
                    <a:pos x="45" y="53"/>
                  </a:cxn>
                  <a:cxn ang="0">
                    <a:pos x="50" y="51"/>
                  </a:cxn>
                  <a:cxn ang="0">
                    <a:pos x="52" y="53"/>
                  </a:cxn>
                  <a:cxn ang="0">
                    <a:pos x="54" y="48"/>
                  </a:cxn>
                  <a:cxn ang="0">
                    <a:pos x="56" y="43"/>
                  </a:cxn>
                </a:cxnLst>
                <a:rect l="0" t="0" r="r" b="b"/>
                <a:pathLst>
                  <a:path w="56" h="69">
                    <a:moveTo>
                      <a:pt x="56" y="43"/>
                    </a:moveTo>
                    <a:cubicBezTo>
                      <a:pt x="55" y="42"/>
                      <a:pt x="56" y="42"/>
                      <a:pt x="56" y="42"/>
                    </a:cubicBezTo>
                    <a:cubicBezTo>
                      <a:pt x="56" y="41"/>
                      <a:pt x="56" y="41"/>
                      <a:pt x="56" y="41"/>
                    </a:cubicBezTo>
                    <a:cubicBezTo>
                      <a:pt x="56" y="40"/>
                      <a:pt x="56" y="40"/>
                      <a:pt x="56" y="40"/>
                    </a:cubicBezTo>
                    <a:cubicBezTo>
                      <a:pt x="56" y="39"/>
                      <a:pt x="56" y="39"/>
                      <a:pt x="56" y="39"/>
                    </a:cubicBezTo>
                    <a:cubicBezTo>
                      <a:pt x="56" y="38"/>
                      <a:pt x="55" y="38"/>
                      <a:pt x="55" y="37"/>
                    </a:cubicBezTo>
                    <a:cubicBezTo>
                      <a:pt x="55" y="37"/>
                      <a:pt x="56" y="36"/>
                      <a:pt x="56" y="36"/>
                    </a:cubicBezTo>
                    <a:cubicBezTo>
                      <a:pt x="56" y="35"/>
                      <a:pt x="56" y="35"/>
                      <a:pt x="56" y="34"/>
                    </a:cubicBezTo>
                    <a:cubicBezTo>
                      <a:pt x="56" y="33"/>
                      <a:pt x="56" y="32"/>
                      <a:pt x="55" y="31"/>
                    </a:cubicBezTo>
                    <a:cubicBezTo>
                      <a:pt x="55" y="31"/>
                      <a:pt x="54" y="31"/>
                      <a:pt x="54" y="31"/>
                    </a:cubicBezTo>
                    <a:cubicBezTo>
                      <a:pt x="53" y="31"/>
                      <a:pt x="53" y="31"/>
                      <a:pt x="53" y="30"/>
                    </a:cubicBezTo>
                    <a:cubicBezTo>
                      <a:pt x="53" y="29"/>
                      <a:pt x="52" y="29"/>
                      <a:pt x="52" y="29"/>
                    </a:cubicBezTo>
                    <a:cubicBezTo>
                      <a:pt x="51" y="29"/>
                      <a:pt x="51" y="29"/>
                      <a:pt x="51" y="29"/>
                    </a:cubicBezTo>
                    <a:cubicBezTo>
                      <a:pt x="49" y="29"/>
                      <a:pt x="50" y="27"/>
                      <a:pt x="51" y="27"/>
                    </a:cubicBezTo>
                    <a:cubicBezTo>
                      <a:pt x="51" y="26"/>
                      <a:pt x="50" y="25"/>
                      <a:pt x="50" y="23"/>
                    </a:cubicBezTo>
                    <a:cubicBezTo>
                      <a:pt x="51" y="23"/>
                      <a:pt x="51" y="22"/>
                      <a:pt x="52" y="22"/>
                    </a:cubicBezTo>
                    <a:cubicBezTo>
                      <a:pt x="52" y="21"/>
                      <a:pt x="52" y="21"/>
                      <a:pt x="52" y="20"/>
                    </a:cubicBezTo>
                    <a:cubicBezTo>
                      <a:pt x="53" y="20"/>
                      <a:pt x="53" y="20"/>
                      <a:pt x="54" y="20"/>
                    </a:cubicBezTo>
                    <a:cubicBezTo>
                      <a:pt x="55" y="20"/>
                      <a:pt x="55" y="19"/>
                      <a:pt x="55" y="19"/>
                    </a:cubicBezTo>
                    <a:cubicBezTo>
                      <a:pt x="55" y="18"/>
                      <a:pt x="56" y="18"/>
                      <a:pt x="56" y="17"/>
                    </a:cubicBezTo>
                    <a:cubicBezTo>
                      <a:pt x="56" y="16"/>
                      <a:pt x="55" y="16"/>
                      <a:pt x="55" y="15"/>
                    </a:cubicBezTo>
                    <a:cubicBezTo>
                      <a:pt x="55" y="14"/>
                      <a:pt x="54" y="14"/>
                      <a:pt x="54" y="14"/>
                    </a:cubicBezTo>
                    <a:cubicBezTo>
                      <a:pt x="54" y="13"/>
                      <a:pt x="54" y="12"/>
                      <a:pt x="54" y="12"/>
                    </a:cubicBezTo>
                    <a:cubicBezTo>
                      <a:pt x="53" y="11"/>
                      <a:pt x="53" y="11"/>
                      <a:pt x="52" y="11"/>
                    </a:cubicBezTo>
                    <a:cubicBezTo>
                      <a:pt x="51" y="11"/>
                      <a:pt x="51" y="11"/>
                      <a:pt x="50" y="10"/>
                    </a:cubicBezTo>
                    <a:cubicBezTo>
                      <a:pt x="49" y="10"/>
                      <a:pt x="50" y="11"/>
                      <a:pt x="49" y="11"/>
                    </a:cubicBezTo>
                    <a:cubicBezTo>
                      <a:pt x="49" y="11"/>
                      <a:pt x="48" y="11"/>
                      <a:pt x="47" y="12"/>
                    </a:cubicBezTo>
                    <a:cubicBezTo>
                      <a:pt x="47" y="12"/>
                      <a:pt x="46" y="12"/>
                      <a:pt x="45" y="12"/>
                    </a:cubicBezTo>
                    <a:cubicBezTo>
                      <a:pt x="45" y="12"/>
                      <a:pt x="45" y="13"/>
                      <a:pt x="44" y="13"/>
                    </a:cubicBezTo>
                    <a:cubicBezTo>
                      <a:pt x="43" y="13"/>
                      <a:pt x="43" y="12"/>
                      <a:pt x="44" y="12"/>
                    </a:cubicBezTo>
                    <a:cubicBezTo>
                      <a:pt x="44" y="11"/>
                      <a:pt x="44" y="11"/>
                      <a:pt x="44" y="10"/>
                    </a:cubicBezTo>
                    <a:cubicBezTo>
                      <a:pt x="43" y="10"/>
                      <a:pt x="43" y="9"/>
                      <a:pt x="43" y="9"/>
                    </a:cubicBezTo>
                    <a:cubicBezTo>
                      <a:pt x="43" y="8"/>
                      <a:pt x="43" y="7"/>
                      <a:pt x="43" y="6"/>
                    </a:cubicBezTo>
                    <a:cubicBezTo>
                      <a:pt x="43" y="6"/>
                      <a:pt x="43" y="6"/>
                      <a:pt x="43" y="5"/>
                    </a:cubicBezTo>
                    <a:cubicBezTo>
                      <a:pt x="43" y="5"/>
                      <a:pt x="44" y="5"/>
                      <a:pt x="44" y="5"/>
                    </a:cubicBezTo>
                    <a:cubicBezTo>
                      <a:pt x="44" y="4"/>
                      <a:pt x="44" y="4"/>
                      <a:pt x="44" y="3"/>
                    </a:cubicBezTo>
                    <a:cubicBezTo>
                      <a:pt x="45" y="3"/>
                      <a:pt x="45" y="2"/>
                      <a:pt x="44" y="2"/>
                    </a:cubicBezTo>
                    <a:cubicBezTo>
                      <a:pt x="43" y="1"/>
                      <a:pt x="43" y="2"/>
                      <a:pt x="42" y="2"/>
                    </a:cubicBezTo>
                    <a:cubicBezTo>
                      <a:pt x="41" y="2"/>
                      <a:pt x="41" y="1"/>
                      <a:pt x="40" y="2"/>
                    </a:cubicBezTo>
                    <a:cubicBezTo>
                      <a:pt x="39" y="2"/>
                      <a:pt x="38" y="2"/>
                      <a:pt x="38" y="1"/>
                    </a:cubicBezTo>
                    <a:cubicBezTo>
                      <a:pt x="36" y="1"/>
                      <a:pt x="34" y="1"/>
                      <a:pt x="32" y="1"/>
                    </a:cubicBezTo>
                    <a:cubicBezTo>
                      <a:pt x="32" y="1"/>
                      <a:pt x="31" y="1"/>
                      <a:pt x="30" y="1"/>
                    </a:cubicBezTo>
                    <a:cubicBezTo>
                      <a:pt x="29" y="1"/>
                      <a:pt x="29" y="0"/>
                      <a:pt x="28" y="1"/>
                    </a:cubicBezTo>
                    <a:cubicBezTo>
                      <a:pt x="28" y="1"/>
                      <a:pt x="26" y="0"/>
                      <a:pt x="26" y="1"/>
                    </a:cubicBezTo>
                    <a:cubicBezTo>
                      <a:pt x="25" y="3"/>
                      <a:pt x="25" y="4"/>
                      <a:pt x="26" y="6"/>
                    </a:cubicBezTo>
                    <a:cubicBezTo>
                      <a:pt x="26" y="8"/>
                      <a:pt x="26" y="10"/>
                      <a:pt x="26" y="12"/>
                    </a:cubicBezTo>
                    <a:cubicBezTo>
                      <a:pt x="26" y="13"/>
                      <a:pt x="26" y="13"/>
                      <a:pt x="26" y="14"/>
                    </a:cubicBezTo>
                    <a:cubicBezTo>
                      <a:pt x="26" y="15"/>
                      <a:pt x="26" y="15"/>
                      <a:pt x="25" y="15"/>
                    </a:cubicBezTo>
                    <a:cubicBezTo>
                      <a:pt x="24" y="16"/>
                      <a:pt x="22" y="15"/>
                      <a:pt x="20" y="15"/>
                    </a:cubicBezTo>
                    <a:cubicBezTo>
                      <a:pt x="19" y="15"/>
                      <a:pt x="17" y="15"/>
                      <a:pt x="15" y="15"/>
                    </a:cubicBezTo>
                    <a:cubicBezTo>
                      <a:pt x="14" y="15"/>
                      <a:pt x="13" y="15"/>
                      <a:pt x="13" y="15"/>
                    </a:cubicBezTo>
                    <a:cubicBezTo>
                      <a:pt x="12" y="15"/>
                      <a:pt x="13" y="16"/>
                      <a:pt x="12" y="16"/>
                    </a:cubicBezTo>
                    <a:cubicBezTo>
                      <a:pt x="12" y="16"/>
                      <a:pt x="11" y="15"/>
                      <a:pt x="10" y="16"/>
                    </a:cubicBezTo>
                    <a:cubicBezTo>
                      <a:pt x="10" y="14"/>
                      <a:pt x="8" y="15"/>
                      <a:pt x="8" y="16"/>
                    </a:cubicBezTo>
                    <a:cubicBezTo>
                      <a:pt x="9" y="17"/>
                      <a:pt x="9" y="18"/>
                      <a:pt x="9" y="19"/>
                    </a:cubicBezTo>
                    <a:cubicBezTo>
                      <a:pt x="9" y="19"/>
                      <a:pt x="9" y="20"/>
                      <a:pt x="9" y="20"/>
                    </a:cubicBezTo>
                    <a:cubicBezTo>
                      <a:pt x="9" y="20"/>
                      <a:pt x="9" y="21"/>
                      <a:pt x="9" y="21"/>
                    </a:cubicBezTo>
                    <a:cubicBezTo>
                      <a:pt x="8" y="21"/>
                      <a:pt x="9" y="20"/>
                      <a:pt x="8" y="20"/>
                    </a:cubicBezTo>
                    <a:cubicBezTo>
                      <a:pt x="8" y="20"/>
                      <a:pt x="8" y="20"/>
                      <a:pt x="7" y="20"/>
                    </a:cubicBezTo>
                    <a:cubicBezTo>
                      <a:pt x="8" y="19"/>
                      <a:pt x="8" y="20"/>
                      <a:pt x="8" y="19"/>
                    </a:cubicBezTo>
                    <a:cubicBezTo>
                      <a:pt x="8" y="19"/>
                      <a:pt x="8" y="19"/>
                      <a:pt x="8" y="19"/>
                    </a:cubicBezTo>
                    <a:cubicBezTo>
                      <a:pt x="8" y="19"/>
                      <a:pt x="7" y="19"/>
                      <a:pt x="7" y="19"/>
                    </a:cubicBezTo>
                    <a:cubicBezTo>
                      <a:pt x="7" y="19"/>
                      <a:pt x="6" y="19"/>
                      <a:pt x="6" y="19"/>
                    </a:cubicBezTo>
                    <a:cubicBezTo>
                      <a:pt x="6" y="19"/>
                      <a:pt x="6" y="20"/>
                      <a:pt x="6" y="20"/>
                    </a:cubicBezTo>
                    <a:cubicBezTo>
                      <a:pt x="7" y="21"/>
                      <a:pt x="7" y="21"/>
                      <a:pt x="7" y="22"/>
                    </a:cubicBezTo>
                    <a:cubicBezTo>
                      <a:pt x="7" y="22"/>
                      <a:pt x="7" y="23"/>
                      <a:pt x="8" y="23"/>
                    </a:cubicBezTo>
                    <a:cubicBezTo>
                      <a:pt x="8" y="23"/>
                      <a:pt x="9" y="23"/>
                      <a:pt x="9" y="24"/>
                    </a:cubicBezTo>
                    <a:cubicBezTo>
                      <a:pt x="10" y="24"/>
                      <a:pt x="10" y="24"/>
                      <a:pt x="11" y="24"/>
                    </a:cubicBezTo>
                    <a:cubicBezTo>
                      <a:pt x="12" y="24"/>
                      <a:pt x="12" y="24"/>
                      <a:pt x="13" y="24"/>
                    </a:cubicBezTo>
                    <a:cubicBezTo>
                      <a:pt x="12" y="25"/>
                      <a:pt x="12" y="24"/>
                      <a:pt x="11" y="24"/>
                    </a:cubicBezTo>
                    <a:cubicBezTo>
                      <a:pt x="11" y="25"/>
                      <a:pt x="11" y="25"/>
                      <a:pt x="11" y="25"/>
                    </a:cubicBezTo>
                    <a:cubicBezTo>
                      <a:pt x="11" y="25"/>
                      <a:pt x="10" y="25"/>
                      <a:pt x="10" y="25"/>
                    </a:cubicBezTo>
                    <a:cubicBezTo>
                      <a:pt x="10" y="25"/>
                      <a:pt x="11" y="26"/>
                      <a:pt x="11" y="26"/>
                    </a:cubicBezTo>
                    <a:cubicBezTo>
                      <a:pt x="10" y="26"/>
                      <a:pt x="10" y="25"/>
                      <a:pt x="10" y="25"/>
                    </a:cubicBezTo>
                    <a:cubicBezTo>
                      <a:pt x="9" y="25"/>
                      <a:pt x="9" y="25"/>
                      <a:pt x="9" y="25"/>
                    </a:cubicBezTo>
                    <a:cubicBezTo>
                      <a:pt x="9" y="25"/>
                      <a:pt x="9" y="25"/>
                      <a:pt x="8" y="25"/>
                    </a:cubicBezTo>
                    <a:cubicBezTo>
                      <a:pt x="8" y="25"/>
                      <a:pt x="8" y="24"/>
                      <a:pt x="8" y="24"/>
                    </a:cubicBezTo>
                    <a:cubicBezTo>
                      <a:pt x="7" y="24"/>
                      <a:pt x="8" y="25"/>
                      <a:pt x="7" y="25"/>
                    </a:cubicBezTo>
                    <a:cubicBezTo>
                      <a:pt x="7" y="25"/>
                      <a:pt x="7" y="24"/>
                      <a:pt x="7" y="24"/>
                    </a:cubicBezTo>
                    <a:cubicBezTo>
                      <a:pt x="6" y="24"/>
                      <a:pt x="7" y="24"/>
                      <a:pt x="6" y="24"/>
                    </a:cubicBezTo>
                    <a:cubicBezTo>
                      <a:pt x="7" y="24"/>
                      <a:pt x="6" y="22"/>
                      <a:pt x="6" y="23"/>
                    </a:cubicBezTo>
                    <a:cubicBezTo>
                      <a:pt x="5" y="24"/>
                      <a:pt x="6" y="25"/>
                      <a:pt x="6" y="26"/>
                    </a:cubicBezTo>
                    <a:cubicBezTo>
                      <a:pt x="6" y="27"/>
                      <a:pt x="6" y="28"/>
                      <a:pt x="6" y="29"/>
                    </a:cubicBezTo>
                    <a:cubicBezTo>
                      <a:pt x="6" y="30"/>
                      <a:pt x="6" y="30"/>
                      <a:pt x="5" y="31"/>
                    </a:cubicBezTo>
                    <a:cubicBezTo>
                      <a:pt x="5" y="32"/>
                      <a:pt x="4" y="32"/>
                      <a:pt x="4" y="34"/>
                    </a:cubicBezTo>
                    <a:cubicBezTo>
                      <a:pt x="4" y="33"/>
                      <a:pt x="3" y="36"/>
                      <a:pt x="3" y="36"/>
                    </a:cubicBezTo>
                    <a:cubicBezTo>
                      <a:pt x="3" y="35"/>
                      <a:pt x="3" y="35"/>
                      <a:pt x="2" y="35"/>
                    </a:cubicBezTo>
                    <a:cubicBezTo>
                      <a:pt x="2" y="34"/>
                      <a:pt x="2" y="34"/>
                      <a:pt x="2" y="34"/>
                    </a:cubicBezTo>
                    <a:cubicBezTo>
                      <a:pt x="2" y="34"/>
                      <a:pt x="2" y="34"/>
                      <a:pt x="2" y="34"/>
                    </a:cubicBezTo>
                    <a:cubicBezTo>
                      <a:pt x="1" y="34"/>
                      <a:pt x="1" y="35"/>
                      <a:pt x="1" y="35"/>
                    </a:cubicBezTo>
                    <a:cubicBezTo>
                      <a:pt x="1" y="35"/>
                      <a:pt x="1" y="35"/>
                      <a:pt x="1" y="34"/>
                    </a:cubicBezTo>
                    <a:cubicBezTo>
                      <a:pt x="1" y="34"/>
                      <a:pt x="1" y="34"/>
                      <a:pt x="1" y="34"/>
                    </a:cubicBezTo>
                    <a:cubicBezTo>
                      <a:pt x="1" y="33"/>
                      <a:pt x="0" y="33"/>
                      <a:pt x="0" y="33"/>
                    </a:cubicBezTo>
                    <a:cubicBezTo>
                      <a:pt x="0" y="33"/>
                      <a:pt x="1" y="37"/>
                      <a:pt x="2" y="37"/>
                    </a:cubicBezTo>
                    <a:cubicBezTo>
                      <a:pt x="2" y="37"/>
                      <a:pt x="2" y="37"/>
                      <a:pt x="2" y="37"/>
                    </a:cubicBezTo>
                    <a:cubicBezTo>
                      <a:pt x="2" y="37"/>
                      <a:pt x="2" y="37"/>
                      <a:pt x="2" y="37"/>
                    </a:cubicBezTo>
                    <a:cubicBezTo>
                      <a:pt x="2" y="38"/>
                      <a:pt x="3" y="39"/>
                      <a:pt x="3" y="40"/>
                    </a:cubicBezTo>
                    <a:cubicBezTo>
                      <a:pt x="3" y="39"/>
                      <a:pt x="3" y="39"/>
                      <a:pt x="3" y="39"/>
                    </a:cubicBezTo>
                    <a:cubicBezTo>
                      <a:pt x="3" y="39"/>
                      <a:pt x="3" y="40"/>
                      <a:pt x="3" y="41"/>
                    </a:cubicBezTo>
                    <a:cubicBezTo>
                      <a:pt x="3" y="41"/>
                      <a:pt x="4" y="41"/>
                      <a:pt x="4" y="41"/>
                    </a:cubicBezTo>
                    <a:cubicBezTo>
                      <a:pt x="4" y="42"/>
                      <a:pt x="5" y="41"/>
                      <a:pt x="5" y="41"/>
                    </a:cubicBezTo>
                    <a:cubicBezTo>
                      <a:pt x="5" y="41"/>
                      <a:pt x="6" y="42"/>
                      <a:pt x="6" y="41"/>
                    </a:cubicBezTo>
                    <a:cubicBezTo>
                      <a:pt x="6" y="41"/>
                      <a:pt x="6" y="41"/>
                      <a:pt x="6" y="40"/>
                    </a:cubicBezTo>
                    <a:cubicBezTo>
                      <a:pt x="6" y="41"/>
                      <a:pt x="6" y="41"/>
                      <a:pt x="6" y="42"/>
                    </a:cubicBezTo>
                    <a:cubicBezTo>
                      <a:pt x="6" y="42"/>
                      <a:pt x="6" y="42"/>
                      <a:pt x="5" y="42"/>
                    </a:cubicBezTo>
                    <a:cubicBezTo>
                      <a:pt x="5" y="42"/>
                      <a:pt x="6" y="44"/>
                      <a:pt x="6" y="44"/>
                    </a:cubicBezTo>
                    <a:cubicBezTo>
                      <a:pt x="7" y="44"/>
                      <a:pt x="7" y="42"/>
                      <a:pt x="7" y="42"/>
                    </a:cubicBezTo>
                    <a:cubicBezTo>
                      <a:pt x="7" y="43"/>
                      <a:pt x="7" y="43"/>
                      <a:pt x="7" y="43"/>
                    </a:cubicBezTo>
                    <a:cubicBezTo>
                      <a:pt x="8" y="44"/>
                      <a:pt x="8" y="44"/>
                      <a:pt x="8" y="44"/>
                    </a:cubicBezTo>
                    <a:cubicBezTo>
                      <a:pt x="8" y="44"/>
                      <a:pt x="7" y="44"/>
                      <a:pt x="7" y="44"/>
                    </a:cubicBezTo>
                    <a:cubicBezTo>
                      <a:pt x="7" y="44"/>
                      <a:pt x="7" y="45"/>
                      <a:pt x="7" y="44"/>
                    </a:cubicBezTo>
                    <a:cubicBezTo>
                      <a:pt x="7" y="44"/>
                      <a:pt x="6" y="44"/>
                      <a:pt x="6" y="45"/>
                    </a:cubicBezTo>
                    <a:cubicBezTo>
                      <a:pt x="6" y="45"/>
                      <a:pt x="5" y="44"/>
                      <a:pt x="5" y="44"/>
                    </a:cubicBezTo>
                    <a:cubicBezTo>
                      <a:pt x="5" y="43"/>
                      <a:pt x="5" y="43"/>
                      <a:pt x="5" y="43"/>
                    </a:cubicBezTo>
                    <a:cubicBezTo>
                      <a:pt x="4" y="42"/>
                      <a:pt x="4" y="42"/>
                      <a:pt x="4" y="41"/>
                    </a:cubicBezTo>
                    <a:cubicBezTo>
                      <a:pt x="3" y="41"/>
                      <a:pt x="3" y="41"/>
                      <a:pt x="3" y="41"/>
                    </a:cubicBezTo>
                    <a:cubicBezTo>
                      <a:pt x="3" y="42"/>
                      <a:pt x="4" y="42"/>
                      <a:pt x="5" y="43"/>
                    </a:cubicBezTo>
                    <a:cubicBezTo>
                      <a:pt x="5" y="44"/>
                      <a:pt x="5" y="44"/>
                      <a:pt x="5" y="45"/>
                    </a:cubicBezTo>
                    <a:cubicBezTo>
                      <a:pt x="5" y="45"/>
                      <a:pt x="5" y="46"/>
                      <a:pt x="5" y="46"/>
                    </a:cubicBezTo>
                    <a:cubicBezTo>
                      <a:pt x="5" y="46"/>
                      <a:pt x="6" y="47"/>
                      <a:pt x="6" y="47"/>
                    </a:cubicBezTo>
                    <a:cubicBezTo>
                      <a:pt x="6" y="47"/>
                      <a:pt x="6" y="47"/>
                      <a:pt x="6" y="46"/>
                    </a:cubicBezTo>
                    <a:cubicBezTo>
                      <a:pt x="7" y="46"/>
                      <a:pt x="7" y="47"/>
                      <a:pt x="7" y="47"/>
                    </a:cubicBezTo>
                    <a:cubicBezTo>
                      <a:pt x="7" y="47"/>
                      <a:pt x="7" y="47"/>
                      <a:pt x="7" y="47"/>
                    </a:cubicBezTo>
                    <a:cubicBezTo>
                      <a:pt x="8" y="47"/>
                      <a:pt x="8" y="47"/>
                      <a:pt x="8" y="48"/>
                    </a:cubicBezTo>
                    <a:cubicBezTo>
                      <a:pt x="8" y="48"/>
                      <a:pt x="9" y="49"/>
                      <a:pt x="8" y="49"/>
                    </a:cubicBezTo>
                    <a:cubicBezTo>
                      <a:pt x="8" y="49"/>
                      <a:pt x="7" y="48"/>
                      <a:pt x="7" y="48"/>
                    </a:cubicBezTo>
                    <a:cubicBezTo>
                      <a:pt x="7" y="48"/>
                      <a:pt x="7" y="47"/>
                      <a:pt x="6" y="47"/>
                    </a:cubicBezTo>
                    <a:cubicBezTo>
                      <a:pt x="6" y="47"/>
                      <a:pt x="6" y="47"/>
                      <a:pt x="6" y="47"/>
                    </a:cubicBezTo>
                    <a:cubicBezTo>
                      <a:pt x="6" y="48"/>
                      <a:pt x="6" y="47"/>
                      <a:pt x="5" y="47"/>
                    </a:cubicBezTo>
                    <a:cubicBezTo>
                      <a:pt x="5" y="48"/>
                      <a:pt x="7" y="49"/>
                      <a:pt x="7" y="49"/>
                    </a:cubicBezTo>
                    <a:cubicBezTo>
                      <a:pt x="8" y="50"/>
                      <a:pt x="8" y="52"/>
                      <a:pt x="9" y="53"/>
                    </a:cubicBezTo>
                    <a:cubicBezTo>
                      <a:pt x="9" y="53"/>
                      <a:pt x="9" y="53"/>
                      <a:pt x="9" y="52"/>
                    </a:cubicBezTo>
                    <a:cubicBezTo>
                      <a:pt x="9" y="52"/>
                      <a:pt x="9" y="53"/>
                      <a:pt x="10" y="53"/>
                    </a:cubicBezTo>
                    <a:cubicBezTo>
                      <a:pt x="10" y="53"/>
                      <a:pt x="9" y="52"/>
                      <a:pt x="10" y="52"/>
                    </a:cubicBezTo>
                    <a:cubicBezTo>
                      <a:pt x="10" y="53"/>
                      <a:pt x="10" y="54"/>
                      <a:pt x="11" y="53"/>
                    </a:cubicBezTo>
                    <a:cubicBezTo>
                      <a:pt x="11" y="53"/>
                      <a:pt x="11" y="53"/>
                      <a:pt x="12" y="53"/>
                    </a:cubicBezTo>
                    <a:cubicBezTo>
                      <a:pt x="12" y="54"/>
                      <a:pt x="12" y="53"/>
                      <a:pt x="12" y="54"/>
                    </a:cubicBezTo>
                    <a:cubicBezTo>
                      <a:pt x="12" y="54"/>
                      <a:pt x="12" y="55"/>
                      <a:pt x="13" y="54"/>
                    </a:cubicBezTo>
                    <a:cubicBezTo>
                      <a:pt x="13" y="54"/>
                      <a:pt x="13" y="54"/>
                      <a:pt x="13" y="54"/>
                    </a:cubicBezTo>
                    <a:cubicBezTo>
                      <a:pt x="13" y="54"/>
                      <a:pt x="13" y="54"/>
                      <a:pt x="13" y="54"/>
                    </a:cubicBezTo>
                    <a:cubicBezTo>
                      <a:pt x="14" y="54"/>
                      <a:pt x="14" y="55"/>
                      <a:pt x="13" y="55"/>
                    </a:cubicBezTo>
                    <a:cubicBezTo>
                      <a:pt x="13" y="55"/>
                      <a:pt x="13" y="55"/>
                      <a:pt x="12" y="55"/>
                    </a:cubicBezTo>
                    <a:cubicBezTo>
                      <a:pt x="12" y="55"/>
                      <a:pt x="12" y="54"/>
                      <a:pt x="12" y="54"/>
                    </a:cubicBezTo>
                    <a:cubicBezTo>
                      <a:pt x="11" y="54"/>
                      <a:pt x="11" y="54"/>
                      <a:pt x="11" y="53"/>
                    </a:cubicBezTo>
                    <a:cubicBezTo>
                      <a:pt x="10" y="54"/>
                      <a:pt x="10" y="54"/>
                      <a:pt x="10" y="53"/>
                    </a:cubicBezTo>
                    <a:cubicBezTo>
                      <a:pt x="10" y="55"/>
                      <a:pt x="12" y="56"/>
                      <a:pt x="14" y="57"/>
                    </a:cubicBezTo>
                    <a:cubicBezTo>
                      <a:pt x="15" y="59"/>
                      <a:pt x="16" y="60"/>
                      <a:pt x="18" y="62"/>
                    </a:cubicBezTo>
                    <a:cubicBezTo>
                      <a:pt x="18" y="62"/>
                      <a:pt x="18" y="62"/>
                      <a:pt x="19" y="63"/>
                    </a:cubicBezTo>
                    <a:cubicBezTo>
                      <a:pt x="19" y="63"/>
                      <a:pt x="19" y="63"/>
                      <a:pt x="19" y="64"/>
                    </a:cubicBezTo>
                    <a:cubicBezTo>
                      <a:pt x="19" y="64"/>
                      <a:pt x="20" y="65"/>
                      <a:pt x="20" y="65"/>
                    </a:cubicBezTo>
                    <a:cubicBezTo>
                      <a:pt x="21" y="66"/>
                      <a:pt x="22" y="66"/>
                      <a:pt x="22" y="67"/>
                    </a:cubicBezTo>
                    <a:cubicBezTo>
                      <a:pt x="22" y="68"/>
                      <a:pt x="23" y="69"/>
                      <a:pt x="24" y="69"/>
                    </a:cubicBezTo>
                    <a:cubicBezTo>
                      <a:pt x="24" y="68"/>
                      <a:pt x="24" y="67"/>
                      <a:pt x="25" y="66"/>
                    </a:cubicBezTo>
                    <a:cubicBezTo>
                      <a:pt x="25" y="66"/>
                      <a:pt x="26" y="66"/>
                      <a:pt x="26" y="66"/>
                    </a:cubicBezTo>
                    <a:cubicBezTo>
                      <a:pt x="27" y="65"/>
                      <a:pt x="27" y="65"/>
                      <a:pt x="27" y="65"/>
                    </a:cubicBezTo>
                    <a:cubicBezTo>
                      <a:pt x="28" y="65"/>
                      <a:pt x="28" y="66"/>
                      <a:pt x="29" y="67"/>
                    </a:cubicBezTo>
                    <a:cubicBezTo>
                      <a:pt x="29" y="67"/>
                      <a:pt x="30" y="67"/>
                      <a:pt x="31" y="67"/>
                    </a:cubicBezTo>
                    <a:cubicBezTo>
                      <a:pt x="31" y="67"/>
                      <a:pt x="31" y="66"/>
                      <a:pt x="31" y="66"/>
                    </a:cubicBezTo>
                    <a:cubicBezTo>
                      <a:pt x="30" y="65"/>
                      <a:pt x="30" y="65"/>
                      <a:pt x="31" y="65"/>
                    </a:cubicBezTo>
                    <a:cubicBezTo>
                      <a:pt x="31" y="64"/>
                      <a:pt x="31" y="64"/>
                      <a:pt x="31" y="63"/>
                    </a:cubicBezTo>
                    <a:cubicBezTo>
                      <a:pt x="32" y="63"/>
                      <a:pt x="32" y="63"/>
                      <a:pt x="31" y="62"/>
                    </a:cubicBezTo>
                    <a:cubicBezTo>
                      <a:pt x="31" y="62"/>
                      <a:pt x="30" y="62"/>
                      <a:pt x="30" y="62"/>
                    </a:cubicBezTo>
                    <a:cubicBezTo>
                      <a:pt x="29" y="61"/>
                      <a:pt x="29" y="61"/>
                      <a:pt x="29" y="60"/>
                    </a:cubicBezTo>
                    <a:cubicBezTo>
                      <a:pt x="29" y="60"/>
                      <a:pt x="30" y="60"/>
                      <a:pt x="30" y="60"/>
                    </a:cubicBezTo>
                    <a:cubicBezTo>
                      <a:pt x="30" y="59"/>
                      <a:pt x="29" y="58"/>
                      <a:pt x="29" y="57"/>
                    </a:cubicBezTo>
                    <a:cubicBezTo>
                      <a:pt x="28" y="57"/>
                      <a:pt x="28" y="58"/>
                      <a:pt x="27" y="58"/>
                    </a:cubicBezTo>
                    <a:cubicBezTo>
                      <a:pt x="27" y="57"/>
                      <a:pt x="28" y="57"/>
                      <a:pt x="28" y="57"/>
                    </a:cubicBezTo>
                    <a:cubicBezTo>
                      <a:pt x="28" y="56"/>
                      <a:pt x="28" y="55"/>
                      <a:pt x="28" y="55"/>
                    </a:cubicBezTo>
                    <a:cubicBezTo>
                      <a:pt x="28" y="54"/>
                      <a:pt x="28" y="54"/>
                      <a:pt x="28" y="53"/>
                    </a:cubicBezTo>
                    <a:cubicBezTo>
                      <a:pt x="28" y="53"/>
                      <a:pt x="28" y="51"/>
                      <a:pt x="29" y="52"/>
                    </a:cubicBezTo>
                    <a:cubicBezTo>
                      <a:pt x="29" y="53"/>
                      <a:pt x="29" y="53"/>
                      <a:pt x="30" y="52"/>
                    </a:cubicBezTo>
                    <a:cubicBezTo>
                      <a:pt x="30" y="52"/>
                      <a:pt x="31" y="52"/>
                      <a:pt x="31" y="52"/>
                    </a:cubicBezTo>
                    <a:cubicBezTo>
                      <a:pt x="32" y="52"/>
                      <a:pt x="32" y="53"/>
                      <a:pt x="32" y="53"/>
                    </a:cubicBezTo>
                    <a:cubicBezTo>
                      <a:pt x="33" y="53"/>
                      <a:pt x="33" y="53"/>
                      <a:pt x="34" y="52"/>
                    </a:cubicBezTo>
                    <a:cubicBezTo>
                      <a:pt x="35" y="52"/>
                      <a:pt x="35" y="52"/>
                      <a:pt x="36" y="52"/>
                    </a:cubicBezTo>
                    <a:cubicBezTo>
                      <a:pt x="37" y="52"/>
                      <a:pt x="37" y="49"/>
                      <a:pt x="37" y="49"/>
                    </a:cubicBezTo>
                    <a:cubicBezTo>
                      <a:pt x="36" y="49"/>
                      <a:pt x="36" y="47"/>
                      <a:pt x="36" y="47"/>
                    </a:cubicBezTo>
                    <a:cubicBezTo>
                      <a:pt x="37" y="48"/>
                      <a:pt x="37" y="47"/>
                      <a:pt x="38" y="46"/>
                    </a:cubicBezTo>
                    <a:cubicBezTo>
                      <a:pt x="38" y="46"/>
                      <a:pt x="40" y="47"/>
                      <a:pt x="40" y="48"/>
                    </a:cubicBezTo>
                    <a:cubicBezTo>
                      <a:pt x="40" y="48"/>
                      <a:pt x="41" y="50"/>
                      <a:pt x="41" y="50"/>
                    </a:cubicBezTo>
                    <a:cubicBezTo>
                      <a:pt x="42" y="50"/>
                      <a:pt x="42" y="52"/>
                      <a:pt x="41" y="52"/>
                    </a:cubicBezTo>
                    <a:cubicBezTo>
                      <a:pt x="42" y="52"/>
                      <a:pt x="42" y="52"/>
                      <a:pt x="42" y="52"/>
                    </a:cubicBezTo>
                    <a:cubicBezTo>
                      <a:pt x="43" y="52"/>
                      <a:pt x="43" y="52"/>
                      <a:pt x="43" y="52"/>
                    </a:cubicBezTo>
                    <a:cubicBezTo>
                      <a:pt x="44" y="52"/>
                      <a:pt x="45" y="53"/>
                      <a:pt x="45" y="53"/>
                    </a:cubicBezTo>
                    <a:cubicBezTo>
                      <a:pt x="46" y="53"/>
                      <a:pt x="46" y="53"/>
                      <a:pt x="46" y="53"/>
                    </a:cubicBezTo>
                    <a:cubicBezTo>
                      <a:pt x="47" y="53"/>
                      <a:pt x="47" y="52"/>
                      <a:pt x="47" y="52"/>
                    </a:cubicBezTo>
                    <a:cubicBezTo>
                      <a:pt x="48" y="51"/>
                      <a:pt x="48" y="50"/>
                      <a:pt x="49" y="49"/>
                    </a:cubicBezTo>
                    <a:cubicBezTo>
                      <a:pt x="49" y="49"/>
                      <a:pt x="50" y="50"/>
                      <a:pt x="50" y="51"/>
                    </a:cubicBezTo>
                    <a:cubicBezTo>
                      <a:pt x="50" y="51"/>
                      <a:pt x="50" y="52"/>
                      <a:pt x="51" y="52"/>
                    </a:cubicBezTo>
                    <a:cubicBezTo>
                      <a:pt x="51" y="52"/>
                      <a:pt x="50" y="53"/>
                      <a:pt x="50" y="53"/>
                    </a:cubicBezTo>
                    <a:cubicBezTo>
                      <a:pt x="50" y="54"/>
                      <a:pt x="51" y="53"/>
                      <a:pt x="51" y="53"/>
                    </a:cubicBezTo>
                    <a:cubicBezTo>
                      <a:pt x="51" y="54"/>
                      <a:pt x="52" y="54"/>
                      <a:pt x="52" y="53"/>
                    </a:cubicBezTo>
                    <a:cubicBezTo>
                      <a:pt x="53" y="53"/>
                      <a:pt x="53" y="52"/>
                      <a:pt x="53" y="52"/>
                    </a:cubicBezTo>
                    <a:cubicBezTo>
                      <a:pt x="54" y="52"/>
                      <a:pt x="54" y="52"/>
                      <a:pt x="53" y="51"/>
                    </a:cubicBezTo>
                    <a:cubicBezTo>
                      <a:pt x="53" y="51"/>
                      <a:pt x="53" y="51"/>
                      <a:pt x="53" y="50"/>
                    </a:cubicBezTo>
                    <a:cubicBezTo>
                      <a:pt x="54" y="50"/>
                      <a:pt x="53" y="48"/>
                      <a:pt x="54" y="48"/>
                    </a:cubicBezTo>
                    <a:cubicBezTo>
                      <a:pt x="55" y="47"/>
                      <a:pt x="55" y="47"/>
                      <a:pt x="55" y="46"/>
                    </a:cubicBezTo>
                    <a:cubicBezTo>
                      <a:pt x="55" y="46"/>
                      <a:pt x="56" y="45"/>
                      <a:pt x="56" y="45"/>
                    </a:cubicBezTo>
                    <a:cubicBezTo>
                      <a:pt x="56" y="45"/>
                      <a:pt x="55" y="44"/>
                      <a:pt x="55" y="44"/>
                    </a:cubicBezTo>
                    <a:cubicBezTo>
                      <a:pt x="55" y="44"/>
                      <a:pt x="56" y="43"/>
                      <a:pt x="56" y="4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1" name="French Polynesia">
                <a:extLst>
                  <a:ext uri="{FF2B5EF4-FFF2-40B4-BE49-F238E27FC236}">
                    <a16:creationId xmlns:a16="http://schemas.microsoft.com/office/drawing/2014/main" id="{FF792149-F130-3DAD-A750-5D97D421189F}"/>
                  </a:ext>
                </a:extLst>
              </p:cNvPr>
              <p:cNvSpPr/>
              <p:nvPr/>
            </p:nvSpPr>
            <p:spPr>
              <a:xfrm>
                <a:off x="974772" y="4402199"/>
                <a:ext cx="543858" cy="563514"/>
              </a:xfrm>
              <a:custGeom>
                <a:avLst/>
                <a:gdLst>
                  <a:gd name="connsiteX0" fmla="*/ 385813 w 543858"/>
                  <a:gd name="connsiteY0" fmla="*/ 120 h 563514"/>
                  <a:gd name="connsiteX1" fmla="*/ 384523 w 543858"/>
                  <a:gd name="connsiteY1" fmla="*/ 2271 h 563514"/>
                  <a:gd name="connsiteX2" fmla="*/ 382373 w 543858"/>
                  <a:gd name="connsiteY2" fmla="*/ 2271 h 563514"/>
                  <a:gd name="connsiteX3" fmla="*/ 383663 w 543858"/>
                  <a:gd name="connsiteY3" fmla="*/ 550 h 563514"/>
                  <a:gd name="connsiteX4" fmla="*/ 385813 w 543858"/>
                  <a:gd name="connsiteY4" fmla="*/ 120 h 563514"/>
                  <a:gd name="connsiteX5" fmla="*/ 375493 w 543858"/>
                  <a:gd name="connsiteY5" fmla="*/ 4421 h 563514"/>
                  <a:gd name="connsiteX6" fmla="*/ 374633 w 543858"/>
                  <a:gd name="connsiteY6" fmla="*/ 7431 h 563514"/>
                  <a:gd name="connsiteX7" fmla="*/ 377213 w 543858"/>
                  <a:gd name="connsiteY7" fmla="*/ 6571 h 563514"/>
                  <a:gd name="connsiteX8" fmla="*/ 378073 w 543858"/>
                  <a:gd name="connsiteY8" fmla="*/ 3991 h 563514"/>
                  <a:gd name="connsiteX9" fmla="*/ 375493 w 543858"/>
                  <a:gd name="connsiteY9" fmla="*/ 4421 h 563514"/>
                  <a:gd name="connsiteX10" fmla="*/ 388393 w 543858"/>
                  <a:gd name="connsiteY10" fmla="*/ 26352 h 563514"/>
                  <a:gd name="connsiteX11" fmla="*/ 386673 w 543858"/>
                  <a:gd name="connsiteY11" fmla="*/ 28932 h 563514"/>
                  <a:gd name="connsiteX12" fmla="*/ 388393 w 543858"/>
                  <a:gd name="connsiteY12" fmla="*/ 31082 h 563514"/>
                  <a:gd name="connsiteX13" fmla="*/ 390113 w 543858"/>
                  <a:gd name="connsiteY13" fmla="*/ 29792 h 563514"/>
                  <a:gd name="connsiteX14" fmla="*/ 390543 w 543858"/>
                  <a:gd name="connsiteY14" fmla="*/ 28072 h 563514"/>
                  <a:gd name="connsiteX15" fmla="*/ 392264 w 543858"/>
                  <a:gd name="connsiteY15" fmla="*/ 29362 h 563514"/>
                  <a:gd name="connsiteX16" fmla="*/ 393554 w 543858"/>
                  <a:gd name="connsiteY16" fmla="*/ 26782 h 563514"/>
                  <a:gd name="connsiteX17" fmla="*/ 390973 w 543858"/>
                  <a:gd name="connsiteY17" fmla="*/ 25492 h 563514"/>
                  <a:gd name="connsiteX18" fmla="*/ 388393 w 543858"/>
                  <a:gd name="connsiteY18" fmla="*/ 26352 h 563514"/>
                  <a:gd name="connsiteX19" fmla="*/ 390543 w 543858"/>
                  <a:gd name="connsiteY19" fmla="*/ 40542 h 563514"/>
                  <a:gd name="connsiteX20" fmla="*/ 389683 w 543858"/>
                  <a:gd name="connsiteY20" fmla="*/ 43552 h 563514"/>
                  <a:gd name="connsiteX21" fmla="*/ 392264 w 543858"/>
                  <a:gd name="connsiteY21" fmla="*/ 44413 h 563514"/>
                  <a:gd name="connsiteX22" fmla="*/ 392264 w 543858"/>
                  <a:gd name="connsiteY22" fmla="*/ 41402 h 563514"/>
                  <a:gd name="connsiteX23" fmla="*/ 393554 w 543858"/>
                  <a:gd name="connsiteY23" fmla="*/ 38822 h 563514"/>
                  <a:gd name="connsiteX24" fmla="*/ 390543 w 543858"/>
                  <a:gd name="connsiteY24" fmla="*/ 40542 h 563514"/>
                  <a:gd name="connsiteX25" fmla="*/ 405164 w 543858"/>
                  <a:gd name="connsiteY25" fmla="*/ 28072 h 563514"/>
                  <a:gd name="connsiteX26" fmla="*/ 403444 w 543858"/>
                  <a:gd name="connsiteY26" fmla="*/ 31082 h 563514"/>
                  <a:gd name="connsiteX27" fmla="*/ 406024 w 543858"/>
                  <a:gd name="connsiteY27" fmla="*/ 30652 h 563514"/>
                  <a:gd name="connsiteX28" fmla="*/ 409034 w 543858"/>
                  <a:gd name="connsiteY28" fmla="*/ 28502 h 563514"/>
                  <a:gd name="connsiteX29" fmla="*/ 405164 w 543858"/>
                  <a:gd name="connsiteY29" fmla="*/ 28072 h 563514"/>
                  <a:gd name="connsiteX30" fmla="*/ 416775 w 543858"/>
                  <a:gd name="connsiteY30" fmla="*/ 50003 h 563514"/>
                  <a:gd name="connsiteX31" fmla="*/ 415055 w 543858"/>
                  <a:gd name="connsiteY31" fmla="*/ 52583 h 563514"/>
                  <a:gd name="connsiteX32" fmla="*/ 416775 w 543858"/>
                  <a:gd name="connsiteY32" fmla="*/ 54733 h 563514"/>
                  <a:gd name="connsiteX33" fmla="*/ 416345 w 543858"/>
                  <a:gd name="connsiteY33" fmla="*/ 57743 h 563514"/>
                  <a:gd name="connsiteX34" fmla="*/ 418495 w 543858"/>
                  <a:gd name="connsiteY34" fmla="*/ 58603 h 563514"/>
                  <a:gd name="connsiteX35" fmla="*/ 419785 w 543858"/>
                  <a:gd name="connsiteY35" fmla="*/ 55163 h 563514"/>
                  <a:gd name="connsiteX36" fmla="*/ 422365 w 543858"/>
                  <a:gd name="connsiteY36" fmla="*/ 54733 h 563514"/>
                  <a:gd name="connsiteX37" fmla="*/ 424945 w 543858"/>
                  <a:gd name="connsiteY37" fmla="*/ 53443 h 563514"/>
                  <a:gd name="connsiteX38" fmla="*/ 423225 w 543858"/>
                  <a:gd name="connsiteY38" fmla="*/ 50863 h 563514"/>
                  <a:gd name="connsiteX39" fmla="*/ 420645 w 543858"/>
                  <a:gd name="connsiteY39" fmla="*/ 50863 h 563514"/>
                  <a:gd name="connsiteX40" fmla="*/ 419355 w 543858"/>
                  <a:gd name="connsiteY40" fmla="*/ 49573 h 563514"/>
                  <a:gd name="connsiteX41" fmla="*/ 416775 w 543858"/>
                  <a:gd name="connsiteY41" fmla="*/ 50003 h 563514"/>
                  <a:gd name="connsiteX42" fmla="*/ 421075 w 543858"/>
                  <a:gd name="connsiteY42" fmla="*/ 42262 h 563514"/>
                  <a:gd name="connsiteX43" fmla="*/ 421075 w 543858"/>
                  <a:gd name="connsiteY43" fmla="*/ 44843 h 563514"/>
                  <a:gd name="connsiteX44" fmla="*/ 423225 w 543858"/>
                  <a:gd name="connsiteY44" fmla="*/ 43552 h 563514"/>
                  <a:gd name="connsiteX45" fmla="*/ 423225 w 543858"/>
                  <a:gd name="connsiteY45" fmla="*/ 40972 h 563514"/>
                  <a:gd name="connsiteX46" fmla="*/ 421075 w 543858"/>
                  <a:gd name="connsiteY46" fmla="*/ 42262 h 563514"/>
                  <a:gd name="connsiteX47" fmla="*/ 429245 w 543858"/>
                  <a:gd name="connsiteY47" fmla="*/ 69784 h 563514"/>
                  <a:gd name="connsiteX48" fmla="*/ 427525 w 543858"/>
                  <a:gd name="connsiteY48" fmla="*/ 74084 h 563514"/>
                  <a:gd name="connsiteX49" fmla="*/ 431825 w 543858"/>
                  <a:gd name="connsiteY49" fmla="*/ 74084 h 563514"/>
                  <a:gd name="connsiteX50" fmla="*/ 433546 w 543858"/>
                  <a:gd name="connsiteY50" fmla="*/ 70214 h 563514"/>
                  <a:gd name="connsiteX51" fmla="*/ 429245 w 543858"/>
                  <a:gd name="connsiteY51" fmla="*/ 69784 h 563514"/>
                  <a:gd name="connsiteX52" fmla="*/ 279168 w 543858"/>
                  <a:gd name="connsiteY52" fmla="*/ 550977 h 563514"/>
                  <a:gd name="connsiteX53" fmla="*/ 276588 w 543858"/>
                  <a:gd name="connsiteY53" fmla="*/ 552697 h 563514"/>
                  <a:gd name="connsiteX54" fmla="*/ 277018 w 543858"/>
                  <a:gd name="connsiteY54" fmla="*/ 555707 h 563514"/>
                  <a:gd name="connsiteX55" fmla="*/ 280028 w 543858"/>
                  <a:gd name="connsiteY55" fmla="*/ 554417 h 563514"/>
                  <a:gd name="connsiteX56" fmla="*/ 281748 w 543858"/>
                  <a:gd name="connsiteY56" fmla="*/ 551837 h 563514"/>
                  <a:gd name="connsiteX57" fmla="*/ 279168 w 543858"/>
                  <a:gd name="connsiteY57" fmla="*/ 550977 h 563514"/>
                  <a:gd name="connsiteX58" fmla="*/ 300239 w 543858"/>
                  <a:gd name="connsiteY58" fmla="*/ 560437 h 563514"/>
                  <a:gd name="connsiteX59" fmla="*/ 300239 w 543858"/>
                  <a:gd name="connsiteY59" fmla="*/ 563447 h 563514"/>
                  <a:gd name="connsiteX60" fmla="*/ 302389 w 543858"/>
                  <a:gd name="connsiteY60" fmla="*/ 562587 h 563514"/>
                  <a:gd name="connsiteX61" fmla="*/ 304109 w 543858"/>
                  <a:gd name="connsiteY61" fmla="*/ 560867 h 563514"/>
                  <a:gd name="connsiteX62" fmla="*/ 302389 w 543858"/>
                  <a:gd name="connsiteY62" fmla="*/ 558717 h 563514"/>
                  <a:gd name="connsiteX63" fmla="*/ 300239 w 543858"/>
                  <a:gd name="connsiteY63" fmla="*/ 560437 h 563514"/>
                  <a:gd name="connsiteX64" fmla="*/ 2665 w 543858"/>
                  <a:gd name="connsiteY64" fmla="*/ 382409 h 563514"/>
                  <a:gd name="connsiteX65" fmla="*/ 515 w 543858"/>
                  <a:gd name="connsiteY65" fmla="*/ 386709 h 563514"/>
                  <a:gd name="connsiteX66" fmla="*/ 4385 w 543858"/>
                  <a:gd name="connsiteY66" fmla="*/ 387139 h 563514"/>
                  <a:gd name="connsiteX67" fmla="*/ 8685 w 543858"/>
                  <a:gd name="connsiteY67" fmla="*/ 383269 h 563514"/>
                  <a:gd name="connsiteX68" fmla="*/ 2665 w 543858"/>
                  <a:gd name="connsiteY68" fmla="*/ 382409 h 563514"/>
                  <a:gd name="connsiteX69" fmla="*/ 50827 w 543858"/>
                  <a:gd name="connsiteY69" fmla="*/ 407350 h 563514"/>
                  <a:gd name="connsiteX70" fmla="*/ 49537 w 543858"/>
                  <a:gd name="connsiteY70" fmla="*/ 409930 h 563514"/>
                  <a:gd name="connsiteX71" fmla="*/ 55127 w 543858"/>
                  <a:gd name="connsiteY71" fmla="*/ 409930 h 563514"/>
                  <a:gd name="connsiteX72" fmla="*/ 53837 w 543858"/>
                  <a:gd name="connsiteY72" fmla="*/ 405200 h 563514"/>
                  <a:gd name="connsiteX73" fmla="*/ 50827 w 543858"/>
                  <a:gd name="connsiteY73" fmla="*/ 407350 h 563514"/>
                  <a:gd name="connsiteX74" fmla="*/ 91679 w 543858"/>
                  <a:gd name="connsiteY74" fmla="*/ 400900 h 563514"/>
                  <a:gd name="connsiteX75" fmla="*/ 88669 w 543858"/>
                  <a:gd name="connsiteY75" fmla="*/ 403050 h 563514"/>
                  <a:gd name="connsiteX76" fmla="*/ 91249 w 543858"/>
                  <a:gd name="connsiteY76" fmla="*/ 405200 h 563514"/>
                  <a:gd name="connsiteX77" fmla="*/ 95119 w 543858"/>
                  <a:gd name="connsiteY77" fmla="*/ 403480 h 563514"/>
                  <a:gd name="connsiteX78" fmla="*/ 91679 w 543858"/>
                  <a:gd name="connsiteY78" fmla="*/ 400900 h 563514"/>
                  <a:gd name="connsiteX79" fmla="*/ 141992 w 543858"/>
                  <a:gd name="connsiteY79" fmla="*/ 428421 h 563514"/>
                  <a:gd name="connsiteX80" fmla="*/ 139411 w 543858"/>
                  <a:gd name="connsiteY80" fmla="*/ 429711 h 563514"/>
                  <a:gd name="connsiteX81" fmla="*/ 142422 w 543858"/>
                  <a:gd name="connsiteY81" fmla="*/ 431001 h 563514"/>
                  <a:gd name="connsiteX82" fmla="*/ 145002 w 543858"/>
                  <a:gd name="connsiteY82" fmla="*/ 429711 h 563514"/>
                  <a:gd name="connsiteX83" fmla="*/ 141992 w 543858"/>
                  <a:gd name="connsiteY83" fmla="*/ 428421 h 563514"/>
                  <a:gd name="connsiteX84" fmla="*/ 187574 w 543858"/>
                  <a:gd name="connsiteY84" fmla="*/ 442612 h 563514"/>
                  <a:gd name="connsiteX85" fmla="*/ 187144 w 543858"/>
                  <a:gd name="connsiteY85" fmla="*/ 445622 h 563514"/>
                  <a:gd name="connsiteX86" fmla="*/ 191014 w 543858"/>
                  <a:gd name="connsiteY86" fmla="*/ 445622 h 563514"/>
                  <a:gd name="connsiteX87" fmla="*/ 193594 w 543858"/>
                  <a:gd name="connsiteY87" fmla="*/ 443042 h 563514"/>
                  <a:gd name="connsiteX88" fmla="*/ 187574 w 543858"/>
                  <a:gd name="connsiteY88" fmla="*/ 442612 h 563514"/>
                  <a:gd name="connsiteX89" fmla="*/ 1805 w 543858"/>
                  <a:gd name="connsiteY89" fmla="*/ 233622 h 563514"/>
                  <a:gd name="connsiteX90" fmla="*/ 2665 w 543858"/>
                  <a:gd name="connsiteY90" fmla="*/ 238782 h 563514"/>
                  <a:gd name="connsiteX91" fmla="*/ 7825 w 543858"/>
                  <a:gd name="connsiteY91" fmla="*/ 234482 h 563514"/>
                  <a:gd name="connsiteX92" fmla="*/ 1805 w 543858"/>
                  <a:gd name="connsiteY92" fmla="*/ 233622 h 563514"/>
                  <a:gd name="connsiteX93" fmla="*/ 6105 w 543858"/>
                  <a:gd name="connsiteY93" fmla="*/ 214701 h 563514"/>
                  <a:gd name="connsiteX94" fmla="*/ 5675 w 543858"/>
                  <a:gd name="connsiteY94" fmla="*/ 218141 h 563514"/>
                  <a:gd name="connsiteX95" fmla="*/ 9545 w 543858"/>
                  <a:gd name="connsiteY95" fmla="*/ 214701 h 563514"/>
                  <a:gd name="connsiteX96" fmla="*/ 6105 w 543858"/>
                  <a:gd name="connsiteY96" fmla="*/ 214701 h 563514"/>
                  <a:gd name="connsiteX97" fmla="*/ 23736 w 543858"/>
                  <a:gd name="connsiteY97" fmla="*/ 242652 h 563514"/>
                  <a:gd name="connsiteX98" fmla="*/ 21586 w 543858"/>
                  <a:gd name="connsiteY98" fmla="*/ 244372 h 563514"/>
                  <a:gd name="connsiteX99" fmla="*/ 22876 w 543858"/>
                  <a:gd name="connsiteY99" fmla="*/ 246522 h 563514"/>
                  <a:gd name="connsiteX100" fmla="*/ 25456 w 543858"/>
                  <a:gd name="connsiteY100" fmla="*/ 246522 h 563514"/>
                  <a:gd name="connsiteX101" fmla="*/ 24166 w 543858"/>
                  <a:gd name="connsiteY101" fmla="*/ 244372 h 563514"/>
                  <a:gd name="connsiteX102" fmla="*/ 24596 w 543858"/>
                  <a:gd name="connsiteY102" fmla="*/ 243082 h 563514"/>
                  <a:gd name="connsiteX103" fmla="*/ 23736 w 543858"/>
                  <a:gd name="connsiteY103" fmla="*/ 242652 h 563514"/>
                  <a:gd name="connsiteX104" fmla="*/ 66308 w 543858"/>
                  <a:gd name="connsiteY104" fmla="*/ 234052 h 563514"/>
                  <a:gd name="connsiteX105" fmla="*/ 65018 w 543858"/>
                  <a:gd name="connsiteY105" fmla="*/ 237062 h 563514"/>
                  <a:gd name="connsiteX106" fmla="*/ 70178 w 543858"/>
                  <a:gd name="connsiteY106" fmla="*/ 236202 h 563514"/>
                  <a:gd name="connsiteX107" fmla="*/ 69318 w 543858"/>
                  <a:gd name="connsiteY107" fmla="*/ 231902 h 563514"/>
                  <a:gd name="connsiteX108" fmla="*/ 66308 w 543858"/>
                  <a:gd name="connsiteY108" fmla="*/ 234052 h 563514"/>
                  <a:gd name="connsiteX109" fmla="*/ 80929 w 543858"/>
                  <a:gd name="connsiteY109" fmla="*/ 234052 h 563514"/>
                  <a:gd name="connsiteX110" fmla="*/ 78348 w 543858"/>
                  <a:gd name="connsiteY110" fmla="*/ 236202 h 563514"/>
                  <a:gd name="connsiteX111" fmla="*/ 81359 w 543858"/>
                  <a:gd name="connsiteY111" fmla="*/ 237492 h 563514"/>
                  <a:gd name="connsiteX112" fmla="*/ 83939 w 543858"/>
                  <a:gd name="connsiteY112" fmla="*/ 234912 h 563514"/>
                  <a:gd name="connsiteX113" fmla="*/ 80929 w 543858"/>
                  <a:gd name="connsiteY113" fmla="*/ 234052 h 563514"/>
                  <a:gd name="connsiteX114" fmla="*/ 89099 w 543858"/>
                  <a:gd name="connsiteY114" fmla="*/ 238782 h 563514"/>
                  <a:gd name="connsiteX115" fmla="*/ 87809 w 543858"/>
                  <a:gd name="connsiteY115" fmla="*/ 240072 h 563514"/>
                  <a:gd name="connsiteX116" fmla="*/ 89099 w 543858"/>
                  <a:gd name="connsiteY116" fmla="*/ 237922 h 563514"/>
                  <a:gd name="connsiteX117" fmla="*/ 88669 w 543858"/>
                  <a:gd name="connsiteY117" fmla="*/ 236632 h 563514"/>
                  <a:gd name="connsiteX118" fmla="*/ 86949 w 543858"/>
                  <a:gd name="connsiteY118" fmla="*/ 236632 h 563514"/>
                  <a:gd name="connsiteX119" fmla="*/ 86089 w 543858"/>
                  <a:gd name="connsiteY119" fmla="*/ 238782 h 563514"/>
                  <a:gd name="connsiteX120" fmla="*/ 86949 w 543858"/>
                  <a:gd name="connsiteY120" fmla="*/ 241792 h 563514"/>
                  <a:gd name="connsiteX121" fmla="*/ 87809 w 543858"/>
                  <a:gd name="connsiteY121" fmla="*/ 243942 h 563514"/>
                  <a:gd name="connsiteX122" fmla="*/ 89099 w 543858"/>
                  <a:gd name="connsiteY122" fmla="*/ 246952 h 563514"/>
                  <a:gd name="connsiteX123" fmla="*/ 92109 w 543858"/>
                  <a:gd name="connsiteY123" fmla="*/ 246092 h 563514"/>
                  <a:gd name="connsiteX124" fmla="*/ 90819 w 543858"/>
                  <a:gd name="connsiteY124" fmla="*/ 242652 h 563514"/>
                  <a:gd name="connsiteX125" fmla="*/ 89529 w 543858"/>
                  <a:gd name="connsiteY125" fmla="*/ 239642 h 563514"/>
                  <a:gd name="connsiteX126" fmla="*/ 89099 w 543858"/>
                  <a:gd name="connsiteY126" fmla="*/ 238782 h 563514"/>
                  <a:gd name="connsiteX127" fmla="*/ 100279 w 543858"/>
                  <a:gd name="connsiteY127" fmla="*/ 240932 h 563514"/>
                  <a:gd name="connsiteX128" fmla="*/ 98559 w 543858"/>
                  <a:gd name="connsiteY128" fmla="*/ 242652 h 563514"/>
                  <a:gd name="connsiteX129" fmla="*/ 99849 w 543858"/>
                  <a:gd name="connsiteY129" fmla="*/ 244372 h 563514"/>
                  <a:gd name="connsiteX130" fmla="*/ 102860 w 543858"/>
                  <a:gd name="connsiteY130" fmla="*/ 242652 h 563514"/>
                  <a:gd name="connsiteX131" fmla="*/ 100279 w 543858"/>
                  <a:gd name="connsiteY131" fmla="*/ 240932 h 563514"/>
                  <a:gd name="connsiteX132" fmla="*/ 109740 w 543858"/>
                  <a:gd name="connsiteY132" fmla="*/ 265443 h 563514"/>
                  <a:gd name="connsiteX133" fmla="*/ 108880 w 543858"/>
                  <a:gd name="connsiteY133" fmla="*/ 269313 h 563514"/>
                  <a:gd name="connsiteX134" fmla="*/ 113610 w 543858"/>
                  <a:gd name="connsiteY134" fmla="*/ 268453 h 563514"/>
                  <a:gd name="connsiteX135" fmla="*/ 113180 w 543858"/>
                  <a:gd name="connsiteY135" fmla="*/ 264153 h 563514"/>
                  <a:gd name="connsiteX136" fmla="*/ 109740 w 543858"/>
                  <a:gd name="connsiteY136" fmla="*/ 265443 h 563514"/>
                  <a:gd name="connsiteX137" fmla="*/ 130381 w 543858"/>
                  <a:gd name="connsiteY137" fmla="*/ 261573 h 563514"/>
                  <a:gd name="connsiteX138" fmla="*/ 128661 w 543858"/>
                  <a:gd name="connsiteY138" fmla="*/ 264583 h 563514"/>
                  <a:gd name="connsiteX139" fmla="*/ 131671 w 543858"/>
                  <a:gd name="connsiteY139" fmla="*/ 266733 h 563514"/>
                  <a:gd name="connsiteX140" fmla="*/ 135541 w 543858"/>
                  <a:gd name="connsiteY140" fmla="*/ 263293 h 563514"/>
                  <a:gd name="connsiteX141" fmla="*/ 130381 w 543858"/>
                  <a:gd name="connsiteY141" fmla="*/ 261573 h 563514"/>
                  <a:gd name="connsiteX142" fmla="*/ 145862 w 543858"/>
                  <a:gd name="connsiteY142" fmla="*/ 268023 h 563514"/>
                  <a:gd name="connsiteX143" fmla="*/ 143282 w 543858"/>
                  <a:gd name="connsiteY143" fmla="*/ 269313 h 563514"/>
                  <a:gd name="connsiteX144" fmla="*/ 140271 w 543858"/>
                  <a:gd name="connsiteY144" fmla="*/ 269313 h 563514"/>
                  <a:gd name="connsiteX145" fmla="*/ 137691 w 543858"/>
                  <a:gd name="connsiteY145" fmla="*/ 267593 h 563514"/>
                  <a:gd name="connsiteX146" fmla="*/ 137691 w 543858"/>
                  <a:gd name="connsiteY146" fmla="*/ 269743 h 563514"/>
                  <a:gd name="connsiteX147" fmla="*/ 139841 w 543858"/>
                  <a:gd name="connsiteY147" fmla="*/ 271463 h 563514"/>
                  <a:gd name="connsiteX148" fmla="*/ 145432 w 543858"/>
                  <a:gd name="connsiteY148" fmla="*/ 271463 h 563514"/>
                  <a:gd name="connsiteX149" fmla="*/ 147582 w 543858"/>
                  <a:gd name="connsiteY149" fmla="*/ 273614 h 563514"/>
                  <a:gd name="connsiteX150" fmla="*/ 150592 w 543858"/>
                  <a:gd name="connsiteY150" fmla="*/ 273614 h 563514"/>
                  <a:gd name="connsiteX151" fmla="*/ 151452 w 543858"/>
                  <a:gd name="connsiteY151" fmla="*/ 270603 h 563514"/>
                  <a:gd name="connsiteX152" fmla="*/ 148012 w 543858"/>
                  <a:gd name="connsiteY152" fmla="*/ 271033 h 563514"/>
                  <a:gd name="connsiteX153" fmla="*/ 147582 w 543858"/>
                  <a:gd name="connsiteY153" fmla="*/ 268883 h 563514"/>
                  <a:gd name="connsiteX154" fmla="*/ 146722 w 543858"/>
                  <a:gd name="connsiteY154" fmla="*/ 265873 h 563514"/>
                  <a:gd name="connsiteX155" fmla="*/ 145002 w 543858"/>
                  <a:gd name="connsiteY155" fmla="*/ 264153 h 563514"/>
                  <a:gd name="connsiteX156" fmla="*/ 142422 w 543858"/>
                  <a:gd name="connsiteY156" fmla="*/ 263723 h 563514"/>
                  <a:gd name="connsiteX157" fmla="*/ 144572 w 543858"/>
                  <a:gd name="connsiteY157" fmla="*/ 266733 h 563514"/>
                  <a:gd name="connsiteX158" fmla="*/ 145862 w 543858"/>
                  <a:gd name="connsiteY158" fmla="*/ 268023 h 563514"/>
                  <a:gd name="connsiteX159" fmla="*/ 137691 w 543858"/>
                  <a:gd name="connsiteY159" fmla="*/ 246522 h 563514"/>
                  <a:gd name="connsiteX160" fmla="*/ 137691 w 543858"/>
                  <a:gd name="connsiteY160" fmla="*/ 250822 h 563514"/>
                  <a:gd name="connsiteX161" fmla="*/ 140701 w 543858"/>
                  <a:gd name="connsiteY161" fmla="*/ 250822 h 563514"/>
                  <a:gd name="connsiteX162" fmla="*/ 140271 w 543858"/>
                  <a:gd name="connsiteY162" fmla="*/ 244802 h 563514"/>
                  <a:gd name="connsiteX163" fmla="*/ 137691 w 543858"/>
                  <a:gd name="connsiteY163" fmla="*/ 246522 h 563514"/>
                  <a:gd name="connsiteX164" fmla="*/ 162632 w 543858"/>
                  <a:gd name="connsiteY164" fmla="*/ 188899 h 563514"/>
                  <a:gd name="connsiteX165" fmla="*/ 162202 w 543858"/>
                  <a:gd name="connsiteY165" fmla="*/ 191910 h 563514"/>
                  <a:gd name="connsiteX166" fmla="*/ 165213 w 543858"/>
                  <a:gd name="connsiteY166" fmla="*/ 193200 h 563514"/>
                  <a:gd name="connsiteX167" fmla="*/ 162632 w 543858"/>
                  <a:gd name="connsiteY167" fmla="*/ 188899 h 563514"/>
                  <a:gd name="connsiteX168" fmla="*/ 178113 w 543858"/>
                  <a:gd name="connsiteY168" fmla="*/ 191480 h 563514"/>
                  <a:gd name="connsiteX169" fmla="*/ 175533 w 543858"/>
                  <a:gd name="connsiteY169" fmla="*/ 193200 h 563514"/>
                  <a:gd name="connsiteX170" fmla="*/ 178973 w 543858"/>
                  <a:gd name="connsiteY170" fmla="*/ 195780 h 563514"/>
                  <a:gd name="connsiteX171" fmla="*/ 181553 w 543858"/>
                  <a:gd name="connsiteY171" fmla="*/ 193200 h 563514"/>
                  <a:gd name="connsiteX172" fmla="*/ 178113 w 543858"/>
                  <a:gd name="connsiteY172" fmla="*/ 191480 h 563514"/>
                  <a:gd name="connsiteX173" fmla="*/ 191874 w 543858"/>
                  <a:gd name="connsiteY173" fmla="*/ 194060 h 563514"/>
                  <a:gd name="connsiteX174" fmla="*/ 190584 w 543858"/>
                  <a:gd name="connsiteY174" fmla="*/ 196640 h 563514"/>
                  <a:gd name="connsiteX175" fmla="*/ 192734 w 543858"/>
                  <a:gd name="connsiteY175" fmla="*/ 200080 h 563514"/>
                  <a:gd name="connsiteX176" fmla="*/ 196174 w 543858"/>
                  <a:gd name="connsiteY176" fmla="*/ 197070 h 563514"/>
                  <a:gd name="connsiteX177" fmla="*/ 191874 w 543858"/>
                  <a:gd name="connsiteY177" fmla="*/ 194060 h 563514"/>
                  <a:gd name="connsiteX178" fmla="*/ 186284 w 543858"/>
                  <a:gd name="connsiteY178" fmla="*/ 199650 h 563514"/>
                  <a:gd name="connsiteX179" fmla="*/ 188434 w 543858"/>
                  <a:gd name="connsiteY179" fmla="*/ 200940 h 563514"/>
                  <a:gd name="connsiteX180" fmla="*/ 188004 w 543858"/>
                  <a:gd name="connsiteY180" fmla="*/ 197500 h 563514"/>
                  <a:gd name="connsiteX181" fmla="*/ 186284 w 543858"/>
                  <a:gd name="connsiteY181" fmla="*/ 199650 h 563514"/>
                  <a:gd name="connsiteX182" fmla="*/ 178113 w 543858"/>
                  <a:gd name="connsiteY182" fmla="*/ 272753 h 563514"/>
                  <a:gd name="connsiteX183" fmla="*/ 177253 w 543858"/>
                  <a:gd name="connsiteY183" fmla="*/ 275764 h 563514"/>
                  <a:gd name="connsiteX184" fmla="*/ 181983 w 543858"/>
                  <a:gd name="connsiteY184" fmla="*/ 275764 h 563514"/>
                  <a:gd name="connsiteX185" fmla="*/ 180263 w 543858"/>
                  <a:gd name="connsiteY185" fmla="*/ 270603 h 563514"/>
                  <a:gd name="connsiteX186" fmla="*/ 178113 w 543858"/>
                  <a:gd name="connsiteY186" fmla="*/ 272753 h 563514"/>
                  <a:gd name="connsiteX187" fmla="*/ 248207 w 543858"/>
                  <a:gd name="connsiteY187" fmla="*/ 259853 h 563514"/>
                  <a:gd name="connsiteX188" fmla="*/ 246487 w 543858"/>
                  <a:gd name="connsiteY188" fmla="*/ 263723 h 563514"/>
                  <a:gd name="connsiteX189" fmla="*/ 250787 w 543858"/>
                  <a:gd name="connsiteY189" fmla="*/ 265443 h 563514"/>
                  <a:gd name="connsiteX190" fmla="*/ 252507 w 543858"/>
                  <a:gd name="connsiteY190" fmla="*/ 260283 h 563514"/>
                  <a:gd name="connsiteX191" fmla="*/ 248207 w 543858"/>
                  <a:gd name="connsiteY191" fmla="*/ 259853 h 563514"/>
                  <a:gd name="connsiteX192" fmla="*/ 243906 w 543858"/>
                  <a:gd name="connsiteY192" fmla="*/ 223301 h 563514"/>
                  <a:gd name="connsiteX193" fmla="*/ 243046 w 543858"/>
                  <a:gd name="connsiteY193" fmla="*/ 226741 h 563514"/>
                  <a:gd name="connsiteX194" fmla="*/ 245626 w 543858"/>
                  <a:gd name="connsiteY194" fmla="*/ 230611 h 563514"/>
                  <a:gd name="connsiteX195" fmla="*/ 248207 w 543858"/>
                  <a:gd name="connsiteY195" fmla="*/ 232762 h 563514"/>
                  <a:gd name="connsiteX196" fmla="*/ 246917 w 543858"/>
                  <a:gd name="connsiteY196" fmla="*/ 226741 h 563514"/>
                  <a:gd name="connsiteX197" fmla="*/ 245196 w 543858"/>
                  <a:gd name="connsiteY197" fmla="*/ 223301 h 563514"/>
                  <a:gd name="connsiteX198" fmla="*/ 243906 w 543858"/>
                  <a:gd name="connsiteY198" fmla="*/ 223301 h 563514"/>
                  <a:gd name="connsiteX199" fmla="*/ 223695 w 543858"/>
                  <a:gd name="connsiteY199" fmla="*/ 224591 h 563514"/>
                  <a:gd name="connsiteX200" fmla="*/ 223265 w 543858"/>
                  <a:gd name="connsiteY200" fmla="*/ 226741 h 563514"/>
                  <a:gd name="connsiteX201" fmla="*/ 227136 w 543858"/>
                  <a:gd name="connsiteY201" fmla="*/ 226741 h 563514"/>
                  <a:gd name="connsiteX202" fmla="*/ 225416 w 543858"/>
                  <a:gd name="connsiteY202" fmla="*/ 222011 h 563514"/>
                  <a:gd name="connsiteX203" fmla="*/ 223695 w 543858"/>
                  <a:gd name="connsiteY203" fmla="*/ 224591 h 563514"/>
                  <a:gd name="connsiteX204" fmla="*/ 220255 w 543858"/>
                  <a:gd name="connsiteY204" fmla="*/ 214701 h 563514"/>
                  <a:gd name="connsiteX205" fmla="*/ 218535 w 543858"/>
                  <a:gd name="connsiteY205" fmla="*/ 218141 h 563514"/>
                  <a:gd name="connsiteX206" fmla="*/ 221975 w 543858"/>
                  <a:gd name="connsiteY206" fmla="*/ 217281 h 563514"/>
                  <a:gd name="connsiteX207" fmla="*/ 223695 w 543858"/>
                  <a:gd name="connsiteY207" fmla="*/ 214271 h 563514"/>
                  <a:gd name="connsiteX208" fmla="*/ 220255 w 543858"/>
                  <a:gd name="connsiteY208" fmla="*/ 214701 h 563514"/>
                  <a:gd name="connsiteX209" fmla="*/ 227996 w 543858"/>
                  <a:gd name="connsiteY209" fmla="*/ 202660 h 563514"/>
                  <a:gd name="connsiteX210" fmla="*/ 226276 w 543858"/>
                  <a:gd name="connsiteY210" fmla="*/ 206100 h 563514"/>
                  <a:gd name="connsiteX211" fmla="*/ 229286 w 543858"/>
                  <a:gd name="connsiteY211" fmla="*/ 205670 h 563514"/>
                  <a:gd name="connsiteX212" fmla="*/ 232296 w 543858"/>
                  <a:gd name="connsiteY212" fmla="*/ 203090 h 563514"/>
                  <a:gd name="connsiteX213" fmla="*/ 227996 w 543858"/>
                  <a:gd name="connsiteY213" fmla="*/ 202660 h 563514"/>
                  <a:gd name="connsiteX214" fmla="*/ 247347 w 543858"/>
                  <a:gd name="connsiteY214" fmla="*/ 205240 h 563514"/>
                  <a:gd name="connsiteX215" fmla="*/ 245196 w 543858"/>
                  <a:gd name="connsiteY215" fmla="*/ 209540 h 563514"/>
                  <a:gd name="connsiteX216" fmla="*/ 248207 w 543858"/>
                  <a:gd name="connsiteY216" fmla="*/ 210831 h 563514"/>
                  <a:gd name="connsiteX217" fmla="*/ 249927 w 543858"/>
                  <a:gd name="connsiteY217" fmla="*/ 206100 h 563514"/>
                  <a:gd name="connsiteX218" fmla="*/ 247347 w 543858"/>
                  <a:gd name="connsiteY218" fmla="*/ 205240 h 563514"/>
                  <a:gd name="connsiteX219" fmla="*/ 256807 w 543858"/>
                  <a:gd name="connsiteY219" fmla="*/ 214271 h 563514"/>
                  <a:gd name="connsiteX220" fmla="*/ 256807 w 543858"/>
                  <a:gd name="connsiteY220" fmla="*/ 217711 h 563514"/>
                  <a:gd name="connsiteX221" fmla="*/ 258527 w 543858"/>
                  <a:gd name="connsiteY221" fmla="*/ 220721 h 563514"/>
                  <a:gd name="connsiteX222" fmla="*/ 260677 w 543858"/>
                  <a:gd name="connsiteY222" fmla="*/ 218571 h 563514"/>
                  <a:gd name="connsiteX223" fmla="*/ 258957 w 543858"/>
                  <a:gd name="connsiteY223" fmla="*/ 212551 h 563514"/>
                  <a:gd name="connsiteX224" fmla="*/ 256807 w 543858"/>
                  <a:gd name="connsiteY224" fmla="*/ 214271 h 563514"/>
                  <a:gd name="connsiteX225" fmla="*/ 260677 w 543858"/>
                  <a:gd name="connsiteY225" fmla="*/ 224591 h 563514"/>
                  <a:gd name="connsiteX226" fmla="*/ 259817 w 543858"/>
                  <a:gd name="connsiteY226" fmla="*/ 228031 h 563514"/>
                  <a:gd name="connsiteX227" fmla="*/ 261967 w 543858"/>
                  <a:gd name="connsiteY227" fmla="*/ 229751 h 563514"/>
                  <a:gd name="connsiteX228" fmla="*/ 262827 w 543858"/>
                  <a:gd name="connsiteY228" fmla="*/ 224591 h 563514"/>
                  <a:gd name="connsiteX229" fmla="*/ 260677 w 543858"/>
                  <a:gd name="connsiteY229" fmla="*/ 224591 h 563514"/>
                  <a:gd name="connsiteX230" fmla="*/ 267128 w 543858"/>
                  <a:gd name="connsiteY230" fmla="*/ 244372 h 563514"/>
                  <a:gd name="connsiteX231" fmla="*/ 266697 w 543858"/>
                  <a:gd name="connsiteY231" fmla="*/ 248242 h 563514"/>
                  <a:gd name="connsiteX232" fmla="*/ 269708 w 543858"/>
                  <a:gd name="connsiteY232" fmla="*/ 247812 h 563514"/>
                  <a:gd name="connsiteX233" fmla="*/ 268848 w 543858"/>
                  <a:gd name="connsiteY233" fmla="*/ 244372 h 563514"/>
                  <a:gd name="connsiteX234" fmla="*/ 268418 w 543858"/>
                  <a:gd name="connsiteY234" fmla="*/ 241792 h 563514"/>
                  <a:gd name="connsiteX235" fmla="*/ 267128 w 543858"/>
                  <a:gd name="connsiteY235" fmla="*/ 244372 h 563514"/>
                  <a:gd name="connsiteX236" fmla="*/ 226276 w 543858"/>
                  <a:gd name="connsiteY236" fmla="*/ 179869 h 563514"/>
                  <a:gd name="connsiteX237" fmla="*/ 225846 w 543858"/>
                  <a:gd name="connsiteY237" fmla="*/ 181589 h 563514"/>
                  <a:gd name="connsiteX238" fmla="*/ 227136 w 543858"/>
                  <a:gd name="connsiteY238" fmla="*/ 182879 h 563514"/>
                  <a:gd name="connsiteX239" fmla="*/ 229716 w 543858"/>
                  <a:gd name="connsiteY239" fmla="*/ 180299 h 563514"/>
                  <a:gd name="connsiteX240" fmla="*/ 227566 w 543858"/>
                  <a:gd name="connsiteY240" fmla="*/ 177719 h 563514"/>
                  <a:gd name="connsiteX241" fmla="*/ 226276 w 543858"/>
                  <a:gd name="connsiteY241" fmla="*/ 179869 h 563514"/>
                  <a:gd name="connsiteX242" fmla="*/ 234446 w 543858"/>
                  <a:gd name="connsiteY242" fmla="*/ 177719 h 563514"/>
                  <a:gd name="connsiteX243" fmla="*/ 234016 w 543858"/>
                  <a:gd name="connsiteY243" fmla="*/ 179869 h 563514"/>
                  <a:gd name="connsiteX244" fmla="*/ 236596 w 543858"/>
                  <a:gd name="connsiteY244" fmla="*/ 180299 h 563514"/>
                  <a:gd name="connsiteX245" fmla="*/ 238746 w 543858"/>
                  <a:gd name="connsiteY245" fmla="*/ 178579 h 563514"/>
                  <a:gd name="connsiteX246" fmla="*/ 234446 w 543858"/>
                  <a:gd name="connsiteY246" fmla="*/ 177719 h 563514"/>
                  <a:gd name="connsiteX247" fmla="*/ 261107 w 543858"/>
                  <a:gd name="connsiteY247" fmla="*/ 179009 h 563514"/>
                  <a:gd name="connsiteX248" fmla="*/ 260247 w 543858"/>
                  <a:gd name="connsiteY248" fmla="*/ 181589 h 563514"/>
                  <a:gd name="connsiteX249" fmla="*/ 263257 w 543858"/>
                  <a:gd name="connsiteY249" fmla="*/ 181159 h 563514"/>
                  <a:gd name="connsiteX250" fmla="*/ 264977 w 543858"/>
                  <a:gd name="connsiteY250" fmla="*/ 178579 h 563514"/>
                  <a:gd name="connsiteX251" fmla="*/ 261107 w 543858"/>
                  <a:gd name="connsiteY251" fmla="*/ 179009 h 563514"/>
                  <a:gd name="connsiteX252" fmla="*/ 255087 w 543858"/>
                  <a:gd name="connsiteY252" fmla="*/ 182019 h 563514"/>
                  <a:gd name="connsiteX253" fmla="*/ 254227 w 543858"/>
                  <a:gd name="connsiteY253" fmla="*/ 184169 h 563514"/>
                  <a:gd name="connsiteX254" fmla="*/ 256377 w 543858"/>
                  <a:gd name="connsiteY254" fmla="*/ 185889 h 563514"/>
                  <a:gd name="connsiteX255" fmla="*/ 256807 w 543858"/>
                  <a:gd name="connsiteY255" fmla="*/ 182019 h 563514"/>
                  <a:gd name="connsiteX256" fmla="*/ 255087 w 543858"/>
                  <a:gd name="connsiteY256" fmla="*/ 182019 h 563514"/>
                  <a:gd name="connsiteX257" fmla="*/ 295939 w 543858"/>
                  <a:gd name="connsiteY257" fmla="*/ 236632 h 563514"/>
                  <a:gd name="connsiteX258" fmla="*/ 293789 w 543858"/>
                  <a:gd name="connsiteY258" fmla="*/ 239642 h 563514"/>
                  <a:gd name="connsiteX259" fmla="*/ 300239 w 543858"/>
                  <a:gd name="connsiteY259" fmla="*/ 239212 h 563514"/>
                  <a:gd name="connsiteX260" fmla="*/ 296369 w 543858"/>
                  <a:gd name="connsiteY260" fmla="*/ 237492 h 563514"/>
                  <a:gd name="connsiteX261" fmla="*/ 295939 w 543858"/>
                  <a:gd name="connsiteY261" fmla="*/ 236632 h 563514"/>
                  <a:gd name="connsiteX262" fmla="*/ 310560 w 543858"/>
                  <a:gd name="connsiteY262" fmla="*/ 248672 h 563514"/>
                  <a:gd name="connsiteX263" fmla="*/ 309700 w 543858"/>
                  <a:gd name="connsiteY263" fmla="*/ 250392 h 563514"/>
                  <a:gd name="connsiteX264" fmla="*/ 312280 w 543858"/>
                  <a:gd name="connsiteY264" fmla="*/ 251682 h 563514"/>
                  <a:gd name="connsiteX265" fmla="*/ 314430 w 543858"/>
                  <a:gd name="connsiteY265" fmla="*/ 249102 h 563514"/>
                  <a:gd name="connsiteX266" fmla="*/ 310560 w 543858"/>
                  <a:gd name="connsiteY266" fmla="*/ 248672 h 563514"/>
                  <a:gd name="connsiteX267" fmla="*/ 310990 w 543858"/>
                  <a:gd name="connsiteY267" fmla="*/ 271033 h 563514"/>
                  <a:gd name="connsiteX268" fmla="*/ 309700 w 543858"/>
                  <a:gd name="connsiteY268" fmla="*/ 273614 h 563514"/>
                  <a:gd name="connsiteX269" fmla="*/ 312710 w 543858"/>
                  <a:gd name="connsiteY269" fmla="*/ 274044 h 563514"/>
                  <a:gd name="connsiteX270" fmla="*/ 315290 w 543858"/>
                  <a:gd name="connsiteY270" fmla="*/ 271463 h 563514"/>
                  <a:gd name="connsiteX271" fmla="*/ 310990 w 543858"/>
                  <a:gd name="connsiteY271" fmla="*/ 271033 h 563514"/>
                  <a:gd name="connsiteX272" fmla="*/ 323890 w 543858"/>
                  <a:gd name="connsiteY272" fmla="*/ 262863 h 563514"/>
                  <a:gd name="connsiteX273" fmla="*/ 323030 w 543858"/>
                  <a:gd name="connsiteY273" fmla="*/ 265873 h 563514"/>
                  <a:gd name="connsiteX274" fmla="*/ 324750 w 543858"/>
                  <a:gd name="connsiteY274" fmla="*/ 268023 h 563514"/>
                  <a:gd name="connsiteX275" fmla="*/ 326900 w 543858"/>
                  <a:gd name="connsiteY275" fmla="*/ 268023 h 563514"/>
                  <a:gd name="connsiteX276" fmla="*/ 326040 w 543858"/>
                  <a:gd name="connsiteY276" fmla="*/ 263293 h 563514"/>
                  <a:gd name="connsiteX277" fmla="*/ 323890 w 543858"/>
                  <a:gd name="connsiteY277" fmla="*/ 262863 h 563514"/>
                  <a:gd name="connsiteX278" fmla="*/ 333351 w 543858"/>
                  <a:gd name="connsiteY278" fmla="*/ 278344 h 563514"/>
                  <a:gd name="connsiteX279" fmla="*/ 332491 w 543858"/>
                  <a:gd name="connsiteY279" fmla="*/ 279634 h 563514"/>
                  <a:gd name="connsiteX280" fmla="*/ 333781 w 543858"/>
                  <a:gd name="connsiteY280" fmla="*/ 281354 h 563514"/>
                  <a:gd name="connsiteX281" fmla="*/ 335931 w 543858"/>
                  <a:gd name="connsiteY281" fmla="*/ 280064 h 563514"/>
                  <a:gd name="connsiteX282" fmla="*/ 333351 w 543858"/>
                  <a:gd name="connsiteY282" fmla="*/ 278344 h 563514"/>
                  <a:gd name="connsiteX283" fmla="*/ 327330 w 543858"/>
                  <a:gd name="connsiteY283" fmla="*/ 222441 h 563514"/>
                  <a:gd name="connsiteX284" fmla="*/ 326040 w 543858"/>
                  <a:gd name="connsiteY284" fmla="*/ 223731 h 563514"/>
                  <a:gd name="connsiteX285" fmla="*/ 328620 w 543858"/>
                  <a:gd name="connsiteY285" fmla="*/ 226311 h 563514"/>
                  <a:gd name="connsiteX286" fmla="*/ 330341 w 543858"/>
                  <a:gd name="connsiteY286" fmla="*/ 223301 h 563514"/>
                  <a:gd name="connsiteX287" fmla="*/ 327330 w 543858"/>
                  <a:gd name="connsiteY287" fmla="*/ 222441 h 563514"/>
                  <a:gd name="connsiteX288" fmla="*/ 341521 w 543858"/>
                  <a:gd name="connsiteY288" fmla="*/ 243082 h 563514"/>
                  <a:gd name="connsiteX289" fmla="*/ 340231 w 543858"/>
                  <a:gd name="connsiteY289" fmla="*/ 246092 h 563514"/>
                  <a:gd name="connsiteX290" fmla="*/ 341521 w 543858"/>
                  <a:gd name="connsiteY290" fmla="*/ 247812 h 563514"/>
                  <a:gd name="connsiteX291" fmla="*/ 344531 w 543858"/>
                  <a:gd name="connsiteY291" fmla="*/ 244372 h 563514"/>
                  <a:gd name="connsiteX292" fmla="*/ 341521 w 543858"/>
                  <a:gd name="connsiteY292" fmla="*/ 243082 h 563514"/>
                  <a:gd name="connsiteX293" fmla="*/ 360442 w 543858"/>
                  <a:gd name="connsiteY293" fmla="*/ 170409 h 563514"/>
                  <a:gd name="connsiteX294" fmla="*/ 358722 w 543858"/>
                  <a:gd name="connsiteY294" fmla="*/ 174279 h 563514"/>
                  <a:gd name="connsiteX295" fmla="*/ 364742 w 543858"/>
                  <a:gd name="connsiteY295" fmla="*/ 175139 h 563514"/>
                  <a:gd name="connsiteX296" fmla="*/ 360442 w 543858"/>
                  <a:gd name="connsiteY296" fmla="*/ 170409 h 563514"/>
                  <a:gd name="connsiteX297" fmla="*/ 426235 w 543858"/>
                  <a:gd name="connsiteY297" fmla="*/ 187179 h 563514"/>
                  <a:gd name="connsiteX298" fmla="*/ 423655 w 543858"/>
                  <a:gd name="connsiteY298" fmla="*/ 188469 h 563514"/>
                  <a:gd name="connsiteX299" fmla="*/ 425805 w 543858"/>
                  <a:gd name="connsiteY299" fmla="*/ 190620 h 563514"/>
                  <a:gd name="connsiteX300" fmla="*/ 428385 w 543858"/>
                  <a:gd name="connsiteY300" fmla="*/ 189759 h 563514"/>
                  <a:gd name="connsiteX301" fmla="*/ 426235 w 543858"/>
                  <a:gd name="connsiteY301" fmla="*/ 187179 h 563514"/>
                  <a:gd name="connsiteX302" fmla="*/ 368182 w 543858"/>
                  <a:gd name="connsiteY302" fmla="*/ 215131 h 563514"/>
                  <a:gd name="connsiteX303" fmla="*/ 370332 w 543858"/>
                  <a:gd name="connsiteY303" fmla="*/ 219001 h 563514"/>
                  <a:gd name="connsiteX304" fmla="*/ 372483 w 543858"/>
                  <a:gd name="connsiteY304" fmla="*/ 214701 h 563514"/>
                  <a:gd name="connsiteX305" fmla="*/ 368182 w 543858"/>
                  <a:gd name="connsiteY305" fmla="*/ 215131 h 563514"/>
                  <a:gd name="connsiteX306" fmla="*/ 390973 w 543858"/>
                  <a:gd name="connsiteY306" fmla="*/ 219861 h 563514"/>
                  <a:gd name="connsiteX307" fmla="*/ 388393 w 543858"/>
                  <a:gd name="connsiteY307" fmla="*/ 223301 h 563514"/>
                  <a:gd name="connsiteX308" fmla="*/ 393554 w 543858"/>
                  <a:gd name="connsiteY308" fmla="*/ 222441 h 563514"/>
                  <a:gd name="connsiteX309" fmla="*/ 390973 w 543858"/>
                  <a:gd name="connsiteY309" fmla="*/ 219861 h 563514"/>
                  <a:gd name="connsiteX310" fmla="*/ 434836 w 543858"/>
                  <a:gd name="connsiteY310" fmla="*/ 256413 h 563514"/>
                  <a:gd name="connsiteX311" fmla="*/ 435266 w 543858"/>
                  <a:gd name="connsiteY311" fmla="*/ 260283 h 563514"/>
                  <a:gd name="connsiteX312" fmla="*/ 437416 w 543858"/>
                  <a:gd name="connsiteY312" fmla="*/ 256843 h 563514"/>
                  <a:gd name="connsiteX313" fmla="*/ 434836 w 543858"/>
                  <a:gd name="connsiteY313" fmla="*/ 256413 h 563514"/>
                  <a:gd name="connsiteX314" fmla="*/ 474397 w 543858"/>
                  <a:gd name="connsiteY314" fmla="*/ 283504 h 563514"/>
                  <a:gd name="connsiteX315" fmla="*/ 470957 w 543858"/>
                  <a:gd name="connsiteY315" fmla="*/ 286084 h 563514"/>
                  <a:gd name="connsiteX316" fmla="*/ 476118 w 543858"/>
                  <a:gd name="connsiteY316" fmla="*/ 286514 h 563514"/>
                  <a:gd name="connsiteX317" fmla="*/ 474397 w 543858"/>
                  <a:gd name="connsiteY317" fmla="*/ 283504 h 563514"/>
                  <a:gd name="connsiteX318" fmla="*/ 489448 w 543858"/>
                  <a:gd name="connsiteY318" fmla="*/ 289094 h 563514"/>
                  <a:gd name="connsiteX319" fmla="*/ 486868 w 543858"/>
                  <a:gd name="connsiteY319" fmla="*/ 291674 h 563514"/>
                  <a:gd name="connsiteX320" fmla="*/ 491168 w 543858"/>
                  <a:gd name="connsiteY320" fmla="*/ 294255 h 563514"/>
                  <a:gd name="connsiteX321" fmla="*/ 493748 w 543858"/>
                  <a:gd name="connsiteY321" fmla="*/ 291244 h 563514"/>
                  <a:gd name="connsiteX322" fmla="*/ 489448 w 543858"/>
                  <a:gd name="connsiteY322" fmla="*/ 289094 h 563514"/>
                  <a:gd name="connsiteX323" fmla="*/ 360012 w 543858"/>
                  <a:gd name="connsiteY323" fmla="*/ 308875 h 563514"/>
                  <a:gd name="connsiteX324" fmla="*/ 359152 w 543858"/>
                  <a:gd name="connsiteY324" fmla="*/ 312315 h 563514"/>
                  <a:gd name="connsiteX325" fmla="*/ 363022 w 543858"/>
                  <a:gd name="connsiteY325" fmla="*/ 310165 h 563514"/>
                  <a:gd name="connsiteX326" fmla="*/ 360012 w 543858"/>
                  <a:gd name="connsiteY326" fmla="*/ 308875 h 563514"/>
                  <a:gd name="connsiteX327" fmla="*/ 374203 w 543858"/>
                  <a:gd name="connsiteY327" fmla="*/ 307155 h 563514"/>
                  <a:gd name="connsiteX328" fmla="*/ 373773 w 543858"/>
                  <a:gd name="connsiteY328" fmla="*/ 310165 h 563514"/>
                  <a:gd name="connsiteX329" fmla="*/ 378073 w 543858"/>
                  <a:gd name="connsiteY329" fmla="*/ 309305 h 563514"/>
                  <a:gd name="connsiteX330" fmla="*/ 374203 w 543858"/>
                  <a:gd name="connsiteY330" fmla="*/ 307155 h 563514"/>
                  <a:gd name="connsiteX331" fmla="*/ 381513 w 543858"/>
                  <a:gd name="connsiteY331" fmla="*/ 320056 h 563514"/>
                  <a:gd name="connsiteX332" fmla="*/ 381083 w 543858"/>
                  <a:gd name="connsiteY332" fmla="*/ 323926 h 563514"/>
                  <a:gd name="connsiteX333" fmla="*/ 384093 w 543858"/>
                  <a:gd name="connsiteY333" fmla="*/ 326506 h 563514"/>
                  <a:gd name="connsiteX334" fmla="*/ 383663 w 543858"/>
                  <a:gd name="connsiteY334" fmla="*/ 320486 h 563514"/>
                  <a:gd name="connsiteX335" fmla="*/ 381513 w 543858"/>
                  <a:gd name="connsiteY335" fmla="*/ 320056 h 563514"/>
                  <a:gd name="connsiteX336" fmla="*/ 371623 w 543858"/>
                  <a:gd name="connsiteY336" fmla="*/ 283504 h 563514"/>
                  <a:gd name="connsiteX337" fmla="*/ 372053 w 543858"/>
                  <a:gd name="connsiteY337" fmla="*/ 280494 h 563514"/>
                  <a:gd name="connsiteX338" fmla="*/ 366462 w 543858"/>
                  <a:gd name="connsiteY338" fmla="*/ 277054 h 563514"/>
                  <a:gd name="connsiteX339" fmla="*/ 367322 w 543858"/>
                  <a:gd name="connsiteY339" fmla="*/ 280494 h 563514"/>
                  <a:gd name="connsiteX340" fmla="*/ 371623 w 543858"/>
                  <a:gd name="connsiteY340" fmla="*/ 283504 h 563514"/>
                  <a:gd name="connsiteX341" fmla="*/ 375063 w 543858"/>
                  <a:gd name="connsiteY341" fmla="*/ 286514 h 563514"/>
                  <a:gd name="connsiteX342" fmla="*/ 372483 w 543858"/>
                  <a:gd name="connsiteY342" fmla="*/ 288234 h 563514"/>
                  <a:gd name="connsiteX343" fmla="*/ 375063 w 543858"/>
                  <a:gd name="connsiteY343" fmla="*/ 290384 h 563514"/>
                  <a:gd name="connsiteX344" fmla="*/ 377213 w 543858"/>
                  <a:gd name="connsiteY344" fmla="*/ 288664 h 563514"/>
                  <a:gd name="connsiteX345" fmla="*/ 375063 w 543858"/>
                  <a:gd name="connsiteY345" fmla="*/ 286514 h 563514"/>
                  <a:gd name="connsiteX346" fmla="*/ 375923 w 543858"/>
                  <a:gd name="connsiteY346" fmla="*/ 267163 h 563514"/>
                  <a:gd name="connsiteX347" fmla="*/ 375063 w 543858"/>
                  <a:gd name="connsiteY347" fmla="*/ 271033 h 563514"/>
                  <a:gd name="connsiteX348" fmla="*/ 370762 w 543858"/>
                  <a:gd name="connsiteY348" fmla="*/ 271893 h 563514"/>
                  <a:gd name="connsiteX349" fmla="*/ 372053 w 543858"/>
                  <a:gd name="connsiteY349" fmla="*/ 274474 h 563514"/>
                  <a:gd name="connsiteX350" fmla="*/ 376783 w 543858"/>
                  <a:gd name="connsiteY350" fmla="*/ 272323 h 563514"/>
                  <a:gd name="connsiteX351" fmla="*/ 376783 w 543858"/>
                  <a:gd name="connsiteY351" fmla="*/ 265873 h 563514"/>
                  <a:gd name="connsiteX352" fmla="*/ 375923 w 543858"/>
                  <a:gd name="connsiteY352" fmla="*/ 267163 h 563514"/>
                  <a:gd name="connsiteX353" fmla="*/ 424515 w 543858"/>
                  <a:gd name="connsiteY353" fmla="*/ 295975 h 563514"/>
                  <a:gd name="connsiteX354" fmla="*/ 423655 w 543858"/>
                  <a:gd name="connsiteY354" fmla="*/ 299845 h 563514"/>
                  <a:gd name="connsiteX355" fmla="*/ 427955 w 543858"/>
                  <a:gd name="connsiteY355" fmla="*/ 298125 h 563514"/>
                  <a:gd name="connsiteX356" fmla="*/ 424515 w 543858"/>
                  <a:gd name="connsiteY356" fmla="*/ 295975 h 563514"/>
                  <a:gd name="connsiteX357" fmla="*/ 423225 w 543858"/>
                  <a:gd name="connsiteY357" fmla="*/ 310165 h 563514"/>
                  <a:gd name="connsiteX358" fmla="*/ 423655 w 543858"/>
                  <a:gd name="connsiteY358" fmla="*/ 314035 h 563514"/>
                  <a:gd name="connsiteX359" fmla="*/ 427095 w 543858"/>
                  <a:gd name="connsiteY359" fmla="*/ 316186 h 563514"/>
                  <a:gd name="connsiteX360" fmla="*/ 427955 w 543858"/>
                  <a:gd name="connsiteY360" fmla="*/ 311455 h 563514"/>
                  <a:gd name="connsiteX361" fmla="*/ 423225 w 543858"/>
                  <a:gd name="connsiteY361" fmla="*/ 310165 h 563514"/>
                  <a:gd name="connsiteX362" fmla="*/ 413335 w 543858"/>
                  <a:gd name="connsiteY362" fmla="*/ 313175 h 563514"/>
                  <a:gd name="connsiteX363" fmla="*/ 414195 w 543858"/>
                  <a:gd name="connsiteY363" fmla="*/ 316616 h 563514"/>
                  <a:gd name="connsiteX364" fmla="*/ 416775 w 543858"/>
                  <a:gd name="connsiteY364" fmla="*/ 316616 h 563514"/>
                  <a:gd name="connsiteX365" fmla="*/ 413765 w 543858"/>
                  <a:gd name="connsiteY365" fmla="*/ 309735 h 563514"/>
                  <a:gd name="connsiteX366" fmla="*/ 413335 w 543858"/>
                  <a:gd name="connsiteY366" fmla="*/ 313175 h 563514"/>
                  <a:gd name="connsiteX367" fmla="*/ 415485 w 543858"/>
                  <a:gd name="connsiteY367" fmla="*/ 353597 h 563514"/>
                  <a:gd name="connsiteX368" fmla="*/ 415055 w 543858"/>
                  <a:gd name="connsiteY368" fmla="*/ 356608 h 563514"/>
                  <a:gd name="connsiteX369" fmla="*/ 419355 w 543858"/>
                  <a:gd name="connsiteY369" fmla="*/ 357468 h 563514"/>
                  <a:gd name="connsiteX370" fmla="*/ 419355 w 543858"/>
                  <a:gd name="connsiteY370" fmla="*/ 353597 h 563514"/>
                  <a:gd name="connsiteX371" fmla="*/ 415485 w 543858"/>
                  <a:gd name="connsiteY371" fmla="*/ 353597 h 563514"/>
                  <a:gd name="connsiteX372" fmla="*/ 431395 w 543858"/>
                  <a:gd name="connsiteY372" fmla="*/ 354027 h 563514"/>
                  <a:gd name="connsiteX373" fmla="*/ 432685 w 543858"/>
                  <a:gd name="connsiteY373" fmla="*/ 357468 h 563514"/>
                  <a:gd name="connsiteX374" fmla="*/ 435266 w 543858"/>
                  <a:gd name="connsiteY374" fmla="*/ 359618 h 563514"/>
                  <a:gd name="connsiteX375" fmla="*/ 433115 w 543858"/>
                  <a:gd name="connsiteY375" fmla="*/ 351877 h 563514"/>
                  <a:gd name="connsiteX376" fmla="*/ 431395 w 543858"/>
                  <a:gd name="connsiteY376" fmla="*/ 354027 h 563514"/>
                  <a:gd name="connsiteX377" fmla="*/ 260677 w 543858"/>
                  <a:gd name="connsiteY377" fmla="*/ 327366 h 563514"/>
                  <a:gd name="connsiteX378" fmla="*/ 261107 w 543858"/>
                  <a:gd name="connsiteY378" fmla="*/ 332096 h 563514"/>
                  <a:gd name="connsiteX379" fmla="*/ 265837 w 543858"/>
                  <a:gd name="connsiteY379" fmla="*/ 328656 h 563514"/>
                  <a:gd name="connsiteX380" fmla="*/ 260677 w 543858"/>
                  <a:gd name="connsiteY380" fmla="*/ 327366 h 563514"/>
                  <a:gd name="connsiteX381" fmla="*/ 298519 w 543858"/>
                  <a:gd name="connsiteY381" fmla="*/ 347577 h 563514"/>
                  <a:gd name="connsiteX382" fmla="*/ 301529 w 543858"/>
                  <a:gd name="connsiteY382" fmla="*/ 346287 h 563514"/>
                  <a:gd name="connsiteX383" fmla="*/ 297659 w 543858"/>
                  <a:gd name="connsiteY383" fmla="*/ 343707 h 563514"/>
                  <a:gd name="connsiteX384" fmla="*/ 295939 w 543858"/>
                  <a:gd name="connsiteY384" fmla="*/ 347147 h 563514"/>
                  <a:gd name="connsiteX385" fmla="*/ 298519 w 543858"/>
                  <a:gd name="connsiteY385" fmla="*/ 347577 h 563514"/>
                  <a:gd name="connsiteX386" fmla="*/ 311420 w 543858"/>
                  <a:gd name="connsiteY386" fmla="*/ 351447 h 563514"/>
                  <a:gd name="connsiteX387" fmla="*/ 310560 w 543858"/>
                  <a:gd name="connsiteY387" fmla="*/ 354457 h 563514"/>
                  <a:gd name="connsiteX388" fmla="*/ 314860 w 543858"/>
                  <a:gd name="connsiteY388" fmla="*/ 354027 h 563514"/>
                  <a:gd name="connsiteX389" fmla="*/ 311420 w 543858"/>
                  <a:gd name="connsiteY389" fmla="*/ 351447 h 563514"/>
                  <a:gd name="connsiteX390" fmla="*/ 427095 w 543858"/>
                  <a:gd name="connsiteY390" fmla="*/ 395309 h 563514"/>
                  <a:gd name="connsiteX391" fmla="*/ 426235 w 543858"/>
                  <a:gd name="connsiteY391" fmla="*/ 398750 h 563514"/>
                  <a:gd name="connsiteX392" fmla="*/ 430105 w 543858"/>
                  <a:gd name="connsiteY392" fmla="*/ 396599 h 563514"/>
                  <a:gd name="connsiteX393" fmla="*/ 427095 w 543858"/>
                  <a:gd name="connsiteY393" fmla="*/ 395309 h 563514"/>
                  <a:gd name="connsiteX394" fmla="*/ 425375 w 543858"/>
                  <a:gd name="connsiteY394" fmla="*/ 384989 h 563514"/>
                  <a:gd name="connsiteX395" fmla="*/ 425375 w 543858"/>
                  <a:gd name="connsiteY395" fmla="*/ 388429 h 563514"/>
                  <a:gd name="connsiteX396" fmla="*/ 428815 w 543858"/>
                  <a:gd name="connsiteY396" fmla="*/ 385849 h 563514"/>
                  <a:gd name="connsiteX397" fmla="*/ 425375 w 543858"/>
                  <a:gd name="connsiteY397" fmla="*/ 384989 h 563514"/>
                  <a:gd name="connsiteX398" fmla="*/ 375493 w 543858"/>
                  <a:gd name="connsiteY398" fmla="*/ 380259 h 563514"/>
                  <a:gd name="connsiteX399" fmla="*/ 373773 w 543858"/>
                  <a:gd name="connsiteY399" fmla="*/ 381979 h 563514"/>
                  <a:gd name="connsiteX400" fmla="*/ 379363 w 543858"/>
                  <a:gd name="connsiteY400" fmla="*/ 381979 h 563514"/>
                  <a:gd name="connsiteX401" fmla="*/ 379363 w 543858"/>
                  <a:gd name="connsiteY401" fmla="*/ 378969 h 563514"/>
                  <a:gd name="connsiteX402" fmla="*/ 375493 w 543858"/>
                  <a:gd name="connsiteY402" fmla="*/ 380259 h 563514"/>
                  <a:gd name="connsiteX403" fmla="*/ 479558 w 543858"/>
                  <a:gd name="connsiteY403" fmla="*/ 368218 h 563514"/>
                  <a:gd name="connsiteX404" fmla="*/ 479558 w 543858"/>
                  <a:gd name="connsiteY404" fmla="*/ 370798 h 563514"/>
                  <a:gd name="connsiteX405" fmla="*/ 481708 w 543858"/>
                  <a:gd name="connsiteY405" fmla="*/ 368218 h 563514"/>
                  <a:gd name="connsiteX406" fmla="*/ 479558 w 543858"/>
                  <a:gd name="connsiteY406" fmla="*/ 368218 h 563514"/>
                  <a:gd name="connsiteX407" fmla="*/ 484718 w 543858"/>
                  <a:gd name="connsiteY407" fmla="*/ 370368 h 563514"/>
                  <a:gd name="connsiteX408" fmla="*/ 485578 w 543858"/>
                  <a:gd name="connsiteY408" fmla="*/ 372948 h 563514"/>
                  <a:gd name="connsiteX409" fmla="*/ 487298 w 543858"/>
                  <a:gd name="connsiteY409" fmla="*/ 369938 h 563514"/>
                  <a:gd name="connsiteX410" fmla="*/ 484718 w 543858"/>
                  <a:gd name="connsiteY410" fmla="*/ 370368 h 563514"/>
                  <a:gd name="connsiteX411" fmla="*/ 489018 w 543858"/>
                  <a:gd name="connsiteY411" fmla="*/ 373808 h 563514"/>
                  <a:gd name="connsiteX412" fmla="*/ 489448 w 543858"/>
                  <a:gd name="connsiteY412" fmla="*/ 375528 h 563514"/>
                  <a:gd name="connsiteX413" fmla="*/ 491598 w 543858"/>
                  <a:gd name="connsiteY413" fmla="*/ 375098 h 563514"/>
                  <a:gd name="connsiteX414" fmla="*/ 489018 w 543858"/>
                  <a:gd name="connsiteY414" fmla="*/ 373808 h 563514"/>
                  <a:gd name="connsiteX415" fmla="*/ 513099 w 543858"/>
                  <a:gd name="connsiteY415" fmla="*/ 374668 h 563514"/>
                  <a:gd name="connsiteX416" fmla="*/ 511809 w 543858"/>
                  <a:gd name="connsiteY416" fmla="*/ 376388 h 563514"/>
                  <a:gd name="connsiteX417" fmla="*/ 514389 w 543858"/>
                  <a:gd name="connsiteY417" fmla="*/ 378969 h 563514"/>
                  <a:gd name="connsiteX418" fmla="*/ 515249 w 543858"/>
                  <a:gd name="connsiteY418" fmla="*/ 375958 h 563514"/>
                  <a:gd name="connsiteX419" fmla="*/ 513099 w 543858"/>
                  <a:gd name="connsiteY419" fmla="*/ 374668 h 563514"/>
                  <a:gd name="connsiteX420" fmla="*/ 469667 w 543858"/>
                  <a:gd name="connsiteY420" fmla="*/ 421971 h 563514"/>
                  <a:gd name="connsiteX421" fmla="*/ 469667 w 543858"/>
                  <a:gd name="connsiteY421" fmla="*/ 424551 h 563514"/>
                  <a:gd name="connsiteX422" fmla="*/ 473107 w 543858"/>
                  <a:gd name="connsiteY422" fmla="*/ 421971 h 563514"/>
                  <a:gd name="connsiteX423" fmla="*/ 469667 w 543858"/>
                  <a:gd name="connsiteY423" fmla="*/ 421971 h 563514"/>
                  <a:gd name="connsiteX424" fmla="*/ 528150 w 543858"/>
                  <a:gd name="connsiteY424" fmla="*/ 420251 h 563514"/>
                  <a:gd name="connsiteX425" fmla="*/ 526000 w 543858"/>
                  <a:gd name="connsiteY425" fmla="*/ 422831 h 563514"/>
                  <a:gd name="connsiteX426" fmla="*/ 528580 w 543858"/>
                  <a:gd name="connsiteY426" fmla="*/ 422831 h 563514"/>
                  <a:gd name="connsiteX427" fmla="*/ 530730 w 543858"/>
                  <a:gd name="connsiteY427" fmla="*/ 420681 h 563514"/>
                  <a:gd name="connsiteX428" fmla="*/ 528150 w 543858"/>
                  <a:gd name="connsiteY428" fmla="*/ 420251 h 563514"/>
                  <a:gd name="connsiteX429" fmla="*/ 540191 w 543858"/>
                  <a:gd name="connsiteY429" fmla="*/ 427131 h 563514"/>
                  <a:gd name="connsiteX430" fmla="*/ 539331 w 543858"/>
                  <a:gd name="connsiteY430" fmla="*/ 429711 h 563514"/>
                  <a:gd name="connsiteX431" fmla="*/ 542771 w 543858"/>
                  <a:gd name="connsiteY431" fmla="*/ 430141 h 563514"/>
                  <a:gd name="connsiteX432" fmla="*/ 543201 w 543858"/>
                  <a:gd name="connsiteY432" fmla="*/ 427131 h 563514"/>
                  <a:gd name="connsiteX433" fmla="*/ 540191 w 543858"/>
                  <a:gd name="connsiteY433" fmla="*/ 427131 h 56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Lst>
                <a:rect l="l" t="t" r="r" b="b"/>
                <a:pathLst>
                  <a:path w="543858" h="563514">
                    <a:moveTo>
                      <a:pt x="385813" y="120"/>
                    </a:moveTo>
                    <a:cubicBezTo>
                      <a:pt x="386673" y="550"/>
                      <a:pt x="385813" y="1410"/>
                      <a:pt x="384523" y="2271"/>
                    </a:cubicBezTo>
                    <a:cubicBezTo>
                      <a:pt x="383663" y="3131"/>
                      <a:pt x="383233" y="2701"/>
                      <a:pt x="382373" y="2271"/>
                    </a:cubicBezTo>
                    <a:cubicBezTo>
                      <a:pt x="381513" y="1410"/>
                      <a:pt x="382373" y="980"/>
                      <a:pt x="383663" y="550"/>
                    </a:cubicBezTo>
                    <a:cubicBezTo>
                      <a:pt x="383663" y="550"/>
                      <a:pt x="384953" y="-310"/>
                      <a:pt x="385813" y="120"/>
                    </a:cubicBezTo>
                    <a:close/>
                    <a:moveTo>
                      <a:pt x="375493" y="4421"/>
                    </a:moveTo>
                    <a:cubicBezTo>
                      <a:pt x="374203" y="6141"/>
                      <a:pt x="373343" y="7431"/>
                      <a:pt x="374633" y="7431"/>
                    </a:cubicBezTo>
                    <a:cubicBezTo>
                      <a:pt x="375923" y="7431"/>
                      <a:pt x="376353" y="7001"/>
                      <a:pt x="377213" y="6571"/>
                    </a:cubicBezTo>
                    <a:cubicBezTo>
                      <a:pt x="378073" y="6141"/>
                      <a:pt x="379793" y="3991"/>
                      <a:pt x="378073" y="3991"/>
                    </a:cubicBezTo>
                    <a:cubicBezTo>
                      <a:pt x="376783" y="3561"/>
                      <a:pt x="375493" y="4421"/>
                      <a:pt x="375493" y="4421"/>
                    </a:cubicBezTo>
                    <a:close/>
                    <a:moveTo>
                      <a:pt x="388393" y="26352"/>
                    </a:moveTo>
                    <a:cubicBezTo>
                      <a:pt x="386673" y="27642"/>
                      <a:pt x="386243" y="28072"/>
                      <a:pt x="386673" y="28932"/>
                    </a:cubicBezTo>
                    <a:cubicBezTo>
                      <a:pt x="387533" y="29792"/>
                      <a:pt x="386673" y="30652"/>
                      <a:pt x="388393" y="31082"/>
                    </a:cubicBezTo>
                    <a:cubicBezTo>
                      <a:pt x="389683" y="31512"/>
                      <a:pt x="390543" y="31082"/>
                      <a:pt x="390113" y="29792"/>
                    </a:cubicBezTo>
                    <a:cubicBezTo>
                      <a:pt x="389683" y="28502"/>
                      <a:pt x="389683" y="27642"/>
                      <a:pt x="390543" y="28072"/>
                    </a:cubicBezTo>
                    <a:cubicBezTo>
                      <a:pt x="391403" y="28502"/>
                      <a:pt x="391403" y="30222"/>
                      <a:pt x="392264" y="29362"/>
                    </a:cubicBezTo>
                    <a:cubicBezTo>
                      <a:pt x="393124" y="28502"/>
                      <a:pt x="394844" y="27642"/>
                      <a:pt x="393554" y="26782"/>
                    </a:cubicBezTo>
                    <a:cubicBezTo>
                      <a:pt x="392694" y="25492"/>
                      <a:pt x="391833" y="25062"/>
                      <a:pt x="390973" y="25492"/>
                    </a:cubicBezTo>
                    <a:cubicBezTo>
                      <a:pt x="389683" y="25492"/>
                      <a:pt x="387963" y="26352"/>
                      <a:pt x="388393" y="26352"/>
                    </a:cubicBezTo>
                    <a:close/>
                    <a:moveTo>
                      <a:pt x="390543" y="40542"/>
                    </a:moveTo>
                    <a:cubicBezTo>
                      <a:pt x="389253" y="42692"/>
                      <a:pt x="388823" y="43122"/>
                      <a:pt x="389683" y="43552"/>
                    </a:cubicBezTo>
                    <a:cubicBezTo>
                      <a:pt x="390973" y="44413"/>
                      <a:pt x="390973" y="46563"/>
                      <a:pt x="392264" y="44413"/>
                    </a:cubicBezTo>
                    <a:cubicBezTo>
                      <a:pt x="393124" y="42692"/>
                      <a:pt x="392264" y="42262"/>
                      <a:pt x="392264" y="41402"/>
                    </a:cubicBezTo>
                    <a:cubicBezTo>
                      <a:pt x="392264" y="40112"/>
                      <a:pt x="395274" y="39252"/>
                      <a:pt x="393554" y="38822"/>
                    </a:cubicBezTo>
                    <a:cubicBezTo>
                      <a:pt x="391833" y="38822"/>
                      <a:pt x="390543" y="40542"/>
                      <a:pt x="390543" y="40542"/>
                    </a:cubicBezTo>
                    <a:close/>
                    <a:moveTo>
                      <a:pt x="405164" y="28072"/>
                    </a:moveTo>
                    <a:cubicBezTo>
                      <a:pt x="403014" y="29362"/>
                      <a:pt x="402584" y="31512"/>
                      <a:pt x="403444" y="31082"/>
                    </a:cubicBezTo>
                    <a:cubicBezTo>
                      <a:pt x="404304" y="30652"/>
                      <a:pt x="404734" y="30222"/>
                      <a:pt x="406024" y="30652"/>
                    </a:cubicBezTo>
                    <a:cubicBezTo>
                      <a:pt x="407314" y="31082"/>
                      <a:pt x="410754" y="30222"/>
                      <a:pt x="409034" y="28502"/>
                    </a:cubicBezTo>
                    <a:cubicBezTo>
                      <a:pt x="406884" y="26782"/>
                      <a:pt x="405164" y="28072"/>
                      <a:pt x="405164" y="28072"/>
                    </a:cubicBezTo>
                    <a:close/>
                    <a:moveTo>
                      <a:pt x="416775" y="50003"/>
                    </a:moveTo>
                    <a:cubicBezTo>
                      <a:pt x="415485" y="50863"/>
                      <a:pt x="414195" y="51293"/>
                      <a:pt x="415055" y="52583"/>
                    </a:cubicBezTo>
                    <a:cubicBezTo>
                      <a:pt x="415915" y="53873"/>
                      <a:pt x="417205" y="53013"/>
                      <a:pt x="416775" y="54733"/>
                    </a:cubicBezTo>
                    <a:cubicBezTo>
                      <a:pt x="416345" y="56453"/>
                      <a:pt x="415915" y="56883"/>
                      <a:pt x="416345" y="57743"/>
                    </a:cubicBezTo>
                    <a:cubicBezTo>
                      <a:pt x="416775" y="58603"/>
                      <a:pt x="417635" y="61183"/>
                      <a:pt x="418495" y="58603"/>
                    </a:cubicBezTo>
                    <a:cubicBezTo>
                      <a:pt x="419355" y="56023"/>
                      <a:pt x="418495" y="55593"/>
                      <a:pt x="419785" y="55163"/>
                    </a:cubicBezTo>
                    <a:cubicBezTo>
                      <a:pt x="420645" y="54733"/>
                      <a:pt x="421505" y="54733"/>
                      <a:pt x="422365" y="54733"/>
                    </a:cubicBezTo>
                    <a:cubicBezTo>
                      <a:pt x="423225" y="54733"/>
                      <a:pt x="424515" y="55163"/>
                      <a:pt x="424945" y="53443"/>
                    </a:cubicBezTo>
                    <a:cubicBezTo>
                      <a:pt x="425375" y="51723"/>
                      <a:pt x="424945" y="50003"/>
                      <a:pt x="423225" y="50863"/>
                    </a:cubicBezTo>
                    <a:cubicBezTo>
                      <a:pt x="421505" y="51723"/>
                      <a:pt x="421075" y="51723"/>
                      <a:pt x="420645" y="50863"/>
                    </a:cubicBezTo>
                    <a:cubicBezTo>
                      <a:pt x="420215" y="50003"/>
                      <a:pt x="419785" y="49573"/>
                      <a:pt x="419355" y="49573"/>
                    </a:cubicBezTo>
                    <a:cubicBezTo>
                      <a:pt x="418925" y="49573"/>
                      <a:pt x="416775" y="50003"/>
                      <a:pt x="416775" y="50003"/>
                    </a:cubicBezTo>
                    <a:close/>
                    <a:moveTo>
                      <a:pt x="421075" y="42262"/>
                    </a:moveTo>
                    <a:cubicBezTo>
                      <a:pt x="419785" y="43552"/>
                      <a:pt x="420215" y="45703"/>
                      <a:pt x="421075" y="44843"/>
                    </a:cubicBezTo>
                    <a:cubicBezTo>
                      <a:pt x="421935" y="43552"/>
                      <a:pt x="422795" y="44413"/>
                      <a:pt x="423225" y="43552"/>
                    </a:cubicBezTo>
                    <a:cubicBezTo>
                      <a:pt x="424085" y="43122"/>
                      <a:pt x="424945" y="41402"/>
                      <a:pt x="423225" y="40972"/>
                    </a:cubicBezTo>
                    <a:cubicBezTo>
                      <a:pt x="421935" y="40972"/>
                      <a:pt x="421075" y="42262"/>
                      <a:pt x="421075" y="42262"/>
                    </a:cubicBezTo>
                    <a:close/>
                    <a:moveTo>
                      <a:pt x="429245" y="69784"/>
                    </a:moveTo>
                    <a:cubicBezTo>
                      <a:pt x="426235" y="71074"/>
                      <a:pt x="425375" y="73654"/>
                      <a:pt x="427525" y="74084"/>
                    </a:cubicBezTo>
                    <a:cubicBezTo>
                      <a:pt x="429675" y="74084"/>
                      <a:pt x="430965" y="74084"/>
                      <a:pt x="431825" y="74084"/>
                    </a:cubicBezTo>
                    <a:cubicBezTo>
                      <a:pt x="433115" y="74514"/>
                      <a:pt x="434836" y="71074"/>
                      <a:pt x="433546" y="70214"/>
                    </a:cubicBezTo>
                    <a:cubicBezTo>
                      <a:pt x="431825" y="68494"/>
                      <a:pt x="429245" y="69784"/>
                      <a:pt x="429245" y="69784"/>
                    </a:cubicBezTo>
                    <a:close/>
                    <a:moveTo>
                      <a:pt x="279168" y="550977"/>
                    </a:moveTo>
                    <a:cubicBezTo>
                      <a:pt x="277018" y="550977"/>
                      <a:pt x="276158" y="550977"/>
                      <a:pt x="276588" y="552697"/>
                    </a:cubicBezTo>
                    <a:cubicBezTo>
                      <a:pt x="277018" y="553987"/>
                      <a:pt x="275728" y="555277"/>
                      <a:pt x="277018" y="555707"/>
                    </a:cubicBezTo>
                    <a:cubicBezTo>
                      <a:pt x="278738" y="556137"/>
                      <a:pt x="279168" y="554847"/>
                      <a:pt x="280028" y="554417"/>
                    </a:cubicBezTo>
                    <a:cubicBezTo>
                      <a:pt x="280888" y="553987"/>
                      <a:pt x="283038" y="552697"/>
                      <a:pt x="281748" y="551837"/>
                    </a:cubicBezTo>
                    <a:cubicBezTo>
                      <a:pt x="280458" y="550977"/>
                      <a:pt x="279168" y="550977"/>
                      <a:pt x="279168" y="550977"/>
                    </a:cubicBezTo>
                    <a:close/>
                    <a:moveTo>
                      <a:pt x="300239" y="560437"/>
                    </a:moveTo>
                    <a:cubicBezTo>
                      <a:pt x="299379" y="562157"/>
                      <a:pt x="299379" y="563877"/>
                      <a:pt x="300239" y="563447"/>
                    </a:cubicBezTo>
                    <a:cubicBezTo>
                      <a:pt x="301099" y="563447"/>
                      <a:pt x="301099" y="562587"/>
                      <a:pt x="302389" y="562587"/>
                    </a:cubicBezTo>
                    <a:cubicBezTo>
                      <a:pt x="303249" y="562587"/>
                      <a:pt x="304539" y="561727"/>
                      <a:pt x="304109" y="560867"/>
                    </a:cubicBezTo>
                    <a:cubicBezTo>
                      <a:pt x="304109" y="560007"/>
                      <a:pt x="303679" y="558717"/>
                      <a:pt x="302389" y="558717"/>
                    </a:cubicBezTo>
                    <a:cubicBezTo>
                      <a:pt x="301099" y="558717"/>
                      <a:pt x="299809" y="560437"/>
                      <a:pt x="300239" y="560437"/>
                    </a:cubicBezTo>
                    <a:close/>
                    <a:moveTo>
                      <a:pt x="2665" y="382409"/>
                    </a:moveTo>
                    <a:cubicBezTo>
                      <a:pt x="515" y="382839"/>
                      <a:pt x="-775" y="385849"/>
                      <a:pt x="515" y="386709"/>
                    </a:cubicBezTo>
                    <a:cubicBezTo>
                      <a:pt x="2235" y="387569"/>
                      <a:pt x="1805" y="386279"/>
                      <a:pt x="4385" y="387139"/>
                    </a:cubicBezTo>
                    <a:cubicBezTo>
                      <a:pt x="7395" y="387139"/>
                      <a:pt x="9975" y="384989"/>
                      <a:pt x="8685" y="383269"/>
                    </a:cubicBezTo>
                    <a:cubicBezTo>
                      <a:pt x="6965" y="381549"/>
                      <a:pt x="2665" y="381979"/>
                      <a:pt x="2665" y="382409"/>
                    </a:cubicBezTo>
                    <a:close/>
                    <a:moveTo>
                      <a:pt x="50827" y="407350"/>
                    </a:moveTo>
                    <a:cubicBezTo>
                      <a:pt x="48677" y="408210"/>
                      <a:pt x="48677" y="409930"/>
                      <a:pt x="49537" y="409930"/>
                    </a:cubicBezTo>
                    <a:cubicBezTo>
                      <a:pt x="50397" y="409930"/>
                      <a:pt x="52117" y="410790"/>
                      <a:pt x="55127" y="409930"/>
                    </a:cubicBezTo>
                    <a:cubicBezTo>
                      <a:pt x="56417" y="408640"/>
                      <a:pt x="56417" y="404770"/>
                      <a:pt x="53837" y="405200"/>
                    </a:cubicBezTo>
                    <a:cubicBezTo>
                      <a:pt x="51687" y="405200"/>
                      <a:pt x="50827" y="407350"/>
                      <a:pt x="50827" y="407350"/>
                    </a:cubicBezTo>
                    <a:close/>
                    <a:moveTo>
                      <a:pt x="91679" y="400900"/>
                    </a:moveTo>
                    <a:cubicBezTo>
                      <a:pt x="89529" y="400900"/>
                      <a:pt x="88239" y="400900"/>
                      <a:pt x="88669" y="403050"/>
                    </a:cubicBezTo>
                    <a:cubicBezTo>
                      <a:pt x="89529" y="404770"/>
                      <a:pt x="89959" y="405200"/>
                      <a:pt x="91249" y="405200"/>
                    </a:cubicBezTo>
                    <a:cubicBezTo>
                      <a:pt x="92969" y="405200"/>
                      <a:pt x="95549" y="405200"/>
                      <a:pt x="95119" y="403480"/>
                    </a:cubicBezTo>
                    <a:cubicBezTo>
                      <a:pt x="95119" y="400900"/>
                      <a:pt x="91679" y="400900"/>
                      <a:pt x="91679" y="400900"/>
                    </a:cubicBezTo>
                    <a:close/>
                    <a:moveTo>
                      <a:pt x="141992" y="428421"/>
                    </a:moveTo>
                    <a:cubicBezTo>
                      <a:pt x="139841" y="427991"/>
                      <a:pt x="138551" y="428421"/>
                      <a:pt x="139411" y="429711"/>
                    </a:cubicBezTo>
                    <a:cubicBezTo>
                      <a:pt x="140271" y="431001"/>
                      <a:pt x="141131" y="430571"/>
                      <a:pt x="142422" y="431001"/>
                    </a:cubicBezTo>
                    <a:cubicBezTo>
                      <a:pt x="143712" y="431431"/>
                      <a:pt x="145862" y="431001"/>
                      <a:pt x="145002" y="429711"/>
                    </a:cubicBezTo>
                    <a:cubicBezTo>
                      <a:pt x="143712" y="428421"/>
                      <a:pt x="141992" y="428421"/>
                      <a:pt x="141992" y="428421"/>
                    </a:cubicBezTo>
                    <a:close/>
                    <a:moveTo>
                      <a:pt x="187574" y="442612"/>
                    </a:moveTo>
                    <a:cubicBezTo>
                      <a:pt x="185424" y="443472"/>
                      <a:pt x="185854" y="445622"/>
                      <a:pt x="187144" y="445622"/>
                    </a:cubicBezTo>
                    <a:cubicBezTo>
                      <a:pt x="188434" y="445622"/>
                      <a:pt x="190154" y="445192"/>
                      <a:pt x="191014" y="445622"/>
                    </a:cubicBezTo>
                    <a:cubicBezTo>
                      <a:pt x="191874" y="446052"/>
                      <a:pt x="196174" y="445192"/>
                      <a:pt x="193594" y="443042"/>
                    </a:cubicBezTo>
                    <a:cubicBezTo>
                      <a:pt x="190154" y="441322"/>
                      <a:pt x="187574" y="442612"/>
                      <a:pt x="187574" y="442612"/>
                    </a:cubicBezTo>
                    <a:close/>
                    <a:moveTo>
                      <a:pt x="1805" y="233622"/>
                    </a:moveTo>
                    <a:cubicBezTo>
                      <a:pt x="-775" y="235772"/>
                      <a:pt x="945" y="240072"/>
                      <a:pt x="2665" y="238782"/>
                    </a:cubicBezTo>
                    <a:cubicBezTo>
                      <a:pt x="4385" y="237492"/>
                      <a:pt x="9975" y="237492"/>
                      <a:pt x="7825" y="234482"/>
                    </a:cubicBezTo>
                    <a:cubicBezTo>
                      <a:pt x="5245" y="231471"/>
                      <a:pt x="1805" y="233622"/>
                      <a:pt x="1805" y="233622"/>
                    </a:cubicBezTo>
                    <a:close/>
                    <a:moveTo>
                      <a:pt x="6105" y="214701"/>
                    </a:moveTo>
                    <a:cubicBezTo>
                      <a:pt x="4385" y="216421"/>
                      <a:pt x="3955" y="218141"/>
                      <a:pt x="5675" y="218141"/>
                    </a:cubicBezTo>
                    <a:cubicBezTo>
                      <a:pt x="7395" y="218141"/>
                      <a:pt x="11695" y="216421"/>
                      <a:pt x="9545" y="214701"/>
                    </a:cubicBezTo>
                    <a:cubicBezTo>
                      <a:pt x="7825" y="212981"/>
                      <a:pt x="6105" y="214701"/>
                      <a:pt x="6105" y="214701"/>
                    </a:cubicBezTo>
                    <a:close/>
                    <a:moveTo>
                      <a:pt x="23736" y="242652"/>
                    </a:moveTo>
                    <a:cubicBezTo>
                      <a:pt x="22016" y="243082"/>
                      <a:pt x="20296" y="243082"/>
                      <a:pt x="21586" y="244372"/>
                    </a:cubicBezTo>
                    <a:cubicBezTo>
                      <a:pt x="22446" y="245232"/>
                      <a:pt x="22446" y="245232"/>
                      <a:pt x="22876" y="246522"/>
                    </a:cubicBezTo>
                    <a:cubicBezTo>
                      <a:pt x="23306" y="247382"/>
                      <a:pt x="25886" y="248242"/>
                      <a:pt x="25456" y="246522"/>
                    </a:cubicBezTo>
                    <a:cubicBezTo>
                      <a:pt x="25026" y="244802"/>
                      <a:pt x="23736" y="244802"/>
                      <a:pt x="24166" y="244372"/>
                    </a:cubicBezTo>
                    <a:cubicBezTo>
                      <a:pt x="25026" y="243942"/>
                      <a:pt x="25456" y="243082"/>
                      <a:pt x="24596" y="243082"/>
                    </a:cubicBezTo>
                    <a:cubicBezTo>
                      <a:pt x="24166" y="242652"/>
                      <a:pt x="23736" y="242652"/>
                      <a:pt x="23736" y="242652"/>
                    </a:cubicBezTo>
                    <a:close/>
                    <a:moveTo>
                      <a:pt x="66308" y="234052"/>
                    </a:moveTo>
                    <a:cubicBezTo>
                      <a:pt x="64588" y="234912"/>
                      <a:pt x="63728" y="237062"/>
                      <a:pt x="65018" y="237062"/>
                    </a:cubicBezTo>
                    <a:cubicBezTo>
                      <a:pt x="66308" y="237062"/>
                      <a:pt x="67598" y="236632"/>
                      <a:pt x="70178" y="236202"/>
                    </a:cubicBezTo>
                    <a:cubicBezTo>
                      <a:pt x="71898" y="235772"/>
                      <a:pt x="71898" y="231041"/>
                      <a:pt x="69318" y="231902"/>
                    </a:cubicBezTo>
                    <a:cubicBezTo>
                      <a:pt x="66738" y="232332"/>
                      <a:pt x="66308" y="234052"/>
                      <a:pt x="66308" y="234052"/>
                    </a:cubicBezTo>
                    <a:close/>
                    <a:moveTo>
                      <a:pt x="80929" y="234052"/>
                    </a:moveTo>
                    <a:cubicBezTo>
                      <a:pt x="78778" y="234052"/>
                      <a:pt x="77918" y="234912"/>
                      <a:pt x="78348" y="236202"/>
                    </a:cubicBezTo>
                    <a:cubicBezTo>
                      <a:pt x="78778" y="237492"/>
                      <a:pt x="80499" y="237492"/>
                      <a:pt x="81359" y="237492"/>
                    </a:cubicBezTo>
                    <a:cubicBezTo>
                      <a:pt x="82219" y="237922"/>
                      <a:pt x="85229" y="235772"/>
                      <a:pt x="83939" y="234912"/>
                    </a:cubicBezTo>
                    <a:cubicBezTo>
                      <a:pt x="82219" y="234052"/>
                      <a:pt x="80929" y="234052"/>
                      <a:pt x="80929" y="234052"/>
                    </a:cubicBezTo>
                    <a:close/>
                    <a:moveTo>
                      <a:pt x="89099" y="238782"/>
                    </a:moveTo>
                    <a:cubicBezTo>
                      <a:pt x="88669" y="238782"/>
                      <a:pt x="88669" y="240072"/>
                      <a:pt x="87809" y="240072"/>
                    </a:cubicBezTo>
                    <a:cubicBezTo>
                      <a:pt x="86949" y="240502"/>
                      <a:pt x="87809" y="238782"/>
                      <a:pt x="89099" y="237922"/>
                    </a:cubicBezTo>
                    <a:cubicBezTo>
                      <a:pt x="90389" y="237062"/>
                      <a:pt x="89529" y="237062"/>
                      <a:pt x="88669" y="236632"/>
                    </a:cubicBezTo>
                    <a:cubicBezTo>
                      <a:pt x="87809" y="235772"/>
                      <a:pt x="87809" y="236632"/>
                      <a:pt x="86949" y="236632"/>
                    </a:cubicBezTo>
                    <a:cubicBezTo>
                      <a:pt x="86089" y="237062"/>
                      <a:pt x="86519" y="237922"/>
                      <a:pt x="86089" y="238782"/>
                    </a:cubicBezTo>
                    <a:cubicBezTo>
                      <a:pt x="85659" y="239642"/>
                      <a:pt x="86089" y="240502"/>
                      <a:pt x="86949" y="241792"/>
                    </a:cubicBezTo>
                    <a:cubicBezTo>
                      <a:pt x="87809" y="243082"/>
                      <a:pt x="87809" y="242222"/>
                      <a:pt x="87809" y="243942"/>
                    </a:cubicBezTo>
                    <a:cubicBezTo>
                      <a:pt x="87809" y="245232"/>
                      <a:pt x="87809" y="245662"/>
                      <a:pt x="89099" y="246952"/>
                    </a:cubicBezTo>
                    <a:cubicBezTo>
                      <a:pt x="90389" y="248242"/>
                      <a:pt x="91249" y="247382"/>
                      <a:pt x="92109" y="246092"/>
                    </a:cubicBezTo>
                    <a:cubicBezTo>
                      <a:pt x="92969" y="244372"/>
                      <a:pt x="91679" y="244372"/>
                      <a:pt x="90819" y="242652"/>
                    </a:cubicBezTo>
                    <a:cubicBezTo>
                      <a:pt x="89959" y="241362"/>
                      <a:pt x="89529" y="242222"/>
                      <a:pt x="89529" y="239642"/>
                    </a:cubicBezTo>
                    <a:cubicBezTo>
                      <a:pt x="89959" y="239212"/>
                      <a:pt x="89529" y="238782"/>
                      <a:pt x="89099" y="238782"/>
                    </a:cubicBezTo>
                    <a:close/>
                    <a:moveTo>
                      <a:pt x="100279" y="240932"/>
                    </a:moveTo>
                    <a:cubicBezTo>
                      <a:pt x="98559" y="241362"/>
                      <a:pt x="97699" y="241792"/>
                      <a:pt x="98559" y="242652"/>
                    </a:cubicBezTo>
                    <a:cubicBezTo>
                      <a:pt x="99419" y="243512"/>
                      <a:pt x="99419" y="243942"/>
                      <a:pt x="99849" y="244372"/>
                    </a:cubicBezTo>
                    <a:cubicBezTo>
                      <a:pt x="100710" y="244802"/>
                      <a:pt x="103720" y="244372"/>
                      <a:pt x="102860" y="242652"/>
                    </a:cubicBezTo>
                    <a:cubicBezTo>
                      <a:pt x="102000" y="240932"/>
                      <a:pt x="100279" y="240932"/>
                      <a:pt x="100279" y="240932"/>
                    </a:cubicBezTo>
                    <a:close/>
                    <a:moveTo>
                      <a:pt x="109740" y="265443"/>
                    </a:moveTo>
                    <a:cubicBezTo>
                      <a:pt x="107160" y="267163"/>
                      <a:pt x="107160" y="269313"/>
                      <a:pt x="108880" y="269313"/>
                    </a:cubicBezTo>
                    <a:cubicBezTo>
                      <a:pt x="110600" y="269313"/>
                      <a:pt x="111890" y="268883"/>
                      <a:pt x="113610" y="268453"/>
                    </a:cubicBezTo>
                    <a:cubicBezTo>
                      <a:pt x="115330" y="268023"/>
                      <a:pt x="114900" y="264153"/>
                      <a:pt x="113180" y="264153"/>
                    </a:cubicBezTo>
                    <a:cubicBezTo>
                      <a:pt x="111460" y="264153"/>
                      <a:pt x="109740" y="265443"/>
                      <a:pt x="109740" y="265443"/>
                    </a:cubicBezTo>
                    <a:close/>
                    <a:moveTo>
                      <a:pt x="130381" y="261573"/>
                    </a:moveTo>
                    <a:cubicBezTo>
                      <a:pt x="128661" y="262433"/>
                      <a:pt x="126941" y="263723"/>
                      <a:pt x="128661" y="264583"/>
                    </a:cubicBezTo>
                    <a:cubicBezTo>
                      <a:pt x="130381" y="265443"/>
                      <a:pt x="129521" y="267163"/>
                      <a:pt x="131671" y="266733"/>
                    </a:cubicBezTo>
                    <a:cubicBezTo>
                      <a:pt x="133391" y="266303"/>
                      <a:pt x="136401" y="265013"/>
                      <a:pt x="135541" y="263293"/>
                    </a:cubicBezTo>
                    <a:cubicBezTo>
                      <a:pt x="134251" y="261573"/>
                      <a:pt x="130381" y="261573"/>
                      <a:pt x="130381" y="261573"/>
                    </a:cubicBezTo>
                    <a:close/>
                    <a:moveTo>
                      <a:pt x="145862" y="268023"/>
                    </a:moveTo>
                    <a:cubicBezTo>
                      <a:pt x="146722" y="269313"/>
                      <a:pt x="144572" y="268883"/>
                      <a:pt x="143282" y="269313"/>
                    </a:cubicBezTo>
                    <a:cubicBezTo>
                      <a:pt x="141992" y="269743"/>
                      <a:pt x="141992" y="270173"/>
                      <a:pt x="140271" y="269313"/>
                    </a:cubicBezTo>
                    <a:cubicBezTo>
                      <a:pt x="138551" y="268453"/>
                      <a:pt x="138981" y="268023"/>
                      <a:pt x="137691" y="267593"/>
                    </a:cubicBezTo>
                    <a:cubicBezTo>
                      <a:pt x="136831" y="266733"/>
                      <a:pt x="137691" y="268453"/>
                      <a:pt x="137691" y="269743"/>
                    </a:cubicBezTo>
                    <a:cubicBezTo>
                      <a:pt x="138121" y="270603"/>
                      <a:pt x="138981" y="271033"/>
                      <a:pt x="139841" y="271463"/>
                    </a:cubicBezTo>
                    <a:cubicBezTo>
                      <a:pt x="140271" y="271463"/>
                      <a:pt x="144142" y="271463"/>
                      <a:pt x="145432" y="271463"/>
                    </a:cubicBezTo>
                    <a:cubicBezTo>
                      <a:pt x="146722" y="271463"/>
                      <a:pt x="146722" y="272323"/>
                      <a:pt x="147582" y="273614"/>
                    </a:cubicBezTo>
                    <a:cubicBezTo>
                      <a:pt x="148872" y="274904"/>
                      <a:pt x="148872" y="274044"/>
                      <a:pt x="150592" y="273614"/>
                    </a:cubicBezTo>
                    <a:cubicBezTo>
                      <a:pt x="152312" y="273184"/>
                      <a:pt x="151882" y="271893"/>
                      <a:pt x="151452" y="270603"/>
                    </a:cubicBezTo>
                    <a:cubicBezTo>
                      <a:pt x="151022" y="269313"/>
                      <a:pt x="149302" y="271033"/>
                      <a:pt x="148012" y="271033"/>
                    </a:cubicBezTo>
                    <a:cubicBezTo>
                      <a:pt x="146722" y="271033"/>
                      <a:pt x="147152" y="270173"/>
                      <a:pt x="147582" y="268883"/>
                    </a:cubicBezTo>
                    <a:cubicBezTo>
                      <a:pt x="148012" y="267593"/>
                      <a:pt x="148012" y="267593"/>
                      <a:pt x="146722" y="265873"/>
                    </a:cubicBezTo>
                    <a:cubicBezTo>
                      <a:pt x="145432" y="264153"/>
                      <a:pt x="145862" y="265873"/>
                      <a:pt x="145002" y="264153"/>
                    </a:cubicBezTo>
                    <a:cubicBezTo>
                      <a:pt x="144142" y="262433"/>
                      <a:pt x="143712" y="262863"/>
                      <a:pt x="142422" y="263723"/>
                    </a:cubicBezTo>
                    <a:cubicBezTo>
                      <a:pt x="141131" y="264583"/>
                      <a:pt x="142422" y="265013"/>
                      <a:pt x="144572" y="266733"/>
                    </a:cubicBezTo>
                    <a:cubicBezTo>
                      <a:pt x="144572" y="266733"/>
                      <a:pt x="145432" y="266733"/>
                      <a:pt x="145862" y="268023"/>
                    </a:cubicBezTo>
                    <a:close/>
                    <a:moveTo>
                      <a:pt x="137691" y="246522"/>
                    </a:moveTo>
                    <a:cubicBezTo>
                      <a:pt x="136401" y="249532"/>
                      <a:pt x="135971" y="250392"/>
                      <a:pt x="137691" y="250822"/>
                    </a:cubicBezTo>
                    <a:cubicBezTo>
                      <a:pt x="139411" y="250822"/>
                      <a:pt x="140271" y="252973"/>
                      <a:pt x="140701" y="250822"/>
                    </a:cubicBezTo>
                    <a:cubicBezTo>
                      <a:pt x="141131" y="248672"/>
                      <a:pt x="142422" y="244802"/>
                      <a:pt x="140271" y="244802"/>
                    </a:cubicBezTo>
                    <a:cubicBezTo>
                      <a:pt x="138551" y="244802"/>
                      <a:pt x="137691" y="246522"/>
                      <a:pt x="137691" y="246522"/>
                    </a:cubicBezTo>
                    <a:close/>
                    <a:moveTo>
                      <a:pt x="162632" y="188899"/>
                    </a:moveTo>
                    <a:cubicBezTo>
                      <a:pt x="160912" y="190190"/>
                      <a:pt x="160482" y="191480"/>
                      <a:pt x="162202" y="191910"/>
                    </a:cubicBezTo>
                    <a:cubicBezTo>
                      <a:pt x="163923" y="191910"/>
                      <a:pt x="164353" y="195350"/>
                      <a:pt x="165213" y="193200"/>
                    </a:cubicBezTo>
                    <a:cubicBezTo>
                      <a:pt x="166503" y="191050"/>
                      <a:pt x="162632" y="188899"/>
                      <a:pt x="162632" y="188899"/>
                    </a:cubicBezTo>
                    <a:close/>
                    <a:moveTo>
                      <a:pt x="178113" y="191480"/>
                    </a:moveTo>
                    <a:cubicBezTo>
                      <a:pt x="175103" y="191910"/>
                      <a:pt x="173813" y="192340"/>
                      <a:pt x="175533" y="193200"/>
                    </a:cubicBezTo>
                    <a:cubicBezTo>
                      <a:pt x="177683" y="194060"/>
                      <a:pt x="177683" y="195350"/>
                      <a:pt x="178973" y="195780"/>
                    </a:cubicBezTo>
                    <a:cubicBezTo>
                      <a:pt x="180693" y="195780"/>
                      <a:pt x="183273" y="194490"/>
                      <a:pt x="181553" y="193200"/>
                    </a:cubicBezTo>
                    <a:cubicBezTo>
                      <a:pt x="179833" y="191480"/>
                      <a:pt x="177683" y="191480"/>
                      <a:pt x="178113" y="191480"/>
                    </a:cubicBezTo>
                    <a:close/>
                    <a:moveTo>
                      <a:pt x="191874" y="194060"/>
                    </a:moveTo>
                    <a:cubicBezTo>
                      <a:pt x="190154" y="195350"/>
                      <a:pt x="189294" y="195350"/>
                      <a:pt x="190584" y="196640"/>
                    </a:cubicBezTo>
                    <a:cubicBezTo>
                      <a:pt x="191874" y="197930"/>
                      <a:pt x="191014" y="200080"/>
                      <a:pt x="192734" y="200080"/>
                    </a:cubicBezTo>
                    <a:cubicBezTo>
                      <a:pt x="194454" y="200080"/>
                      <a:pt x="197464" y="200080"/>
                      <a:pt x="196174" y="197070"/>
                    </a:cubicBezTo>
                    <a:cubicBezTo>
                      <a:pt x="194884" y="194060"/>
                      <a:pt x="191874" y="194060"/>
                      <a:pt x="191874" y="194060"/>
                    </a:cubicBezTo>
                    <a:close/>
                    <a:moveTo>
                      <a:pt x="186284" y="199650"/>
                    </a:moveTo>
                    <a:cubicBezTo>
                      <a:pt x="185854" y="201800"/>
                      <a:pt x="188004" y="202230"/>
                      <a:pt x="188434" y="200940"/>
                    </a:cubicBezTo>
                    <a:cubicBezTo>
                      <a:pt x="188864" y="199650"/>
                      <a:pt x="189294" y="197930"/>
                      <a:pt x="188004" y="197500"/>
                    </a:cubicBezTo>
                    <a:cubicBezTo>
                      <a:pt x="186714" y="197500"/>
                      <a:pt x="186284" y="199650"/>
                      <a:pt x="186284" y="199650"/>
                    </a:cubicBezTo>
                    <a:close/>
                    <a:moveTo>
                      <a:pt x="178113" y="272753"/>
                    </a:moveTo>
                    <a:cubicBezTo>
                      <a:pt x="175963" y="274044"/>
                      <a:pt x="175963" y="276194"/>
                      <a:pt x="177253" y="275764"/>
                    </a:cubicBezTo>
                    <a:cubicBezTo>
                      <a:pt x="178543" y="275334"/>
                      <a:pt x="179833" y="276624"/>
                      <a:pt x="181983" y="275764"/>
                    </a:cubicBezTo>
                    <a:cubicBezTo>
                      <a:pt x="183273" y="274904"/>
                      <a:pt x="181553" y="270173"/>
                      <a:pt x="180263" y="270603"/>
                    </a:cubicBezTo>
                    <a:cubicBezTo>
                      <a:pt x="178973" y="270603"/>
                      <a:pt x="178113" y="272753"/>
                      <a:pt x="178113" y="272753"/>
                    </a:cubicBezTo>
                    <a:close/>
                    <a:moveTo>
                      <a:pt x="248207" y="259853"/>
                    </a:moveTo>
                    <a:cubicBezTo>
                      <a:pt x="245196" y="261143"/>
                      <a:pt x="243906" y="263293"/>
                      <a:pt x="246487" y="263723"/>
                    </a:cubicBezTo>
                    <a:cubicBezTo>
                      <a:pt x="249067" y="264153"/>
                      <a:pt x="249067" y="266303"/>
                      <a:pt x="250787" y="265443"/>
                    </a:cubicBezTo>
                    <a:cubicBezTo>
                      <a:pt x="252507" y="264583"/>
                      <a:pt x="253797" y="260713"/>
                      <a:pt x="252507" y="260283"/>
                    </a:cubicBezTo>
                    <a:cubicBezTo>
                      <a:pt x="251217" y="259423"/>
                      <a:pt x="248207" y="259853"/>
                      <a:pt x="248207" y="259853"/>
                    </a:cubicBezTo>
                    <a:close/>
                    <a:moveTo>
                      <a:pt x="243906" y="223301"/>
                    </a:moveTo>
                    <a:cubicBezTo>
                      <a:pt x="242186" y="224161"/>
                      <a:pt x="240896" y="224591"/>
                      <a:pt x="243046" y="226741"/>
                    </a:cubicBezTo>
                    <a:cubicBezTo>
                      <a:pt x="245196" y="228891"/>
                      <a:pt x="245196" y="229321"/>
                      <a:pt x="245626" y="230611"/>
                    </a:cubicBezTo>
                    <a:cubicBezTo>
                      <a:pt x="246487" y="232332"/>
                      <a:pt x="248207" y="234912"/>
                      <a:pt x="248207" y="232762"/>
                    </a:cubicBezTo>
                    <a:cubicBezTo>
                      <a:pt x="248207" y="230181"/>
                      <a:pt x="246917" y="228461"/>
                      <a:pt x="246917" y="226741"/>
                    </a:cubicBezTo>
                    <a:cubicBezTo>
                      <a:pt x="246917" y="225021"/>
                      <a:pt x="246487" y="223731"/>
                      <a:pt x="245196" y="223301"/>
                    </a:cubicBezTo>
                    <a:cubicBezTo>
                      <a:pt x="244766" y="222871"/>
                      <a:pt x="243476" y="223301"/>
                      <a:pt x="243906" y="223301"/>
                    </a:cubicBezTo>
                    <a:close/>
                    <a:moveTo>
                      <a:pt x="223695" y="224591"/>
                    </a:moveTo>
                    <a:cubicBezTo>
                      <a:pt x="222405" y="225451"/>
                      <a:pt x="221545" y="226741"/>
                      <a:pt x="223265" y="226741"/>
                    </a:cubicBezTo>
                    <a:cubicBezTo>
                      <a:pt x="224555" y="226741"/>
                      <a:pt x="224555" y="228461"/>
                      <a:pt x="227136" y="226741"/>
                    </a:cubicBezTo>
                    <a:cubicBezTo>
                      <a:pt x="228426" y="224591"/>
                      <a:pt x="225846" y="221581"/>
                      <a:pt x="225416" y="222011"/>
                    </a:cubicBezTo>
                    <a:cubicBezTo>
                      <a:pt x="224125" y="222871"/>
                      <a:pt x="223695" y="224591"/>
                      <a:pt x="223695" y="224591"/>
                    </a:cubicBezTo>
                    <a:close/>
                    <a:moveTo>
                      <a:pt x="220255" y="214701"/>
                    </a:moveTo>
                    <a:cubicBezTo>
                      <a:pt x="217675" y="215561"/>
                      <a:pt x="216385" y="218571"/>
                      <a:pt x="218535" y="218141"/>
                    </a:cubicBezTo>
                    <a:cubicBezTo>
                      <a:pt x="220685" y="217711"/>
                      <a:pt x="220685" y="217711"/>
                      <a:pt x="221975" y="217281"/>
                    </a:cubicBezTo>
                    <a:cubicBezTo>
                      <a:pt x="223695" y="216851"/>
                      <a:pt x="224985" y="214701"/>
                      <a:pt x="223695" y="214271"/>
                    </a:cubicBezTo>
                    <a:cubicBezTo>
                      <a:pt x="222405" y="213841"/>
                      <a:pt x="220255" y="214701"/>
                      <a:pt x="220255" y="214701"/>
                    </a:cubicBezTo>
                    <a:close/>
                    <a:moveTo>
                      <a:pt x="227996" y="202660"/>
                    </a:moveTo>
                    <a:cubicBezTo>
                      <a:pt x="225416" y="203090"/>
                      <a:pt x="224985" y="206530"/>
                      <a:pt x="226276" y="206100"/>
                    </a:cubicBezTo>
                    <a:cubicBezTo>
                      <a:pt x="227996" y="205670"/>
                      <a:pt x="227996" y="205670"/>
                      <a:pt x="229286" y="205670"/>
                    </a:cubicBezTo>
                    <a:cubicBezTo>
                      <a:pt x="230576" y="205670"/>
                      <a:pt x="234016" y="204380"/>
                      <a:pt x="232296" y="203090"/>
                    </a:cubicBezTo>
                    <a:cubicBezTo>
                      <a:pt x="231006" y="201800"/>
                      <a:pt x="227996" y="202660"/>
                      <a:pt x="227996" y="202660"/>
                    </a:cubicBezTo>
                    <a:close/>
                    <a:moveTo>
                      <a:pt x="247347" y="205240"/>
                    </a:moveTo>
                    <a:cubicBezTo>
                      <a:pt x="245626" y="208250"/>
                      <a:pt x="243906" y="207390"/>
                      <a:pt x="245196" y="209540"/>
                    </a:cubicBezTo>
                    <a:cubicBezTo>
                      <a:pt x="246917" y="211691"/>
                      <a:pt x="248207" y="213411"/>
                      <a:pt x="248207" y="210831"/>
                    </a:cubicBezTo>
                    <a:cubicBezTo>
                      <a:pt x="248207" y="208250"/>
                      <a:pt x="249927" y="208680"/>
                      <a:pt x="249927" y="206100"/>
                    </a:cubicBezTo>
                    <a:cubicBezTo>
                      <a:pt x="249927" y="203520"/>
                      <a:pt x="247347" y="205240"/>
                      <a:pt x="247347" y="205240"/>
                    </a:cubicBezTo>
                    <a:close/>
                    <a:moveTo>
                      <a:pt x="256807" y="214271"/>
                    </a:moveTo>
                    <a:cubicBezTo>
                      <a:pt x="255087" y="215991"/>
                      <a:pt x="256377" y="216421"/>
                      <a:pt x="256807" y="217711"/>
                    </a:cubicBezTo>
                    <a:cubicBezTo>
                      <a:pt x="257237" y="219001"/>
                      <a:pt x="257667" y="220721"/>
                      <a:pt x="258527" y="220721"/>
                    </a:cubicBezTo>
                    <a:cubicBezTo>
                      <a:pt x="259387" y="220721"/>
                      <a:pt x="260677" y="220721"/>
                      <a:pt x="260677" y="218571"/>
                    </a:cubicBezTo>
                    <a:cubicBezTo>
                      <a:pt x="260247" y="216421"/>
                      <a:pt x="260247" y="212981"/>
                      <a:pt x="258957" y="212551"/>
                    </a:cubicBezTo>
                    <a:cubicBezTo>
                      <a:pt x="257237" y="211691"/>
                      <a:pt x="256807" y="214271"/>
                      <a:pt x="256807" y="214271"/>
                    </a:cubicBezTo>
                    <a:close/>
                    <a:moveTo>
                      <a:pt x="260677" y="224591"/>
                    </a:moveTo>
                    <a:cubicBezTo>
                      <a:pt x="258527" y="225881"/>
                      <a:pt x="258957" y="226741"/>
                      <a:pt x="259817" y="228031"/>
                    </a:cubicBezTo>
                    <a:cubicBezTo>
                      <a:pt x="260677" y="229321"/>
                      <a:pt x="261107" y="231471"/>
                      <a:pt x="261967" y="229751"/>
                    </a:cubicBezTo>
                    <a:cubicBezTo>
                      <a:pt x="263257" y="227601"/>
                      <a:pt x="264117" y="225021"/>
                      <a:pt x="262827" y="224591"/>
                    </a:cubicBezTo>
                    <a:cubicBezTo>
                      <a:pt x="261537" y="224161"/>
                      <a:pt x="260677" y="224591"/>
                      <a:pt x="260677" y="224591"/>
                    </a:cubicBezTo>
                    <a:close/>
                    <a:moveTo>
                      <a:pt x="267128" y="244372"/>
                    </a:moveTo>
                    <a:cubicBezTo>
                      <a:pt x="264977" y="246092"/>
                      <a:pt x="265837" y="247382"/>
                      <a:pt x="266697" y="248242"/>
                    </a:cubicBezTo>
                    <a:cubicBezTo>
                      <a:pt x="267558" y="249102"/>
                      <a:pt x="270998" y="249962"/>
                      <a:pt x="269708" y="247812"/>
                    </a:cubicBezTo>
                    <a:cubicBezTo>
                      <a:pt x="268418" y="245662"/>
                      <a:pt x="267988" y="245662"/>
                      <a:pt x="268848" y="244372"/>
                    </a:cubicBezTo>
                    <a:cubicBezTo>
                      <a:pt x="269708" y="243082"/>
                      <a:pt x="268848" y="241792"/>
                      <a:pt x="268418" y="241792"/>
                    </a:cubicBezTo>
                    <a:cubicBezTo>
                      <a:pt x="267988" y="242222"/>
                      <a:pt x="267128" y="244372"/>
                      <a:pt x="267128" y="244372"/>
                    </a:cubicBezTo>
                    <a:close/>
                    <a:moveTo>
                      <a:pt x="226276" y="179869"/>
                    </a:moveTo>
                    <a:cubicBezTo>
                      <a:pt x="225416" y="181159"/>
                      <a:pt x="224985" y="180729"/>
                      <a:pt x="225846" y="181589"/>
                    </a:cubicBezTo>
                    <a:cubicBezTo>
                      <a:pt x="226706" y="182449"/>
                      <a:pt x="226276" y="183739"/>
                      <a:pt x="227136" y="182879"/>
                    </a:cubicBezTo>
                    <a:cubicBezTo>
                      <a:pt x="227996" y="182449"/>
                      <a:pt x="227996" y="182019"/>
                      <a:pt x="229716" y="180299"/>
                    </a:cubicBezTo>
                    <a:cubicBezTo>
                      <a:pt x="229716" y="179439"/>
                      <a:pt x="228856" y="177289"/>
                      <a:pt x="227566" y="177719"/>
                    </a:cubicBezTo>
                    <a:cubicBezTo>
                      <a:pt x="226706" y="178149"/>
                      <a:pt x="226276" y="179869"/>
                      <a:pt x="226276" y="179869"/>
                    </a:cubicBezTo>
                    <a:close/>
                    <a:moveTo>
                      <a:pt x="234446" y="177719"/>
                    </a:moveTo>
                    <a:cubicBezTo>
                      <a:pt x="233156" y="178579"/>
                      <a:pt x="232726" y="180299"/>
                      <a:pt x="234016" y="179869"/>
                    </a:cubicBezTo>
                    <a:cubicBezTo>
                      <a:pt x="235306" y="179869"/>
                      <a:pt x="236166" y="179869"/>
                      <a:pt x="236596" y="180299"/>
                    </a:cubicBezTo>
                    <a:cubicBezTo>
                      <a:pt x="237456" y="180729"/>
                      <a:pt x="240036" y="180299"/>
                      <a:pt x="238746" y="178579"/>
                    </a:cubicBezTo>
                    <a:cubicBezTo>
                      <a:pt x="237026" y="176859"/>
                      <a:pt x="234446" y="177719"/>
                      <a:pt x="234446" y="177719"/>
                    </a:cubicBezTo>
                    <a:close/>
                    <a:moveTo>
                      <a:pt x="261107" y="179009"/>
                    </a:moveTo>
                    <a:cubicBezTo>
                      <a:pt x="259387" y="180299"/>
                      <a:pt x="258527" y="181589"/>
                      <a:pt x="260247" y="181589"/>
                    </a:cubicBezTo>
                    <a:cubicBezTo>
                      <a:pt x="261967" y="181159"/>
                      <a:pt x="261967" y="181159"/>
                      <a:pt x="263257" y="181159"/>
                    </a:cubicBezTo>
                    <a:cubicBezTo>
                      <a:pt x="264547" y="181589"/>
                      <a:pt x="266697" y="179869"/>
                      <a:pt x="264977" y="178579"/>
                    </a:cubicBezTo>
                    <a:cubicBezTo>
                      <a:pt x="263257" y="177719"/>
                      <a:pt x="261107" y="179009"/>
                      <a:pt x="261107" y="179009"/>
                    </a:cubicBezTo>
                    <a:close/>
                    <a:moveTo>
                      <a:pt x="255087" y="182019"/>
                    </a:moveTo>
                    <a:cubicBezTo>
                      <a:pt x="254227" y="183309"/>
                      <a:pt x="252937" y="183739"/>
                      <a:pt x="254227" y="184169"/>
                    </a:cubicBezTo>
                    <a:cubicBezTo>
                      <a:pt x="255517" y="184599"/>
                      <a:pt x="255087" y="186749"/>
                      <a:pt x="256377" y="185889"/>
                    </a:cubicBezTo>
                    <a:cubicBezTo>
                      <a:pt x="257667" y="185029"/>
                      <a:pt x="257667" y="182449"/>
                      <a:pt x="256807" y="182019"/>
                    </a:cubicBezTo>
                    <a:cubicBezTo>
                      <a:pt x="255947" y="182019"/>
                      <a:pt x="255087" y="182019"/>
                      <a:pt x="255087" y="182019"/>
                    </a:cubicBezTo>
                    <a:close/>
                    <a:moveTo>
                      <a:pt x="295939" y="236632"/>
                    </a:moveTo>
                    <a:cubicBezTo>
                      <a:pt x="293789" y="235772"/>
                      <a:pt x="292069" y="238352"/>
                      <a:pt x="293789" y="239642"/>
                    </a:cubicBezTo>
                    <a:cubicBezTo>
                      <a:pt x="295509" y="240932"/>
                      <a:pt x="302389" y="240932"/>
                      <a:pt x="300239" y="239212"/>
                    </a:cubicBezTo>
                    <a:cubicBezTo>
                      <a:pt x="298519" y="237492"/>
                      <a:pt x="296799" y="238352"/>
                      <a:pt x="296369" y="237492"/>
                    </a:cubicBezTo>
                    <a:cubicBezTo>
                      <a:pt x="295939" y="237062"/>
                      <a:pt x="295939" y="236632"/>
                      <a:pt x="295939" y="236632"/>
                    </a:cubicBezTo>
                    <a:close/>
                    <a:moveTo>
                      <a:pt x="310560" y="248672"/>
                    </a:moveTo>
                    <a:cubicBezTo>
                      <a:pt x="308409" y="249102"/>
                      <a:pt x="308409" y="250392"/>
                      <a:pt x="309700" y="250392"/>
                    </a:cubicBezTo>
                    <a:cubicBezTo>
                      <a:pt x="310990" y="250822"/>
                      <a:pt x="310990" y="251682"/>
                      <a:pt x="312280" y="251682"/>
                    </a:cubicBezTo>
                    <a:cubicBezTo>
                      <a:pt x="313570" y="251682"/>
                      <a:pt x="315720" y="250392"/>
                      <a:pt x="314430" y="249102"/>
                    </a:cubicBezTo>
                    <a:cubicBezTo>
                      <a:pt x="312710" y="248242"/>
                      <a:pt x="310560" y="248672"/>
                      <a:pt x="310560" y="248672"/>
                    </a:cubicBezTo>
                    <a:close/>
                    <a:moveTo>
                      <a:pt x="310990" y="271033"/>
                    </a:moveTo>
                    <a:cubicBezTo>
                      <a:pt x="309270" y="271033"/>
                      <a:pt x="308409" y="272753"/>
                      <a:pt x="309700" y="273614"/>
                    </a:cubicBezTo>
                    <a:cubicBezTo>
                      <a:pt x="310990" y="274474"/>
                      <a:pt x="311850" y="273614"/>
                      <a:pt x="312710" y="274044"/>
                    </a:cubicBezTo>
                    <a:cubicBezTo>
                      <a:pt x="313570" y="274904"/>
                      <a:pt x="316580" y="273184"/>
                      <a:pt x="315290" y="271463"/>
                    </a:cubicBezTo>
                    <a:cubicBezTo>
                      <a:pt x="313570" y="270173"/>
                      <a:pt x="310990" y="271033"/>
                      <a:pt x="310990" y="271033"/>
                    </a:cubicBezTo>
                    <a:close/>
                    <a:moveTo>
                      <a:pt x="323890" y="262863"/>
                    </a:moveTo>
                    <a:cubicBezTo>
                      <a:pt x="322170" y="264583"/>
                      <a:pt x="321740" y="265013"/>
                      <a:pt x="323030" y="265873"/>
                    </a:cubicBezTo>
                    <a:cubicBezTo>
                      <a:pt x="324320" y="266733"/>
                      <a:pt x="324320" y="267163"/>
                      <a:pt x="324750" y="268023"/>
                    </a:cubicBezTo>
                    <a:cubicBezTo>
                      <a:pt x="325610" y="268883"/>
                      <a:pt x="327330" y="269313"/>
                      <a:pt x="326900" y="268023"/>
                    </a:cubicBezTo>
                    <a:cubicBezTo>
                      <a:pt x="326900" y="266733"/>
                      <a:pt x="326900" y="264153"/>
                      <a:pt x="326040" y="263293"/>
                    </a:cubicBezTo>
                    <a:cubicBezTo>
                      <a:pt x="324750" y="262433"/>
                      <a:pt x="323890" y="262863"/>
                      <a:pt x="323890" y="262863"/>
                    </a:cubicBezTo>
                    <a:close/>
                    <a:moveTo>
                      <a:pt x="333351" y="278344"/>
                    </a:moveTo>
                    <a:cubicBezTo>
                      <a:pt x="332061" y="278344"/>
                      <a:pt x="331631" y="279204"/>
                      <a:pt x="332491" y="279634"/>
                    </a:cubicBezTo>
                    <a:cubicBezTo>
                      <a:pt x="333351" y="280494"/>
                      <a:pt x="333351" y="280924"/>
                      <a:pt x="333781" y="281354"/>
                    </a:cubicBezTo>
                    <a:cubicBezTo>
                      <a:pt x="334211" y="281354"/>
                      <a:pt x="336791" y="281354"/>
                      <a:pt x="335931" y="280064"/>
                    </a:cubicBezTo>
                    <a:cubicBezTo>
                      <a:pt x="335071" y="278774"/>
                      <a:pt x="333351" y="278344"/>
                      <a:pt x="333351" y="278344"/>
                    </a:cubicBezTo>
                    <a:close/>
                    <a:moveTo>
                      <a:pt x="327330" y="222441"/>
                    </a:moveTo>
                    <a:cubicBezTo>
                      <a:pt x="326040" y="222441"/>
                      <a:pt x="324750" y="222441"/>
                      <a:pt x="326040" y="223731"/>
                    </a:cubicBezTo>
                    <a:cubicBezTo>
                      <a:pt x="327330" y="225451"/>
                      <a:pt x="327330" y="226741"/>
                      <a:pt x="328620" y="226311"/>
                    </a:cubicBezTo>
                    <a:cubicBezTo>
                      <a:pt x="329911" y="225881"/>
                      <a:pt x="331631" y="224591"/>
                      <a:pt x="330341" y="223301"/>
                    </a:cubicBezTo>
                    <a:cubicBezTo>
                      <a:pt x="329481" y="222441"/>
                      <a:pt x="327330" y="222441"/>
                      <a:pt x="327330" y="222441"/>
                    </a:cubicBezTo>
                    <a:close/>
                    <a:moveTo>
                      <a:pt x="341521" y="243082"/>
                    </a:moveTo>
                    <a:cubicBezTo>
                      <a:pt x="339801" y="243512"/>
                      <a:pt x="339801" y="245662"/>
                      <a:pt x="340231" y="246092"/>
                    </a:cubicBezTo>
                    <a:cubicBezTo>
                      <a:pt x="341091" y="246522"/>
                      <a:pt x="339801" y="248242"/>
                      <a:pt x="341521" y="247812"/>
                    </a:cubicBezTo>
                    <a:cubicBezTo>
                      <a:pt x="342811" y="247382"/>
                      <a:pt x="345821" y="245662"/>
                      <a:pt x="344531" y="244372"/>
                    </a:cubicBezTo>
                    <a:cubicBezTo>
                      <a:pt x="343671" y="243082"/>
                      <a:pt x="341521" y="243082"/>
                      <a:pt x="341521" y="243082"/>
                    </a:cubicBezTo>
                    <a:close/>
                    <a:moveTo>
                      <a:pt x="360442" y="170409"/>
                    </a:moveTo>
                    <a:cubicBezTo>
                      <a:pt x="357002" y="170409"/>
                      <a:pt x="356572" y="173849"/>
                      <a:pt x="358722" y="174279"/>
                    </a:cubicBezTo>
                    <a:cubicBezTo>
                      <a:pt x="360872" y="174709"/>
                      <a:pt x="364312" y="177289"/>
                      <a:pt x="364742" y="175139"/>
                    </a:cubicBezTo>
                    <a:cubicBezTo>
                      <a:pt x="364312" y="172989"/>
                      <a:pt x="360442" y="170409"/>
                      <a:pt x="360442" y="170409"/>
                    </a:cubicBezTo>
                    <a:close/>
                    <a:moveTo>
                      <a:pt x="426235" y="187179"/>
                    </a:moveTo>
                    <a:cubicBezTo>
                      <a:pt x="424515" y="186319"/>
                      <a:pt x="422795" y="187179"/>
                      <a:pt x="423655" y="188469"/>
                    </a:cubicBezTo>
                    <a:cubicBezTo>
                      <a:pt x="424515" y="189759"/>
                      <a:pt x="425375" y="190190"/>
                      <a:pt x="425805" y="190620"/>
                    </a:cubicBezTo>
                    <a:cubicBezTo>
                      <a:pt x="426235" y="191050"/>
                      <a:pt x="428815" y="191480"/>
                      <a:pt x="428385" y="189759"/>
                    </a:cubicBezTo>
                    <a:cubicBezTo>
                      <a:pt x="427955" y="188469"/>
                      <a:pt x="426665" y="187609"/>
                      <a:pt x="426235" y="187179"/>
                    </a:cubicBezTo>
                    <a:close/>
                    <a:moveTo>
                      <a:pt x="368182" y="215131"/>
                    </a:moveTo>
                    <a:cubicBezTo>
                      <a:pt x="367322" y="217711"/>
                      <a:pt x="368612" y="219001"/>
                      <a:pt x="370332" y="219001"/>
                    </a:cubicBezTo>
                    <a:cubicBezTo>
                      <a:pt x="372053" y="218571"/>
                      <a:pt x="374203" y="215991"/>
                      <a:pt x="372483" y="214701"/>
                    </a:cubicBezTo>
                    <a:cubicBezTo>
                      <a:pt x="370332" y="213411"/>
                      <a:pt x="368182" y="215131"/>
                      <a:pt x="368182" y="215131"/>
                    </a:cubicBezTo>
                    <a:close/>
                    <a:moveTo>
                      <a:pt x="390973" y="219861"/>
                    </a:moveTo>
                    <a:cubicBezTo>
                      <a:pt x="388393" y="221151"/>
                      <a:pt x="386243" y="221581"/>
                      <a:pt x="388393" y="223301"/>
                    </a:cubicBezTo>
                    <a:cubicBezTo>
                      <a:pt x="390113" y="225021"/>
                      <a:pt x="394844" y="225021"/>
                      <a:pt x="393554" y="222441"/>
                    </a:cubicBezTo>
                    <a:cubicBezTo>
                      <a:pt x="392264" y="219431"/>
                      <a:pt x="390973" y="219861"/>
                      <a:pt x="390973" y="219861"/>
                    </a:cubicBezTo>
                    <a:close/>
                    <a:moveTo>
                      <a:pt x="434836" y="256413"/>
                    </a:moveTo>
                    <a:cubicBezTo>
                      <a:pt x="433546" y="257273"/>
                      <a:pt x="433976" y="260713"/>
                      <a:pt x="435266" y="260283"/>
                    </a:cubicBezTo>
                    <a:cubicBezTo>
                      <a:pt x="436556" y="259423"/>
                      <a:pt x="438706" y="257703"/>
                      <a:pt x="437416" y="256843"/>
                    </a:cubicBezTo>
                    <a:cubicBezTo>
                      <a:pt x="436556" y="255553"/>
                      <a:pt x="434836" y="256413"/>
                      <a:pt x="434836" y="256413"/>
                    </a:cubicBezTo>
                    <a:close/>
                    <a:moveTo>
                      <a:pt x="474397" y="283504"/>
                    </a:moveTo>
                    <a:cubicBezTo>
                      <a:pt x="470957" y="283504"/>
                      <a:pt x="469237" y="284794"/>
                      <a:pt x="470957" y="286084"/>
                    </a:cubicBezTo>
                    <a:cubicBezTo>
                      <a:pt x="473107" y="287804"/>
                      <a:pt x="476548" y="289094"/>
                      <a:pt x="476118" y="286514"/>
                    </a:cubicBezTo>
                    <a:cubicBezTo>
                      <a:pt x="476118" y="284364"/>
                      <a:pt x="474397" y="283504"/>
                      <a:pt x="474397" y="283504"/>
                    </a:cubicBezTo>
                    <a:close/>
                    <a:moveTo>
                      <a:pt x="489448" y="289094"/>
                    </a:moveTo>
                    <a:cubicBezTo>
                      <a:pt x="486438" y="289524"/>
                      <a:pt x="484718" y="291244"/>
                      <a:pt x="486868" y="291674"/>
                    </a:cubicBezTo>
                    <a:cubicBezTo>
                      <a:pt x="489018" y="292104"/>
                      <a:pt x="489448" y="293825"/>
                      <a:pt x="491168" y="294255"/>
                    </a:cubicBezTo>
                    <a:cubicBezTo>
                      <a:pt x="492888" y="294255"/>
                      <a:pt x="495468" y="292964"/>
                      <a:pt x="493748" y="291244"/>
                    </a:cubicBezTo>
                    <a:cubicBezTo>
                      <a:pt x="491598" y="289524"/>
                      <a:pt x="489448" y="289094"/>
                      <a:pt x="489448" y="289094"/>
                    </a:cubicBezTo>
                    <a:close/>
                    <a:moveTo>
                      <a:pt x="360012" y="308875"/>
                    </a:moveTo>
                    <a:cubicBezTo>
                      <a:pt x="358292" y="309735"/>
                      <a:pt x="357432" y="311885"/>
                      <a:pt x="359152" y="312315"/>
                    </a:cubicBezTo>
                    <a:cubicBezTo>
                      <a:pt x="360872" y="312745"/>
                      <a:pt x="364312" y="311455"/>
                      <a:pt x="363022" y="310165"/>
                    </a:cubicBezTo>
                    <a:cubicBezTo>
                      <a:pt x="361302" y="308875"/>
                      <a:pt x="360012" y="308875"/>
                      <a:pt x="360012" y="308875"/>
                    </a:cubicBezTo>
                    <a:close/>
                    <a:moveTo>
                      <a:pt x="374203" y="307155"/>
                    </a:moveTo>
                    <a:cubicBezTo>
                      <a:pt x="372483" y="308445"/>
                      <a:pt x="372913" y="308875"/>
                      <a:pt x="373773" y="310165"/>
                    </a:cubicBezTo>
                    <a:cubicBezTo>
                      <a:pt x="374633" y="311455"/>
                      <a:pt x="380653" y="312315"/>
                      <a:pt x="378073" y="309305"/>
                    </a:cubicBezTo>
                    <a:cubicBezTo>
                      <a:pt x="375493" y="306295"/>
                      <a:pt x="374203" y="307155"/>
                      <a:pt x="374203" y="307155"/>
                    </a:cubicBezTo>
                    <a:close/>
                    <a:moveTo>
                      <a:pt x="381513" y="320056"/>
                    </a:moveTo>
                    <a:cubicBezTo>
                      <a:pt x="379793" y="322206"/>
                      <a:pt x="379793" y="322636"/>
                      <a:pt x="381083" y="323926"/>
                    </a:cubicBezTo>
                    <a:cubicBezTo>
                      <a:pt x="382803" y="325216"/>
                      <a:pt x="382373" y="327796"/>
                      <a:pt x="384093" y="326506"/>
                    </a:cubicBezTo>
                    <a:cubicBezTo>
                      <a:pt x="385813" y="325216"/>
                      <a:pt x="385813" y="321346"/>
                      <a:pt x="383663" y="320486"/>
                    </a:cubicBezTo>
                    <a:cubicBezTo>
                      <a:pt x="381943" y="319196"/>
                      <a:pt x="381513" y="320056"/>
                      <a:pt x="381513" y="320056"/>
                    </a:cubicBezTo>
                    <a:close/>
                    <a:moveTo>
                      <a:pt x="371623" y="283504"/>
                    </a:moveTo>
                    <a:cubicBezTo>
                      <a:pt x="373343" y="283074"/>
                      <a:pt x="373773" y="281784"/>
                      <a:pt x="372053" y="280494"/>
                    </a:cubicBezTo>
                    <a:cubicBezTo>
                      <a:pt x="370332" y="279204"/>
                      <a:pt x="367322" y="274904"/>
                      <a:pt x="366462" y="277054"/>
                    </a:cubicBezTo>
                    <a:cubicBezTo>
                      <a:pt x="366032" y="279204"/>
                      <a:pt x="365602" y="279204"/>
                      <a:pt x="367322" y="280494"/>
                    </a:cubicBezTo>
                    <a:cubicBezTo>
                      <a:pt x="369472" y="281784"/>
                      <a:pt x="371623" y="283074"/>
                      <a:pt x="371623" y="283504"/>
                    </a:cubicBezTo>
                    <a:close/>
                    <a:moveTo>
                      <a:pt x="375063" y="286514"/>
                    </a:moveTo>
                    <a:cubicBezTo>
                      <a:pt x="372483" y="286514"/>
                      <a:pt x="371193" y="286944"/>
                      <a:pt x="372483" y="288234"/>
                    </a:cubicBezTo>
                    <a:cubicBezTo>
                      <a:pt x="374203" y="289524"/>
                      <a:pt x="374203" y="290384"/>
                      <a:pt x="375063" y="290384"/>
                    </a:cubicBezTo>
                    <a:cubicBezTo>
                      <a:pt x="375923" y="290384"/>
                      <a:pt x="378073" y="290384"/>
                      <a:pt x="377213" y="288664"/>
                    </a:cubicBezTo>
                    <a:cubicBezTo>
                      <a:pt x="375923" y="286514"/>
                      <a:pt x="375063" y="286514"/>
                      <a:pt x="375063" y="286514"/>
                    </a:cubicBezTo>
                    <a:close/>
                    <a:moveTo>
                      <a:pt x="375923" y="267163"/>
                    </a:moveTo>
                    <a:cubicBezTo>
                      <a:pt x="374633" y="269313"/>
                      <a:pt x="377643" y="270603"/>
                      <a:pt x="375063" y="271033"/>
                    </a:cubicBezTo>
                    <a:cubicBezTo>
                      <a:pt x="372483" y="271463"/>
                      <a:pt x="370762" y="271033"/>
                      <a:pt x="370762" y="271893"/>
                    </a:cubicBezTo>
                    <a:cubicBezTo>
                      <a:pt x="370762" y="273184"/>
                      <a:pt x="370762" y="275334"/>
                      <a:pt x="372053" y="274474"/>
                    </a:cubicBezTo>
                    <a:cubicBezTo>
                      <a:pt x="373773" y="273614"/>
                      <a:pt x="375923" y="273614"/>
                      <a:pt x="376783" y="272323"/>
                    </a:cubicBezTo>
                    <a:cubicBezTo>
                      <a:pt x="378073" y="271033"/>
                      <a:pt x="377643" y="266303"/>
                      <a:pt x="376783" y="265873"/>
                    </a:cubicBezTo>
                    <a:cubicBezTo>
                      <a:pt x="375923" y="265443"/>
                      <a:pt x="375493" y="266733"/>
                      <a:pt x="375923" y="267163"/>
                    </a:cubicBezTo>
                    <a:close/>
                    <a:moveTo>
                      <a:pt x="424515" y="295975"/>
                    </a:moveTo>
                    <a:cubicBezTo>
                      <a:pt x="422795" y="296405"/>
                      <a:pt x="422365" y="299415"/>
                      <a:pt x="423655" y="299845"/>
                    </a:cubicBezTo>
                    <a:cubicBezTo>
                      <a:pt x="424945" y="300275"/>
                      <a:pt x="429675" y="300705"/>
                      <a:pt x="427955" y="298125"/>
                    </a:cubicBezTo>
                    <a:cubicBezTo>
                      <a:pt x="426235" y="296405"/>
                      <a:pt x="424515" y="295975"/>
                      <a:pt x="424515" y="295975"/>
                    </a:cubicBezTo>
                    <a:close/>
                    <a:moveTo>
                      <a:pt x="423225" y="310165"/>
                    </a:moveTo>
                    <a:cubicBezTo>
                      <a:pt x="421935" y="312315"/>
                      <a:pt x="421075" y="313175"/>
                      <a:pt x="423655" y="314035"/>
                    </a:cubicBezTo>
                    <a:cubicBezTo>
                      <a:pt x="426235" y="314895"/>
                      <a:pt x="425375" y="317476"/>
                      <a:pt x="427095" y="316186"/>
                    </a:cubicBezTo>
                    <a:cubicBezTo>
                      <a:pt x="429245" y="314895"/>
                      <a:pt x="430105" y="312315"/>
                      <a:pt x="427955" y="311455"/>
                    </a:cubicBezTo>
                    <a:cubicBezTo>
                      <a:pt x="425375" y="310165"/>
                      <a:pt x="423225" y="310165"/>
                      <a:pt x="423225" y="310165"/>
                    </a:cubicBezTo>
                    <a:close/>
                    <a:moveTo>
                      <a:pt x="413335" y="313175"/>
                    </a:moveTo>
                    <a:cubicBezTo>
                      <a:pt x="413335" y="314895"/>
                      <a:pt x="413765" y="315326"/>
                      <a:pt x="414195" y="316616"/>
                    </a:cubicBezTo>
                    <a:cubicBezTo>
                      <a:pt x="414195" y="317906"/>
                      <a:pt x="415915" y="319196"/>
                      <a:pt x="416775" y="316616"/>
                    </a:cubicBezTo>
                    <a:cubicBezTo>
                      <a:pt x="417635" y="314465"/>
                      <a:pt x="415055" y="308875"/>
                      <a:pt x="413765" y="309735"/>
                    </a:cubicBezTo>
                    <a:cubicBezTo>
                      <a:pt x="412474" y="311025"/>
                      <a:pt x="413335" y="313175"/>
                      <a:pt x="413335" y="313175"/>
                    </a:cubicBezTo>
                    <a:close/>
                    <a:moveTo>
                      <a:pt x="415485" y="353597"/>
                    </a:moveTo>
                    <a:cubicBezTo>
                      <a:pt x="412905" y="355317"/>
                      <a:pt x="413335" y="356178"/>
                      <a:pt x="415055" y="356608"/>
                    </a:cubicBezTo>
                    <a:cubicBezTo>
                      <a:pt x="416775" y="357038"/>
                      <a:pt x="418065" y="359188"/>
                      <a:pt x="419355" y="357468"/>
                    </a:cubicBezTo>
                    <a:cubicBezTo>
                      <a:pt x="420645" y="355747"/>
                      <a:pt x="421075" y="354027"/>
                      <a:pt x="419355" y="353597"/>
                    </a:cubicBezTo>
                    <a:cubicBezTo>
                      <a:pt x="417635" y="353167"/>
                      <a:pt x="415485" y="353597"/>
                      <a:pt x="415485" y="353597"/>
                    </a:cubicBezTo>
                    <a:close/>
                    <a:moveTo>
                      <a:pt x="431395" y="354027"/>
                    </a:moveTo>
                    <a:cubicBezTo>
                      <a:pt x="429675" y="357038"/>
                      <a:pt x="431825" y="355747"/>
                      <a:pt x="432685" y="357468"/>
                    </a:cubicBezTo>
                    <a:cubicBezTo>
                      <a:pt x="433546" y="359188"/>
                      <a:pt x="434406" y="361768"/>
                      <a:pt x="435266" y="359618"/>
                    </a:cubicBezTo>
                    <a:cubicBezTo>
                      <a:pt x="436126" y="357468"/>
                      <a:pt x="434406" y="352307"/>
                      <a:pt x="433115" y="351877"/>
                    </a:cubicBezTo>
                    <a:cubicBezTo>
                      <a:pt x="431825" y="351447"/>
                      <a:pt x="431395" y="354027"/>
                      <a:pt x="431395" y="354027"/>
                    </a:cubicBezTo>
                    <a:close/>
                    <a:moveTo>
                      <a:pt x="260677" y="327366"/>
                    </a:moveTo>
                    <a:cubicBezTo>
                      <a:pt x="258527" y="329946"/>
                      <a:pt x="258957" y="331666"/>
                      <a:pt x="261107" y="332096"/>
                    </a:cubicBezTo>
                    <a:cubicBezTo>
                      <a:pt x="263257" y="332526"/>
                      <a:pt x="267988" y="329946"/>
                      <a:pt x="265837" y="328656"/>
                    </a:cubicBezTo>
                    <a:cubicBezTo>
                      <a:pt x="263257" y="326936"/>
                      <a:pt x="260677" y="327366"/>
                      <a:pt x="260677" y="327366"/>
                    </a:cubicBezTo>
                    <a:close/>
                    <a:moveTo>
                      <a:pt x="298519" y="347577"/>
                    </a:moveTo>
                    <a:cubicBezTo>
                      <a:pt x="301099" y="347577"/>
                      <a:pt x="302819" y="348007"/>
                      <a:pt x="301529" y="346287"/>
                    </a:cubicBezTo>
                    <a:cubicBezTo>
                      <a:pt x="300669" y="344567"/>
                      <a:pt x="298519" y="343277"/>
                      <a:pt x="297659" y="343707"/>
                    </a:cubicBezTo>
                    <a:cubicBezTo>
                      <a:pt x="296799" y="344137"/>
                      <a:pt x="295079" y="347147"/>
                      <a:pt x="295939" y="347147"/>
                    </a:cubicBezTo>
                    <a:cubicBezTo>
                      <a:pt x="297229" y="347147"/>
                      <a:pt x="298519" y="347577"/>
                      <a:pt x="298519" y="347577"/>
                    </a:cubicBezTo>
                    <a:close/>
                    <a:moveTo>
                      <a:pt x="311420" y="351447"/>
                    </a:moveTo>
                    <a:cubicBezTo>
                      <a:pt x="309270" y="351877"/>
                      <a:pt x="309700" y="352737"/>
                      <a:pt x="310560" y="354457"/>
                    </a:cubicBezTo>
                    <a:cubicBezTo>
                      <a:pt x="311420" y="356178"/>
                      <a:pt x="315290" y="356178"/>
                      <a:pt x="314860" y="354027"/>
                    </a:cubicBezTo>
                    <a:cubicBezTo>
                      <a:pt x="314000" y="352307"/>
                      <a:pt x="311420" y="351877"/>
                      <a:pt x="311420" y="351447"/>
                    </a:cubicBezTo>
                    <a:close/>
                    <a:moveTo>
                      <a:pt x="427095" y="395309"/>
                    </a:moveTo>
                    <a:cubicBezTo>
                      <a:pt x="424945" y="396169"/>
                      <a:pt x="424085" y="397889"/>
                      <a:pt x="426235" y="398750"/>
                    </a:cubicBezTo>
                    <a:cubicBezTo>
                      <a:pt x="428385" y="399180"/>
                      <a:pt x="431395" y="397889"/>
                      <a:pt x="430105" y="396599"/>
                    </a:cubicBezTo>
                    <a:cubicBezTo>
                      <a:pt x="428385" y="395739"/>
                      <a:pt x="427095" y="395739"/>
                      <a:pt x="427095" y="395309"/>
                    </a:cubicBezTo>
                    <a:close/>
                    <a:moveTo>
                      <a:pt x="425375" y="384989"/>
                    </a:moveTo>
                    <a:cubicBezTo>
                      <a:pt x="423655" y="387139"/>
                      <a:pt x="423225" y="388429"/>
                      <a:pt x="425375" y="388429"/>
                    </a:cubicBezTo>
                    <a:cubicBezTo>
                      <a:pt x="427525" y="388429"/>
                      <a:pt x="430535" y="387569"/>
                      <a:pt x="428815" y="385849"/>
                    </a:cubicBezTo>
                    <a:cubicBezTo>
                      <a:pt x="427095" y="384129"/>
                      <a:pt x="424945" y="384989"/>
                      <a:pt x="425375" y="384989"/>
                    </a:cubicBezTo>
                    <a:close/>
                    <a:moveTo>
                      <a:pt x="375493" y="380259"/>
                    </a:moveTo>
                    <a:cubicBezTo>
                      <a:pt x="373773" y="380689"/>
                      <a:pt x="372053" y="381549"/>
                      <a:pt x="373773" y="381979"/>
                    </a:cubicBezTo>
                    <a:cubicBezTo>
                      <a:pt x="375493" y="382409"/>
                      <a:pt x="376783" y="381979"/>
                      <a:pt x="379363" y="381979"/>
                    </a:cubicBezTo>
                    <a:cubicBezTo>
                      <a:pt x="380223" y="381979"/>
                      <a:pt x="381083" y="378969"/>
                      <a:pt x="379363" y="378969"/>
                    </a:cubicBezTo>
                    <a:cubicBezTo>
                      <a:pt x="378073" y="378969"/>
                      <a:pt x="375923" y="380259"/>
                      <a:pt x="375493" y="380259"/>
                    </a:cubicBezTo>
                    <a:close/>
                    <a:moveTo>
                      <a:pt x="479558" y="368218"/>
                    </a:moveTo>
                    <a:cubicBezTo>
                      <a:pt x="477838" y="368648"/>
                      <a:pt x="477838" y="370368"/>
                      <a:pt x="479558" y="370798"/>
                    </a:cubicBezTo>
                    <a:cubicBezTo>
                      <a:pt x="481278" y="371228"/>
                      <a:pt x="482998" y="368648"/>
                      <a:pt x="481708" y="368218"/>
                    </a:cubicBezTo>
                    <a:cubicBezTo>
                      <a:pt x="480418" y="367788"/>
                      <a:pt x="479988" y="368218"/>
                      <a:pt x="479558" y="368218"/>
                    </a:cubicBezTo>
                    <a:close/>
                    <a:moveTo>
                      <a:pt x="484718" y="370368"/>
                    </a:moveTo>
                    <a:cubicBezTo>
                      <a:pt x="483858" y="371658"/>
                      <a:pt x="484288" y="373378"/>
                      <a:pt x="485578" y="372948"/>
                    </a:cubicBezTo>
                    <a:cubicBezTo>
                      <a:pt x="486868" y="372518"/>
                      <a:pt x="488588" y="370798"/>
                      <a:pt x="487298" y="369938"/>
                    </a:cubicBezTo>
                    <a:cubicBezTo>
                      <a:pt x="485578" y="369508"/>
                      <a:pt x="484718" y="370368"/>
                      <a:pt x="484718" y="370368"/>
                    </a:cubicBezTo>
                    <a:close/>
                    <a:moveTo>
                      <a:pt x="489018" y="373808"/>
                    </a:moveTo>
                    <a:cubicBezTo>
                      <a:pt x="488588" y="374668"/>
                      <a:pt x="488588" y="375098"/>
                      <a:pt x="489448" y="375528"/>
                    </a:cubicBezTo>
                    <a:cubicBezTo>
                      <a:pt x="490308" y="375958"/>
                      <a:pt x="492458" y="375958"/>
                      <a:pt x="491598" y="375098"/>
                    </a:cubicBezTo>
                    <a:cubicBezTo>
                      <a:pt x="490738" y="373808"/>
                      <a:pt x="489018" y="373808"/>
                      <a:pt x="489018" y="373808"/>
                    </a:cubicBezTo>
                    <a:close/>
                    <a:moveTo>
                      <a:pt x="513099" y="374668"/>
                    </a:moveTo>
                    <a:cubicBezTo>
                      <a:pt x="511379" y="374668"/>
                      <a:pt x="510519" y="375528"/>
                      <a:pt x="511809" y="376388"/>
                    </a:cubicBezTo>
                    <a:cubicBezTo>
                      <a:pt x="513099" y="377248"/>
                      <a:pt x="513529" y="378969"/>
                      <a:pt x="514389" y="378969"/>
                    </a:cubicBezTo>
                    <a:cubicBezTo>
                      <a:pt x="515249" y="378969"/>
                      <a:pt x="516109" y="376818"/>
                      <a:pt x="515249" y="375958"/>
                    </a:cubicBezTo>
                    <a:cubicBezTo>
                      <a:pt x="514819" y="374668"/>
                      <a:pt x="513099" y="374668"/>
                      <a:pt x="513099" y="374668"/>
                    </a:cubicBezTo>
                    <a:close/>
                    <a:moveTo>
                      <a:pt x="469667" y="421971"/>
                    </a:moveTo>
                    <a:cubicBezTo>
                      <a:pt x="467947" y="423261"/>
                      <a:pt x="467947" y="424981"/>
                      <a:pt x="469667" y="424551"/>
                    </a:cubicBezTo>
                    <a:cubicBezTo>
                      <a:pt x="471387" y="424551"/>
                      <a:pt x="474397" y="422831"/>
                      <a:pt x="473107" y="421971"/>
                    </a:cubicBezTo>
                    <a:cubicBezTo>
                      <a:pt x="471387" y="421111"/>
                      <a:pt x="469667" y="421971"/>
                      <a:pt x="469667" y="421971"/>
                    </a:cubicBezTo>
                    <a:close/>
                    <a:moveTo>
                      <a:pt x="528150" y="420251"/>
                    </a:moveTo>
                    <a:cubicBezTo>
                      <a:pt x="525570" y="421111"/>
                      <a:pt x="524710" y="422401"/>
                      <a:pt x="526000" y="422831"/>
                    </a:cubicBezTo>
                    <a:cubicBezTo>
                      <a:pt x="527290" y="423261"/>
                      <a:pt x="527720" y="422831"/>
                      <a:pt x="528580" y="422831"/>
                    </a:cubicBezTo>
                    <a:cubicBezTo>
                      <a:pt x="529440" y="422831"/>
                      <a:pt x="531590" y="421541"/>
                      <a:pt x="530730" y="420681"/>
                    </a:cubicBezTo>
                    <a:cubicBezTo>
                      <a:pt x="529870" y="419821"/>
                      <a:pt x="528150" y="420251"/>
                      <a:pt x="528150" y="420251"/>
                    </a:cubicBezTo>
                    <a:close/>
                    <a:moveTo>
                      <a:pt x="540191" y="427131"/>
                    </a:moveTo>
                    <a:cubicBezTo>
                      <a:pt x="538041" y="427561"/>
                      <a:pt x="537180" y="430141"/>
                      <a:pt x="539331" y="429711"/>
                    </a:cubicBezTo>
                    <a:cubicBezTo>
                      <a:pt x="541481" y="429281"/>
                      <a:pt x="541911" y="431001"/>
                      <a:pt x="542771" y="430141"/>
                    </a:cubicBezTo>
                    <a:cubicBezTo>
                      <a:pt x="543631" y="429711"/>
                      <a:pt x="544491" y="427561"/>
                      <a:pt x="543201" y="427131"/>
                    </a:cubicBezTo>
                    <a:cubicBezTo>
                      <a:pt x="542341" y="426701"/>
                      <a:pt x="540191" y="427131"/>
                      <a:pt x="540191" y="427131"/>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622" name="French Guiana">
                <a:extLst>
                  <a:ext uri="{FF2B5EF4-FFF2-40B4-BE49-F238E27FC236}">
                    <a16:creationId xmlns:a16="http://schemas.microsoft.com/office/drawing/2014/main" id="{D8BE92AB-F357-9E4B-D713-3A742EEFFD73}"/>
                  </a:ext>
                </a:extLst>
              </p:cNvPr>
              <p:cNvSpPr>
                <a:spLocks/>
              </p:cNvSpPr>
              <p:nvPr/>
            </p:nvSpPr>
            <p:spPr bwMode="auto">
              <a:xfrm>
                <a:off x="3820650" y="3820873"/>
                <a:ext cx="102918" cy="142124"/>
              </a:xfrm>
              <a:custGeom>
                <a:avLst/>
                <a:gdLst/>
                <a:ahLst/>
                <a:cxnLst>
                  <a:cxn ang="0">
                    <a:pos x="28" y="15"/>
                  </a:cxn>
                  <a:cxn ang="0">
                    <a:pos x="26" y="12"/>
                  </a:cxn>
                  <a:cxn ang="0">
                    <a:pos x="26" y="13"/>
                  </a:cxn>
                  <a:cxn ang="0">
                    <a:pos x="23" y="10"/>
                  </a:cxn>
                  <a:cxn ang="0">
                    <a:pos x="23" y="10"/>
                  </a:cxn>
                  <a:cxn ang="0">
                    <a:pos x="21" y="8"/>
                  </a:cxn>
                  <a:cxn ang="0">
                    <a:pos x="18" y="5"/>
                  </a:cxn>
                  <a:cxn ang="0">
                    <a:pos x="14" y="3"/>
                  </a:cxn>
                  <a:cxn ang="0">
                    <a:pos x="9" y="1"/>
                  </a:cxn>
                  <a:cxn ang="0">
                    <a:pos x="5" y="4"/>
                  </a:cxn>
                  <a:cxn ang="0">
                    <a:pos x="2" y="7"/>
                  </a:cxn>
                  <a:cxn ang="0">
                    <a:pos x="1" y="11"/>
                  </a:cxn>
                  <a:cxn ang="0">
                    <a:pos x="2" y="14"/>
                  </a:cxn>
                  <a:cxn ang="0">
                    <a:pos x="2" y="17"/>
                  </a:cxn>
                  <a:cxn ang="0">
                    <a:pos x="3" y="19"/>
                  </a:cxn>
                  <a:cxn ang="0">
                    <a:pos x="5" y="22"/>
                  </a:cxn>
                  <a:cxn ang="0">
                    <a:pos x="6" y="25"/>
                  </a:cxn>
                  <a:cxn ang="0">
                    <a:pos x="4" y="29"/>
                  </a:cxn>
                  <a:cxn ang="0">
                    <a:pos x="2" y="34"/>
                  </a:cxn>
                  <a:cxn ang="0">
                    <a:pos x="0" y="37"/>
                  </a:cxn>
                  <a:cxn ang="0">
                    <a:pos x="1" y="39"/>
                  </a:cxn>
                  <a:cxn ang="0">
                    <a:pos x="4" y="40"/>
                  </a:cxn>
                  <a:cxn ang="0">
                    <a:pos x="6" y="39"/>
                  </a:cxn>
                  <a:cxn ang="0">
                    <a:pos x="8" y="37"/>
                  </a:cxn>
                  <a:cxn ang="0">
                    <a:pos x="11" y="38"/>
                  </a:cxn>
                  <a:cxn ang="0">
                    <a:pos x="13" y="39"/>
                  </a:cxn>
                  <a:cxn ang="0">
                    <a:pos x="15" y="39"/>
                  </a:cxn>
                  <a:cxn ang="0">
                    <a:pos x="17" y="38"/>
                  </a:cxn>
                  <a:cxn ang="0">
                    <a:pos x="19" y="35"/>
                  </a:cxn>
                  <a:cxn ang="0">
                    <a:pos x="20" y="33"/>
                  </a:cxn>
                  <a:cxn ang="0">
                    <a:pos x="21" y="31"/>
                  </a:cxn>
                  <a:cxn ang="0">
                    <a:pos x="22" y="28"/>
                  </a:cxn>
                  <a:cxn ang="0">
                    <a:pos x="26" y="22"/>
                  </a:cxn>
                  <a:cxn ang="0">
                    <a:pos x="28" y="19"/>
                  </a:cxn>
                  <a:cxn ang="0">
                    <a:pos x="28" y="16"/>
                  </a:cxn>
                </a:cxnLst>
                <a:rect l="0" t="0" r="r" b="b"/>
                <a:pathLst>
                  <a:path w="29" h="40">
                    <a:moveTo>
                      <a:pt x="28" y="16"/>
                    </a:moveTo>
                    <a:cubicBezTo>
                      <a:pt x="28" y="16"/>
                      <a:pt x="28" y="15"/>
                      <a:pt x="28" y="15"/>
                    </a:cubicBezTo>
                    <a:cubicBezTo>
                      <a:pt x="28" y="15"/>
                      <a:pt x="28" y="14"/>
                      <a:pt x="28" y="14"/>
                    </a:cubicBezTo>
                    <a:cubicBezTo>
                      <a:pt x="28" y="14"/>
                      <a:pt x="27" y="11"/>
                      <a:pt x="26" y="12"/>
                    </a:cubicBezTo>
                    <a:cubicBezTo>
                      <a:pt x="26" y="13"/>
                      <a:pt x="27" y="16"/>
                      <a:pt x="25" y="15"/>
                    </a:cubicBezTo>
                    <a:cubicBezTo>
                      <a:pt x="26" y="15"/>
                      <a:pt x="26" y="14"/>
                      <a:pt x="26" y="13"/>
                    </a:cubicBezTo>
                    <a:cubicBezTo>
                      <a:pt x="25" y="12"/>
                      <a:pt x="25" y="12"/>
                      <a:pt x="25" y="11"/>
                    </a:cubicBezTo>
                    <a:cubicBezTo>
                      <a:pt x="24" y="11"/>
                      <a:pt x="24" y="10"/>
                      <a:pt x="23" y="10"/>
                    </a:cubicBezTo>
                    <a:cubicBezTo>
                      <a:pt x="23" y="9"/>
                      <a:pt x="22" y="11"/>
                      <a:pt x="22" y="11"/>
                    </a:cubicBezTo>
                    <a:cubicBezTo>
                      <a:pt x="22" y="11"/>
                      <a:pt x="23" y="10"/>
                      <a:pt x="23" y="10"/>
                    </a:cubicBezTo>
                    <a:cubicBezTo>
                      <a:pt x="23" y="8"/>
                      <a:pt x="22" y="9"/>
                      <a:pt x="22" y="9"/>
                    </a:cubicBezTo>
                    <a:cubicBezTo>
                      <a:pt x="22" y="9"/>
                      <a:pt x="21" y="8"/>
                      <a:pt x="21" y="8"/>
                    </a:cubicBezTo>
                    <a:cubicBezTo>
                      <a:pt x="20" y="7"/>
                      <a:pt x="20" y="7"/>
                      <a:pt x="19" y="6"/>
                    </a:cubicBezTo>
                    <a:cubicBezTo>
                      <a:pt x="19" y="6"/>
                      <a:pt x="18" y="5"/>
                      <a:pt x="18" y="5"/>
                    </a:cubicBezTo>
                    <a:cubicBezTo>
                      <a:pt x="17" y="4"/>
                      <a:pt x="17" y="4"/>
                      <a:pt x="17" y="3"/>
                    </a:cubicBezTo>
                    <a:cubicBezTo>
                      <a:pt x="16" y="3"/>
                      <a:pt x="15" y="3"/>
                      <a:pt x="14" y="3"/>
                    </a:cubicBezTo>
                    <a:cubicBezTo>
                      <a:pt x="13" y="3"/>
                      <a:pt x="12" y="2"/>
                      <a:pt x="11" y="2"/>
                    </a:cubicBezTo>
                    <a:cubicBezTo>
                      <a:pt x="11" y="1"/>
                      <a:pt x="10" y="1"/>
                      <a:pt x="9" y="1"/>
                    </a:cubicBezTo>
                    <a:cubicBezTo>
                      <a:pt x="8" y="0"/>
                      <a:pt x="6" y="0"/>
                      <a:pt x="6" y="2"/>
                    </a:cubicBezTo>
                    <a:cubicBezTo>
                      <a:pt x="6" y="3"/>
                      <a:pt x="6" y="3"/>
                      <a:pt x="5" y="4"/>
                    </a:cubicBezTo>
                    <a:cubicBezTo>
                      <a:pt x="5" y="4"/>
                      <a:pt x="4" y="5"/>
                      <a:pt x="4" y="5"/>
                    </a:cubicBezTo>
                    <a:cubicBezTo>
                      <a:pt x="3" y="6"/>
                      <a:pt x="3" y="7"/>
                      <a:pt x="2" y="7"/>
                    </a:cubicBezTo>
                    <a:cubicBezTo>
                      <a:pt x="2" y="8"/>
                      <a:pt x="2" y="8"/>
                      <a:pt x="2" y="9"/>
                    </a:cubicBezTo>
                    <a:cubicBezTo>
                      <a:pt x="1" y="10"/>
                      <a:pt x="1" y="10"/>
                      <a:pt x="1" y="11"/>
                    </a:cubicBezTo>
                    <a:cubicBezTo>
                      <a:pt x="1" y="11"/>
                      <a:pt x="2" y="12"/>
                      <a:pt x="2" y="12"/>
                    </a:cubicBezTo>
                    <a:cubicBezTo>
                      <a:pt x="2" y="13"/>
                      <a:pt x="2" y="14"/>
                      <a:pt x="2" y="14"/>
                    </a:cubicBezTo>
                    <a:cubicBezTo>
                      <a:pt x="2" y="15"/>
                      <a:pt x="2" y="16"/>
                      <a:pt x="2" y="17"/>
                    </a:cubicBezTo>
                    <a:cubicBezTo>
                      <a:pt x="2" y="17"/>
                      <a:pt x="2" y="17"/>
                      <a:pt x="2" y="17"/>
                    </a:cubicBezTo>
                    <a:cubicBezTo>
                      <a:pt x="2" y="18"/>
                      <a:pt x="2" y="17"/>
                      <a:pt x="3" y="18"/>
                    </a:cubicBezTo>
                    <a:cubicBezTo>
                      <a:pt x="3" y="18"/>
                      <a:pt x="2" y="19"/>
                      <a:pt x="3" y="19"/>
                    </a:cubicBezTo>
                    <a:cubicBezTo>
                      <a:pt x="3" y="20"/>
                      <a:pt x="3" y="20"/>
                      <a:pt x="4" y="21"/>
                    </a:cubicBezTo>
                    <a:cubicBezTo>
                      <a:pt x="4" y="21"/>
                      <a:pt x="4" y="22"/>
                      <a:pt x="5" y="22"/>
                    </a:cubicBezTo>
                    <a:cubicBezTo>
                      <a:pt x="5" y="23"/>
                      <a:pt x="5" y="23"/>
                      <a:pt x="5" y="23"/>
                    </a:cubicBezTo>
                    <a:cubicBezTo>
                      <a:pt x="6" y="23"/>
                      <a:pt x="6" y="25"/>
                      <a:pt x="6" y="25"/>
                    </a:cubicBezTo>
                    <a:cubicBezTo>
                      <a:pt x="5" y="26"/>
                      <a:pt x="5" y="26"/>
                      <a:pt x="5" y="27"/>
                    </a:cubicBezTo>
                    <a:cubicBezTo>
                      <a:pt x="4" y="28"/>
                      <a:pt x="4" y="28"/>
                      <a:pt x="4" y="29"/>
                    </a:cubicBezTo>
                    <a:cubicBezTo>
                      <a:pt x="4" y="29"/>
                      <a:pt x="4" y="31"/>
                      <a:pt x="4" y="31"/>
                    </a:cubicBezTo>
                    <a:cubicBezTo>
                      <a:pt x="4" y="33"/>
                      <a:pt x="3" y="33"/>
                      <a:pt x="2" y="34"/>
                    </a:cubicBezTo>
                    <a:cubicBezTo>
                      <a:pt x="2" y="35"/>
                      <a:pt x="2" y="36"/>
                      <a:pt x="1" y="36"/>
                    </a:cubicBezTo>
                    <a:cubicBezTo>
                      <a:pt x="1" y="37"/>
                      <a:pt x="1" y="37"/>
                      <a:pt x="0" y="37"/>
                    </a:cubicBezTo>
                    <a:cubicBezTo>
                      <a:pt x="0" y="38"/>
                      <a:pt x="0" y="37"/>
                      <a:pt x="0" y="38"/>
                    </a:cubicBezTo>
                    <a:cubicBezTo>
                      <a:pt x="0" y="38"/>
                      <a:pt x="0" y="39"/>
                      <a:pt x="1" y="39"/>
                    </a:cubicBezTo>
                    <a:cubicBezTo>
                      <a:pt x="2" y="39"/>
                      <a:pt x="2" y="40"/>
                      <a:pt x="3" y="40"/>
                    </a:cubicBezTo>
                    <a:cubicBezTo>
                      <a:pt x="4" y="39"/>
                      <a:pt x="4" y="39"/>
                      <a:pt x="4" y="40"/>
                    </a:cubicBezTo>
                    <a:cubicBezTo>
                      <a:pt x="4" y="40"/>
                      <a:pt x="5" y="40"/>
                      <a:pt x="5" y="40"/>
                    </a:cubicBezTo>
                    <a:cubicBezTo>
                      <a:pt x="5" y="39"/>
                      <a:pt x="6" y="39"/>
                      <a:pt x="6" y="39"/>
                    </a:cubicBezTo>
                    <a:cubicBezTo>
                      <a:pt x="6" y="38"/>
                      <a:pt x="7" y="38"/>
                      <a:pt x="7" y="38"/>
                    </a:cubicBezTo>
                    <a:cubicBezTo>
                      <a:pt x="7" y="37"/>
                      <a:pt x="7" y="37"/>
                      <a:pt x="8" y="37"/>
                    </a:cubicBezTo>
                    <a:cubicBezTo>
                      <a:pt x="8" y="37"/>
                      <a:pt x="8" y="37"/>
                      <a:pt x="8" y="38"/>
                    </a:cubicBezTo>
                    <a:cubicBezTo>
                      <a:pt x="9" y="38"/>
                      <a:pt x="10" y="39"/>
                      <a:pt x="11" y="38"/>
                    </a:cubicBezTo>
                    <a:cubicBezTo>
                      <a:pt x="11" y="38"/>
                      <a:pt x="12" y="37"/>
                      <a:pt x="12" y="37"/>
                    </a:cubicBezTo>
                    <a:cubicBezTo>
                      <a:pt x="12" y="37"/>
                      <a:pt x="13" y="38"/>
                      <a:pt x="13" y="39"/>
                    </a:cubicBezTo>
                    <a:cubicBezTo>
                      <a:pt x="13" y="39"/>
                      <a:pt x="12" y="39"/>
                      <a:pt x="12" y="39"/>
                    </a:cubicBezTo>
                    <a:cubicBezTo>
                      <a:pt x="13" y="39"/>
                      <a:pt x="14" y="39"/>
                      <a:pt x="15" y="39"/>
                    </a:cubicBezTo>
                    <a:cubicBezTo>
                      <a:pt x="16" y="39"/>
                      <a:pt x="16" y="39"/>
                      <a:pt x="16" y="39"/>
                    </a:cubicBezTo>
                    <a:cubicBezTo>
                      <a:pt x="16" y="38"/>
                      <a:pt x="17" y="38"/>
                      <a:pt x="17" y="38"/>
                    </a:cubicBezTo>
                    <a:cubicBezTo>
                      <a:pt x="18" y="37"/>
                      <a:pt x="18" y="37"/>
                      <a:pt x="19" y="36"/>
                    </a:cubicBezTo>
                    <a:cubicBezTo>
                      <a:pt x="19" y="36"/>
                      <a:pt x="19" y="36"/>
                      <a:pt x="19" y="35"/>
                    </a:cubicBezTo>
                    <a:cubicBezTo>
                      <a:pt x="20" y="35"/>
                      <a:pt x="19" y="34"/>
                      <a:pt x="20" y="34"/>
                    </a:cubicBezTo>
                    <a:cubicBezTo>
                      <a:pt x="20" y="33"/>
                      <a:pt x="20" y="33"/>
                      <a:pt x="20" y="33"/>
                    </a:cubicBezTo>
                    <a:cubicBezTo>
                      <a:pt x="21" y="32"/>
                      <a:pt x="21" y="32"/>
                      <a:pt x="21" y="31"/>
                    </a:cubicBezTo>
                    <a:cubicBezTo>
                      <a:pt x="21" y="31"/>
                      <a:pt x="21" y="31"/>
                      <a:pt x="21" y="31"/>
                    </a:cubicBezTo>
                    <a:cubicBezTo>
                      <a:pt x="21" y="31"/>
                      <a:pt x="21" y="31"/>
                      <a:pt x="21" y="30"/>
                    </a:cubicBezTo>
                    <a:cubicBezTo>
                      <a:pt x="22" y="29"/>
                      <a:pt x="21" y="28"/>
                      <a:pt x="22" y="28"/>
                    </a:cubicBezTo>
                    <a:cubicBezTo>
                      <a:pt x="23" y="27"/>
                      <a:pt x="24" y="25"/>
                      <a:pt x="25" y="24"/>
                    </a:cubicBezTo>
                    <a:cubicBezTo>
                      <a:pt x="25" y="24"/>
                      <a:pt x="25" y="23"/>
                      <a:pt x="26" y="22"/>
                    </a:cubicBezTo>
                    <a:cubicBezTo>
                      <a:pt x="26" y="21"/>
                      <a:pt x="27" y="21"/>
                      <a:pt x="27" y="20"/>
                    </a:cubicBezTo>
                    <a:cubicBezTo>
                      <a:pt x="27" y="19"/>
                      <a:pt x="28" y="19"/>
                      <a:pt x="28" y="19"/>
                    </a:cubicBezTo>
                    <a:cubicBezTo>
                      <a:pt x="29" y="19"/>
                      <a:pt x="29" y="18"/>
                      <a:pt x="29" y="18"/>
                    </a:cubicBezTo>
                    <a:cubicBezTo>
                      <a:pt x="29" y="17"/>
                      <a:pt x="28" y="17"/>
                      <a:pt x="28" y="1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3" name="France">
                <a:extLst>
                  <a:ext uri="{FF2B5EF4-FFF2-40B4-BE49-F238E27FC236}">
                    <a16:creationId xmlns:a16="http://schemas.microsoft.com/office/drawing/2014/main" id="{62D4F6B4-BE18-AFAD-A6E9-D5AD79706B4D}"/>
                  </a:ext>
                </a:extLst>
              </p:cNvPr>
              <p:cNvSpPr>
                <a:spLocks noEditPoints="1"/>
              </p:cNvSpPr>
              <p:nvPr/>
            </p:nvSpPr>
            <p:spPr bwMode="auto">
              <a:xfrm>
                <a:off x="5583963" y="2062458"/>
                <a:ext cx="443035" cy="372463"/>
              </a:xfrm>
              <a:custGeom>
                <a:avLst/>
                <a:gdLst/>
                <a:ahLst/>
                <a:cxnLst>
                  <a:cxn ang="0">
                    <a:pos x="112" y="24"/>
                  </a:cxn>
                  <a:cxn ang="0">
                    <a:pos x="107" y="37"/>
                  </a:cxn>
                  <a:cxn ang="0">
                    <a:pos x="102" y="40"/>
                  </a:cxn>
                  <a:cxn ang="0">
                    <a:pos x="98" y="46"/>
                  </a:cxn>
                  <a:cxn ang="0">
                    <a:pos x="96" y="52"/>
                  </a:cxn>
                  <a:cxn ang="0">
                    <a:pos x="102" y="54"/>
                  </a:cxn>
                  <a:cxn ang="0">
                    <a:pos x="103" y="63"/>
                  </a:cxn>
                  <a:cxn ang="0">
                    <a:pos x="103" y="68"/>
                  </a:cxn>
                  <a:cxn ang="0">
                    <a:pos x="108" y="74"/>
                  </a:cxn>
                  <a:cxn ang="0">
                    <a:pos x="100" y="83"/>
                  </a:cxn>
                  <a:cxn ang="0">
                    <a:pos x="94" y="87"/>
                  </a:cxn>
                  <a:cxn ang="0">
                    <a:pos x="88" y="84"/>
                  </a:cxn>
                  <a:cxn ang="0">
                    <a:pos x="85" y="83"/>
                  </a:cxn>
                  <a:cxn ang="0">
                    <a:pos x="79" y="82"/>
                  </a:cxn>
                  <a:cxn ang="0">
                    <a:pos x="67" y="86"/>
                  </a:cxn>
                  <a:cxn ang="0">
                    <a:pos x="67" y="91"/>
                  </a:cxn>
                  <a:cxn ang="0">
                    <a:pos x="57" y="93"/>
                  </a:cxn>
                  <a:cxn ang="0">
                    <a:pos x="50" y="90"/>
                  </a:cxn>
                  <a:cxn ang="0">
                    <a:pos x="38" y="89"/>
                  </a:cxn>
                  <a:cxn ang="0">
                    <a:pos x="28" y="85"/>
                  </a:cxn>
                  <a:cxn ang="0">
                    <a:pos x="30" y="74"/>
                  </a:cxn>
                  <a:cxn ang="0">
                    <a:pos x="35" y="62"/>
                  </a:cxn>
                  <a:cxn ang="0">
                    <a:pos x="35" y="61"/>
                  </a:cxn>
                  <a:cxn ang="0">
                    <a:pos x="32" y="53"/>
                  </a:cxn>
                  <a:cxn ang="0">
                    <a:pos x="27" y="49"/>
                  </a:cxn>
                  <a:cxn ang="0">
                    <a:pos x="25" y="41"/>
                  </a:cxn>
                  <a:cxn ang="0">
                    <a:pos x="22" y="41"/>
                  </a:cxn>
                  <a:cxn ang="0">
                    <a:pos x="20" y="38"/>
                  </a:cxn>
                  <a:cxn ang="0">
                    <a:pos x="18" y="38"/>
                  </a:cxn>
                  <a:cxn ang="0">
                    <a:pos x="15" y="37"/>
                  </a:cxn>
                  <a:cxn ang="0">
                    <a:pos x="9" y="35"/>
                  </a:cxn>
                  <a:cxn ang="0">
                    <a:pos x="5" y="34"/>
                  </a:cxn>
                  <a:cxn ang="0">
                    <a:pos x="5" y="30"/>
                  </a:cxn>
                  <a:cxn ang="0">
                    <a:pos x="3" y="29"/>
                  </a:cxn>
                  <a:cxn ang="0">
                    <a:pos x="8" y="26"/>
                  </a:cxn>
                  <a:cxn ang="0">
                    <a:pos x="13" y="26"/>
                  </a:cxn>
                  <a:cxn ang="0">
                    <a:pos x="18" y="24"/>
                  </a:cxn>
                  <a:cxn ang="0">
                    <a:pos x="24" y="26"/>
                  </a:cxn>
                  <a:cxn ang="0">
                    <a:pos x="28" y="26"/>
                  </a:cxn>
                  <a:cxn ang="0">
                    <a:pos x="30" y="21"/>
                  </a:cxn>
                  <a:cxn ang="0">
                    <a:pos x="31" y="15"/>
                  </a:cxn>
                  <a:cxn ang="0">
                    <a:pos x="48" y="17"/>
                  </a:cxn>
                  <a:cxn ang="0">
                    <a:pos x="58" y="8"/>
                  </a:cxn>
                  <a:cxn ang="0">
                    <a:pos x="67" y="2"/>
                  </a:cxn>
                  <a:cxn ang="0">
                    <a:pos x="74" y="6"/>
                  </a:cxn>
                  <a:cxn ang="0">
                    <a:pos x="79" y="10"/>
                  </a:cxn>
                  <a:cxn ang="0">
                    <a:pos x="85" y="12"/>
                  </a:cxn>
                  <a:cxn ang="0">
                    <a:pos x="92" y="17"/>
                  </a:cxn>
                  <a:cxn ang="0">
                    <a:pos x="102" y="20"/>
                  </a:cxn>
                  <a:cxn ang="0">
                    <a:pos x="58" y="93"/>
                  </a:cxn>
                  <a:cxn ang="0">
                    <a:pos x="0" y="28"/>
                  </a:cxn>
                  <a:cxn ang="0">
                    <a:pos x="123" y="90"/>
                  </a:cxn>
                  <a:cxn ang="0">
                    <a:pos x="117" y="95"/>
                  </a:cxn>
                  <a:cxn ang="0">
                    <a:pos x="117" y="100"/>
                  </a:cxn>
                  <a:cxn ang="0">
                    <a:pos x="120" y="104"/>
                  </a:cxn>
                  <a:cxn ang="0">
                    <a:pos x="123" y="101"/>
                  </a:cxn>
                  <a:cxn ang="0">
                    <a:pos x="15" y="41"/>
                  </a:cxn>
                  <a:cxn ang="0">
                    <a:pos x="30" y="55"/>
                  </a:cxn>
                </a:cxnLst>
                <a:rect l="0" t="0" r="r" b="b"/>
                <a:pathLst>
                  <a:path w="125" h="105">
                    <a:moveTo>
                      <a:pt x="24" y="45"/>
                    </a:moveTo>
                    <a:cubicBezTo>
                      <a:pt x="24" y="45"/>
                      <a:pt x="22" y="44"/>
                      <a:pt x="23" y="44"/>
                    </a:cubicBezTo>
                    <a:cubicBezTo>
                      <a:pt x="24" y="44"/>
                      <a:pt x="24" y="45"/>
                      <a:pt x="24" y="45"/>
                    </a:cubicBezTo>
                    <a:close/>
                    <a:moveTo>
                      <a:pt x="23" y="47"/>
                    </a:moveTo>
                    <a:cubicBezTo>
                      <a:pt x="23" y="47"/>
                      <a:pt x="21" y="47"/>
                      <a:pt x="23" y="47"/>
                    </a:cubicBezTo>
                    <a:close/>
                    <a:moveTo>
                      <a:pt x="110" y="22"/>
                    </a:moveTo>
                    <a:cubicBezTo>
                      <a:pt x="111" y="22"/>
                      <a:pt x="112" y="23"/>
                      <a:pt x="113" y="23"/>
                    </a:cubicBezTo>
                    <a:cubicBezTo>
                      <a:pt x="113" y="23"/>
                      <a:pt x="113" y="24"/>
                      <a:pt x="112" y="24"/>
                    </a:cubicBezTo>
                    <a:cubicBezTo>
                      <a:pt x="112" y="25"/>
                      <a:pt x="112" y="25"/>
                      <a:pt x="111" y="25"/>
                    </a:cubicBezTo>
                    <a:cubicBezTo>
                      <a:pt x="111" y="25"/>
                      <a:pt x="111" y="26"/>
                      <a:pt x="110" y="26"/>
                    </a:cubicBezTo>
                    <a:cubicBezTo>
                      <a:pt x="110" y="27"/>
                      <a:pt x="109" y="28"/>
                      <a:pt x="109" y="29"/>
                    </a:cubicBezTo>
                    <a:cubicBezTo>
                      <a:pt x="109" y="29"/>
                      <a:pt x="109" y="30"/>
                      <a:pt x="109" y="30"/>
                    </a:cubicBezTo>
                    <a:cubicBezTo>
                      <a:pt x="109" y="30"/>
                      <a:pt x="109" y="31"/>
                      <a:pt x="108" y="31"/>
                    </a:cubicBezTo>
                    <a:cubicBezTo>
                      <a:pt x="108" y="32"/>
                      <a:pt x="107" y="32"/>
                      <a:pt x="108" y="33"/>
                    </a:cubicBezTo>
                    <a:cubicBezTo>
                      <a:pt x="108" y="34"/>
                      <a:pt x="108" y="35"/>
                      <a:pt x="108" y="35"/>
                    </a:cubicBezTo>
                    <a:cubicBezTo>
                      <a:pt x="107" y="35"/>
                      <a:pt x="107" y="37"/>
                      <a:pt x="107" y="37"/>
                    </a:cubicBezTo>
                    <a:cubicBezTo>
                      <a:pt x="108" y="38"/>
                      <a:pt x="108" y="38"/>
                      <a:pt x="107" y="38"/>
                    </a:cubicBezTo>
                    <a:cubicBezTo>
                      <a:pt x="108" y="38"/>
                      <a:pt x="107" y="39"/>
                      <a:pt x="107" y="39"/>
                    </a:cubicBezTo>
                    <a:cubicBezTo>
                      <a:pt x="106" y="39"/>
                      <a:pt x="107" y="39"/>
                      <a:pt x="106" y="39"/>
                    </a:cubicBezTo>
                    <a:cubicBezTo>
                      <a:pt x="106" y="39"/>
                      <a:pt x="106" y="39"/>
                      <a:pt x="105" y="39"/>
                    </a:cubicBezTo>
                    <a:cubicBezTo>
                      <a:pt x="105" y="39"/>
                      <a:pt x="104" y="39"/>
                      <a:pt x="104" y="39"/>
                    </a:cubicBezTo>
                    <a:cubicBezTo>
                      <a:pt x="104" y="39"/>
                      <a:pt x="103" y="39"/>
                      <a:pt x="103" y="39"/>
                    </a:cubicBezTo>
                    <a:cubicBezTo>
                      <a:pt x="103" y="39"/>
                      <a:pt x="103" y="39"/>
                      <a:pt x="103" y="39"/>
                    </a:cubicBezTo>
                    <a:cubicBezTo>
                      <a:pt x="103" y="39"/>
                      <a:pt x="101" y="40"/>
                      <a:pt x="102" y="40"/>
                    </a:cubicBezTo>
                    <a:cubicBezTo>
                      <a:pt x="102" y="40"/>
                      <a:pt x="103" y="40"/>
                      <a:pt x="103" y="40"/>
                    </a:cubicBezTo>
                    <a:cubicBezTo>
                      <a:pt x="103" y="40"/>
                      <a:pt x="103" y="41"/>
                      <a:pt x="102" y="41"/>
                    </a:cubicBezTo>
                    <a:cubicBezTo>
                      <a:pt x="102" y="41"/>
                      <a:pt x="102" y="41"/>
                      <a:pt x="102" y="41"/>
                    </a:cubicBezTo>
                    <a:cubicBezTo>
                      <a:pt x="102" y="41"/>
                      <a:pt x="102" y="42"/>
                      <a:pt x="102" y="42"/>
                    </a:cubicBezTo>
                    <a:cubicBezTo>
                      <a:pt x="101" y="42"/>
                      <a:pt x="101" y="42"/>
                      <a:pt x="100" y="43"/>
                    </a:cubicBezTo>
                    <a:cubicBezTo>
                      <a:pt x="100" y="43"/>
                      <a:pt x="100" y="44"/>
                      <a:pt x="100" y="44"/>
                    </a:cubicBezTo>
                    <a:cubicBezTo>
                      <a:pt x="99" y="44"/>
                      <a:pt x="99" y="44"/>
                      <a:pt x="98" y="44"/>
                    </a:cubicBezTo>
                    <a:cubicBezTo>
                      <a:pt x="98" y="45"/>
                      <a:pt x="98" y="46"/>
                      <a:pt x="98" y="46"/>
                    </a:cubicBezTo>
                    <a:cubicBezTo>
                      <a:pt x="97" y="47"/>
                      <a:pt x="96" y="47"/>
                      <a:pt x="96" y="48"/>
                    </a:cubicBezTo>
                    <a:cubicBezTo>
                      <a:pt x="95" y="48"/>
                      <a:pt x="95" y="48"/>
                      <a:pt x="95" y="49"/>
                    </a:cubicBezTo>
                    <a:cubicBezTo>
                      <a:pt x="95" y="49"/>
                      <a:pt x="95" y="50"/>
                      <a:pt x="95" y="50"/>
                    </a:cubicBezTo>
                    <a:cubicBezTo>
                      <a:pt x="95" y="50"/>
                      <a:pt x="95" y="51"/>
                      <a:pt x="95" y="52"/>
                    </a:cubicBezTo>
                    <a:cubicBezTo>
                      <a:pt x="95" y="52"/>
                      <a:pt x="94" y="52"/>
                      <a:pt x="94" y="52"/>
                    </a:cubicBezTo>
                    <a:cubicBezTo>
                      <a:pt x="94" y="53"/>
                      <a:pt x="94" y="53"/>
                      <a:pt x="94" y="53"/>
                    </a:cubicBezTo>
                    <a:cubicBezTo>
                      <a:pt x="94" y="53"/>
                      <a:pt x="95" y="53"/>
                      <a:pt x="95" y="53"/>
                    </a:cubicBezTo>
                    <a:cubicBezTo>
                      <a:pt x="96" y="53"/>
                      <a:pt x="96" y="52"/>
                      <a:pt x="96" y="52"/>
                    </a:cubicBezTo>
                    <a:cubicBezTo>
                      <a:pt x="97" y="52"/>
                      <a:pt x="96" y="52"/>
                      <a:pt x="96" y="51"/>
                    </a:cubicBezTo>
                    <a:cubicBezTo>
                      <a:pt x="96" y="51"/>
                      <a:pt x="97" y="50"/>
                      <a:pt x="97" y="50"/>
                    </a:cubicBezTo>
                    <a:cubicBezTo>
                      <a:pt x="98" y="50"/>
                      <a:pt x="99" y="49"/>
                      <a:pt x="101" y="50"/>
                    </a:cubicBezTo>
                    <a:cubicBezTo>
                      <a:pt x="101" y="50"/>
                      <a:pt x="101" y="51"/>
                      <a:pt x="101" y="51"/>
                    </a:cubicBezTo>
                    <a:cubicBezTo>
                      <a:pt x="101" y="51"/>
                      <a:pt x="101" y="51"/>
                      <a:pt x="101" y="51"/>
                    </a:cubicBezTo>
                    <a:cubicBezTo>
                      <a:pt x="101" y="52"/>
                      <a:pt x="101" y="52"/>
                      <a:pt x="101" y="52"/>
                    </a:cubicBezTo>
                    <a:cubicBezTo>
                      <a:pt x="101" y="53"/>
                      <a:pt x="101" y="53"/>
                      <a:pt x="101" y="53"/>
                    </a:cubicBezTo>
                    <a:cubicBezTo>
                      <a:pt x="102" y="53"/>
                      <a:pt x="101" y="54"/>
                      <a:pt x="102" y="54"/>
                    </a:cubicBezTo>
                    <a:cubicBezTo>
                      <a:pt x="102" y="54"/>
                      <a:pt x="103" y="55"/>
                      <a:pt x="103" y="55"/>
                    </a:cubicBezTo>
                    <a:cubicBezTo>
                      <a:pt x="103" y="56"/>
                      <a:pt x="102" y="56"/>
                      <a:pt x="102" y="56"/>
                    </a:cubicBezTo>
                    <a:cubicBezTo>
                      <a:pt x="101" y="56"/>
                      <a:pt x="101" y="56"/>
                      <a:pt x="101" y="57"/>
                    </a:cubicBezTo>
                    <a:cubicBezTo>
                      <a:pt x="101" y="57"/>
                      <a:pt x="101" y="58"/>
                      <a:pt x="102" y="58"/>
                    </a:cubicBezTo>
                    <a:cubicBezTo>
                      <a:pt x="102" y="59"/>
                      <a:pt x="102" y="58"/>
                      <a:pt x="102" y="59"/>
                    </a:cubicBezTo>
                    <a:cubicBezTo>
                      <a:pt x="102" y="60"/>
                      <a:pt x="103" y="60"/>
                      <a:pt x="104" y="61"/>
                    </a:cubicBezTo>
                    <a:cubicBezTo>
                      <a:pt x="104" y="61"/>
                      <a:pt x="104" y="61"/>
                      <a:pt x="104" y="62"/>
                    </a:cubicBezTo>
                    <a:cubicBezTo>
                      <a:pt x="103" y="62"/>
                      <a:pt x="104" y="63"/>
                      <a:pt x="103" y="63"/>
                    </a:cubicBezTo>
                    <a:cubicBezTo>
                      <a:pt x="103" y="63"/>
                      <a:pt x="102" y="63"/>
                      <a:pt x="102" y="63"/>
                    </a:cubicBezTo>
                    <a:cubicBezTo>
                      <a:pt x="102" y="64"/>
                      <a:pt x="102" y="64"/>
                      <a:pt x="101" y="64"/>
                    </a:cubicBezTo>
                    <a:cubicBezTo>
                      <a:pt x="101" y="64"/>
                      <a:pt x="101" y="64"/>
                      <a:pt x="100" y="64"/>
                    </a:cubicBezTo>
                    <a:cubicBezTo>
                      <a:pt x="99" y="64"/>
                      <a:pt x="99" y="64"/>
                      <a:pt x="99" y="64"/>
                    </a:cubicBezTo>
                    <a:cubicBezTo>
                      <a:pt x="99" y="65"/>
                      <a:pt x="100" y="65"/>
                      <a:pt x="100" y="66"/>
                    </a:cubicBezTo>
                    <a:cubicBezTo>
                      <a:pt x="100" y="67"/>
                      <a:pt x="101" y="67"/>
                      <a:pt x="102" y="67"/>
                    </a:cubicBezTo>
                    <a:cubicBezTo>
                      <a:pt x="102" y="67"/>
                      <a:pt x="102" y="67"/>
                      <a:pt x="102" y="67"/>
                    </a:cubicBezTo>
                    <a:cubicBezTo>
                      <a:pt x="103" y="67"/>
                      <a:pt x="102" y="68"/>
                      <a:pt x="103" y="68"/>
                    </a:cubicBezTo>
                    <a:cubicBezTo>
                      <a:pt x="103" y="68"/>
                      <a:pt x="103" y="69"/>
                      <a:pt x="102" y="69"/>
                    </a:cubicBezTo>
                    <a:cubicBezTo>
                      <a:pt x="102" y="69"/>
                      <a:pt x="102" y="70"/>
                      <a:pt x="101" y="70"/>
                    </a:cubicBezTo>
                    <a:cubicBezTo>
                      <a:pt x="101" y="71"/>
                      <a:pt x="101" y="71"/>
                      <a:pt x="102" y="71"/>
                    </a:cubicBezTo>
                    <a:cubicBezTo>
                      <a:pt x="102" y="72"/>
                      <a:pt x="101" y="72"/>
                      <a:pt x="101" y="72"/>
                    </a:cubicBezTo>
                    <a:cubicBezTo>
                      <a:pt x="102" y="73"/>
                      <a:pt x="102" y="73"/>
                      <a:pt x="103" y="74"/>
                    </a:cubicBezTo>
                    <a:cubicBezTo>
                      <a:pt x="103" y="74"/>
                      <a:pt x="104" y="74"/>
                      <a:pt x="104" y="74"/>
                    </a:cubicBezTo>
                    <a:cubicBezTo>
                      <a:pt x="105" y="75"/>
                      <a:pt x="106" y="75"/>
                      <a:pt x="106" y="75"/>
                    </a:cubicBezTo>
                    <a:cubicBezTo>
                      <a:pt x="107" y="75"/>
                      <a:pt x="108" y="74"/>
                      <a:pt x="108" y="74"/>
                    </a:cubicBezTo>
                    <a:cubicBezTo>
                      <a:pt x="108" y="75"/>
                      <a:pt x="109" y="76"/>
                      <a:pt x="108" y="76"/>
                    </a:cubicBezTo>
                    <a:cubicBezTo>
                      <a:pt x="107" y="77"/>
                      <a:pt x="106" y="78"/>
                      <a:pt x="107" y="79"/>
                    </a:cubicBezTo>
                    <a:cubicBezTo>
                      <a:pt x="106" y="78"/>
                      <a:pt x="106" y="79"/>
                      <a:pt x="106" y="79"/>
                    </a:cubicBezTo>
                    <a:cubicBezTo>
                      <a:pt x="106" y="79"/>
                      <a:pt x="106" y="79"/>
                      <a:pt x="105" y="79"/>
                    </a:cubicBezTo>
                    <a:cubicBezTo>
                      <a:pt x="105" y="80"/>
                      <a:pt x="105" y="79"/>
                      <a:pt x="104" y="80"/>
                    </a:cubicBezTo>
                    <a:cubicBezTo>
                      <a:pt x="103" y="80"/>
                      <a:pt x="103" y="80"/>
                      <a:pt x="103" y="81"/>
                    </a:cubicBezTo>
                    <a:cubicBezTo>
                      <a:pt x="102" y="80"/>
                      <a:pt x="102" y="82"/>
                      <a:pt x="101" y="83"/>
                    </a:cubicBezTo>
                    <a:cubicBezTo>
                      <a:pt x="100" y="83"/>
                      <a:pt x="100" y="82"/>
                      <a:pt x="100" y="83"/>
                    </a:cubicBezTo>
                    <a:cubicBezTo>
                      <a:pt x="100" y="84"/>
                      <a:pt x="99" y="84"/>
                      <a:pt x="99" y="84"/>
                    </a:cubicBezTo>
                    <a:cubicBezTo>
                      <a:pt x="99" y="84"/>
                      <a:pt x="100" y="84"/>
                      <a:pt x="99" y="85"/>
                    </a:cubicBezTo>
                    <a:cubicBezTo>
                      <a:pt x="99" y="85"/>
                      <a:pt x="99" y="85"/>
                      <a:pt x="98" y="85"/>
                    </a:cubicBezTo>
                    <a:cubicBezTo>
                      <a:pt x="98" y="85"/>
                      <a:pt x="97" y="85"/>
                      <a:pt x="97" y="86"/>
                    </a:cubicBezTo>
                    <a:cubicBezTo>
                      <a:pt x="96" y="86"/>
                      <a:pt x="97" y="86"/>
                      <a:pt x="96" y="86"/>
                    </a:cubicBezTo>
                    <a:cubicBezTo>
                      <a:pt x="96" y="86"/>
                      <a:pt x="96" y="86"/>
                      <a:pt x="96" y="86"/>
                    </a:cubicBezTo>
                    <a:cubicBezTo>
                      <a:pt x="96" y="86"/>
                      <a:pt x="95" y="86"/>
                      <a:pt x="95" y="86"/>
                    </a:cubicBezTo>
                    <a:cubicBezTo>
                      <a:pt x="94" y="86"/>
                      <a:pt x="95" y="87"/>
                      <a:pt x="94" y="87"/>
                    </a:cubicBezTo>
                    <a:cubicBezTo>
                      <a:pt x="95" y="86"/>
                      <a:pt x="94" y="86"/>
                      <a:pt x="94" y="86"/>
                    </a:cubicBezTo>
                    <a:cubicBezTo>
                      <a:pt x="93" y="86"/>
                      <a:pt x="93" y="86"/>
                      <a:pt x="92" y="86"/>
                    </a:cubicBezTo>
                    <a:cubicBezTo>
                      <a:pt x="92" y="86"/>
                      <a:pt x="93" y="86"/>
                      <a:pt x="93" y="86"/>
                    </a:cubicBezTo>
                    <a:cubicBezTo>
                      <a:pt x="92" y="86"/>
                      <a:pt x="92" y="87"/>
                      <a:pt x="92" y="86"/>
                    </a:cubicBezTo>
                    <a:cubicBezTo>
                      <a:pt x="91" y="86"/>
                      <a:pt x="91" y="86"/>
                      <a:pt x="92" y="86"/>
                    </a:cubicBezTo>
                    <a:cubicBezTo>
                      <a:pt x="91" y="86"/>
                      <a:pt x="91" y="85"/>
                      <a:pt x="90" y="85"/>
                    </a:cubicBezTo>
                    <a:cubicBezTo>
                      <a:pt x="90" y="85"/>
                      <a:pt x="89" y="85"/>
                      <a:pt x="89" y="85"/>
                    </a:cubicBezTo>
                    <a:cubicBezTo>
                      <a:pt x="89" y="85"/>
                      <a:pt x="88" y="85"/>
                      <a:pt x="88" y="84"/>
                    </a:cubicBezTo>
                    <a:cubicBezTo>
                      <a:pt x="88" y="83"/>
                      <a:pt x="87" y="83"/>
                      <a:pt x="86" y="83"/>
                    </a:cubicBezTo>
                    <a:cubicBezTo>
                      <a:pt x="86" y="84"/>
                      <a:pt x="85" y="84"/>
                      <a:pt x="85" y="83"/>
                    </a:cubicBezTo>
                    <a:cubicBezTo>
                      <a:pt x="84" y="83"/>
                      <a:pt x="85" y="83"/>
                      <a:pt x="85" y="83"/>
                    </a:cubicBezTo>
                    <a:cubicBezTo>
                      <a:pt x="85" y="83"/>
                      <a:pt x="86" y="83"/>
                      <a:pt x="86" y="83"/>
                    </a:cubicBezTo>
                    <a:cubicBezTo>
                      <a:pt x="86" y="82"/>
                      <a:pt x="87" y="82"/>
                      <a:pt x="86" y="82"/>
                    </a:cubicBezTo>
                    <a:cubicBezTo>
                      <a:pt x="86" y="82"/>
                      <a:pt x="86" y="82"/>
                      <a:pt x="86" y="82"/>
                    </a:cubicBezTo>
                    <a:cubicBezTo>
                      <a:pt x="86" y="81"/>
                      <a:pt x="85" y="81"/>
                      <a:pt x="85" y="81"/>
                    </a:cubicBezTo>
                    <a:cubicBezTo>
                      <a:pt x="84" y="81"/>
                      <a:pt x="86" y="83"/>
                      <a:pt x="85" y="83"/>
                    </a:cubicBezTo>
                    <a:cubicBezTo>
                      <a:pt x="84" y="83"/>
                      <a:pt x="84" y="82"/>
                      <a:pt x="84" y="82"/>
                    </a:cubicBezTo>
                    <a:cubicBezTo>
                      <a:pt x="83" y="82"/>
                      <a:pt x="83" y="83"/>
                      <a:pt x="83" y="83"/>
                    </a:cubicBezTo>
                    <a:cubicBezTo>
                      <a:pt x="83" y="83"/>
                      <a:pt x="83" y="83"/>
                      <a:pt x="83" y="83"/>
                    </a:cubicBezTo>
                    <a:cubicBezTo>
                      <a:pt x="83" y="83"/>
                      <a:pt x="83" y="83"/>
                      <a:pt x="83" y="83"/>
                    </a:cubicBezTo>
                    <a:cubicBezTo>
                      <a:pt x="83" y="84"/>
                      <a:pt x="81" y="83"/>
                      <a:pt x="81" y="83"/>
                    </a:cubicBezTo>
                    <a:cubicBezTo>
                      <a:pt x="81" y="83"/>
                      <a:pt x="81" y="83"/>
                      <a:pt x="81" y="82"/>
                    </a:cubicBezTo>
                    <a:cubicBezTo>
                      <a:pt x="81" y="82"/>
                      <a:pt x="80" y="82"/>
                      <a:pt x="80" y="82"/>
                    </a:cubicBezTo>
                    <a:cubicBezTo>
                      <a:pt x="79" y="82"/>
                      <a:pt x="78" y="82"/>
                      <a:pt x="79" y="82"/>
                    </a:cubicBezTo>
                    <a:cubicBezTo>
                      <a:pt x="79" y="81"/>
                      <a:pt x="77" y="82"/>
                      <a:pt x="78" y="82"/>
                    </a:cubicBezTo>
                    <a:cubicBezTo>
                      <a:pt x="78" y="82"/>
                      <a:pt x="77" y="82"/>
                      <a:pt x="77" y="82"/>
                    </a:cubicBezTo>
                    <a:cubicBezTo>
                      <a:pt x="77" y="81"/>
                      <a:pt x="77" y="81"/>
                      <a:pt x="76" y="81"/>
                    </a:cubicBezTo>
                    <a:cubicBezTo>
                      <a:pt x="75" y="81"/>
                      <a:pt x="75" y="82"/>
                      <a:pt x="74" y="82"/>
                    </a:cubicBezTo>
                    <a:cubicBezTo>
                      <a:pt x="73" y="83"/>
                      <a:pt x="72" y="84"/>
                      <a:pt x="71" y="84"/>
                    </a:cubicBezTo>
                    <a:cubicBezTo>
                      <a:pt x="71" y="84"/>
                      <a:pt x="71" y="84"/>
                      <a:pt x="70" y="84"/>
                    </a:cubicBezTo>
                    <a:cubicBezTo>
                      <a:pt x="69" y="84"/>
                      <a:pt x="69" y="85"/>
                      <a:pt x="68" y="85"/>
                    </a:cubicBezTo>
                    <a:cubicBezTo>
                      <a:pt x="68" y="86"/>
                      <a:pt x="67" y="87"/>
                      <a:pt x="67" y="86"/>
                    </a:cubicBezTo>
                    <a:cubicBezTo>
                      <a:pt x="67" y="87"/>
                      <a:pt x="68" y="86"/>
                      <a:pt x="68" y="87"/>
                    </a:cubicBezTo>
                    <a:cubicBezTo>
                      <a:pt x="68" y="87"/>
                      <a:pt x="67" y="88"/>
                      <a:pt x="67" y="88"/>
                    </a:cubicBezTo>
                    <a:cubicBezTo>
                      <a:pt x="67" y="88"/>
                      <a:pt x="67" y="88"/>
                      <a:pt x="67" y="88"/>
                    </a:cubicBezTo>
                    <a:cubicBezTo>
                      <a:pt x="67" y="88"/>
                      <a:pt x="68" y="88"/>
                      <a:pt x="67" y="88"/>
                    </a:cubicBezTo>
                    <a:cubicBezTo>
                      <a:pt x="67" y="88"/>
                      <a:pt x="67" y="88"/>
                      <a:pt x="67" y="88"/>
                    </a:cubicBezTo>
                    <a:cubicBezTo>
                      <a:pt x="67" y="88"/>
                      <a:pt x="66" y="89"/>
                      <a:pt x="67" y="89"/>
                    </a:cubicBezTo>
                    <a:cubicBezTo>
                      <a:pt x="67" y="90"/>
                      <a:pt x="67" y="89"/>
                      <a:pt x="67" y="89"/>
                    </a:cubicBezTo>
                    <a:cubicBezTo>
                      <a:pt x="67" y="89"/>
                      <a:pt x="67" y="90"/>
                      <a:pt x="67" y="91"/>
                    </a:cubicBezTo>
                    <a:cubicBezTo>
                      <a:pt x="67" y="92"/>
                      <a:pt x="67" y="92"/>
                      <a:pt x="68" y="92"/>
                    </a:cubicBezTo>
                    <a:cubicBezTo>
                      <a:pt x="68" y="92"/>
                      <a:pt x="68" y="93"/>
                      <a:pt x="68" y="93"/>
                    </a:cubicBezTo>
                    <a:cubicBezTo>
                      <a:pt x="67" y="93"/>
                      <a:pt x="67" y="93"/>
                      <a:pt x="66" y="93"/>
                    </a:cubicBezTo>
                    <a:cubicBezTo>
                      <a:pt x="65" y="93"/>
                      <a:pt x="63" y="94"/>
                      <a:pt x="64" y="94"/>
                    </a:cubicBezTo>
                    <a:cubicBezTo>
                      <a:pt x="62" y="94"/>
                      <a:pt x="62" y="94"/>
                      <a:pt x="61" y="93"/>
                    </a:cubicBezTo>
                    <a:cubicBezTo>
                      <a:pt x="60" y="93"/>
                      <a:pt x="60" y="93"/>
                      <a:pt x="59" y="93"/>
                    </a:cubicBezTo>
                    <a:cubicBezTo>
                      <a:pt x="59" y="93"/>
                      <a:pt x="59" y="94"/>
                      <a:pt x="58" y="94"/>
                    </a:cubicBezTo>
                    <a:cubicBezTo>
                      <a:pt x="58" y="94"/>
                      <a:pt x="58" y="94"/>
                      <a:pt x="57" y="93"/>
                    </a:cubicBezTo>
                    <a:cubicBezTo>
                      <a:pt x="57" y="93"/>
                      <a:pt x="57" y="93"/>
                      <a:pt x="56" y="93"/>
                    </a:cubicBezTo>
                    <a:cubicBezTo>
                      <a:pt x="56" y="93"/>
                      <a:pt x="55" y="93"/>
                      <a:pt x="55" y="92"/>
                    </a:cubicBezTo>
                    <a:cubicBezTo>
                      <a:pt x="55" y="92"/>
                      <a:pt x="56" y="92"/>
                      <a:pt x="56" y="92"/>
                    </a:cubicBezTo>
                    <a:cubicBezTo>
                      <a:pt x="56" y="91"/>
                      <a:pt x="54" y="91"/>
                      <a:pt x="54" y="91"/>
                    </a:cubicBezTo>
                    <a:cubicBezTo>
                      <a:pt x="54" y="91"/>
                      <a:pt x="53" y="91"/>
                      <a:pt x="53" y="91"/>
                    </a:cubicBezTo>
                    <a:cubicBezTo>
                      <a:pt x="53" y="91"/>
                      <a:pt x="53" y="91"/>
                      <a:pt x="52" y="90"/>
                    </a:cubicBezTo>
                    <a:cubicBezTo>
                      <a:pt x="52" y="90"/>
                      <a:pt x="51" y="90"/>
                      <a:pt x="51" y="90"/>
                    </a:cubicBezTo>
                    <a:cubicBezTo>
                      <a:pt x="50" y="90"/>
                      <a:pt x="50" y="90"/>
                      <a:pt x="50" y="90"/>
                    </a:cubicBezTo>
                    <a:cubicBezTo>
                      <a:pt x="50" y="89"/>
                      <a:pt x="49" y="89"/>
                      <a:pt x="49" y="89"/>
                    </a:cubicBezTo>
                    <a:cubicBezTo>
                      <a:pt x="48" y="89"/>
                      <a:pt x="47" y="89"/>
                      <a:pt x="47" y="89"/>
                    </a:cubicBezTo>
                    <a:cubicBezTo>
                      <a:pt x="46" y="89"/>
                      <a:pt x="46" y="90"/>
                      <a:pt x="46" y="91"/>
                    </a:cubicBezTo>
                    <a:cubicBezTo>
                      <a:pt x="45" y="90"/>
                      <a:pt x="45" y="90"/>
                      <a:pt x="44" y="90"/>
                    </a:cubicBezTo>
                    <a:cubicBezTo>
                      <a:pt x="43" y="90"/>
                      <a:pt x="43" y="91"/>
                      <a:pt x="42" y="90"/>
                    </a:cubicBezTo>
                    <a:cubicBezTo>
                      <a:pt x="42" y="90"/>
                      <a:pt x="41" y="91"/>
                      <a:pt x="40" y="91"/>
                    </a:cubicBezTo>
                    <a:cubicBezTo>
                      <a:pt x="40" y="91"/>
                      <a:pt x="39" y="90"/>
                      <a:pt x="39" y="89"/>
                    </a:cubicBezTo>
                    <a:cubicBezTo>
                      <a:pt x="39" y="90"/>
                      <a:pt x="38" y="89"/>
                      <a:pt x="38" y="89"/>
                    </a:cubicBezTo>
                    <a:cubicBezTo>
                      <a:pt x="37" y="89"/>
                      <a:pt x="37" y="89"/>
                      <a:pt x="36" y="89"/>
                    </a:cubicBezTo>
                    <a:cubicBezTo>
                      <a:pt x="35" y="89"/>
                      <a:pt x="35" y="89"/>
                      <a:pt x="35" y="89"/>
                    </a:cubicBezTo>
                    <a:cubicBezTo>
                      <a:pt x="35" y="89"/>
                      <a:pt x="34" y="89"/>
                      <a:pt x="34" y="88"/>
                    </a:cubicBezTo>
                    <a:cubicBezTo>
                      <a:pt x="34" y="87"/>
                      <a:pt x="33" y="88"/>
                      <a:pt x="33" y="88"/>
                    </a:cubicBezTo>
                    <a:cubicBezTo>
                      <a:pt x="32" y="88"/>
                      <a:pt x="32" y="87"/>
                      <a:pt x="31" y="87"/>
                    </a:cubicBezTo>
                    <a:cubicBezTo>
                      <a:pt x="31" y="87"/>
                      <a:pt x="29" y="86"/>
                      <a:pt x="29" y="86"/>
                    </a:cubicBezTo>
                    <a:cubicBezTo>
                      <a:pt x="29" y="86"/>
                      <a:pt x="29" y="87"/>
                      <a:pt x="28" y="87"/>
                    </a:cubicBezTo>
                    <a:cubicBezTo>
                      <a:pt x="27" y="87"/>
                      <a:pt x="28" y="85"/>
                      <a:pt x="28" y="85"/>
                    </a:cubicBezTo>
                    <a:cubicBezTo>
                      <a:pt x="29" y="84"/>
                      <a:pt x="27" y="84"/>
                      <a:pt x="27" y="84"/>
                    </a:cubicBezTo>
                    <a:cubicBezTo>
                      <a:pt x="27" y="84"/>
                      <a:pt x="26" y="84"/>
                      <a:pt x="26" y="84"/>
                    </a:cubicBezTo>
                    <a:cubicBezTo>
                      <a:pt x="26" y="84"/>
                      <a:pt x="26" y="84"/>
                      <a:pt x="25" y="84"/>
                    </a:cubicBezTo>
                    <a:cubicBezTo>
                      <a:pt x="25" y="84"/>
                      <a:pt x="25" y="83"/>
                      <a:pt x="25" y="83"/>
                    </a:cubicBezTo>
                    <a:cubicBezTo>
                      <a:pt x="25" y="83"/>
                      <a:pt x="26" y="83"/>
                      <a:pt x="26" y="83"/>
                    </a:cubicBezTo>
                    <a:cubicBezTo>
                      <a:pt x="27" y="83"/>
                      <a:pt x="27" y="81"/>
                      <a:pt x="28" y="81"/>
                    </a:cubicBezTo>
                    <a:cubicBezTo>
                      <a:pt x="28" y="80"/>
                      <a:pt x="29" y="78"/>
                      <a:pt x="29" y="77"/>
                    </a:cubicBezTo>
                    <a:cubicBezTo>
                      <a:pt x="29" y="76"/>
                      <a:pt x="29" y="75"/>
                      <a:pt x="30" y="74"/>
                    </a:cubicBezTo>
                    <a:cubicBezTo>
                      <a:pt x="30" y="73"/>
                      <a:pt x="30" y="72"/>
                      <a:pt x="30" y="72"/>
                    </a:cubicBezTo>
                    <a:cubicBezTo>
                      <a:pt x="30" y="71"/>
                      <a:pt x="30" y="71"/>
                      <a:pt x="30" y="71"/>
                    </a:cubicBezTo>
                    <a:cubicBezTo>
                      <a:pt x="30" y="70"/>
                      <a:pt x="31" y="69"/>
                      <a:pt x="31" y="69"/>
                    </a:cubicBezTo>
                    <a:cubicBezTo>
                      <a:pt x="32" y="69"/>
                      <a:pt x="32" y="69"/>
                      <a:pt x="32" y="68"/>
                    </a:cubicBezTo>
                    <a:cubicBezTo>
                      <a:pt x="31" y="68"/>
                      <a:pt x="30" y="69"/>
                      <a:pt x="30" y="69"/>
                    </a:cubicBezTo>
                    <a:cubicBezTo>
                      <a:pt x="30" y="68"/>
                      <a:pt x="32" y="59"/>
                      <a:pt x="32" y="59"/>
                    </a:cubicBezTo>
                    <a:cubicBezTo>
                      <a:pt x="33" y="59"/>
                      <a:pt x="33" y="60"/>
                      <a:pt x="33" y="60"/>
                    </a:cubicBezTo>
                    <a:cubicBezTo>
                      <a:pt x="34" y="61"/>
                      <a:pt x="35" y="61"/>
                      <a:pt x="35" y="62"/>
                    </a:cubicBezTo>
                    <a:cubicBezTo>
                      <a:pt x="35" y="63"/>
                      <a:pt x="35" y="64"/>
                      <a:pt x="36" y="65"/>
                    </a:cubicBezTo>
                    <a:cubicBezTo>
                      <a:pt x="36" y="65"/>
                      <a:pt x="36" y="65"/>
                      <a:pt x="36" y="65"/>
                    </a:cubicBezTo>
                    <a:cubicBezTo>
                      <a:pt x="37" y="66"/>
                      <a:pt x="36" y="66"/>
                      <a:pt x="37" y="67"/>
                    </a:cubicBezTo>
                    <a:cubicBezTo>
                      <a:pt x="37" y="66"/>
                      <a:pt x="37" y="66"/>
                      <a:pt x="36" y="65"/>
                    </a:cubicBezTo>
                    <a:cubicBezTo>
                      <a:pt x="37" y="65"/>
                      <a:pt x="37" y="65"/>
                      <a:pt x="37" y="65"/>
                    </a:cubicBezTo>
                    <a:cubicBezTo>
                      <a:pt x="37" y="65"/>
                      <a:pt x="37" y="65"/>
                      <a:pt x="36" y="65"/>
                    </a:cubicBezTo>
                    <a:cubicBezTo>
                      <a:pt x="36" y="65"/>
                      <a:pt x="36" y="64"/>
                      <a:pt x="36" y="63"/>
                    </a:cubicBezTo>
                    <a:cubicBezTo>
                      <a:pt x="36" y="62"/>
                      <a:pt x="35" y="62"/>
                      <a:pt x="35" y="61"/>
                    </a:cubicBezTo>
                    <a:cubicBezTo>
                      <a:pt x="35" y="60"/>
                      <a:pt x="34" y="60"/>
                      <a:pt x="34" y="59"/>
                    </a:cubicBezTo>
                    <a:cubicBezTo>
                      <a:pt x="33" y="59"/>
                      <a:pt x="33" y="58"/>
                      <a:pt x="32" y="58"/>
                    </a:cubicBezTo>
                    <a:cubicBezTo>
                      <a:pt x="32" y="58"/>
                      <a:pt x="31" y="58"/>
                      <a:pt x="31" y="58"/>
                    </a:cubicBezTo>
                    <a:cubicBezTo>
                      <a:pt x="31" y="56"/>
                      <a:pt x="32" y="58"/>
                      <a:pt x="33" y="58"/>
                    </a:cubicBezTo>
                    <a:cubicBezTo>
                      <a:pt x="33" y="57"/>
                      <a:pt x="32" y="57"/>
                      <a:pt x="32" y="57"/>
                    </a:cubicBezTo>
                    <a:cubicBezTo>
                      <a:pt x="32" y="56"/>
                      <a:pt x="32" y="56"/>
                      <a:pt x="32" y="56"/>
                    </a:cubicBezTo>
                    <a:cubicBezTo>
                      <a:pt x="33" y="56"/>
                      <a:pt x="32" y="55"/>
                      <a:pt x="33" y="55"/>
                    </a:cubicBezTo>
                    <a:cubicBezTo>
                      <a:pt x="33" y="54"/>
                      <a:pt x="32" y="53"/>
                      <a:pt x="32" y="53"/>
                    </a:cubicBezTo>
                    <a:cubicBezTo>
                      <a:pt x="32" y="53"/>
                      <a:pt x="32" y="53"/>
                      <a:pt x="32" y="53"/>
                    </a:cubicBezTo>
                    <a:cubicBezTo>
                      <a:pt x="32" y="52"/>
                      <a:pt x="32" y="52"/>
                      <a:pt x="33" y="52"/>
                    </a:cubicBezTo>
                    <a:cubicBezTo>
                      <a:pt x="33" y="52"/>
                      <a:pt x="33" y="51"/>
                      <a:pt x="32" y="51"/>
                    </a:cubicBezTo>
                    <a:cubicBezTo>
                      <a:pt x="32" y="51"/>
                      <a:pt x="32" y="52"/>
                      <a:pt x="32" y="52"/>
                    </a:cubicBezTo>
                    <a:cubicBezTo>
                      <a:pt x="31" y="52"/>
                      <a:pt x="31" y="51"/>
                      <a:pt x="31" y="51"/>
                    </a:cubicBezTo>
                    <a:cubicBezTo>
                      <a:pt x="31" y="51"/>
                      <a:pt x="30" y="51"/>
                      <a:pt x="30" y="51"/>
                    </a:cubicBezTo>
                    <a:cubicBezTo>
                      <a:pt x="29" y="51"/>
                      <a:pt x="29" y="50"/>
                      <a:pt x="29" y="50"/>
                    </a:cubicBezTo>
                    <a:cubicBezTo>
                      <a:pt x="28" y="50"/>
                      <a:pt x="27" y="49"/>
                      <a:pt x="27" y="49"/>
                    </a:cubicBezTo>
                    <a:cubicBezTo>
                      <a:pt x="27" y="49"/>
                      <a:pt x="27" y="49"/>
                      <a:pt x="27" y="49"/>
                    </a:cubicBezTo>
                    <a:cubicBezTo>
                      <a:pt x="27" y="49"/>
                      <a:pt x="27" y="48"/>
                      <a:pt x="26" y="48"/>
                    </a:cubicBezTo>
                    <a:cubicBezTo>
                      <a:pt x="26" y="48"/>
                      <a:pt x="26" y="47"/>
                      <a:pt x="26" y="47"/>
                    </a:cubicBezTo>
                    <a:cubicBezTo>
                      <a:pt x="25" y="47"/>
                      <a:pt x="24" y="46"/>
                      <a:pt x="24" y="46"/>
                    </a:cubicBezTo>
                    <a:cubicBezTo>
                      <a:pt x="24" y="45"/>
                      <a:pt x="25" y="44"/>
                      <a:pt x="25" y="44"/>
                    </a:cubicBezTo>
                    <a:cubicBezTo>
                      <a:pt x="26" y="43"/>
                      <a:pt x="24" y="43"/>
                      <a:pt x="23" y="42"/>
                    </a:cubicBezTo>
                    <a:cubicBezTo>
                      <a:pt x="24" y="42"/>
                      <a:pt x="24" y="42"/>
                      <a:pt x="24" y="41"/>
                    </a:cubicBezTo>
                    <a:cubicBezTo>
                      <a:pt x="24" y="41"/>
                      <a:pt x="25" y="41"/>
                      <a:pt x="25" y="41"/>
                    </a:cubicBezTo>
                    <a:cubicBezTo>
                      <a:pt x="26" y="41"/>
                      <a:pt x="26" y="41"/>
                      <a:pt x="26" y="41"/>
                    </a:cubicBezTo>
                    <a:cubicBezTo>
                      <a:pt x="27" y="41"/>
                      <a:pt x="27" y="42"/>
                      <a:pt x="28" y="42"/>
                    </a:cubicBezTo>
                    <a:cubicBezTo>
                      <a:pt x="27" y="42"/>
                      <a:pt x="27" y="41"/>
                      <a:pt x="26" y="41"/>
                    </a:cubicBezTo>
                    <a:cubicBezTo>
                      <a:pt x="25" y="40"/>
                      <a:pt x="25" y="40"/>
                      <a:pt x="24" y="41"/>
                    </a:cubicBezTo>
                    <a:cubicBezTo>
                      <a:pt x="23" y="41"/>
                      <a:pt x="23" y="41"/>
                      <a:pt x="22" y="41"/>
                    </a:cubicBezTo>
                    <a:cubicBezTo>
                      <a:pt x="22" y="41"/>
                      <a:pt x="22" y="41"/>
                      <a:pt x="22" y="41"/>
                    </a:cubicBezTo>
                    <a:cubicBezTo>
                      <a:pt x="22" y="41"/>
                      <a:pt x="21" y="41"/>
                      <a:pt x="21" y="41"/>
                    </a:cubicBezTo>
                    <a:cubicBezTo>
                      <a:pt x="21" y="41"/>
                      <a:pt x="22" y="41"/>
                      <a:pt x="22" y="41"/>
                    </a:cubicBezTo>
                    <a:cubicBezTo>
                      <a:pt x="22" y="41"/>
                      <a:pt x="21" y="40"/>
                      <a:pt x="21" y="41"/>
                    </a:cubicBezTo>
                    <a:cubicBezTo>
                      <a:pt x="21" y="40"/>
                      <a:pt x="21" y="40"/>
                      <a:pt x="21" y="40"/>
                    </a:cubicBezTo>
                    <a:cubicBezTo>
                      <a:pt x="21" y="40"/>
                      <a:pt x="22" y="40"/>
                      <a:pt x="22" y="39"/>
                    </a:cubicBezTo>
                    <a:cubicBezTo>
                      <a:pt x="22" y="39"/>
                      <a:pt x="21" y="39"/>
                      <a:pt x="21" y="39"/>
                    </a:cubicBezTo>
                    <a:cubicBezTo>
                      <a:pt x="21" y="38"/>
                      <a:pt x="22" y="39"/>
                      <a:pt x="23" y="39"/>
                    </a:cubicBezTo>
                    <a:cubicBezTo>
                      <a:pt x="22" y="38"/>
                      <a:pt x="21" y="38"/>
                      <a:pt x="20" y="38"/>
                    </a:cubicBezTo>
                    <a:cubicBezTo>
                      <a:pt x="20" y="38"/>
                      <a:pt x="21" y="38"/>
                      <a:pt x="21" y="38"/>
                    </a:cubicBezTo>
                    <a:cubicBezTo>
                      <a:pt x="20" y="38"/>
                      <a:pt x="20" y="38"/>
                      <a:pt x="20" y="38"/>
                    </a:cubicBezTo>
                    <a:cubicBezTo>
                      <a:pt x="19" y="39"/>
                      <a:pt x="19" y="39"/>
                      <a:pt x="18" y="38"/>
                    </a:cubicBezTo>
                    <a:cubicBezTo>
                      <a:pt x="18" y="38"/>
                      <a:pt x="19" y="38"/>
                      <a:pt x="19" y="38"/>
                    </a:cubicBezTo>
                    <a:cubicBezTo>
                      <a:pt x="19" y="38"/>
                      <a:pt x="20" y="38"/>
                      <a:pt x="20" y="37"/>
                    </a:cubicBezTo>
                    <a:cubicBezTo>
                      <a:pt x="20" y="38"/>
                      <a:pt x="19" y="37"/>
                      <a:pt x="19" y="37"/>
                    </a:cubicBezTo>
                    <a:cubicBezTo>
                      <a:pt x="20" y="37"/>
                      <a:pt x="19" y="37"/>
                      <a:pt x="19" y="37"/>
                    </a:cubicBezTo>
                    <a:cubicBezTo>
                      <a:pt x="19" y="37"/>
                      <a:pt x="19" y="37"/>
                      <a:pt x="19" y="37"/>
                    </a:cubicBezTo>
                    <a:cubicBezTo>
                      <a:pt x="18" y="38"/>
                      <a:pt x="18" y="37"/>
                      <a:pt x="17" y="37"/>
                    </a:cubicBezTo>
                    <a:cubicBezTo>
                      <a:pt x="17" y="37"/>
                      <a:pt x="18" y="38"/>
                      <a:pt x="18" y="38"/>
                    </a:cubicBezTo>
                    <a:cubicBezTo>
                      <a:pt x="18" y="38"/>
                      <a:pt x="17" y="38"/>
                      <a:pt x="17" y="37"/>
                    </a:cubicBezTo>
                    <a:cubicBezTo>
                      <a:pt x="17" y="38"/>
                      <a:pt x="16" y="38"/>
                      <a:pt x="16" y="38"/>
                    </a:cubicBezTo>
                    <a:cubicBezTo>
                      <a:pt x="16" y="38"/>
                      <a:pt x="16" y="39"/>
                      <a:pt x="16" y="39"/>
                    </a:cubicBezTo>
                    <a:cubicBezTo>
                      <a:pt x="16" y="39"/>
                      <a:pt x="16" y="38"/>
                      <a:pt x="16" y="38"/>
                    </a:cubicBezTo>
                    <a:cubicBezTo>
                      <a:pt x="16" y="38"/>
                      <a:pt x="16" y="38"/>
                      <a:pt x="16" y="37"/>
                    </a:cubicBezTo>
                    <a:cubicBezTo>
                      <a:pt x="15" y="37"/>
                      <a:pt x="16" y="37"/>
                      <a:pt x="16" y="36"/>
                    </a:cubicBezTo>
                    <a:cubicBezTo>
                      <a:pt x="16" y="36"/>
                      <a:pt x="16" y="36"/>
                      <a:pt x="16" y="36"/>
                    </a:cubicBezTo>
                    <a:cubicBezTo>
                      <a:pt x="16" y="36"/>
                      <a:pt x="15" y="37"/>
                      <a:pt x="15" y="37"/>
                    </a:cubicBezTo>
                    <a:cubicBezTo>
                      <a:pt x="15" y="37"/>
                      <a:pt x="14" y="36"/>
                      <a:pt x="14" y="37"/>
                    </a:cubicBezTo>
                    <a:cubicBezTo>
                      <a:pt x="14" y="36"/>
                      <a:pt x="15" y="36"/>
                      <a:pt x="15" y="37"/>
                    </a:cubicBezTo>
                    <a:cubicBezTo>
                      <a:pt x="15" y="36"/>
                      <a:pt x="14" y="36"/>
                      <a:pt x="14" y="36"/>
                    </a:cubicBezTo>
                    <a:cubicBezTo>
                      <a:pt x="14" y="36"/>
                      <a:pt x="15" y="36"/>
                      <a:pt x="15" y="36"/>
                    </a:cubicBezTo>
                    <a:cubicBezTo>
                      <a:pt x="15" y="36"/>
                      <a:pt x="14" y="36"/>
                      <a:pt x="14" y="36"/>
                    </a:cubicBezTo>
                    <a:cubicBezTo>
                      <a:pt x="14" y="36"/>
                      <a:pt x="13" y="36"/>
                      <a:pt x="13" y="36"/>
                    </a:cubicBezTo>
                    <a:cubicBezTo>
                      <a:pt x="13" y="36"/>
                      <a:pt x="11" y="35"/>
                      <a:pt x="11" y="35"/>
                    </a:cubicBezTo>
                    <a:cubicBezTo>
                      <a:pt x="10" y="35"/>
                      <a:pt x="10" y="35"/>
                      <a:pt x="9" y="35"/>
                    </a:cubicBezTo>
                    <a:cubicBezTo>
                      <a:pt x="9" y="34"/>
                      <a:pt x="9" y="35"/>
                      <a:pt x="9" y="35"/>
                    </a:cubicBezTo>
                    <a:cubicBezTo>
                      <a:pt x="9" y="35"/>
                      <a:pt x="8" y="35"/>
                      <a:pt x="8" y="34"/>
                    </a:cubicBezTo>
                    <a:cubicBezTo>
                      <a:pt x="8" y="34"/>
                      <a:pt x="8" y="34"/>
                      <a:pt x="8" y="35"/>
                    </a:cubicBezTo>
                    <a:cubicBezTo>
                      <a:pt x="8" y="35"/>
                      <a:pt x="7" y="35"/>
                      <a:pt x="7" y="35"/>
                    </a:cubicBezTo>
                    <a:cubicBezTo>
                      <a:pt x="7" y="35"/>
                      <a:pt x="8" y="35"/>
                      <a:pt x="7" y="35"/>
                    </a:cubicBezTo>
                    <a:cubicBezTo>
                      <a:pt x="7" y="35"/>
                      <a:pt x="6" y="36"/>
                      <a:pt x="6" y="35"/>
                    </a:cubicBezTo>
                    <a:cubicBezTo>
                      <a:pt x="5" y="35"/>
                      <a:pt x="6" y="35"/>
                      <a:pt x="6" y="35"/>
                    </a:cubicBezTo>
                    <a:cubicBezTo>
                      <a:pt x="6" y="34"/>
                      <a:pt x="6" y="34"/>
                      <a:pt x="5" y="34"/>
                    </a:cubicBezTo>
                    <a:cubicBezTo>
                      <a:pt x="5" y="33"/>
                      <a:pt x="4" y="33"/>
                      <a:pt x="3" y="33"/>
                    </a:cubicBezTo>
                    <a:cubicBezTo>
                      <a:pt x="3" y="32"/>
                      <a:pt x="6" y="32"/>
                      <a:pt x="6" y="32"/>
                    </a:cubicBezTo>
                    <a:cubicBezTo>
                      <a:pt x="7" y="32"/>
                      <a:pt x="6" y="31"/>
                      <a:pt x="6" y="31"/>
                    </a:cubicBezTo>
                    <a:cubicBezTo>
                      <a:pt x="6" y="31"/>
                      <a:pt x="5" y="31"/>
                      <a:pt x="5" y="31"/>
                    </a:cubicBezTo>
                    <a:cubicBezTo>
                      <a:pt x="5" y="31"/>
                      <a:pt x="5" y="31"/>
                      <a:pt x="4" y="31"/>
                    </a:cubicBezTo>
                    <a:cubicBezTo>
                      <a:pt x="4" y="31"/>
                      <a:pt x="4" y="31"/>
                      <a:pt x="4" y="31"/>
                    </a:cubicBezTo>
                    <a:cubicBezTo>
                      <a:pt x="4" y="30"/>
                      <a:pt x="4" y="31"/>
                      <a:pt x="4" y="30"/>
                    </a:cubicBezTo>
                    <a:cubicBezTo>
                      <a:pt x="4" y="30"/>
                      <a:pt x="5" y="30"/>
                      <a:pt x="5" y="30"/>
                    </a:cubicBezTo>
                    <a:cubicBezTo>
                      <a:pt x="4" y="30"/>
                      <a:pt x="7" y="30"/>
                      <a:pt x="7" y="30"/>
                    </a:cubicBezTo>
                    <a:cubicBezTo>
                      <a:pt x="7" y="30"/>
                      <a:pt x="7" y="30"/>
                      <a:pt x="7" y="30"/>
                    </a:cubicBezTo>
                    <a:cubicBezTo>
                      <a:pt x="7" y="30"/>
                      <a:pt x="7" y="30"/>
                      <a:pt x="8" y="30"/>
                    </a:cubicBezTo>
                    <a:cubicBezTo>
                      <a:pt x="7" y="30"/>
                      <a:pt x="7" y="30"/>
                      <a:pt x="6" y="30"/>
                    </a:cubicBezTo>
                    <a:cubicBezTo>
                      <a:pt x="7" y="30"/>
                      <a:pt x="7" y="30"/>
                      <a:pt x="7" y="29"/>
                    </a:cubicBezTo>
                    <a:cubicBezTo>
                      <a:pt x="6" y="29"/>
                      <a:pt x="6" y="29"/>
                      <a:pt x="5" y="30"/>
                    </a:cubicBezTo>
                    <a:cubicBezTo>
                      <a:pt x="5" y="29"/>
                      <a:pt x="6" y="29"/>
                      <a:pt x="7" y="29"/>
                    </a:cubicBezTo>
                    <a:cubicBezTo>
                      <a:pt x="6" y="29"/>
                      <a:pt x="2" y="30"/>
                      <a:pt x="3" y="29"/>
                    </a:cubicBezTo>
                    <a:cubicBezTo>
                      <a:pt x="3" y="29"/>
                      <a:pt x="3" y="29"/>
                      <a:pt x="3" y="29"/>
                    </a:cubicBezTo>
                    <a:cubicBezTo>
                      <a:pt x="3" y="28"/>
                      <a:pt x="3" y="28"/>
                      <a:pt x="3" y="28"/>
                    </a:cubicBezTo>
                    <a:cubicBezTo>
                      <a:pt x="3" y="27"/>
                      <a:pt x="4" y="27"/>
                      <a:pt x="4" y="27"/>
                    </a:cubicBezTo>
                    <a:cubicBezTo>
                      <a:pt x="4" y="27"/>
                      <a:pt x="5" y="27"/>
                      <a:pt x="5" y="27"/>
                    </a:cubicBezTo>
                    <a:cubicBezTo>
                      <a:pt x="4" y="26"/>
                      <a:pt x="6" y="26"/>
                      <a:pt x="6" y="26"/>
                    </a:cubicBezTo>
                    <a:cubicBezTo>
                      <a:pt x="6" y="26"/>
                      <a:pt x="7" y="26"/>
                      <a:pt x="7" y="26"/>
                    </a:cubicBezTo>
                    <a:cubicBezTo>
                      <a:pt x="7" y="26"/>
                      <a:pt x="7" y="26"/>
                      <a:pt x="8" y="26"/>
                    </a:cubicBezTo>
                    <a:cubicBezTo>
                      <a:pt x="7" y="26"/>
                      <a:pt x="8" y="26"/>
                      <a:pt x="8" y="26"/>
                    </a:cubicBezTo>
                    <a:cubicBezTo>
                      <a:pt x="9" y="26"/>
                      <a:pt x="9" y="26"/>
                      <a:pt x="10" y="25"/>
                    </a:cubicBezTo>
                    <a:cubicBezTo>
                      <a:pt x="10" y="26"/>
                      <a:pt x="10" y="26"/>
                      <a:pt x="10" y="26"/>
                    </a:cubicBezTo>
                    <a:cubicBezTo>
                      <a:pt x="10" y="26"/>
                      <a:pt x="10" y="26"/>
                      <a:pt x="10" y="26"/>
                    </a:cubicBezTo>
                    <a:cubicBezTo>
                      <a:pt x="10" y="26"/>
                      <a:pt x="10" y="26"/>
                      <a:pt x="11" y="26"/>
                    </a:cubicBezTo>
                    <a:cubicBezTo>
                      <a:pt x="11" y="26"/>
                      <a:pt x="11" y="26"/>
                      <a:pt x="11" y="26"/>
                    </a:cubicBezTo>
                    <a:cubicBezTo>
                      <a:pt x="11" y="26"/>
                      <a:pt x="11" y="26"/>
                      <a:pt x="11" y="26"/>
                    </a:cubicBezTo>
                    <a:cubicBezTo>
                      <a:pt x="11" y="25"/>
                      <a:pt x="12" y="26"/>
                      <a:pt x="12" y="26"/>
                    </a:cubicBezTo>
                    <a:cubicBezTo>
                      <a:pt x="12" y="26"/>
                      <a:pt x="13" y="26"/>
                      <a:pt x="13" y="26"/>
                    </a:cubicBezTo>
                    <a:cubicBezTo>
                      <a:pt x="13" y="26"/>
                      <a:pt x="13" y="25"/>
                      <a:pt x="13" y="25"/>
                    </a:cubicBezTo>
                    <a:cubicBezTo>
                      <a:pt x="13" y="25"/>
                      <a:pt x="13" y="24"/>
                      <a:pt x="14" y="24"/>
                    </a:cubicBezTo>
                    <a:cubicBezTo>
                      <a:pt x="14" y="24"/>
                      <a:pt x="14" y="24"/>
                      <a:pt x="14" y="25"/>
                    </a:cubicBezTo>
                    <a:cubicBezTo>
                      <a:pt x="15" y="25"/>
                      <a:pt x="16" y="24"/>
                      <a:pt x="16" y="24"/>
                    </a:cubicBezTo>
                    <a:cubicBezTo>
                      <a:pt x="16" y="24"/>
                      <a:pt x="16" y="25"/>
                      <a:pt x="16" y="25"/>
                    </a:cubicBezTo>
                    <a:cubicBezTo>
                      <a:pt x="16" y="24"/>
                      <a:pt x="17" y="24"/>
                      <a:pt x="17" y="24"/>
                    </a:cubicBezTo>
                    <a:cubicBezTo>
                      <a:pt x="17" y="24"/>
                      <a:pt x="17" y="25"/>
                      <a:pt x="17" y="25"/>
                    </a:cubicBezTo>
                    <a:cubicBezTo>
                      <a:pt x="17" y="25"/>
                      <a:pt x="17" y="25"/>
                      <a:pt x="18" y="24"/>
                    </a:cubicBezTo>
                    <a:cubicBezTo>
                      <a:pt x="18" y="24"/>
                      <a:pt x="18" y="25"/>
                      <a:pt x="18" y="25"/>
                    </a:cubicBezTo>
                    <a:cubicBezTo>
                      <a:pt x="18" y="25"/>
                      <a:pt x="18" y="25"/>
                      <a:pt x="18" y="25"/>
                    </a:cubicBezTo>
                    <a:cubicBezTo>
                      <a:pt x="18" y="25"/>
                      <a:pt x="19" y="26"/>
                      <a:pt x="19" y="26"/>
                    </a:cubicBezTo>
                    <a:cubicBezTo>
                      <a:pt x="20" y="26"/>
                      <a:pt x="20" y="27"/>
                      <a:pt x="21" y="28"/>
                    </a:cubicBezTo>
                    <a:cubicBezTo>
                      <a:pt x="21" y="27"/>
                      <a:pt x="23" y="27"/>
                      <a:pt x="22" y="26"/>
                    </a:cubicBezTo>
                    <a:cubicBezTo>
                      <a:pt x="23" y="26"/>
                      <a:pt x="23" y="26"/>
                      <a:pt x="24" y="26"/>
                    </a:cubicBezTo>
                    <a:cubicBezTo>
                      <a:pt x="24" y="26"/>
                      <a:pt x="24" y="26"/>
                      <a:pt x="24" y="26"/>
                    </a:cubicBezTo>
                    <a:cubicBezTo>
                      <a:pt x="24" y="27"/>
                      <a:pt x="24" y="26"/>
                      <a:pt x="24" y="26"/>
                    </a:cubicBezTo>
                    <a:cubicBezTo>
                      <a:pt x="24" y="26"/>
                      <a:pt x="25" y="27"/>
                      <a:pt x="25" y="27"/>
                    </a:cubicBezTo>
                    <a:cubicBezTo>
                      <a:pt x="25" y="26"/>
                      <a:pt x="25" y="27"/>
                      <a:pt x="25" y="27"/>
                    </a:cubicBezTo>
                    <a:cubicBezTo>
                      <a:pt x="25" y="27"/>
                      <a:pt x="25" y="27"/>
                      <a:pt x="25" y="27"/>
                    </a:cubicBezTo>
                    <a:cubicBezTo>
                      <a:pt x="25" y="26"/>
                      <a:pt x="25" y="26"/>
                      <a:pt x="26" y="26"/>
                    </a:cubicBezTo>
                    <a:cubicBezTo>
                      <a:pt x="26" y="26"/>
                      <a:pt x="27" y="27"/>
                      <a:pt x="27" y="28"/>
                    </a:cubicBezTo>
                    <a:cubicBezTo>
                      <a:pt x="27" y="27"/>
                      <a:pt x="26" y="27"/>
                      <a:pt x="27" y="27"/>
                    </a:cubicBezTo>
                    <a:cubicBezTo>
                      <a:pt x="26" y="27"/>
                      <a:pt x="26" y="26"/>
                      <a:pt x="27" y="26"/>
                    </a:cubicBezTo>
                    <a:cubicBezTo>
                      <a:pt x="27" y="26"/>
                      <a:pt x="27" y="26"/>
                      <a:pt x="28" y="26"/>
                    </a:cubicBezTo>
                    <a:cubicBezTo>
                      <a:pt x="28" y="26"/>
                      <a:pt x="28" y="26"/>
                      <a:pt x="28" y="26"/>
                    </a:cubicBezTo>
                    <a:cubicBezTo>
                      <a:pt x="28" y="27"/>
                      <a:pt x="28" y="27"/>
                      <a:pt x="29" y="27"/>
                    </a:cubicBezTo>
                    <a:cubicBezTo>
                      <a:pt x="30" y="27"/>
                      <a:pt x="31" y="26"/>
                      <a:pt x="32" y="26"/>
                    </a:cubicBezTo>
                    <a:cubicBezTo>
                      <a:pt x="32" y="26"/>
                      <a:pt x="31" y="26"/>
                      <a:pt x="30" y="26"/>
                    </a:cubicBezTo>
                    <a:cubicBezTo>
                      <a:pt x="30" y="25"/>
                      <a:pt x="30" y="24"/>
                      <a:pt x="30" y="24"/>
                    </a:cubicBezTo>
                    <a:cubicBezTo>
                      <a:pt x="30" y="24"/>
                      <a:pt x="30" y="22"/>
                      <a:pt x="31" y="22"/>
                    </a:cubicBezTo>
                    <a:cubicBezTo>
                      <a:pt x="31" y="22"/>
                      <a:pt x="30" y="22"/>
                      <a:pt x="30" y="22"/>
                    </a:cubicBezTo>
                    <a:cubicBezTo>
                      <a:pt x="30" y="22"/>
                      <a:pt x="30" y="21"/>
                      <a:pt x="30" y="21"/>
                    </a:cubicBezTo>
                    <a:cubicBezTo>
                      <a:pt x="30" y="21"/>
                      <a:pt x="30" y="20"/>
                      <a:pt x="31" y="20"/>
                    </a:cubicBezTo>
                    <a:cubicBezTo>
                      <a:pt x="30" y="20"/>
                      <a:pt x="30" y="20"/>
                      <a:pt x="30" y="20"/>
                    </a:cubicBezTo>
                    <a:cubicBezTo>
                      <a:pt x="30" y="20"/>
                      <a:pt x="30" y="19"/>
                      <a:pt x="29" y="19"/>
                    </a:cubicBezTo>
                    <a:cubicBezTo>
                      <a:pt x="29" y="19"/>
                      <a:pt x="29" y="19"/>
                      <a:pt x="29" y="18"/>
                    </a:cubicBezTo>
                    <a:cubicBezTo>
                      <a:pt x="28" y="18"/>
                      <a:pt x="28" y="17"/>
                      <a:pt x="28" y="17"/>
                    </a:cubicBezTo>
                    <a:cubicBezTo>
                      <a:pt x="28" y="16"/>
                      <a:pt x="29" y="16"/>
                      <a:pt x="28" y="15"/>
                    </a:cubicBezTo>
                    <a:cubicBezTo>
                      <a:pt x="27" y="15"/>
                      <a:pt x="28" y="15"/>
                      <a:pt x="29" y="15"/>
                    </a:cubicBezTo>
                    <a:cubicBezTo>
                      <a:pt x="29" y="15"/>
                      <a:pt x="30" y="16"/>
                      <a:pt x="31" y="15"/>
                    </a:cubicBezTo>
                    <a:cubicBezTo>
                      <a:pt x="32" y="15"/>
                      <a:pt x="32" y="15"/>
                      <a:pt x="33" y="15"/>
                    </a:cubicBezTo>
                    <a:cubicBezTo>
                      <a:pt x="34" y="16"/>
                      <a:pt x="33" y="16"/>
                      <a:pt x="33" y="17"/>
                    </a:cubicBezTo>
                    <a:cubicBezTo>
                      <a:pt x="33" y="17"/>
                      <a:pt x="34" y="18"/>
                      <a:pt x="34" y="19"/>
                    </a:cubicBezTo>
                    <a:cubicBezTo>
                      <a:pt x="34" y="19"/>
                      <a:pt x="34" y="19"/>
                      <a:pt x="35" y="19"/>
                    </a:cubicBezTo>
                    <a:cubicBezTo>
                      <a:pt x="35" y="18"/>
                      <a:pt x="36" y="18"/>
                      <a:pt x="37" y="18"/>
                    </a:cubicBezTo>
                    <a:cubicBezTo>
                      <a:pt x="38" y="19"/>
                      <a:pt x="40" y="19"/>
                      <a:pt x="41" y="19"/>
                    </a:cubicBezTo>
                    <a:cubicBezTo>
                      <a:pt x="42" y="20"/>
                      <a:pt x="44" y="19"/>
                      <a:pt x="45" y="18"/>
                    </a:cubicBezTo>
                    <a:cubicBezTo>
                      <a:pt x="46" y="18"/>
                      <a:pt x="47" y="18"/>
                      <a:pt x="48" y="17"/>
                    </a:cubicBezTo>
                    <a:cubicBezTo>
                      <a:pt x="47" y="18"/>
                      <a:pt x="44" y="18"/>
                      <a:pt x="45" y="17"/>
                    </a:cubicBezTo>
                    <a:cubicBezTo>
                      <a:pt x="45" y="16"/>
                      <a:pt x="45" y="15"/>
                      <a:pt x="46" y="15"/>
                    </a:cubicBezTo>
                    <a:cubicBezTo>
                      <a:pt x="47" y="14"/>
                      <a:pt x="48" y="14"/>
                      <a:pt x="49" y="14"/>
                    </a:cubicBezTo>
                    <a:cubicBezTo>
                      <a:pt x="51" y="13"/>
                      <a:pt x="53" y="13"/>
                      <a:pt x="55" y="12"/>
                    </a:cubicBezTo>
                    <a:cubicBezTo>
                      <a:pt x="56" y="11"/>
                      <a:pt x="56" y="11"/>
                      <a:pt x="57" y="10"/>
                    </a:cubicBezTo>
                    <a:cubicBezTo>
                      <a:pt x="57" y="10"/>
                      <a:pt x="57" y="10"/>
                      <a:pt x="57" y="10"/>
                    </a:cubicBezTo>
                    <a:cubicBezTo>
                      <a:pt x="58" y="10"/>
                      <a:pt x="58" y="10"/>
                      <a:pt x="58" y="10"/>
                    </a:cubicBezTo>
                    <a:cubicBezTo>
                      <a:pt x="58" y="10"/>
                      <a:pt x="56" y="8"/>
                      <a:pt x="58" y="8"/>
                    </a:cubicBezTo>
                    <a:cubicBezTo>
                      <a:pt x="57" y="7"/>
                      <a:pt x="58" y="7"/>
                      <a:pt x="58" y="6"/>
                    </a:cubicBezTo>
                    <a:cubicBezTo>
                      <a:pt x="58" y="6"/>
                      <a:pt x="58" y="5"/>
                      <a:pt x="58" y="5"/>
                    </a:cubicBezTo>
                    <a:cubicBezTo>
                      <a:pt x="58" y="4"/>
                      <a:pt x="58" y="4"/>
                      <a:pt x="58" y="3"/>
                    </a:cubicBezTo>
                    <a:cubicBezTo>
                      <a:pt x="58" y="3"/>
                      <a:pt x="58" y="3"/>
                      <a:pt x="58" y="2"/>
                    </a:cubicBezTo>
                    <a:cubicBezTo>
                      <a:pt x="59" y="2"/>
                      <a:pt x="59" y="2"/>
                      <a:pt x="60" y="2"/>
                    </a:cubicBezTo>
                    <a:cubicBezTo>
                      <a:pt x="60" y="1"/>
                      <a:pt x="61" y="1"/>
                      <a:pt x="62" y="1"/>
                    </a:cubicBezTo>
                    <a:cubicBezTo>
                      <a:pt x="63" y="1"/>
                      <a:pt x="65" y="1"/>
                      <a:pt x="66" y="0"/>
                    </a:cubicBezTo>
                    <a:cubicBezTo>
                      <a:pt x="66" y="1"/>
                      <a:pt x="67" y="1"/>
                      <a:pt x="67" y="2"/>
                    </a:cubicBezTo>
                    <a:cubicBezTo>
                      <a:pt x="67" y="2"/>
                      <a:pt x="66" y="3"/>
                      <a:pt x="67" y="3"/>
                    </a:cubicBezTo>
                    <a:cubicBezTo>
                      <a:pt x="67" y="3"/>
                      <a:pt x="67" y="3"/>
                      <a:pt x="68" y="3"/>
                    </a:cubicBezTo>
                    <a:cubicBezTo>
                      <a:pt x="68" y="4"/>
                      <a:pt x="68" y="4"/>
                      <a:pt x="68" y="4"/>
                    </a:cubicBezTo>
                    <a:cubicBezTo>
                      <a:pt x="69" y="5"/>
                      <a:pt x="69" y="5"/>
                      <a:pt x="69" y="4"/>
                    </a:cubicBezTo>
                    <a:cubicBezTo>
                      <a:pt x="70" y="4"/>
                      <a:pt x="71" y="3"/>
                      <a:pt x="71" y="4"/>
                    </a:cubicBezTo>
                    <a:cubicBezTo>
                      <a:pt x="71" y="4"/>
                      <a:pt x="72" y="4"/>
                      <a:pt x="72" y="5"/>
                    </a:cubicBezTo>
                    <a:cubicBezTo>
                      <a:pt x="72" y="5"/>
                      <a:pt x="72" y="6"/>
                      <a:pt x="72" y="6"/>
                    </a:cubicBezTo>
                    <a:cubicBezTo>
                      <a:pt x="73" y="7"/>
                      <a:pt x="73" y="6"/>
                      <a:pt x="74" y="6"/>
                    </a:cubicBezTo>
                    <a:cubicBezTo>
                      <a:pt x="74" y="6"/>
                      <a:pt x="74" y="7"/>
                      <a:pt x="74" y="7"/>
                    </a:cubicBezTo>
                    <a:cubicBezTo>
                      <a:pt x="74" y="7"/>
                      <a:pt x="75" y="7"/>
                      <a:pt x="75" y="7"/>
                    </a:cubicBezTo>
                    <a:cubicBezTo>
                      <a:pt x="75" y="8"/>
                      <a:pt x="75" y="9"/>
                      <a:pt x="76" y="8"/>
                    </a:cubicBezTo>
                    <a:cubicBezTo>
                      <a:pt x="76" y="8"/>
                      <a:pt x="78" y="8"/>
                      <a:pt x="78" y="8"/>
                    </a:cubicBezTo>
                    <a:cubicBezTo>
                      <a:pt x="79" y="8"/>
                      <a:pt x="79" y="9"/>
                      <a:pt x="79" y="9"/>
                    </a:cubicBezTo>
                    <a:cubicBezTo>
                      <a:pt x="79" y="9"/>
                      <a:pt x="80" y="9"/>
                      <a:pt x="80" y="9"/>
                    </a:cubicBezTo>
                    <a:cubicBezTo>
                      <a:pt x="80" y="9"/>
                      <a:pt x="79" y="10"/>
                      <a:pt x="79" y="10"/>
                    </a:cubicBezTo>
                    <a:cubicBezTo>
                      <a:pt x="79" y="10"/>
                      <a:pt x="79" y="10"/>
                      <a:pt x="79" y="10"/>
                    </a:cubicBezTo>
                    <a:cubicBezTo>
                      <a:pt x="80" y="10"/>
                      <a:pt x="80" y="11"/>
                      <a:pt x="80" y="11"/>
                    </a:cubicBezTo>
                    <a:cubicBezTo>
                      <a:pt x="80" y="11"/>
                      <a:pt x="80" y="11"/>
                      <a:pt x="80" y="11"/>
                    </a:cubicBezTo>
                    <a:cubicBezTo>
                      <a:pt x="79" y="12"/>
                      <a:pt x="79" y="12"/>
                      <a:pt x="79" y="12"/>
                    </a:cubicBezTo>
                    <a:cubicBezTo>
                      <a:pt x="80" y="12"/>
                      <a:pt x="81" y="12"/>
                      <a:pt x="81" y="12"/>
                    </a:cubicBezTo>
                    <a:cubicBezTo>
                      <a:pt x="82" y="13"/>
                      <a:pt x="84" y="12"/>
                      <a:pt x="84" y="12"/>
                    </a:cubicBezTo>
                    <a:cubicBezTo>
                      <a:pt x="84" y="11"/>
                      <a:pt x="85" y="10"/>
                      <a:pt x="85" y="11"/>
                    </a:cubicBezTo>
                    <a:cubicBezTo>
                      <a:pt x="85" y="11"/>
                      <a:pt x="85" y="11"/>
                      <a:pt x="85" y="12"/>
                    </a:cubicBezTo>
                    <a:cubicBezTo>
                      <a:pt x="85" y="12"/>
                      <a:pt x="85" y="12"/>
                      <a:pt x="85" y="12"/>
                    </a:cubicBezTo>
                    <a:cubicBezTo>
                      <a:pt x="85" y="12"/>
                      <a:pt x="85" y="12"/>
                      <a:pt x="85" y="13"/>
                    </a:cubicBezTo>
                    <a:cubicBezTo>
                      <a:pt x="85" y="13"/>
                      <a:pt x="85" y="14"/>
                      <a:pt x="85" y="14"/>
                    </a:cubicBezTo>
                    <a:cubicBezTo>
                      <a:pt x="85" y="14"/>
                      <a:pt x="86" y="14"/>
                      <a:pt x="87" y="14"/>
                    </a:cubicBezTo>
                    <a:cubicBezTo>
                      <a:pt x="87" y="14"/>
                      <a:pt x="87" y="15"/>
                      <a:pt x="88" y="15"/>
                    </a:cubicBezTo>
                    <a:cubicBezTo>
                      <a:pt x="88" y="15"/>
                      <a:pt x="89" y="15"/>
                      <a:pt x="89" y="16"/>
                    </a:cubicBezTo>
                    <a:cubicBezTo>
                      <a:pt x="89" y="16"/>
                      <a:pt x="89" y="16"/>
                      <a:pt x="90" y="16"/>
                    </a:cubicBezTo>
                    <a:cubicBezTo>
                      <a:pt x="90" y="16"/>
                      <a:pt x="90" y="17"/>
                      <a:pt x="90" y="17"/>
                    </a:cubicBezTo>
                    <a:cubicBezTo>
                      <a:pt x="91" y="17"/>
                      <a:pt x="92" y="17"/>
                      <a:pt x="92" y="17"/>
                    </a:cubicBezTo>
                    <a:cubicBezTo>
                      <a:pt x="93" y="17"/>
                      <a:pt x="94" y="17"/>
                      <a:pt x="94" y="18"/>
                    </a:cubicBezTo>
                    <a:cubicBezTo>
                      <a:pt x="95" y="18"/>
                      <a:pt x="96" y="17"/>
                      <a:pt x="96" y="17"/>
                    </a:cubicBezTo>
                    <a:cubicBezTo>
                      <a:pt x="96" y="17"/>
                      <a:pt x="97" y="17"/>
                      <a:pt x="97" y="18"/>
                    </a:cubicBezTo>
                    <a:cubicBezTo>
                      <a:pt x="98" y="18"/>
                      <a:pt x="99" y="17"/>
                      <a:pt x="99" y="18"/>
                    </a:cubicBezTo>
                    <a:cubicBezTo>
                      <a:pt x="100" y="19"/>
                      <a:pt x="100" y="19"/>
                      <a:pt x="100" y="19"/>
                    </a:cubicBezTo>
                    <a:cubicBezTo>
                      <a:pt x="100" y="20"/>
                      <a:pt x="101" y="20"/>
                      <a:pt x="101" y="20"/>
                    </a:cubicBezTo>
                    <a:cubicBezTo>
                      <a:pt x="101" y="21"/>
                      <a:pt x="101" y="21"/>
                      <a:pt x="101" y="21"/>
                    </a:cubicBezTo>
                    <a:cubicBezTo>
                      <a:pt x="102" y="21"/>
                      <a:pt x="101" y="20"/>
                      <a:pt x="102" y="20"/>
                    </a:cubicBezTo>
                    <a:cubicBezTo>
                      <a:pt x="102" y="20"/>
                      <a:pt x="103" y="20"/>
                      <a:pt x="103" y="21"/>
                    </a:cubicBezTo>
                    <a:cubicBezTo>
                      <a:pt x="103" y="21"/>
                      <a:pt x="104" y="22"/>
                      <a:pt x="104" y="21"/>
                    </a:cubicBezTo>
                    <a:cubicBezTo>
                      <a:pt x="104" y="21"/>
                      <a:pt x="106" y="22"/>
                      <a:pt x="106" y="21"/>
                    </a:cubicBezTo>
                    <a:cubicBezTo>
                      <a:pt x="107" y="20"/>
                      <a:pt x="107" y="22"/>
                      <a:pt x="108" y="22"/>
                    </a:cubicBezTo>
                    <a:cubicBezTo>
                      <a:pt x="108" y="22"/>
                      <a:pt x="109" y="22"/>
                      <a:pt x="109" y="22"/>
                    </a:cubicBezTo>
                    <a:cubicBezTo>
                      <a:pt x="109" y="22"/>
                      <a:pt x="110" y="22"/>
                      <a:pt x="110" y="22"/>
                    </a:cubicBezTo>
                    <a:close/>
                    <a:moveTo>
                      <a:pt x="58" y="93"/>
                    </a:moveTo>
                    <a:cubicBezTo>
                      <a:pt x="58" y="92"/>
                      <a:pt x="57" y="93"/>
                      <a:pt x="58" y="93"/>
                    </a:cubicBezTo>
                    <a:close/>
                    <a:moveTo>
                      <a:pt x="82" y="83"/>
                    </a:moveTo>
                    <a:cubicBezTo>
                      <a:pt x="82" y="83"/>
                      <a:pt x="82" y="83"/>
                      <a:pt x="83" y="83"/>
                    </a:cubicBezTo>
                    <a:cubicBezTo>
                      <a:pt x="82" y="82"/>
                      <a:pt x="82" y="81"/>
                      <a:pt x="82" y="81"/>
                    </a:cubicBezTo>
                    <a:cubicBezTo>
                      <a:pt x="82" y="81"/>
                      <a:pt x="82" y="82"/>
                      <a:pt x="82" y="83"/>
                    </a:cubicBezTo>
                    <a:close/>
                    <a:moveTo>
                      <a:pt x="0" y="28"/>
                    </a:moveTo>
                    <a:cubicBezTo>
                      <a:pt x="0" y="28"/>
                      <a:pt x="0" y="28"/>
                      <a:pt x="0" y="28"/>
                    </a:cubicBezTo>
                    <a:cubicBezTo>
                      <a:pt x="0" y="28"/>
                      <a:pt x="0" y="28"/>
                      <a:pt x="0" y="28"/>
                    </a:cubicBezTo>
                    <a:cubicBezTo>
                      <a:pt x="0" y="28"/>
                      <a:pt x="0" y="28"/>
                      <a:pt x="0" y="28"/>
                    </a:cubicBezTo>
                    <a:cubicBezTo>
                      <a:pt x="0" y="28"/>
                      <a:pt x="0" y="28"/>
                      <a:pt x="0" y="28"/>
                    </a:cubicBezTo>
                    <a:close/>
                    <a:moveTo>
                      <a:pt x="124" y="94"/>
                    </a:moveTo>
                    <a:cubicBezTo>
                      <a:pt x="124" y="93"/>
                      <a:pt x="125" y="92"/>
                      <a:pt x="124" y="91"/>
                    </a:cubicBezTo>
                    <a:cubicBezTo>
                      <a:pt x="124" y="91"/>
                      <a:pt x="124" y="92"/>
                      <a:pt x="124" y="92"/>
                    </a:cubicBezTo>
                    <a:cubicBezTo>
                      <a:pt x="123" y="92"/>
                      <a:pt x="124" y="89"/>
                      <a:pt x="124" y="89"/>
                    </a:cubicBezTo>
                    <a:cubicBezTo>
                      <a:pt x="124" y="88"/>
                      <a:pt x="124" y="87"/>
                      <a:pt x="123" y="87"/>
                    </a:cubicBezTo>
                    <a:cubicBezTo>
                      <a:pt x="123" y="88"/>
                      <a:pt x="123" y="88"/>
                      <a:pt x="122" y="89"/>
                    </a:cubicBezTo>
                    <a:cubicBezTo>
                      <a:pt x="122" y="89"/>
                      <a:pt x="123" y="89"/>
                      <a:pt x="123" y="90"/>
                    </a:cubicBezTo>
                    <a:cubicBezTo>
                      <a:pt x="123" y="91"/>
                      <a:pt x="122" y="90"/>
                      <a:pt x="121" y="90"/>
                    </a:cubicBezTo>
                    <a:cubicBezTo>
                      <a:pt x="120" y="90"/>
                      <a:pt x="120" y="91"/>
                      <a:pt x="119" y="91"/>
                    </a:cubicBezTo>
                    <a:cubicBezTo>
                      <a:pt x="119" y="91"/>
                      <a:pt x="118" y="92"/>
                      <a:pt x="117" y="92"/>
                    </a:cubicBezTo>
                    <a:cubicBezTo>
                      <a:pt x="117" y="92"/>
                      <a:pt x="116" y="93"/>
                      <a:pt x="117" y="93"/>
                    </a:cubicBezTo>
                    <a:cubicBezTo>
                      <a:pt x="117" y="93"/>
                      <a:pt x="116" y="94"/>
                      <a:pt x="116" y="94"/>
                    </a:cubicBezTo>
                    <a:cubicBezTo>
                      <a:pt x="116" y="94"/>
                      <a:pt x="116" y="94"/>
                      <a:pt x="116" y="94"/>
                    </a:cubicBezTo>
                    <a:cubicBezTo>
                      <a:pt x="116" y="94"/>
                      <a:pt x="116" y="94"/>
                      <a:pt x="116" y="94"/>
                    </a:cubicBezTo>
                    <a:cubicBezTo>
                      <a:pt x="116" y="94"/>
                      <a:pt x="117" y="95"/>
                      <a:pt x="117" y="95"/>
                    </a:cubicBezTo>
                    <a:cubicBezTo>
                      <a:pt x="117" y="95"/>
                      <a:pt x="116" y="95"/>
                      <a:pt x="116" y="96"/>
                    </a:cubicBezTo>
                    <a:cubicBezTo>
                      <a:pt x="116" y="96"/>
                      <a:pt x="116" y="96"/>
                      <a:pt x="116" y="96"/>
                    </a:cubicBezTo>
                    <a:cubicBezTo>
                      <a:pt x="116" y="96"/>
                      <a:pt x="116" y="96"/>
                      <a:pt x="116" y="96"/>
                    </a:cubicBezTo>
                    <a:cubicBezTo>
                      <a:pt x="115" y="97"/>
                      <a:pt x="118" y="97"/>
                      <a:pt x="117" y="98"/>
                    </a:cubicBezTo>
                    <a:cubicBezTo>
                      <a:pt x="117" y="98"/>
                      <a:pt x="116" y="98"/>
                      <a:pt x="116" y="98"/>
                    </a:cubicBezTo>
                    <a:cubicBezTo>
                      <a:pt x="116" y="99"/>
                      <a:pt x="116" y="99"/>
                      <a:pt x="116" y="99"/>
                    </a:cubicBezTo>
                    <a:cubicBezTo>
                      <a:pt x="116" y="99"/>
                      <a:pt x="117" y="99"/>
                      <a:pt x="117" y="99"/>
                    </a:cubicBezTo>
                    <a:cubicBezTo>
                      <a:pt x="118" y="99"/>
                      <a:pt x="118" y="100"/>
                      <a:pt x="117" y="100"/>
                    </a:cubicBezTo>
                    <a:cubicBezTo>
                      <a:pt x="118" y="100"/>
                      <a:pt x="117" y="100"/>
                      <a:pt x="117" y="100"/>
                    </a:cubicBezTo>
                    <a:cubicBezTo>
                      <a:pt x="117" y="101"/>
                      <a:pt x="117" y="101"/>
                      <a:pt x="117" y="101"/>
                    </a:cubicBezTo>
                    <a:cubicBezTo>
                      <a:pt x="117" y="101"/>
                      <a:pt x="117" y="101"/>
                      <a:pt x="118" y="101"/>
                    </a:cubicBezTo>
                    <a:cubicBezTo>
                      <a:pt x="118" y="101"/>
                      <a:pt x="117" y="101"/>
                      <a:pt x="118" y="101"/>
                    </a:cubicBezTo>
                    <a:cubicBezTo>
                      <a:pt x="118" y="101"/>
                      <a:pt x="118" y="101"/>
                      <a:pt x="118" y="101"/>
                    </a:cubicBezTo>
                    <a:cubicBezTo>
                      <a:pt x="118" y="101"/>
                      <a:pt x="119" y="101"/>
                      <a:pt x="119" y="102"/>
                    </a:cubicBezTo>
                    <a:cubicBezTo>
                      <a:pt x="118" y="102"/>
                      <a:pt x="118" y="102"/>
                      <a:pt x="118" y="102"/>
                    </a:cubicBezTo>
                    <a:cubicBezTo>
                      <a:pt x="118" y="103"/>
                      <a:pt x="120" y="104"/>
                      <a:pt x="120" y="104"/>
                    </a:cubicBezTo>
                    <a:cubicBezTo>
                      <a:pt x="120" y="104"/>
                      <a:pt x="120" y="104"/>
                      <a:pt x="121" y="104"/>
                    </a:cubicBezTo>
                    <a:cubicBezTo>
                      <a:pt x="121" y="104"/>
                      <a:pt x="120" y="104"/>
                      <a:pt x="121" y="105"/>
                    </a:cubicBezTo>
                    <a:cubicBezTo>
                      <a:pt x="121" y="105"/>
                      <a:pt x="122" y="105"/>
                      <a:pt x="122" y="104"/>
                    </a:cubicBezTo>
                    <a:cubicBezTo>
                      <a:pt x="122" y="104"/>
                      <a:pt x="122" y="104"/>
                      <a:pt x="121" y="104"/>
                    </a:cubicBezTo>
                    <a:cubicBezTo>
                      <a:pt x="121" y="104"/>
                      <a:pt x="122" y="103"/>
                      <a:pt x="122" y="103"/>
                    </a:cubicBezTo>
                    <a:cubicBezTo>
                      <a:pt x="123" y="102"/>
                      <a:pt x="122" y="103"/>
                      <a:pt x="122" y="102"/>
                    </a:cubicBezTo>
                    <a:cubicBezTo>
                      <a:pt x="122" y="102"/>
                      <a:pt x="123" y="102"/>
                      <a:pt x="123" y="102"/>
                    </a:cubicBezTo>
                    <a:cubicBezTo>
                      <a:pt x="123" y="102"/>
                      <a:pt x="123" y="101"/>
                      <a:pt x="123" y="101"/>
                    </a:cubicBezTo>
                    <a:cubicBezTo>
                      <a:pt x="123" y="100"/>
                      <a:pt x="123" y="99"/>
                      <a:pt x="124" y="98"/>
                    </a:cubicBezTo>
                    <a:cubicBezTo>
                      <a:pt x="125" y="97"/>
                      <a:pt x="125" y="96"/>
                      <a:pt x="124" y="94"/>
                    </a:cubicBezTo>
                    <a:close/>
                    <a:moveTo>
                      <a:pt x="29" y="52"/>
                    </a:moveTo>
                    <a:cubicBezTo>
                      <a:pt x="29" y="53"/>
                      <a:pt x="31" y="53"/>
                      <a:pt x="31" y="53"/>
                    </a:cubicBezTo>
                    <a:cubicBezTo>
                      <a:pt x="31" y="53"/>
                      <a:pt x="31" y="53"/>
                      <a:pt x="31" y="53"/>
                    </a:cubicBezTo>
                    <a:cubicBezTo>
                      <a:pt x="31" y="53"/>
                      <a:pt x="29" y="52"/>
                      <a:pt x="29" y="52"/>
                    </a:cubicBezTo>
                    <a:cubicBezTo>
                      <a:pt x="30" y="53"/>
                      <a:pt x="29" y="51"/>
                      <a:pt x="29" y="52"/>
                    </a:cubicBezTo>
                    <a:close/>
                    <a:moveTo>
                      <a:pt x="15" y="41"/>
                    </a:moveTo>
                    <a:cubicBezTo>
                      <a:pt x="15" y="41"/>
                      <a:pt x="16" y="41"/>
                      <a:pt x="16" y="41"/>
                    </a:cubicBezTo>
                    <a:cubicBezTo>
                      <a:pt x="17" y="41"/>
                      <a:pt x="15" y="40"/>
                      <a:pt x="15" y="40"/>
                    </a:cubicBezTo>
                    <a:cubicBezTo>
                      <a:pt x="15" y="40"/>
                      <a:pt x="15" y="40"/>
                      <a:pt x="15" y="41"/>
                    </a:cubicBezTo>
                    <a:close/>
                    <a:moveTo>
                      <a:pt x="30" y="55"/>
                    </a:moveTo>
                    <a:cubicBezTo>
                      <a:pt x="31" y="56"/>
                      <a:pt x="31" y="56"/>
                      <a:pt x="31" y="57"/>
                    </a:cubicBezTo>
                    <a:cubicBezTo>
                      <a:pt x="32" y="56"/>
                      <a:pt x="31" y="56"/>
                      <a:pt x="31" y="55"/>
                    </a:cubicBezTo>
                    <a:cubicBezTo>
                      <a:pt x="31" y="55"/>
                      <a:pt x="31" y="54"/>
                      <a:pt x="30" y="54"/>
                    </a:cubicBezTo>
                    <a:cubicBezTo>
                      <a:pt x="30" y="54"/>
                      <a:pt x="30" y="55"/>
                      <a:pt x="30" y="5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4" name="Finland">
                <a:extLst>
                  <a:ext uri="{FF2B5EF4-FFF2-40B4-BE49-F238E27FC236}">
                    <a16:creationId xmlns:a16="http://schemas.microsoft.com/office/drawing/2014/main" id="{E1BBD721-0F4A-327E-C2FC-342349FA458D}"/>
                  </a:ext>
                </a:extLst>
              </p:cNvPr>
              <p:cNvSpPr>
                <a:spLocks noEditPoints="1"/>
              </p:cNvSpPr>
              <p:nvPr/>
            </p:nvSpPr>
            <p:spPr bwMode="auto">
              <a:xfrm>
                <a:off x="6299485" y="1392024"/>
                <a:ext cx="318554" cy="350899"/>
              </a:xfrm>
              <a:custGeom>
                <a:avLst/>
                <a:gdLst/>
                <a:ahLst/>
                <a:cxnLst>
                  <a:cxn ang="0">
                    <a:pos x="4" y="94"/>
                  </a:cxn>
                  <a:cxn ang="0">
                    <a:pos x="3" y="95"/>
                  </a:cxn>
                  <a:cxn ang="0">
                    <a:pos x="4" y="96"/>
                  </a:cxn>
                  <a:cxn ang="0">
                    <a:pos x="17" y="96"/>
                  </a:cxn>
                  <a:cxn ang="0">
                    <a:pos x="6" y="96"/>
                  </a:cxn>
                  <a:cxn ang="0">
                    <a:pos x="76" y="60"/>
                  </a:cxn>
                  <a:cxn ang="0">
                    <a:pos x="75" y="53"/>
                  </a:cxn>
                  <a:cxn ang="0">
                    <a:pos x="72" y="47"/>
                  </a:cxn>
                  <a:cxn ang="0">
                    <a:pos x="74" y="41"/>
                  </a:cxn>
                  <a:cxn ang="0">
                    <a:pos x="67" y="26"/>
                  </a:cxn>
                  <a:cxn ang="0">
                    <a:pos x="58" y="15"/>
                  </a:cxn>
                  <a:cxn ang="0">
                    <a:pos x="61" y="4"/>
                  </a:cxn>
                  <a:cxn ang="0">
                    <a:pos x="47" y="1"/>
                  </a:cxn>
                  <a:cxn ang="0">
                    <a:pos x="39" y="4"/>
                  </a:cxn>
                  <a:cxn ang="0">
                    <a:pos x="34" y="12"/>
                  </a:cxn>
                  <a:cxn ang="0">
                    <a:pos x="24" y="12"/>
                  </a:cxn>
                  <a:cxn ang="0">
                    <a:pos x="7" y="7"/>
                  </a:cxn>
                  <a:cxn ang="0">
                    <a:pos x="7" y="12"/>
                  </a:cxn>
                  <a:cxn ang="0">
                    <a:pos x="20" y="17"/>
                  </a:cxn>
                  <a:cxn ang="0">
                    <a:pos x="23" y="24"/>
                  </a:cxn>
                  <a:cxn ang="0">
                    <a:pos x="26" y="34"/>
                  </a:cxn>
                  <a:cxn ang="0">
                    <a:pos x="33" y="40"/>
                  </a:cxn>
                  <a:cxn ang="0">
                    <a:pos x="39" y="44"/>
                  </a:cxn>
                  <a:cxn ang="0">
                    <a:pos x="39" y="46"/>
                  </a:cxn>
                  <a:cxn ang="0">
                    <a:pos x="34" y="50"/>
                  </a:cxn>
                  <a:cxn ang="0">
                    <a:pos x="28" y="56"/>
                  </a:cxn>
                  <a:cxn ang="0">
                    <a:pos x="25" y="59"/>
                  </a:cxn>
                  <a:cxn ang="0">
                    <a:pos x="23" y="60"/>
                  </a:cxn>
                  <a:cxn ang="0">
                    <a:pos x="19" y="62"/>
                  </a:cxn>
                  <a:cxn ang="0">
                    <a:pos x="17" y="65"/>
                  </a:cxn>
                  <a:cxn ang="0">
                    <a:pos x="14" y="65"/>
                  </a:cxn>
                  <a:cxn ang="0">
                    <a:pos x="11" y="71"/>
                  </a:cxn>
                  <a:cxn ang="0">
                    <a:pos x="12" y="74"/>
                  </a:cxn>
                  <a:cxn ang="0">
                    <a:pos x="13" y="76"/>
                  </a:cxn>
                  <a:cxn ang="0">
                    <a:pos x="16" y="82"/>
                  </a:cxn>
                  <a:cxn ang="0">
                    <a:pos x="15" y="84"/>
                  </a:cxn>
                  <a:cxn ang="0">
                    <a:pos x="13" y="86"/>
                  </a:cxn>
                  <a:cxn ang="0">
                    <a:pos x="14" y="90"/>
                  </a:cxn>
                  <a:cxn ang="0">
                    <a:pos x="18" y="91"/>
                  </a:cxn>
                  <a:cxn ang="0">
                    <a:pos x="21" y="93"/>
                  </a:cxn>
                  <a:cxn ang="0">
                    <a:pos x="26" y="94"/>
                  </a:cxn>
                  <a:cxn ang="0">
                    <a:pos x="23" y="96"/>
                  </a:cxn>
                  <a:cxn ang="0">
                    <a:pos x="24" y="97"/>
                  </a:cxn>
                  <a:cxn ang="0">
                    <a:pos x="28" y="96"/>
                  </a:cxn>
                  <a:cxn ang="0">
                    <a:pos x="29" y="98"/>
                  </a:cxn>
                  <a:cxn ang="0">
                    <a:pos x="32" y="97"/>
                  </a:cxn>
                  <a:cxn ang="0">
                    <a:pos x="35" y="97"/>
                  </a:cxn>
                  <a:cxn ang="0">
                    <a:pos x="39" y="97"/>
                  </a:cxn>
                  <a:cxn ang="0">
                    <a:pos x="43" y="95"/>
                  </a:cxn>
                  <a:cxn ang="0">
                    <a:pos x="48" y="94"/>
                  </a:cxn>
                  <a:cxn ang="0">
                    <a:pos x="49" y="93"/>
                  </a:cxn>
                  <a:cxn ang="0">
                    <a:pos x="52" y="93"/>
                  </a:cxn>
                  <a:cxn ang="0">
                    <a:pos x="57" y="92"/>
                  </a:cxn>
                  <a:cxn ang="0">
                    <a:pos x="62" y="93"/>
                  </a:cxn>
                  <a:cxn ang="0">
                    <a:pos x="64" y="92"/>
                  </a:cxn>
                  <a:cxn ang="0">
                    <a:pos x="76" y="82"/>
                  </a:cxn>
                  <a:cxn ang="0">
                    <a:pos x="87" y="73"/>
                  </a:cxn>
                  <a:cxn ang="0">
                    <a:pos x="20" y="95"/>
                  </a:cxn>
                  <a:cxn ang="0">
                    <a:pos x="5" y="96"/>
                  </a:cxn>
                  <a:cxn ang="0">
                    <a:pos x="20" y="94"/>
                  </a:cxn>
                </a:cxnLst>
                <a:rect l="0" t="0" r="r" b="b"/>
                <a:pathLst>
                  <a:path w="90" h="99">
                    <a:moveTo>
                      <a:pt x="17" y="96"/>
                    </a:moveTo>
                    <a:cubicBezTo>
                      <a:pt x="17" y="96"/>
                      <a:pt x="17" y="96"/>
                      <a:pt x="16" y="96"/>
                    </a:cubicBezTo>
                    <a:cubicBezTo>
                      <a:pt x="16" y="96"/>
                      <a:pt x="15" y="96"/>
                      <a:pt x="16" y="95"/>
                    </a:cubicBezTo>
                    <a:cubicBezTo>
                      <a:pt x="16" y="95"/>
                      <a:pt x="17" y="96"/>
                      <a:pt x="17" y="96"/>
                    </a:cubicBezTo>
                    <a:close/>
                    <a:moveTo>
                      <a:pt x="4" y="96"/>
                    </a:moveTo>
                    <a:cubicBezTo>
                      <a:pt x="5" y="96"/>
                      <a:pt x="4" y="95"/>
                      <a:pt x="4" y="94"/>
                    </a:cubicBezTo>
                    <a:cubicBezTo>
                      <a:pt x="4" y="95"/>
                      <a:pt x="4" y="94"/>
                      <a:pt x="4" y="94"/>
                    </a:cubicBezTo>
                    <a:cubicBezTo>
                      <a:pt x="4" y="94"/>
                      <a:pt x="4" y="96"/>
                      <a:pt x="5" y="95"/>
                    </a:cubicBezTo>
                    <a:cubicBezTo>
                      <a:pt x="4" y="95"/>
                      <a:pt x="6" y="95"/>
                      <a:pt x="6" y="95"/>
                    </a:cubicBezTo>
                    <a:cubicBezTo>
                      <a:pt x="6" y="95"/>
                      <a:pt x="6" y="94"/>
                      <a:pt x="5" y="94"/>
                    </a:cubicBezTo>
                    <a:cubicBezTo>
                      <a:pt x="6" y="94"/>
                      <a:pt x="3" y="93"/>
                      <a:pt x="4" y="93"/>
                    </a:cubicBezTo>
                    <a:cubicBezTo>
                      <a:pt x="3" y="93"/>
                      <a:pt x="2" y="93"/>
                      <a:pt x="3" y="93"/>
                    </a:cubicBezTo>
                    <a:cubicBezTo>
                      <a:pt x="3" y="94"/>
                      <a:pt x="3" y="94"/>
                      <a:pt x="3" y="94"/>
                    </a:cubicBezTo>
                    <a:cubicBezTo>
                      <a:pt x="3" y="94"/>
                      <a:pt x="3" y="95"/>
                      <a:pt x="3" y="95"/>
                    </a:cubicBezTo>
                    <a:cubicBezTo>
                      <a:pt x="3" y="95"/>
                      <a:pt x="3" y="95"/>
                      <a:pt x="3" y="95"/>
                    </a:cubicBezTo>
                    <a:cubicBezTo>
                      <a:pt x="2" y="95"/>
                      <a:pt x="3" y="94"/>
                      <a:pt x="2" y="94"/>
                    </a:cubicBezTo>
                    <a:cubicBezTo>
                      <a:pt x="2" y="94"/>
                      <a:pt x="2" y="94"/>
                      <a:pt x="2" y="94"/>
                    </a:cubicBezTo>
                    <a:cubicBezTo>
                      <a:pt x="2" y="94"/>
                      <a:pt x="2" y="94"/>
                      <a:pt x="1" y="94"/>
                    </a:cubicBezTo>
                    <a:cubicBezTo>
                      <a:pt x="1" y="94"/>
                      <a:pt x="2" y="95"/>
                      <a:pt x="2" y="95"/>
                    </a:cubicBezTo>
                    <a:cubicBezTo>
                      <a:pt x="2" y="96"/>
                      <a:pt x="2" y="96"/>
                      <a:pt x="3" y="96"/>
                    </a:cubicBezTo>
                    <a:cubicBezTo>
                      <a:pt x="3" y="96"/>
                      <a:pt x="3" y="96"/>
                      <a:pt x="4" y="96"/>
                    </a:cubicBezTo>
                    <a:cubicBezTo>
                      <a:pt x="4" y="96"/>
                      <a:pt x="4" y="96"/>
                      <a:pt x="4" y="96"/>
                    </a:cubicBezTo>
                    <a:close/>
                    <a:moveTo>
                      <a:pt x="23" y="93"/>
                    </a:moveTo>
                    <a:cubicBezTo>
                      <a:pt x="21" y="94"/>
                      <a:pt x="23" y="95"/>
                      <a:pt x="23" y="94"/>
                    </a:cubicBezTo>
                    <a:cubicBezTo>
                      <a:pt x="23" y="94"/>
                      <a:pt x="23" y="94"/>
                      <a:pt x="23" y="93"/>
                    </a:cubicBezTo>
                    <a:close/>
                    <a:moveTo>
                      <a:pt x="19" y="95"/>
                    </a:moveTo>
                    <a:cubicBezTo>
                      <a:pt x="18" y="95"/>
                      <a:pt x="18" y="95"/>
                      <a:pt x="17" y="95"/>
                    </a:cubicBezTo>
                    <a:cubicBezTo>
                      <a:pt x="17" y="95"/>
                      <a:pt x="17" y="96"/>
                      <a:pt x="17" y="96"/>
                    </a:cubicBezTo>
                    <a:cubicBezTo>
                      <a:pt x="18" y="96"/>
                      <a:pt x="18" y="96"/>
                      <a:pt x="18" y="96"/>
                    </a:cubicBezTo>
                    <a:cubicBezTo>
                      <a:pt x="18" y="96"/>
                      <a:pt x="19" y="95"/>
                      <a:pt x="19" y="95"/>
                    </a:cubicBezTo>
                    <a:cubicBezTo>
                      <a:pt x="19" y="95"/>
                      <a:pt x="19" y="95"/>
                      <a:pt x="19" y="95"/>
                    </a:cubicBezTo>
                    <a:cubicBezTo>
                      <a:pt x="19" y="95"/>
                      <a:pt x="19" y="95"/>
                      <a:pt x="18" y="95"/>
                    </a:cubicBezTo>
                    <a:cubicBezTo>
                      <a:pt x="18" y="95"/>
                      <a:pt x="18" y="95"/>
                      <a:pt x="19" y="95"/>
                    </a:cubicBezTo>
                    <a:close/>
                    <a:moveTo>
                      <a:pt x="6" y="95"/>
                    </a:moveTo>
                    <a:cubicBezTo>
                      <a:pt x="6" y="96"/>
                      <a:pt x="6" y="97"/>
                      <a:pt x="6" y="96"/>
                    </a:cubicBezTo>
                    <a:cubicBezTo>
                      <a:pt x="7" y="96"/>
                      <a:pt x="6" y="96"/>
                      <a:pt x="6" y="95"/>
                    </a:cubicBezTo>
                    <a:close/>
                    <a:moveTo>
                      <a:pt x="87" y="66"/>
                    </a:moveTo>
                    <a:cubicBezTo>
                      <a:pt x="86" y="66"/>
                      <a:pt x="86" y="66"/>
                      <a:pt x="86" y="65"/>
                    </a:cubicBezTo>
                    <a:cubicBezTo>
                      <a:pt x="85" y="65"/>
                      <a:pt x="85" y="65"/>
                      <a:pt x="84" y="64"/>
                    </a:cubicBezTo>
                    <a:cubicBezTo>
                      <a:pt x="83" y="64"/>
                      <a:pt x="82" y="63"/>
                      <a:pt x="82" y="63"/>
                    </a:cubicBezTo>
                    <a:cubicBezTo>
                      <a:pt x="81" y="63"/>
                      <a:pt x="80" y="63"/>
                      <a:pt x="80" y="62"/>
                    </a:cubicBezTo>
                    <a:cubicBezTo>
                      <a:pt x="79" y="62"/>
                      <a:pt x="76" y="60"/>
                      <a:pt x="76" y="60"/>
                    </a:cubicBezTo>
                    <a:cubicBezTo>
                      <a:pt x="76" y="59"/>
                      <a:pt x="77" y="60"/>
                      <a:pt x="78" y="59"/>
                    </a:cubicBezTo>
                    <a:cubicBezTo>
                      <a:pt x="78" y="58"/>
                      <a:pt x="79" y="58"/>
                      <a:pt x="79" y="58"/>
                    </a:cubicBezTo>
                    <a:cubicBezTo>
                      <a:pt x="80" y="57"/>
                      <a:pt x="80" y="57"/>
                      <a:pt x="79" y="56"/>
                    </a:cubicBezTo>
                    <a:cubicBezTo>
                      <a:pt x="79" y="56"/>
                      <a:pt x="80" y="55"/>
                      <a:pt x="79" y="55"/>
                    </a:cubicBezTo>
                    <a:cubicBezTo>
                      <a:pt x="78" y="55"/>
                      <a:pt x="78" y="54"/>
                      <a:pt x="77" y="54"/>
                    </a:cubicBezTo>
                    <a:cubicBezTo>
                      <a:pt x="77" y="54"/>
                      <a:pt x="76" y="54"/>
                      <a:pt x="76" y="54"/>
                    </a:cubicBezTo>
                    <a:cubicBezTo>
                      <a:pt x="75" y="54"/>
                      <a:pt x="76" y="53"/>
                      <a:pt x="75" y="53"/>
                    </a:cubicBezTo>
                    <a:cubicBezTo>
                      <a:pt x="75" y="53"/>
                      <a:pt x="74" y="52"/>
                      <a:pt x="75" y="52"/>
                    </a:cubicBezTo>
                    <a:cubicBezTo>
                      <a:pt x="75" y="51"/>
                      <a:pt x="76" y="52"/>
                      <a:pt x="76" y="51"/>
                    </a:cubicBezTo>
                    <a:cubicBezTo>
                      <a:pt x="76" y="51"/>
                      <a:pt x="75" y="51"/>
                      <a:pt x="75" y="50"/>
                    </a:cubicBezTo>
                    <a:cubicBezTo>
                      <a:pt x="75" y="50"/>
                      <a:pt x="74" y="50"/>
                      <a:pt x="74" y="50"/>
                    </a:cubicBezTo>
                    <a:cubicBezTo>
                      <a:pt x="73" y="50"/>
                      <a:pt x="72" y="50"/>
                      <a:pt x="72" y="49"/>
                    </a:cubicBezTo>
                    <a:cubicBezTo>
                      <a:pt x="72" y="49"/>
                      <a:pt x="71" y="48"/>
                      <a:pt x="71" y="48"/>
                    </a:cubicBezTo>
                    <a:cubicBezTo>
                      <a:pt x="71" y="47"/>
                      <a:pt x="72" y="47"/>
                      <a:pt x="72" y="47"/>
                    </a:cubicBezTo>
                    <a:cubicBezTo>
                      <a:pt x="73" y="47"/>
                      <a:pt x="72" y="46"/>
                      <a:pt x="73" y="46"/>
                    </a:cubicBezTo>
                    <a:cubicBezTo>
                      <a:pt x="73" y="46"/>
                      <a:pt x="72" y="46"/>
                      <a:pt x="72" y="46"/>
                    </a:cubicBezTo>
                    <a:cubicBezTo>
                      <a:pt x="71" y="46"/>
                      <a:pt x="70" y="46"/>
                      <a:pt x="71" y="45"/>
                    </a:cubicBezTo>
                    <a:cubicBezTo>
                      <a:pt x="71" y="45"/>
                      <a:pt x="72" y="44"/>
                      <a:pt x="71" y="44"/>
                    </a:cubicBezTo>
                    <a:cubicBezTo>
                      <a:pt x="71" y="43"/>
                      <a:pt x="71" y="43"/>
                      <a:pt x="72" y="42"/>
                    </a:cubicBezTo>
                    <a:cubicBezTo>
                      <a:pt x="72" y="42"/>
                      <a:pt x="71" y="42"/>
                      <a:pt x="71" y="42"/>
                    </a:cubicBezTo>
                    <a:cubicBezTo>
                      <a:pt x="71" y="41"/>
                      <a:pt x="74" y="41"/>
                      <a:pt x="74" y="41"/>
                    </a:cubicBezTo>
                    <a:cubicBezTo>
                      <a:pt x="74" y="41"/>
                      <a:pt x="73" y="39"/>
                      <a:pt x="73" y="39"/>
                    </a:cubicBezTo>
                    <a:cubicBezTo>
                      <a:pt x="72" y="38"/>
                      <a:pt x="72" y="37"/>
                      <a:pt x="71" y="37"/>
                    </a:cubicBezTo>
                    <a:cubicBezTo>
                      <a:pt x="70" y="36"/>
                      <a:pt x="69" y="34"/>
                      <a:pt x="68" y="33"/>
                    </a:cubicBezTo>
                    <a:cubicBezTo>
                      <a:pt x="67" y="32"/>
                      <a:pt x="67" y="32"/>
                      <a:pt x="67" y="32"/>
                    </a:cubicBezTo>
                    <a:cubicBezTo>
                      <a:pt x="66" y="31"/>
                      <a:pt x="65" y="31"/>
                      <a:pt x="64" y="30"/>
                    </a:cubicBezTo>
                    <a:cubicBezTo>
                      <a:pt x="64" y="29"/>
                      <a:pt x="65" y="28"/>
                      <a:pt x="65" y="28"/>
                    </a:cubicBezTo>
                    <a:cubicBezTo>
                      <a:pt x="66" y="27"/>
                      <a:pt x="67" y="26"/>
                      <a:pt x="67" y="26"/>
                    </a:cubicBezTo>
                    <a:cubicBezTo>
                      <a:pt x="68" y="25"/>
                      <a:pt x="69" y="24"/>
                      <a:pt x="70" y="24"/>
                    </a:cubicBezTo>
                    <a:cubicBezTo>
                      <a:pt x="70" y="23"/>
                      <a:pt x="69" y="22"/>
                      <a:pt x="69" y="22"/>
                    </a:cubicBezTo>
                    <a:cubicBezTo>
                      <a:pt x="68" y="21"/>
                      <a:pt x="67" y="21"/>
                      <a:pt x="66" y="20"/>
                    </a:cubicBezTo>
                    <a:cubicBezTo>
                      <a:pt x="66" y="20"/>
                      <a:pt x="65" y="19"/>
                      <a:pt x="65" y="19"/>
                    </a:cubicBezTo>
                    <a:cubicBezTo>
                      <a:pt x="64" y="18"/>
                      <a:pt x="64" y="18"/>
                      <a:pt x="63" y="18"/>
                    </a:cubicBezTo>
                    <a:cubicBezTo>
                      <a:pt x="62" y="18"/>
                      <a:pt x="60" y="18"/>
                      <a:pt x="60" y="17"/>
                    </a:cubicBezTo>
                    <a:cubicBezTo>
                      <a:pt x="59" y="17"/>
                      <a:pt x="58" y="16"/>
                      <a:pt x="58" y="15"/>
                    </a:cubicBezTo>
                    <a:cubicBezTo>
                      <a:pt x="57" y="14"/>
                      <a:pt x="58" y="14"/>
                      <a:pt x="58" y="13"/>
                    </a:cubicBezTo>
                    <a:cubicBezTo>
                      <a:pt x="59" y="13"/>
                      <a:pt x="60" y="12"/>
                      <a:pt x="59" y="11"/>
                    </a:cubicBezTo>
                    <a:cubicBezTo>
                      <a:pt x="59" y="11"/>
                      <a:pt x="57" y="11"/>
                      <a:pt x="57" y="11"/>
                    </a:cubicBezTo>
                    <a:cubicBezTo>
                      <a:pt x="58" y="11"/>
                      <a:pt x="59" y="10"/>
                      <a:pt x="61" y="10"/>
                    </a:cubicBezTo>
                    <a:cubicBezTo>
                      <a:pt x="60" y="9"/>
                      <a:pt x="59" y="9"/>
                      <a:pt x="60" y="8"/>
                    </a:cubicBezTo>
                    <a:cubicBezTo>
                      <a:pt x="60" y="8"/>
                      <a:pt x="60" y="7"/>
                      <a:pt x="61" y="7"/>
                    </a:cubicBezTo>
                    <a:cubicBezTo>
                      <a:pt x="62" y="6"/>
                      <a:pt x="63" y="6"/>
                      <a:pt x="61" y="4"/>
                    </a:cubicBezTo>
                    <a:cubicBezTo>
                      <a:pt x="60" y="3"/>
                      <a:pt x="59" y="3"/>
                      <a:pt x="57" y="3"/>
                    </a:cubicBezTo>
                    <a:cubicBezTo>
                      <a:pt x="57" y="3"/>
                      <a:pt x="55" y="3"/>
                      <a:pt x="55" y="2"/>
                    </a:cubicBezTo>
                    <a:cubicBezTo>
                      <a:pt x="55" y="2"/>
                      <a:pt x="54" y="2"/>
                      <a:pt x="54" y="1"/>
                    </a:cubicBezTo>
                    <a:cubicBezTo>
                      <a:pt x="52" y="1"/>
                      <a:pt x="52" y="0"/>
                      <a:pt x="51" y="0"/>
                    </a:cubicBezTo>
                    <a:cubicBezTo>
                      <a:pt x="50" y="0"/>
                      <a:pt x="49" y="1"/>
                      <a:pt x="48" y="1"/>
                    </a:cubicBezTo>
                    <a:cubicBezTo>
                      <a:pt x="48" y="1"/>
                      <a:pt x="48" y="1"/>
                      <a:pt x="48" y="1"/>
                    </a:cubicBezTo>
                    <a:cubicBezTo>
                      <a:pt x="48" y="1"/>
                      <a:pt x="47" y="1"/>
                      <a:pt x="47" y="1"/>
                    </a:cubicBezTo>
                    <a:cubicBezTo>
                      <a:pt x="47" y="1"/>
                      <a:pt x="46" y="1"/>
                      <a:pt x="45" y="1"/>
                    </a:cubicBezTo>
                    <a:cubicBezTo>
                      <a:pt x="45" y="1"/>
                      <a:pt x="44" y="1"/>
                      <a:pt x="44" y="1"/>
                    </a:cubicBezTo>
                    <a:cubicBezTo>
                      <a:pt x="43" y="1"/>
                      <a:pt x="42" y="1"/>
                      <a:pt x="42" y="2"/>
                    </a:cubicBezTo>
                    <a:cubicBezTo>
                      <a:pt x="41" y="2"/>
                      <a:pt x="41" y="2"/>
                      <a:pt x="41" y="2"/>
                    </a:cubicBezTo>
                    <a:cubicBezTo>
                      <a:pt x="40" y="3"/>
                      <a:pt x="40" y="3"/>
                      <a:pt x="39" y="3"/>
                    </a:cubicBezTo>
                    <a:cubicBezTo>
                      <a:pt x="39" y="3"/>
                      <a:pt x="38" y="3"/>
                      <a:pt x="38" y="4"/>
                    </a:cubicBezTo>
                    <a:cubicBezTo>
                      <a:pt x="38" y="4"/>
                      <a:pt x="39" y="4"/>
                      <a:pt x="39" y="4"/>
                    </a:cubicBezTo>
                    <a:cubicBezTo>
                      <a:pt x="39" y="5"/>
                      <a:pt x="38" y="5"/>
                      <a:pt x="38" y="5"/>
                    </a:cubicBezTo>
                    <a:cubicBezTo>
                      <a:pt x="38" y="5"/>
                      <a:pt x="38" y="6"/>
                      <a:pt x="38" y="6"/>
                    </a:cubicBezTo>
                    <a:cubicBezTo>
                      <a:pt x="38" y="7"/>
                      <a:pt x="38" y="7"/>
                      <a:pt x="37" y="7"/>
                    </a:cubicBezTo>
                    <a:cubicBezTo>
                      <a:pt x="37" y="8"/>
                      <a:pt x="38" y="9"/>
                      <a:pt x="38" y="9"/>
                    </a:cubicBezTo>
                    <a:cubicBezTo>
                      <a:pt x="38" y="10"/>
                      <a:pt x="38" y="10"/>
                      <a:pt x="38" y="10"/>
                    </a:cubicBezTo>
                    <a:cubicBezTo>
                      <a:pt x="38" y="11"/>
                      <a:pt x="37" y="11"/>
                      <a:pt x="37" y="11"/>
                    </a:cubicBezTo>
                    <a:cubicBezTo>
                      <a:pt x="36" y="11"/>
                      <a:pt x="34" y="11"/>
                      <a:pt x="34" y="12"/>
                    </a:cubicBezTo>
                    <a:cubicBezTo>
                      <a:pt x="34" y="13"/>
                      <a:pt x="34" y="13"/>
                      <a:pt x="33" y="13"/>
                    </a:cubicBezTo>
                    <a:cubicBezTo>
                      <a:pt x="33" y="13"/>
                      <a:pt x="33" y="13"/>
                      <a:pt x="32" y="14"/>
                    </a:cubicBezTo>
                    <a:cubicBezTo>
                      <a:pt x="32" y="14"/>
                      <a:pt x="32" y="14"/>
                      <a:pt x="32" y="14"/>
                    </a:cubicBezTo>
                    <a:cubicBezTo>
                      <a:pt x="32" y="14"/>
                      <a:pt x="31" y="13"/>
                      <a:pt x="31" y="13"/>
                    </a:cubicBezTo>
                    <a:cubicBezTo>
                      <a:pt x="30" y="13"/>
                      <a:pt x="30" y="13"/>
                      <a:pt x="29" y="13"/>
                    </a:cubicBezTo>
                    <a:cubicBezTo>
                      <a:pt x="28" y="12"/>
                      <a:pt x="26" y="12"/>
                      <a:pt x="25" y="11"/>
                    </a:cubicBezTo>
                    <a:cubicBezTo>
                      <a:pt x="24" y="11"/>
                      <a:pt x="24" y="12"/>
                      <a:pt x="24" y="12"/>
                    </a:cubicBezTo>
                    <a:cubicBezTo>
                      <a:pt x="23" y="13"/>
                      <a:pt x="22" y="13"/>
                      <a:pt x="22" y="13"/>
                    </a:cubicBezTo>
                    <a:cubicBezTo>
                      <a:pt x="20" y="13"/>
                      <a:pt x="19" y="13"/>
                      <a:pt x="17" y="13"/>
                    </a:cubicBezTo>
                    <a:cubicBezTo>
                      <a:pt x="16" y="13"/>
                      <a:pt x="16" y="12"/>
                      <a:pt x="15" y="12"/>
                    </a:cubicBezTo>
                    <a:cubicBezTo>
                      <a:pt x="14" y="12"/>
                      <a:pt x="14" y="12"/>
                      <a:pt x="14" y="11"/>
                    </a:cubicBezTo>
                    <a:cubicBezTo>
                      <a:pt x="13" y="11"/>
                      <a:pt x="12" y="10"/>
                      <a:pt x="11" y="9"/>
                    </a:cubicBezTo>
                    <a:cubicBezTo>
                      <a:pt x="10" y="9"/>
                      <a:pt x="9" y="8"/>
                      <a:pt x="9" y="8"/>
                    </a:cubicBezTo>
                    <a:cubicBezTo>
                      <a:pt x="8" y="8"/>
                      <a:pt x="8" y="7"/>
                      <a:pt x="7" y="7"/>
                    </a:cubicBezTo>
                    <a:cubicBezTo>
                      <a:pt x="7" y="7"/>
                      <a:pt x="5" y="7"/>
                      <a:pt x="5" y="8"/>
                    </a:cubicBezTo>
                    <a:cubicBezTo>
                      <a:pt x="4" y="8"/>
                      <a:pt x="5" y="9"/>
                      <a:pt x="4" y="9"/>
                    </a:cubicBezTo>
                    <a:cubicBezTo>
                      <a:pt x="3" y="9"/>
                      <a:pt x="2" y="9"/>
                      <a:pt x="2" y="9"/>
                    </a:cubicBezTo>
                    <a:cubicBezTo>
                      <a:pt x="2" y="10"/>
                      <a:pt x="3" y="10"/>
                      <a:pt x="3" y="10"/>
                    </a:cubicBezTo>
                    <a:cubicBezTo>
                      <a:pt x="4" y="10"/>
                      <a:pt x="3" y="11"/>
                      <a:pt x="4" y="11"/>
                    </a:cubicBezTo>
                    <a:cubicBezTo>
                      <a:pt x="4" y="11"/>
                      <a:pt x="5" y="11"/>
                      <a:pt x="6" y="11"/>
                    </a:cubicBezTo>
                    <a:cubicBezTo>
                      <a:pt x="6" y="12"/>
                      <a:pt x="6" y="12"/>
                      <a:pt x="7" y="12"/>
                    </a:cubicBezTo>
                    <a:cubicBezTo>
                      <a:pt x="7" y="12"/>
                      <a:pt x="7" y="12"/>
                      <a:pt x="8" y="12"/>
                    </a:cubicBezTo>
                    <a:cubicBezTo>
                      <a:pt x="8" y="13"/>
                      <a:pt x="9" y="13"/>
                      <a:pt x="9" y="13"/>
                    </a:cubicBezTo>
                    <a:cubicBezTo>
                      <a:pt x="10" y="13"/>
                      <a:pt x="10" y="14"/>
                      <a:pt x="10" y="14"/>
                    </a:cubicBezTo>
                    <a:cubicBezTo>
                      <a:pt x="10" y="14"/>
                      <a:pt x="11" y="14"/>
                      <a:pt x="11" y="14"/>
                    </a:cubicBezTo>
                    <a:cubicBezTo>
                      <a:pt x="12" y="14"/>
                      <a:pt x="12" y="15"/>
                      <a:pt x="13" y="15"/>
                    </a:cubicBezTo>
                    <a:cubicBezTo>
                      <a:pt x="14" y="15"/>
                      <a:pt x="15" y="15"/>
                      <a:pt x="17" y="15"/>
                    </a:cubicBezTo>
                    <a:cubicBezTo>
                      <a:pt x="18" y="16"/>
                      <a:pt x="20" y="16"/>
                      <a:pt x="20" y="17"/>
                    </a:cubicBezTo>
                    <a:cubicBezTo>
                      <a:pt x="20" y="18"/>
                      <a:pt x="21" y="18"/>
                      <a:pt x="22" y="18"/>
                    </a:cubicBezTo>
                    <a:cubicBezTo>
                      <a:pt x="22" y="18"/>
                      <a:pt x="23" y="19"/>
                      <a:pt x="23" y="19"/>
                    </a:cubicBezTo>
                    <a:cubicBezTo>
                      <a:pt x="23" y="19"/>
                      <a:pt x="25" y="20"/>
                      <a:pt x="24" y="20"/>
                    </a:cubicBezTo>
                    <a:cubicBezTo>
                      <a:pt x="24" y="20"/>
                      <a:pt x="23" y="20"/>
                      <a:pt x="23" y="21"/>
                    </a:cubicBezTo>
                    <a:cubicBezTo>
                      <a:pt x="23" y="21"/>
                      <a:pt x="23" y="22"/>
                      <a:pt x="23" y="22"/>
                    </a:cubicBezTo>
                    <a:cubicBezTo>
                      <a:pt x="24" y="23"/>
                      <a:pt x="24" y="23"/>
                      <a:pt x="23" y="23"/>
                    </a:cubicBezTo>
                    <a:cubicBezTo>
                      <a:pt x="23" y="24"/>
                      <a:pt x="23" y="24"/>
                      <a:pt x="23" y="24"/>
                    </a:cubicBezTo>
                    <a:cubicBezTo>
                      <a:pt x="24" y="25"/>
                      <a:pt x="24" y="24"/>
                      <a:pt x="25" y="24"/>
                    </a:cubicBezTo>
                    <a:cubicBezTo>
                      <a:pt x="25" y="24"/>
                      <a:pt x="26" y="25"/>
                      <a:pt x="26" y="26"/>
                    </a:cubicBezTo>
                    <a:cubicBezTo>
                      <a:pt x="26" y="26"/>
                      <a:pt x="25" y="26"/>
                      <a:pt x="24" y="26"/>
                    </a:cubicBezTo>
                    <a:cubicBezTo>
                      <a:pt x="24" y="27"/>
                      <a:pt x="27" y="30"/>
                      <a:pt x="28" y="30"/>
                    </a:cubicBezTo>
                    <a:cubicBezTo>
                      <a:pt x="28" y="31"/>
                      <a:pt x="27" y="31"/>
                      <a:pt x="27" y="31"/>
                    </a:cubicBezTo>
                    <a:cubicBezTo>
                      <a:pt x="27" y="31"/>
                      <a:pt x="27" y="32"/>
                      <a:pt x="27" y="33"/>
                    </a:cubicBezTo>
                    <a:cubicBezTo>
                      <a:pt x="27" y="33"/>
                      <a:pt x="26" y="33"/>
                      <a:pt x="26" y="34"/>
                    </a:cubicBezTo>
                    <a:cubicBezTo>
                      <a:pt x="26" y="34"/>
                      <a:pt x="26" y="34"/>
                      <a:pt x="26" y="35"/>
                    </a:cubicBezTo>
                    <a:cubicBezTo>
                      <a:pt x="26" y="36"/>
                      <a:pt x="26" y="36"/>
                      <a:pt x="27" y="36"/>
                    </a:cubicBezTo>
                    <a:cubicBezTo>
                      <a:pt x="28" y="37"/>
                      <a:pt x="28" y="37"/>
                      <a:pt x="29" y="38"/>
                    </a:cubicBezTo>
                    <a:cubicBezTo>
                      <a:pt x="29" y="38"/>
                      <a:pt x="29" y="39"/>
                      <a:pt x="30" y="39"/>
                    </a:cubicBezTo>
                    <a:cubicBezTo>
                      <a:pt x="30" y="39"/>
                      <a:pt x="31" y="41"/>
                      <a:pt x="31" y="40"/>
                    </a:cubicBezTo>
                    <a:cubicBezTo>
                      <a:pt x="31" y="40"/>
                      <a:pt x="31" y="40"/>
                      <a:pt x="30" y="40"/>
                    </a:cubicBezTo>
                    <a:cubicBezTo>
                      <a:pt x="31" y="40"/>
                      <a:pt x="32" y="41"/>
                      <a:pt x="33" y="40"/>
                    </a:cubicBezTo>
                    <a:cubicBezTo>
                      <a:pt x="33" y="41"/>
                      <a:pt x="33" y="41"/>
                      <a:pt x="34" y="41"/>
                    </a:cubicBezTo>
                    <a:cubicBezTo>
                      <a:pt x="34" y="41"/>
                      <a:pt x="34" y="42"/>
                      <a:pt x="34" y="42"/>
                    </a:cubicBezTo>
                    <a:cubicBezTo>
                      <a:pt x="34" y="42"/>
                      <a:pt x="35" y="41"/>
                      <a:pt x="35" y="42"/>
                    </a:cubicBezTo>
                    <a:cubicBezTo>
                      <a:pt x="35" y="42"/>
                      <a:pt x="36" y="42"/>
                      <a:pt x="36" y="42"/>
                    </a:cubicBezTo>
                    <a:cubicBezTo>
                      <a:pt x="36" y="42"/>
                      <a:pt x="37" y="42"/>
                      <a:pt x="37" y="42"/>
                    </a:cubicBezTo>
                    <a:cubicBezTo>
                      <a:pt x="38" y="43"/>
                      <a:pt x="38" y="42"/>
                      <a:pt x="38" y="43"/>
                    </a:cubicBezTo>
                    <a:cubicBezTo>
                      <a:pt x="38" y="43"/>
                      <a:pt x="39" y="43"/>
                      <a:pt x="39" y="44"/>
                    </a:cubicBezTo>
                    <a:cubicBezTo>
                      <a:pt x="39" y="44"/>
                      <a:pt x="39" y="44"/>
                      <a:pt x="39" y="44"/>
                    </a:cubicBezTo>
                    <a:cubicBezTo>
                      <a:pt x="39" y="44"/>
                      <a:pt x="39" y="44"/>
                      <a:pt x="39" y="45"/>
                    </a:cubicBezTo>
                    <a:cubicBezTo>
                      <a:pt x="39" y="45"/>
                      <a:pt x="39" y="45"/>
                      <a:pt x="39" y="45"/>
                    </a:cubicBezTo>
                    <a:cubicBezTo>
                      <a:pt x="39" y="45"/>
                      <a:pt x="39" y="45"/>
                      <a:pt x="39" y="45"/>
                    </a:cubicBezTo>
                    <a:cubicBezTo>
                      <a:pt x="39" y="46"/>
                      <a:pt x="39" y="46"/>
                      <a:pt x="39" y="46"/>
                    </a:cubicBezTo>
                    <a:cubicBezTo>
                      <a:pt x="39" y="46"/>
                      <a:pt x="39" y="46"/>
                      <a:pt x="39" y="46"/>
                    </a:cubicBezTo>
                    <a:cubicBezTo>
                      <a:pt x="39" y="46"/>
                      <a:pt x="39" y="46"/>
                      <a:pt x="39" y="46"/>
                    </a:cubicBezTo>
                    <a:cubicBezTo>
                      <a:pt x="39" y="47"/>
                      <a:pt x="39" y="47"/>
                      <a:pt x="40" y="47"/>
                    </a:cubicBezTo>
                    <a:cubicBezTo>
                      <a:pt x="40" y="47"/>
                      <a:pt x="40" y="48"/>
                      <a:pt x="41" y="48"/>
                    </a:cubicBezTo>
                    <a:cubicBezTo>
                      <a:pt x="41" y="48"/>
                      <a:pt x="39" y="48"/>
                      <a:pt x="39" y="48"/>
                    </a:cubicBezTo>
                    <a:cubicBezTo>
                      <a:pt x="39" y="49"/>
                      <a:pt x="41" y="48"/>
                      <a:pt x="40" y="49"/>
                    </a:cubicBezTo>
                    <a:cubicBezTo>
                      <a:pt x="40" y="50"/>
                      <a:pt x="39" y="49"/>
                      <a:pt x="38" y="49"/>
                    </a:cubicBezTo>
                    <a:cubicBezTo>
                      <a:pt x="38" y="49"/>
                      <a:pt x="35" y="49"/>
                      <a:pt x="36" y="50"/>
                    </a:cubicBezTo>
                    <a:cubicBezTo>
                      <a:pt x="36" y="49"/>
                      <a:pt x="34" y="50"/>
                      <a:pt x="34" y="50"/>
                    </a:cubicBezTo>
                    <a:cubicBezTo>
                      <a:pt x="34" y="50"/>
                      <a:pt x="34" y="51"/>
                      <a:pt x="33" y="51"/>
                    </a:cubicBezTo>
                    <a:cubicBezTo>
                      <a:pt x="33" y="51"/>
                      <a:pt x="33" y="52"/>
                      <a:pt x="33" y="52"/>
                    </a:cubicBezTo>
                    <a:cubicBezTo>
                      <a:pt x="33" y="52"/>
                      <a:pt x="32" y="52"/>
                      <a:pt x="32" y="53"/>
                    </a:cubicBezTo>
                    <a:cubicBezTo>
                      <a:pt x="32" y="53"/>
                      <a:pt x="32" y="53"/>
                      <a:pt x="33" y="53"/>
                    </a:cubicBezTo>
                    <a:cubicBezTo>
                      <a:pt x="32" y="53"/>
                      <a:pt x="29" y="54"/>
                      <a:pt x="30" y="55"/>
                    </a:cubicBezTo>
                    <a:cubicBezTo>
                      <a:pt x="30" y="55"/>
                      <a:pt x="29" y="55"/>
                      <a:pt x="29" y="55"/>
                    </a:cubicBezTo>
                    <a:cubicBezTo>
                      <a:pt x="29" y="56"/>
                      <a:pt x="29" y="56"/>
                      <a:pt x="28" y="56"/>
                    </a:cubicBezTo>
                    <a:cubicBezTo>
                      <a:pt x="28" y="56"/>
                      <a:pt x="28" y="57"/>
                      <a:pt x="28" y="56"/>
                    </a:cubicBezTo>
                    <a:cubicBezTo>
                      <a:pt x="28" y="57"/>
                      <a:pt x="28" y="57"/>
                      <a:pt x="28" y="57"/>
                    </a:cubicBezTo>
                    <a:cubicBezTo>
                      <a:pt x="28" y="57"/>
                      <a:pt x="27" y="57"/>
                      <a:pt x="26" y="57"/>
                    </a:cubicBezTo>
                    <a:cubicBezTo>
                      <a:pt x="26" y="57"/>
                      <a:pt x="26" y="58"/>
                      <a:pt x="27" y="58"/>
                    </a:cubicBezTo>
                    <a:cubicBezTo>
                      <a:pt x="26" y="59"/>
                      <a:pt x="26" y="58"/>
                      <a:pt x="26" y="58"/>
                    </a:cubicBezTo>
                    <a:cubicBezTo>
                      <a:pt x="26" y="59"/>
                      <a:pt x="25" y="59"/>
                      <a:pt x="25" y="59"/>
                    </a:cubicBezTo>
                    <a:cubicBezTo>
                      <a:pt x="25" y="59"/>
                      <a:pt x="25" y="59"/>
                      <a:pt x="25" y="59"/>
                    </a:cubicBezTo>
                    <a:cubicBezTo>
                      <a:pt x="25" y="59"/>
                      <a:pt x="24" y="59"/>
                      <a:pt x="24" y="59"/>
                    </a:cubicBezTo>
                    <a:cubicBezTo>
                      <a:pt x="24" y="59"/>
                      <a:pt x="25" y="59"/>
                      <a:pt x="25" y="59"/>
                    </a:cubicBezTo>
                    <a:cubicBezTo>
                      <a:pt x="24" y="59"/>
                      <a:pt x="24" y="59"/>
                      <a:pt x="24" y="59"/>
                    </a:cubicBezTo>
                    <a:cubicBezTo>
                      <a:pt x="24" y="59"/>
                      <a:pt x="24" y="60"/>
                      <a:pt x="24" y="60"/>
                    </a:cubicBezTo>
                    <a:cubicBezTo>
                      <a:pt x="24" y="60"/>
                      <a:pt x="23" y="59"/>
                      <a:pt x="23" y="60"/>
                    </a:cubicBezTo>
                    <a:cubicBezTo>
                      <a:pt x="23" y="60"/>
                      <a:pt x="24" y="60"/>
                      <a:pt x="23" y="60"/>
                    </a:cubicBezTo>
                    <a:cubicBezTo>
                      <a:pt x="23" y="60"/>
                      <a:pt x="24" y="60"/>
                      <a:pt x="23" y="60"/>
                    </a:cubicBezTo>
                    <a:cubicBezTo>
                      <a:pt x="23" y="60"/>
                      <a:pt x="23" y="60"/>
                      <a:pt x="23" y="61"/>
                    </a:cubicBezTo>
                    <a:cubicBezTo>
                      <a:pt x="23" y="61"/>
                      <a:pt x="23" y="61"/>
                      <a:pt x="23" y="61"/>
                    </a:cubicBezTo>
                    <a:cubicBezTo>
                      <a:pt x="22" y="61"/>
                      <a:pt x="22" y="61"/>
                      <a:pt x="22" y="61"/>
                    </a:cubicBezTo>
                    <a:cubicBezTo>
                      <a:pt x="22" y="61"/>
                      <a:pt x="21" y="61"/>
                      <a:pt x="21" y="60"/>
                    </a:cubicBezTo>
                    <a:cubicBezTo>
                      <a:pt x="21" y="61"/>
                      <a:pt x="20" y="61"/>
                      <a:pt x="20" y="62"/>
                    </a:cubicBezTo>
                    <a:cubicBezTo>
                      <a:pt x="20" y="62"/>
                      <a:pt x="20" y="62"/>
                      <a:pt x="20" y="62"/>
                    </a:cubicBezTo>
                    <a:cubicBezTo>
                      <a:pt x="20" y="63"/>
                      <a:pt x="20" y="63"/>
                      <a:pt x="19" y="62"/>
                    </a:cubicBezTo>
                    <a:cubicBezTo>
                      <a:pt x="19" y="62"/>
                      <a:pt x="19" y="62"/>
                      <a:pt x="19" y="62"/>
                    </a:cubicBezTo>
                    <a:cubicBezTo>
                      <a:pt x="19" y="63"/>
                      <a:pt x="19" y="63"/>
                      <a:pt x="20" y="63"/>
                    </a:cubicBezTo>
                    <a:cubicBezTo>
                      <a:pt x="19" y="63"/>
                      <a:pt x="18" y="63"/>
                      <a:pt x="18" y="63"/>
                    </a:cubicBezTo>
                    <a:cubicBezTo>
                      <a:pt x="18" y="63"/>
                      <a:pt x="20" y="64"/>
                      <a:pt x="20" y="64"/>
                    </a:cubicBezTo>
                    <a:cubicBezTo>
                      <a:pt x="19" y="65"/>
                      <a:pt x="19" y="64"/>
                      <a:pt x="19" y="65"/>
                    </a:cubicBezTo>
                    <a:cubicBezTo>
                      <a:pt x="19" y="65"/>
                      <a:pt x="18" y="65"/>
                      <a:pt x="17" y="65"/>
                    </a:cubicBezTo>
                    <a:cubicBezTo>
                      <a:pt x="17" y="65"/>
                      <a:pt x="17" y="65"/>
                      <a:pt x="17" y="65"/>
                    </a:cubicBezTo>
                    <a:cubicBezTo>
                      <a:pt x="17" y="65"/>
                      <a:pt x="17" y="66"/>
                      <a:pt x="17" y="66"/>
                    </a:cubicBezTo>
                    <a:cubicBezTo>
                      <a:pt x="17" y="66"/>
                      <a:pt x="17" y="66"/>
                      <a:pt x="16" y="65"/>
                    </a:cubicBezTo>
                    <a:cubicBezTo>
                      <a:pt x="17" y="65"/>
                      <a:pt x="17" y="65"/>
                      <a:pt x="17" y="65"/>
                    </a:cubicBezTo>
                    <a:cubicBezTo>
                      <a:pt x="16" y="65"/>
                      <a:pt x="16" y="65"/>
                      <a:pt x="16" y="65"/>
                    </a:cubicBezTo>
                    <a:cubicBezTo>
                      <a:pt x="16" y="65"/>
                      <a:pt x="15" y="65"/>
                      <a:pt x="15" y="65"/>
                    </a:cubicBezTo>
                    <a:cubicBezTo>
                      <a:pt x="15" y="65"/>
                      <a:pt x="14" y="65"/>
                      <a:pt x="14" y="65"/>
                    </a:cubicBezTo>
                    <a:cubicBezTo>
                      <a:pt x="13" y="65"/>
                      <a:pt x="13" y="65"/>
                      <a:pt x="14" y="65"/>
                    </a:cubicBezTo>
                    <a:cubicBezTo>
                      <a:pt x="13" y="66"/>
                      <a:pt x="15" y="67"/>
                      <a:pt x="15" y="67"/>
                    </a:cubicBezTo>
                    <a:cubicBezTo>
                      <a:pt x="15" y="67"/>
                      <a:pt x="13" y="66"/>
                      <a:pt x="13" y="67"/>
                    </a:cubicBezTo>
                    <a:cubicBezTo>
                      <a:pt x="13" y="67"/>
                      <a:pt x="13" y="68"/>
                      <a:pt x="13" y="68"/>
                    </a:cubicBezTo>
                    <a:cubicBezTo>
                      <a:pt x="12" y="69"/>
                      <a:pt x="12" y="69"/>
                      <a:pt x="12" y="69"/>
                    </a:cubicBezTo>
                    <a:cubicBezTo>
                      <a:pt x="12" y="69"/>
                      <a:pt x="10" y="70"/>
                      <a:pt x="11" y="70"/>
                    </a:cubicBezTo>
                    <a:cubicBezTo>
                      <a:pt x="11" y="70"/>
                      <a:pt x="10" y="70"/>
                      <a:pt x="10" y="71"/>
                    </a:cubicBezTo>
                    <a:cubicBezTo>
                      <a:pt x="11" y="71"/>
                      <a:pt x="11" y="71"/>
                      <a:pt x="11" y="71"/>
                    </a:cubicBezTo>
                    <a:cubicBezTo>
                      <a:pt x="11" y="71"/>
                      <a:pt x="11" y="71"/>
                      <a:pt x="11" y="71"/>
                    </a:cubicBezTo>
                    <a:cubicBezTo>
                      <a:pt x="11" y="71"/>
                      <a:pt x="11" y="71"/>
                      <a:pt x="12" y="71"/>
                    </a:cubicBezTo>
                    <a:cubicBezTo>
                      <a:pt x="11" y="71"/>
                      <a:pt x="11" y="72"/>
                      <a:pt x="11" y="72"/>
                    </a:cubicBezTo>
                    <a:cubicBezTo>
                      <a:pt x="11" y="72"/>
                      <a:pt x="11" y="72"/>
                      <a:pt x="11" y="72"/>
                    </a:cubicBezTo>
                    <a:cubicBezTo>
                      <a:pt x="11" y="73"/>
                      <a:pt x="11" y="73"/>
                      <a:pt x="11" y="72"/>
                    </a:cubicBezTo>
                    <a:cubicBezTo>
                      <a:pt x="11" y="73"/>
                      <a:pt x="11" y="73"/>
                      <a:pt x="11" y="73"/>
                    </a:cubicBezTo>
                    <a:cubicBezTo>
                      <a:pt x="12" y="73"/>
                      <a:pt x="11" y="73"/>
                      <a:pt x="12" y="74"/>
                    </a:cubicBezTo>
                    <a:cubicBezTo>
                      <a:pt x="12" y="74"/>
                      <a:pt x="12" y="73"/>
                      <a:pt x="12" y="73"/>
                    </a:cubicBezTo>
                    <a:cubicBezTo>
                      <a:pt x="12" y="74"/>
                      <a:pt x="12" y="73"/>
                      <a:pt x="13" y="74"/>
                    </a:cubicBezTo>
                    <a:cubicBezTo>
                      <a:pt x="13" y="74"/>
                      <a:pt x="13" y="74"/>
                      <a:pt x="13" y="75"/>
                    </a:cubicBezTo>
                    <a:cubicBezTo>
                      <a:pt x="13" y="75"/>
                      <a:pt x="13" y="75"/>
                      <a:pt x="13" y="75"/>
                    </a:cubicBezTo>
                    <a:cubicBezTo>
                      <a:pt x="13" y="75"/>
                      <a:pt x="13" y="75"/>
                      <a:pt x="13" y="75"/>
                    </a:cubicBezTo>
                    <a:cubicBezTo>
                      <a:pt x="13" y="75"/>
                      <a:pt x="13" y="75"/>
                      <a:pt x="13" y="76"/>
                    </a:cubicBezTo>
                    <a:cubicBezTo>
                      <a:pt x="13" y="76"/>
                      <a:pt x="13" y="76"/>
                      <a:pt x="13" y="76"/>
                    </a:cubicBezTo>
                    <a:cubicBezTo>
                      <a:pt x="13" y="76"/>
                      <a:pt x="13" y="77"/>
                      <a:pt x="12" y="77"/>
                    </a:cubicBezTo>
                    <a:cubicBezTo>
                      <a:pt x="13" y="77"/>
                      <a:pt x="13" y="77"/>
                      <a:pt x="13" y="78"/>
                    </a:cubicBezTo>
                    <a:cubicBezTo>
                      <a:pt x="13" y="78"/>
                      <a:pt x="13" y="78"/>
                      <a:pt x="14" y="78"/>
                    </a:cubicBezTo>
                    <a:cubicBezTo>
                      <a:pt x="14" y="78"/>
                      <a:pt x="14" y="79"/>
                      <a:pt x="14" y="79"/>
                    </a:cubicBezTo>
                    <a:cubicBezTo>
                      <a:pt x="14" y="79"/>
                      <a:pt x="15" y="80"/>
                      <a:pt x="15" y="80"/>
                    </a:cubicBezTo>
                    <a:cubicBezTo>
                      <a:pt x="15" y="80"/>
                      <a:pt x="15" y="80"/>
                      <a:pt x="15" y="80"/>
                    </a:cubicBezTo>
                    <a:cubicBezTo>
                      <a:pt x="15" y="80"/>
                      <a:pt x="16" y="82"/>
                      <a:pt x="16" y="82"/>
                    </a:cubicBezTo>
                    <a:cubicBezTo>
                      <a:pt x="16" y="82"/>
                      <a:pt x="14" y="81"/>
                      <a:pt x="14" y="81"/>
                    </a:cubicBezTo>
                    <a:cubicBezTo>
                      <a:pt x="14" y="82"/>
                      <a:pt x="15" y="82"/>
                      <a:pt x="15" y="82"/>
                    </a:cubicBezTo>
                    <a:cubicBezTo>
                      <a:pt x="15" y="82"/>
                      <a:pt x="14" y="82"/>
                      <a:pt x="14" y="82"/>
                    </a:cubicBezTo>
                    <a:cubicBezTo>
                      <a:pt x="14" y="82"/>
                      <a:pt x="15" y="82"/>
                      <a:pt x="15" y="83"/>
                    </a:cubicBezTo>
                    <a:cubicBezTo>
                      <a:pt x="15" y="83"/>
                      <a:pt x="15" y="83"/>
                      <a:pt x="14" y="83"/>
                    </a:cubicBezTo>
                    <a:cubicBezTo>
                      <a:pt x="15" y="83"/>
                      <a:pt x="15" y="84"/>
                      <a:pt x="15" y="84"/>
                    </a:cubicBezTo>
                    <a:cubicBezTo>
                      <a:pt x="15" y="84"/>
                      <a:pt x="15" y="84"/>
                      <a:pt x="15" y="84"/>
                    </a:cubicBezTo>
                    <a:cubicBezTo>
                      <a:pt x="15" y="85"/>
                      <a:pt x="15" y="85"/>
                      <a:pt x="16" y="85"/>
                    </a:cubicBezTo>
                    <a:cubicBezTo>
                      <a:pt x="15" y="85"/>
                      <a:pt x="15" y="85"/>
                      <a:pt x="15" y="85"/>
                    </a:cubicBezTo>
                    <a:cubicBezTo>
                      <a:pt x="15" y="85"/>
                      <a:pt x="14" y="85"/>
                      <a:pt x="14" y="85"/>
                    </a:cubicBezTo>
                    <a:cubicBezTo>
                      <a:pt x="15" y="85"/>
                      <a:pt x="14" y="86"/>
                      <a:pt x="15" y="86"/>
                    </a:cubicBezTo>
                    <a:cubicBezTo>
                      <a:pt x="15" y="86"/>
                      <a:pt x="14" y="86"/>
                      <a:pt x="14" y="86"/>
                    </a:cubicBezTo>
                    <a:cubicBezTo>
                      <a:pt x="14" y="86"/>
                      <a:pt x="15" y="87"/>
                      <a:pt x="14" y="87"/>
                    </a:cubicBezTo>
                    <a:cubicBezTo>
                      <a:pt x="14" y="87"/>
                      <a:pt x="14" y="86"/>
                      <a:pt x="13" y="86"/>
                    </a:cubicBezTo>
                    <a:cubicBezTo>
                      <a:pt x="14" y="87"/>
                      <a:pt x="14" y="87"/>
                      <a:pt x="14" y="87"/>
                    </a:cubicBezTo>
                    <a:cubicBezTo>
                      <a:pt x="14" y="87"/>
                      <a:pt x="15" y="88"/>
                      <a:pt x="15" y="88"/>
                    </a:cubicBezTo>
                    <a:cubicBezTo>
                      <a:pt x="14" y="88"/>
                      <a:pt x="14" y="88"/>
                      <a:pt x="14" y="88"/>
                    </a:cubicBezTo>
                    <a:cubicBezTo>
                      <a:pt x="14" y="88"/>
                      <a:pt x="15" y="88"/>
                      <a:pt x="15" y="88"/>
                    </a:cubicBezTo>
                    <a:cubicBezTo>
                      <a:pt x="14" y="88"/>
                      <a:pt x="14" y="88"/>
                      <a:pt x="14" y="89"/>
                    </a:cubicBezTo>
                    <a:cubicBezTo>
                      <a:pt x="14" y="89"/>
                      <a:pt x="15" y="90"/>
                      <a:pt x="15" y="90"/>
                    </a:cubicBezTo>
                    <a:cubicBezTo>
                      <a:pt x="15" y="90"/>
                      <a:pt x="14" y="90"/>
                      <a:pt x="14" y="90"/>
                    </a:cubicBezTo>
                    <a:cubicBezTo>
                      <a:pt x="14" y="91"/>
                      <a:pt x="15" y="91"/>
                      <a:pt x="15" y="91"/>
                    </a:cubicBezTo>
                    <a:cubicBezTo>
                      <a:pt x="14" y="91"/>
                      <a:pt x="15" y="91"/>
                      <a:pt x="15" y="91"/>
                    </a:cubicBezTo>
                    <a:cubicBezTo>
                      <a:pt x="15" y="91"/>
                      <a:pt x="15" y="91"/>
                      <a:pt x="16" y="91"/>
                    </a:cubicBezTo>
                    <a:cubicBezTo>
                      <a:pt x="16" y="92"/>
                      <a:pt x="16" y="93"/>
                      <a:pt x="17" y="92"/>
                    </a:cubicBezTo>
                    <a:cubicBezTo>
                      <a:pt x="17" y="91"/>
                      <a:pt x="17" y="91"/>
                      <a:pt x="16" y="91"/>
                    </a:cubicBezTo>
                    <a:cubicBezTo>
                      <a:pt x="17" y="91"/>
                      <a:pt x="17" y="91"/>
                      <a:pt x="17" y="91"/>
                    </a:cubicBezTo>
                    <a:cubicBezTo>
                      <a:pt x="17" y="91"/>
                      <a:pt x="18" y="91"/>
                      <a:pt x="18" y="91"/>
                    </a:cubicBezTo>
                    <a:cubicBezTo>
                      <a:pt x="18" y="91"/>
                      <a:pt x="17" y="92"/>
                      <a:pt x="18" y="92"/>
                    </a:cubicBezTo>
                    <a:cubicBezTo>
                      <a:pt x="18" y="92"/>
                      <a:pt x="18" y="92"/>
                      <a:pt x="18" y="92"/>
                    </a:cubicBezTo>
                    <a:cubicBezTo>
                      <a:pt x="18" y="92"/>
                      <a:pt x="18" y="92"/>
                      <a:pt x="18" y="92"/>
                    </a:cubicBezTo>
                    <a:cubicBezTo>
                      <a:pt x="18" y="92"/>
                      <a:pt x="19" y="92"/>
                      <a:pt x="19" y="92"/>
                    </a:cubicBezTo>
                    <a:cubicBezTo>
                      <a:pt x="19" y="92"/>
                      <a:pt x="20" y="93"/>
                      <a:pt x="20" y="92"/>
                    </a:cubicBezTo>
                    <a:cubicBezTo>
                      <a:pt x="20" y="93"/>
                      <a:pt x="20" y="93"/>
                      <a:pt x="20" y="93"/>
                    </a:cubicBezTo>
                    <a:cubicBezTo>
                      <a:pt x="20" y="93"/>
                      <a:pt x="21" y="93"/>
                      <a:pt x="21" y="93"/>
                    </a:cubicBezTo>
                    <a:cubicBezTo>
                      <a:pt x="21" y="93"/>
                      <a:pt x="21" y="93"/>
                      <a:pt x="21" y="93"/>
                    </a:cubicBezTo>
                    <a:cubicBezTo>
                      <a:pt x="22" y="94"/>
                      <a:pt x="23" y="93"/>
                      <a:pt x="23" y="93"/>
                    </a:cubicBezTo>
                    <a:cubicBezTo>
                      <a:pt x="23" y="93"/>
                      <a:pt x="24" y="93"/>
                      <a:pt x="24" y="93"/>
                    </a:cubicBezTo>
                    <a:cubicBezTo>
                      <a:pt x="24" y="94"/>
                      <a:pt x="23" y="94"/>
                      <a:pt x="23" y="94"/>
                    </a:cubicBezTo>
                    <a:cubicBezTo>
                      <a:pt x="23" y="95"/>
                      <a:pt x="24" y="95"/>
                      <a:pt x="24" y="95"/>
                    </a:cubicBezTo>
                    <a:cubicBezTo>
                      <a:pt x="24" y="95"/>
                      <a:pt x="24" y="95"/>
                      <a:pt x="24" y="95"/>
                    </a:cubicBezTo>
                    <a:cubicBezTo>
                      <a:pt x="24" y="95"/>
                      <a:pt x="25" y="95"/>
                      <a:pt x="26" y="94"/>
                    </a:cubicBezTo>
                    <a:cubicBezTo>
                      <a:pt x="26" y="94"/>
                      <a:pt x="28" y="93"/>
                      <a:pt x="28" y="94"/>
                    </a:cubicBezTo>
                    <a:cubicBezTo>
                      <a:pt x="28" y="94"/>
                      <a:pt x="27" y="94"/>
                      <a:pt x="27" y="95"/>
                    </a:cubicBezTo>
                    <a:cubicBezTo>
                      <a:pt x="27" y="94"/>
                      <a:pt x="27" y="94"/>
                      <a:pt x="27" y="94"/>
                    </a:cubicBezTo>
                    <a:cubicBezTo>
                      <a:pt x="27" y="94"/>
                      <a:pt x="26" y="95"/>
                      <a:pt x="26" y="95"/>
                    </a:cubicBezTo>
                    <a:cubicBezTo>
                      <a:pt x="25" y="95"/>
                      <a:pt x="24" y="95"/>
                      <a:pt x="23" y="95"/>
                    </a:cubicBezTo>
                    <a:cubicBezTo>
                      <a:pt x="23" y="95"/>
                      <a:pt x="23" y="95"/>
                      <a:pt x="23" y="95"/>
                    </a:cubicBezTo>
                    <a:cubicBezTo>
                      <a:pt x="23" y="95"/>
                      <a:pt x="23" y="95"/>
                      <a:pt x="23" y="96"/>
                    </a:cubicBezTo>
                    <a:cubicBezTo>
                      <a:pt x="23" y="96"/>
                      <a:pt x="24" y="96"/>
                      <a:pt x="24" y="96"/>
                    </a:cubicBezTo>
                    <a:cubicBezTo>
                      <a:pt x="24" y="96"/>
                      <a:pt x="23" y="96"/>
                      <a:pt x="23" y="96"/>
                    </a:cubicBezTo>
                    <a:cubicBezTo>
                      <a:pt x="23" y="96"/>
                      <a:pt x="23" y="96"/>
                      <a:pt x="23" y="96"/>
                    </a:cubicBezTo>
                    <a:cubicBezTo>
                      <a:pt x="23" y="96"/>
                      <a:pt x="22" y="97"/>
                      <a:pt x="23" y="97"/>
                    </a:cubicBezTo>
                    <a:cubicBezTo>
                      <a:pt x="23" y="97"/>
                      <a:pt x="23" y="97"/>
                      <a:pt x="23" y="97"/>
                    </a:cubicBezTo>
                    <a:cubicBezTo>
                      <a:pt x="23" y="97"/>
                      <a:pt x="23" y="97"/>
                      <a:pt x="24" y="97"/>
                    </a:cubicBezTo>
                    <a:cubicBezTo>
                      <a:pt x="24" y="97"/>
                      <a:pt x="24" y="97"/>
                      <a:pt x="24" y="97"/>
                    </a:cubicBezTo>
                    <a:cubicBezTo>
                      <a:pt x="24" y="97"/>
                      <a:pt x="24" y="97"/>
                      <a:pt x="24" y="97"/>
                    </a:cubicBezTo>
                    <a:cubicBezTo>
                      <a:pt x="25" y="97"/>
                      <a:pt x="25" y="97"/>
                      <a:pt x="26" y="97"/>
                    </a:cubicBezTo>
                    <a:cubicBezTo>
                      <a:pt x="26" y="97"/>
                      <a:pt x="26" y="97"/>
                      <a:pt x="26" y="96"/>
                    </a:cubicBezTo>
                    <a:cubicBezTo>
                      <a:pt x="26" y="96"/>
                      <a:pt x="26" y="96"/>
                      <a:pt x="26" y="95"/>
                    </a:cubicBezTo>
                    <a:cubicBezTo>
                      <a:pt x="26" y="95"/>
                      <a:pt x="26" y="95"/>
                      <a:pt x="27" y="95"/>
                    </a:cubicBezTo>
                    <a:cubicBezTo>
                      <a:pt x="27" y="95"/>
                      <a:pt x="26" y="95"/>
                      <a:pt x="26" y="95"/>
                    </a:cubicBezTo>
                    <a:cubicBezTo>
                      <a:pt x="26" y="96"/>
                      <a:pt x="27" y="96"/>
                      <a:pt x="28" y="96"/>
                    </a:cubicBezTo>
                    <a:cubicBezTo>
                      <a:pt x="26" y="97"/>
                      <a:pt x="29" y="97"/>
                      <a:pt x="29" y="97"/>
                    </a:cubicBezTo>
                    <a:cubicBezTo>
                      <a:pt x="29" y="97"/>
                      <a:pt x="29" y="96"/>
                      <a:pt x="28" y="97"/>
                    </a:cubicBezTo>
                    <a:cubicBezTo>
                      <a:pt x="28" y="97"/>
                      <a:pt x="29" y="97"/>
                      <a:pt x="29" y="97"/>
                    </a:cubicBezTo>
                    <a:cubicBezTo>
                      <a:pt x="29" y="97"/>
                      <a:pt x="28" y="97"/>
                      <a:pt x="28" y="98"/>
                    </a:cubicBezTo>
                    <a:cubicBezTo>
                      <a:pt x="29" y="98"/>
                      <a:pt x="29" y="97"/>
                      <a:pt x="29" y="98"/>
                    </a:cubicBezTo>
                    <a:cubicBezTo>
                      <a:pt x="29" y="98"/>
                      <a:pt x="29" y="98"/>
                      <a:pt x="29" y="98"/>
                    </a:cubicBezTo>
                    <a:cubicBezTo>
                      <a:pt x="28" y="98"/>
                      <a:pt x="29" y="98"/>
                      <a:pt x="29" y="98"/>
                    </a:cubicBezTo>
                    <a:cubicBezTo>
                      <a:pt x="29" y="98"/>
                      <a:pt x="30" y="97"/>
                      <a:pt x="30" y="97"/>
                    </a:cubicBezTo>
                    <a:cubicBezTo>
                      <a:pt x="30" y="99"/>
                      <a:pt x="27" y="98"/>
                      <a:pt x="27" y="99"/>
                    </a:cubicBezTo>
                    <a:cubicBezTo>
                      <a:pt x="27" y="99"/>
                      <a:pt x="28" y="99"/>
                      <a:pt x="29" y="99"/>
                    </a:cubicBezTo>
                    <a:cubicBezTo>
                      <a:pt x="29" y="99"/>
                      <a:pt x="30" y="98"/>
                      <a:pt x="30" y="98"/>
                    </a:cubicBezTo>
                    <a:cubicBezTo>
                      <a:pt x="31" y="97"/>
                      <a:pt x="31" y="96"/>
                      <a:pt x="32" y="96"/>
                    </a:cubicBezTo>
                    <a:cubicBezTo>
                      <a:pt x="32" y="97"/>
                      <a:pt x="31" y="97"/>
                      <a:pt x="31" y="97"/>
                    </a:cubicBezTo>
                    <a:cubicBezTo>
                      <a:pt x="31" y="97"/>
                      <a:pt x="31" y="97"/>
                      <a:pt x="32" y="97"/>
                    </a:cubicBezTo>
                    <a:cubicBezTo>
                      <a:pt x="31" y="98"/>
                      <a:pt x="31" y="98"/>
                      <a:pt x="30" y="98"/>
                    </a:cubicBezTo>
                    <a:cubicBezTo>
                      <a:pt x="31" y="98"/>
                      <a:pt x="31" y="98"/>
                      <a:pt x="32" y="98"/>
                    </a:cubicBezTo>
                    <a:cubicBezTo>
                      <a:pt x="32" y="98"/>
                      <a:pt x="33" y="98"/>
                      <a:pt x="33" y="98"/>
                    </a:cubicBezTo>
                    <a:cubicBezTo>
                      <a:pt x="33" y="98"/>
                      <a:pt x="33" y="98"/>
                      <a:pt x="32" y="98"/>
                    </a:cubicBezTo>
                    <a:cubicBezTo>
                      <a:pt x="33" y="97"/>
                      <a:pt x="34" y="97"/>
                      <a:pt x="33" y="98"/>
                    </a:cubicBezTo>
                    <a:cubicBezTo>
                      <a:pt x="34" y="97"/>
                      <a:pt x="34" y="97"/>
                      <a:pt x="35" y="97"/>
                    </a:cubicBezTo>
                    <a:cubicBezTo>
                      <a:pt x="34" y="97"/>
                      <a:pt x="35" y="97"/>
                      <a:pt x="35" y="97"/>
                    </a:cubicBezTo>
                    <a:cubicBezTo>
                      <a:pt x="35" y="97"/>
                      <a:pt x="35" y="97"/>
                      <a:pt x="35" y="97"/>
                    </a:cubicBezTo>
                    <a:cubicBezTo>
                      <a:pt x="35" y="97"/>
                      <a:pt x="38" y="96"/>
                      <a:pt x="38" y="96"/>
                    </a:cubicBezTo>
                    <a:cubicBezTo>
                      <a:pt x="38" y="97"/>
                      <a:pt x="37" y="97"/>
                      <a:pt x="38" y="97"/>
                    </a:cubicBezTo>
                    <a:cubicBezTo>
                      <a:pt x="38" y="97"/>
                      <a:pt x="38" y="97"/>
                      <a:pt x="38" y="97"/>
                    </a:cubicBezTo>
                    <a:cubicBezTo>
                      <a:pt x="38" y="97"/>
                      <a:pt x="38" y="97"/>
                      <a:pt x="39" y="97"/>
                    </a:cubicBezTo>
                    <a:cubicBezTo>
                      <a:pt x="39" y="97"/>
                      <a:pt x="38" y="97"/>
                      <a:pt x="38" y="97"/>
                    </a:cubicBezTo>
                    <a:cubicBezTo>
                      <a:pt x="39" y="97"/>
                      <a:pt x="39" y="97"/>
                      <a:pt x="39" y="97"/>
                    </a:cubicBezTo>
                    <a:cubicBezTo>
                      <a:pt x="39" y="97"/>
                      <a:pt x="40" y="96"/>
                      <a:pt x="40" y="96"/>
                    </a:cubicBezTo>
                    <a:cubicBezTo>
                      <a:pt x="40" y="96"/>
                      <a:pt x="40" y="96"/>
                      <a:pt x="39" y="96"/>
                    </a:cubicBezTo>
                    <a:cubicBezTo>
                      <a:pt x="40" y="96"/>
                      <a:pt x="39" y="96"/>
                      <a:pt x="39" y="96"/>
                    </a:cubicBezTo>
                    <a:cubicBezTo>
                      <a:pt x="39" y="96"/>
                      <a:pt x="41" y="96"/>
                      <a:pt x="40" y="96"/>
                    </a:cubicBezTo>
                    <a:cubicBezTo>
                      <a:pt x="41" y="96"/>
                      <a:pt x="41" y="96"/>
                      <a:pt x="41" y="95"/>
                    </a:cubicBezTo>
                    <a:cubicBezTo>
                      <a:pt x="41" y="95"/>
                      <a:pt x="42" y="96"/>
                      <a:pt x="42" y="96"/>
                    </a:cubicBezTo>
                    <a:cubicBezTo>
                      <a:pt x="42" y="95"/>
                      <a:pt x="43" y="95"/>
                      <a:pt x="43" y="95"/>
                    </a:cubicBezTo>
                    <a:cubicBezTo>
                      <a:pt x="43" y="95"/>
                      <a:pt x="43" y="95"/>
                      <a:pt x="43" y="95"/>
                    </a:cubicBezTo>
                    <a:cubicBezTo>
                      <a:pt x="43" y="95"/>
                      <a:pt x="43" y="95"/>
                      <a:pt x="43" y="95"/>
                    </a:cubicBezTo>
                    <a:cubicBezTo>
                      <a:pt x="43" y="96"/>
                      <a:pt x="44" y="95"/>
                      <a:pt x="44" y="95"/>
                    </a:cubicBezTo>
                    <a:cubicBezTo>
                      <a:pt x="44" y="95"/>
                      <a:pt x="45" y="95"/>
                      <a:pt x="45" y="94"/>
                    </a:cubicBezTo>
                    <a:cubicBezTo>
                      <a:pt x="46" y="95"/>
                      <a:pt x="46" y="95"/>
                      <a:pt x="46" y="95"/>
                    </a:cubicBezTo>
                    <a:cubicBezTo>
                      <a:pt x="47" y="94"/>
                      <a:pt x="47" y="94"/>
                      <a:pt x="47" y="94"/>
                    </a:cubicBezTo>
                    <a:cubicBezTo>
                      <a:pt x="47" y="94"/>
                      <a:pt x="48" y="93"/>
                      <a:pt x="48" y="94"/>
                    </a:cubicBezTo>
                    <a:cubicBezTo>
                      <a:pt x="48" y="94"/>
                      <a:pt x="48" y="94"/>
                      <a:pt x="48" y="94"/>
                    </a:cubicBezTo>
                    <a:cubicBezTo>
                      <a:pt x="48" y="94"/>
                      <a:pt x="47" y="94"/>
                      <a:pt x="48" y="94"/>
                    </a:cubicBezTo>
                    <a:cubicBezTo>
                      <a:pt x="48" y="94"/>
                      <a:pt x="48" y="94"/>
                      <a:pt x="48" y="94"/>
                    </a:cubicBezTo>
                    <a:cubicBezTo>
                      <a:pt x="48" y="95"/>
                      <a:pt x="49" y="95"/>
                      <a:pt x="49" y="94"/>
                    </a:cubicBezTo>
                    <a:cubicBezTo>
                      <a:pt x="49" y="94"/>
                      <a:pt x="48" y="94"/>
                      <a:pt x="48" y="94"/>
                    </a:cubicBezTo>
                    <a:cubicBezTo>
                      <a:pt x="48" y="94"/>
                      <a:pt x="50" y="95"/>
                      <a:pt x="50" y="95"/>
                    </a:cubicBezTo>
                    <a:cubicBezTo>
                      <a:pt x="49" y="94"/>
                      <a:pt x="49" y="94"/>
                      <a:pt x="49" y="93"/>
                    </a:cubicBezTo>
                    <a:cubicBezTo>
                      <a:pt x="49" y="93"/>
                      <a:pt x="50" y="93"/>
                      <a:pt x="50" y="93"/>
                    </a:cubicBezTo>
                    <a:cubicBezTo>
                      <a:pt x="50" y="93"/>
                      <a:pt x="50" y="94"/>
                      <a:pt x="51" y="94"/>
                    </a:cubicBezTo>
                    <a:cubicBezTo>
                      <a:pt x="51" y="94"/>
                      <a:pt x="51" y="94"/>
                      <a:pt x="51" y="94"/>
                    </a:cubicBezTo>
                    <a:cubicBezTo>
                      <a:pt x="51" y="94"/>
                      <a:pt x="50" y="93"/>
                      <a:pt x="50" y="93"/>
                    </a:cubicBezTo>
                    <a:cubicBezTo>
                      <a:pt x="50" y="93"/>
                      <a:pt x="50" y="93"/>
                      <a:pt x="50" y="92"/>
                    </a:cubicBezTo>
                    <a:cubicBezTo>
                      <a:pt x="50" y="92"/>
                      <a:pt x="51" y="93"/>
                      <a:pt x="51" y="93"/>
                    </a:cubicBezTo>
                    <a:cubicBezTo>
                      <a:pt x="51" y="93"/>
                      <a:pt x="52" y="93"/>
                      <a:pt x="52" y="93"/>
                    </a:cubicBezTo>
                    <a:cubicBezTo>
                      <a:pt x="52" y="93"/>
                      <a:pt x="52" y="93"/>
                      <a:pt x="53" y="93"/>
                    </a:cubicBezTo>
                    <a:cubicBezTo>
                      <a:pt x="53" y="93"/>
                      <a:pt x="53" y="93"/>
                      <a:pt x="53" y="93"/>
                    </a:cubicBezTo>
                    <a:cubicBezTo>
                      <a:pt x="54" y="93"/>
                      <a:pt x="53" y="92"/>
                      <a:pt x="54" y="92"/>
                    </a:cubicBezTo>
                    <a:cubicBezTo>
                      <a:pt x="54" y="92"/>
                      <a:pt x="54" y="93"/>
                      <a:pt x="55" y="93"/>
                    </a:cubicBezTo>
                    <a:cubicBezTo>
                      <a:pt x="54" y="92"/>
                      <a:pt x="55" y="93"/>
                      <a:pt x="55" y="93"/>
                    </a:cubicBezTo>
                    <a:cubicBezTo>
                      <a:pt x="56" y="93"/>
                      <a:pt x="56" y="92"/>
                      <a:pt x="56" y="92"/>
                    </a:cubicBezTo>
                    <a:cubicBezTo>
                      <a:pt x="56" y="93"/>
                      <a:pt x="57" y="93"/>
                      <a:pt x="57" y="92"/>
                    </a:cubicBezTo>
                    <a:cubicBezTo>
                      <a:pt x="57" y="92"/>
                      <a:pt x="58" y="92"/>
                      <a:pt x="58" y="92"/>
                    </a:cubicBezTo>
                    <a:cubicBezTo>
                      <a:pt x="58" y="92"/>
                      <a:pt x="58" y="92"/>
                      <a:pt x="58" y="92"/>
                    </a:cubicBezTo>
                    <a:cubicBezTo>
                      <a:pt x="58" y="91"/>
                      <a:pt x="59" y="92"/>
                      <a:pt x="59" y="92"/>
                    </a:cubicBezTo>
                    <a:cubicBezTo>
                      <a:pt x="59" y="91"/>
                      <a:pt x="60" y="92"/>
                      <a:pt x="60" y="92"/>
                    </a:cubicBezTo>
                    <a:cubicBezTo>
                      <a:pt x="60" y="92"/>
                      <a:pt x="59" y="92"/>
                      <a:pt x="59" y="92"/>
                    </a:cubicBezTo>
                    <a:cubicBezTo>
                      <a:pt x="60" y="92"/>
                      <a:pt x="60" y="92"/>
                      <a:pt x="61" y="92"/>
                    </a:cubicBezTo>
                    <a:cubicBezTo>
                      <a:pt x="61" y="92"/>
                      <a:pt x="61" y="93"/>
                      <a:pt x="62" y="93"/>
                    </a:cubicBezTo>
                    <a:cubicBezTo>
                      <a:pt x="62" y="92"/>
                      <a:pt x="61" y="92"/>
                      <a:pt x="61" y="92"/>
                    </a:cubicBezTo>
                    <a:cubicBezTo>
                      <a:pt x="62" y="92"/>
                      <a:pt x="62" y="92"/>
                      <a:pt x="62" y="92"/>
                    </a:cubicBezTo>
                    <a:cubicBezTo>
                      <a:pt x="62" y="92"/>
                      <a:pt x="63" y="92"/>
                      <a:pt x="63" y="92"/>
                    </a:cubicBezTo>
                    <a:cubicBezTo>
                      <a:pt x="63" y="92"/>
                      <a:pt x="62" y="92"/>
                      <a:pt x="63" y="92"/>
                    </a:cubicBezTo>
                    <a:cubicBezTo>
                      <a:pt x="63" y="92"/>
                      <a:pt x="64" y="92"/>
                      <a:pt x="63" y="92"/>
                    </a:cubicBezTo>
                    <a:cubicBezTo>
                      <a:pt x="63" y="92"/>
                      <a:pt x="63" y="92"/>
                      <a:pt x="63" y="92"/>
                    </a:cubicBezTo>
                    <a:cubicBezTo>
                      <a:pt x="64" y="91"/>
                      <a:pt x="64" y="92"/>
                      <a:pt x="64" y="92"/>
                    </a:cubicBezTo>
                    <a:cubicBezTo>
                      <a:pt x="65" y="91"/>
                      <a:pt x="66" y="90"/>
                      <a:pt x="67" y="89"/>
                    </a:cubicBezTo>
                    <a:cubicBezTo>
                      <a:pt x="67" y="89"/>
                      <a:pt x="68" y="88"/>
                      <a:pt x="68" y="88"/>
                    </a:cubicBezTo>
                    <a:cubicBezTo>
                      <a:pt x="69" y="88"/>
                      <a:pt x="69" y="88"/>
                      <a:pt x="70" y="87"/>
                    </a:cubicBezTo>
                    <a:cubicBezTo>
                      <a:pt x="70" y="87"/>
                      <a:pt x="70" y="87"/>
                      <a:pt x="71" y="86"/>
                    </a:cubicBezTo>
                    <a:cubicBezTo>
                      <a:pt x="71" y="86"/>
                      <a:pt x="72" y="86"/>
                      <a:pt x="72" y="85"/>
                    </a:cubicBezTo>
                    <a:cubicBezTo>
                      <a:pt x="73" y="85"/>
                      <a:pt x="74" y="84"/>
                      <a:pt x="75" y="83"/>
                    </a:cubicBezTo>
                    <a:cubicBezTo>
                      <a:pt x="76" y="83"/>
                      <a:pt x="76" y="82"/>
                      <a:pt x="76" y="82"/>
                    </a:cubicBezTo>
                    <a:cubicBezTo>
                      <a:pt x="77" y="82"/>
                      <a:pt x="77" y="81"/>
                      <a:pt x="78" y="81"/>
                    </a:cubicBezTo>
                    <a:cubicBezTo>
                      <a:pt x="78" y="80"/>
                      <a:pt x="78" y="80"/>
                      <a:pt x="79" y="80"/>
                    </a:cubicBezTo>
                    <a:cubicBezTo>
                      <a:pt x="79" y="80"/>
                      <a:pt x="80" y="79"/>
                      <a:pt x="80" y="78"/>
                    </a:cubicBezTo>
                    <a:cubicBezTo>
                      <a:pt x="81" y="78"/>
                      <a:pt x="82" y="77"/>
                      <a:pt x="82" y="76"/>
                    </a:cubicBezTo>
                    <a:cubicBezTo>
                      <a:pt x="83" y="76"/>
                      <a:pt x="83" y="76"/>
                      <a:pt x="83" y="75"/>
                    </a:cubicBezTo>
                    <a:cubicBezTo>
                      <a:pt x="84" y="75"/>
                      <a:pt x="85" y="75"/>
                      <a:pt x="85" y="74"/>
                    </a:cubicBezTo>
                    <a:cubicBezTo>
                      <a:pt x="86" y="74"/>
                      <a:pt x="86" y="73"/>
                      <a:pt x="87" y="73"/>
                    </a:cubicBezTo>
                    <a:cubicBezTo>
                      <a:pt x="88" y="72"/>
                      <a:pt x="88" y="70"/>
                      <a:pt x="89" y="69"/>
                    </a:cubicBezTo>
                    <a:cubicBezTo>
                      <a:pt x="90" y="68"/>
                      <a:pt x="88" y="67"/>
                      <a:pt x="87" y="66"/>
                    </a:cubicBezTo>
                    <a:close/>
                    <a:moveTo>
                      <a:pt x="39" y="46"/>
                    </a:moveTo>
                    <a:cubicBezTo>
                      <a:pt x="39" y="45"/>
                      <a:pt x="39" y="45"/>
                      <a:pt x="39" y="46"/>
                    </a:cubicBezTo>
                    <a:close/>
                    <a:moveTo>
                      <a:pt x="19" y="96"/>
                    </a:moveTo>
                    <a:cubicBezTo>
                      <a:pt x="19" y="96"/>
                      <a:pt x="20" y="96"/>
                      <a:pt x="20" y="95"/>
                    </a:cubicBezTo>
                    <a:cubicBezTo>
                      <a:pt x="20" y="95"/>
                      <a:pt x="20" y="95"/>
                      <a:pt x="20" y="95"/>
                    </a:cubicBezTo>
                    <a:cubicBezTo>
                      <a:pt x="20" y="95"/>
                      <a:pt x="19" y="95"/>
                      <a:pt x="19" y="96"/>
                    </a:cubicBezTo>
                    <a:close/>
                    <a:moveTo>
                      <a:pt x="0" y="95"/>
                    </a:moveTo>
                    <a:cubicBezTo>
                      <a:pt x="1" y="96"/>
                      <a:pt x="1" y="96"/>
                      <a:pt x="1" y="95"/>
                    </a:cubicBezTo>
                    <a:cubicBezTo>
                      <a:pt x="1" y="95"/>
                      <a:pt x="2" y="96"/>
                      <a:pt x="1" y="95"/>
                    </a:cubicBezTo>
                    <a:cubicBezTo>
                      <a:pt x="1" y="95"/>
                      <a:pt x="1" y="94"/>
                      <a:pt x="1" y="94"/>
                    </a:cubicBezTo>
                    <a:cubicBezTo>
                      <a:pt x="1" y="95"/>
                      <a:pt x="0" y="95"/>
                      <a:pt x="0" y="95"/>
                    </a:cubicBezTo>
                    <a:close/>
                    <a:moveTo>
                      <a:pt x="5" y="96"/>
                    </a:moveTo>
                    <a:cubicBezTo>
                      <a:pt x="5" y="96"/>
                      <a:pt x="5" y="96"/>
                      <a:pt x="4" y="96"/>
                    </a:cubicBezTo>
                    <a:cubicBezTo>
                      <a:pt x="4" y="96"/>
                      <a:pt x="4" y="96"/>
                      <a:pt x="4" y="97"/>
                    </a:cubicBezTo>
                    <a:cubicBezTo>
                      <a:pt x="5" y="97"/>
                      <a:pt x="5" y="97"/>
                      <a:pt x="5" y="97"/>
                    </a:cubicBezTo>
                    <a:cubicBezTo>
                      <a:pt x="6" y="97"/>
                      <a:pt x="6" y="97"/>
                      <a:pt x="6" y="98"/>
                    </a:cubicBezTo>
                    <a:cubicBezTo>
                      <a:pt x="6" y="97"/>
                      <a:pt x="6" y="97"/>
                      <a:pt x="6" y="96"/>
                    </a:cubicBezTo>
                    <a:cubicBezTo>
                      <a:pt x="5" y="96"/>
                      <a:pt x="5" y="96"/>
                      <a:pt x="5" y="96"/>
                    </a:cubicBezTo>
                    <a:close/>
                    <a:moveTo>
                      <a:pt x="20" y="94"/>
                    </a:moveTo>
                    <a:cubicBezTo>
                      <a:pt x="20" y="95"/>
                      <a:pt x="21" y="95"/>
                      <a:pt x="21" y="94"/>
                    </a:cubicBezTo>
                    <a:cubicBezTo>
                      <a:pt x="21" y="94"/>
                      <a:pt x="21" y="94"/>
                      <a:pt x="21" y="95"/>
                    </a:cubicBezTo>
                    <a:cubicBezTo>
                      <a:pt x="21" y="94"/>
                      <a:pt x="22" y="95"/>
                      <a:pt x="22" y="94"/>
                    </a:cubicBezTo>
                    <a:cubicBezTo>
                      <a:pt x="22" y="94"/>
                      <a:pt x="20" y="94"/>
                      <a:pt x="20" y="9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5" name="Fiji">
                <a:extLst>
                  <a:ext uri="{FF2B5EF4-FFF2-40B4-BE49-F238E27FC236}">
                    <a16:creationId xmlns:a16="http://schemas.microsoft.com/office/drawing/2014/main" id="{37F54375-7489-EDC6-99EB-70CF1CDE43D6}"/>
                  </a:ext>
                </a:extLst>
              </p:cNvPr>
              <p:cNvSpPr>
                <a:spLocks noChangeAspect="1" noEditPoints="1"/>
              </p:cNvSpPr>
              <p:nvPr/>
            </p:nvSpPr>
            <p:spPr bwMode="auto">
              <a:xfrm flipH="1">
                <a:off x="11504426" y="4818814"/>
                <a:ext cx="51325" cy="35491"/>
              </a:xfrm>
              <a:custGeom>
                <a:avLst/>
                <a:gdLst/>
                <a:ahLst/>
                <a:cxnLst>
                  <a:cxn ang="0">
                    <a:pos x="14" y="2"/>
                  </a:cxn>
                  <a:cxn ang="0">
                    <a:pos x="11" y="1"/>
                  </a:cxn>
                  <a:cxn ang="0">
                    <a:pos x="9" y="0"/>
                  </a:cxn>
                  <a:cxn ang="0">
                    <a:pos x="7" y="2"/>
                  </a:cxn>
                  <a:cxn ang="0">
                    <a:pos x="6" y="4"/>
                  </a:cxn>
                  <a:cxn ang="0">
                    <a:pos x="9" y="5"/>
                  </a:cxn>
                  <a:cxn ang="0">
                    <a:pos x="10" y="7"/>
                  </a:cxn>
                  <a:cxn ang="0">
                    <a:pos x="13" y="6"/>
                  </a:cxn>
                  <a:cxn ang="0">
                    <a:pos x="15" y="6"/>
                  </a:cxn>
                  <a:cxn ang="0">
                    <a:pos x="18" y="7"/>
                  </a:cxn>
                  <a:cxn ang="0">
                    <a:pos x="18" y="9"/>
                  </a:cxn>
                  <a:cxn ang="0">
                    <a:pos x="18" y="9"/>
                  </a:cxn>
                  <a:cxn ang="0">
                    <a:pos x="18" y="11"/>
                  </a:cxn>
                  <a:cxn ang="0">
                    <a:pos x="18" y="12"/>
                  </a:cxn>
                  <a:cxn ang="0">
                    <a:pos x="18" y="12"/>
                  </a:cxn>
                  <a:cxn ang="0">
                    <a:pos x="18" y="13"/>
                  </a:cxn>
                  <a:cxn ang="0">
                    <a:pos x="19" y="13"/>
                  </a:cxn>
                  <a:cxn ang="0">
                    <a:pos x="20" y="15"/>
                  </a:cxn>
                  <a:cxn ang="0">
                    <a:pos x="21" y="14"/>
                  </a:cxn>
                  <a:cxn ang="0">
                    <a:pos x="21" y="14"/>
                  </a:cxn>
                  <a:cxn ang="0">
                    <a:pos x="20" y="12"/>
                  </a:cxn>
                  <a:cxn ang="0">
                    <a:pos x="19" y="10"/>
                  </a:cxn>
                  <a:cxn ang="0">
                    <a:pos x="20" y="11"/>
                  </a:cxn>
                  <a:cxn ang="0">
                    <a:pos x="20" y="9"/>
                  </a:cxn>
                  <a:cxn ang="0">
                    <a:pos x="20" y="7"/>
                  </a:cxn>
                  <a:cxn ang="0">
                    <a:pos x="20" y="5"/>
                  </a:cxn>
                  <a:cxn ang="0">
                    <a:pos x="19" y="5"/>
                  </a:cxn>
                  <a:cxn ang="0">
                    <a:pos x="18" y="5"/>
                  </a:cxn>
                  <a:cxn ang="0">
                    <a:pos x="18" y="4"/>
                  </a:cxn>
                  <a:cxn ang="0">
                    <a:pos x="17" y="2"/>
                  </a:cxn>
                  <a:cxn ang="0">
                    <a:pos x="15" y="1"/>
                  </a:cxn>
                  <a:cxn ang="0">
                    <a:pos x="25" y="6"/>
                  </a:cxn>
                  <a:cxn ang="0">
                    <a:pos x="25" y="5"/>
                  </a:cxn>
                  <a:cxn ang="0">
                    <a:pos x="25" y="6"/>
                  </a:cxn>
                  <a:cxn ang="0">
                    <a:pos x="18" y="14"/>
                  </a:cxn>
                  <a:cxn ang="0">
                    <a:pos x="19" y="14"/>
                  </a:cxn>
                  <a:cxn ang="0">
                    <a:pos x="22" y="13"/>
                  </a:cxn>
                  <a:cxn ang="0">
                    <a:pos x="23" y="15"/>
                  </a:cxn>
                  <a:cxn ang="0">
                    <a:pos x="23" y="15"/>
                  </a:cxn>
                  <a:cxn ang="0">
                    <a:pos x="26" y="6"/>
                  </a:cxn>
                  <a:cxn ang="0">
                    <a:pos x="26" y="6"/>
                  </a:cxn>
                  <a:cxn ang="0">
                    <a:pos x="23" y="11"/>
                  </a:cxn>
                  <a:cxn ang="0">
                    <a:pos x="24" y="8"/>
                  </a:cxn>
                  <a:cxn ang="0">
                    <a:pos x="21" y="5"/>
                  </a:cxn>
                  <a:cxn ang="0">
                    <a:pos x="21" y="8"/>
                  </a:cxn>
                  <a:cxn ang="0">
                    <a:pos x="1" y="1"/>
                  </a:cxn>
                  <a:cxn ang="0">
                    <a:pos x="16" y="7"/>
                  </a:cxn>
                  <a:cxn ang="0">
                    <a:pos x="17" y="8"/>
                  </a:cxn>
                  <a:cxn ang="0">
                    <a:pos x="21" y="14"/>
                  </a:cxn>
                  <a:cxn ang="0">
                    <a:pos x="0" y="1"/>
                  </a:cxn>
                  <a:cxn ang="0">
                    <a:pos x="21" y="12"/>
                  </a:cxn>
                  <a:cxn ang="0">
                    <a:pos x="4" y="1"/>
                  </a:cxn>
                  <a:cxn ang="0">
                    <a:pos x="24" y="17"/>
                  </a:cxn>
                  <a:cxn ang="0">
                    <a:pos x="21" y="9"/>
                  </a:cxn>
                  <a:cxn ang="0">
                    <a:pos x="24" y="10"/>
                  </a:cxn>
                </a:cxnLst>
                <a:rect l="0" t="0" r="r" b="b"/>
                <a:pathLst>
                  <a:path w="26" h="18">
                    <a:moveTo>
                      <a:pt x="14" y="1"/>
                    </a:moveTo>
                    <a:cubicBezTo>
                      <a:pt x="14" y="1"/>
                      <a:pt x="14" y="0"/>
                      <a:pt x="13" y="1"/>
                    </a:cubicBezTo>
                    <a:cubicBezTo>
                      <a:pt x="13" y="1"/>
                      <a:pt x="14" y="1"/>
                      <a:pt x="14" y="1"/>
                    </a:cubicBezTo>
                    <a:cubicBezTo>
                      <a:pt x="14" y="1"/>
                      <a:pt x="14" y="1"/>
                      <a:pt x="14" y="2"/>
                    </a:cubicBezTo>
                    <a:cubicBezTo>
                      <a:pt x="14" y="2"/>
                      <a:pt x="14" y="2"/>
                      <a:pt x="14" y="2"/>
                    </a:cubicBezTo>
                    <a:cubicBezTo>
                      <a:pt x="14" y="2"/>
                      <a:pt x="14" y="2"/>
                      <a:pt x="14" y="2"/>
                    </a:cubicBezTo>
                    <a:cubicBezTo>
                      <a:pt x="14" y="2"/>
                      <a:pt x="14" y="2"/>
                      <a:pt x="14" y="2"/>
                    </a:cubicBezTo>
                    <a:cubicBezTo>
                      <a:pt x="14" y="2"/>
                      <a:pt x="14" y="2"/>
                      <a:pt x="13" y="2"/>
                    </a:cubicBezTo>
                    <a:cubicBezTo>
                      <a:pt x="13" y="2"/>
                      <a:pt x="13" y="2"/>
                      <a:pt x="13" y="2"/>
                    </a:cubicBezTo>
                    <a:cubicBezTo>
                      <a:pt x="13" y="2"/>
                      <a:pt x="13" y="2"/>
                      <a:pt x="13" y="2"/>
                    </a:cubicBezTo>
                    <a:cubicBezTo>
                      <a:pt x="13" y="2"/>
                      <a:pt x="13" y="2"/>
                      <a:pt x="12" y="2"/>
                    </a:cubicBezTo>
                    <a:cubicBezTo>
                      <a:pt x="13" y="2"/>
                      <a:pt x="12" y="2"/>
                      <a:pt x="12" y="2"/>
                    </a:cubicBezTo>
                    <a:cubicBezTo>
                      <a:pt x="12" y="1"/>
                      <a:pt x="12" y="1"/>
                      <a:pt x="12" y="2"/>
                    </a:cubicBezTo>
                    <a:cubicBezTo>
                      <a:pt x="11" y="2"/>
                      <a:pt x="11" y="1"/>
                      <a:pt x="11" y="1"/>
                    </a:cubicBezTo>
                    <a:cubicBezTo>
                      <a:pt x="11" y="1"/>
                      <a:pt x="11" y="1"/>
                      <a:pt x="11" y="1"/>
                    </a:cubicBezTo>
                    <a:cubicBezTo>
                      <a:pt x="10" y="1"/>
                      <a:pt x="10" y="1"/>
                      <a:pt x="10" y="1"/>
                    </a:cubicBezTo>
                    <a:cubicBezTo>
                      <a:pt x="10" y="1"/>
                      <a:pt x="10" y="1"/>
                      <a:pt x="10" y="1"/>
                    </a:cubicBezTo>
                    <a:cubicBezTo>
                      <a:pt x="10" y="1"/>
                      <a:pt x="10" y="1"/>
                      <a:pt x="10" y="1"/>
                    </a:cubicBezTo>
                    <a:cubicBezTo>
                      <a:pt x="10" y="1"/>
                      <a:pt x="9" y="1"/>
                      <a:pt x="9" y="1"/>
                    </a:cubicBezTo>
                    <a:cubicBezTo>
                      <a:pt x="9" y="1"/>
                      <a:pt x="9" y="1"/>
                      <a:pt x="9" y="1"/>
                    </a:cubicBezTo>
                    <a:cubicBezTo>
                      <a:pt x="9" y="1"/>
                      <a:pt x="9" y="0"/>
                      <a:pt x="9" y="0"/>
                    </a:cubicBezTo>
                    <a:cubicBezTo>
                      <a:pt x="9" y="1"/>
                      <a:pt x="9" y="0"/>
                      <a:pt x="8" y="0"/>
                    </a:cubicBezTo>
                    <a:cubicBezTo>
                      <a:pt x="8" y="0"/>
                      <a:pt x="8" y="0"/>
                      <a:pt x="7" y="0"/>
                    </a:cubicBezTo>
                    <a:cubicBezTo>
                      <a:pt x="7" y="0"/>
                      <a:pt x="7" y="0"/>
                      <a:pt x="7" y="0"/>
                    </a:cubicBezTo>
                    <a:cubicBezTo>
                      <a:pt x="7" y="0"/>
                      <a:pt x="7" y="0"/>
                      <a:pt x="7" y="1"/>
                    </a:cubicBezTo>
                    <a:cubicBezTo>
                      <a:pt x="7" y="1"/>
                      <a:pt x="6" y="0"/>
                      <a:pt x="7" y="1"/>
                    </a:cubicBezTo>
                    <a:cubicBezTo>
                      <a:pt x="7" y="1"/>
                      <a:pt x="7" y="1"/>
                      <a:pt x="7" y="1"/>
                    </a:cubicBezTo>
                    <a:cubicBezTo>
                      <a:pt x="7" y="1"/>
                      <a:pt x="6" y="1"/>
                      <a:pt x="7" y="2"/>
                    </a:cubicBezTo>
                    <a:cubicBezTo>
                      <a:pt x="7" y="2"/>
                      <a:pt x="7" y="2"/>
                      <a:pt x="7" y="3"/>
                    </a:cubicBezTo>
                    <a:cubicBezTo>
                      <a:pt x="7" y="3"/>
                      <a:pt x="7" y="3"/>
                      <a:pt x="7" y="3"/>
                    </a:cubicBezTo>
                    <a:cubicBezTo>
                      <a:pt x="7" y="3"/>
                      <a:pt x="7" y="3"/>
                      <a:pt x="8" y="3"/>
                    </a:cubicBezTo>
                    <a:cubicBezTo>
                      <a:pt x="7" y="3"/>
                      <a:pt x="7" y="3"/>
                      <a:pt x="7" y="3"/>
                    </a:cubicBezTo>
                    <a:cubicBezTo>
                      <a:pt x="7" y="3"/>
                      <a:pt x="7" y="3"/>
                      <a:pt x="7" y="3"/>
                    </a:cubicBezTo>
                    <a:cubicBezTo>
                      <a:pt x="7" y="3"/>
                      <a:pt x="7" y="4"/>
                      <a:pt x="7" y="4"/>
                    </a:cubicBezTo>
                    <a:cubicBezTo>
                      <a:pt x="7" y="4"/>
                      <a:pt x="7" y="4"/>
                      <a:pt x="6" y="4"/>
                    </a:cubicBezTo>
                    <a:cubicBezTo>
                      <a:pt x="6" y="4"/>
                      <a:pt x="6" y="4"/>
                      <a:pt x="6" y="4"/>
                    </a:cubicBezTo>
                    <a:cubicBezTo>
                      <a:pt x="6" y="4"/>
                      <a:pt x="6" y="4"/>
                      <a:pt x="6" y="4"/>
                    </a:cubicBezTo>
                    <a:cubicBezTo>
                      <a:pt x="7" y="5"/>
                      <a:pt x="7" y="5"/>
                      <a:pt x="7" y="5"/>
                    </a:cubicBezTo>
                    <a:cubicBezTo>
                      <a:pt x="7" y="5"/>
                      <a:pt x="7" y="5"/>
                      <a:pt x="7" y="5"/>
                    </a:cubicBezTo>
                    <a:cubicBezTo>
                      <a:pt x="7" y="5"/>
                      <a:pt x="8" y="5"/>
                      <a:pt x="8" y="5"/>
                    </a:cubicBezTo>
                    <a:cubicBezTo>
                      <a:pt x="8" y="5"/>
                      <a:pt x="8" y="5"/>
                      <a:pt x="8" y="5"/>
                    </a:cubicBezTo>
                    <a:cubicBezTo>
                      <a:pt x="9" y="5"/>
                      <a:pt x="9" y="5"/>
                      <a:pt x="9" y="5"/>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10" y="6"/>
                      <a:pt x="10" y="6"/>
                      <a:pt x="10" y="6"/>
                    </a:cubicBezTo>
                    <a:cubicBezTo>
                      <a:pt x="10" y="7"/>
                      <a:pt x="10" y="7"/>
                      <a:pt x="10" y="7"/>
                    </a:cubicBezTo>
                    <a:cubicBezTo>
                      <a:pt x="11" y="7"/>
                      <a:pt x="11" y="7"/>
                      <a:pt x="11" y="7"/>
                    </a:cubicBezTo>
                    <a:cubicBezTo>
                      <a:pt x="11" y="7"/>
                      <a:pt x="12" y="7"/>
                      <a:pt x="12" y="7"/>
                    </a:cubicBezTo>
                    <a:cubicBezTo>
                      <a:pt x="12" y="7"/>
                      <a:pt x="12" y="6"/>
                      <a:pt x="12" y="6"/>
                    </a:cubicBezTo>
                    <a:cubicBezTo>
                      <a:pt x="12" y="6"/>
                      <a:pt x="12" y="7"/>
                      <a:pt x="12" y="7"/>
                    </a:cubicBezTo>
                    <a:cubicBezTo>
                      <a:pt x="12" y="7"/>
                      <a:pt x="12" y="7"/>
                      <a:pt x="12" y="7"/>
                    </a:cubicBezTo>
                    <a:cubicBezTo>
                      <a:pt x="12" y="7"/>
                      <a:pt x="13" y="7"/>
                      <a:pt x="13" y="7"/>
                    </a:cubicBezTo>
                    <a:cubicBezTo>
                      <a:pt x="13" y="6"/>
                      <a:pt x="13" y="7"/>
                      <a:pt x="13" y="6"/>
                    </a:cubicBezTo>
                    <a:cubicBezTo>
                      <a:pt x="13" y="6"/>
                      <a:pt x="12" y="7"/>
                      <a:pt x="12" y="6"/>
                    </a:cubicBezTo>
                    <a:cubicBezTo>
                      <a:pt x="12" y="6"/>
                      <a:pt x="13" y="6"/>
                      <a:pt x="13" y="6"/>
                    </a:cubicBezTo>
                    <a:cubicBezTo>
                      <a:pt x="13" y="6"/>
                      <a:pt x="13" y="6"/>
                      <a:pt x="13" y="6"/>
                    </a:cubicBezTo>
                    <a:cubicBezTo>
                      <a:pt x="13" y="6"/>
                      <a:pt x="13" y="6"/>
                      <a:pt x="14" y="6"/>
                    </a:cubicBezTo>
                    <a:cubicBezTo>
                      <a:pt x="14" y="6"/>
                      <a:pt x="14" y="5"/>
                      <a:pt x="14" y="5"/>
                    </a:cubicBezTo>
                    <a:cubicBezTo>
                      <a:pt x="14" y="6"/>
                      <a:pt x="14" y="6"/>
                      <a:pt x="14" y="6"/>
                    </a:cubicBezTo>
                    <a:cubicBezTo>
                      <a:pt x="14" y="6"/>
                      <a:pt x="15" y="6"/>
                      <a:pt x="15" y="6"/>
                    </a:cubicBezTo>
                    <a:cubicBezTo>
                      <a:pt x="15" y="6"/>
                      <a:pt x="15" y="6"/>
                      <a:pt x="15" y="6"/>
                    </a:cubicBezTo>
                    <a:cubicBezTo>
                      <a:pt x="15" y="5"/>
                      <a:pt x="16" y="6"/>
                      <a:pt x="16" y="6"/>
                    </a:cubicBezTo>
                    <a:cubicBezTo>
                      <a:pt x="16" y="6"/>
                      <a:pt x="16" y="6"/>
                      <a:pt x="16" y="7"/>
                    </a:cubicBezTo>
                    <a:cubicBezTo>
                      <a:pt x="16" y="7"/>
                      <a:pt x="17" y="7"/>
                      <a:pt x="17" y="7"/>
                    </a:cubicBezTo>
                    <a:cubicBezTo>
                      <a:pt x="17" y="7"/>
                      <a:pt x="17" y="7"/>
                      <a:pt x="17" y="7"/>
                    </a:cubicBezTo>
                    <a:cubicBezTo>
                      <a:pt x="17" y="7"/>
                      <a:pt x="17" y="7"/>
                      <a:pt x="17" y="7"/>
                    </a:cubicBezTo>
                    <a:cubicBezTo>
                      <a:pt x="17" y="7"/>
                      <a:pt x="18" y="7"/>
                      <a:pt x="18" y="7"/>
                    </a:cubicBezTo>
                    <a:cubicBezTo>
                      <a:pt x="18" y="7"/>
                      <a:pt x="18" y="8"/>
                      <a:pt x="18" y="8"/>
                    </a:cubicBezTo>
                    <a:cubicBezTo>
                      <a:pt x="18" y="8"/>
                      <a:pt x="19" y="8"/>
                      <a:pt x="19" y="8"/>
                    </a:cubicBezTo>
                    <a:cubicBezTo>
                      <a:pt x="19" y="9"/>
                      <a:pt x="19" y="9"/>
                      <a:pt x="19" y="9"/>
                    </a:cubicBezTo>
                    <a:cubicBezTo>
                      <a:pt x="19" y="9"/>
                      <a:pt x="19" y="9"/>
                      <a:pt x="19" y="9"/>
                    </a:cubicBezTo>
                    <a:cubicBezTo>
                      <a:pt x="19" y="9"/>
                      <a:pt x="19" y="9"/>
                      <a:pt x="19" y="9"/>
                    </a:cubicBezTo>
                    <a:cubicBezTo>
                      <a:pt x="19" y="9"/>
                      <a:pt x="19" y="9"/>
                      <a:pt x="18" y="9"/>
                    </a:cubicBezTo>
                    <a:cubicBezTo>
                      <a:pt x="19"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7" y="9"/>
                      <a:pt x="17" y="10"/>
                    </a:cubicBezTo>
                    <a:cubicBezTo>
                      <a:pt x="17" y="9"/>
                      <a:pt x="18" y="10"/>
                      <a:pt x="17" y="10"/>
                    </a:cubicBezTo>
                    <a:cubicBezTo>
                      <a:pt x="18" y="10"/>
                      <a:pt x="17" y="10"/>
                      <a:pt x="17" y="10"/>
                    </a:cubicBezTo>
                    <a:cubicBezTo>
                      <a:pt x="17" y="10"/>
                      <a:pt x="17" y="10"/>
                      <a:pt x="17" y="10"/>
                    </a:cubicBezTo>
                    <a:cubicBezTo>
                      <a:pt x="17" y="10"/>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9" y="11"/>
                      <a:pt x="19" y="11"/>
                    </a:cubicBezTo>
                    <a:cubicBezTo>
                      <a:pt x="19" y="12"/>
                      <a:pt x="19" y="12"/>
                      <a:pt x="19" y="12"/>
                    </a:cubicBezTo>
                    <a:cubicBezTo>
                      <a:pt x="19" y="12"/>
                      <a:pt x="19" y="12"/>
                      <a:pt x="19" y="12"/>
                    </a:cubicBezTo>
                    <a:cubicBezTo>
                      <a:pt x="19" y="12"/>
                      <a:pt x="19" y="12"/>
                      <a:pt x="19"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3"/>
                      <a:pt x="18" y="13"/>
                    </a:cubicBezTo>
                    <a:cubicBezTo>
                      <a:pt x="18" y="13"/>
                      <a:pt x="18" y="13"/>
                      <a:pt x="18" y="13"/>
                    </a:cubicBezTo>
                    <a:cubicBezTo>
                      <a:pt x="18" y="13"/>
                      <a:pt x="18" y="13"/>
                      <a:pt x="18" y="13"/>
                    </a:cubicBezTo>
                    <a:cubicBezTo>
                      <a:pt x="18" y="13"/>
                      <a:pt x="18" y="14"/>
                      <a:pt x="18" y="14"/>
                    </a:cubicBezTo>
                    <a:cubicBezTo>
                      <a:pt x="18" y="14"/>
                      <a:pt x="18" y="14"/>
                      <a:pt x="18" y="14"/>
                    </a:cubicBezTo>
                    <a:cubicBezTo>
                      <a:pt x="18" y="14"/>
                      <a:pt x="18" y="14"/>
                      <a:pt x="18" y="14"/>
                    </a:cubicBezTo>
                    <a:cubicBezTo>
                      <a:pt x="18" y="13"/>
                      <a:pt x="18" y="13"/>
                      <a:pt x="18" y="13"/>
                    </a:cubicBezTo>
                    <a:cubicBezTo>
                      <a:pt x="18" y="13"/>
                      <a:pt x="18" y="13"/>
                      <a:pt x="19" y="13"/>
                    </a:cubicBezTo>
                    <a:cubicBezTo>
                      <a:pt x="19" y="13"/>
                      <a:pt x="19" y="13"/>
                      <a:pt x="19" y="13"/>
                    </a:cubicBezTo>
                    <a:cubicBezTo>
                      <a:pt x="19" y="13"/>
                      <a:pt x="20" y="14"/>
                      <a:pt x="20" y="14"/>
                    </a:cubicBezTo>
                    <a:cubicBezTo>
                      <a:pt x="20" y="14"/>
                      <a:pt x="20" y="14"/>
                      <a:pt x="20" y="14"/>
                    </a:cubicBezTo>
                    <a:cubicBezTo>
                      <a:pt x="20" y="14"/>
                      <a:pt x="20" y="14"/>
                      <a:pt x="20" y="14"/>
                    </a:cubicBezTo>
                    <a:cubicBezTo>
                      <a:pt x="20" y="14"/>
                      <a:pt x="20" y="14"/>
                      <a:pt x="20" y="14"/>
                    </a:cubicBezTo>
                    <a:cubicBezTo>
                      <a:pt x="20" y="14"/>
                      <a:pt x="20" y="14"/>
                      <a:pt x="20" y="14"/>
                    </a:cubicBezTo>
                    <a:cubicBezTo>
                      <a:pt x="20" y="14"/>
                      <a:pt x="20" y="14"/>
                      <a:pt x="20" y="14"/>
                    </a:cubicBezTo>
                    <a:cubicBezTo>
                      <a:pt x="20" y="15"/>
                      <a:pt x="20" y="15"/>
                      <a:pt x="20" y="15"/>
                    </a:cubicBezTo>
                    <a:cubicBezTo>
                      <a:pt x="20" y="15"/>
                      <a:pt x="20" y="15"/>
                      <a:pt x="20" y="15"/>
                    </a:cubicBezTo>
                    <a:cubicBezTo>
                      <a:pt x="20" y="15"/>
                      <a:pt x="20" y="15"/>
                      <a:pt x="20" y="15"/>
                    </a:cubicBezTo>
                    <a:cubicBezTo>
                      <a:pt x="20" y="15"/>
                      <a:pt x="20" y="15"/>
                      <a:pt x="20" y="15"/>
                    </a:cubicBezTo>
                    <a:cubicBezTo>
                      <a:pt x="21" y="15"/>
                      <a:pt x="21" y="15"/>
                      <a:pt x="21" y="15"/>
                    </a:cubicBezTo>
                    <a:cubicBezTo>
                      <a:pt x="21" y="15"/>
                      <a:pt x="21" y="15"/>
                      <a:pt x="21" y="15"/>
                    </a:cubicBezTo>
                    <a:cubicBezTo>
                      <a:pt x="22" y="15"/>
                      <a:pt x="21" y="15"/>
                      <a:pt x="21" y="14"/>
                    </a:cubicBezTo>
                    <a:cubicBezTo>
                      <a:pt x="21" y="14"/>
                      <a:pt x="21" y="14"/>
                      <a:pt x="21" y="14"/>
                    </a:cubicBezTo>
                    <a:cubicBezTo>
                      <a:pt x="21" y="14"/>
                      <a:pt x="21" y="14"/>
                      <a:pt x="21" y="14"/>
                    </a:cubicBezTo>
                    <a:cubicBezTo>
                      <a:pt x="21" y="15"/>
                      <a:pt x="21" y="15"/>
                      <a:pt x="20" y="15"/>
                    </a:cubicBezTo>
                    <a:cubicBezTo>
                      <a:pt x="20" y="15"/>
                      <a:pt x="20" y="14"/>
                      <a:pt x="20" y="14"/>
                    </a:cubicBezTo>
                    <a:cubicBezTo>
                      <a:pt x="20" y="14"/>
                      <a:pt x="20" y="14"/>
                      <a:pt x="21" y="14"/>
                    </a:cubicBezTo>
                    <a:cubicBezTo>
                      <a:pt x="21" y="14"/>
                      <a:pt x="21" y="14"/>
                      <a:pt x="21" y="14"/>
                    </a:cubicBezTo>
                    <a:cubicBezTo>
                      <a:pt x="21" y="14"/>
                      <a:pt x="21" y="14"/>
                      <a:pt x="21" y="14"/>
                    </a:cubicBezTo>
                    <a:cubicBezTo>
                      <a:pt x="21" y="14"/>
                      <a:pt x="21" y="14"/>
                      <a:pt x="21" y="14"/>
                    </a:cubicBezTo>
                    <a:cubicBezTo>
                      <a:pt x="21" y="14"/>
                      <a:pt x="21" y="14"/>
                      <a:pt x="21" y="14"/>
                    </a:cubicBezTo>
                    <a:cubicBezTo>
                      <a:pt x="21" y="14"/>
                      <a:pt x="21" y="14"/>
                      <a:pt x="21" y="14"/>
                    </a:cubicBezTo>
                    <a:cubicBezTo>
                      <a:pt x="21" y="14"/>
                      <a:pt x="21" y="14"/>
                      <a:pt x="21" y="14"/>
                    </a:cubicBezTo>
                    <a:cubicBezTo>
                      <a:pt x="21" y="14"/>
                      <a:pt x="20" y="13"/>
                      <a:pt x="21" y="13"/>
                    </a:cubicBezTo>
                    <a:cubicBezTo>
                      <a:pt x="21" y="13"/>
                      <a:pt x="21" y="13"/>
                      <a:pt x="21" y="13"/>
                    </a:cubicBezTo>
                    <a:cubicBezTo>
                      <a:pt x="20" y="13"/>
                      <a:pt x="20" y="13"/>
                      <a:pt x="20" y="13"/>
                    </a:cubicBezTo>
                    <a:cubicBezTo>
                      <a:pt x="20" y="13"/>
                      <a:pt x="20" y="12"/>
                      <a:pt x="20" y="12"/>
                    </a:cubicBezTo>
                    <a:cubicBezTo>
                      <a:pt x="20" y="12"/>
                      <a:pt x="20" y="12"/>
                      <a:pt x="20" y="12"/>
                    </a:cubicBezTo>
                    <a:cubicBezTo>
                      <a:pt x="19" y="12"/>
                      <a:pt x="19" y="12"/>
                      <a:pt x="19" y="11"/>
                    </a:cubicBezTo>
                    <a:cubicBezTo>
                      <a:pt x="19" y="11"/>
                      <a:pt x="19" y="11"/>
                      <a:pt x="19" y="11"/>
                    </a:cubicBezTo>
                    <a:cubicBezTo>
                      <a:pt x="19" y="11"/>
                      <a:pt x="19" y="11"/>
                      <a:pt x="19" y="11"/>
                    </a:cubicBezTo>
                    <a:cubicBezTo>
                      <a:pt x="19" y="11"/>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20" y="11"/>
                      <a:pt x="20" y="11"/>
                    </a:cubicBezTo>
                    <a:cubicBezTo>
                      <a:pt x="20" y="11"/>
                      <a:pt x="20" y="10"/>
                      <a:pt x="20" y="10"/>
                    </a:cubicBezTo>
                    <a:cubicBezTo>
                      <a:pt x="20" y="10"/>
                      <a:pt x="20" y="11"/>
                      <a:pt x="20" y="11"/>
                    </a:cubicBezTo>
                    <a:cubicBezTo>
                      <a:pt x="20" y="11"/>
                      <a:pt x="20" y="11"/>
                      <a:pt x="20" y="11"/>
                    </a:cubicBezTo>
                    <a:cubicBezTo>
                      <a:pt x="20" y="11"/>
                      <a:pt x="20" y="11"/>
                      <a:pt x="21" y="11"/>
                    </a:cubicBezTo>
                    <a:cubicBezTo>
                      <a:pt x="21" y="11"/>
                      <a:pt x="20" y="11"/>
                      <a:pt x="20" y="10"/>
                    </a:cubicBezTo>
                    <a:cubicBezTo>
                      <a:pt x="20" y="10"/>
                      <a:pt x="20" y="10"/>
                      <a:pt x="20" y="10"/>
                    </a:cubicBezTo>
                    <a:cubicBezTo>
                      <a:pt x="20" y="10"/>
                      <a:pt x="20" y="10"/>
                      <a:pt x="20" y="10"/>
                    </a:cubicBezTo>
                    <a:cubicBezTo>
                      <a:pt x="20" y="10"/>
                      <a:pt x="20" y="10"/>
                      <a:pt x="20" y="10"/>
                    </a:cubicBezTo>
                    <a:cubicBezTo>
                      <a:pt x="20" y="10"/>
                      <a:pt x="20" y="9"/>
                      <a:pt x="20" y="9"/>
                    </a:cubicBezTo>
                    <a:cubicBezTo>
                      <a:pt x="19" y="9"/>
                      <a:pt x="19" y="9"/>
                      <a:pt x="19" y="9"/>
                    </a:cubicBezTo>
                    <a:cubicBezTo>
                      <a:pt x="19" y="9"/>
                      <a:pt x="19" y="9"/>
                      <a:pt x="19" y="9"/>
                    </a:cubicBezTo>
                    <a:cubicBezTo>
                      <a:pt x="19" y="8"/>
                      <a:pt x="19" y="8"/>
                      <a:pt x="19" y="8"/>
                    </a:cubicBezTo>
                    <a:cubicBezTo>
                      <a:pt x="19" y="8"/>
                      <a:pt x="19" y="8"/>
                      <a:pt x="19" y="8"/>
                    </a:cubicBezTo>
                    <a:cubicBezTo>
                      <a:pt x="19" y="7"/>
                      <a:pt x="20" y="7"/>
                      <a:pt x="20" y="8"/>
                    </a:cubicBezTo>
                    <a:cubicBezTo>
                      <a:pt x="20" y="8"/>
                      <a:pt x="20" y="7"/>
                      <a:pt x="20" y="7"/>
                    </a:cubicBezTo>
                    <a:cubicBezTo>
                      <a:pt x="20" y="7"/>
                      <a:pt x="20" y="7"/>
                      <a:pt x="20" y="7"/>
                    </a:cubicBezTo>
                    <a:cubicBezTo>
                      <a:pt x="20" y="7"/>
                      <a:pt x="20" y="7"/>
                      <a:pt x="20" y="7"/>
                    </a:cubicBezTo>
                    <a:cubicBezTo>
                      <a:pt x="20" y="7"/>
                      <a:pt x="20" y="7"/>
                      <a:pt x="20" y="7"/>
                    </a:cubicBezTo>
                    <a:cubicBezTo>
                      <a:pt x="20" y="6"/>
                      <a:pt x="20" y="7"/>
                      <a:pt x="20" y="6"/>
                    </a:cubicBezTo>
                    <a:cubicBezTo>
                      <a:pt x="20" y="6"/>
                      <a:pt x="20" y="6"/>
                      <a:pt x="20" y="6"/>
                    </a:cubicBezTo>
                    <a:cubicBezTo>
                      <a:pt x="20" y="6"/>
                      <a:pt x="20" y="6"/>
                      <a:pt x="20" y="6"/>
                    </a:cubicBezTo>
                    <a:cubicBezTo>
                      <a:pt x="20" y="6"/>
                      <a:pt x="20" y="6"/>
                      <a:pt x="20" y="5"/>
                    </a:cubicBezTo>
                    <a:cubicBezTo>
                      <a:pt x="20" y="5"/>
                      <a:pt x="20" y="6"/>
                      <a:pt x="20" y="5"/>
                    </a:cubicBezTo>
                    <a:cubicBezTo>
                      <a:pt x="20" y="5"/>
                      <a:pt x="20" y="6"/>
                      <a:pt x="20" y="5"/>
                    </a:cubicBezTo>
                    <a:cubicBezTo>
                      <a:pt x="20" y="5"/>
                      <a:pt x="20" y="5"/>
                      <a:pt x="20" y="5"/>
                    </a:cubicBezTo>
                    <a:cubicBezTo>
                      <a:pt x="20" y="5"/>
                      <a:pt x="20" y="5"/>
                      <a:pt x="20" y="5"/>
                    </a:cubicBezTo>
                    <a:cubicBezTo>
                      <a:pt x="20"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8" y="5"/>
                      <a:pt x="18" y="5"/>
                    </a:cubicBezTo>
                    <a:cubicBezTo>
                      <a:pt x="18" y="5"/>
                      <a:pt x="18" y="5"/>
                      <a:pt x="18" y="5"/>
                    </a:cubicBezTo>
                    <a:cubicBezTo>
                      <a:pt x="18" y="5"/>
                      <a:pt x="18" y="5"/>
                      <a:pt x="18" y="5"/>
                    </a:cubicBezTo>
                    <a:cubicBezTo>
                      <a:pt x="18" y="5"/>
                      <a:pt x="18" y="5"/>
                      <a:pt x="18" y="5"/>
                    </a:cubicBezTo>
                    <a:cubicBezTo>
                      <a:pt x="18" y="6"/>
                      <a:pt x="18" y="6"/>
                      <a:pt x="18" y="5"/>
                    </a:cubicBezTo>
                    <a:cubicBezTo>
                      <a:pt x="18" y="5"/>
                      <a:pt x="17" y="5"/>
                      <a:pt x="17" y="5"/>
                    </a:cubicBezTo>
                    <a:cubicBezTo>
                      <a:pt x="17" y="5"/>
                      <a:pt x="17" y="5"/>
                      <a:pt x="17" y="5"/>
                    </a:cubicBezTo>
                    <a:cubicBezTo>
                      <a:pt x="17" y="4"/>
                      <a:pt x="17" y="4"/>
                      <a:pt x="17" y="4"/>
                    </a:cubicBezTo>
                    <a:cubicBezTo>
                      <a:pt x="17" y="4"/>
                      <a:pt x="18" y="4"/>
                      <a:pt x="18" y="4"/>
                    </a:cubicBezTo>
                    <a:cubicBezTo>
                      <a:pt x="18" y="4"/>
                      <a:pt x="18" y="5"/>
                      <a:pt x="18" y="5"/>
                    </a:cubicBezTo>
                    <a:cubicBezTo>
                      <a:pt x="18" y="4"/>
                      <a:pt x="18" y="4"/>
                      <a:pt x="18" y="4"/>
                    </a:cubicBezTo>
                    <a:cubicBezTo>
                      <a:pt x="18" y="4"/>
                      <a:pt x="18" y="4"/>
                      <a:pt x="18" y="4"/>
                    </a:cubicBezTo>
                    <a:cubicBezTo>
                      <a:pt x="18" y="4"/>
                      <a:pt x="18" y="4"/>
                      <a:pt x="18" y="4"/>
                    </a:cubicBezTo>
                    <a:cubicBezTo>
                      <a:pt x="18" y="4"/>
                      <a:pt x="18" y="3"/>
                      <a:pt x="17" y="3"/>
                    </a:cubicBezTo>
                    <a:cubicBezTo>
                      <a:pt x="17" y="3"/>
                      <a:pt x="17" y="3"/>
                      <a:pt x="18" y="3"/>
                    </a:cubicBezTo>
                    <a:cubicBezTo>
                      <a:pt x="18" y="3"/>
                      <a:pt x="18" y="3"/>
                      <a:pt x="18" y="3"/>
                    </a:cubicBezTo>
                    <a:cubicBezTo>
                      <a:pt x="18" y="3"/>
                      <a:pt x="18" y="3"/>
                      <a:pt x="18" y="3"/>
                    </a:cubicBezTo>
                    <a:cubicBezTo>
                      <a:pt x="18" y="3"/>
                      <a:pt x="18" y="3"/>
                      <a:pt x="18" y="3"/>
                    </a:cubicBezTo>
                    <a:cubicBezTo>
                      <a:pt x="17" y="3"/>
                      <a:pt x="17" y="3"/>
                      <a:pt x="17" y="2"/>
                    </a:cubicBezTo>
                    <a:cubicBezTo>
                      <a:pt x="16" y="2"/>
                      <a:pt x="16" y="2"/>
                      <a:pt x="16" y="2"/>
                    </a:cubicBezTo>
                    <a:cubicBezTo>
                      <a:pt x="16" y="2"/>
                      <a:pt x="16" y="2"/>
                      <a:pt x="16" y="2"/>
                    </a:cubicBezTo>
                    <a:cubicBezTo>
                      <a:pt x="16" y="2"/>
                      <a:pt x="16" y="2"/>
                      <a:pt x="16" y="2"/>
                    </a:cubicBezTo>
                    <a:cubicBezTo>
                      <a:pt x="16" y="2"/>
                      <a:pt x="16" y="2"/>
                      <a:pt x="16" y="2"/>
                    </a:cubicBezTo>
                    <a:cubicBezTo>
                      <a:pt x="15" y="2"/>
                      <a:pt x="15" y="2"/>
                      <a:pt x="15" y="2"/>
                    </a:cubicBezTo>
                    <a:cubicBezTo>
                      <a:pt x="15" y="2"/>
                      <a:pt x="15" y="1"/>
                      <a:pt x="15" y="1"/>
                    </a:cubicBezTo>
                    <a:cubicBezTo>
                      <a:pt x="15" y="2"/>
                      <a:pt x="15" y="1"/>
                      <a:pt x="15" y="1"/>
                    </a:cubicBezTo>
                    <a:cubicBezTo>
                      <a:pt x="14" y="1"/>
                      <a:pt x="15" y="1"/>
                      <a:pt x="15" y="1"/>
                    </a:cubicBezTo>
                    <a:cubicBezTo>
                      <a:pt x="15" y="1"/>
                      <a:pt x="14" y="1"/>
                      <a:pt x="14" y="1"/>
                    </a:cubicBezTo>
                    <a:close/>
                    <a:moveTo>
                      <a:pt x="25" y="6"/>
                    </a:move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6" y="6"/>
                      <a:pt x="25" y="5"/>
                      <a:pt x="25" y="5"/>
                    </a:cubicBezTo>
                    <a:cubicBezTo>
                      <a:pt x="25" y="5"/>
                      <a:pt x="25" y="5"/>
                      <a:pt x="25" y="5"/>
                    </a:cubicBezTo>
                    <a:cubicBezTo>
                      <a:pt x="25" y="5"/>
                      <a:pt x="25" y="5"/>
                      <a:pt x="25" y="5"/>
                    </a:cubicBezTo>
                    <a:cubicBezTo>
                      <a:pt x="25" y="5"/>
                      <a:pt x="24" y="5"/>
                      <a:pt x="25" y="5"/>
                    </a:cubicBezTo>
                    <a:cubicBezTo>
                      <a:pt x="25" y="5"/>
                      <a:pt x="25" y="5"/>
                      <a:pt x="25" y="5"/>
                    </a:cubicBezTo>
                    <a:cubicBezTo>
                      <a:pt x="25" y="5"/>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lose/>
                    <a:moveTo>
                      <a:pt x="19" y="14"/>
                    </a:moveTo>
                    <a:cubicBezTo>
                      <a:pt x="19" y="14"/>
                      <a:pt x="19" y="14"/>
                      <a:pt x="18" y="14"/>
                    </a:cubicBezTo>
                    <a:cubicBezTo>
                      <a:pt x="18" y="14"/>
                      <a:pt x="18" y="14"/>
                      <a:pt x="18" y="14"/>
                    </a:cubicBezTo>
                    <a:cubicBezTo>
                      <a:pt x="18" y="14"/>
                      <a:pt x="18" y="14"/>
                      <a:pt x="18" y="14"/>
                    </a:cubicBezTo>
                    <a:cubicBezTo>
                      <a:pt x="18" y="14"/>
                      <a:pt x="17" y="14"/>
                      <a:pt x="17" y="14"/>
                    </a:cubicBezTo>
                    <a:cubicBezTo>
                      <a:pt x="17" y="14"/>
                      <a:pt x="17" y="14"/>
                      <a:pt x="17" y="14"/>
                    </a:cubicBezTo>
                    <a:cubicBezTo>
                      <a:pt x="17" y="14"/>
                      <a:pt x="18" y="14"/>
                      <a:pt x="18" y="14"/>
                    </a:cubicBezTo>
                    <a:cubicBezTo>
                      <a:pt x="17" y="14"/>
                      <a:pt x="18" y="15"/>
                      <a:pt x="18" y="15"/>
                    </a:cubicBezTo>
                    <a:cubicBezTo>
                      <a:pt x="18" y="15"/>
                      <a:pt x="18" y="15"/>
                      <a:pt x="18" y="15"/>
                    </a:cubicBezTo>
                    <a:cubicBezTo>
                      <a:pt x="18" y="15"/>
                      <a:pt x="18" y="15"/>
                      <a:pt x="18" y="15"/>
                    </a:cubicBezTo>
                    <a:cubicBezTo>
                      <a:pt x="18" y="15"/>
                      <a:pt x="18" y="15"/>
                      <a:pt x="18" y="15"/>
                    </a:cubicBezTo>
                    <a:cubicBezTo>
                      <a:pt x="18" y="15"/>
                      <a:pt x="18" y="15"/>
                      <a:pt x="19" y="15"/>
                    </a:cubicBezTo>
                    <a:cubicBezTo>
                      <a:pt x="18" y="15"/>
                      <a:pt x="18" y="14"/>
                      <a:pt x="19" y="15"/>
                    </a:cubicBezTo>
                    <a:cubicBezTo>
                      <a:pt x="19" y="14"/>
                      <a:pt x="19" y="14"/>
                      <a:pt x="19" y="14"/>
                    </a:cubicBezTo>
                    <a:close/>
                    <a:moveTo>
                      <a:pt x="24" y="13"/>
                    </a:moveTo>
                    <a:cubicBezTo>
                      <a:pt x="24" y="13"/>
                      <a:pt x="23" y="13"/>
                      <a:pt x="23" y="13"/>
                    </a:cubicBezTo>
                    <a:cubicBezTo>
                      <a:pt x="23" y="13"/>
                      <a:pt x="23" y="14"/>
                      <a:pt x="23" y="14"/>
                    </a:cubicBezTo>
                    <a:cubicBezTo>
                      <a:pt x="23" y="14"/>
                      <a:pt x="23" y="13"/>
                      <a:pt x="23" y="13"/>
                    </a:cubicBezTo>
                    <a:cubicBezTo>
                      <a:pt x="23"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4"/>
                      <a:pt x="22" y="14"/>
                    </a:cubicBezTo>
                    <a:cubicBezTo>
                      <a:pt x="22" y="14"/>
                      <a:pt x="22" y="14"/>
                      <a:pt x="22" y="14"/>
                    </a:cubicBezTo>
                    <a:cubicBezTo>
                      <a:pt x="22" y="14"/>
                      <a:pt x="23" y="15"/>
                      <a:pt x="23" y="15"/>
                    </a:cubicBezTo>
                    <a:cubicBezTo>
                      <a:pt x="23" y="15"/>
                      <a:pt x="22" y="15"/>
                      <a:pt x="23" y="15"/>
                    </a:cubicBezTo>
                    <a:cubicBezTo>
                      <a:pt x="23" y="15"/>
                      <a:pt x="23" y="15"/>
                      <a:pt x="23" y="15"/>
                    </a:cubicBezTo>
                    <a:cubicBezTo>
                      <a:pt x="23" y="15"/>
                      <a:pt x="23" y="15"/>
                      <a:pt x="23" y="15"/>
                    </a:cubicBezTo>
                    <a:cubicBezTo>
                      <a:pt x="23" y="15"/>
                      <a:pt x="23" y="16"/>
                      <a:pt x="23" y="16"/>
                    </a:cubicBezTo>
                    <a:cubicBezTo>
                      <a:pt x="23" y="16"/>
                      <a:pt x="23" y="16"/>
                      <a:pt x="23" y="16"/>
                    </a:cubicBezTo>
                    <a:cubicBezTo>
                      <a:pt x="23" y="15"/>
                      <a:pt x="24" y="16"/>
                      <a:pt x="24" y="16"/>
                    </a:cubicBezTo>
                    <a:cubicBezTo>
                      <a:pt x="24" y="16"/>
                      <a:pt x="23" y="16"/>
                      <a:pt x="23" y="15"/>
                    </a:cubicBezTo>
                    <a:cubicBezTo>
                      <a:pt x="23" y="15"/>
                      <a:pt x="23" y="15"/>
                      <a:pt x="23" y="15"/>
                    </a:cubicBezTo>
                    <a:cubicBezTo>
                      <a:pt x="23" y="15"/>
                      <a:pt x="23" y="15"/>
                      <a:pt x="23" y="15"/>
                    </a:cubicBezTo>
                    <a:cubicBezTo>
                      <a:pt x="23" y="14"/>
                      <a:pt x="23" y="14"/>
                      <a:pt x="23" y="14"/>
                    </a:cubicBezTo>
                    <a:cubicBezTo>
                      <a:pt x="23" y="14"/>
                      <a:pt x="23" y="14"/>
                      <a:pt x="23" y="14"/>
                    </a:cubicBezTo>
                    <a:cubicBezTo>
                      <a:pt x="23" y="14"/>
                      <a:pt x="23" y="14"/>
                      <a:pt x="23" y="14"/>
                    </a:cubicBezTo>
                    <a:cubicBezTo>
                      <a:pt x="23" y="14"/>
                      <a:pt x="24" y="13"/>
                      <a:pt x="24" y="13"/>
                    </a:cubicBezTo>
                    <a:close/>
                    <a:moveTo>
                      <a:pt x="26" y="6"/>
                    </a:moveTo>
                    <a:cubicBezTo>
                      <a:pt x="26" y="6"/>
                      <a:pt x="26" y="6"/>
                      <a:pt x="26" y="6"/>
                    </a:cubicBezTo>
                    <a:cubicBezTo>
                      <a:pt x="26" y="6"/>
                      <a:pt x="26" y="6"/>
                      <a:pt x="26" y="6"/>
                    </a:cubicBezTo>
                    <a:cubicBezTo>
                      <a:pt x="26" y="6"/>
                      <a:pt x="26" y="6"/>
                      <a:pt x="26" y="6"/>
                    </a:cubicBezTo>
                    <a:cubicBezTo>
                      <a:pt x="26" y="6"/>
                      <a:pt x="26" y="6"/>
                      <a:pt x="26" y="6"/>
                    </a:cubicBezTo>
                    <a:cubicBezTo>
                      <a:pt x="26" y="6"/>
                      <a:pt x="26" y="6"/>
                      <a:pt x="26" y="6"/>
                    </a:cubicBezTo>
                    <a:cubicBezTo>
                      <a:pt x="26" y="6"/>
                      <a:pt x="26" y="5"/>
                      <a:pt x="26" y="5"/>
                    </a:cubicBezTo>
                    <a:cubicBezTo>
                      <a:pt x="26" y="5"/>
                      <a:pt x="26" y="5"/>
                      <a:pt x="26" y="5"/>
                    </a:cubicBezTo>
                    <a:cubicBezTo>
                      <a:pt x="25" y="5"/>
                      <a:pt x="26" y="6"/>
                      <a:pt x="26" y="6"/>
                    </a:cubicBezTo>
                    <a:cubicBezTo>
                      <a:pt x="26" y="6"/>
                      <a:pt x="26" y="6"/>
                      <a:pt x="26" y="6"/>
                    </a:cubicBezTo>
                    <a:cubicBezTo>
                      <a:pt x="26" y="6"/>
                      <a:pt x="26" y="6"/>
                      <a:pt x="26" y="6"/>
                    </a:cubicBezTo>
                    <a:cubicBezTo>
                      <a:pt x="26" y="6"/>
                      <a:pt x="26" y="6"/>
                      <a:pt x="26" y="6"/>
                    </a:cubicBezTo>
                    <a:cubicBezTo>
                      <a:pt x="26" y="6"/>
                      <a:pt x="26" y="6"/>
                      <a:pt x="26" y="6"/>
                    </a:cubicBezTo>
                    <a:close/>
                    <a:moveTo>
                      <a:pt x="22" y="12"/>
                    </a:moveTo>
                    <a:cubicBezTo>
                      <a:pt x="23" y="12"/>
                      <a:pt x="23" y="12"/>
                      <a:pt x="23" y="12"/>
                    </a:cubicBezTo>
                    <a:cubicBezTo>
                      <a:pt x="23" y="12"/>
                      <a:pt x="23" y="12"/>
                      <a:pt x="23" y="11"/>
                    </a:cubicBezTo>
                    <a:cubicBezTo>
                      <a:pt x="23" y="11"/>
                      <a:pt x="23" y="11"/>
                      <a:pt x="23" y="11"/>
                    </a:cubicBezTo>
                    <a:cubicBezTo>
                      <a:pt x="22" y="11"/>
                      <a:pt x="22" y="12"/>
                      <a:pt x="22" y="12"/>
                    </a:cubicBezTo>
                    <a:close/>
                    <a:moveTo>
                      <a:pt x="24" y="9"/>
                    </a:moveTo>
                    <a:cubicBezTo>
                      <a:pt x="24" y="9"/>
                      <a:pt x="24" y="9"/>
                      <a:pt x="24" y="9"/>
                    </a:cubicBezTo>
                    <a:cubicBezTo>
                      <a:pt x="24" y="8"/>
                      <a:pt x="24" y="8"/>
                      <a:pt x="24" y="8"/>
                    </a:cubicBezTo>
                    <a:cubicBezTo>
                      <a:pt x="24" y="8"/>
                      <a:pt x="24" y="8"/>
                      <a:pt x="24" y="8"/>
                    </a:cubicBezTo>
                    <a:cubicBezTo>
                      <a:pt x="24" y="8"/>
                      <a:pt x="24" y="8"/>
                      <a:pt x="24" y="8"/>
                    </a:cubicBezTo>
                    <a:cubicBezTo>
                      <a:pt x="24" y="8"/>
                      <a:pt x="24" y="8"/>
                      <a:pt x="24" y="8"/>
                    </a:cubicBezTo>
                    <a:cubicBezTo>
                      <a:pt x="24" y="8"/>
                      <a:pt x="24" y="7"/>
                      <a:pt x="24" y="7"/>
                    </a:cubicBezTo>
                    <a:cubicBezTo>
                      <a:pt x="23" y="7"/>
                      <a:pt x="23" y="7"/>
                      <a:pt x="23" y="7"/>
                    </a:cubicBezTo>
                    <a:cubicBezTo>
                      <a:pt x="23" y="7"/>
                      <a:pt x="23" y="7"/>
                      <a:pt x="23" y="7"/>
                    </a:cubicBezTo>
                    <a:cubicBezTo>
                      <a:pt x="23" y="7"/>
                      <a:pt x="22" y="7"/>
                      <a:pt x="22" y="6"/>
                    </a:cubicBezTo>
                    <a:cubicBezTo>
                      <a:pt x="22" y="6"/>
                      <a:pt x="22" y="6"/>
                      <a:pt x="22" y="6"/>
                    </a:cubicBezTo>
                    <a:cubicBezTo>
                      <a:pt x="22" y="6"/>
                      <a:pt x="22" y="6"/>
                      <a:pt x="22" y="6"/>
                    </a:cubicBezTo>
                    <a:cubicBezTo>
                      <a:pt x="22" y="6"/>
                      <a:pt x="21" y="5"/>
                      <a:pt x="21" y="5"/>
                    </a:cubicBezTo>
                    <a:cubicBezTo>
                      <a:pt x="21" y="5"/>
                      <a:pt x="22" y="5"/>
                      <a:pt x="21" y="5"/>
                    </a:cubicBezTo>
                    <a:cubicBezTo>
                      <a:pt x="21" y="5"/>
                      <a:pt x="21" y="5"/>
                      <a:pt x="21" y="6"/>
                    </a:cubicBezTo>
                    <a:cubicBezTo>
                      <a:pt x="21" y="6"/>
                      <a:pt x="21" y="6"/>
                      <a:pt x="21" y="7"/>
                    </a:cubicBezTo>
                    <a:cubicBezTo>
                      <a:pt x="21" y="6"/>
                      <a:pt x="21" y="7"/>
                      <a:pt x="21" y="7"/>
                    </a:cubicBezTo>
                    <a:cubicBezTo>
                      <a:pt x="21" y="7"/>
                      <a:pt x="21" y="7"/>
                      <a:pt x="21" y="7"/>
                    </a:cubicBezTo>
                    <a:cubicBezTo>
                      <a:pt x="21" y="7"/>
                      <a:pt x="21" y="8"/>
                      <a:pt x="21" y="8"/>
                    </a:cubicBezTo>
                    <a:cubicBezTo>
                      <a:pt x="21" y="8"/>
                      <a:pt x="21" y="8"/>
                      <a:pt x="21" y="8"/>
                    </a:cubicBezTo>
                    <a:cubicBezTo>
                      <a:pt x="21" y="8"/>
                      <a:pt x="22" y="8"/>
                      <a:pt x="22" y="8"/>
                    </a:cubicBezTo>
                    <a:cubicBezTo>
                      <a:pt x="22" y="8"/>
                      <a:pt x="22" y="8"/>
                      <a:pt x="22" y="8"/>
                    </a:cubicBezTo>
                    <a:cubicBezTo>
                      <a:pt x="22" y="8"/>
                      <a:pt x="22" y="8"/>
                      <a:pt x="22" y="9"/>
                    </a:cubicBezTo>
                    <a:cubicBezTo>
                      <a:pt x="23" y="9"/>
                      <a:pt x="23" y="9"/>
                      <a:pt x="23" y="9"/>
                    </a:cubicBezTo>
                    <a:cubicBezTo>
                      <a:pt x="23" y="9"/>
                      <a:pt x="23" y="9"/>
                      <a:pt x="24" y="9"/>
                    </a:cubicBezTo>
                    <a:cubicBezTo>
                      <a:pt x="24" y="9"/>
                      <a:pt x="24" y="9"/>
                      <a:pt x="24" y="9"/>
                    </a:cubicBezTo>
                    <a:close/>
                    <a:moveTo>
                      <a:pt x="1" y="1"/>
                    </a:moveTo>
                    <a:cubicBezTo>
                      <a:pt x="1" y="1"/>
                      <a:pt x="1" y="1"/>
                      <a:pt x="1" y="1"/>
                    </a:cubicBezTo>
                    <a:cubicBezTo>
                      <a:pt x="1" y="2"/>
                      <a:pt x="1" y="1"/>
                      <a:pt x="1" y="1"/>
                    </a:cubicBezTo>
                    <a:cubicBezTo>
                      <a:pt x="1" y="1"/>
                      <a:pt x="1" y="2"/>
                      <a:pt x="1" y="1"/>
                    </a:cubicBezTo>
                    <a:close/>
                    <a:moveTo>
                      <a:pt x="17" y="8"/>
                    </a:moveTo>
                    <a:cubicBezTo>
                      <a:pt x="17" y="8"/>
                      <a:pt x="17" y="8"/>
                      <a:pt x="17" y="8"/>
                    </a:cubicBezTo>
                    <a:cubicBezTo>
                      <a:pt x="16" y="7"/>
                      <a:pt x="16" y="7"/>
                      <a:pt x="16" y="7"/>
                    </a:cubicBezTo>
                    <a:cubicBezTo>
                      <a:pt x="16" y="7"/>
                      <a:pt x="16" y="7"/>
                      <a:pt x="16" y="7"/>
                    </a:cubicBezTo>
                    <a:cubicBezTo>
                      <a:pt x="16" y="7"/>
                      <a:pt x="16" y="7"/>
                      <a:pt x="16" y="7"/>
                    </a:cubicBezTo>
                    <a:cubicBezTo>
                      <a:pt x="16" y="8"/>
                      <a:pt x="16" y="8"/>
                      <a:pt x="16" y="8"/>
                    </a:cubicBezTo>
                    <a:cubicBezTo>
                      <a:pt x="16" y="8"/>
                      <a:pt x="16" y="8"/>
                      <a:pt x="16" y="8"/>
                    </a:cubicBezTo>
                    <a:cubicBezTo>
                      <a:pt x="16" y="8"/>
                      <a:pt x="16" y="8"/>
                      <a:pt x="16" y="8"/>
                    </a:cubicBezTo>
                    <a:cubicBezTo>
                      <a:pt x="16" y="8"/>
                      <a:pt x="16" y="8"/>
                      <a:pt x="16" y="8"/>
                    </a:cubicBezTo>
                    <a:cubicBezTo>
                      <a:pt x="16" y="7"/>
                      <a:pt x="16" y="8"/>
                      <a:pt x="16" y="8"/>
                    </a:cubicBezTo>
                    <a:cubicBezTo>
                      <a:pt x="17" y="8"/>
                      <a:pt x="17" y="8"/>
                      <a:pt x="17" y="8"/>
                    </a:cubicBezTo>
                    <a:cubicBezTo>
                      <a:pt x="17" y="8"/>
                      <a:pt x="17" y="8"/>
                      <a:pt x="17" y="8"/>
                    </a:cubicBezTo>
                    <a:close/>
                    <a:moveTo>
                      <a:pt x="21" y="14"/>
                    </a:moveTo>
                    <a:cubicBezTo>
                      <a:pt x="21" y="14"/>
                      <a:pt x="22" y="14"/>
                      <a:pt x="22" y="14"/>
                    </a:cubicBezTo>
                    <a:cubicBezTo>
                      <a:pt x="21" y="14"/>
                      <a:pt x="22" y="14"/>
                      <a:pt x="22" y="14"/>
                    </a:cubicBezTo>
                    <a:cubicBezTo>
                      <a:pt x="22" y="14"/>
                      <a:pt x="22" y="15"/>
                      <a:pt x="22" y="15"/>
                    </a:cubicBezTo>
                    <a:cubicBezTo>
                      <a:pt x="22" y="14"/>
                      <a:pt x="22" y="14"/>
                      <a:pt x="22" y="14"/>
                    </a:cubicBezTo>
                    <a:cubicBezTo>
                      <a:pt x="22" y="14"/>
                      <a:pt x="22" y="14"/>
                      <a:pt x="21" y="14"/>
                    </a:cubicBezTo>
                    <a:close/>
                    <a:moveTo>
                      <a:pt x="5" y="3"/>
                    </a:moveTo>
                    <a:cubicBezTo>
                      <a:pt x="5" y="3"/>
                      <a:pt x="5" y="3"/>
                      <a:pt x="5" y="3"/>
                    </a:cubicBezTo>
                    <a:cubicBezTo>
                      <a:pt x="5" y="3"/>
                      <a:pt x="5" y="3"/>
                      <a:pt x="6" y="3"/>
                    </a:cubicBezTo>
                    <a:cubicBezTo>
                      <a:pt x="5" y="3"/>
                      <a:pt x="5" y="3"/>
                      <a:pt x="5" y="3"/>
                    </a:cubicBezTo>
                    <a:close/>
                    <a:moveTo>
                      <a:pt x="0" y="1"/>
                    </a:moveTo>
                    <a:cubicBezTo>
                      <a:pt x="0" y="1"/>
                      <a:pt x="0" y="1"/>
                      <a:pt x="0" y="1"/>
                    </a:cubicBezTo>
                    <a:cubicBezTo>
                      <a:pt x="0" y="1"/>
                      <a:pt x="0" y="1"/>
                      <a:pt x="0" y="1"/>
                    </a:cubicBezTo>
                    <a:close/>
                    <a:moveTo>
                      <a:pt x="21" y="13"/>
                    </a:moveTo>
                    <a:cubicBezTo>
                      <a:pt x="21" y="13"/>
                      <a:pt x="21" y="13"/>
                      <a:pt x="21" y="13"/>
                    </a:cubicBezTo>
                    <a:cubicBezTo>
                      <a:pt x="21" y="13"/>
                      <a:pt x="21" y="12"/>
                      <a:pt x="21" y="12"/>
                    </a:cubicBezTo>
                    <a:cubicBezTo>
                      <a:pt x="21" y="12"/>
                      <a:pt x="21" y="12"/>
                      <a:pt x="21" y="12"/>
                    </a:cubicBezTo>
                    <a:cubicBezTo>
                      <a:pt x="21" y="12"/>
                      <a:pt x="21" y="12"/>
                      <a:pt x="21" y="12"/>
                    </a:cubicBezTo>
                    <a:cubicBezTo>
                      <a:pt x="21" y="12"/>
                      <a:pt x="21" y="12"/>
                      <a:pt x="21" y="12"/>
                    </a:cubicBezTo>
                    <a:cubicBezTo>
                      <a:pt x="21" y="12"/>
                      <a:pt x="21" y="12"/>
                      <a:pt x="21" y="12"/>
                    </a:cubicBezTo>
                    <a:cubicBezTo>
                      <a:pt x="21" y="12"/>
                      <a:pt x="21" y="12"/>
                      <a:pt x="20" y="12"/>
                    </a:cubicBezTo>
                    <a:cubicBezTo>
                      <a:pt x="20" y="12"/>
                      <a:pt x="20" y="12"/>
                      <a:pt x="21" y="12"/>
                    </a:cubicBezTo>
                    <a:cubicBezTo>
                      <a:pt x="20" y="12"/>
                      <a:pt x="21" y="12"/>
                      <a:pt x="21" y="12"/>
                    </a:cubicBezTo>
                    <a:cubicBezTo>
                      <a:pt x="21" y="12"/>
                      <a:pt x="21" y="13"/>
                      <a:pt x="21" y="13"/>
                    </a:cubicBezTo>
                    <a:cubicBezTo>
                      <a:pt x="21" y="13"/>
                      <a:pt x="21" y="13"/>
                      <a:pt x="21" y="13"/>
                    </a:cubicBezTo>
                    <a:close/>
                    <a:moveTo>
                      <a:pt x="4" y="1"/>
                    </a:moveTo>
                    <a:cubicBezTo>
                      <a:pt x="4" y="1"/>
                      <a:pt x="4" y="1"/>
                      <a:pt x="4" y="1"/>
                    </a:cubicBezTo>
                    <a:cubicBezTo>
                      <a:pt x="4" y="1"/>
                      <a:pt x="4" y="1"/>
                      <a:pt x="4" y="2"/>
                    </a:cubicBezTo>
                    <a:cubicBezTo>
                      <a:pt x="4" y="2"/>
                      <a:pt x="4" y="2"/>
                      <a:pt x="5" y="2"/>
                    </a:cubicBezTo>
                    <a:cubicBezTo>
                      <a:pt x="5" y="1"/>
                      <a:pt x="5" y="1"/>
                      <a:pt x="4" y="1"/>
                    </a:cubicBezTo>
                    <a:close/>
                    <a:moveTo>
                      <a:pt x="24" y="17"/>
                    </a:moveTo>
                    <a:cubicBezTo>
                      <a:pt x="24" y="17"/>
                      <a:pt x="24" y="17"/>
                      <a:pt x="24" y="17"/>
                    </a:cubicBezTo>
                    <a:cubicBezTo>
                      <a:pt x="23" y="17"/>
                      <a:pt x="24" y="17"/>
                      <a:pt x="24" y="17"/>
                    </a:cubicBezTo>
                    <a:cubicBezTo>
                      <a:pt x="24" y="18"/>
                      <a:pt x="24" y="17"/>
                      <a:pt x="24" y="17"/>
                    </a:cubicBezTo>
                    <a:cubicBezTo>
                      <a:pt x="24" y="17"/>
                      <a:pt x="24" y="17"/>
                      <a:pt x="24" y="17"/>
                    </a:cubicBezTo>
                    <a:close/>
                    <a:moveTo>
                      <a:pt x="20" y="9"/>
                    </a:moveTo>
                    <a:cubicBezTo>
                      <a:pt x="20" y="9"/>
                      <a:pt x="20" y="9"/>
                      <a:pt x="20" y="9"/>
                    </a:cubicBezTo>
                    <a:cubicBezTo>
                      <a:pt x="20" y="9"/>
                      <a:pt x="20" y="9"/>
                      <a:pt x="20" y="9"/>
                    </a:cubicBezTo>
                    <a:cubicBezTo>
                      <a:pt x="20" y="9"/>
                      <a:pt x="20" y="9"/>
                      <a:pt x="20" y="9"/>
                    </a:cubicBezTo>
                    <a:cubicBezTo>
                      <a:pt x="20" y="10"/>
                      <a:pt x="20" y="10"/>
                      <a:pt x="20" y="9"/>
                    </a:cubicBezTo>
                    <a:cubicBezTo>
                      <a:pt x="21" y="9"/>
                      <a:pt x="21" y="9"/>
                      <a:pt x="21" y="9"/>
                    </a:cubicBezTo>
                    <a:cubicBezTo>
                      <a:pt x="21" y="9"/>
                      <a:pt x="21" y="9"/>
                      <a:pt x="21" y="9"/>
                    </a:cubicBezTo>
                    <a:cubicBezTo>
                      <a:pt x="21" y="9"/>
                      <a:pt x="20" y="9"/>
                      <a:pt x="20" y="9"/>
                    </a:cubicBezTo>
                    <a:close/>
                    <a:moveTo>
                      <a:pt x="22" y="10"/>
                    </a:moveTo>
                    <a:cubicBezTo>
                      <a:pt x="23" y="10"/>
                      <a:pt x="23" y="10"/>
                      <a:pt x="23" y="10"/>
                    </a:cubicBezTo>
                    <a:cubicBezTo>
                      <a:pt x="23" y="10"/>
                      <a:pt x="24" y="10"/>
                      <a:pt x="24" y="10"/>
                    </a:cubicBezTo>
                    <a:cubicBezTo>
                      <a:pt x="24" y="10"/>
                      <a:pt x="24" y="10"/>
                      <a:pt x="24" y="10"/>
                    </a:cubicBezTo>
                    <a:cubicBezTo>
                      <a:pt x="24" y="10"/>
                      <a:pt x="24" y="10"/>
                      <a:pt x="24" y="10"/>
                    </a:cubicBezTo>
                    <a:cubicBezTo>
                      <a:pt x="24" y="10"/>
                      <a:pt x="24" y="10"/>
                      <a:pt x="23" y="10"/>
                    </a:cubicBezTo>
                    <a:cubicBezTo>
                      <a:pt x="23" y="10"/>
                      <a:pt x="23" y="10"/>
                      <a:pt x="23" y="10"/>
                    </a:cubicBezTo>
                    <a:cubicBezTo>
                      <a:pt x="23" y="10"/>
                      <a:pt x="23" y="10"/>
                      <a:pt x="23" y="10"/>
                    </a:cubicBezTo>
                    <a:cubicBezTo>
                      <a:pt x="22" y="10"/>
                      <a:pt x="22" y="10"/>
                      <a:pt x="22" y="10"/>
                    </a:cubicBezTo>
                    <a:cubicBezTo>
                      <a:pt x="22" y="10"/>
                      <a:pt x="22" y="10"/>
                      <a:pt x="22" y="1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901" kern="0">
                  <a:solidFill>
                    <a:srgbClr val="FFFFFF"/>
                  </a:solidFill>
                </a:endParaRPr>
              </a:p>
            </p:txBody>
          </p:sp>
          <p:sp>
            <p:nvSpPr>
              <p:cNvPr id="1626" name="Faroe Islands (Denmark)">
                <a:extLst>
                  <a:ext uri="{FF2B5EF4-FFF2-40B4-BE49-F238E27FC236}">
                    <a16:creationId xmlns:a16="http://schemas.microsoft.com/office/drawing/2014/main" id="{BFD1F578-680F-C4A1-5CD4-95C38EA5CBC5}"/>
                  </a:ext>
                </a:extLst>
              </p:cNvPr>
              <p:cNvSpPr>
                <a:spLocks noEditPoints="1"/>
              </p:cNvSpPr>
              <p:nvPr/>
            </p:nvSpPr>
            <p:spPr bwMode="auto">
              <a:xfrm>
                <a:off x="5570243" y="1654708"/>
                <a:ext cx="27444" cy="32346"/>
              </a:xfrm>
              <a:custGeom>
                <a:avLst/>
                <a:gdLst/>
                <a:ahLst/>
                <a:cxnLst>
                  <a:cxn ang="0">
                    <a:pos x="7" y="2"/>
                  </a:cxn>
                  <a:cxn ang="0">
                    <a:pos x="6" y="2"/>
                  </a:cxn>
                  <a:cxn ang="0">
                    <a:pos x="6" y="3"/>
                  </a:cxn>
                  <a:cxn ang="0">
                    <a:pos x="5" y="1"/>
                  </a:cxn>
                  <a:cxn ang="0">
                    <a:pos x="5" y="2"/>
                  </a:cxn>
                  <a:cxn ang="0">
                    <a:pos x="5" y="2"/>
                  </a:cxn>
                  <a:cxn ang="0">
                    <a:pos x="3" y="1"/>
                  </a:cxn>
                  <a:cxn ang="0">
                    <a:pos x="4" y="0"/>
                  </a:cxn>
                  <a:cxn ang="0">
                    <a:pos x="4" y="1"/>
                  </a:cxn>
                  <a:cxn ang="0">
                    <a:pos x="5" y="1"/>
                  </a:cxn>
                  <a:cxn ang="0">
                    <a:pos x="5" y="1"/>
                  </a:cxn>
                  <a:cxn ang="0">
                    <a:pos x="6" y="1"/>
                  </a:cxn>
                  <a:cxn ang="0">
                    <a:pos x="6" y="1"/>
                  </a:cxn>
                  <a:cxn ang="0">
                    <a:pos x="7" y="2"/>
                  </a:cxn>
                  <a:cxn ang="0">
                    <a:pos x="4" y="4"/>
                  </a:cxn>
                  <a:cxn ang="0">
                    <a:pos x="4" y="5"/>
                  </a:cxn>
                  <a:cxn ang="0">
                    <a:pos x="6" y="6"/>
                  </a:cxn>
                  <a:cxn ang="0">
                    <a:pos x="6" y="5"/>
                  </a:cxn>
                  <a:cxn ang="0">
                    <a:pos x="4" y="4"/>
                  </a:cxn>
                  <a:cxn ang="0">
                    <a:pos x="5" y="8"/>
                  </a:cxn>
                  <a:cxn ang="0">
                    <a:pos x="4" y="8"/>
                  </a:cxn>
                  <a:cxn ang="0">
                    <a:pos x="5" y="7"/>
                  </a:cxn>
                  <a:cxn ang="0">
                    <a:pos x="3" y="7"/>
                  </a:cxn>
                  <a:cxn ang="0">
                    <a:pos x="4" y="7"/>
                  </a:cxn>
                  <a:cxn ang="0">
                    <a:pos x="3" y="8"/>
                  </a:cxn>
                  <a:cxn ang="0">
                    <a:pos x="5" y="9"/>
                  </a:cxn>
                  <a:cxn ang="0">
                    <a:pos x="4" y="9"/>
                  </a:cxn>
                  <a:cxn ang="0">
                    <a:pos x="5" y="8"/>
                  </a:cxn>
                  <a:cxn ang="0">
                    <a:pos x="8" y="1"/>
                  </a:cxn>
                  <a:cxn ang="0">
                    <a:pos x="7" y="0"/>
                  </a:cxn>
                  <a:cxn ang="0">
                    <a:pos x="7" y="0"/>
                  </a:cxn>
                  <a:cxn ang="0">
                    <a:pos x="7" y="1"/>
                  </a:cxn>
                  <a:cxn ang="0">
                    <a:pos x="7" y="2"/>
                  </a:cxn>
                  <a:cxn ang="0">
                    <a:pos x="7" y="1"/>
                  </a:cxn>
                  <a:cxn ang="0">
                    <a:pos x="8" y="1"/>
                  </a:cxn>
                  <a:cxn ang="0">
                    <a:pos x="7" y="1"/>
                  </a:cxn>
                  <a:cxn ang="0">
                    <a:pos x="8" y="1"/>
                  </a:cxn>
                  <a:cxn ang="0">
                    <a:pos x="2" y="2"/>
                  </a:cxn>
                  <a:cxn ang="0">
                    <a:pos x="3" y="2"/>
                  </a:cxn>
                  <a:cxn ang="0">
                    <a:pos x="5" y="4"/>
                  </a:cxn>
                  <a:cxn ang="0">
                    <a:pos x="5" y="3"/>
                  </a:cxn>
                  <a:cxn ang="0">
                    <a:pos x="4" y="3"/>
                  </a:cxn>
                  <a:cxn ang="0">
                    <a:pos x="4" y="2"/>
                  </a:cxn>
                  <a:cxn ang="0">
                    <a:pos x="4" y="1"/>
                  </a:cxn>
                  <a:cxn ang="0">
                    <a:pos x="3" y="0"/>
                  </a:cxn>
                  <a:cxn ang="0">
                    <a:pos x="2" y="1"/>
                  </a:cxn>
                  <a:cxn ang="0">
                    <a:pos x="2" y="2"/>
                  </a:cxn>
                  <a:cxn ang="0">
                    <a:pos x="2" y="2"/>
                  </a:cxn>
                  <a:cxn ang="0">
                    <a:pos x="0" y="2"/>
                  </a:cxn>
                  <a:cxn ang="0">
                    <a:pos x="1" y="2"/>
                  </a:cxn>
                  <a:cxn ang="0">
                    <a:pos x="0" y="3"/>
                  </a:cxn>
                  <a:cxn ang="0">
                    <a:pos x="2" y="3"/>
                  </a:cxn>
                  <a:cxn ang="0">
                    <a:pos x="2" y="3"/>
                  </a:cxn>
                  <a:cxn ang="0">
                    <a:pos x="2" y="3"/>
                  </a:cxn>
                  <a:cxn ang="0">
                    <a:pos x="2" y="2"/>
                  </a:cxn>
                </a:cxnLst>
                <a:rect l="0" t="0" r="r" b="b"/>
                <a:pathLst>
                  <a:path w="8" h="9">
                    <a:moveTo>
                      <a:pt x="7" y="2"/>
                    </a:moveTo>
                    <a:cubicBezTo>
                      <a:pt x="6" y="2"/>
                      <a:pt x="6" y="2"/>
                      <a:pt x="6" y="2"/>
                    </a:cubicBezTo>
                    <a:cubicBezTo>
                      <a:pt x="7" y="2"/>
                      <a:pt x="6" y="2"/>
                      <a:pt x="6" y="3"/>
                    </a:cubicBezTo>
                    <a:cubicBezTo>
                      <a:pt x="5" y="2"/>
                      <a:pt x="6" y="1"/>
                      <a:pt x="5" y="1"/>
                    </a:cubicBezTo>
                    <a:cubicBezTo>
                      <a:pt x="5" y="2"/>
                      <a:pt x="5" y="2"/>
                      <a:pt x="5" y="2"/>
                    </a:cubicBezTo>
                    <a:cubicBezTo>
                      <a:pt x="6" y="2"/>
                      <a:pt x="5" y="2"/>
                      <a:pt x="5" y="2"/>
                    </a:cubicBezTo>
                    <a:cubicBezTo>
                      <a:pt x="4" y="2"/>
                      <a:pt x="4" y="1"/>
                      <a:pt x="3" y="1"/>
                    </a:cubicBezTo>
                    <a:cubicBezTo>
                      <a:pt x="3" y="0"/>
                      <a:pt x="3" y="0"/>
                      <a:pt x="4" y="0"/>
                    </a:cubicBezTo>
                    <a:cubicBezTo>
                      <a:pt x="5" y="0"/>
                      <a:pt x="4" y="1"/>
                      <a:pt x="4" y="1"/>
                    </a:cubicBezTo>
                    <a:cubicBezTo>
                      <a:pt x="4" y="0"/>
                      <a:pt x="5" y="0"/>
                      <a:pt x="5" y="1"/>
                    </a:cubicBezTo>
                    <a:cubicBezTo>
                      <a:pt x="5" y="1"/>
                      <a:pt x="5" y="1"/>
                      <a:pt x="5" y="1"/>
                    </a:cubicBezTo>
                    <a:cubicBezTo>
                      <a:pt x="5" y="1"/>
                      <a:pt x="6" y="1"/>
                      <a:pt x="6" y="1"/>
                    </a:cubicBezTo>
                    <a:cubicBezTo>
                      <a:pt x="6" y="1"/>
                      <a:pt x="6" y="1"/>
                      <a:pt x="6" y="1"/>
                    </a:cubicBezTo>
                    <a:cubicBezTo>
                      <a:pt x="6" y="2"/>
                      <a:pt x="6" y="2"/>
                      <a:pt x="7" y="2"/>
                    </a:cubicBezTo>
                    <a:close/>
                    <a:moveTo>
                      <a:pt x="4" y="4"/>
                    </a:moveTo>
                    <a:cubicBezTo>
                      <a:pt x="4" y="4"/>
                      <a:pt x="4" y="5"/>
                      <a:pt x="4" y="5"/>
                    </a:cubicBezTo>
                    <a:cubicBezTo>
                      <a:pt x="5" y="5"/>
                      <a:pt x="5" y="5"/>
                      <a:pt x="6" y="6"/>
                    </a:cubicBezTo>
                    <a:cubicBezTo>
                      <a:pt x="6" y="6"/>
                      <a:pt x="6" y="5"/>
                      <a:pt x="6" y="5"/>
                    </a:cubicBezTo>
                    <a:cubicBezTo>
                      <a:pt x="5" y="4"/>
                      <a:pt x="5" y="4"/>
                      <a:pt x="4" y="4"/>
                    </a:cubicBezTo>
                    <a:close/>
                    <a:moveTo>
                      <a:pt x="5" y="8"/>
                    </a:moveTo>
                    <a:cubicBezTo>
                      <a:pt x="5" y="8"/>
                      <a:pt x="4" y="8"/>
                      <a:pt x="4" y="8"/>
                    </a:cubicBezTo>
                    <a:cubicBezTo>
                      <a:pt x="4" y="8"/>
                      <a:pt x="5" y="8"/>
                      <a:pt x="5" y="7"/>
                    </a:cubicBezTo>
                    <a:cubicBezTo>
                      <a:pt x="4" y="7"/>
                      <a:pt x="4" y="7"/>
                      <a:pt x="3" y="7"/>
                    </a:cubicBezTo>
                    <a:cubicBezTo>
                      <a:pt x="3" y="7"/>
                      <a:pt x="4" y="7"/>
                      <a:pt x="4" y="7"/>
                    </a:cubicBezTo>
                    <a:cubicBezTo>
                      <a:pt x="3" y="7"/>
                      <a:pt x="3" y="7"/>
                      <a:pt x="3" y="8"/>
                    </a:cubicBezTo>
                    <a:cubicBezTo>
                      <a:pt x="4" y="8"/>
                      <a:pt x="4" y="9"/>
                      <a:pt x="5" y="9"/>
                    </a:cubicBezTo>
                    <a:cubicBezTo>
                      <a:pt x="6" y="9"/>
                      <a:pt x="5" y="9"/>
                      <a:pt x="4" y="9"/>
                    </a:cubicBezTo>
                    <a:cubicBezTo>
                      <a:pt x="5" y="9"/>
                      <a:pt x="5" y="8"/>
                      <a:pt x="5" y="8"/>
                    </a:cubicBezTo>
                    <a:close/>
                    <a:moveTo>
                      <a:pt x="8" y="1"/>
                    </a:moveTo>
                    <a:cubicBezTo>
                      <a:pt x="8" y="1"/>
                      <a:pt x="8" y="0"/>
                      <a:pt x="7" y="0"/>
                    </a:cubicBezTo>
                    <a:cubicBezTo>
                      <a:pt x="7" y="0"/>
                      <a:pt x="7" y="0"/>
                      <a:pt x="7" y="0"/>
                    </a:cubicBezTo>
                    <a:cubicBezTo>
                      <a:pt x="7" y="0"/>
                      <a:pt x="7" y="1"/>
                      <a:pt x="7" y="1"/>
                    </a:cubicBezTo>
                    <a:cubicBezTo>
                      <a:pt x="7" y="1"/>
                      <a:pt x="7" y="1"/>
                      <a:pt x="7" y="2"/>
                    </a:cubicBezTo>
                    <a:cubicBezTo>
                      <a:pt x="7" y="1"/>
                      <a:pt x="7" y="1"/>
                      <a:pt x="7" y="1"/>
                    </a:cubicBezTo>
                    <a:cubicBezTo>
                      <a:pt x="7" y="1"/>
                      <a:pt x="8" y="2"/>
                      <a:pt x="8" y="1"/>
                    </a:cubicBezTo>
                    <a:cubicBezTo>
                      <a:pt x="8" y="1"/>
                      <a:pt x="7" y="1"/>
                      <a:pt x="7" y="1"/>
                    </a:cubicBezTo>
                    <a:cubicBezTo>
                      <a:pt x="7" y="1"/>
                      <a:pt x="8" y="1"/>
                      <a:pt x="8" y="1"/>
                    </a:cubicBezTo>
                    <a:close/>
                    <a:moveTo>
                      <a:pt x="2" y="2"/>
                    </a:moveTo>
                    <a:cubicBezTo>
                      <a:pt x="2" y="2"/>
                      <a:pt x="3" y="2"/>
                      <a:pt x="3" y="2"/>
                    </a:cubicBezTo>
                    <a:cubicBezTo>
                      <a:pt x="4" y="3"/>
                      <a:pt x="5" y="4"/>
                      <a:pt x="5" y="4"/>
                    </a:cubicBezTo>
                    <a:cubicBezTo>
                      <a:pt x="6" y="4"/>
                      <a:pt x="5" y="3"/>
                      <a:pt x="5" y="3"/>
                    </a:cubicBezTo>
                    <a:cubicBezTo>
                      <a:pt x="5" y="3"/>
                      <a:pt x="5" y="3"/>
                      <a:pt x="4" y="3"/>
                    </a:cubicBezTo>
                    <a:cubicBezTo>
                      <a:pt x="5" y="3"/>
                      <a:pt x="5" y="2"/>
                      <a:pt x="4" y="2"/>
                    </a:cubicBezTo>
                    <a:cubicBezTo>
                      <a:pt x="5" y="2"/>
                      <a:pt x="4" y="2"/>
                      <a:pt x="4" y="1"/>
                    </a:cubicBezTo>
                    <a:cubicBezTo>
                      <a:pt x="3" y="1"/>
                      <a:pt x="3" y="1"/>
                      <a:pt x="3" y="0"/>
                    </a:cubicBezTo>
                    <a:cubicBezTo>
                      <a:pt x="2" y="0"/>
                      <a:pt x="2" y="0"/>
                      <a:pt x="2" y="1"/>
                    </a:cubicBezTo>
                    <a:cubicBezTo>
                      <a:pt x="2" y="1"/>
                      <a:pt x="2" y="2"/>
                      <a:pt x="2" y="2"/>
                    </a:cubicBezTo>
                    <a:close/>
                    <a:moveTo>
                      <a:pt x="2" y="2"/>
                    </a:moveTo>
                    <a:cubicBezTo>
                      <a:pt x="2" y="2"/>
                      <a:pt x="0" y="2"/>
                      <a:pt x="0" y="2"/>
                    </a:cubicBezTo>
                    <a:cubicBezTo>
                      <a:pt x="0" y="2"/>
                      <a:pt x="1" y="2"/>
                      <a:pt x="1" y="2"/>
                    </a:cubicBezTo>
                    <a:cubicBezTo>
                      <a:pt x="1" y="2"/>
                      <a:pt x="1" y="2"/>
                      <a:pt x="0" y="3"/>
                    </a:cubicBezTo>
                    <a:cubicBezTo>
                      <a:pt x="1" y="3"/>
                      <a:pt x="2" y="3"/>
                      <a:pt x="2" y="3"/>
                    </a:cubicBezTo>
                    <a:cubicBezTo>
                      <a:pt x="2" y="3"/>
                      <a:pt x="2" y="3"/>
                      <a:pt x="2" y="3"/>
                    </a:cubicBezTo>
                    <a:cubicBezTo>
                      <a:pt x="2" y="3"/>
                      <a:pt x="3" y="3"/>
                      <a:pt x="2" y="3"/>
                    </a:cubicBezTo>
                    <a:cubicBezTo>
                      <a:pt x="4" y="3"/>
                      <a:pt x="2" y="2"/>
                      <a:pt x="2"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7" name="Falklan Islands">
                <a:extLst>
                  <a:ext uri="{FF2B5EF4-FFF2-40B4-BE49-F238E27FC236}">
                    <a16:creationId xmlns:a16="http://schemas.microsoft.com/office/drawing/2014/main" id="{266ED3BF-E47F-896F-B184-358E545A9907}"/>
                  </a:ext>
                </a:extLst>
              </p:cNvPr>
              <p:cNvSpPr>
                <a:spLocks noEditPoints="1"/>
              </p:cNvSpPr>
              <p:nvPr/>
            </p:nvSpPr>
            <p:spPr bwMode="auto">
              <a:xfrm>
                <a:off x="3944149" y="6033104"/>
                <a:ext cx="99976" cy="39207"/>
              </a:xfrm>
              <a:custGeom>
                <a:avLst/>
                <a:gdLst/>
                <a:ahLst/>
                <a:cxnLst>
                  <a:cxn ang="0">
                    <a:pos x="26" y="5"/>
                  </a:cxn>
                  <a:cxn ang="0">
                    <a:pos x="24" y="6"/>
                  </a:cxn>
                  <a:cxn ang="0">
                    <a:pos x="23" y="7"/>
                  </a:cxn>
                  <a:cxn ang="0">
                    <a:pos x="19" y="6"/>
                  </a:cxn>
                  <a:cxn ang="0">
                    <a:pos x="20" y="7"/>
                  </a:cxn>
                  <a:cxn ang="0">
                    <a:pos x="20" y="8"/>
                  </a:cxn>
                  <a:cxn ang="0">
                    <a:pos x="18" y="9"/>
                  </a:cxn>
                  <a:cxn ang="0">
                    <a:pos x="19" y="10"/>
                  </a:cxn>
                  <a:cxn ang="0">
                    <a:pos x="17" y="10"/>
                  </a:cxn>
                  <a:cxn ang="0">
                    <a:pos x="17" y="11"/>
                  </a:cxn>
                  <a:cxn ang="0">
                    <a:pos x="15" y="10"/>
                  </a:cxn>
                  <a:cxn ang="0">
                    <a:pos x="13" y="9"/>
                  </a:cxn>
                  <a:cxn ang="0">
                    <a:pos x="13" y="8"/>
                  </a:cxn>
                  <a:cxn ang="0">
                    <a:pos x="14" y="7"/>
                  </a:cxn>
                  <a:cxn ang="0">
                    <a:pos x="14" y="6"/>
                  </a:cxn>
                  <a:cxn ang="0">
                    <a:pos x="16" y="5"/>
                  </a:cxn>
                  <a:cxn ang="0">
                    <a:pos x="17" y="4"/>
                  </a:cxn>
                  <a:cxn ang="0">
                    <a:pos x="17" y="3"/>
                  </a:cxn>
                  <a:cxn ang="0">
                    <a:pos x="16" y="2"/>
                  </a:cxn>
                  <a:cxn ang="0">
                    <a:pos x="18" y="1"/>
                  </a:cxn>
                  <a:cxn ang="0">
                    <a:pos x="20" y="2"/>
                  </a:cxn>
                  <a:cxn ang="0">
                    <a:pos x="20" y="2"/>
                  </a:cxn>
                  <a:cxn ang="0">
                    <a:pos x="23" y="3"/>
                  </a:cxn>
                  <a:cxn ang="0">
                    <a:pos x="23" y="3"/>
                  </a:cxn>
                  <a:cxn ang="0">
                    <a:pos x="22" y="1"/>
                  </a:cxn>
                  <a:cxn ang="0">
                    <a:pos x="26" y="2"/>
                  </a:cxn>
                  <a:cxn ang="0">
                    <a:pos x="26" y="3"/>
                  </a:cxn>
                  <a:cxn ang="0">
                    <a:pos x="26" y="3"/>
                  </a:cxn>
                  <a:cxn ang="0">
                    <a:pos x="28" y="5"/>
                  </a:cxn>
                  <a:cxn ang="0">
                    <a:pos x="2" y="6"/>
                  </a:cxn>
                  <a:cxn ang="0">
                    <a:pos x="1" y="5"/>
                  </a:cxn>
                  <a:cxn ang="0">
                    <a:pos x="2" y="7"/>
                  </a:cxn>
                  <a:cxn ang="0">
                    <a:pos x="13" y="3"/>
                  </a:cxn>
                  <a:cxn ang="0">
                    <a:pos x="14" y="2"/>
                  </a:cxn>
                  <a:cxn ang="0">
                    <a:pos x="11" y="2"/>
                  </a:cxn>
                  <a:cxn ang="0">
                    <a:pos x="9" y="2"/>
                  </a:cxn>
                  <a:cxn ang="0">
                    <a:pos x="9" y="1"/>
                  </a:cxn>
                  <a:cxn ang="0">
                    <a:pos x="8" y="2"/>
                  </a:cxn>
                  <a:cxn ang="0">
                    <a:pos x="3" y="1"/>
                  </a:cxn>
                  <a:cxn ang="0">
                    <a:pos x="4" y="2"/>
                  </a:cxn>
                  <a:cxn ang="0">
                    <a:pos x="8" y="5"/>
                  </a:cxn>
                  <a:cxn ang="0">
                    <a:pos x="4" y="5"/>
                  </a:cxn>
                  <a:cxn ang="0">
                    <a:pos x="7" y="5"/>
                  </a:cxn>
                  <a:cxn ang="0">
                    <a:pos x="6" y="7"/>
                  </a:cxn>
                  <a:cxn ang="0">
                    <a:pos x="6" y="8"/>
                  </a:cxn>
                  <a:cxn ang="0">
                    <a:pos x="3" y="7"/>
                  </a:cxn>
                  <a:cxn ang="0">
                    <a:pos x="2" y="8"/>
                  </a:cxn>
                  <a:cxn ang="0">
                    <a:pos x="6" y="10"/>
                  </a:cxn>
                  <a:cxn ang="0">
                    <a:pos x="6" y="9"/>
                  </a:cxn>
                  <a:cxn ang="0">
                    <a:pos x="8" y="8"/>
                  </a:cxn>
                  <a:cxn ang="0">
                    <a:pos x="9" y="8"/>
                  </a:cxn>
                  <a:cxn ang="0">
                    <a:pos x="11" y="6"/>
                  </a:cxn>
                  <a:cxn ang="0">
                    <a:pos x="13" y="4"/>
                  </a:cxn>
                </a:cxnLst>
                <a:rect l="0" t="0" r="r" b="b"/>
                <a:pathLst>
                  <a:path w="28" h="11">
                    <a:moveTo>
                      <a:pt x="28" y="5"/>
                    </a:moveTo>
                    <a:cubicBezTo>
                      <a:pt x="28" y="5"/>
                      <a:pt x="27" y="5"/>
                      <a:pt x="27" y="5"/>
                    </a:cubicBezTo>
                    <a:cubicBezTo>
                      <a:pt x="27" y="5"/>
                      <a:pt x="26" y="5"/>
                      <a:pt x="26" y="5"/>
                    </a:cubicBezTo>
                    <a:cubicBezTo>
                      <a:pt x="26" y="5"/>
                      <a:pt x="24" y="5"/>
                      <a:pt x="24" y="5"/>
                    </a:cubicBezTo>
                    <a:cubicBezTo>
                      <a:pt x="24" y="5"/>
                      <a:pt x="24" y="5"/>
                      <a:pt x="25" y="6"/>
                    </a:cubicBezTo>
                    <a:cubicBezTo>
                      <a:pt x="24" y="6"/>
                      <a:pt x="24" y="6"/>
                      <a:pt x="24" y="6"/>
                    </a:cubicBezTo>
                    <a:cubicBezTo>
                      <a:pt x="24" y="6"/>
                      <a:pt x="23" y="6"/>
                      <a:pt x="23" y="6"/>
                    </a:cubicBezTo>
                    <a:cubicBezTo>
                      <a:pt x="24" y="6"/>
                      <a:pt x="24" y="6"/>
                      <a:pt x="25" y="6"/>
                    </a:cubicBezTo>
                    <a:cubicBezTo>
                      <a:pt x="24" y="6"/>
                      <a:pt x="24" y="6"/>
                      <a:pt x="23" y="7"/>
                    </a:cubicBezTo>
                    <a:cubicBezTo>
                      <a:pt x="23" y="7"/>
                      <a:pt x="23" y="7"/>
                      <a:pt x="22" y="7"/>
                    </a:cubicBezTo>
                    <a:cubicBezTo>
                      <a:pt x="22" y="6"/>
                      <a:pt x="22" y="7"/>
                      <a:pt x="22" y="7"/>
                    </a:cubicBezTo>
                    <a:cubicBezTo>
                      <a:pt x="21" y="7"/>
                      <a:pt x="20" y="7"/>
                      <a:pt x="19" y="6"/>
                    </a:cubicBezTo>
                    <a:cubicBezTo>
                      <a:pt x="19" y="6"/>
                      <a:pt x="17" y="6"/>
                      <a:pt x="18" y="6"/>
                    </a:cubicBezTo>
                    <a:cubicBezTo>
                      <a:pt x="19" y="7"/>
                      <a:pt x="19" y="7"/>
                      <a:pt x="19" y="7"/>
                    </a:cubicBezTo>
                    <a:cubicBezTo>
                      <a:pt x="20" y="7"/>
                      <a:pt x="20" y="7"/>
                      <a:pt x="20" y="7"/>
                    </a:cubicBezTo>
                    <a:cubicBezTo>
                      <a:pt x="20" y="7"/>
                      <a:pt x="22" y="8"/>
                      <a:pt x="22" y="8"/>
                    </a:cubicBezTo>
                    <a:cubicBezTo>
                      <a:pt x="21" y="8"/>
                      <a:pt x="22" y="9"/>
                      <a:pt x="22" y="9"/>
                    </a:cubicBezTo>
                    <a:cubicBezTo>
                      <a:pt x="21" y="9"/>
                      <a:pt x="21" y="8"/>
                      <a:pt x="20" y="8"/>
                    </a:cubicBezTo>
                    <a:cubicBezTo>
                      <a:pt x="20" y="8"/>
                      <a:pt x="20" y="9"/>
                      <a:pt x="20" y="9"/>
                    </a:cubicBezTo>
                    <a:cubicBezTo>
                      <a:pt x="19" y="8"/>
                      <a:pt x="17" y="7"/>
                      <a:pt x="16" y="8"/>
                    </a:cubicBezTo>
                    <a:cubicBezTo>
                      <a:pt x="17" y="8"/>
                      <a:pt x="18" y="8"/>
                      <a:pt x="18" y="9"/>
                    </a:cubicBezTo>
                    <a:cubicBezTo>
                      <a:pt x="18" y="9"/>
                      <a:pt x="18" y="9"/>
                      <a:pt x="18" y="9"/>
                    </a:cubicBezTo>
                    <a:cubicBezTo>
                      <a:pt x="18" y="9"/>
                      <a:pt x="19" y="9"/>
                      <a:pt x="19" y="9"/>
                    </a:cubicBezTo>
                    <a:cubicBezTo>
                      <a:pt x="19" y="9"/>
                      <a:pt x="19" y="10"/>
                      <a:pt x="19" y="10"/>
                    </a:cubicBezTo>
                    <a:cubicBezTo>
                      <a:pt x="18" y="10"/>
                      <a:pt x="19" y="10"/>
                      <a:pt x="19" y="10"/>
                    </a:cubicBezTo>
                    <a:cubicBezTo>
                      <a:pt x="19" y="10"/>
                      <a:pt x="18" y="10"/>
                      <a:pt x="18" y="10"/>
                    </a:cubicBezTo>
                    <a:cubicBezTo>
                      <a:pt x="18" y="10"/>
                      <a:pt x="18" y="10"/>
                      <a:pt x="17" y="10"/>
                    </a:cubicBezTo>
                    <a:cubicBezTo>
                      <a:pt x="17" y="9"/>
                      <a:pt x="15" y="9"/>
                      <a:pt x="15" y="9"/>
                    </a:cubicBezTo>
                    <a:cubicBezTo>
                      <a:pt x="15" y="10"/>
                      <a:pt x="16" y="10"/>
                      <a:pt x="17" y="10"/>
                    </a:cubicBezTo>
                    <a:cubicBezTo>
                      <a:pt x="17" y="11"/>
                      <a:pt x="17" y="11"/>
                      <a:pt x="17" y="11"/>
                    </a:cubicBezTo>
                    <a:cubicBezTo>
                      <a:pt x="17" y="11"/>
                      <a:pt x="16" y="11"/>
                      <a:pt x="16" y="11"/>
                    </a:cubicBezTo>
                    <a:cubicBezTo>
                      <a:pt x="16" y="11"/>
                      <a:pt x="16" y="11"/>
                      <a:pt x="16" y="11"/>
                    </a:cubicBezTo>
                    <a:cubicBezTo>
                      <a:pt x="16" y="10"/>
                      <a:pt x="15" y="11"/>
                      <a:pt x="15" y="10"/>
                    </a:cubicBezTo>
                    <a:cubicBezTo>
                      <a:pt x="15" y="10"/>
                      <a:pt x="15" y="10"/>
                      <a:pt x="15" y="10"/>
                    </a:cubicBezTo>
                    <a:cubicBezTo>
                      <a:pt x="15" y="10"/>
                      <a:pt x="14" y="10"/>
                      <a:pt x="14" y="10"/>
                    </a:cubicBezTo>
                    <a:cubicBezTo>
                      <a:pt x="14" y="10"/>
                      <a:pt x="13" y="9"/>
                      <a:pt x="13" y="9"/>
                    </a:cubicBezTo>
                    <a:cubicBezTo>
                      <a:pt x="13" y="9"/>
                      <a:pt x="14" y="9"/>
                      <a:pt x="14" y="9"/>
                    </a:cubicBezTo>
                    <a:cubicBezTo>
                      <a:pt x="14" y="9"/>
                      <a:pt x="14" y="9"/>
                      <a:pt x="14" y="9"/>
                    </a:cubicBezTo>
                    <a:cubicBezTo>
                      <a:pt x="14" y="8"/>
                      <a:pt x="13" y="8"/>
                      <a:pt x="13" y="8"/>
                    </a:cubicBezTo>
                    <a:cubicBezTo>
                      <a:pt x="14" y="8"/>
                      <a:pt x="14" y="8"/>
                      <a:pt x="14" y="8"/>
                    </a:cubicBezTo>
                    <a:cubicBezTo>
                      <a:pt x="14" y="8"/>
                      <a:pt x="14" y="8"/>
                      <a:pt x="14" y="7"/>
                    </a:cubicBezTo>
                    <a:cubicBezTo>
                      <a:pt x="14" y="8"/>
                      <a:pt x="13" y="7"/>
                      <a:pt x="14" y="7"/>
                    </a:cubicBezTo>
                    <a:cubicBezTo>
                      <a:pt x="14" y="7"/>
                      <a:pt x="14" y="7"/>
                      <a:pt x="14" y="7"/>
                    </a:cubicBezTo>
                    <a:cubicBezTo>
                      <a:pt x="15" y="7"/>
                      <a:pt x="14" y="7"/>
                      <a:pt x="14" y="7"/>
                    </a:cubicBezTo>
                    <a:cubicBezTo>
                      <a:pt x="14" y="7"/>
                      <a:pt x="14" y="6"/>
                      <a:pt x="14" y="6"/>
                    </a:cubicBezTo>
                    <a:cubicBezTo>
                      <a:pt x="14" y="6"/>
                      <a:pt x="15" y="6"/>
                      <a:pt x="15" y="6"/>
                    </a:cubicBezTo>
                    <a:cubicBezTo>
                      <a:pt x="15" y="6"/>
                      <a:pt x="15" y="6"/>
                      <a:pt x="15" y="5"/>
                    </a:cubicBezTo>
                    <a:cubicBezTo>
                      <a:pt x="15" y="5"/>
                      <a:pt x="16" y="5"/>
                      <a:pt x="16" y="5"/>
                    </a:cubicBezTo>
                    <a:cubicBezTo>
                      <a:pt x="16" y="4"/>
                      <a:pt x="17" y="4"/>
                      <a:pt x="17" y="5"/>
                    </a:cubicBezTo>
                    <a:cubicBezTo>
                      <a:pt x="17" y="5"/>
                      <a:pt x="17" y="6"/>
                      <a:pt x="18" y="6"/>
                    </a:cubicBezTo>
                    <a:cubicBezTo>
                      <a:pt x="18" y="6"/>
                      <a:pt x="17" y="4"/>
                      <a:pt x="17" y="4"/>
                    </a:cubicBezTo>
                    <a:cubicBezTo>
                      <a:pt x="16" y="4"/>
                      <a:pt x="16" y="4"/>
                      <a:pt x="16" y="3"/>
                    </a:cubicBezTo>
                    <a:cubicBezTo>
                      <a:pt x="15" y="3"/>
                      <a:pt x="16" y="3"/>
                      <a:pt x="16" y="3"/>
                    </a:cubicBezTo>
                    <a:cubicBezTo>
                      <a:pt x="16" y="3"/>
                      <a:pt x="16" y="4"/>
                      <a:pt x="17" y="3"/>
                    </a:cubicBezTo>
                    <a:cubicBezTo>
                      <a:pt x="17" y="3"/>
                      <a:pt x="16" y="2"/>
                      <a:pt x="17" y="3"/>
                    </a:cubicBezTo>
                    <a:cubicBezTo>
                      <a:pt x="16" y="2"/>
                      <a:pt x="15" y="2"/>
                      <a:pt x="15" y="2"/>
                    </a:cubicBezTo>
                    <a:cubicBezTo>
                      <a:pt x="15" y="2"/>
                      <a:pt x="16" y="2"/>
                      <a:pt x="16" y="2"/>
                    </a:cubicBezTo>
                    <a:cubicBezTo>
                      <a:pt x="17" y="1"/>
                      <a:pt x="17" y="1"/>
                      <a:pt x="17" y="1"/>
                    </a:cubicBezTo>
                    <a:cubicBezTo>
                      <a:pt x="16" y="1"/>
                      <a:pt x="16" y="0"/>
                      <a:pt x="16" y="0"/>
                    </a:cubicBezTo>
                    <a:cubicBezTo>
                      <a:pt x="17" y="0"/>
                      <a:pt x="17" y="0"/>
                      <a:pt x="18" y="1"/>
                    </a:cubicBezTo>
                    <a:cubicBezTo>
                      <a:pt x="18" y="1"/>
                      <a:pt x="19" y="1"/>
                      <a:pt x="19" y="1"/>
                    </a:cubicBezTo>
                    <a:cubicBezTo>
                      <a:pt x="19" y="0"/>
                      <a:pt x="21" y="1"/>
                      <a:pt x="21" y="1"/>
                    </a:cubicBezTo>
                    <a:cubicBezTo>
                      <a:pt x="22" y="2"/>
                      <a:pt x="21" y="2"/>
                      <a:pt x="20" y="2"/>
                    </a:cubicBezTo>
                    <a:cubicBezTo>
                      <a:pt x="20" y="1"/>
                      <a:pt x="20" y="1"/>
                      <a:pt x="20" y="2"/>
                    </a:cubicBezTo>
                    <a:cubicBezTo>
                      <a:pt x="20" y="2"/>
                      <a:pt x="20" y="2"/>
                      <a:pt x="20" y="2"/>
                    </a:cubicBezTo>
                    <a:cubicBezTo>
                      <a:pt x="20" y="2"/>
                      <a:pt x="20" y="2"/>
                      <a:pt x="20" y="2"/>
                    </a:cubicBezTo>
                    <a:cubicBezTo>
                      <a:pt x="21" y="3"/>
                      <a:pt x="21" y="2"/>
                      <a:pt x="21" y="3"/>
                    </a:cubicBezTo>
                    <a:cubicBezTo>
                      <a:pt x="21" y="3"/>
                      <a:pt x="21" y="3"/>
                      <a:pt x="22" y="3"/>
                    </a:cubicBezTo>
                    <a:cubicBezTo>
                      <a:pt x="22" y="3"/>
                      <a:pt x="22" y="3"/>
                      <a:pt x="23" y="3"/>
                    </a:cubicBezTo>
                    <a:cubicBezTo>
                      <a:pt x="23" y="3"/>
                      <a:pt x="24" y="4"/>
                      <a:pt x="24" y="4"/>
                    </a:cubicBezTo>
                    <a:cubicBezTo>
                      <a:pt x="23" y="4"/>
                      <a:pt x="23" y="3"/>
                      <a:pt x="24" y="4"/>
                    </a:cubicBezTo>
                    <a:cubicBezTo>
                      <a:pt x="24" y="4"/>
                      <a:pt x="23" y="3"/>
                      <a:pt x="23" y="3"/>
                    </a:cubicBezTo>
                    <a:cubicBezTo>
                      <a:pt x="23" y="3"/>
                      <a:pt x="23" y="3"/>
                      <a:pt x="22" y="3"/>
                    </a:cubicBezTo>
                    <a:cubicBezTo>
                      <a:pt x="22" y="2"/>
                      <a:pt x="22" y="2"/>
                      <a:pt x="22" y="3"/>
                    </a:cubicBezTo>
                    <a:cubicBezTo>
                      <a:pt x="22" y="2"/>
                      <a:pt x="22" y="2"/>
                      <a:pt x="22" y="1"/>
                    </a:cubicBezTo>
                    <a:cubicBezTo>
                      <a:pt x="23" y="1"/>
                      <a:pt x="23" y="1"/>
                      <a:pt x="24" y="1"/>
                    </a:cubicBezTo>
                    <a:cubicBezTo>
                      <a:pt x="24" y="1"/>
                      <a:pt x="25" y="1"/>
                      <a:pt x="25" y="1"/>
                    </a:cubicBezTo>
                    <a:cubicBezTo>
                      <a:pt x="26" y="2"/>
                      <a:pt x="26" y="2"/>
                      <a:pt x="26" y="2"/>
                    </a:cubicBezTo>
                    <a:cubicBezTo>
                      <a:pt x="26" y="2"/>
                      <a:pt x="27" y="2"/>
                      <a:pt x="26" y="3"/>
                    </a:cubicBezTo>
                    <a:cubicBezTo>
                      <a:pt x="27" y="3"/>
                      <a:pt x="27" y="3"/>
                      <a:pt x="27" y="3"/>
                    </a:cubicBezTo>
                    <a:cubicBezTo>
                      <a:pt x="27" y="3"/>
                      <a:pt x="26" y="3"/>
                      <a:pt x="26" y="3"/>
                    </a:cubicBezTo>
                    <a:cubicBezTo>
                      <a:pt x="26" y="3"/>
                      <a:pt x="24" y="2"/>
                      <a:pt x="25" y="3"/>
                    </a:cubicBezTo>
                    <a:cubicBezTo>
                      <a:pt x="24" y="3"/>
                      <a:pt x="24" y="3"/>
                      <a:pt x="24" y="3"/>
                    </a:cubicBezTo>
                    <a:cubicBezTo>
                      <a:pt x="24" y="4"/>
                      <a:pt x="25" y="3"/>
                      <a:pt x="26" y="3"/>
                    </a:cubicBezTo>
                    <a:cubicBezTo>
                      <a:pt x="26" y="3"/>
                      <a:pt x="27" y="3"/>
                      <a:pt x="27" y="4"/>
                    </a:cubicBezTo>
                    <a:cubicBezTo>
                      <a:pt x="28" y="4"/>
                      <a:pt x="27" y="4"/>
                      <a:pt x="26" y="4"/>
                    </a:cubicBezTo>
                    <a:cubicBezTo>
                      <a:pt x="27" y="5"/>
                      <a:pt x="27" y="4"/>
                      <a:pt x="28" y="5"/>
                    </a:cubicBezTo>
                    <a:close/>
                    <a:moveTo>
                      <a:pt x="3" y="7"/>
                    </a:moveTo>
                    <a:cubicBezTo>
                      <a:pt x="2" y="7"/>
                      <a:pt x="2" y="7"/>
                      <a:pt x="2" y="6"/>
                    </a:cubicBezTo>
                    <a:cubicBezTo>
                      <a:pt x="2" y="6"/>
                      <a:pt x="2" y="6"/>
                      <a:pt x="2" y="6"/>
                    </a:cubicBezTo>
                    <a:cubicBezTo>
                      <a:pt x="2" y="5"/>
                      <a:pt x="2" y="5"/>
                      <a:pt x="2" y="6"/>
                    </a:cubicBezTo>
                    <a:cubicBezTo>
                      <a:pt x="2" y="6"/>
                      <a:pt x="2" y="6"/>
                      <a:pt x="2" y="6"/>
                    </a:cubicBezTo>
                    <a:cubicBezTo>
                      <a:pt x="1" y="7"/>
                      <a:pt x="2" y="6"/>
                      <a:pt x="1" y="5"/>
                    </a:cubicBezTo>
                    <a:cubicBezTo>
                      <a:pt x="1" y="5"/>
                      <a:pt x="1" y="6"/>
                      <a:pt x="1" y="6"/>
                    </a:cubicBezTo>
                    <a:cubicBezTo>
                      <a:pt x="0" y="6"/>
                      <a:pt x="0" y="6"/>
                      <a:pt x="0" y="6"/>
                    </a:cubicBezTo>
                    <a:cubicBezTo>
                      <a:pt x="0" y="7"/>
                      <a:pt x="1" y="7"/>
                      <a:pt x="2" y="7"/>
                    </a:cubicBezTo>
                    <a:cubicBezTo>
                      <a:pt x="2" y="7"/>
                      <a:pt x="3" y="7"/>
                      <a:pt x="3" y="7"/>
                    </a:cubicBezTo>
                    <a:close/>
                    <a:moveTo>
                      <a:pt x="14" y="3"/>
                    </a:moveTo>
                    <a:cubicBezTo>
                      <a:pt x="14" y="3"/>
                      <a:pt x="13" y="3"/>
                      <a:pt x="13" y="3"/>
                    </a:cubicBezTo>
                    <a:cubicBezTo>
                      <a:pt x="13" y="2"/>
                      <a:pt x="14" y="3"/>
                      <a:pt x="14" y="3"/>
                    </a:cubicBezTo>
                    <a:cubicBezTo>
                      <a:pt x="14" y="2"/>
                      <a:pt x="14" y="2"/>
                      <a:pt x="14" y="2"/>
                    </a:cubicBezTo>
                    <a:cubicBezTo>
                      <a:pt x="14" y="2"/>
                      <a:pt x="14" y="2"/>
                      <a:pt x="14" y="2"/>
                    </a:cubicBezTo>
                    <a:cubicBezTo>
                      <a:pt x="14" y="1"/>
                      <a:pt x="12" y="1"/>
                      <a:pt x="12" y="1"/>
                    </a:cubicBezTo>
                    <a:cubicBezTo>
                      <a:pt x="12" y="2"/>
                      <a:pt x="13" y="2"/>
                      <a:pt x="13" y="2"/>
                    </a:cubicBezTo>
                    <a:cubicBezTo>
                      <a:pt x="12" y="2"/>
                      <a:pt x="12" y="2"/>
                      <a:pt x="11" y="2"/>
                    </a:cubicBezTo>
                    <a:cubicBezTo>
                      <a:pt x="11" y="2"/>
                      <a:pt x="12" y="2"/>
                      <a:pt x="12" y="2"/>
                    </a:cubicBezTo>
                    <a:cubicBezTo>
                      <a:pt x="12" y="1"/>
                      <a:pt x="11" y="2"/>
                      <a:pt x="11" y="2"/>
                    </a:cubicBezTo>
                    <a:cubicBezTo>
                      <a:pt x="10" y="2"/>
                      <a:pt x="10" y="2"/>
                      <a:pt x="9" y="2"/>
                    </a:cubicBezTo>
                    <a:cubicBezTo>
                      <a:pt x="9" y="2"/>
                      <a:pt x="10" y="2"/>
                      <a:pt x="10" y="2"/>
                    </a:cubicBezTo>
                    <a:cubicBezTo>
                      <a:pt x="9" y="2"/>
                      <a:pt x="9" y="2"/>
                      <a:pt x="9" y="1"/>
                    </a:cubicBezTo>
                    <a:cubicBezTo>
                      <a:pt x="9" y="1"/>
                      <a:pt x="9" y="1"/>
                      <a:pt x="9" y="1"/>
                    </a:cubicBezTo>
                    <a:cubicBezTo>
                      <a:pt x="8" y="1"/>
                      <a:pt x="8" y="2"/>
                      <a:pt x="8" y="1"/>
                    </a:cubicBezTo>
                    <a:cubicBezTo>
                      <a:pt x="7" y="1"/>
                      <a:pt x="7" y="2"/>
                      <a:pt x="7" y="2"/>
                    </a:cubicBezTo>
                    <a:cubicBezTo>
                      <a:pt x="7" y="2"/>
                      <a:pt x="8" y="2"/>
                      <a:pt x="8" y="2"/>
                    </a:cubicBezTo>
                    <a:cubicBezTo>
                      <a:pt x="7" y="2"/>
                      <a:pt x="7" y="2"/>
                      <a:pt x="7" y="2"/>
                    </a:cubicBezTo>
                    <a:cubicBezTo>
                      <a:pt x="6" y="2"/>
                      <a:pt x="6" y="2"/>
                      <a:pt x="5" y="2"/>
                    </a:cubicBezTo>
                    <a:cubicBezTo>
                      <a:pt x="4" y="2"/>
                      <a:pt x="4" y="1"/>
                      <a:pt x="3" y="1"/>
                    </a:cubicBezTo>
                    <a:cubicBezTo>
                      <a:pt x="2" y="1"/>
                      <a:pt x="3" y="2"/>
                      <a:pt x="3" y="2"/>
                    </a:cubicBezTo>
                    <a:cubicBezTo>
                      <a:pt x="3" y="2"/>
                      <a:pt x="5" y="2"/>
                      <a:pt x="5" y="2"/>
                    </a:cubicBezTo>
                    <a:cubicBezTo>
                      <a:pt x="5" y="2"/>
                      <a:pt x="4" y="2"/>
                      <a:pt x="4" y="2"/>
                    </a:cubicBezTo>
                    <a:cubicBezTo>
                      <a:pt x="4" y="3"/>
                      <a:pt x="4" y="3"/>
                      <a:pt x="5" y="3"/>
                    </a:cubicBezTo>
                    <a:cubicBezTo>
                      <a:pt x="5" y="3"/>
                      <a:pt x="6" y="3"/>
                      <a:pt x="7" y="4"/>
                    </a:cubicBezTo>
                    <a:cubicBezTo>
                      <a:pt x="7" y="4"/>
                      <a:pt x="8" y="4"/>
                      <a:pt x="8" y="5"/>
                    </a:cubicBezTo>
                    <a:cubicBezTo>
                      <a:pt x="8" y="5"/>
                      <a:pt x="7" y="4"/>
                      <a:pt x="7" y="4"/>
                    </a:cubicBezTo>
                    <a:cubicBezTo>
                      <a:pt x="7" y="4"/>
                      <a:pt x="6" y="4"/>
                      <a:pt x="6" y="4"/>
                    </a:cubicBezTo>
                    <a:cubicBezTo>
                      <a:pt x="5" y="4"/>
                      <a:pt x="5" y="5"/>
                      <a:pt x="4" y="5"/>
                    </a:cubicBezTo>
                    <a:cubicBezTo>
                      <a:pt x="2" y="4"/>
                      <a:pt x="5" y="6"/>
                      <a:pt x="5" y="6"/>
                    </a:cubicBezTo>
                    <a:cubicBezTo>
                      <a:pt x="5" y="5"/>
                      <a:pt x="7" y="5"/>
                      <a:pt x="7" y="5"/>
                    </a:cubicBezTo>
                    <a:cubicBezTo>
                      <a:pt x="8" y="5"/>
                      <a:pt x="8" y="6"/>
                      <a:pt x="7" y="5"/>
                    </a:cubicBezTo>
                    <a:cubicBezTo>
                      <a:pt x="6" y="5"/>
                      <a:pt x="7" y="6"/>
                      <a:pt x="7" y="6"/>
                    </a:cubicBezTo>
                    <a:cubicBezTo>
                      <a:pt x="6" y="6"/>
                      <a:pt x="6" y="5"/>
                      <a:pt x="6" y="5"/>
                    </a:cubicBezTo>
                    <a:cubicBezTo>
                      <a:pt x="5" y="6"/>
                      <a:pt x="6" y="6"/>
                      <a:pt x="6" y="7"/>
                    </a:cubicBezTo>
                    <a:cubicBezTo>
                      <a:pt x="6" y="7"/>
                      <a:pt x="5" y="7"/>
                      <a:pt x="5" y="7"/>
                    </a:cubicBezTo>
                    <a:cubicBezTo>
                      <a:pt x="5" y="7"/>
                      <a:pt x="6" y="7"/>
                      <a:pt x="6" y="7"/>
                    </a:cubicBezTo>
                    <a:cubicBezTo>
                      <a:pt x="7" y="7"/>
                      <a:pt x="6" y="8"/>
                      <a:pt x="6" y="8"/>
                    </a:cubicBezTo>
                    <a:cubicBezTo>
                      <a:pt x="6" y="8"/>
                      <a:pt x="5" y="8"/>
                      <a:pt x="5" y="8"/>
                    </a:cubicBezTo>
                    <a:cubicBezTo>
                      <a:pt x="5" y="7"/>
                      <a:pt x="5" y="8"/>
                      <a:pt x="4" y="7"/>
                    </a:cubicBezTo>
                    <a:cubicBezTo>
                      <a:pt x="4" y="7"/>
                      <a:pt x="4" y="7"/>
                      <a:pt x="3" y="7"/>
                    </a:cubicBezTo>
                    <a:cubicBezTo>
                      <a:pt x="3" y="8"/>
                      <a:pt x="4" y="8"/>
                      <a:pt x="4" y="8"/>
                    </a:cubicBezTo>
                    <a:cubicBezTo>
                      <a:pt x="4" y="8"/>
                      <a:pt x="3" y="8"/>
                      <a:pt x="3" y="8"/>
                    </a:cubicBezTo>
                    <a:cubicBezTo>
                      <a:pt x="4" y="9"/>
                      <a:pt x="2" y="8"/>
                      <a:pt x="2" y="8"/>
                    </a:cubicBezTo>
                    <a:cubicBezTo>
                      <a:pt x="2" y="8"/>
                      <a:pt x="5" y="10"/>
                      <a:pt x="5" y="10"/>
                    </a:cubicBezTo>
                    <a:cubicBezTo>
                      <a:pt x="5" y="9"/>
                      <a:pt x="4" y="9"/>
                      <a:pt x="4" y="9"/>
                    </a:cubicBezTo>
                    <a:cubicBezTo>
                      <a:pt x="5" y="9"/>
                      <a:pt x="5" y="9"/>
                      <a:pt x="6" y="10"/>
                    </a:cubicBezTo>
                    <a:cubicBezTo>
                      <a:pt x="5" y="10"/>
                      <a:pt x="6" y="10"/>
                      <a:pt x="6" y="10"/>
                    </a:cubicBezTo>
                    <a:cubicBezTo>
                      <a:pt x="7" y="10"/>
                      <a:pt x="7" y="10"/>
                      <a:pt x="7" y="10"/>
                    </a:cubicBezTo>
                    <a:cubicBezTo>
                      <a:pt x="7" y="9"/>
                      <a:pt x="6" y="9"/>
                      <a:pt x="6" y="9"/>
                    </a:cubicBezTo>
                    <a:cubicBezTo>
                      <a:pt x="6" y="9"/>
                      <a:pt x="7" y="10"/>
                      <a:pt x="7" y="9"/>
                    </a:cubicBezTo>
                    <a:cubicBezTo>
                      <a:pt x="7" y="9"/>
                      <a:pt x="7" y="9"/>
                      <a:pt x="7" y="9"/>
                    </a:cubicBezTo>
                    <a:cubicBezTo>
                      <a:pt x="8" y="9"/>
                      <a:pt x="9" y="9"/>
                      <a:pt x="8" y="8"/>
                    </a:cubicBezTo>
                    <a:cubicBezTo>
                      <a:pt x="8" y="8"/>
                      <a:pt x="8" y="8"/>
                      <a:pt x="8" y="8"/>
                    </a:cubicBezTo>
                    <a:cubicBezTo>
                      <a:pt x="9" y="7"/>
                      <a:pt x="8" y="8"/>
                      <a:pt x="8" y="8"/>
                    </a:cubicBezTo>
                    <a:cubicBezTo>
                      <a:pt x="9" y="8"/>
                      <a:pt x="9" y="8"/>
                      <a:pt x="9" y="8"/>
                    </a:cubicBezTo>
                    <a:cubicBezTo>
                      <a:pt x="10" y="8"/>
                      <a:pt x="9" y="7"/>
                      <a:pt x="9" y="7"/>
                    </a:cubicBezTo>
                    <a:cubicBezTo>
                      <a:pt x="10" y="7"/>
                      <a:pt x="10" y="8"/>
                      <a:pt x="11" y="7"/>
                    </a:cubicBezTo>
                    <a:cubicBezTo>
                      <a:pt x="11" y="7"/>
                      <a:pt x="11" y="7"/>
                      <a:pt x="11" y="6"/>
                    </a:cubicBezTo>
                    <a:cubicBezTo>
                      <a:pt x="12" y="6"/>
                      <a:pt x="12" y="5"/>
                      <a:pt x="12" y="4"/>
                    </a:cubicBezTo>
                    <a:cubicBezTo>
                      <a:pt x="13" y="4"/>
                      <a:pt x="12" y="4"/>
                      <a:pt x="12" y="4"/>
                    </a:cubicBezTo>
                    <a:cubicBezTo>
                      <a:pt x="12" y="4"/>
                      <a:pt x="13" y="4"/>
                      <a:pt x="13" y="4"/>
                    </a:cubicBezTo>
                    <a:cubicBezTo>
                      <a:pt x="13" y="4"/>
                      <a:pt x="13" y="4"/>
                      <a:pt x="14" y="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8" name="Ethiopia">
                <a:extLst>
                  <a:ext uri="{FF2B5EF4-FFF2-40B4-BE49-F238E27FC236}">
                    <a16:creationId xmlns:a16="http://schemas.microsoft.com/office/drawing/2014/main" id="{690B8E0D-A207-02A9-17AA-44669C7CC1F1}"/>
                  </a:ext>
                </a:extLst>
              </p:cNvPr>
              <p:cNvSpPr>
                <a:spLocks/>
              </p:cNvSpPr>
              <p:nvPr/>
            </p:nvSpPr>
            <p:spPr bwMode="auto">
              <a:xfrm>
                <a:off x="6826813" y="3466052"/>
                <a:ext cx="513607" cy="446956"/>
              </a:xfrm>
              <a:custGeom>
                <a:avLst/>
                <a:gdLst/>
                <a:ahLst/>
                <a:cxnLst>
                  <a:cxn ang="0">
                    <a:pos x="130" y="73"/>
                  </a:cxn>
                  <a:cxn ang="0">
                    <a:pos x="110" y="66"/>
                  </a:cxn>
                  <a:cxn ang="0">
                    <a:pos x="101" y="60"/>
                  </a:cxn>
                  <a:cxn ang="0">
                    <a:pos x="98" y="55"/>
                  </a:cxn>
                  <a:cxn ang="0">
                    <a:pos x="95" y="51"/>
                  </a:cxn>
                  <a:cxn ang="0">
                    <a:pos x="94" y="45"/>
                  </a:cxn>
                  <a:cxn ang="0">
                    <a:pos x="94" y="42"/>
                  </a:cxn>
                  <a:cxn ang="0">
                    <a:pos x="90" y="42"/>
                  </a:cxn>
                  <a:cxn ang="0">
                    <a:pos x="87" y="43"/>
                  </a:cxn>
                  <a:cxn ang="0">
                    <a:pos x="86" y="33"/>
                  </a:cxn>
                  <a:cxn ang="0">
                    <a:pos x="90" y="26"/>
                  </a:cxn>
                  <a:cxn ang="0">
                    <a:pos x="85" y="20"/>
                  </a:cxn>
                  <a:cxn ang="0">
                    <a:pos x="75" y="8"/>
                  </a:cxn>
                  <a:cxn ang="0">
                    <a:pos x="65" y="4"/>
                  </a:cxn>
                  <a:cxn ang="0">
                    <a:pos x="61" y="4"/>
                  </a:cxn>
                  <a:cxn ang="0">
                    <a:pos x="59" y="5"/>
                  </a:cxn>
                  <a:cxn ang="0">
                    <a:pos x="53" y="5"/>
                  </a:cxn>
                  <a:cxn ang="0">
                    <a:pos x="49" y="2"/>
                  </a:cxn>
                  <a:cxn ang="0">
                    <a:pos x="45" y="2"/>
                  </a:cxn>
                  <a:cxn ang="0">
                    <a:pos x="42" y="7"/>
                  </a:cxn>
                  <a:cxn ang="0">
                    <a:pos x="40" y="4"/>
                  </a:cxn>
                  <a:cxn ang="0">
                    <a:pos x="33" y="7"/>
                  </a:cxn>
                  <a:cxn ang="0">
                    <a:pos x="30" y="16"/>
                  </a:cxn>
                  <a:cxn ang="0">
                    <a:pos x="29" y="23"/>
                  </a:cxn>
                  <a:cxn ang="0">
                    <a:pos x="25" y="24"/>
                  </a:cxn>
                  <a:cxn ang="0">
                    <a:pos x="22" y="31"/>
                  </a:cxn>
                  <a:cxn ang="0">
                    <a:pos x="19" y="37"/>
                  </a:cxn>
                  <a:cxn ang="0">
                    <a:pos x="18" y="45"/>
                  </a:cxn>
                  <a:cxn ang="0">
                    <a:pos x="15" y="44"/>
                  </a:cxn>
                  <a:cxn ang="0">
                    <a:pos x="12" y="49"/>
                  </a:cxn>
                  <a:cxn ang="0">
                    <a:pos x="11" y="68"/>
                  </a:cxn>
                  <a:cxn ang="0">
                    <a:pos x="7" y="71"/>
                  </a:cxn>
                  <a:cxn ang="0">
                    <a:pos x="3" y="70"/>
                  </a:cxn>
                  <a:cxn ang="0">
                    <a:pos x="2" y="74"/>
                  </a:cxn>
                  <a:cxn ang="0">
                    <a:pos x="2" y="78"/>
                  </a:cxn>
                  <a:cxn ang="0">
                    <a:pos x="7" y="79"/>
                  </a:cxn>
                  <a:cxn ang="0">
                    <a:pos x="10" y="84"/>
                  </a:cxn>
                  <a:cxn ang="0">
                    <a:pos x="14" y="87"/>
                  </a:cxn>
                  <a:cxn ang="0">
                    <a:pos x="17" y="91"/>
                  </a:cxn>
                  <a:cxn ang="0">
                    <a:pos x="20" y="100"/>
                  </a:cxn>
                  <a:cxn ang="0">
                    <a:pos x="22" y="102"/>
                  </a:cxn>
                  <a:cxn ang="0">
                    <a:pos x="25" y="104"/>
                  </a:cxn>
                  <a:cxn ang="0">
                    <a:pos x="28" y="106"/>
                  </a:cxn>
                  <a:cxn ang="0">
                    <a:pos x="29" y="112"/>
                  </a:cxn>
                  <a:cxn ang="0">
                    <a:pos x="38" y="115"/>
                  </a:cxn>
                  <a:cxn ang="0">
                    <a:pos x="49" y="122"/>
                  </a:cxn>
                  <a:cxn ang="0">
                    <a:pos x="55" y="123"/>
                  </a:cxn>
                  <a:cxn ang="0">
                    <a:pos x="62" y="125"/>
                  </a:cxn>
                  <a:cxn ang="0">
                    <a:pos x="64" y="126"/>
                  </a:cxn>
                  <a:cxn ang="0">
                    <a:pos x="72" y="118"/>
                  </a:cxn>
                  <a:cxn ang="0">
                    <a:pos x="79" y="119"/>
                  </a:cxn>
                  <a:cxn ang="0">
                    <a:pos x="84" y="120"/>
                  </a:cxn>
                  <a:cxn ang="0">
                    <a:pos x="88" y="118"/>
                  </a:cxn>
                  <a:cxn ang="0">
                    <a:pos x="97" y="114"/>
                  </a:cxn>
                  <a:cxn ang="0">
                    <a:pos x="106" y="109"/>
                  </a:cxn>
                  <a:cxn ang="0">
                    <a:pos x="116" y="109"/>
                  </a:cxn>
                  <a:cxn ang="0">
                    <a:pos x="129" y="93"/>
                  </a:cxn>
                </a:cxnLst>
                <a:rect l="0" t="0" r="r" b="b"/>
                <a:pathLst>
                  <a:path w="145" h="126">
                    <a:moveTo>
                      <a:pt x="140" y="75"/>
                    </a:moveTo>
                    <a:cubicBezTo>
                      <a:pt x="138" y="75"/>
                      <a:pt x="137" y="76"/>
                      <a:pt x="135" y="75"/>
                    </a:cubicBezTo>
                    <a:cubicBezTo>
                      <a:pt x="134" y="75"/>
                      <a:pt x="132" y="74"/>
                      <a:pt x="130" y="73"/>
                    </a:cubicBezTo>
                    <a:cubicBezTo>
                      <a:pt x="129" y="73"/>
                      <a:pt x="127" y="72"/>
                      <a:pt x="125" y="71"/>
                    </a:cubicBezTo>
                    <a:cubicBezTo>
                      <a:pt x="122" y="70"/>
                      <a:pt x="118" y="69"/>
                      <a:pt x="115" y="67"/>
                    </a:cubicBezTo>
                    <a:cubicBezTo>
                      <a:pt x="113" y="67"/>
                      <a:pt x="112" y="66"/>
                      <a:pt x="110" y="66"/>
                    </a:cubicBezTo>
                    <a:cubicBezTo>
                      <a:pt x="109" y="65"/>
                      <a:pt x="107" y="65"/>
                      <a:pt x="106" y="64"/>
                    </a:cubicBezTo>
                    <a:cubicBezTo>
                      <a:pt x="105" y="63"/>
                      <a:pt x="104" y="62"/>
                      <a:pt x="103" y="61"/>
                    </a:cubicBezTo>
                    <a:cubicBezTo>
                      <a:pt x="102" y="60"/>
                      <a:pt x="102" y="60"/>
                      <a:pt x="101" y="60"/>
                    </a:cubicBezTo>
                    <a:cubicBezTo>
                      <a:pt x="101" y="60"/>
                      <a:pt x="101" y="59"/>
                      <a:pt x="100" y="59"/>
                    </a:cubicBezTo>
                    <a:cubicBezTo>
                      <a:pt x="100" y="58"/>
                      <a:pt x="99" y="57"/>
                      <a:pt x="99" y="56"/>
                    </a:cubicBezTo>
                    <a:cubicBezTo>
                      <a:pt x="99" y="56"/>
                      <a:pt x="99" y="55"/>
                      <a:pt x="98" y="55"/>
                    </a:cubicBezTo>
                    <a:cubicBezTo>
                      <a:pt x="98" y="54"/>
                      <a:pt x="97" y="55"/>
                      <a:pt x="97" y="54"/>
                    </a:cubicBezTo>
                    <a:cubicBezTo>
                      <a:pt x="97" y="53"/>
                      <a:pt x="97" y="53"/>
                      <a:pt x="96" y="52"/>
                    </a:cubicBezTo>
                    <a:cubicBezTo>
                      <a:pt x="96" y="52"/>
                      <a:pt x="95" y="51"/>
                      <a:pt x="95" y="51"/>
                    </a:cubicBezTo>
                    <a:cubicBezTo>
                      <a:pt x="94" y="50"/>
                      <a:pt x="94" y="49"/>
                      <a:pt x="94" y="48"/>
                    </a:cubicBezTo>
                    <a:cubicBezTo>
                      <a:pt x="93" y="47"/>
                      <a:pt x="93" y="47"/>
                      <a:pt x="93" y="46"/>
                    </a:cubicBezTo>
                    <a:cubicBezTo>
                      <a:pt x="94" y="46"/>
                      <a:pt x="94" y="46"/>
                      <a:pt x="94" y="45"/>
                    </a:cubicBezTo>
                    <a:cubicBezTo>
                      <a:pt x="94" y="45"/>
                      <a:pt x="94" y="44"/>
                      <a:pt x="95" y="43"/>
                    </a:cubicBezTo>
                    <a:cubicBezTo>
                      <a:pt x="95" y="43"/>
                      <a:pt x="95" y="43"/>
                      <a:pt x="96" y="42"/>
                    </a:cubicBezTo>
                    <a:cubicBezTo>
                      <a:pt x="95" y="42"/>
                      <a:pt x="95" y="43"/>
                      <a:pt x="94" y="42"/>
                    </a:cubicBezTo>
                    <a:cubicBezTo>
                      <a:pt x="94" y="42"/>
                      <a:pt x="94" y="42"/>
                      <a:pt x="93" y="42"/>
                    </a:cubicBezTo>
                    <a:cubicBezTo>
                      <a:pt x="93" y="42"/>
                      <a:pt x="92" y="41"/>
                      <a:pt x="92" y="42"/>
                    </a:cubicBezTo>
                    <a:cubicBezTo>
                      <a:pt x="91" y="42"/>
                      <a:pt x="90" y="42"/>
                      <a:pt x="90" y="42"/>
                    </a:cubicBezTo>
                    <a:cubicBezTo>
                      <a:pt x="89" y="42"/>
                      <a:pt x="89" y="42"/>
                      <a:pt x="89" y="43"/>
                    </a:cubicBezTo>
                    <a:cubicBezTo>
                      <a:pt x="88" y="42"/>
                      <a:pt x="88" y="42"/>
                      <a:pt x="88" y="42"/>
                    </a:cubicBezTo>
                    <a:cubicBezTo>
                      <a:pt x="88" y="42"/>
                      <a:pt x="87" y="43"/>
                      <a:pt x="87" y="43"/>
                    </a:cubicBezTo>
                    <a:cubicBezTo>
                      <a:pt x="86" y="43"/>
                      <a:pt x="84" y="43"/>
                      <a:pt x="84" y="42"/>
                    </a:cubicBezTo>
                    <a:cubicBezTo>
                      <a:pt x="85" y="40"/>
                      <a:pt x="84" y="37"/>
                      <a:pt x="84" y="35"/>
                    </a:cubicBezTo>
                    <a:cubicBezTo>
                      <a:pt x="85" y="34"/>
                      <a:pt x="85" y="34"/>
                      <a:pt x="86" y="33"/>
                    </a:cubicBezTo>
                    <a:cubicBezTo>
                      <a:pt x="86" y="33"/>
                      <a:pt x="86" y="32"/>
                      <a:pt x="87" y="32"/>
                    </a:cubicBezTo>
                    <a:cubicBezTo>
                      <a:pt x="87" y="31"/>
                      <a:pt x="88" y="30"/>
                      <a:pt x="89" y="28"/>
                    </a:cubicBezTo>
                    <a:cubicBezTo>
                      <a:pt x="89" y="28"/>
                      <a:pt x="90" y="26"/>
                      <a:pt x="90" y="26"/>
                    </a:cubicBezTo>
                    <a:cubicBezTo>
                      <a:pt x="89" y="25"/>
                      <a:pt x="89" y="25"/>
                      <a:pt x="88" y="24"/>
                    </a:cubicBezTo>
                    <a:cubicBezTo>
                      <a:pt x="88" y="23"/>
                      <a:pt x="87" y="23"/>
                      <a:pt x="86" y="22"/>
                    </a:cubicBezTo>
                    <a:cubicBezTo>
                      <a:pt x="85" y="22"/>
                      <a:pt x="85" y="21"/>
                      <a:pt x="85" y="20"/>
                    </a:cubicBezTo>
                    <a:cubicBezTo>
                      <a:pt x="83" y="17"/>
                      <a:pt x="81" y="16"/>
                      <a:pt x="79" y="14"/>
                    </a:cubicBezTo>
                    <a:cubicBezTo>
                      <a:pt x="78" y="14"/>
                      <a:pt x="78" y="13"/>
                      <a:pt x="77" y="12"/>
                    </a:cubicBezTo>
                    <a:cubicBezTo>
                      <a:pt x="76" y="10"/>
                      <a:pt x="75" y="9"/>
                      <a:pt x="75" y="8"/>
                    </a:cubicBezTo>
                    <a:cubicBezTo>
                      <a:pt x="73" y="7"/>
                      <a:pt x="72" y="7"/>
                      <a:pt x="71" y="6"/>
                    </a:cubicBezTo>
                    <a:cubicBezTo>
                      <a:pt x="69" y="5"/>
                      <a:pt x="69" y="4"/>
                      <a:pt x="67" y="4"/>
                    </a:cubicBezTo>
                    <a:cubicBezTo>
                      <a:pt x="66" y="4"/>
                      <a:pt x="65" y="5"/>
                      <a:pt x="65" y="4"/>
                    </a:cubicBezTo>
                    <a:cubicBezTo>
                      <a:pt x="64" y="4"/>
                      <a:pt x="64" y="4"/>
                      <a:pt x="63" y="4"/>
                    </a:cubicBezTo>
                    <a:cubicBezTo>
                      <a:pt x="62" y="4"/>
                      <a:pt x="62" y="3"/>
                      <a:pt x="61" y="3"/>
                    </a:cubicBezTo>
                    <a:cubicBezTo>
                      <a:pt x="61" y="3"/>
                      <a:pt x="61" y="4"/>
                      <a:pt x="61" y="4"/>
                    </a:cubicBezTo>
                    <a:cubicBezTo>
                      <a:pt x="61" y="4"/>
                      <a:pt x="60" y="4"/>
                      <a:pt x="60" y="4"/>
                    </a:cubicBezTo>
                    <a:cubicBezTo>
                      <a:pt x="60" y="4"/>
                      <a:pt x="59" y="4"/>
                      <a:pt x="59" y="4"/>
                    </a:cubicBezTo>
                    <a:cubicBezTo>
                      <a:pt x="59" y="4"/>
                      <a:pt x="59" y="4"/>
                      <a:pt x="59" y="5"/>
                    </a:cubicBezTo>
                    <a:cubicBezTo>
                      <a:pt x="59" y="5"/>
                      <a:pt x="58" y="4"/>
                      <a:pt x="58" y="4"/>
                    </a:cubicBezTo>
                    <a:cubicBezTo>
                      <a:pt x="58" y="3"/>
                      <a:pt x="57" y="1"/>
                      <a:pt x="56" y="3"/>
                    </a:cubicBezTo>
                    <a:cubicBezTo>
                      <a:pt x="56" y="4"/>
                      <a:pt x="54" y="4"/>
                      <a:pt x="53" y="5"/>
                    </a:cubicBezTo>
                    <a:cubicBezTo>
                      <a:pt x="52" y="5"/>
                      <a:pt x="51" y="5"/>
                      <a:pt x="51" y="4"/>
                    </a:cubicBezTo>
                    <a:cubicBezTo>
                      <a:pt x="50" y="4"/>
                      <a:pt x="50" y="4"/>
                      <a:pt x="50" y="3"/>
                    </a:cubicBezTo>
                    <a:cubicBezTo>
                      <a:pt x="49" y="2"/>
                      <a:pt x="49" y="2"/>
                      <a:pt x="49" y="2"/>
                    </a:cubicBezTo>
                    <a:cubicBezTo>
                      <a:pt x="48" y="2"/>
                      <a:pt x="47" y="2"/>
                      <a:pt x="47" y="1"/>
                    </a:cubicBezTo>
                    <a:cubicBezTo>
                      <a:pt x="47" y="1"/>
                      <a:pt x="46" y="0"/>
                      <a:pt x="46" y="0"/>
                    </a:cubicBezTo>
                    <a:cubicBezTo>
                      <a:pt x="46" y="0"/>
                      <a:pt x="45" y="2"/>
                      <a:pt x="45" y="2"/>
                    </a:cubicBezTo>
                    <a:cubicBezTo>
                      <a:pt x="44" y="4"/>
                      <a:pt x="44" y="5"/>
                      <a:pt x="43" y="7"/>
                    </a:cubicBezTo>
                    <a:cubicBezTo>
                      <a:pt x="43" y="7"/>
                      <a:pt x="43" y="8"/>
                      <a:pt x="43" y="8"/>
                    </a:cubicBezTo>
                    <a:cubicBezTo>
                      <a:pt x="42" y="8"/>
                      <a:pt x="42" y="7"/>
                      <a:pt x="42" y="7"/>
                    </a:cubicBezTo>
                    <a:cubicBezTo>
                      <a:pt x="42" y="7"/>
                      <a:pt x="42" y="7"/>
                      <a:pt x="41" y="6"/>
                    </a:cubicBezTo>
                    <a:cubicBezTo>
                      <a:pt x="41" y="6"/>
                      <a:pt x="41" y="6"/>
                      <a:pt x="41" y="6"/>
                    </a:cubicBezTo>
                    <a:cubicBezTo>
                      <a:pt x="41" y="5"/>
                      <a:pt x="41" y="5"/>
                      <a:pt x="40" y="4"/>
                    </a:cubicBezTo>
                    <a:cubicBezTo>
                      <a:pt x="39" y="4"/>
                      <a:pt x="38" y="5"/>
                      <a:pt x="38" y="6"/>
                    </a:cubicBezTo>
                    <a:cubicBezTo>
                      <a:pt x="38" y="7"/>
                      <a:pt x="36" y="6"/>
                      <a:pt x="35" y="6"/>
                    </a:cubicBezTo>
                    <a:cubicBezTo>
                      <a:pt x="35" y="6"/>
                      <a:pt x="33" y="6"/>
                      <a:pt x="33" y="7"/>
                    </a:cubicBezTo>
                    <a:cubicBezTo>
                      <a:pt x="33" y="8"/>
                      <a:pt x="32" y="9"/>
                      <a:pt x="32" y="10"/>
                    </a:cubicBezTo>
                    <a:cubicBezTo>
                      <a:pt x="32" y="11"/>
                      <a:pt x="32" y="13"/>
                      <a:pt x="32" y="14"/>
                    </a:cubicBezTo>
                    <a:cubicBezTo>
                      <a:pt x="32" y="15"/>
                      <a:pt x="31" y="16"/>
                      <a:pt x="30" y="16"/>
                    </a:cubicBezTo>
                    <a:cubicBezTo>
                      <a:pt x="30" y="17"/>
                      <a:pt x="29" y="19"/>
                      <a:pt x="30" y="20"/>
                    </a:cubicBezTo>
                    <a:cubicBezTo>
                      <a:pt x="30" y="21"/>
                      <a:pt x="29" y="21"/>
                      <a:pt x="29" y="22"/>
                    </a:cubicBezTo>
                    <a:cubicBezTo>
                      <a:pt x="30" y="22"/>
                      <a:pt x="30" y="23"/>
                      <a:pt x="29" y="23"/>
                    </a:cubicBezTo>
                    <a:cubicBezTo>
                      <a:pt x="29" y="24"/>
                      <a:pt x="29" y="24"/>
                      <a:pt x="29" y="24"/>
                    </a:cubicBezTo>
                    <a:cubicBezTo>
                      <a:pt x="29" y="23"/>
                      <a:pt x="28" y="23"/>
                      <a:pt x="28" y="24"/>
                    </a:cubicBezTo>
                    <a:cubicBezTo>
                      <a:pt x="27" y="24"/>
                      <a:pt x="26" y="24"/>
                      <a:pt x="25" y="24"/>
                    </a:cubicBezTo>
                    <a:cubicBezTo>
                      <a:pt x="25" y="24"/>
                      <a:pt x="25" y="25"/>
                      <a:pt x="25" y="25"/>
                    </a:cubicBezTo>
                    <a:cubicBezTo>
                      <a:pt x="24" y="26"/>
                      <a:pt x="24" y="27"/>
                      <a:pt x="23" y="28"/>
                    </a:cubicBezTo>
                    <a:cubicBezTo>
                      <a:pt x="23" y="28"/>
                      <a:pt x="22" y="30"/>
                      <a:pt x="22" y="31"/>
                    </a:cubicBezTo>
                    <a:cubicBezTo>
                      <a:pt x="22" y="31"/>
                      <a:pt x="21" y="32"/>
                      <a:pt x="21" y="32"/>
                    </a:cubicBezTo>
                    <a:cubicBezTo>
                      <a:pt x="20" y="33"/>
                      <a:pt x="19" y="33"/>
                      <a:pt x="19" y="35"/>
                    </a:cubicBezTo>
                    <a:cubicBezTo>
                      <a:pt x="19" y="36"/>
                      <a:pt x="20" y="36"/>
                      <a:pt x="19" y="37"/>
                    </a:cubicBezTo>
                    <a:cubicBezTo>
                      <a:pt x="19" y="38"/>
                      <a:pt x="18" y="39"/>
                      <a:pt x="19" y="40"/>
                    </a:cubicBezTo>
                    <a:cubicBezTo>
                      <a:pt x="19" y="41"/>
                      <a:pt x="18" y="42"/>
                      <a:pt x="18" y="43"/>
                    </a:cubicBezTo>
                    <a:cubicBezTo>
                      <a:pt x="19" y="44"/>
                      <a:pt x="18" y="44"/>
                      <a:pt x="18" y="45"/>
                    </a:cubicBezTo>
                    <a:cubicBezTo>
                      <a:pt x="18" y="46"/>
                      <a:pt x="17" y="45"/>
                      <a:pt x="17" y="45"/>
                    </a:cubicBezTo>
                    <a:cubicBezTo>
                      <a:pt x="17" y="45"/>
                      <a:pt x="17" y="46"/>
                      <a:pt x="17" y="46"/>
                    </a:cubicBezTo>
                    <a:cubicBezTo>
                      <a:pt x="17" y="45"/>
                      <a:pt x="15" y="44"/>
                      <a:pt x="15" y="44"/>
                    </a:cubicBezTo>
                    <a:cubicBezTo>
                      <a:pt x="14" y="44"/>
                      <a:pt x="13" y="45"/>
                      <a:pt x="13" y="45"/>
                    </a:cubicBezTo>
                    <a:cubicBezTo>
                      <a:pt x="13" y="46"/>
                      <a:pt x="12" y="47"/>
                      <a:pt x="12" y="47"/>
                    </a:cubicBezTo>
                    <a:cubicBezTo>
                      <a:pt x="12" y="48"/>
                      <a:pt x="12" y="49"/>
                      <a:pt x="12" y="49"/>
                    </a:cubicBezTo>
                    <a:cubicBezTo>
                      <a:pt x="13" y="50"/>
                      <a:pt x="13" y="51"/>
                      <a:pt x="12" y="52"/>
                    </a:cubicBezTo>
                    <a:cubicBezTo>
                      <a:pt x="11" y="55"/>
                      <a:pt x="10" y="58"/>
                      <a:pt x="10" y="60"/>
                    </a:cubicBezTo>
                    <a:cubicBezTo>
                      <a:pt x="11" y="63"/>
                      <a:pt x="11" y="65"/>
                      <a:pt x="11" y="68"/>
                    </a:cubicBezTo>
                    <a:cubicBezTo>
                      <a:pt x="11" y="69"/>
                      <a:pt x="11" y="69"/>
                      <a:pt x="10" y="70"/>
                    </a:cubicBezTo>
                    <a:cubicBezTo>
                      <a:pt x="10" y="70"/>
                      <a:pt x="9" y="70"/>
                      <a:pt x="8" y="71"/>
                    </a:cubicBezTo>
                    <a:cubicBezTo>
                      <a:pt x="8" y="71"/>
                      <a:pt x="7" y="72"/>
                      <a:pt x="7" y="71"/>
                    </a:cubicBezTo>
                    <a:cubicBezTo>
                      <a:pt x="7" y="71"/>
                      <a:pt x="6" y="70"/>
                      <a:pt x="6" y="70"/>
                    </a:cubicBezTo>
                    <a:cubicBezTo>
                      <a:pt x="6" y="70"/>
                      <a:pt x="5" y="70"/>
                      <a:pt x="5" y="70"/>
                    </a:cubicBezTo>
                    <a:cubicBezTo>
                      <a:pt x="5" y="70"/>
                      <a:pt x="3" y="70"/>
                      <a:pt x="3" y="70"/>
                    </a:cubicBezTo>
                    <a:cubicBezTo>
                      <a:pt x="3" y="70"/>
                      <a:pt x="2" y="70"/>
                      <a:pt x="2" y="71"/>
                    </a:cubicBezTo>
                    <a:cubicBezTo>
                      <a:pt x="2" y="71"/>
                      <a:pt x="1" y="72"/>
                      <a:pt x="2" y="72"/>
                    </a:cubicBezTo>
                    <a:cubicBezTo>
                      <a:pt x="2" y="73"/>
                      <a:pt x="2" y="74"/>
                      <a:pt x="2" y="74"/>
                    </a:cubicBezTo>
                    <a:cubicBezTo>
                      <a:pt x="1" y="74"/>
                      <a:pt x="1" y="75"/>
                      <a:pt x="0" y="75"/>
                    </a:cubicBezTo>
                    <a:cubicBezTo>
                      <a:pt x="0" y="76"/>
                      <a:pt x="0" y="76"/>
                      <a:pt x="0" y="77"/>
                    </a:cubicBezTo>
                    <a:cubicBezTo>
                      <a:pt x="1" y="78"/>
                      <a:pt x="1" y="78"/>
                      <a:pt x="2" y="78"/>
                    </a:cubicBezTo>
                    <a:cubicBezTo>
                      <a:pt x="2" y="78"/>
                      <a:pt x="3" y="79"/>
                      <a:pt x="4" y="78"/>
                    </a:cubicBezTo>
                    <a:cubicBezTo>
                      <a:pt x="4" y="78"/>
                      <a:pt x="5" y="78"/>
                      <a:pt x="5" y="79"/>
                    </a:cubicBezTo>
                    <a:cubicBezTo>
                      <a:pt x="6" y="79"/>
                      <a:pt x="7" y="79"/>
                      <a:pt x="7" y="79"/>
                    </a:cubicBezTo>
                    <a:cubicBezTo>
                      <a:pt x="8" y="79"/>
                      <a:pt x="8" y="80"/>
                      <a:pt x="8" y="80"/>
                    </a:cubicBezTo>
                    <a:cubicBezTo>
                      <a:pt x="9" y="81"/>
                      <a:pt x="10" y="81"/>
                      <a:pt x="10" y="82"/>
                    </a:cubicBezTo>
                    <a:cubicBezTo>
                      <a:pt x="10" y="83"/>
                      <a:pt x="10" y="83"/>
                      <a:pt x="10" y="84"/>
                    </a:cubicBezTo>
                    <a:cubicBezTo>
                      <a:pt x="11" y="84"/>
                      <a:pt x="11" y="85"/>
                      <a:pt x="11" y="84"/>
                    </a:cubicBezTo>
                    <a:cubicBezTo>
                      <a:pt x="12" y="84"/>
                      <a:pt x="12" y="86"/>
                      <a:pt x="12" y="86"/>
                    </a:cubicBezTo>
                    <a:cubicBezTo>
                      <a:pt x="13" y="87"/>
                      <a:pt x="13" y="87"/>
                      <a:pt x="14" y="87"/>
                    </a:cubicBezTo>
                    <a:cubicBezTo>
                      <a:pt x="14" y="87"/>
                      <a:pt x="15" y="88"/>
                      <a:pt x="15" y="88"/>
                    </a:cubicBezTo>
                    <a:cubicBezTo>
                      <a:pt x="15" y="89"/>
                      <a:pt x="15" y="89"/>
                      <a:pt x="16" y="89"/>
                    </a:cubicBezTo>
                    <a:cubicBezTo>
                      <a:pt x="17" y="89"/>
                      <a:pt x="17" y="90"/>
                      <a:pt x="17" y="91"/>
                    </a:cubicBezTo>
                    <a:cubicBezTo>
                      <a:pt x="18" y="92"/>
                      <a:pt x="18" y="94"/>
                      <a:pt x="19" y="95"/>
                    </a:cubicBezTo>
                    <a:cubicBezTo>
                      <a:pt x="19" y="96"/>
                      <a:pt x="19" y="97"/>
                      <a:pt x="20" y="97"/>
                    </a:cubicBezTo>
                    <a:cubicBezTo>
                      <a:pt x="20" y="98"/>
                      <a:pt x="20" y="99"/>
                      <a:pt x="20" y="100"/>
                    </a:cubicBezTo>
                    <a:cubicBezTo>
                      <a:pt x="20" y="100"/>
                      <a:pt x="21" y="100"/>
                      <a:pt x="21" y="101"/>
                    </a:cubicBezTo>
                    <a:cubicBezTo>
                      <a:pt x="21" y="101"/>
                      <a:pt x="21" y="101"/>
                      <a:pt x="21" y="102"/>
                    </a:cubicBezTo>
                    <a:cubicBezTo>
                      <a:pt x="21" y="102"/>
                      <a:pt x="22" y="102"/>
                      <a:pt x="22" y="102"/>
                    </a:cubicBezTo>
                    <a:cubicBezTo>
                      <a:pt x="23" y="103"/>
                      <a:pt x="22" y="103"/>
                      <a:pt x="23" y="104"/>
                    </a:cubicBezTo>
                    <a:cubicBezTo>
                      <a:pt x="23" y="105"/>
                      <a:pt x="23" y="104"/>
                      <a:pt x="24" y="104"/>
                    </a:cubicBezTo>
                    <a:cubicBezTo>
                      <a:pt x="24" y="103"/>
                      <a:pt x="25" y="104"/>
                      <a:pt x="25" y="104"/>
                    </a:cubicBezTo>
                    <a:cubicBezTo>
                      <a:pt x="26" y="104"/>
                      <a:pt x="26" y="104"/>
                      <a:pt x="27" y="104"/>
                    </a:cubicBezTo>
                    <a:cubicBezTo>
                      <a:pt x="27" y="104"/>
                      <a:pt x="28" y="105"/>
                      <a:pt x="28" y="105"/>
                    </a:cubicBezTo>
                    <a:cubicBezTo>
                      <a:pt x="27" y="105"/>
                      <a:pt x="28" y="106"/>
                      <a:pt x="28" y="106"/>
                    </a:cubicBezTo>
                    <a:cubicBezTo>
                      <a:pt x="28" y="107"/>
                      <a:pt x="27" y="108"/>
                      <a:pt x="27" y="108"/>
                    </a:cubicBezTo>
                    <a:cubicBezTo>
                      <a:pt x="27" y="109"/>
                      <a:pt x="27" y="110"/>
                      <a:pt x="28" y="111"/>
                    </a:cubicBezTo>
                    <a:cubicBezTo>
                      <a:pt x="28" y="111"/>
                      <a:pt x="28" y="112"/>
                      <a:pt x="29" y="112"/>
                    </a:cubicBezTo>
                    <a:cubicBezTo>
                      <a:pt x="29" y="113"/>
                      <a:pt x="29" y="113"/>
                      <a:pt x="29" y="114"/>
                    </a:cubicBezTo>
                    <a:cubicBezTo>
                      <a:pt x="30" y="115"/>
                      <a:pt x="31" y="114"/>
                      <a:pt x="32" y="114"/>
                    </a:cubicBezTo>
                    <a:cubicBezTo>
                      <a:pt x="34" y="114"/>
                      <a:pt x="36" y="114"/>
                      <a:pt x="38" y="115"/>
                    </a:cubicBezTo>
                    <a:cubicBezTo>
                      <a:pt x="40" y="115"/>
                      <a:pt x="41" y="116"/>
                      <a:pt x="42" y="117"/>
                    </a:cubicBezTo>
                    <a:cubicBezTo>
                      <a:pt x="44" y="118"/>
                      <a:pt x="45" y="119"/>
                      <a:pt x="47" y="120"/>
                    </a:cubicBezTo>
                    <a:cubicBezTo>
                      <a:pt x="48" y="121"/>
                      <a:pt x="48" y="122"/>
                      <a:pt x="49" y="122"/>
                    </a:cubicBezTo>
                    <a:cubicBezTo>
                      <a:pt x="50" y="123"/>
                      <a:pt x="50" y="123"/>
                      <a:pt x="51" y="124"/>
                    </a:cubicBezTo>
                    <a:cubicBezTo>
                      <a:pt x="51" y="124"/>
                      <a:pt x="52" y="124"/>
                      <a:pt x="53" y="124"/>
                    </a:cubicBezTo>
                    <a:cubicBezTo>
                      <a:pt x="53" y="124"/>
                      <a:pt x="54" y="123"/>
                      <a:pt x="55" y="123"/>
                    </a:cubicBezTo>
                    <a:cubicBezTo>
                      <a:pt x="56" y="124"/>
                      <a:pt x="57" y="124"/>
                      <a:pt x="59" y="125"/>
                    </a:cubicBezTo>
                    <a:cubicBezTo>
                      <a:pt x="60" y="125"/>
                      <a:pt x="60" y="125"/>
                      <a:pt x="61" y="125"/>
                    </a:cubicBezTo>
                    <a:cubicBezTo>
                      <a:pt x="62" y="125"/>
                      <a:pt x="62" y="125"/>
                      <a:pt x="62" y="125"/>
                    </a:cubicBezTo>
                    <a:cubicBezTo>
                      <a:pt x="62" y="125"/>
                      <a:pt x="62" y="125"/>
                      <a:pt x="62" y="125"/>
                    </a:cubicBezTo>
                    <a:cubicBezTo>
                      <a:pt x="63" y="125"/>
                      <a:pt x="63" y="125"/>
                      <a:pt x="63" y="125"/>
                    </a:cubicBezTo>
                    <a:cubicBezTo>
                      <a:pt x="64" y="125"/>
                      <a:pt x="64" y="126"/>
                      <a:pt x="64" y="126"/>
                    </a:cubicBezTo>
                    <a:cubicBezTo>
                      <a:pt x="64" y="126"/>
                      <a:pt x="64" y="125"/>
                      <a:pt x="65" y="125"/>
                    </a:cubicBezTo>
                    <a:cubicBezTo>
                      <a:pt x="65" y="124"/>
                      <a:pt x="66" y="122"/>
                      <a:pt x="68" y="121"/>
                    </a:cubicBezTo>
                    <a:cubicBezTo>
                      <a:pt x="69" y="120"/>
                      <a:pt x="70" y="119"/>
                      <a:pt x="72" y="118"/>
                    </a:cubicBezTo>
                    <a:cubicBezTo>
                      <a:pt x="73" y="118"/>
                      <a:pt x="75" y="117"/>
                      <a:pt x="76" y="116"/>
                    </a:cubicBezTo>
                    <a:cubicBezTo>
                      <a:pt x="76" y="117"/>
                      <a:pt x="77" y="117"/>
                      <a:pt x="77" y="118"/>
                    </a:cubicBezTo>
                    <a:cubicBezTo>
                      <a:pt x="78" y="118"/>
                      <a:pt x="78" y="118"/>
                      <a:pt x="79" y="119"/>
                    </a:cubicBezTo>
                    <a:cubicBezTo>
                      <a:pt x="79" y="119"/>
                      <a:pt x="79" y="120"/>
                      <a:pt x="80" y="120"/>
                    </a:cubicBezTo>
                    <a:cubicBezTo>
                      <a:pt x="80" y="120"/>
                      <a:pt x="81" y="120"/>
                      <a:pt x="81" y="120"/>
                    </a:cubicBezTo>
                    <a:cubicBezTo>
                      <a:pt x="82" y="120"/>
                      <a:pt x="83" y="120"/>
                      <a:pt x="84" y="120"/>
                    </a:cubicBezTo>
                    <a:cubicBezTo>
                      <a:pt x="84" y="119"/>
                      <a:pt x="85" y="119"/>
                      <a:pt x="85" y="119"/>
                    </a:cubicBezTo>
                    <a:cubicBezTo>
                      <a:pt x="86" y="120"/>
                      <a:pt x="87" y="120"/>
                      <a:pt x="87" y="119"/>
                    </a:cubicBezTo>
                    <a:cubicBezTo>
                      <a:pt x="87" y="119"/>
                      <a:pt x="87" y="118"/>
                      <a:pt x="88" y="118"/>
                    </a:cubicBezTo>
                    <a:cubicBezTo>
                      <a:pt x="89" y="117"/>
                      <a:pt x="91" y="117"/>
                      <a:pt x="92" y="117"/>
                    </a:cubicBezTo>
                    <a:cubicBezTo>
                      <a:pt x="94" y="117"/>
                      <a:pt x="95" y="117"/>
                      <a:pt x="96" y="116"/>
                    </a:cubicBezTo>
                    <a:cubicBezTo>
                      <a:pt x="97" y="115"/>
                      <a:pt x="97" y="114"/>
                      <a:pt x="97" y="114"/>
                    </a:cubicBezTo>
                    <a:cubicBezTo>
                      <a:pt x="98" y="113"/>
                      <a:pt x="98" y="113"/>
                      <a:pt x="99" y="112"/>
                    </a:cubicBezTo>
                    <a:cubicBezTo>
                      <a:pt x="100" y="111"/>
                      <a:pt x="102" y="110"/>
                      <a:pt x="103" y="110"/>
                    </a:cubicBezTo>
                    <a:cubicBezTo>
                      <a:pt x="104" y="110"/>
                      <a:pt x="105" y="109"/>
                      <a:pt x="106" y="109"/>
                    </a:cubicBezTo>
                    <a:cubicBezTo>
                      <a:pt x="106" y="109"/>
                      <a:pt x="107" y="109"/>
                      <a:pt x="108" y="109"/>
                    </a:cubicBezTo>
                    <a:cubicBezTo>
                      <a:pt x="110" y="109"/>
                      <a:pt x="112" y="109"/>
                      <a:pt x="114" y="109"/>
                    </a:cubicBezTo>
                    <a:cubicBezTo>
                      <a:pt x="115" y="109"/>
                      <a:pt x="115" y="109"/>
                      <a:pt x="116" y="109"/>
                    </a:cubicBezTo>
                    <a:cubicBezTo>
                      <a:pt x="117" y="109"/>
                      <a:pt x="117" y="108"/>
                      <a:pt x="118" y="107"/>
                    </a:cubicBezTo>
                    <a:cubicBezTo>
                      <a:pt x="119" y="106"/>
                      <a:pt x="120" y="104"/>
                      <a:pt x="121" y="103"/>
                    </a:cubicBezTo>
                    <a:cubicBezTo>
                      <a:pt x="124" y="100"/>
                      <a:pt x="126" y="97"/>
                      <a:pt x="129" y="93"/>
                    </a:cubicBezTo>
                    <a:cubicBezTo>
                      <a:pt x="134" y="87"/>
                      <a:pt x="140" y="81"/>
                      <a:pt x="145" y="75"/>
                    </a:cubicBezTo>
                    <a:cubicBezTo>
                      <a:pt x="143" y="75"/>
                      <a:pt x="142" y="75"/>
                      <a:pt x="140" y="7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29" name="Eswatini (prev. Swaziland)">
                <a:extLst>
                  <a:ext uri="{FF2B5EF4-FFF2-40B4-BE49-F238E27FC236}">
                    <a16:creationId xmlns:a16="http://schemas.microsoft.com/office/drawing/2014/main" id="{BE0092D6-B3DD-724C-441E-943550E905E5}"/>
                  </a:ext>
                </a:extLst>
              </p:cNvPr>
              <p:cNvSpPr>
                <a:spLocks/>
              </p:cNvSpPr>
              <p:nvPr/>
            </p:nvSpPr>
            <p:spPr bwMode="auto">
              <a:xfrm>
                <a:off x="6730757" y="5047057"/>
                <a:ext cx="46068" cy="60771"/>
              </a:xfrm>
              <a:custGeom>
                <a:avLst/>
                <a:gdLst/>
                <a:ahLst/>
                <a:cxnLst>
                  <a:cxn ang="0">
                    <a:pos x="12" y="8"/>
                  </a:cxn>
                  <a:cxn ang="0">
                    <a:pos x="13" y="3"/>
                  </a:cxn>
                  <a:cxn ang="0">
                    <a:pos x="10" y="3"/>
                  </a:cxn>
                  <a:cxn ang="0">
                    <a:pos x="6" y="0"/>
                  </a:cxn>
                  <a:cxn ang="0">
                    <a:pos x="4" y="2"/>
                  </a:cxn>
                  <a:cxn ang="0">
                    <a:pos x="1" y="7"/>
                  </a:cxn>
                  <a:cxn ang="0">
                    <a:pos x="0" y="10"/>
                  </a:cxn>
                  <a:cxn ang="0">
                    <a:pos x="1" y="11"/>
                  </a:cxn>
                  <a:cxn ang="0">
                    <a:pos x="2" y="13"/>
                  </a:cxn>
                  <a:cxn ang="0">
                    <a:pos x="2" y="14"/>
                  </a:cxn>
                  <a:cxn ang="0">
                    <a:pos x="3" y="15"/>
                  </a:cxn>
                  <a:cxn ang="0">
                    <a:pos x="7" y="17"/>
                  </a:cxn>
                  <a:cxn ang="0">
                    <a:pos x="11" y="17"/>
                  </a:cxn>
                  <a:cxn ang="0">
                    <a:pos x="11" y="16"/>
                  </a:cxn>
                  <a:cxn ang="0">
                    <a:pos x="11" y="13"/>
                  </a:cxn>
                  <a:cxn ang="0">
                    <a:pos x="13" y="12"/>
                  </a:cxn>
                  <a:cxn ang="0">
                    <a:pos x="12" y="8"/>
                  </a:cxn>
                </a:cxnLst>
                <a:rect l="0" t="0" r="r" b="b"/>
                <a:pathLst>
                  <a:path w="13" h="17">
                    <a:moveTo>
                      <a:pt x="12" y="8"/>
                    </a:moveTo>
                    <a:cubicBezTo>
                      <a:pt x="12" y="6"/>
                      <a:pt x="13" y="5"/>
                      <a:pt x="13" y="3"/>
                    </a:cubicBezTo>
                    <a:cubicBezTo>
                      <a:pt x="12" y="2"/>
                      <a:pt x="11" y="3"/>
                      <a:pt x="10" y="3"/>
                    </a:cubicBezTo>
                    <a:cubicBezTo>
                      <a:pt x="9" y="2"/>
                      <a:pt x="8" y="1"/>
                      <a:pt x="6" y="0"/>
                    </a:cubicBezTo>
                    <a:cubicBezTo>
                      <a:pt x="5" y="0"/>
                      <a:pt x="4" y="1"/>
                      <a:pt x="4" y="2"/>
                    </a:cubicBezTo>
                    <a:cubicBezTo>
                      <a:pt x="3" y="4"/>
                      <a:pt x="2" y="5"/>
                      <a:pt x="1" y="7"/>
                    </a:cubicBezTo>
                    <a:cubicBezTo>
                      <a:pt x="0" y="8"/>
                      <a:pt x="0" y="9"/>
                      <a:pt x="0" y="10"/>
                    </a:cubicBezTo>
                    <a:cubicBezTo>
                      <a:pt x="0" y="10"/>
                      <a:pt x="0" y="13"/>
                      <a:pt x="1" y="11"/>
                    </a:cubicBezTo>
                    <a:cubicBezTo>
                      <a:pt x="1" y="12"/>
                      <a:pt x="1" y="12"/>
                      <a:pt x="2" y="13"/>
                    </a:cubicBezTo>
                    <a:cubicBezTo>
                      <a:pt x="2" y="13"/>
                      <a:pt x="2" y="13"/>
                      <a:pt x="2" y="14"/>
                    </a:cubicBezTo>
                    <a:cubicBezTo>
                      <a:pt x="2" y="14"/>
                      <a:pt x="3" y="15"/>
                      <a:pt x="3" y="15"/>
                    </a:cubicBezTo>
                    <a:cubicBezTo>
                      <a:pt x="4" y="17"/>
                      <a:pt x="6" y="17"/>
                      <a:pt x="7" y="17"/>
                    </a:cubicBezTo>
                    <a:cubicBezTo>
                      <a:pt x="8" y="17"/>
                      <a:pt x="9" y="17"/>
                      <a:pt x="11" y="17"/>
                    </a:cubicBezTo>
                    <a:cubicBezTo>
                      <a:pt x="11" y="17"/>
                      <a:pt x="11" y="16"/>
                      <a:pt x="11" y="16"/>
                    </a:cubicBezTo>
                    <a:cubicBezTo>
                      <a:pt x="11" y="15"/>
                      <a:pt x="11" y="14"/>
                      <a:pt x="11" y="13"/>
                    </a:cubicBezTo>
                    <a:cubicBezTo>
                      <a:pt x="12" y="12"/>
                      <a:pt x="12" y="12"/>
                      <a:pt x="13" y="12"/>
                    </a:cubicBezTo>
                    <a:cubicBezTo>
                      <a:pt x="13" y="11"/>
                      <a:pt x="13" y="9"/>
                      <a:pt x="12" y="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0" name="Estonia">
                <a:extLst>
                  <a:ext uri="{FF2B5EF4-FFF2-40B4-BE49-F238E27FC236}">
                    <a16:creationId xmlns:a16="http://schemas.microsoft.com/office/drawing/2014/main" id="{28AE027B-2AFA-3ADB-9F36-412294672A92}"/>
                  </a:ext>
                </a:extLst>
              </p:cNvPr>
              <p:cNvSpPr>
                <a:spLocks noEditPoints="1"/>
              </p:cNvSpPr>
              <p:nvPr/>
            </p:nvSpPr>
            <p:spPr bwMode="auto">
              <a:xfrm>
                <a:off x="6366136" y="1746844"/>
                <a:ext cx="177409" cy="78414"/>
              </a:xfrm>
              <a:custGeom>
                <a:avLst/>
                <a:gdLst/>
                <a:ahLst/>
                <a:cxnLst>
                  <a:cxn ang="0">
                    <a:pos x="5" y="7"/>
                  </a:cxn>
                  <a:cxn ang="0">
                    <a:pos x="9" y="7"/>
                  </a:cxn>
                  <a:cxn ang="0">
                    <a:pos x="8" y="9"/>
                  </a:cxn>
                  <a:cxn ang="0">
                    <a:pos x="5" y="10"/>
                  </a:cxn>
                  <a:cxn ang="0">
                    <a:pos x="18" y="16"/>
                  </a:cxn>
                  <a:cxn ang="0">
                    <a:pos x="11" y="8"/>
                  </a:cxn>
                  <a:cxn ang="0">
                    <a:pos x="11" y="8"/>
                  </a:cxn>
                  <a:cxn ang="0">
                    <a:pos x="8" y="11"/>
                  </a:cxn>
                  <a:cxn ang="0">
                    <a:pos x="4" y="12"/>
                  </a:cxn>
                  <a:cxn ang="0">
                    <a:pos x="2" y="12"/>
                  </a:cxn>
                  <a:cxn ang="0">
                    <a:pos x="1" y="14"/>
                  </a:cxn>
                  <a:cxn ang="0">
                    <a:pos x="2" y="15"/>
                  </a:cxn>
                  <a:cxn ang="0">
                    <a:pos x="2" y="17"/>
                  </a:cxn>
                  <a:cxn ang="0">
                    <a:pos x="5" y="15"/>
                  </a:cxn>
                  <a:cxn ang="0">
                    <a:pos x="9" y="14"/>
                  </a:cxn>
                  <a:cxn ang="0">
                    <a:pos x="12" y="13"/>
                  </a:cxn>
                  <a:cxn ang="0">
                    <a:pos x="48" y="3"/>
                  </a:cxn>
                  <a:cxn ang="0">
                    <a:pos x="39" y="3"/>
                  </a:cxn>
                  <a:cxn ang="0">
                    <a:pos x="33" y="1"/>
                  </a:cxn>
                  <a:cxn ang="0">
                    <a:pos x="30" y="1"/>
                  </a:cxn>
                  <a:cxn ang="0">
                    <a:pos x="28" y="1"/>
                  </a:cxn>
                  <a:cxn ang="0">
                    <a:pos x="27" y="2"/>
                  </a:cxn>
                  <a:cxn ang="0">
                    <a:pos x="23" y="2"/>
                  </a:cxn>
                  <a:cxn ang="0">
                    <a:pos x="22" y="3"/>
                  </a:cxn>
                  <a:cxn ang="0">
                    <a:pos x="18" y="3"/>
                  </a:cxn>
                  <a:cxn ang="0">
                    <a:pos x="15" y="4"/>
                  </a:cxn>
                  <a:cxn ang="0">
                    <a:pos x="13" y="5"/>
                  </a:cxn>
                  <a:cxn ang="0">
                    <a:pos x="14" y="7"/>
                  </a:cxn>
                  <a:cxn ang="0">
                    <a:pos x="13" y="8"/>
                  </a:cxn>
                  <a:cxn ang="0">
                    <a:pos x="16" y="10"/>
                  </a:cxn>
                  <a:cxn ang="0">
                    <a:pos x="14" y="12"/>
                  </a:cxn>
                  <a:cxn ang="0">
                    <a:pos x="18" y="15"/>
                  </a:cxn>
                  <a:cxn ang="0">
                    <a:pos x="21" y="15"/>
                  </a:cxn>
                  <a:cxn ang="0">
                    <a:pos x="23" y="18"/>
                  </a:cxn>
                  <a:cxn ang="0">
                    <a:pos x="27" y="17"/>
                  </a:cxn>
                  <a:cxn ang="0">
                    <a:pos x="29" y="17"/>
                  </a:cxn>
                  <a:cxn ang="0">
                    <a:pos x="33" y="19"/>
                  </a:cxn>
                  <a:cxn ang="0">
                    <a:pos x="35" y="20"/>
                  </a:cxn>
                  <a:cxn ang="0">
                    <a:pos x="39" y="22"/>
                  </a:cxn>
                  <a:cxn ang="0">
                    <a:pos x="42" y="21"/>
                  </a:cxn>
                  <a:cxn ang="0">
                    <a:pos x="45" y="22"/>
                  </a:cxn>
                  <a:cxn ang="0">
                    <a:pos x="46" y="20"/>
                  </a:cxn>
                  <a:cxn ang="0">
                    <a:pos x="47" y="18"/>
                  </a:cxn>
                  <a:cxn ang="0">
                    <a:pos x="46" y="16"/>
                  </a:cxn>
                  <a:cxn ang="0">
                    <a:pos x="45" y="11"/>
                  </a:cxn>
                  <a:cxn ang="0">
                    <a:pos x="49" y="4"/>
                  </a:cxn>
                  <a:cxn ang="0">
                    <a:pos x="12" y="11"/>
                  </a:cxn>
                  <a:cxn ang="0">
                    <a:pos x="13" y="12"/>
                  </a:cxn>
                </a:cxnLst>
                <a:rect l="0" t="0" r="r" b="b"/>
                <a:pathLst>
                  <a:path w="50" h="22">
                    <a:moveTo>
                      <a:pt x="2" y="8"/>
                    </a:moveTo>
                    <a:cubicBezTo>
                      <a:pt x="2" y="8"/>
                      <a:pt x="5" y="8"/>
                      <a:pt x="5" y="8"/>
                    </a:cubicBezTo>
                    <a:cubicBezTo>
                      <a:pt x="5" y="8"/>
                      <a:pt x="5" y="7"/>
                      <a:pt x="5" y="7"/>
                    </a:cubicBezTo>
                    <a:cubicBezTo>
                      <a:pt x="5" y="8"/>
                      <a:pt x="6" y="6"/>
                      <a:pt x="6" y="6"/>
                    </a:cubicBezTo>
                    <a:cubicBezTo>
                      <a:pt x="7" y="7"/>
                      <a:pt x="7" y="7"/>
                      <a:pt x="7" y="7"/>
                    </a:cubicBezTo>
                    <a:cubicBezTo>
                      <a:pt x="7" y="8"/>
                      <a:pt x="8" y="7"/>
                      <a:pt x="9" y="7"/>
                    </a:cubicBezTo>
                    <a:cubicBezTo>
                      <a:pt x="9" y="8"/>
                      <a:pt x="10" y="9"/>
                      <a:pt x="9" y="9"/>
                    </a:cubicBezTo>
                    <a:cubicBezTo>
                      <a:pt x="9" y="9"/>
                      <a:pt x="9" y="9"/>
                      <a:pt x="8" y="9"/>
                    </a:cubicBezTo>
                    <a:cubicBezTo>
                      <a:pt x="8" y="9"/>
                      <a:pt x="8" y="10"/>
                      <a:pt x="8" y="9"/>
                    </a:cubicBezTo>
                    <a:cubicBezTo>
                      <a:pt x="8" y="9"/>
                      <a:pt x="8" y="9"/>
                      <a:pt x="8" y="9"/>
                    </a:cubicBezTo>
                    <a:cubicBezTo>
                      <a:pt x="7" y="9"/>
                      <a:pt x="7" y="10"/>
                      <a:pt x="6" y="10"/>
                    </a:cubicBezTo>
                    <a:cubicBezTo>
                      <a:pt x="6" y="11"/>
                      <a:pt x="5" y="10"/>
                      <a:pt x="5" y="10"/>
                    </a:cubicBezTo>
                    <a:cubicBezTo>
                      <a:pt x="5" y="9"/>
                      <a:pt x="5" y="9"/>
                      <a:pt x="5" y="9"/>
                    </a:cubicBezTo>
                    <a:cubicBezTo>
                      <a:pt x="4" y="8"/>
                      <a:pt x="3" y="9"/>
                      <a:pt x="2" y="8"/>
                    </a:cubicBezTo>
                    <a:close/>
                    <a:moveTo>
                      <a:pt x="18" y="16"/>
                    </a:moveTo>
                    <a:cubicBezTo>
                      <a:pt x="18" y="17"/>
                      <a:pt x="18" y="16"/>
                      <a:pt x="18" y="16"/>
                    </a:cubicBezTo>
                    <a:cubicBezTo>
                      <a:pt x="18" y="16"/>
                      <a:pt x="17" y="16"/>
                      <a:pt x="18" y="16"/>
                    </a:cubicBezTo>
                    <a:close/>
                    <a:moveTo>
                      <a:pt x="11" y="8"/>
                    </a:moveTo>
                    <a:cubicBezTo>
                      <a:pt x="11" y="8"/>
                      <a:pt x="12" y="8"/>
                      <a:pt x="12" y="8"/>
                    </a:cubicBezTo>
                    <a:cubicBezTo>
                      <a:pt x="13" y="7"/>
                      <a:pt x="11" y="7"/>
                      <a:pt x="11" y="7"/>
                    </a:cubicBezTo>
                    <a:cubicBezTo>
                      <a:pt x="10" y="7"/>
                      <a:pt x="10" y="8"/>
                      <a:pt x="11" y="8"/>
                    </a:cubicBezTo>
                    <a:close/>
                    <a:moveTo>
                      <a:pt x="10" y="12"/>
                    </a:moveTo>
                    <a:cubicBezTo>
                      <a:pt x="10" y="12"/>
                      <a:pt x="10" y="11"/>
                      <a:pt x="9" y="11"/>
                    </a:cubicBezTo>
                    <a:cubicBezTo>
                      <a:pt x="9" y="11"/>
                      <a:pt x="8" y="11"/>
                      <a:pt x="8" y="11"/>
                    </a:cubicBezTo>
                    <a:cubicBezTo>
                      <a:pt x="8" y="11"/>
                      <a:pt x="7" y="12"/>
                      <a:pt x="7" y="11"/>
                    </a:cubicBezTo>
                    <a:cubicBezTo>
                      <a:pt x="6" y="11"/>
                      <a:pt x="6" y="11"/>
                      <a:pt x="5" y="12"/>
                    </a:cubicBezTo>
                    <a:cubicBezTo>
                      <a:pt x="5" y="12"/>
                      <a:pt x="4" y="12"/>
                      <a:pt x="4" y="12"/>
                    </a:cubicBezTo>
                    <a:cubicBezTo>
                      <a:pt x="4" y="13"/>
                      <a:pt x="4" y="12"/>
                      <a:pt x="3" y="12"/>
                    </a:cubicBezTo>
                    <a:cubicBezTo>
                      <a:pt x="3" y="11"/>
                      <a:pt x="2" y="13"/>
                      <a:pt x="3" y="13"/>
                    </a:cubicBezTo>
                    <a:cubicBezTo>
                      <a:pt x="2" y="13"/>
                      <a:pt x="2" y="12"/>
                      <a:pt x="2" y="12"/>
                    </a:cubicBezTo>
                    <a:cubicBezTo>
                      <a:pt x="1" y="12"/>
                      <a:pt x="1" y="12"/>
                      <a:pt x="1" y="12"/>
                    </a:cubicBezTo>
                    <a:cubicBezTo>
                      <a:pt x="1" y="13"/>
                      <a:pt x="2" y="13"/>
                      <a:pt x="2" y="14"/>
                    </a:cubicBezTo>
                    <a:cubicBezTo>
                      <a:pt x="2" y="14"/>
                      <a:pt x="2" y="14"/>
                      <a:pt x="1" y="14"/>
                    </a:cubicBezTo>
                    <a:cubicBezTo>
                      <a:pt x="1" y="14"/>
                      <a:pt x="1" y="14"/>
                      <a:pt x="1" y="14"/>
                    </a:cubicBezTo>
                    <a:cubicBezTo>
                      <a:pt x="1" y="14"/>
                      <a:pt x="1" y="14"/>
                      <a:pt x="1" y="14"/>
                    </a:cubicBezTo>
                    <a:cubicBezTo>
                      <a:pt x="0" y="14"/>
                      <a:pt x="2" y="15"/>
                      <a:pt x="2" y="15"/>
                    </a:cubicBezTo>
                    <a:cubicBezTo>
                      <a:pt x="2" y="15"/>
                      <a:pt x="4" y="16"/>
                      <a:pt x="4" y="16"/>
                    </a:cubicBezTo>
                    <a:cubicBezTo>
                      <a:pt x="3" y="16"/>
                      <a:pt x="3" y="17"/>
                      <a:pt x="3" y="17"/>
                    </a:cubicBezTo>
                    <a:cubicBezTo>
                      <a:pt x="3" y="17"/>
                      <a:pt x="3" y="17"/>
                      <a:pt x="2" y="17"/>
                    </a:cubicBezTo>
                    <a:cubicBezTo>
                      <a:pt x="2" y="18"/>
                      <a:pt x="2" y="19"/>
                      <a:pt x="3" y="18"/>
                    </a:cubicBezTo>
                    <a:cubicBezTo>
                      <a:pt x="4" y="18"/>
                      <a:pt x="4" y="17"/>
                      <a:pt x="4" y="16"/>
                    </a:cubicBezTo>
                    <a:cubicBezTo>
                      <a:pt x="4" y="16"/>
                      <a:pt x="4" y="15"/>
                      <a:pt x="5" y="15"/>
                    </a:cubicBezTo>
                    <a:cubicBezTo>
                      <a:pt x="6" y="15"/>
                      <a:pt x="7" y="15"/>
                      <a:pt x="7" y="15"/>
                    </a:cubicBezTo>
                    <a:cubicBezTo>
                      <a:pt x="7" y="15"/>
                      <a:pt x="8" y="15"/>
                      <a:pt x="8" y="15"/>
                    </a:cubicBezTo>
                    <a:cubicBezTo>
                      <a:pt x="8" y="15"/>
                      <a:pt x="10" y="14"/>
                      <a:pt x="9" y="14"/>
                    </a:cubicBezTo>
                    <a:cubicBezTo>
                      <a:pt x="10" y="14"/>
                      <a:pt x="10" y="13"/>
                      <a:pt x="11" y="13"/>
                    </a:cubicBezTo>
                    <a:cubicBezTo>
                      <a:pt x="11" y="12"/>
                      <a:pt x="12" y="13"/>
                      <a:pt x="12" y="13"/>
                    </a:cubicBezTo>
                    <a:cubicBezTo>
                      <a:pt x="12" y="13"/>
                      <a:pt x="12" y="13"/>
                      <a:pt x="12" y="13"/>
                    </a:cubicBezTo>
                    <a:cubicBezTo>
                      <a:pt x="12" y="13"/>
                      <a:pt x="11" y="12"/>
                      <a:pt x="10" y="12"/>
                    </a:cubicBezTo>
                    <a:close/>
                    <a:moveTo>
                      <a:pt x="49" y="3"/>
                    </a:moveTo>
                    <a:cubicBezTo>
                      <a:pt x="49" y="3"/>
                      <a:pt x="48" y="3"/>
                      <a:pt x="48" y="3"/>
                    </a:cubicBezTo>
                    <a:cubicBezTo>
                      <a:pt x="48" y="3"/>
                      <a:pt x="47" y="3"/>
                      <a:pt x="47" y="3"/>
                    </a:cubicBezTo>
                    <a:cubicBezTo>
                      <a:pt x="46" y="3"/>
                      <a:pt x="44" y="3"/>
                      <a:pt x="43" y="3"/>
                    </a:cubicBezTo>
                    <a:cubicBezTo>
                      <a:pt x="42" y="3"/>
                      <a:pt x="40" y="3"/>
                      <a:pt x="39" y="3"/>
                    </a:cubicBezTo>
                    <a:cubicBezTo>
                      <a:pt x="38" y="2"/>
                      <a:pt x="38" y="2"/>
                      <a:pt x="37" y="2"/>
                    </a:cubicBezTo>
                    <a:cubicBezTo>
                      <a:pt x="37" y="2"/>
                      <a:pt x="36" y="2"/>
                      <a:pt x="36" y="2"/>
                    </a:cubicBezTo>
                    <a:cubicBezTo>
                      <a:pt x="35" y="2"/>
                      <a:pt x="34" y="1"/>
                      <a:pt x="33" y="1"/>
                    </a:cubicBezTo>
                    <a:cubicBezTo>
                      <a:pt x="33" y="1"/>
                      <a:pt x="32" y="1"/>
                      <a:pt x="32" y="1"/>
                    </a:cubicBezTo>
                    <a:cubicBezTo>
                      <a:pt x="32" y="1"/>
                      <a:pt x="32" y="1"/>
                      <a:pt x="31" y="1"/>
                    </a:cubicBezTo>
                    <a:cubicBezTo>
                      <a:pt x="31" y="1"/>
                      <a:pt x="31" y="2"/>
                      <a:pt x="30" y="1"/>
                    </a:cubicBezTo>
                    <a:cubicBezTo>
                      <a:pt x="30" y="1"/>
                      <a:pt x="30" y="1"/>
                      <a:pt x="30" y="1"/>
                    </a:cubicBezTo>
                    <a:cubicBezTo>
                      <a:pt x="29" y="1"/>
                      <a:pt x="30" y="1"/>
                      <a:pt x="30" y="1"/>
                    </a:cubicBezTo>
                    <a:cubicBezTo>
                      <a:pt x="29" y="2"/>
                      <a:pt x="29" y="1"/>
                      <a:pt x="28" y="1"/>
                    </a:cubicBezTo>
                    <a:cubicBezTo>
                      <a:pt x="28" y="0"/>
                      <a:pt x="28" y="2"/>
                      <a:pt x="29" y="2"/>
                    </a:cubicBezTo>
                    <a:cubicBezTo>
                      <a:pt x="28" y="2"/>
                      <a:pt x="28" y="2"/>
                      <a:pt x="28" y="2"/>
                    </a:cubicBezTo>
                    <a:cubicBezTo>
                      <a:pt x="28" y="2"/>
                      <a:pt x="27" y="2"/>
                      <a:pt x="27" y="2"/>
                    </a:cubicBezTo>
                    <a:cubicBezTo>
                      <a:pt x="27" y="2"/>
                      <a:pt x="26" y="2"/>
                      <a:pt x="26" y="2"/>
                    </a:cubicBezTo>
                    <a:cubicBezTo>
                      <a:pt x="25" y="2"/>
                      <a:pt x="24" y="2"/>
                      <a:pt x="24" y="2"/>
                    </a:cubicBezTo>
                    <a:cubicBezTo>
                      <a:pt x="23" y="2"/>
                      <a:pt x="23" y="1"/>
                      <a:pt x="23" y="2"/>
                    </a:cubicBezTo>
                    <a:cubicBezTo>
                      <a:pt x="23" y="2"/>
                      <a:pt x="23" y="2"/>
                      <a:pt x="23" y="3"/>
                    </a:cubicBezTo>
                    <a:cubicBezTo>
                      <a:pt x="23" y="3"/>
                      <a:pt x="22" y="3"/>
                      <a:pt x="22" y="3"/>
                    </a:cubicBezTo>
                    <a:cubicBezTo>
                      <a:pt x="22" y="2"/>
                      <a:pt x="21" y="3"/>
                      <a:pt x="22" y="3"/>
                    </a:cubicBezTo>
                    <a:cubicBezTo>
                      <a:pt x="21" y="3"/>
                      <a:pt x="20" y="2"/>
                      <a:pt x="19" y="3"/>
                    </a:cubicBezTo>
                    <a:cubicBezTo>
                      <a:pt x="19" y="3"/>
                      <a:pt x="19" y="3"/>
                      <a:pt x="19" y="3"/>
                    </a:cubicBezTo>
                    <a:cubicBezTo>
                      <a:pt x="19" y="3"/>
                      <a:pt x="18" y="3"/>
                      <a:pt x="18" y="3"/>
                    </a:cubicBezTo>
                    <a:cubicBezTo>
                      <a:pt x="18" y="3"/>
                      <a:pt x="18" y="3"/>
                      <a:pt x="18" y="4"/>
                    </a:cubicBezTo>
                    <a:cubicBezTo>
                      <a:pt x="18" y="4"/>
                      <a:pt x="16" y="3"/>
                      <a:pt x="17" y="4"/>
                    </a:cubicBezTo>
                    <a:cubicBezTo>
                      <a:pt x="18" y="5"/>
                      <a:pt x="15" y="4"/>
                      <a:pt x="15" y="4"/>
                    </a:cubicBezTo>
                    <a:cubicBezTo>
                      <a:pt x="15" y="5"/>
                      <a:pt x="15" y="5"/>
                      <a:pt x="15" y="5"/>
                    </a:cubicBezTo>
                    <a:cubicBezTo>
                      <a:pt x="15" y="5"/>
                      <a:pt x="14" y="5"/>
                      <a:pt x="14" y="5"/>
                    </a:cubicBezTo>
                    <a:cubicBezTo>
                      <a:pt x="13" y="5"/>
                      <a:pt x="12" y="5"/>
                      <a:pt x="13" y="5"/>
                    </a:cubicBezTo>
                    <a:cubicBezTo>
                      <a:pt x="13" y="6"/>
                      <a:pt x="13" y="6"/>
                      <a:pt x="13" y="7"/>
                    </a:cubicBezTo>
                    <a:cubicBezTo>
                      <a:pt x="13" y="6"/>
                      <a:pt x="12" y="7"/>
                      <a:pt x="13" y="7"/>
                    </a:cubicBezTo>
                    <a:cubicBezTo>
                      <a:pt x="13" y="7"/>
                      <a:pt x="13" y="8"/>
                      <a:pt x="14" y="7"/>
                    </a:cubicBezTo>
                    <a:cubicBezTo>
                      <a:pt x="14" y="7"/>
                      <a:pt x="14" y="7"/>
                      <a:pt x="14" y="7"/>
                    </a:cubicBezTo>
                    <a:cubicBezTo>
                      <a:pt x="14" y="7"/>
                      <a:pt x="14" y="7"/>
                      <a:pt x="14" y="8"/>
                    </a:cubicBezTo>
                    <a:cubicBezTo>
                      <a:pt x="14" y="8"/>
                      <a:pt x="13" y="8"/>
                      <a:pt x="13" y="8"/>
                    </a:cubicBezTo>
                    <a:cubicBezTo>
                      <a:pt x="12" y="8"/>
                      <a:pt x="13" y="9"/>
                      <a:pt x="13" y="9"/>
                    </a:cubicBezTo>
                    <a:cubicBezTo>
                      <a:pt x="13" y="9"/>
                      <a:pt x="13" y="9"/>
                      <a:pt x="13" y="10"/>
                    </a:cubicBezTo>
                    <a:cubicBezTo>
                      <a:pt x="14" y="10"/>
                      <a:pt x="15" y="9"/>
                      <a:pt x="16" y="10"/>
                    </a:cubicBezTo>
                    <a:cubicBezTo>
                      <a:pt x="15" y="9"/>
                      <a:pt x="16" y="10"/>
                      <a:pt x="16" y="10"/>
                    </a:cubicBezTo>
                    <a:cubicBezTo>
                      <a:pt x="16" y="10"/>
                      <a:pt x="13" y="10"/>
                      <a:pt x="14" y="10"/>
                    </a:cubicBezTo>
                    <a:cubicBezTo>
                      <a:pt x="13" y="10"/>
                      <a:pt x="14" y="12"/>
                      <a:pt x="14" y="12"/>
                    </a:cubicBezTo>
                    <a:cubicBezTo>
                      <a:pt x="14" y="12"/>
                      <a:pt x="15" y="12"/>
                      <a:pt x="15" y="12"/>
                    </a:cubicBezTo>
                    <a:cubicBezTo>
                      <a:pt x="15" y="13"/>
                      <a:pt x="15" y="14"/>
                      <a:pt x="16" y="14"/>
                    </a:cubicBezTo>
                    <a:cubicBezTo>
                      <a:pt x="17" y="14"/>
                      <a:pt x="18" y="14"/>
                      <a:pt x="18" y="15"/>
                    </a:cubicBezTo>
                    <a:cubicBezTo>
                      <a:pt x="19" y="15"/>
                      <a:pt x="20" y="14"/>
                      <a:pt x="20" y="14"/>
                    </a:cubicBezTo>
                    <a:cubicBezTo>
                      <a:pt x="21" y="13"/>
                      <a:pt x="22" y="14"/>
                      <a:pt x="22" y="14"/>
                    </a:cubicBezTo>
                    <a:cubicBezTo>
                      <a:pt x="22" y="15"/>
                      <a:pt x="22" y="15"/>
                      <a:pt x="21" y="15"/>
                    </a:cubicBezTo>
                    <a:cubicBezTo>
                      <a:pt x="21" y="16"/>
                      <a:pt x="21" y="16"/>
                      <a:pt x="22" y="16"/>
                    </a:cubicBezTo>
                    <a:cubicBezTo>
                      <a:pt x="22" y="17"/>
                      <a:pt x="21" y="18"/>
                      <a:pt x="21" y="19"/>
                    </a:cubicBezTo>
                    <a:cubicBezTo>
                      <a:pt x="22" y="19"/>
                      <a:pt x="22" y="18"/>
                      <a:pt x="23" y="18"/>
                    </a:cubicBezTo>
                    <a:cubicBezTo>
                      <a:pt x="24" y="18"/>
                      <a:pt x="24" y="18"/>
                      <a:pt x="24" y="17"/>
                    </a:cubicBezTo>
                    <a:cubicBezTo>
                      <a:pt x="24" y="17"/>
                      <a:pt x="25" y="18"/>
                      <a:pt x="25" y="17"/>
                    </a:cubicBezTo>
                    <a:cubicBezTo>
                      <a:pt x="25" y="17"/>
                      <a:pt x="27" y="16"/>
                      <a:pt x="27" y="17"/>
                    </a:cubicBezTo>
                    <a:cubicBezTo>
                      <a:pt x="28" y="18"/>
                      <a:pt x="28" y="18"/>
                      <a:pt x="28" y="17"/>
                    </a:cubicBezTo>
                    <a:cubicBezTo>
                      <a:pt x="28" y="16"/>
                      <a:pt x="28" y="17"/>
                      <a:pt x="28" y="17"/>
                    </a:cubicBezTo>
                    <a:cubicBezTo>
                      <a:pt x="29" y="17"/>
                      <a:pt x="29" y="17"/>
                      <a:pt x="29" y="17"/>
                    </a:cubicBezTo>
                    <a:cubicBezTo>
                      <a:pt x="30" y="18"/>
                      <a:pt x="30" y="18"/>
                      <a:pt x="30" y="18"/>
                    </a:cubicBezTo>
                    <a:cubicBezTo>
                      <a:pt x="31" y="18"/>
                      <a:pt x="31" y="18"/>
                      <a:pt x="31" y="18"/>
                    </a:cubicBezTo>
                    <a:cubicBezTo>
                      <a:pt x="32" y="18"/>
                      <a:pt x="32" y="19"/>
                      <a:pt x="33" y="19"/>
                    </a:cubicBezTo>
                    <a:cubicBezTo>
                      <a:pt x="33" y="19"/>
                      <a:pt x="34" y="19"/>
                      <a:pt x="34" y="19"/>
                    </a:cubicBezTo>
                    <a:cubicBezTo>
                      <a:pt x="35" y="19"/>
                      <a:pt x="34" y="19"/>
                      <a:pt x="34" y="20"/>
                    </a:cubicBezTo>
                    <a:cubicBezTo>
                      <a:pt x="35" y="20"/>
                      <a:pt x="35" y="20"/>
                      <a:pt x="35" y="20"/>
                    </a:cubicBezTo>
                    <a:cubicBezTo>
                      <a:pt x="36" y="21"/>
                      <a:pt x="36" y="21"/>
                      <a:pt x="37" y="21"/>
                    </a:cubicBezTo>
                    <a:cubicBezTo>
                      <a:pt x="37" y="22"/>
                      <a:pt x="38" y="22"/>
                      <a:pt x="39" y="22"/>
                    </a:cubicBezTo>
                    <a:cubicBezTo>
                      <a:pt x="39" y="22"/>
                      <a:pt x="39" y="22"/>
                      <a:pt x="39" y="22"/>
                    </a:cubicBezTo>
                    <a:cubicBezTo>
                      <a:pt x="40" y="22"/>
                      <a:pt x="40" y="22"/>
                      <a:pt x="41" y="22"/>
                    </a:cubicBezTo>
                    <a:cubicBezTo>
                      <a:pt x="41" y="22"/>
                      <a:pt x="41" y="21"/>
                      <a:pt x="41" y="21"/>
                    </a:cubicBezTo>
                    <a:cubicBezTo>
                      <a:pt x="41" y="21"/>
                      <a:pt x="42" y="21"/>
                      <a:pt x="42" y="21"/>
                    </a:cubicBezTo>
                    <a:cubicBezTo>
                      <a:pt x="42" y="21"/>
                      <a:pt x="43" y="22"/>
                      <a:pt x="43" y="22"/>
                    </a:cubicBezTo>
                    <a:cubicBezTo>
                      <a:pt x="43" y="22"/>
                      <a:pt x="44" y="22"/>
                      <a:pt x="44" y="22"/>
                    </a:cubicBezTo>
                    <a:cubicBezTo>
                      <a:pt x="45" y="22"/>
                      <a:pt x="45" y="22"/>
                      <a:pt x="45" y="22"/>
                    </a:cubicBezTo>
                    <a:cubicBezTo>
                      <a:pt x="45" y="21"/>
                      <a:pt x="45" y="21"/>
                      <a:pt x="45" y="21"/>
                    </a:cubicBezTo>
                    <a:cubicBezTo>
                      <a:pt x="46" y="21"/>
                      <a:pt x="45" y="21"/>
                      <a:pt x="46" y="20"/>
                    </a:cubicBezTo>
                    <a:cubicBezTo>
                      <a:pt x="46" y="20"/>
                      <a:pt x="46" y="20"/>
                      <a:pt x="46" y="20"/>
                    </a:cubicBezTo>
                    <a:cubicBezTo>
                      <a:pt x="46" y="20"/>
                      <a:pt x="46" y="19"/>
                      <a:pt x="46" y="19"/>
                    </a:cubicBezTo>
                    <a:cubicBezTo>
                      <a:pt x="46" y="19"/>
                      <a:pt x="49" y="19"/>
                      <a:pt x="48" y="19"/>
                    </a:cubicBezTo>
                    <a:cubicBezTo>
                      <a:pt x="48" y="18"/>
                      <a:pt x="48" y="18"/>
                      <a:pt x="47" y="18"/>
                    </a:cubicBezTo>
                    <a:cubicBezTo>
                      <a:pt x="47" y="18"/>
                      <a:pt x="47" y="18"/>
                      <a:pt x="47" y="18"/>
                    </a:cubicBezTo>
                    <a:cubicBezTo>
                      <a:pt x="47" y="17"/>
                      <a:pt x="47" y="17"/>
                      <a:pt x="47" y="17"/>
                    </a:cubicBezTo>
                    <a:cubicBezTo>
                      <a:pt x="47" y="17"/>
                      <a:pt x="46" y="16"/>
                      <a:pt x="46" y="16"/>
                    </a:cubicBezTo>
                    <a:cubicBezTo>
                      <a:pt x="45" y="16"/>
                      <a:pt x="45" y="15"/>
                      <a:pt x="45" y="14"/>
                    </a:cubicBezTo>
                    <a:cubicBezTo>
                      <a:pt x="46" y="13"/>
                      <a:pt x="45" y="13"/>
                      <a:pt x="45" y="12"/>
                    </a:cubicBezTo>
                    <a:cubicBezTo>
                      <a:pt x="45" y="12"/>
                      <a:pt x="45" y="11"/>
                      <a:pt x="45" y="11"/>
                    </a:cubicBezTo>
                    <a:cubicBezTo>
                      <a:pt x="44" y="10"/>
                      <a:pt x="44" y="9"/>
                      <a:pt x="45" y="8"/>
                    </a:cubicBezTo>
                    <a:cubicBezTo>
                      <a:pt x="46" y="7"/>
                      <a:pt x="47" y="7"/>
                      <a:pt x="47" y="5"/>
                    </a:cubicBezTo>
                    <a:cubicBezTo>
                      <a:pt x="47" y="4"/>
                      <a:pt x="48" y="4"/>
                      <a:pt x="49" y="4"/>
                    </a:cubicBezTo>
                    <a:cubicBezTo>
                      <a:pt x="48" y="4"/>
                      <a:pt x="48" y="4"/>
                      <a:pt x="48" y="4"/>
                    </a:cubicBezTo>
                    <a:cubicBezTo>
                      <a:pt x="48" y="4"/>
                      <a:pt x="50" y="4"/>
                      <a:pt x="49" y="3"/>
                    </a:cubicBezTo>
                    <a:close/>
                    <a:moveTo>
                      <a:pt x="12" y="11"/>
                    </a:moveTo>
                    <a:cubicBezTo>
                      <a:pt x="11" y="10"/>
                      <a:pt x="11" y="11"/>
                      <a:pt x="10" y="11"/>
                    </a:cubicBezTo>
                    <a:cubicBezTo>
                      <a:pt x="10" y="11"/>
                      <a:pt x="11" y="12"/>
                      <a:pt x="11" y="12"/>
                    </a:cubicBezTo>
                    <a:cubicBezTo>
                      <a:pt x="11" y="12"/>
                      <a:pt x="13" y="12"/>
                      <a:pt x="13" y="12"/>
                    </a:cubicBezTo>
                    <a:cubicBezTo>
                      <a:pt x="13" y="11"/>
                      <a:pt x="12" y="11"/>
                      <a:pt x="12" y="1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1" name="Eritrea">
                <a:extLst>
                  <a:ext uri="{FF2B5EF4-FFF2-40B4-BE49-F238E27FC236}">
                    <a16:creationId xmlns:a16="http://schemas.microsoft.com/office/drawing/2014/main" id="{068904A2-CFD1-6786-B50D-E55F91ACB024}"/>
                  </a:ext>
                </a:extLst>
              </p:cNvPr>
              <p:cNvSpPr>
                <a:spLocks noEditPoints="1"/>
              </p:cNvSpPr>
              <p:nvPr/>
            </p:nvSpPr>
            <p:spPr bwMode="auto">
              <a:xfrm>
                <a:off x="6936591" y="3342551"/>
                <a:ext cx="233279" cy="219557"/>
              </a:xfrm>
              <a:custGeom>
                <a:avLst/>
                <a:gdLst/>
                <a:ahLst/>
                <a:cxnLst>
                  <a:cxn ang="0">
                    <a:pos x="35" y="24"/>
                  </a:cxn>
                  <a:cxn ang="0">
                    <a:pos x="36" y="25"/>
                  </a:cxn>
                  <a:cxn ang="0">
                    <a:pos x="37" y="26"/>
                  </a:cxn>
                  <a:cxn ang="0">
                    <a:pos x="37" y="27"/>
                  </a:cxn>
                  <a:cxn ang="0">
                    <a:pos x="34" y="26"/>
                  </a:cxn>
                  <a:cxn ang="0">
                    <a:pos x="34" y="25"/>
                  </a:cxn>
                  <a:cxn ang="0">
                    <a:pos x="64" y="57"/>
                  </a:cxn>
                  <a:cxn ang="0">
                    <a:pos x="60" y="53"/>
                  </a:cxn>
                  <a:cxn ang="0">
                    <a:pos x="58" y="51"/>
                  </a:cxn>
                  <a:cxn ang="0">
                    <a:pos x="56" y="48"/>
                  </a:cxn>
                  <a:cxn ang="0">
                    <a:pos x="54" y="47"/>
                  </a:cxn>
                  <a:cxn ang="0">
                    <a:pos x="51" y="44"/>
                  </a:cxn>
                  <a:cxn ang="0">
                    <a:pos x="45" y="37"/>
                  </a:cxn>
                  <a:cxn ang="0">
                    <a:pos x="42" y="35"/>
                  </a:cxn>
                  <a:cxn ang="0">
                    <a:pos x="41" y="35"/>
                  </a:cxn>
                  <a:cxn ang="0">
                    <a:pos x="40" y="33"/>
                  </a:cxn>
                  <a:cxn ang="0">
                    <a:pos x="39" y="33"/>
                  </a:cxn>
                  <a:cxn ang="0">
                    <a:pos x="35" y="30"/>
                  </a:cxn>
                  <a:cxn ang="0">
                    <a:pos x="33" y="30"/>
                  </a:cxn>
                  <a:cxn ang="0">
                    <a:pos x="32" y="32"/>
                  </a:cxn>
                  <a:cxn ang="0">
                    <a:pos x="31" y="28"/>
                  </a:cxn>
                  <a:cxn ang="0">
                    <a:pos x="29" y="27"/>
                  </a:cxn>
                  <a:cxn ang="0">
                    <a:pos x="27" y="21"/>
                  </a:cxn>
                  <a:cxn ang="0">
                    <a:pos x="24" y="10"/>
                  </a:cxn>
                  <a:cxn ang="0">
                    <a:pos x="22" y="4"/>
                  </a:cxn>
                  <a:cxn ang="0">
                    <a:pos x="18" y="4"/>
                  </a:cxn>
                  <a:cxn ang="0">
                    <a:pos x="16" y="5"/>
                  </a:cxn>
                  <a:cxn ang="0">
                    <a:pos x="13" y="6"/>
                  </a:cxn>
                  <a:cxn ang="0">
                    <a:pos x="10" y="9"/>
                  </a:cxn>
                  <a:cxn ang="0">
                    <a:pos x="8" y="11"/>
                  </a:cxn>
                  <a:cxn ang="0">
                    <a:pos x="5" y="12"/>
                  </a:cxn>
                  <a:cxn ang="0">
                    <a:pos x="5" y="20"/>
                  </a:cxn>
                  <a:cxn ang="0">
                    <a:pos x="2" y="27"/>
                  </a:cxn>
                  <a:cxn ang="0">
                    <a:pos x="1" y="32"/>
                  </a:cxn>
                  <a:cxn ang="0">
                    <a:pos x="2" y="42"/>
                  </a:cxn>
                  <a:cxn ang="0">
                    <a:pos x="8" y="40"/>
                  </a:cxn>
                  <a:cxn ang="0">
                    <a:pos x="11" y="42"/>
                  </a:cxn>
                  <a:cxn ang="0">
                    <a:pos x="14" y="36"/>
                  </a:cxn>
                  <a:cxn ang="0">
                    <a:pos x="18" y="37"/>
                  </a:cxn>
                  <a:cxn ang="0">
                    <a:pos x="22" y="39"/>
                  </a:cxn>
                  <a:cxn ang="0">
                    <a:pos x="26" y="37"/>
                  </a:cxn>
                  <a:cxn ang="0">
                    <a:pos x="30" y="39"/>
                  </a:cxn>
                  <a:cxn ang="0">
                    <a:pos x="34" y="40"/>
                  </a:cxn>
                  <a:cxn ang="0">
                    <a:pos x="42" y="43"/>
                  </a:cxn>
                  <a:cxn ang="0">
                    <a:pos x="51" y="51"/>
                  </a:cxn>
                  <a:cxn ang="0">
                    <a:pos x="56" y="58"/>
                  </a:cxn>
                  <a:cxn ang="0">
                    <a:pos x="63" y="62"/>
                  </a:cxn>
                  <a:cxn ang="0">
                    <a:pos x="64" y="59"/>
                  </a:cxn>
                </a:cxnLst>
                <a:rect l="0" t="0" r="r" b="b"/>
                <a:pathLst>
                  <a:path w="66" h="62">
                    <a:moveTo>
                      <a:pt x="34" y="25"/>
                    </a:moveTo>
                    <a:cubicBezTo>
                      <a:pt x="33" y="25"/>
                      <a:pt x="34" y="25"/>
                      <a:pt x="34" y="25"/>
                    </a:cubicBezTo>
                    <a:cubicBezTo>
                      <a:pt x="34" y="25"/>
                      <a:pt x="34" y="25"/>
                      <a:pt x="35" y="24"/>
                    </a:cubicBezTo>
                    <a:cubicBezTo>
                      <a:pt x="35" y="24"/>
                      <a:pt x="34" y="24"/>
                      <a:pt x="34" y="24"/>
                    </a:cubicBezTo>
                    <a:cubicBezTo>
                      <a:pt x="34" y="24"/>
                      <a:pt x="35" y="24"/>
                      <a:pt x="35" y="24"/>
                    </a:cubicBezTo>
                    <a:cubicBezTo>
                      <a:pt x="35" y="25"/>
                      <a:pt x="36" y="24"/>
                      <a:pt x="36" y="25"/>
                    </a:cubicBezTo>
                    <a:cubicBezTo>
                      <a:pt x="36" y="25"/>
                      <a:pt x="36" y="26"/>
                      <a:pt x="36" y="26"/>
                    </a:cubicBezTo>
                    <a:cubicBezTo>
                      <a:pt x="36" y="27"/>
                      <a:pt x="37" y="26"/>
                      <a:pt x="37" y="26"/>
                    </a:cubicBezTo>
                    <a:cubicBezTo>
                      <a:pt x="37" y="26"/>
                      <a:pt x="36" y="26"/>
                      <a:pt x="37" y="26"/>
                    </a:cubicBezTo>
                    <a:cubicBezTo>
                      <a:pt x="37" y="26"/>
                      <a:pt x="38" y="26"/>
                      <a:pt x="38" y="26"/>
                    </a:cubicBezTo>
                    <a:cubicBezTo>
                      <a:pt x="38" y="26"/>
                      <a:pt x="39" y="26"/>
                      <a:pt x="39" y="27"/>
                    </a:cubicBezTo>
                    <a:cubicBezTo>
                      <a:pt x="39" y="27"/>
                      <a:pt x="38" y="27"/>
                      <a:pt x="37" y="27"/>
                    </a:cubicBezTo>
                    <a:cubicBezTo>
                      <a:pt x="37" y="27"/>
                      <a:pt x="36" y="27"/>
                      <a:pt x="35" y="27"/>
                    </a:cubicBezTo>
                    <a:cubicBezTo>
                      <a:pt x="35" y="27"/>
                      <a:pt x="34" y="27"/>
                      <a:pt x="34" y="26"/>
                    </a:cubicBezTo>
                    <a:cubicBezTo>
                      <a:pt x="34" y="26"/>
                      <a:pt x="34" y="26"/>
                      <a:pt x="34" y="26"/>
                    </a:cubicBezTo>
                    <a:cubicBezTo>
                      <a:pt x="34" y="26"/>
                      <a:pt x="34" y="26"/>
                      <a:pt x="35" y="26"/>
                    </a:cubicBezTo>
                    <a:cubicBezTo>
                      <a:pt x="35" y="26"/>
                      <a:pt x="35" y="26"/>
                      <a:pt x="35" y="26"/>
                    </a:cubicBezTo>
                    <a:cubicBezTo>
                      <a:pt x="35" y="25"/>
                      <a:pt x="34" y="25"/>
                      <a:pt x="34" y="25"/>
                    </a:cubicBezTo>
                    <a:close/>
                    <a:moveTo>
                      <a:pt x="65" y="58"/>
                    </a:moveTo>
                    <a:cubicBezTo>
                      <a:pt x="65" y="57"/>
                      <a:pt x="65" y="57"/>
                      <a:pt x="65" y="57"/>
                    </a:cubicBezTo>
                    <a:cubicBezTo>
                      <a:pt x="64" y="56"/>
                      <a:pt x="64" y="57"/>
                      <a:pt x="64" y="57"/>
                    </a:cubicBezTo>
                    <a:cubicBezTo>
                      <a:pt x="64" y="58"/>
                      <a:pt x="63" y="57"/>
                      <a:pt x="63" y="57"/>
                    </a:cubicBezTo>
                    <a:cubicBezTo>
                      <a:pt x="62" y="57"/>
                      <a:pt x="62" y="56"/>
                      <a:pt x="62" y="55"/>
                    </a:cubicBezTo>
                    <a:cubicBezTo>
                      <a:pt x="62" y="55"/>
                      <a:pt x="60" y="53"/>
                      <a:pt x="60" y="53"/>
                    </a:cubicBezTo>
                    <a:cubicBezTo>
                      <a:pt x="60" y="53"/>
                      <a:pt x="60" y="53"/>
                      <a:pt x="59" y="53"/>
                    </a:cubicBezTo>
                    <a:cubicBezTo>
                      <a:pt x="59" y="53"/>
                      <a:pt x="59" y="53"/>
                      <a:pt x="58" y="53"/>
                    </a:cubicBezTo>
                    <a:cubicBezTo>
                      <a:pt x="58" y="53"/>
                      <a:pt x="58" y="52"/>
                      <a:pt x="58" y="51"/>
                    </a:cubicBezTo>
                    <a:cubicBezTo>
                      <a:pt x="58" y="51"/>
                      <a:pt x="57" y="47"/>
                      <a:pt x="56" y="48"/>
                    </a:cubicBezTo>
                    <a:cubicBezTo>
                      <a:pt x="57" y="48"/>
                      <a:pt x="57" y="49"/>
                      <a:pt x="57" y="49"/>
                    </a:cubicBezTo>
                    <a:cubicBezTo>
                      <a:pt x="56" y="49"/>
                      <a:pt x="56" y="49"/>
                      <a:pt x="56" y="48"/>
                    </a:cubicBezTo>
                    <a:cubicBezTo>
                      <a:pt x="56" y="48"/>
                      <a:pt x="56" y="49"/>
                      <a:pt x="56" y="48"/>
                    </a:cubicBezTo>
                    <a:cubicBezTo>
                      <a:pt x="55" y="48"/>
                      <a:pt x="55" y="48"/>
                      <a:pt x="55" y="48"/>
                    </a:cubicBezTo>
                    <a:cubicBezTo>
                      <a:pt x="55" y="47"/>
                      <a:pt x="55" y="47"/>
                      <a:pt x="54" y="47"/>
                    </a:cubicBezTo>
                    <a:cubicBezTo>
                      <a:pt x="54" y="46"/>
                      <a:pt x="54" y="46"/>
                      <a:pt x="53" y="46"/>
                    </a:cubicBezTo>
                    <a:cubicBezTo>
                      <a:pt x="53" y="46"/>
                      <a:pt x="53" y="45"/>
                      <a:pt x="52" y="45"/>
                    </a:cubicBezTo>
                    <a:cubicBezTo>
                      <a:pt x="51" y="45"/>
                      <a:pt x="51" y="45"/>
                      <a:pt x="51" y="44"/>
                    </a:cubicBezTo>
                    <a:cubicBezTo>
                      <a:pt x="51" y="44"/>
                      <a:pt x="50" y="43"/>
                      <a:pt x="50" y="43"/>
                    </a:cubicBezTo>
                    <a:cubicBezTo>
                      <a:pt x="50" y="42"/>
                      <a:pt x="50" y="42"/>
                      <a:pt x="49" y="42"/>
                    </a:cubicBezTo>
                    <a:cubicBezTo>
                      <a:pt x="48" y="40"/>
                      <a:pt x="47" y="37"/>
                      <a:pt x="45" y="37"/>
                    </a:cubicBezTo>
                    <a:cubicBezTo>
                      <a:pt x="44" y="37"/>
                      <a:pt x="44" y="37"/>
                      <a:pt x="43" y="37"/>
                    </a:cubicBezTo>
                    <a:cubicBezTo>
                      <a:pt x="43" y="37"/>
                      <a:pt x="43" y="37"/>
                      <a:pt x="42" y="37"/>
                    </a:cubicBezTo>
                    <a:cubicBezTo>
                      <a:pt x="42" y="36"/>
                      <a:pt x="42" y="36"/>
                      <a:pt x="42" y="35"/>
                    </a:cubicBezTo>
                    <a:cubicBezTo>
                      <a:pt x="42" y="35"/>
                      <a:pt x="41" y="35"/>
                      <a:pt x="41" y="35"/>
                    </a:cubicBezTo>
                    <a:cubicBezTo>
                      <a:pt x="41" y="35"/>
                      <a:pt x="42" y="35"/>
                      <a:pt x="41" y="35"/>
                    </a:cubicBezTo>
                    <a:cubicBezTo>
                      <a:pt x="41" y="35"/>
                      <a:pt x="41" y="35"/>
                      <a:pt x="41" y="35"/>
                    </a:cubicBezTo>
                    <a:cubicBezTo>
                      <a:pt x="41" y="35"/>
                      <a:pt x="41" y="34"/>
                      <a:pt x="41" y="34"/>
                    </a:cubicBezTo>
                    <a:cubicBezTo>
                      <a:pt x="41" y="34"/>
                      <a:pt x="41" y="34"/>
                      <a:pt x="40" y="34"/>
                    </a:cubicBezTo>
                    <a:cubicBezTo>
                      <a:pt x="40" y="34"/>
                      <a:pt x="40" y="33"/>
                      <a:pt x="40" y="33"/>
                    </a:cubicBezTo>
                    <a:cubicBezTo>
                      <a:pt x="40" y="34"/>
                      <a:pt x="40" y="34"/>
                      <a:pt x="39" y="34"/>
                    </a:cubicBezTo>
                    <a:cubicBezTo>
                      <a:pt x="39" y="34"/>
                      <a:pt x="39" y="33"/>
                      <a:pt x="39" y="33"/>
                    </a:cubicBezTo>
                    <a:cubicBezTo>
                      <a:pt x="39" y="33"/>
                      <a:pt x="39" y="34"/>
                      <a:pt x="39" y="33"/>
                    </a:cubicBezTo>
                    <a:cubicBezTo>
                      <a:pt x="38" y="34"/>
                      <a:pt x="38" y="34"/>
                      <a:pt x="37" y="34"/>
                    </a:cubicBezTo>
                    <a:cubicBezTo>
                      <a:pt x="37" y="34"/>
                      <a:pt x="37" y="34"/>
                      <a:pt x="36" y="33"/>
                    </a:cubicBezTo>
                    <a:cubicBezTo>
                      <a:pt x="36" y="32"/>
                      <a:pt x="35" y="31"/>
                      <a:pt x="35" y="30"/>
                    </a:cubicBezTo>
                    <a:cubicBezTo>
                      <a:pt x="36" y="30"/>
                      <a:pt x="34" y="28"/>
                      <a:pt x="33" y="28"/>
                    </a:cubicBezTo>
                    <a:cubicBezTo>
                      <a:pt x="32" y="28"/>
                      <a:pt x="32" y="31"/>
                      <a:pt x="33" y="31"/>
                    </a:cubicBezTo>
                    <a:cubicBezTo>
                      <a:pt x="33" y="31"/>
                      <a:pt x="33" y="30"/>
                      <a:pt x="33" y="30"/>
                    </a:cubicBezTo>
                    <a:cubicBezTo>
                      <a:pt x="33" y="30"/>
                      <a:pt x="33" y="31"/>
                      <a:pt x="33" y="31"/>
                    </a:cubicBezTo>
                    <a:cubicBezTo>
                      <a:pt x="33" y="31"/>
                      <a:pt x="33" y="32"/>
                      <a:pt x="33" y="32"/>
                    </a:cubicBezTo>
                    <a:cubicBezTo>
                      <a:pt x="33" y="33"/>
                      <a:pt x="32" y="33"/>
                      <a:pt x="32" y="32"/>
                    </a:cubicBezTo>
                    <a:cubicBezTo>
                      <a:pt x="32" y="32"/>
                      <a:pt x="32" y="31"/>
                      <a:pt x="32" y="31"/>
                    </a:cubicBezTo>
                    <a:cubicBezTo>
                      <a:pt x="32" y="30"/>
                      <a:pt x="32" y="30"/>
                      <a:pt x="31" y="30"/>
                    </a:cubicBezTo>
                    <a:cubicBezTo>
                      <a:pt x="31" y="29"/>
                      <a:pt x="31" y="28"/>
                      <a:pt x="31" y="28"/>
                    </a:cubicBezTo>
                    <a:cubicBezTo>
                      <a:pt x="31" y="27"/>
                      <a:pt x="30" y="28"/>
                      <a:pt x="30" y="28"/>
                    </a:cubicBezTo>
                    <a:cubicBezTo>
                      <a:pt x="29" y="28"/>
                      <a:pt x="29" y="27"/>
                      <a:pt x="29" y="27"/>
                    </a:cubicBezTo>
                    <a:cubicBezTo>
                      <a:pt x="29" y="27"/>
                      <a:pt x="29" y="27"/>
                      <a:pt x="29" y="27"/>
                    </a:cubicBezTo>
                    <a:cubicBezTo>
                      <a:pt x="30" y="26"/>
                      <a:pt x="29" y="26"/>
                      <a:pt x="29" y="27"/>
                    </a:cubicBezTo>
                    <a:cubicBezTo>
                      <a:pt x="30" y="26"/>
                      <a:pt x="29" y="24"/>
                      <a:pt x="28" y="24"/>
                    </a:cubicBezTo>
                    <a:cubicBezTo>
                      <a:pt x="27" y="23"/>
                      <a:pt x="27" y="22"/>
                      <a:pt x="27" y="21"/>
                    </a:cubicBezTo>
                    <a:cubicBezTo>
                      <a:pt x="27" y="19"/>
                      <a:pt x="27" y="18"/>
                      <a:pt x="26" y="17"/>
                    </a:cubicBezTo>
                    <a:cubicBezTo>
                      <a:pt x="26" y="16"/>
                      <a:pt x="26" y="15"/>
                      <a:pt x="26" y="14"/>
                    </a:cubicBezTo>
                    <a:cubicBezTo>
                      <a:pt x="25" y="13"/>
                      <a:pt x="25" y="11"/>
                      <a:pt x="24" y="10"/>
                    </a:cubicBezTo>
                    <a:cubicBezTo>
                      <a:pt x="24" y="9"/>
                      <a:pt x="24" y="9"/>
                      <a:pt x="24" y="8"/>
                    </a:cubicBezTo>
                    <a:cubicBezTo>
                      <a:pt x="24" y="8"/>
                      <a:pt x="24" y="7"/>
                      <a:pt x="23" y="7"/>
                    </a:cubicBezTo>
                    <a:cubicBezTo>
                      <a:pt x="23" y="6"/>
                      <a:pt x="22" y="5"/>
                      <a:pt x="22" y="4"/>
                    </a:cubicBezTo>
                    <a:cubicBezTo>
                      <a:pt x="21" y="3"/>
                      <a:pt x="20" y="2"/>
                      <a:pt x="20" y="0"/>
                    </a:cubicBezTo>
                    <a:cubicBezTo>
                      <a:pt x="20" y="1"/>
                      <a:pt x="19" y="2"/>
                      <a:pt x="19" y="2"/>
                    </a:cubicBezTo>
                    <a:cubicBezTo>
                      <a:pt x="18" y="3"/>
                      <a:pt x="18" y="4"/>
                      <a:pt x="18" y="4"/>
                    </a:cubicBezTo>
                    <a:cubicBezTo>
                      <a:pt x="18" y="4"/>
                      <a:pt x="17" y="5"/>
                      <a:pt x="17" y="5"/>
                    </a:cubicBezTo>
                    <a:cubicBezTo>
                      <a:pt x="17" y="5"/>
                      <a:pt x="17" y="5"/>
                      <a:pt x="17" y="6"/>
                    </a:cubicBezTo>
                    <a:cubicBezTo>
                      <a:pt x="17" y="6"/>
                      <a:pt x="16" y="5"/>
                      <a:pt x="16" y="5"/>
                    </a:cubicBezTo>
                    <a:cubicBezTo>
                      <a:pt x="15" y="7"/>
                      <a:pt x="16" y="5"/>
                      <a:pt x="15" y="5"/>
                    </a:cubicBezTo>
                    <a:cubicBezTo>
                      <a:pt x="14" y="6"/>
                      <a:pt x="14" y="6"/>
                      <a:pt x="14" y="7"/>
                    </a:cubicBezTo>
                    <a:cubicBezTo>
                      <a:pt x="13" y="7"/>
                      <a:pt x="13" y="6"/>
                      <a:pt x="13" y="6"/>
                    </a:cubicBezTo>
                    <a:cubicBezTo>
                      <a:pt x="12" y="7"/>
                      <a:pt x="12" y="7"/>
                      <a:pt x="12" y="7"/>
                    </a:cubicBezTo>
                    <a:cubicBezTo>
                      <a:pt x="11" y="7"/>
                      <a:pt x="11" y="7"/>
                      <a:pt x="11" y="8"/>
                    </a:cubicBezTo>
                    <a:cubicBezTo>
                      <a:pt x="10" y="8"/>
                      <a:pt x="10" y="8"/>
                      <a:pt x="10" y="9"/>
                    </a:cubicBezTo>
                    <a:cubicBezTo>
                      <a:pt x="10" y="9"/>
                      <a:pt x="10" y="10"/>
                      <a:pt x="10" y="11"/>
                    </a:cubicBezTo>
                    <a:cubicBezTo>
                      <a:pt x="9" y="11"/>
                      <a:pt x="9" y="11"/>
                      <a:pt x="8" y="11"/>
                    </a:cubicBezTo>
                    <a:cubicBezTo>
                      <a:pt x="8" y="11"/>
                      <a:pt x="8" y="11"/>
                      <a:pt x="8" y="11"/>
                    </a:cubicBezTo>
                    <a:cubicBezTo>
                      <a:pt x="7" y="11"/>
                      <a:pt x="7" y="11"/>
                      <a:pt x="7" y="11"/>
                    </a:cubicBezTo>
                    <a:cubicBezTo>
                      <a:pt x="6" y="11"/>
                      <a:pt x="6" y="10"/>
                      <a:pt x="5" y="11"/>
                    </a:cubicBezTo>
                    <a:cubicBezTo>
                      <a:pt x="5" y="11"/>
                      <a:pt x="5" y="11"/>
                      <a:pt x="5" y="12"/>
                    </a:cubicBezTo>
                    <a:cubicBezTo>
                      <a:pt x="5" y="13"/>
                      <a:pt x="6" y="14"/>
                      <a:pt x="5" y="15"/>
                    </a:cubicBezTo>
                    <a:cubicBezTo>
                      <a:pt x="4" y="16"/>
                      <a:pt x="5" y="17"/>
                      <a:pt x="5" y="18"/>
                    </a:cubicBezTo>
                    <a:cubicBezTo>
                      <a:pt x="5" y="18"/>
                      <a:pt x="5" y="19"/>
                      <a:pt x="5" y="20"/>
                    </a:cubicBezTo>
                    <a:cubicBezTo>
                      <a:pt x="5" y="20"/>
                      <a:pt x="4" y="21"/>
                      <a:pt x="4" y="21"/>
                    </a:cubicBezTo>
                    <a:cubicBezTo>
                      <a:pt x="4" y="22"/>
                      <a:pt x="4" y="24"/>
                      <a:pt x="3" y="25"/>
                    </a:cubicBezTo>
                    <a:cubicBezTo>
                      <a:pt x="3" y="26"/>
                      <a:pt x="3" y="26"/>
                      <a:pt x="2" y="27"/>
                    </a:cubicBezTo>
                    <a:cubicBezTo>
                      <a:pt x="2" y="27"/>
                      <a:pt x="2" y="28"/>
                      <a:pt x="2" y="29"/>
                    </a:cubicBezTo>
                    <a:cubicBezTo>
                      <a:pt x="2" y="29"/>
                      <a:pt x="2" y="30"/>
                      <a:pt x="2" y="30"/>
                    </a:cubicBezTo>
                    <a:cubicBezTo>
                      <a:pt x="1" y="31"/>
                      <a:pt x="1" y="31"/>
                      <a:pt x="1" y="32"/>
                    </a:cubicBezTo>
                    <a:cubicBezTo>
                      <a:pt x="0" y="32"/>
                      <a:pt x="1" y="33"/>
                      <a:pt x="1" y="34"/>
                    </a:cubicBezTo>
                    <a:cubicBezTo>
                      <a:pt x="1" y="35"/>
                      <a:pt x="1" y="36"/>
                      <a:pt x="1" y="36"/>
                    </a:cubicBezTo>
                    <a:cubicBezTo>
                      <a:pt x="1" y="38"/>
                      <a:pt x="2" y="40"/>
                      <a:pt x="2" y="42"/>
                    </a:cubicBezTo>
                    <a:cubicBezTo>
                      <a:pt x="2" y="41"/>
                      <a:pt x="4" y="41"/>
                      <a:pt x="5" y="41"/>
                    </a:cubicBezTo>
                    <a:cubicBezTo>
                      <a:pt x="6" y="41"/>
                      <a:pt x="7" y="42"/>
                      <a:pt x="7" y="41"/>
                    </a:cubicBezTo>
                    <a:cubicBezTo>
                      <a:pt x="7" y="41"/>
                      <a:pt x="7" y="40"/>
                      <a:pt x="8" y="40"/>
                    </a:cubicBezTo>
                    <a:cubicBezTo>
                      <a:pt x="8" y="39"/>
                      <a:pt x="9" y="39"/>
                      <a:pt x="9" y="40"/>
                    </a:cubicBezTo>
                    <a:cubicBezTo>
                      <a:pt x="10" y="40"/>
                      <a:pt x="10" y="41"/>
                      <a:pt x="10" y="41"/>
                    </a:cubicBezTo>
                    <a:cubicBezTo>
                      <a:pt x="10" y="41"/>
                      <a:pt x="11" y="41"/>
                      <a:pt x="11" y="42"/>
                    </a:cubicBezTo>
                    <a:cubicBezTo>
                      <a:pt x="11" y="42"/>
                      <a:pt x="11" y="43"/>
                      <a:pt x="12" y="43"/>
                    </a:cubicBezTo>
                    <a:cubicBezTo>
                      <a:pt x="12" y="43"/>
                      <a:pt x="12" y="42"/>
                      <a:pt x="12" y="41"/>
                    </a:cubicBezTo>
                    <a:cubicBezTo>
                      <a:pt x="13" y="40"/>
                      <a:pt x="14" y="38"/>
                      <a:pt x="14" y="36"/>
                    </a:cubicBezTo>
                    <a:cubicBezTo>
                      <a:pt x="14" y="36"/>
                      <a:pt x="15" y="34"/>
                      <a:pt x="15" y="35"/>
                    </a:cubicBezTo>
                    <a:cubicBezTo>
                      <a:pt x="15" y="36"/>
                      <a:pt x="16" y="36"/>
                      <a:pt x="16" y="37"/>
                    </a:cubicBezTo>
                    <a:cubicBezTo>
                      <a:pt x="17" y="37"/>
                      <a:pt x="18" y="37"/>
                      <a:pt x="18" y="37"/>
                    </a:cubicBezTo>
                    <a:cubicBezTo>
                      <a:pt x="19" y="37"/>
                      <a:pt x="19" y="38"/>
                      <a:pt x="19" y="38"/>
                    </a:cubicBezTo>
                    <a:cubicBezTo>
                      <a:pt x="19" y="39"/>
                      <a:pt x="20" y="40"/>
                      <a:pt x="20" y="40"/>
                    </a:cubicBezTo>
                    <a:cubicBezTo>
                      <a:pt x="21" y="40"/>
                      <a:pt x="22" y="39"/>
                      <a:pt x="22" y="39"/>
                    </a:cubicBezTo>
                    <a:cubicBezTo>
                      <a:pt x="23" y="39"/>
                      <a:pt x="24" y="39"/>
                      <a:pt x="25" y="39"/>
                    </a:cubicBezTo>
                    <a:cubicBezTo>
                      <a:pt x="25" y="39"/>
                      <a:pt x="25" y="38"/>
                      <a:pt x="25" y="38"/>
                    </a:cubicBezTo>
                    <a:cubicBezTo>
                      <a:pt x="25" y="38"/>
                      <a:pt x="25" y="37"/>
                      <a:pt x="26" y="37"/>
                    </a:cubicBezTo>
                    <a:cubicBezTo>
                      <a:pt x="27" y="37"/>
                      <a:pt x="27" y="38"/>
                      <a:pt x="27" y="39"/>
                    </a:cubicBezTo>
                    <a:cubicBezTo>
                      <a:pt x="28" y="40"/>
                      <a:pt x="28" y="39"/>
                      <a:pt x="28" y="39"/>
                    </a:cubicBezTo>
                    <a:cubicBezTo>
                      <a:pt x="29" y="39"/>
                      <a:pt x="29" y="39"/>
                      <a:pt x="30" y="39"/>
                    </a:cubicBezTo>
                    <a:cubicBezTo>
                      <a:pt x="30" y="39"/>
                      <a:pt x="30" y="38"/>
                      <a:pt x="31" y="38"/>
                    </a:cubicBezTo>
                    <a:cubicBezTo>
                      <a:pt x="32" y="39"/>
                      <a:pt x="32" y="39"/>
                      <a:pt x="33" y="39"/>
                    </a:cubicBezTo>
                    <a:cubicBezTo>
                      <a:pt x="33" y="39"/>
                      <a:pt x="34" y="40"/>
                      <a:pt x="34" y="40"/>
                    </a:cubicBezTo>
                    <a:cubicBezTo>
                      <a:pt x="35" y="39"/>
                      <a:pt x="36" y="39"/>
                      <a:pt x="37" y="39"/>
                    </a:cubicBezTo>
                    <a:cubicBezTo>
                      <a:pt x="38" y="40"/>
                      <a:pt x="39" y="41"/>
                      <a:pt x="40" y="42"/>
                    </a:cubicBezTo>
                    <a:cubicBezTo>
                      <a:pt x="41" y="42"/>
                      <a:pt x="42" y="42"/>
                      <a:pt x="42" y="43"/>
                    </a:cubicBezTo>
                    <a:cubicBezTo>
                      <a:pt x="43" y="43"/>
                      <a:pt x="44" y="43"/>
                      <a:pt x="44" y="44"/>
                    </a:cubicBezTo>
                    <a:cubicBezTo>
                      <a:pt x="45" y="45"/>
                      <a:pt x="46" y="47"/>
                      <a:pt x="47" y="48"/>
                    </a:cubicBezTo>
                    <a:cubicBezTo>
                      <a:pt x="48" y="50"/>
                      <a:pt x="50" y="50"/>
                      <a:pt x="51" y="51"/>
                    </a:cubicBezTo>
                    <a:cubicBezTo>
                      <a:pt x="52" y="52"/>
                      <a:pt x="53" y="54"/>
                      <a:pt x="54" y="55"/>
                    </a:cubicBezTo>
                    <a:cubicBezTo>
                      <a:pt x="54" y="56"/>
                      <a:pt x="54" y="56"/>
                      <a:pt x="55" y="57"/>
                    </a:cubicBezTo>
                    <a:cubicBezTo>
                      <a:pt x="55" y="57"/>
                      <a:pt x="56" y="57"/>
                      <a:pt x="56" y="58"/>
                    </a:cubicBezTo>
                    <a:cubicBezTo>
                      <a:pt x="57" y="59"/>
                      <a:pt x="58" y="60"/>
                      <a:pt x="59" y="61"/>
                    </a:cubicBezTo>
                    <a:cubicBezTo>
                      <a:pt x="60" y="60"/>
                      <a:pt x="60" y="62"/>
                      <a:pt x="61" y="62"/>
                    </a:cubicBezTo>
                    <a:cubicBezTo>
                      <a:pt x="62" y="62"/>
                      <a:pt x="62" y="62"/>
                      <a:pt x="63" y="62"/>
                    </a:cubicBezTo>
                    <a:cubicBezTo>
                      <a:pt x="63" y="61"/>
                      <a:pt x="63" y="61"/>
                      <a:pt x="63" y="61"/>
                    </a:cubicBezTo>
                    <a:cubicBezTo>
                      <a:pt x="63" y="60"/>
                      <a:pt x="63" y="60"/>
                      <a:pt x="63" y="60"/>
                    </a:cubicBezTo>
                    <a:cubicBezTo>
                      <a:pt x="63" y="59"/>
                      <a:pt x="64" y="59"/>
                      <a:pt x="64" y="59"/>
                    </a:cubicBezTo>
                    <a:cubicBezTo>
                      <a:pt x="65" y="59"/>
                      <a:pt x="66" y="59"/>
                      <a:pt x="65" y="5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2" name="Equatorial Guinea">
                <a:extLst>
                  <a:ext uri="{FF2B5EF4-FFF2-40B4-BE49-F238E27FC236}">
                    <a16:creationId xmlns:a16="http://schemas.microsoft.com/office/drawing/2014/main" id="{5D226627-2348-4987-2ECB-B8F4550CF641}"/>
                  </a:ext>
                </a:extLst>
              </p:cNvPr>
              <p:cNvSpPr>
                <a:spLocks noEditPoints="1"/>
              </p:cNvSpPr>
              <p:nvPr/>
            </p:nvSpPr>
            <p:spPr bwMode="auto">
              <a:xfrm>
                <a:off x="5888797" y="3895364"/>
                <a:ext cx="197993" cy="208775"/>
              </a:xfrm>
              <a:custGeom>
                <a:avLst/>
                <a:gdLst/>
                <a:ahLst/>
                <a:cxnLst>
                  <a:cxn ang="0">
                    <a:pos x="55" y="31"/>
                  </a:cxn>
                  <a:cxn ang="0">
                    <a:pos x="53" y="31"/>
                  </a:cxn>
                  <a:cxn ang="0">
                    <a:pos x="49" y="31"/>
                  </a:cxn>
                  <a:cxn ang="0">
                    <a:pos x="42" y="31"/>
                  </a:cxn>
                  <a:cxn ang="0">
                    <a:pos x="42" y="32"/>
                  </a:cxn>
                  <a:cxn ang="0">
                    <a:pos x="41" y="30"/>
                  </a:cxn>
                  <a:cxn ang="0">
                    <a:pos x="40" y="30"/>
                  </a:cxn>
                  <a:cxn ang="0">
                    <a:pos x="39" y="31"/>
                  </a:cxn>
                  <a:cxn ang="0">
                    <a:pos x="38" y="30"/>
                  </a:cxn>
                  <a:cxn ang="0">
                    <a:pos x="36" y="29"/>
                  </a:cxn>
                  <a:cxn ang="0">
                    <a:pos x="37" y="28"/>
                  </a:cxn>
                  <a:cxn ang="0">
                    <a:pos x="38" y="26"/>
                  </a:cxn>
                  <a:cxn ang="0">
                    <a:pos x="39" y="25"/>
                  </a:cxn>
                  <a:cxn ang="0">
                    <a:pos x="40" y="25"/>
                  </a:cxn>
                  <a:cxn ang="0">
                    <a:pos x="39" y="25"/>
                  </a:cxn>
                  <a:cxn ang="0">
                    <a:pos x="39" y="24"/>
                  </a:cxn>
                  <a:cxn ang="0">
                    <a:pos x="40" y="23"/>
                  </a:cxn>
                  <a:cxn ang="0">
                    <a:pos x="40" y="21"/>
                  </a:cxn>
                  <a:cxn ang="0">
                    <a:pos x="40" y="19"/>
                  </a:cxn>
                  <a:cxn ang="0">
                    <a:pos x="40" y="18"/>
                  </a:cxn>
                  <a:cxn ang="0">
                    <a:pos x="41" y="16"/>
                  </a:cxn>
                  <a:cxn ang="0">
                    <a:pos x="41" y="17"/>
                  </a:cxn>
                  <a:cxn ang="0">
                    <a:pos x="42" y="18"/>
                  </a:cxn>
                  <a:cxn ang="0">
                    <a:pos x="45" y="18"/>
                  </a:cxn>
                  <a:cxn ang="0">
                    <a:pos x="52" y="18"/>
                  </a:cxn>
                  <a:cxn ang="0">
                    <a:pos x="55" y="18"/>
                  </a:cxn>
                  <a:cxn ang="0">
                    <a:pos x="56" y="19"/>
                  </a:cxn>
                  <a:cxn ang="0">
                    <a:pos x="56" y="25"/>
                  </a:cxn>
                  <a:cxn ang="0">
                    <a:pos x="56" y="28"/>
                  </a:cxn>
                  <a:cxn ang="0">
                    <a:pos x="55" y="31"/>
                  </a:cxn>
                  <a:cxn ang="0">
                    <a:pos x="0" y="59"/>
                  </a:cxn>
                  <a:cxn ang="0">
                    <a:pos x="0" y="59"/>
                  </a:cxn>
                  <a:cxn ang="0">
                    <a:pos x="32" y="1"/>
                  </a:cxn>
                  <a:cxn ang="0">
                    <a:pos x="30" y="1"/>
                  </a:cxn>
                  <a:cxn ang="0">
                    <a:pos x="29" y="2"/>
                  </a:cxn>
                  <a:cxn ang="0">
                    <a:pos x="28" y="4"/>
                  </a:cxn>
                  <a:cxn ang="0">
                    <a:pos x="27" y="6"/>
                  </a:cxn>
                  <a:cxn ang="0">
                    <a:pos x="29" y="7"/>
                  </a:cxn>
                  <a:cxn ang="0">
                    <a:pos x="31" y="6"/>
                  </a:cxn>
                  <a:cxn ang="0">
                    <a:pos x="32" y="1"/>
                  </a:cxn>
                </a:cxnLst>
                <a:rect l="0" t="0" r="r" b="b"/>
                <a:pathLst>
                  <a:path w="56" h="59">
                    <a:moveTo>
                      <a:pt x="55" y="31"/>
                    </a:moveTo>
                    <a:cubicBezTo>
                      <a:pt x="55" y="32"/>
                      <a:pt x="53" y="31"/>
                      <a:pt x="53" y="31"/>
                    </a:cubicBezTo>
                    <a:cubicBezTo>
                      <a:pt x="52" y="31"/>
                      <a:pt x="50" y="31"/>
                      <a:pt x="49" y="31"/>
                    </a:cubicBezTo>
                    <a:cubicBezTo>
                      <a:pt x="48" y="31"/>
                      <a:pt x="43" y="31"/>
                      <a:pt x="42" y="31"/>
                    </a:cubicBezTo>
                    <a:cubicBezTo>
                      <a:pt x="42" y="32"/>
                      <a:pt x="42" y="32"/>
                      <a:pt x="42" y="32"/>
                    </a:cubicBezTo>
                    <a:cubicBezTo>
                      <a:pt x="41" y="31"/>
                      <a:pt x="40" y="31"/>
                      <a:pt x="41" y="30"/>
                    </a:cubicBezTo>
                    <a:cubicBezTo>
                      <a:pt x="41" y="30"/>
                      <a:pt x="40" y="30"/>
                      <a:pt x="40" y="30"/>
                    </a:cubicBezTo>
                    <a:cubicBezTo>
                      <a:pt x="39" y="30"/>
                      <a:pt x="39" y="31"/>
                      <a:pt x="39" y="31"/>
                    </a:cubicBezTo>
                    <a:cubicBezTo>
                      <a:pt x="38" y="31"/>
                      <a:pt x="38" y="30"/>
                      <a:pt x="38" y="30"/>
                    </a:cubicBezTo>
                    <a:cubicBezTo>
                      <a:pt x="37" y="29"/>
                      <a:pt x="36" y="31"/>
                      <a:pt x="36" y="29"/>
                    </a:cubicBezTo>
                    <a:cubicBezTo>
                      <a:pt x="36" y="29"/>
                      <a:pt x="37" y="28"/>
                      <a:pt x="37" y="28"/>
                    </a:cubicBezTo>
                    <a:cubicBezTo>
                      <a:pt x="37" y="27"/>
                      <a:pt x="37" y="27"/>
                      <a:pt x="38" y="26"/>
                    </a:cubicBezTo>
                    <a:cubicBezTo>
                      <a:pt x="38" y="26"/>
                      <a:pt x="38" y="25"/>
                      <a:pt x="39" y="25"/>
                    </a:cubicBezTo>
                    <a:cubicBezTo>
                      <a:pt x="39" y="25"/>
                      <a:pt x="39" y="25"/>
                      <a:pt x="40" y="25"/>
                    </a:cubicBezTo>
                    <a:cubicBezTo>
                      <a:pt x="40" y="25"/>
                      <a:pt x="39" y="25"/>
                      <a:pt x="39" y="25"/>
                    </a:cubicBezTo>
                    <a:cubicBezTo>
                      <a:pt x="39" y="25"/>
                      <a:pt x="39" y="24"/>
                      <a:pt x="39" y="24"/>
                    </a:cubicBezTo>
                    <a:cubicBezTo>
                      <a:pt x="39" y="23"/>
                      <a:pt x="39" y="23"/>
                      <a:pt x="40" y="23"/>
                    </a:cubicBezTo>
                    <a:cubicBezTo>
                      <a:pt x="40" y="22"/>
                      <a:pt x="40" y="22"/>
                      <a:pt x="40" y="21"/>
                    </a:cubicBezTo>
                    <a:cubicBezTo>
                      <a:pt x="41" y="21"/>
                      <a:pt x="40" y="20"/>
                      <a:pt x="40" y="19"/>
                    </a:cubicBezTo>
                    <a:cubicBezTo>
                      <a:pt x="40" y="19"/>
                      <a:pt x="40" y="18"/>
                      <a:pt x="40" y="18"/>
                    </a:cubicBezTo>
                    <a:cubicBezTo>
                      <a:pt x="40" y="17"/>
                      <a:pt x="40" y="17"/>
                      <a:pt x="41" y="16"/>
                    </a:cubicBezTo>
                    <a:cubicBezTo>
                      <a:pt x="41" y="17"/>
                      <a:pt x="41" y="17"/>
                      <a:pt x="41" y="17"/>
                    </a:cubicBezTo>
                    <a:cubicBezTo>
                      <a:pt x="41" y="18"/>
                      <a:pt x="41" y="18"/>
                      <a:pt x="42" y="18"/>
                    </a:cubicBezTo>
                    <a:cubicBezTo>
                      <a:pt x="43" y="19"/>
                      <a:pt x="44" y="18"/>
                      <a:pt x="45" y="18"/>
                    </a:cubicBezTo>
                    <a:cubicBezTo>
                      <a:pt x="47" y="18"/>
                      <a:pt x="49" y="18"/>
                      <a:pt x="52" y="18"/>
                    </a:cubicBezTo>
                    <a:cubicBezTo>
                      <a:pt x="53" y="18"/>
                      <a:pt x="54" y="18"/>
                      <a:pt x="55" y="18"/>
                    </a:cubicBezTo>
                    <a:cubicBezTo>
                      <a:pt x="55" y="18"/>
                      <a:pt x="56" y="18"/>
                      <a:pt x="56" y="19"/>
                    </a:cubicBezTo>
                    <a:cubicBezTo>
                      <a:pt x="55" y="21"/>
                      <a:pt x="56" y="23"/>
                      <a:pt x="56" y="25"/>
                    </a:cubicBezTo>
                    <a:cubicBezTo>
                      <a:pt x="56" y="26"/>
                      <a:pt x="56" y="27"/>
                      <a:pt x="56" y="28"/>
                    </a:cubicBezTo>
                    <a:cubicBezTo>
                      <a:pt x="56" y="29"/>
                      <a:pt x="56" y="31"/>
                      <a:pt x="55" y="31"/>
                    </a:cubicBezTo>
                    <a:close/>
                    <a:moveTo>
                      <a:pt x="0" y="59"/>
                    </a:moveTo>
                    <a:cubicBezTo>
                      <a:pt x="1" y="58"/>
                      <a:pt x="0" y="58"/>
                      <a:pt x="0" y="59"/>
                    </a:cubicBezTo>
                    <a:close/>
                    <a:moveTo>
                      <a:pt x="32" y="1"/>
                    </a:moveTo>
                    <a:cubicBezTo>
                      <a:pt x="31" y="1"/>
                      <a:pt x="30" y="1"/>
                      <a:pt x="30" y="1"/>
                    </a:cubicBezTo>
                    <a:cubicBezTo>
                      <a:pt x="30" y="0"/>
                      <a:pt x="29" y="2"/>
                      <a:pt x="29" y="2"/>
                    </a:cubicBezTo>
                    <a:cubicBezTo>
                      <a:pt x="29" y="3"/>
                      <a:pt x="29" y="4"/>
                      <a:pt x="28" y="4"/>
                    </a:cubicBezTo>
                    <a:cubicBezTo>
                      <a:pt x="27" y="4"/>
                      <a:pt x="27" y="5"/>
                      <a:pt x="27" y="6"/>
                    </a:cubicBezTo>
                    <a:cubicBezTo>
                      <a:pt x="28" y="7"/>
                      <a:pt x="29" y="7"/>
                      <a:pt x="29" y="7"/>
                    </a:cubicBezTo>
                    <a:cubicBezTo>
                      <a:pt x="30" y="7"/>
                      <a:pt x="31" y="6"/>
                      <a:pt x="31" y="6"/>
                    </a:cubicBezTo>
                    <a:cubicBezTo>
                      <a:pt x="31" y="5"/>
                      <a:pt x="34" y="1"/>
                      <a:pt x="32"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3" name="El Salvador">
                <a:extLst>
                  <a:ext uri="{FF2B5EF4-FFF2-40B4-BE49-F238E27FC236}">
                    <a16:creationId xmlns:a16="http://schemas.microsoft.com/office/drawing/2014/main" id="{27A600A8-9EA8-AEFA-27C1-8F248FCD0BF5}"/>
                  </a:ext>
                </a:extLst>
              </p:cNvPr>
              <p:cNvSpPr>
                <a:spLocks/>
              </p:cNvSpPr>
              <p:nvPr/>
            </p:nvSpPr>
            <p:spPr bwMode="auto">
              <a:xfrm>
                <a:off x="2623868" y="3480754"/>
                <a:ext cx="85275" cy="52928"/>
              </a:xfrm>
              <a:custGeom>
                <a:avLst/>
                <a:gdLst/>
                <a:ahLst/>
                <a:cxnLst>
                  <a:cxn ang="0">
                    <a:pos x="23" y="10"/>
                  </a:cxn>
                  <a:cxn ang="0">
                    <a:pos x="24" y="7"/>
                  </a:cxn>
                  <a:cxn ang="0">
                    <a:pos x="23" y="6"/>
                  </a:cxn>
                  <a:cxn ang="0">
                    <a:pos x="22" y="7"/>
                  </a:cxn>
                  <a:cxn ang="0">
                    <a:pos x="21" y="6"/>
                  </a:cxn>
                  <a:cxn ang="0">
                    <a:pos x="21" y="5"/>
                  </a:cxn>
                  <a:cxn ang="0">
                    <a:pos x="19" y="6"/>
                  </a:cxn>
                  <a:cxn ang="0">
                    <a:pos x="18" y="7"/>
                  </a:cxn>
                  <a:cxn ang="0">
                    <a:pos x="17" y="7"/>
                  </a:cxn>
                  <a:cxn ang="0">
                    <a:pos x="16" y="6"/>
                  </a:cxn>
                  <a:cxn ang="0">
                    <a:pos x="15" y="5"/>
                  </a:cxn>
                  <a:cxn ang="0">
                    <a:pos x="15" y="5"/>
                  </a:cxn>
                  <a:cxn ang="0">
                    <a:pos x="14" y="4"/>
                  </a:cxn>
                  <a:cxn ang="0">
                    <a:pos x="13" y="4"/>
                  </a:cxn>
                  <a:cxn ang="0">
                    <a:pos x="13" y="3"/>
                  </a:cxn>
                  <a:cxn ang="0">
                    <a:pos x="12" y="2"/>
                  </a:cxn>
                  <a:cxn ang="0">
                    <a:pos x="11" y="2"/>
                  </a:cxn>
                  <a:cxn ang="0">
                    <a:pos x="11" y="1"/>
                  </a:cxn>
                  <a:cxn ang="0">
                    <a:pos x="11" y="1"/>
                  </a:cxn>
                  <a:cxn ang="0">
                    <a:pos x="9" y="0"/>
                  </a:cxn>
                  <a:cxn ang="0">
                    <a:pos x="7" y="1"/>
                  </a:cxn>
                  <a:cxn ang="0">
                    <a:pos x="7" y="1"/>
                  </a:cxn>
                  <a:cxn ang="0">
                    <a:pos x="7" y="2"/>
                  </a:cxn>
                  <a:cxn ang="0">
                    <a:pos x="7" y="3"/>
                  </a:cxn>
                  <a:cxn ang="0">
                    <a:pos x="6" y="3"/>
                  </a:cxn>
                  <a:cxn ang="0">
                    <a:pos x="5" y="5"/>
                  </a:cxn>
                  <a:cxn ang="0">
                    <a:pos x="4" y="5"/>
                  </a:cxn>
                  <a:cxn ang="0">
                    <a:pos x="3" y="5"/>
                  </a:cxn>
                  <a:cxn ang="0">
                    <a:pos x="2" y="6"/>
                  </a:cxn>
                  <a:cxn ang="0">
                    <a:pos x="1" y="8"/>
                  </a:cxn>
                  <a:cxn ang="0">
                    <a:pos x="3" y="9"/>
                  </a:cxn>
                  <a:cxn ang="0">
                    <a:pos x="3" y="11"/>
                  </a:cxn>
                  <a:cxn ang="0">
                    <a:pos x="5" y="11"/>
                  </a:cxn>
                  <a:cxn ang="0">
                    <a:pos x="8" y="11"/>
                  </a:cxn>
                  <a:cxn ang="0">
                    <a:pos x="10" y="12"/>
                  </a:cxn>
                  <a:cxn ang="0">
                    <a:pos x="12" y="13"/>
                  </a:cxn>
                  <a:cxn ang="0">
                    <a:pos x="16" y="14"/>
                  </a:cxn>
                  <a:cxn ang="0">
                    <a:pos x="15" y="14"/>
                  </a:cxn>
                  <a:cxn ang="0">
                    <a:pos x="15" y="14"/>
                  </a:cxn>
                  <a:cxn ang="0">
                    <a:pos x="14" y="13"/>
                  </a:cxn>
                  <a:cxn ang="0">
                    <a:pos x="15" y="14"/>
                  </a:cxn>
                  <a:cxn ang="0">
                    <a:pos x="16" y="14"/>
                  </a:cxn>
                  <a:cxn ang="0">
                    <a:pos x="16" y="14"/>
                  </a:cxn>
                  <a:cxn ang="0">
                    <a:pos x="16" y="15"/>
                  </a:cxn>
                  <a:cxn ang="0">
                    <a:pos x="17" y="14"/>
                  </a:cxn>
                  <a:cxn ang="0">
                    <a:pos x="17" y="14"/>
                  </a:cxn>
                  <a:cxn ang="0">
                    <a:pos x="17" y="14"/>
                  </a:cxn>
                  <a:cxn ang="0">
                    <a:pos x="17" y="14"/>
                  </a:cxn>
                  <a:cxn ang="0">
                    <a:pos x="20" y="15"/>
                  </a:cxn>
                  <a:cxn ang="0">
                    <a:pos x="21" y="15"/>
                  </a:cxn>
                  <a:cxn ang="0">
                    <a:pos x="22" y="14"/>
                  </a:cxn>
                  <a:cxn ang="0">
                    <a:pos x="22" y="13"/>
                  </a:cxn>
                  <a:cxn ang="0">
                    <a:pos x="22" y="12"/>
                  </a:cxn>
                  <a:cxn ang="0">
                    <a:pos x="24" y="11"/>
                  </a:cxn>
                  <a:cxn ang="0">
                    <a:pos x="23" y="10"/>
                  </a:cxn>
                </a:cxnLst>
                <a:rect l="0" t="0" r="r" b="b"/>
                <a:pathLst>
                  <a:path w="24" h="15">
                    <a:moveTo>
                      <a:pt x="23" y="10"/>
                    </a:moveTo>
                    <a:cubicBezTo>
                      <a:pt x="23" y="9"/>
                      <a:pt x="24" y="8"/>
                      <a:pt x="24" y="7"/>
                    </a:cubicBezTo>
                    <a:cubicBezTo>
                      <a:pt x="24" y="7"/>
                      <a:pt x="23" y="6"/>
                      <a:pt x="23" y="6"/>
                    </a:cubicBezTo>
                    <a:cubicBezTo>
                      <a:pt x="23" y="6"/>
                      <a:pt x="22" y="7"/>
                      <a:pt x="22" y="7"/>
                    </a:cubicBezTo>
                    <a:cubicBezTo>
                      <a:pt x="21" y="7"/>
                      <a:pt x="21" y="6"/>
                      <a:pt x="21" y="6"/>
                    </a:cubicBezTo>
                    <a:cubicBezTo>
                      <a:pt x="21" y="6"/>
                      <a:pt x="21" y="6"/>
                      <a:pt x="21" y="5"/>
                    </a:cubicBezTo>
                    <a:cubicBezTo>
                      <a:pt x="20" y="5"/>
                      <a:pt x="19" y="5"/>
                      <a:pt x="19" y="6"/>
                    </a:cubicBezTo>
                    <a:cubicBezTo>
                      <a:pt x="19" y="6"/>
                      <a:pt x="18" y="6"/>
                      <a:pt x="18" y="7"/>
                    </a:cubicBezTo>
                    <a:cubicBezTo>
                      <a:pt x="18" y="7"/>
                      <a:pt x="17" y="7"/>
                      <a:pt x="17" y="7"/>
                    </a:cubicBezTo>
                    <a:cubicBezTo>
                      <a:pt x="16" y="7"/>
                      <a:pt x="17" y="6"/>
                      <a:pt x="16" y="6"/>
                    </a:cubicBezTo>
                    <a:cubicBezTo>
                      <a:pt x="16" y="6"/>
                      <a:pt x="15" y="5"/>
                      <a:pt x="15" y="5"/>
                    </a:cubicBezTo>
                    <a:cubicBezTo>
                      <a:pt x="15" y="5"/>
                      <a:pt x="15" y="5"/>
                      <a:pt x="15" y="5"/>
                    </a:cubicBezTo>
                    <a:cubicBezTo>
                      <a:pt x="14" y="5"/>
                      <a:pt x="15" y="5"/>
                      <a:pt x="14" y="4"/>
                    </a:cubicBezTo>
                    <a:cubicBezTo>
                      <a:pt x="14" y="4"/>
                      <a:pt x="14" y="4"/>
                      <a:pt x="13" y="4"/>
                    </a:cubicBezTo>
                    <a:cubicBezTo>
                      <a:pt x="13" y="3"/>
                      <a:pt x="13" y="3"/>
                      <a:pt x="13" y="3"/>
                    </a:cubicBezTo>
                    <a:cubicBezTo>
                      <a:pt x="12" y="3"/>
                      <a:pt x="12" y="2"/>
                      <a:pt x="12" y="2"/>
                    </a:cubicBezTo>
                    <a:cubicBezTo>
                      <a:pt x="12" y="2"/>
                      <a:pt x="12" y="2"/>
                      <a:pt x="11" y="2"/>
                    </a:cubicBezTo>
                    <a:cubicBezTo>
                      <a:pt x="11" y="2"/>
                      <a:pt x="12" y="1"/>
                      <a:pt x="11" y="1"/>
                    </a:cubicBezTo>
                    <a:cubicBezTo>
                      <a:pt x="11" y="1"/>
                      <a:pt x="11" y="1"/>
                      <a:pt x="11" y="1"/>
                    </a:cubicBezTo>
                    <a:cubicBezTo>
                      <a:pt x="10" y="1"/>
                      <a:pt x="9" y="1"/>
                      <a:pt x="9" y="0"/>
                    </a:cubicBezTo>
                    <a:cubicBezTo>
                      <a:pt x="8" y="1"/>
                      <a:pt x="8" y="1"/>
                      <a:pt x="7" y="1"/>
                    </a:cubicBezTo>
                    <a:cubicBezTo>
                      <a:pt x="7" y="1"/>
                      <a:pt x="7" y="1"/>
                      <a:pt x="7" y="1"/>
                    </a:cubicBezTo>
                    <a:cubicBezTo>
                      <a:pt x="7" y="1"/>
                      <a:pt x="7" y="1"/>
                      <a:pt x="7" y="2"/>
                    </a:cubicBezTo>
                    <a:cubicBezTo>
                      <a:pt x="6" y="2"/>
                      <a:pt x="7" y="2"/>
                      <a:pt x="7" y="3"/>
                    </a:cubicBezTo>
                    <a:cubicBezTo>
                      <a:pt x="7" y="3"/>
                      <a:pt x="6" y="3"/>
                      <a:pt x="6" y="3"/>
                    </a:cubicBezTo>
                    <a:cubicBezTo>
                      <a:pt x="5" y="4"/>
                      <a:pt x="5" y="4"/>
                      <a:pt x="5" y="5"/>
                    </a:cubicBezTo>
                    <a:cubicBezTo>
                      <a:pt x="5" y="5"/>
                      <a:pt x="4" y="5"/>
                      <a:pt x="4" y="5"/>
                    </a:cubicBezTo>
                    <a:cubicBezTo>
                      <a:pt x="4" y="5"/>
                      <a:pt x="4" y="5"/>
                      <a:pt x="3" y="5"/>
                    </a:cubicBezTo>
                    <a:cubicBezTo>
                      <a:pt x="3" y="5"/>
                      <a:pt x="3" y="6"/>
                      <a:pt x="2" y="6"/>
                    </a:cubicBezTo>
                    <a:cubicBezTo>
                      <a:pt x="1" y="6"/>
                      <a:pt x="0" y="8"/>
                      <a:pt x="1" y="8"/>
                    </a:cubicBezTo>
                    <a:cubicBezTo>
                      <a:pt x="2" y="9"/>
                      <a:pt x="2" y="9"/>
                      <a:pt x="3" y="9"/>
                    </a:cubicBezTo>
                    <a:cubicBezTo>
                      <a:pt x="3" y="10"/>
                      <a:pt x="3" y="10"/>
                      <a:pt x="3" y="11"/>
                    </a:cubicBezTo>
                    <a:cubicBezTo>
                      <a:pt x="4" y="11"/>
                      <a:pt x="5" y="11"/>
                      <a:pt x="5" y="11"/>
                    </a:cubicBezTo>
                    <a:cubicBezTo>
                      <a:pt x="6" y="11"/>
                      <a:pt x="7" y="11"/>
                      <a:pt x="8" y="11"/>
                    </a:cubicBezTo>
                    <a:cubicBezTo>
                      <a:pt x="9" y="11"/>
                      <a:pt x="9" y="12"/>
                      <a:pt x="10" y="12"/>
                    </a:cubicBezTo>
                    <a:cubicBezTo>
                      <a:pt x="11" y="12"/>
                      <a:pt x="12" y="13"/>
                      <a:pt x="12" y="13"/>
                    </a:cubicBezTo>
                    <a:cubicBezTo>
                      <a:pt x="13" y="14"/>
                      <a:pt x="16" y="15"/>
                      <a:pt x="16" y="14"/>
                    </a:cubicBezTo>
                    <a:cubicBezTo>
                      <a:pt x="16" y="14"/>
                      <a:pt x="15" y="14"/>
                      <a:pt x="15" y="14"/>
                    </a:cubicBezTo>
                    <a:cubicBezTo>
                      <a:pt x="15" y="14"/>
                      <a:pt x="15" y="14"/>
                      <a:pt x="15" y="14"/>
                    </a:cubicBezTo>
                    <a:cubicBezTo>
                      <a:pt x="14" y="13"/>
                      <a:pt x="14" y="14"/>
                      <a:pt x="14" y="13"/>
                    </a:cubicBezTo>
                    <a:cubicBezTo>
                      <a:pt x="14" y="13"/>
                      <a:pt x="15" y="13"/>
                      <a:pt x="15" y="14"/>
                    </a:cubicBezTo>
                    <a:cubicBezTo>
                      <a:pt x="16" y="14"/>
                      <a:pt x="16" y="14"/>
                      <a:pt x="16" y="14"/>
                    </a:cubicBezTo>
                    <a:cubicBezTo>
                      <a:pt x="16" y="14"/>
                      <a:pt x="16" y="14"/>
                      <a:pt x="16" y="14"/>
                    </a:cubicBezTo>
                    <a:cubicBezTo>
                      <a:pt x="16" y="14"/>
                      <a:pt x="16" y="14"/>
                      <a:pt x="16" y="15"/>
                    </a:cubicBezTo>
                    <a:cubicBezTo>
                      <a:pt x="17" y="15"/>
                      <a:pt x="17" y="14"/>
                      <a:pt x="17" y="14"/>
                    </a:cubicBezTo>
                    <a:cubicBezTo>
                      <a:pt x="17" y="14"/>
                      <a:pt x="17" y="14"/>
                      <a:pt x="17" y="14"/>
                    </a:cubicBezTo>
                    <a:cubicBezTo>
                      <a:pt x="17" y="14"/>
                      <a:pt x="17" y="14"/>
                      <a:pt x="17" y="14"/>
                    </a:cubicBezTo>
                    <a:cubicBezTo>
                      <a:pt x="17" y="14"/>
                      <a:pt x="17" y="14"/>
                      <a:pt x="17" y="14"/>
                    </a:cubicBezTo>
                    <a:cubicBezTo>
                      <a:pt x="18" y="15"/>
                      <a:pt x="19" y="14"/>
                      <a:pt x="20" y="15"/>
                    </a:cubicBezTo>
                    <a:cubicBezTo>
                      <a:pt x="21" y="15"/>
                      <a:pt x="21" y="15"/>
                      <a:pt x="21" y="15"/>
                    </a:cubicBezTo>
                    <a:cubicBezTo>
                      <a:pt x="22" y="15"/>
                      <a:pt x="21" y="14"/>
                      <a:pt x="22" y="14"/>
                    </a:cubicBezTo>
                    <a:cubicBezTo>
                      <a:pt x="23" y="14"/>
                      <a:pt x="22" y="13"/>
                      <a:pt x="22" y="13"/>
                    </a:cubicBezTo>
                    <a:cubicBezTo>
                      <a:pt x="22" y="13"/>
                      <a:pt x="22" y="12"/>
                      <a:pt x="22" y="12"/>
                    </a:cubicBezTo>
                    <a:cubicBezTo>
                      <a:pt x="22" y="12"/>
                      <a:pt x="24" y="12"/>
                      <a:pt x="24" y="11"/>
                    </a:cubicBezTo>
                    <a:cubicBezTo>
                      <a:pt x="23" y="10"/>
                      <a:pt x="23" y="11"/>
                      <a:pt x="23" y="1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4" name="Egypt">
                <a:extLst>
                  <a:ext uri="{FF2B5EF4-FFF2-40B4-BE49-F238E27FC236}">
                    <a16:creationId xmlns:a16="http://schemas.microsoft.com/office/drawing/2014/main" id="{5D75D795-D5D6-E9E9-4DA5-85C3587DF95B}"/>
                  </a:ext>
                </a:extLst>
              </p:cNvPr>
              <p:cNvSpPr>
                <a:spLocks noEditPoints="1"/>
              </p:cNvSpPr>
              <p:nvPr/>
            </p:nvSpPr>
            <p:spPr bwMode="auto">
              <a:xfrm>
                <a:off x="6521981" y="2810321"/>
                <a:ext cx="382264" cy="390107"/>
              </a:xfrm>
              <a:custGeom>
                <a:avLst/>
                <a:gdLst/>
                <a:ahLst/>
                <a:cxnLst>
                  <a:cxn ang="0">
                    <a:pos x="68" y="3"/>
                  </a:cxn>
                  <a:cxn ang="0">
                    <a:pos x="70" y="4"/>
                  </a:cxn>
                  <a:cxn ang="0">
                    <a:pos x="106" y="93"/>
                  </a:cxn>
                  <a:cxn ang="0">
                    <a:pos x="101" y="97"/>
                  </a:cxn>
                  <a:cxn ang="0">
                    <a:pos x="90" y="109"/>
                  </a:cxn>
                  <a:cxn ang="0">
                    <a:pos x="69" y="107"/>
                  </a:cxn>
                  <a:cxn ang="0">
                    <a:pos x="66" y="106"/>
                  </a:cxn>
                  <a:cxn ang="0">
                    <a:pos x="8" y="106"/>
                  </a:cxn>
                  <a:cxn ang="0">
                    <a:pos x="6" y="89"/>
                  </a:cxn>
                  <a:cxn ang="0">
                    <a:pos x="2" y="24"/>
                  </a:cxn>
                  <a:cxn ang="0">
                    <a:pos x="2" y="13"/>
                  </a:cxn>
                  <a:cxn ang="0">
                    <a:pos x="4" y="0"/>
                  </a:cxn>
                  <a:cxn ang="0">
                    <a:pos x="21" y="3"/>
                  </a:cxn>
                  <a:cxn ang="0">
                    <a:pos x="28" y="6"/>
                  </a:cxn>
                  <a:cxn ang="0">
                    <a:pos x="38" y="8"/>
                  </a:cxn>
                  <a:cxn ang="0">
                    <a:pos x="48" y="5"/>
                  </a:cxn>
                  <a:cxn ang="0">
                    <a:pos x="52" y="5"/>
                  </a:cxn>
                  <a:cxn ang="0">
                    <a:pos x="52" y="2"/>
                  </a:cxn>
                  <a:cxn ang="0">
                    <a:pos x="54" y="2"/>
                  </a:cxn>
                  <a:cxn ang="0">
                    <a:pos x="55" y="3"/>
                  </a:cxn>
                  <a:cxn ang="0">
                    <a:pos x="58" y="3"/>
                  </a:cxn>
                  <a:cxn ang="0">
                    <a:pos x="58" y="1"/>
                  </a:cxn>
                  <a:cxn ang="0">
                    <a:pos x="66" y="3"/>
                  </a:cxn>
                  <a:cxn ang="0">
                    <a:pos x="66" y="5"/>
                  </a:cxn>
                  <a:cxn ang="0">
                    <a:pos x="67" y="5"/>
                  </a:cxn>
                  <a:cxn ang="0">
                    <a:pos x="68" y="6"/>
                  </a:cxn>
                  <a:cxn ang="0">
                    <a:pos x="69" y="7"/>
                  </a:cxn>
                  <a:cxn ang="0">
                    <a:pos x="70" y="5"/>
                  </a:cxn>
                  <a:cxn ang="0">
                    <a:pos x="76" y="6"/>
                  </a:cxn>
                  <a:cxn ang="0">
                    <a:pos x="76" y="7"/>
                  </a:cxn>
                  <a:cxn ang="0">
                    <a:pos x="78" y="6"/>
                  </a:cxn>
                  <a:cxn ang="0">
                    <a:pos x="78" y="7"/>
                  </a:cxn>
                  <a:cxn ang="0">
                    <a:pos x="81" y="6"/>
                  </a:cxn>
                  <a:cxn ang="0">
                    <a:pos x="81" y="6"/>
                  </a:cxn>
                  <a:cxn ang="0">
                    <a:pos x="89" y="6"/>
                  </a:cxn>
                  <a:cxn ang="0">
                    <a:pos x="92" y="14"/>
                  </a:cxn>
                  <a:cxn ang="0">
                    <a:pos x="95" y="26"/>
                  </a:cxn>
                  <a:cxn ang="0">
                    <a:pos x="94" y="32"/>
                  </a:cxn>
                  <a:cxn ang="0">
                    <a:pos x="92" y="38"/>
                  </a:cxn>
                  <a:cxn ang="0">
                    <a:pos x="92" y="42"/>
                  </a:cxn>
                  <a:cxn ang="0">
                    <a:pos x="88" y="42"/>
                  </a:cxn>
                  <a:cxn ang="0">
                    <a:pos x="81" y="35"/>
                  </a:cxn>
                  <a:cxn ang="0">
                    <a:pos x="80" y="29"/>
                  </a:cxn>
                  <a:cxn ang="0">
                    <a:pos x="75" y="23"/>
                  </a:cxn>
                  <a:cxn ang="0">
                    <a:pos x="74" y="19"/>
                  </a:cxn>
                  <a:cxn ang="0">
                    <a:pos x="75" y="27"/>
                  </a:cxn>
                  <a:cxn ang="0">
                    <a:pos x="77" y="33"/>
                  </a:cxn>
                  <a:cxn ang="0">
                    <a:pos x="83" y="40"/>
                  </a:cxn>
                  <a:cxn ang="0">
                    <a:pos x="84" y="43"/>
                  </a:cxn>
                  <a:cxn ang="0">
                    <a:pos x="84" y="45"/>
                  </a:cxn>
                  <a:cxn ang="0">
                    <a:pos x="87" y="49"/>
                  </a:cxn>
                  <a:cxn ang="0">
                    <a:pos x="89" y="56"/>
                  </a:cxn>
                  <a:cxn ang="0">
                    <a:pos x="97" y="70"/>
                  </a:cxn>
                  <a:cxn ang="0">
                    <a:pos x="101" y="78"/>
                  </a:cxn>
                  <a:cxn ang="0">
                    <a:pos x="106" y="84"/>
                  </a:cxn>
                  <a:cxn ang="0">
                    <a:pos x="105" y="86"/>
                  </a:cxn>
                  <a:cxn ang="0">
                    <a:pos x="71" y="12"/>
                  </a:cxn>
                  <a:cxn ang="0">
                    <a:pos x="73" y="16"/>
                  </a:cxn>
                  <a:cxn ang="0">
                    <a:pos x="71" y="14"/>
                  </a:cxn>
                  <a:cxn ang="0">
                    <a:pos x="67" y="5"/>
                  </a:cxn>
                  <a:cxn ang="0">
                    <a:pos x="67" y="2"/>
                  </a:cxn>
                </a:cxnLst>
                <a:rect l="0" t="0" r="r" b="b"/>
                <a:pathLst>
                  <a:path w="108" h="110">
                    <a:moveTo>
                      <a:pt x="85" y="44"/>
                    </a:moveTo>
                    <a:cubicBezTo>
                      <a:pt x="85" y="44"/>
                      <a:pt x="85" y="44"/>
                      <a:pt x="85" y="44"/>
                    </a:cubicBezTo>
                    <a:cubicBezTo>
                      <a:pt x="85" y="44"/>
                      <a:pt x="85" y="44"/>
                      <a:pt x="85" y="44"/>
                    </a:cubicBezTo>
                    <a:close/>
                    <a:moveTo>
                      <a:pt x="68" y="3"/>
                    </a:moveTo>
                    <a:cubicBezTo>
                      <a:pt x="67" y="3"/>
                      <a:pt x="67" y="3"/>
                      <a:pt x="68" y="3"/>
                    </a:cubicBezTo>
                    <a:cubicBezTo>
                      <a:pt x="68" y="3"/>
                      <a:pt x="68" y="4"/>
                      <a:pt x="68" y="4"/>
                    </a:cubicBezTo>
                    <a:cubicBezTo>
                      <a:pt x="68" y="4"/>
                      <a:pt x="68" y="4"/>
                      <a:pt x="68" y="4"/>
                    </a:cubicBezTo>
                    <a:cubicBezTo>
                      <a:pt x="69" y="4"/>
                      <a:pt x="69" y="4"/>
                      <a:pt x="70" y="4"/>
                    </a:cubicBezTo>
                    <a:cubicBezTo>
                      <a:pt x="68" y="4"/>
                      <a:pt x="68" y="3"/>
                      <a:pt x="67" y="2"/>
                    </a:cubicBezTo>
                    <a:cubicBezTo>
                      <a:pt x="67" y="2"/>
                      <a:pt x="67" y="2"/>
                      <a:pt x="67" y="2"/>
                    </a:cubicBezTo>
                    <a:cubicBezTo>
                      <a:pt x="67" y="2"/>
                      <a:pt x="67" y="3"/>
                      <a:pt x="68" y="3"/>
                    </a:cubicBezTo>
                    <a:close/>
                    <a:moveTo>
                      <a:pt x="106" y="93"/>
                    </a:moveTo>
                    <a:cubicBezTo>
                      <a:pt x="106" y="93"/>
                      <a:pt x="106" y="94"/>
                      <a:pt x="106" y="94"/>
                    </a:cubicBezTo>
                    <a:cubicBezTo>
                      <a:pt x="106" y="95"/>
                      <a:pt x="106" y="95"/>
                      <a:pt x="105" y="95"/>
                    </a:cubicBezTo>
                    <a:cubicBezTo>
                      <a:pt x="105" y="96"/>
                      <a:pt x="104" y="97"/>
                      <a:pt x="104" y="97"/>
                    </a:cubicBezTo>
                    <a:cubicBezTo>
                      <a:pt x="103" y="98"/>
                      <a:pt x="102" y="98"/>
                      <a:pt x="101" y="97"/>
                    </a:cubicBezTo>
                    <a:cubicBezTo>
                      <a:pt x="99" y="97"/>
                      <a:pt x="99" y="103"/>
                      <a:pt x="98" y="103"/>
                    </a:cubicBezTo>
                    <a:cubicBezTo>
                      <a:pt x="96" y="104"/>
                      <a:pt x="93" y="103"/>
                      <a:pt x="93" y="105"/>
                    </a:cubicBezTo>
                    <a:cubicBezTo>
                      <a:pt x="92" y="106"/>
                      <a:pt x="92" y="107"/>
                      <a:pt x="92" y="108"/>
                    </a:cubicBezTo>
                    <a:cubicBezTo>
                      <a:pt x="92" y="109"/>
                      <a:pt x="91" y="109"/>
                      <a:pt x="90" y="109"/>
                    </a:cubicBezTo>
                    <a:cubicBezTo>
                      <a:pt x="89" y="109"/>
                      <a:pt x="88" y="110"/>
                      <a:pt x="87" y="109"/>
                    </a:cubicBezTo>
                    <a:cubicBezTo>
                      <a:pt x="86" y="108"/>
                      <a:pt x="84" y="106"/>
                      <a:pt x="83" y="106"/>
                    </a:cubicBezTo>
                    <a:cubicBezTo>
                      <a:pt x="80" y="106"/>
                      <a:pt x="77" y="106"/>
                      <a:pt x="74" y="106"/>
                    </a:cubicBezTo>
                    <a:cubicBezTo>
                      <a:pt x="72" y="106"/>
                      <a:pt x="70" y="106"/>
                      <a:pt x="69" y="107"/>
                    </a:cubicBezTo>
                    <a:cubicBezTo>
                      <a:pt x="68" y="107"/>
                      <a:pt x="68" y="107"/>
                      <a:pt x="67" y="106"/>
                    </a:cubicBezTo>
                    <a:cubicBezTo>
                      <a:pt x="67" y="106"/>
                      <a:pt x="68" y="105"/>
                      <a:pt x="68" y="105"/>
                    </a:cubicBezTo>
                    <a:cubicBezTo>
                      <a:pt x="68" y="104"/>
                      <a:pt x="67" y="104"/>
                      <a:pt x="66" y="104"/>
                    </a:cubicBezTo>
                    <a:cubicBezTo>
                      <a:pt x="66" y="105"/>
                      <a:pt x="66" y="106"/>
                      <a:pt x="66" y="106"/>
                    </a:cubicBezTo>
                    <a:cubicBezTo>
                      <a:pt x="65" y="107"/>
                      <a:pt x="62" y="106"/>
                      <a:pt x="62" y="106"/>
                    </a:cubicBezTo>
                    <a:cubicBezTo>
                      <a:pt x="53" y="106"/>
                      <a:pt x="45" y="106"/>
                      <a:pt x="36" y="106"/>
                    </a:cubicBezTo>
                    <a:cubicBezTo>
                      <a:pt x="28" y="106"/>
                      <a:pt x="20" y="106"/>
                      <a:pt x="11" y="106"/>
                    </a:cubicBezTo>
                    <a:cubicBezTo>
                      <a:pt x="10" y="106"/>
                      <a:pt x="9" y="106"/>
                      <a:pt x="8" y="106"/>
                    </a:cubicBezTo>
                    <a:cubicBezTo>
                      <a:pt x="7" y="106"/>
                      <a:pt x="6" y="107"/>
                      <a:pt x="6" y="106"/>
                    </a:cubicBezTo>
                    <a:cubicBezTo>
                      <a:pt x="6" y="106"/>
                      <a:pt x="6" y="105"/>
                      <a:pt x="6" y="104"/>
                    </a:cubicBezTo>
                    <a:cubicBezTo>
                      <a:pt x="6" y="103"/>
                      <a:pt x="6" y="102"/>
                      <a:pt x="6" y="101"/>
                    </a:cubicBezTo>
                    <a:cubicBezTo>
                      <a:pt x="6" y="97"/>
                      <a:pt x="6" y="93"/>
                      <a:pt x="6" y="89"/>
                    </a:cubicBezTo>
                    <a:cubicBezTo>
                      <a:pt x="5" y="72"/>
                      <a:pt x="5" y="55"/>
                      <a:pt x="4" y="38"/>
                    </a:cubicBezTo>
                    <a:cubicBezTo>
                      <a:pt x="4" y="36"/>
                      <a:pt x="4" y="34"/>
                      <a:pt x="4" y="32"/>
                    </a:cubicBezTo>
                    <a:cubicBezTo>
                      <a:pt x="4" y="30"/>
                      <a:pt x="4" y="28"/>
                      <a:pt x="3" y="26"/>
                    </a:cubicBezTo>
                    <a:cubicBezTo>
                      <a:pt x="3" y="25"/>
                      <a:pt x="2" y="25"/>
                      <a:pt x="2" y="24"/>
                    </a:cubicBezTo>
                    <a:cubicBezTo>
                      <a:pt x="2" y="23"/>
                      <a:pt x="2" y="22"/>
                      <a:pt x="2" y="22"/>
                    </a:cubicBezTo>
                    <a:cubicBezTo>
                      <a:pt x="1" y="21"/>
                      <a:pt x="2" y="20"/>
                      <a:pt x="2" y="19"/>
                    </a:cubicBezTo>
                    <a:cubicBezTo>
                      <a:pt x="1" y="19"/>
                      <a:pt x="1" y="18"/>
                      <a:pt x="1" y="17"/>
                    </a:cubicBezTo>
                    <a:cubicBezTo>
                      <a:pt x="0" y="16"/>
                      <a:pt x="2" y="14"/>
                      <a:pt x="2" y="13"/>
                    </a:cubicBezTo>
                    <a:cubicBezTo>
                      <a:pt x="3" y="12"/>
                      <a:pt x="3" y="10"/>
                      <a:pt x="3" y="9"/>
                    </a:cubicBezTo>
                    <a:cubicBezTo>
                      <a:pt x="2" y="7"/>
                      <a:pt x="1" y="6"/>
                      <a:pt x="1" y="4"/>
                    </a:cubicBezTo>
                    <a:cubicBezTo>
                      <a:pt x="1" y="3"/>
                      <a:pt x="2" y="3"/>
                      <a:pt x="3" y="2"/>
                    </a:cubicBezTo>
                    <a:cubicBezTo>
                      <a:pt x="3" y="2"/>
                      <a:pt x="3" y="1"/>
                      <a:pt x="4" y="0"/>
                    </a:cubicBezTo>
                    <a:cubicBezTo>
                      <a:pt x="4" y="3"/>
                      <a:pt x="8" y="2"/>
                      <a:pt x="9" y="1"/>
                    </a:cubicBezTo>
                    <a:cubicBezTo>
                      <a:pt x="12" y="0"/>
                      <a:pt x="14" y="2"/>
                      <a:pt x="17" y="2"/>
                    </a:cubicBezTo>
                    <a:cubicBezTo>
                      <a:pt x="18" y="2"/>
                      <a:pt x="19" y="2"/>
                      <a:pt x="19" y="3"/>
                    </a:cubicBezTo>
                    <a:cubicBezTo>
                      <a:pt x="20" y="3"/>
                      <a:pt x="20" y="3"/>
                      <a:pt x="21" y="3"/>
                    </a:cubicBezTo>
                    <a:cubicBezTo>
                      <a:pt x="21" y="3"/>
                      <a:pt x="22" y="3"/>
                      <a:pt x="22" y="3"/>
                    </a:cubicBezTo>
                    <a:cubicBezTo>
                      <a:pt x="23" y="3"/>
                      <a:pt x="23" y="3"/>
                      <a:pt x="24" y="3"/>
                    </a:cubicBezTo>
                    <a:cubicBezTo>
                      <a:pt x="25" y="3"/>
                      <a:pt x="25" y="4"/>
                      <a:pt x="25" y="5"/>
                    </a:cubicBezTo>
                    <a:cubicBezTo>
                      <a:pt x="26" y="5"/>
                      <a:pt x="27" y="6"/>
                      <a:pt x="28" y="6"/>
                    </a:cubicBezTo>
                    <a:cubicBezTo>
                      <a:pt x="29" y="5"/>
                      <a:pt x="29" y="5"/>
                      <a:pt x="29" y="6"/>
                    </a:cubicBezTo>
                    <a:cubicBezTo>
                      <a:pt x="30" y="6"/>
                      <a:pt x="30" y="6"/>
                      <a:pt x="30" y="6"/>
                    </a:cubicBezTo>
                    <a:cubicBezTo>
                      <a:pt x="30" y="7"/>
                      <a:pt x="31" y="7"/>
                      <a:pt x="31" y="7"/>
                    </a:cubicBezTo>
                    <a:cubicBezTo>
                      <a:pt x="33" y="7"/>
                      <a:pt x="36" y="7"/>
                      <a:pt x="38" y="8"/>
                    </a:cubicBezTo>
                    <a:cubicBezTo>
                      <a:pt x="39" y="8"/>
                      <a:pt x="39" y="9"/>
                      <a:pt x="40" y="9"/>
                    </a:cubicBezTo>
                    <a:cubicBezTo>
                      <a:pt x="42" y="10"/>
                      <a:pt x="43" y="9"/>
                      <a:pt x="44" y="9"/>
                    </a:cubicBezTo>
                    <a:cubicBezTo>
                      <a:pt x="45" y="8"/>
                      <a:pt x="46" y="7"/>
                      <a:pt x="47" y="6"/>
                    </a:cubicBezTo>
                    <a:cubicBezTo>
                      <a:pt x="47" y="6"/>
                      <a:pt x="48" y="6"/>
                      <a:pt x="48" y="5"/>
                    </a:cubicBezTo>
                    <a:cubicBezTo>
                      <a:pt x="49" y="5"/>
                      <a:pt x="49" y="4"/>
                      <a:pt x="50" y="4"/>
                    </a:cubicBezTo>
                    <a:cubicBezTo>
                      <a:pt x="50" y="4"/>
                      <a:pt x="50" y="5"/>
                      <a:pt x="51" y="5"/>
                    </a:cubicBezTo>
                    <a:cubicBezTo>
                      <a:pt x="50" y="5"/>
                      <a:pt x="51" y="5"/>
                      <a:pt x="51" y="5"/>
                    </a:cubicBezTo>
                    <a:cubicBezTo>
                      <a:pt x="51" y="5"/>
                      <a:pt x="52" y="5"/>
                      <a:pt x="52" y="5"/>
                    </a:cubicBezTo>
                    <a:cubicBezTo>
                      <a:pt x="52" y="5"/>
                      <a:pt x="52" y="5"/>
                      <a:pt x="52" y="5"/>
                    </a:cubicBezTo>
                    <a:cubicBezTo>
                      <a:pt x="52" y="5"/>
                      <a:pt x="52" y="5"/>
                      <a:pt x="51" y="5"/>
                    </a:cubicBezTo>
                    <a:cubicBezTo>
                      <a:pt x="51" y="4"/>
                      <a:pt x="51" y="5"/>
                      <a:pt x="51" y="5"/>
                    </a:cubicBezTo>
                    <a:cubicBezTo>
                      <a:pt x="52" y="4"/>
                      <a:pt x="53" y="3"/>
                      <a:pt x="52" y="2"/>
                    </a:cubicBezTo>
                    <a:cubicBezTo>
                      <a:pt x="52" y="2"/>
                      <a:pt x="52" y="2"/>
                      <a:pt x="52" y="2"/>
                    </a:cubicBezTo>
                    <a:cubicBezTo>
                      <a:pt x="52" y="2"/>
                      <a:pt x="52" y="2"/>
                      <a:pt x="52" y="2"/>
                    </a:cubicBezTo>
                    <a:cubicBezTo>
                      <a:pt x="52" y="2"/>
                      <a:pt x="53" y="2"/>
                      <a:pt x="53" y="2"/>
                    </a:cubicBezTo>
                    <a:cubicBezTo>
                      <a:pt x="54" y="3"/>
                      <a:pt x="54" y="3"/>
                      <a:pt x="54" y="2"/>
                    </a:cubicBezTo>
                    <a:cubicBezTo>
                      <a:pt x="56" y="2"/>
                      <a:pt x="57" y="2"/>
                      <a:pt x="58" y="1"/>
                    </a:cubicBezTo>
                    <a:cubicBezTo>
                      <a:pt x="57" y="2"/>
                      <a:pt x="56" y="2"/>
                      <a:pt x="55" y="2"/>
                    </a:cubicBezTo>
                    <a:cubicBezTo>
                      <a:pt x="55" y="3"/>
                      <a:pt x="54" y="3"/>
                      <a:pt x="54" y="3"/>
                    </a:cubicBezTo>
                    <a:cubicBezTo>
                      <a:pt x="54" y="4"/>
                      <a:pt x="55" y="3"/>
                      <a:pt x="55" y="3"/>
                    </a:cubicBezTo>
                    <a:cubicBezTo>
                      <a:pt x="55" y="3"/>
                      <a:pt x="56" y="3"/>
                      <a:pt x="56" y="3"/>
                    </a:cubicBezTo>
                    <a:cubicBezTo>
                      <a:pt x="56" y="3"/>
                      <a:pt x="56" y="3"/>
                      <a:pt x="57" y="3"/>
                    </a:cubicBezTo>
                    <a:cubicBezTo>
                      <a:pt x="58" y="3"/>
                      <a:pt x="57" y="3"/>
                      <a:pt x="58" y="3"/>
                    </a:cubicBezTo>
                    <a:cubicBezTo>
                      <a:pt x="58" y="3"/>
                      <a:pt x="58" y="3"/>
                      <a:pt x="58" y="3"/>
                    </a:cubicBezTo>
                    <a:cubicBezTo>
                      <a:pt x="59" y="2"/>
                      <a:pt x="58" y="2"/>
                      <a:pt x="59" y="2"/>
                    </a:cubicBezTo>
                    <a:cubicBezTo>
                      <a:pt x="59" y="2"/>
                      <a:pt x="60" y="2"/>
                      <a:pt x="59" y="2"/>
                    </a:cubicBezTo>
                    <a:cubicBezTo>
                      <a:pt x="59" y="2"/>
                      <a:pt x="59" y="2"/>
                      <a:pt x="59" y="2"/>
                    </a:cubicBezTo>
                    <a:cubicBezTo>
                      <a:pt x="59" y="1"/>
                      <a:pt x="59" y="1"/>
                      <a:pt x="58" y="1"/>
                    </a:cubicBezTo>
                    <a:cubicBezTo>
                      <a:pt x="60" y="0"/>
                      <a:pt x="62" y="3"/>
                      <a:pt x="64" y="3"/>
                    </a:cubicBezTo>
                    <a:cubicBezTo>
                      <a:pt x="65" y="3"/>
                      <a:pt x="66" y="2"/>
                      <a:pt x="67" y="2"/>
                    </a:cubicBezTo>
                    <a:cubicBezTo>
                      <a:pt x="67" y="2"/>
                      <a:pt x="66" y="2"/>
                      <a:pt x="66" y="2"/>
                    </a:cubicBezTo>
                    <a:cubicBezTo>
                      <a:pt x="66" y="2"/>
                      <a:pt x="66" y="3"/>
                      <a:pt x="66" y="3"/>
                    </a:cubicBezTo>
                    <a:cubicBezTo>
                      <a:pt x="66" y="3"/>
                      <a:pt x="66" y="3"/>
                      <a:pt x="66" y="2"/>
                    </a:cubicBezTo>
                    <a:cubicBezTo>
                      <a:pt x="66" y="3"/>
                      <a:pt x="66" y="3"/>
                      <a:pt x="66" y="3"/>
                    </a:cubicBezTo>
                    <a:cubicBezTo>
                      <a:pt x="66" y="3"/>
                      <a:pt x="66" y="4"/>
                      <a:pt x="66" y="4"/>
                    </a:cubicBezTo>
                    <a:cubicBezTo>
                      <a:pt x="66" y="4"/>
                      <a:pt x="65" y="4"/>
                      <a:pt x="66" y="5"/>
                    </a:cubicBezTo>
                    <a:cubicBezTo>
                      <a:pt x="66" y="4"/>
                      <a:pt x="67" y="5"/>
                      <a:pt x="67" y="5"/>
                    </a:cubicBezTo>
                    <a:cubicBezTo>
                      <a:pt x="67" y="5"/>
                      <a:pt x="67" y="5"/>
                      <a:pt x="67" y="5"/>
                    </a:cubicBezTo>
                    <a:cubicBezTo>
                      <a:pt x="67" y="5"/>
                      <a:pt x="67" y="5"/>
                      <a:pt x="67" y="5"/>
                    </a:cubicBezTo>
                    <a:cubicBezTo>
                      <a:pt x="67" y="5"/>
                      <a:pt x="67" y="5"/>
                      <a:pt x="67" y="5"/>
                    </a:cubicBezTo>
                    <a:cubicBezTo>
                      <a:pt x="67" y="5"/>
                      <a:pt x="67" y="5"/>
                      <a:pt x="67" y="5"/>
                    </a:cubicBezTo>
                    <a:cubicBezTo>
                      <a:pt x="67" y="5"/>
                      <a:pt x="67" y="5"/>
                      <a:pt x="67" y="5"/>
                    </a:cubicBezTo>
                    <a:cubicBezTo>
                      <a:pt x="67" y="5"/>
                      <a:pt x="68" y="5"/>
                      <a:pt x="68" y="5"/>
                    </a:cubicBezTo>
                    <a:cubicBezTo>
                      <a:pt x="68" y="6"/>
                      <a:pt x="68" y="6"/>
                      <a:pt x="68" y="6"/>
                    </a:cubicBezTo>
                    <a:cubicBezTo>
                      <a:pt x="68" y="6"/>
                      <a:pt x="68" y="6"/>
                      <a:pt x="68" y="7"/>
                    </a:cubicBezTo>
                    <a:cubicBezTo>
                      <a:pt x="68" y="7"/>
                      <a:pt x="69" y="7"/>
                      <a:pt x="69" y="7"/>
                    </a:cubicBezTo>
                    <a:cubicBezTo>
                      <a:pt x="69" y="7"/>
                      <a:pt x="69" y="7"/>
                      <a:pt x="69" y="7"/>
                    </a:cubicBezTo>
                    <a:cubicBezTo>
                      <a:pt x="69" y="7"/>
                      <a:pt x="69" y="7"/>
                      <a:pt x="69" y="7"/>
                    </a:cubicBezTo>
                    <a:cubicBezTo>
                      <a:pt x="69" y="7"/>
                      <a:pt x="69" y="6"/>
                      <a:pt x="69" y="6"/>
                    </a:cubicBezTo>
                    <a:cubicBezTo>
                      <a:pt x="69" y="6"/>
                      <a:pt x="71" y="6"/>
                      <a:pt x="70" y="6"/>
                    </a:cubicBezTo>
                    <a:cubicBezTo>
                      <a:pt x="71" y="5"/>
                      <a:pt x="70" y="5"/>
                      <a:pt x="70" y="4"/>
                    </a:cubicBezTo>
                    <a:cubicBezTo>
                      <a:pt x="70" y="4"/>
                      <a:pt x="71" y="4"/>
                      <a:pt x="70" y="5"/>
                    </a:cubicBezTo>
                    <a:cubicBezTo>
                      <a:pt x="71" y="5"/>
                      <a:pt x="71" y="5"/>
                      <a:pt x="71" y="5"/>
                    </a:cubicBezTo>
                    <a:cubicBezTo>
                      <a:pt x="71" y="5"/>
                      <a:pt x="71" y="5"/>
                      <a:pt x="72" y="6"/>
                    </a:cubicBezTo>
                    <a:cubicBezTo>
                      <a:pt x="72" y="6"/>
                      <a:pt x="72" y="6"/>
                      <a:pt x="73" y="7"/>
                    </a:cubicBezTo>
                    <a:cubicBezTo>
                      <a:pt x="74" y="7"/>
                      <a:pt x="75" y="7"/>
                      <a:pt x="76" y="6"/>
                    </a:cubicBezTo>
                    <a:cubicBezTo>
                      <a:pt x="76" y="7"/>
                      <a:pt x="75" y="7"/>
                      <a:pt x="74" y="7"/>
                    </a:cubicBezTo>
                    <a:cubicBezTo>
                      <a:pt x="74" y="7"/>
                      <a:pt x="75" y="7"/>
                      <a:pt x="74" y="7"/>
                    </a:cubicBezTo>
                    <a:cubicBezTo>
                      <a:pt x="75" y="7"/>
                      <a:pt x="76" y="6"/>
                      <a:pt x="76" y="7"/>
                    </a:cubicBezTo>
                    <a:cubicBezTo>
                      <a:pt x="76" y="7"/>
                      <a:pt x="76" y="7"/>
                      <a:pt x="76" y="7"/>
                    </a:cubicBezTo>
                    <a:cubicBezTo>
                      <a:pt x="77" y="7"/>
                      <a:pt x="77" y="6"/>
                      <a:pt x="76" y="6"/>
                    </a:cubicBezTo>
                    <a:cubicBezTo>
                      <a:pt x="77" y="6"/>
                      <a:pt x="77" y="7"/>
                      <a:pt x="77" y="7"/>
                    </a:cubicBezTo>
                    <a:cubicBezTo>
                      <a:pt x="77" y="7"/>
                      <a:pt x="77" y="7"/>
                      <a:pt x="77" y="7"/>
                    </a:cubicBezTo>
                    <a:cubicBezTo>
                      <a:pt x="77" y="7"/>
                      <a:pt x="78" y="6"/>
                      <a:pt x="78" y="6"/>
                    </a:cubicBezTo>
                    <a:cubicBezTo>
                      <a:pt x="77" y="6"/>
                      <a:pt x="77" y="7"/>
                      <a:pt x="77" y="6"/>
                    </a:cubicBezTo>
                    <a:cubicBezTo>
                      <a:pt x="77" y="6"/>
                      <a:pt x="77" y="6"/>
                      <a:pt x="78" y="5"/>
                    </a:cubicBezTo>
                    <a:cubicBezTo>
                      <a:pt x="78" y="6"/>
                      <a:pt x="79" y="7"/>
                      <a:pt x="78" y="6"/>
                    </a:cubicBezTo>
                    <a:cubicBezTo>
                      <a:pt x="78" y="7"/>
                      <a:pt x="79" y="7"/>
                      <a:pt x="78" y="7"/>
                    </a:cubicBezTo>
                    <a:cubicBezTo>
                      <a:pt x="79" y="7"/>
                      <a:pt x="79" y="7"/>
                      <a:pt x="79" y="7"/>
                    </a:cubicBezTo>
                    <a:cubicBezTo>
                      <a:pt x="79" y="7"/>
                      <a:pt x="80" y="7"/>
                      <a:pt x="80" y="7"/>
                    </a:cubicBezTo>
                    <a:cubicBezTo>
                      <a:pt x="80" y="6"/>
                      <a:pt x="80" y="6"/>
                      <a:pt x="80" y="6"/>
                    </a:cubicBezTo>
                    <a:cubicBezTo>
                      <a:pt x="80" y="6"/>
                      <a:pt x="81" y="6"/>
                      <a:pt x="81" y="6"/>
                    </a:cubicBezTo>
                    <a:cubicBezTo>
                      <a:pt x="81" y="6"/>
                      <a:pt x="81" y="6"/>
                      <a:pt x="81" y="6"/>
                    </a:cubicBezTo>
                    <a:cubicBezTo>
                      <a:pt x="81" y="6"/>
                      <a:pt x="81" y="6"/>
                      <a:pt x="81" y="6"/>
                    </a:cubicBezTo>
                    <a:cubicBezTo>
                      <a:pt x="81" y="6"/>
                      <a:pt x="80" y="5"/>
                      <a:pt x="80" y="5"/>
                    </a:cubicBezTo>
                    <a:cubicBezTo>
                      <a:pt x="80" y="5"/>
                      <a:pt x="81" y="6"/>
                      <a:pt x="81" y="6"/>
                    </a:cubicBezTo>
                    <a:cubicBezTo>
                      <a:pt x="82" y="6"/>
                      <a:pt x="82" y="6"/>
                      <a:pt x="83" y="6"/>
                    </a:cubicBezTo>
                    <a:cubicBezTo>
                      <a:pt x="83" y="6"/>
                      <a:pt x="84" y="6"/>
                      <a:pt x="85" y="6"/>
                    </a:cubicBezTo>
                    <a:cubicBezTo>
                      <a:pt x="86" y="6"/>
                      <a:pt x="87" y="5"/>
                      <a:pt x="88" y="4"/>
                    </a:cubicBezTo>
                    <a:cubicBezTo>
                      <a:pt x="89" y="5"/>
                      <a:pt x="89" y="6"/>
                      <a:pt x="89" y="6"/>
                    </a:cubicBezTo>
                    <a:cubicBezTo>
                      <a:pt x="90" y="7"/>
                      <a:pt x="90" y="8"/>
                      <a:pt x="90" y="9"/>
                    </a:cubicBezTo>
                    <a:cubicBezTo>
                      <a:pt x="91" y="10"/>
                      <a:pt x="91" y="11"/>
                      <a:pt x="91" y="12"/>
                    </a:cubicBezTo>
                    <a:cubicBezTo>
                      <a:pt x="92" y="12"/>
                      <a:pt x="92" y="13"/>
                      <a:pt x="92" y="13"/>
                    </a:cubicBezTo>
                    <a:cubicBezTo>
                      <a:pt x="92" y="13"/>
                      <a:pt x="92" y="14"/>
                      <a:pt x="92" y="14"/>
                    </a:cubicBezTo>
                    <a:cubicBezTo>
                      <a:pt x="93" y="16"/>
                      <a:pt x="94" y="18"/>
                      <a:pt x="94" y="19"/>
                    </a:cubicBezTo>
                    <a:cubicBezTo>
                      <a:pt x="95" y="20"/>
                      <a:pt x="95" y="21"/>
                      <a:pt x="95" y="22"/>
                    </a:cubicBezTo>
                    <a:cubicBezTo>
                      <a:pt x="96" y="23"/>
                      <a:pt x="96" y="24"/>
                      <a:pt x="96" y="24"/>
                    </a:cubicBezTo>
                    <a:cubicBezTo>
                      <a:pt x="95" y="24"/>
                      <a:pt x="95" y="26"/>
                      <a:pt x="95" y="26"/>
                    </a:cubicBezTo>
                    <a:cubicBezTo>
                      <a:pt x="94" y="27"/>
                      <a:pt x="94" y="28"/>
                      <a:pt x="94" y="29"/>
                    </a:cubicBezTo>
                    <a:cubicBezTo>
                      <a:pt x="94" y="29"/>
                      <a:pt x="94" y="29"/>
                      <a:pt x="94" y="29"/>
                    </a:cubicBezTo>
                    <a:cubicBezTo>
                      <a:pt x="94" y="30"/>
                      <a:pt x="94" y="30"/>
                      <a:pt x="94" y="30"/>
                    </a:cubicBezTo>
                    <a:cubicBezTo>
                      <a:pt x="94" y="30"/>
                      <a:pt x="94" y="31"/>
                      <a:pt x="94" y="32"/>
                    </a:cubicBezTo>
                    <a:cubicBezTo>
                      <a:pt x="94" y="33"/>
                      <a:pt x="93" y="34"/>
                      <a:pt x="93" y="35"/>
                    </a:cubicBezTo>
                    <a:cubicBezTo>
                      <a:pt x="93" y="35"/>
                      <a:pt x="93" y="35"/>
                      <a:pt x="93" y="36"/>
                    </a:cubicBezTo>
                    <a:cubicBezTo>
                      <a:pt x="92" y="36"/>
                      <a:pt x="92" y="37"/>
                      <a:pt x="92" y="37"/>
                    </a:cubicBezTo>
                    <a:cubicBezTo>
                      <a:pt x="92" y="38"/>
                      <a:pt x="92" y="38"/>
                      <a:pt x="92" y="38"/>
                    </a:cubicBezTo>
                    <a:cubicBezTo>
                      <a:pt x="93" y="39"/>
                      <a:pt x="93" y="40"/>
                      <a:pt x="93" y="40"/>
                    </a:cubicBezTo>
                    <a:cubicBezTo>
                      <a:pt x="93" y="41"/>
                      <a:pt x="92" y="41"/>
                      <a:pt x="92" y="41"/>
                    </a:cubicBezTo>
                    <a:cubicBezTo>
                      <a:pt x="92" y="42"/>
                      <a:pt x="92" y="42"/>
                      <a:pt x="92" y="42"/>
                    </a:cubicBezTo>
                    <a:cubicBezTo>
                      <a:pt x="92" y="42"/>
                      <a:pt x="92" y="42"/>
                      <a:pt x="92" y="42"/>
                    </a:cubicBezTo>
                    <a:cubicBezTo>
                      <a:pt x="91" y="42"/>
                      <a:pt x="91" y="43"/>
                      <a:pt x="91" y="43"/>
                    </a:cubicBezTo>
                    <a:cubicBezTo>
                      <a:pt x="91" y="43"/>
                      <a:pt x="91" y="43"/>
                      <a:pt x="91" y="44"/>
                    </a:cubicBezTo>
                    <a:cubicBezTo>
                      <a:pt x="90" y="43"/>
                      <a:pt x="90" y="43"/>
                      <a:pt x="89" y="43"/>
                    </a:cubicBezTo>
                    <a:cubicBezTo>
                      <a:pt x="89" y="43"/>
                      <a:pt x="88" y="42"/>
                      <a:pt x="88" y="42"/>
                    </a:cubicBezTo>
                    <a:cubicBezTo>
                      <a:pt x="87" y="41"/>
                      <a:pt x="86" y="40"/>
                      <a:pt x="85" y="39"/>
                    </a:cubicBezTo>
                    <a:cubicBezTo>
                      <a:pt x="85" y="38"/>
                      <a:pt x="84" y="37"/>
                      <a:pt x="84" y="37"/>
                    </a:cubicBezTo>
                    <a:cubicBezTo>
                      <a:pt x="83" y="37"/>
                      <a:pt x="81" y="35"/>
                      <a:pt x="81" y="35"/>
                    </a:cubicBezTo>
                    <a:cubicBezTo>
                      <a:pt x="81" y="35"/>
                      <a:pt x="81" y="35"/>
                      <a:pt x="81" y="35"/>
                    </a:cubicBezTo>
                    <a:cubicBezTo>
                      <a:pt x="81" y="34"/>
                      <a:pt x="81" y="34"/>
                      <a:pt x="81" y="34"/>
                    </a:cubicBezTo>
                    <a:cubicBezTo>
                      <a:pt x="80" y="34"/>
                      <a:pt x="81" y="33"/>
                      <a:pt x="81" y="32"/>
                    </a:cubicBezTo>
                    <a:cubicBezTo>
                      <a:pt x="81" y="32"/>
                      <a:pt x="80" y="31"/>
                      <a:pt x="80" y="31"/>
                    </a:cubicBezTo>
                    <a:cubicBezTo>
                      <a:pt x="80" y="30"/>
                      <a:pt x="80" y="30"/>
                      <a:pt x="80" y="29"/>
                    </a:cubicBezTo>
                    <a:cubicBezTo>
                      <a:pt x="79" y="28"/>
                      <a:pt x="78" y="28"/>
                      <a:pt x="77" y="27"/>
                    </a:cubicBezTo>
                    <a:cubicBezTo>
                      <a:pt x="77" y="26"/>
                      <a:pt x="77" y="26"/>
                      <a:pt x="76" y="25"/>
                    </a:cubicBezTo>
                    <a:cubicBezTo>
                      <a:pt x="76" y="25"/>
                      <a:pt x="76" y="24"/>
                      <a:pt x="76" y="25"/>
                    </a:cubicBezTo>
                    <a:cubicBezTo>
                      <a:pt x="76" y="24"/>
                      <a:pt x="75" y="23"/>
                      <a:pt x="75" y="23"/>
                    </a:cubicBezTo>
                    <a:cubicBezTo>
                      <a:pt x="75" y="22"/>
                      <a:pt x="75" y="22"/>
                      <a:pt x="75" y="21"/>
                    </a:cubicBezTo>
                    <a:cubicBezTo>
                      <a:pt x="75" y="21"/>
                      <a:pt x="74" y="21"/>
                      <a:pt x="74" y="21"/>
                    </a:cubicBezTo>
                    <a:cubicBezTo>
                      <a:pt x="74" y="20"/>
                      <a:pt x="75" y="20"/>
                      <a:pt x="74" y="20"/>
                    </a:cubicBezTo>
                    <a:cubicBezTo>
                      <a:pt x="74" y="19"/>
                      <a:pt x="74" y="19"/>
                      <a:pt x="74" y="19"/>
                    </a:cubicBezTo>
                    <a:cubicBezTo>
                      <a:pt x="74" y="19"/>
                      <a:pt x="74" y="19"/>
                      <a:pt x="74" y="19"/>
                    </a:cubicBezTo>
                    <a:cubicBezTo>
                      <a:pt x="74" y="18"/>
                      <a:pt x="72" y="20"/>
                      <a:pt x="73" y="20"/>
                    </a:cubicBezTo>
                    <a:cubicBezTo>
                      <a:pt x="73" y="21"/>
                      <a:pt x="71" y="22"/>
                      <a:pt x="72" y="24"/>
                    </a:cubicBezTo>
                    <a:cubicBezTo>
                      <a:pt x="73" y="25"/>
                      <a:pt x="74" y="25"/>
                      <a:pt x="75" y="27"/>
                    </a:cubicBezTo>
                    <a:cubicBezTo>
                      <a:pt x="75" y="27"/>
                      <a:pt x="75" y="28"/>
                      <a:pt x="75" y="29"/>
                    </a:cubicBezTo>
                    <a:cubicBezTo>
                      <a:pt x="75" y="29"/>
                      <a:pt x="75" y="29"/>
                      <a:pt x="75" y="29"/>
                    </a:cubicBezTo>
                    <a:cubicBezTo>
                      <a:pt x="75" y="30"/>
                      <a:pt x="75" y="31"/>
                      <a:pt x="76" y="31"/>
                    </a:cubicBezTo>
                    <a:cubicBezTo>
                      <a:pt x="76" y="32"/>
                      <a:pt x="77" y="32"/>
                      <a:pt x="77" y="33"/>
                    </a:cubicBezTo>
                    <a:cubicBezTo>
                      <a:pt x="77" y="33"/>
                      <a:pt x="77" y="34"/>
                      <a:pt x="78" y="34"/>
                    </a:cubicBezTo>
                    <a:cubicBezTo>
                      <a:pt x="79" y="35"/>
                      <a:pt x="79" y="36"/>
                      <a:pt x="80" y="37"/>
                    </a:cubicBezTo>
                    <a:cubicBezTo>
                      <a:pt x="81" y="38"/>
                      <a:pt x="81" y="38"/>
                      <a:pt x="82" y="39"/>
                    </a:cubicBezTo>
                    <a:cubicBezTo>
                      <a:pt x="82" y="39"/>
                      <a:pt x="82" y="40"/>
                      <a:pt x="83" y="40"/>
                    </a:cubicBezTo>
                    <a:cubicBezTo>
                      <a:pt x="84" y="40"/>
                      <a:pt x="84" y="42"/>
                      <a:pt x="85" y="43"/>
                    </a:cubicBezTo>
                    <a:cubicBezTo>
                      <a:pt x="85" y="43"/>
                      <a:pt x="85" y="43"/>
                      <a:pt x="85" y="43"/>
                    </a:cubicBezTo>
                    <a:cubicBezTo>
                      <a:pt x="85" y="43"/>
                      <a:pt x="85" y="43"/>
                      <a:pt x="85" y="43"/>
                    </a:cubicBezTo>
                    <a:cubicBezTo>
                      <a:pt x="84" y="42"/>
                      <a:pt x="83" y="42"/>
                      <a:pt x="84" y="43"/>
                    </a:cubicBezTo>
                    <a:cubicBezTo>
                      <a:pt x="84" y="43"/>
                      <a:pt x="85" y="43"/>
                      <a:pt x="84" y="44"/>
                    </a:cubicBezTo>
                    <a:cubicBezTo>
                      <a:pt x="84" y="44"/>
                      <a:pt x="84" y="44"/>
                      <a:pt x="85" y="44"/>
                    </a:cubicBezTo>
                    <a:cubicBezTo>
                      <a:pt x="85" y="44"/>
                      <a:pt x="85" y="44"/>
                      <a:pt x="85" y="44"/>
                    </a:cubicBezTo>
                    <a:cubicBezTo>
                      <a:pt x="84" y="44"/>
                      <a:pt x="84" y="44"/>
                      <a:pt x="84" y="45"/>
                    </a:cubicBezTo>
                    <a:cubicBezTo>
                      <a:pt x="84" y="45"/>
                      <a:pt x="85" y="45"/>
                      <a:pt x="85" y="46"/>
                    </a:cubicBezTo>
                    <a:cubicBezTo>
                      <a:pt x="85" y="46"/>
                      <a:pt x="85" y="46"/>
                      <a:pt x="86" y="46"/>
                    </a:cubicBezTo>
                    <a:cubicBezTo>
                      <a:pt x="86" y="47"/>
                      <a:pt x="86" y="47"/>
                      <a:pt x="86" y="48"/>
                    </a:cubicBezTo>
                    <a:cubicBezTo>
                      <a:pt x="86" y="48"/>
                      <a:pt x="87" y="48"/>
                      <a:pt x="87" y="49"/>
                    </a:cubicBezTo>
                    <a:cubicBezTo>
                      <a:pt x="87" y="50"/>
                      <a:pt x="88" y="50"/>
                      <a:pt x="88" y="51"/>
                    </a:cubicBezTo>
                    <a:cubicBezTo>
                      <a:pt x="88" y="51"/>
                      <a:pt x="88" y="51"/>
                      <a:pt x="88" y="52"/>
                    </a:cubicBezTo>
                    <a:cubicBezTo>
                      <a:pt x="88" y="52"/>
                      <a:pt x="90" y="53"/>
                      <a:pt x="89" y="53"/>
                    </a:cubicBezTo>
                    <a:cubicBezTo>
                      <a:pt x="88" y="53"/>
                      <a:pt x="89" y="55"/>
                      <a:pt x="89" y="56"/>
                    </a:cubicBezTo>
                    <a:cubicBezTo>
                      <a:pt x="90" y="56"/>
                      <a:pt x="90" y="58"/>
                      <a:pt x="91" y="59"/>
                    </a:cubicBezTo>
                    <a:cubicBezTo>
                      <a:pt x="92" y="60"/>
                      <a:pt x="92" y="61"/>
                      <a:pt x="93" y="63"/>
                    </a:cubicBezTo>
                    <a:cubicBezTo>
                      <a:pt x="94" y="64"/>
                      <a:pt x="95" y="65"/>
                      <a:pt x="95" y="66"/>
                    </a:cubicBezTo>
                    <a:cubicBezTo>
                      <a:pt x="96" y="68"/>
                      <a:pt x="96" y="69"/>
                      <a:pt x="97" y="70"/>
                    </a:cubicBezTo>
                    <a:cubicBezTo>
                      <a:pt x="98" y="71"/>
                      <a:pt x="98" y="72"/>
                      <a:pt x="99" y="73"/>
                    </a:cubicBezTo>
                    <a:cubicBezTo>
                      <a:pt x="99" y="74"/>
                      <a:pt x="100" y="74"/>
                      <a:pt x="100" y="75"/>
                    </a:cubicBezTo>
                    <a:cubicBezTo>
                      <a:pt x="100" y="75"/>
                      <a:pt x="100" y="75"/>
                      <a:pt x="100" y="76"/>
                    </a:cubicBezTo>
                    <a:cubicBezTo>
                      <a:pt x="100" y="77"/>
                      <a:pt x="101" y="77"/>
                      <a:pt x="101" y="78"/>
                    </a:cubicBezTo>
                    <a:cubicBezTo>
                      <a:pt x="101" y="79"/>
                      <a:pt x="101" y="79"/>
                      <a:pt x="102" y="79"/>
                    </a:cubicBezTo>
                    <a:cubicBezTo>
                      <a:pt x="102" y="80"/>
                      <a:pt x="103" y="80"/>
                      <a:pt x="103" y="81"/>
                    </a:cubicBezTo>
                    <a:cubicBezTo>
                      <a:pt x="104" y="82"/>
                      <a:pt x="104" y="83"/>
                      <a:pt x="105" y="83"/>
                    </a:cubicBezTo>
                    <a:cubicBezTo>
                      <a:pt x="104" y="83"/>
                      <a:pt x="106" y="84"/>
                      <a:pt x="106" y="84"/>
                    </a:cubicBezTo>
                    <a:cubicBezTo>
                      <a:pt x="106" y="84"/>
                      <a:pt x="107" y="84"/>
                      <a:pt x="107" y="84"/>
                    </a:cubicBezTo>
                    <a:cubicBezTo>
                      <a:pt x="107" y="85"/>
                      <a:pt x="108" y="85"/>
                      <a:pt x="108" y="86"/>
                    </a:cubicBezTo>
                    <a:cubicBezTo>
                      <a:pt x="107" y="85"/>
                      <a:pt x="106" y="86"/>
                      <a:pt x="105" y="85"/>
                    </a:cubicBezTo>
                    <a:cubicBezTo>
                      <a:pt x="105" y="84"/>
                      <a:pt x="105" y="86"/>
                      <a:pt x="105" y="86"/>
                    </a:cubicBezTo>
                    <a:cubicBezTo>
                      <a:pt x="105" y="86"/>
                      <a:pt x="105" y="87"/>
                      <a:pt x="105" y="87"/>
                    </a:cubicBezTo>
                    <a:cubicBezTo>
                      <a:pt x="105" y="89"/>
                      <a:pt x="105" y="90"/>
                      <a:pt x="105" y="91"/>
                    </a:cubicBezTo>
                    <a:cubicBezTo>
                      <a:pt x="106" y="92"/>
                      <a:pt x="106" y="92"/>
                      <a:pt x="106" y="93"/>
                    </a:cubicBezTo>
                    <a:close/>
                    <a:moveTo>
                      <a:pt x="71" y="12"/>
                    </a:moveTo>
                    <a:cubicBezTo>
                      <a:pt x="71" y="12"/>
                      <a:pt x="71" y="12"/>
                      <a:pt x="71" y="12"/>
                    </a:cubicBezTo>
                    <a:cubicBezTo>
                      <a:pt x="71" y="12"/>
                      <a:pt x="71" y="12"/>
                      <a:pt x="71" y="12"/>
                    </a:cubicBezTo>
                    <a:close/>
                    <a:moveTo>
                      <a:pt x="73" y="16"/>
                    </a:moveTo>
                    <a:cubicBezTo>
                      <a:pt x="73" y="16"/>
                      <a:pt x="73" y="15"/>
                      <a:pt x="73" y="16"/>
                    </a:cubicBezTo>
                    <a:cubicBezTo>
                      <a:pt x="73" y="16"/>
                      <a:pt x="74" y="17"/>
                      <a:pt x="74" y="17"/>
                    </a:cubicBezTo>
                    <a:cubicBezTo>
                      <a:pt x="74" y="16"/>
                      <a:pt x="73" y="16"/>
                      <a:pt x="73" y="16"/>
                    </a:cubicBezTo>
                    <a:cubicBezTo>
                      <a:pt x="72" y="16"/>
                      <a:pt x="73" y="15"/>
                      <a:pt x="72" y="15"/>
                    </a:cubicBezTo>
                    <a:cubicBezTo>
                      <a:pt x="72" y="14"/>
                      <a:pt x="72" y="14"/>
                      <a:pt x="71" y="14"/>
                    </a:cubicBezTo>
                    <a:cubicBezTo>
                      <a:pt x="71" y="14"/>
                      <a:pt x="71" y="15"/>
                      <a:pt x="71" y="15"/>
                    </a:cubicBezTo>
                    <a:cubicBezTo>
                      <a:pt x="71" y="15"/>
                      <a:pt x="72" y="16"/>
                      <a:pt x="73" y="16"/>
                    </a:cubicBezTo>
                    <a:close/>
                    <a:moveTo>
                      <a:pt x="67" y="5"/>
                    </a:moveTo>
                    <a:cubicBezTo>
                      <a:pt x="67" y="5"/>
                      <a:pt x="67" y="5"/>
                      <a:pt x="67" y="5"/>
                    </a:cubicBezTo>
                    <a:cubicBezTo>
                      <a:pt x="67" y="5"/>
                      <a:pt x="67" y="5"/>
                      <a:pt x="67" y="5"/>
                    </a:cubicBezTo>
                    <a:close/>
                    <a:moveTo>
                      <a:pt x="67" y="2"/>
                    </a:moveTo>
                    <a:cubicBezTo>
                      <a:pt x="67" y="2"/>
                      <a:pt x="67" y="2"/>
                      <a:pt x="67" y="2"/>
                    </a:cubicBezTo>
                    <a:cubicBezTo>
                      <a:pt x="67" y="2"/>
                      <a:pt x="67" y="2"/>
                      <a:pt x="67" y="2"/>
                    </a:cubicBezTo>
                    <a:close/>
                    <a:moveTo>
                      <a:pt x="79" y="5"/>
                    </a:moveTo>
                    <a:cubicBezTo>
                      <a:pt x="78" y="5"/>
                      <a:pt x="77" y="5"/>
                      <a:pt x="76" y="6"/>
                    </a:cubicBezTo>
                    <a:cubicBezTo>
                      <a:pt x="78" y="5"/>
                      <a:pt x="78" y="5"/>
                      <a:pt x="79" y="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5" name="Ecuador">
                <a:extLst>
                  <a:ext uri="{FF2B5EF4-FFF2-40B4-BE49-F238E27FC236}">
                    <a16:creationId xmlns:a16="http://schemas.microsoft.com/office/drawing/2014/main" id="{324FB94D-B320-C306-33F4-7FB061B069D3}"/>
                  </a:ext>
                </a:extLst>
              </p:cNvPr>
              <p:cNvSpPr>
                <a:spLocks noEditPoints="1"/>
              </p:cNvSpPr>
              <p:nvPr/>
            </p:nvSpPr>
            <p:spPr bwMode="auto">
              <a:xfrm>
                <a:off x="2542517" y="3987500"/>
                <a:ext cx="566535" cy="254844"/>
              </a:xfrm>
              <a:custGeom>
                <a:avLst/>
                <a:gdLst/>
                <a:ahLst/>
                <a:cxnLst>
                  <a:cxn ang="0">
                    <a:pos x="7" y="23"/>
                  </a:cxn>
                  <a:cxn ang="0">
                    <a:pos x="4" y="15"/>
                  </a:cxn>
                  <a:cxn ang="0">
                    <a:pos x="3" y="18"/>
                  </a:cxn>
                  <a:cxn ang="0">
                    <a:pos x="6" y="23"/>
                  </a:cxn>
                  <a:cxn ang="0">
                    <a:pos x="3" y="27"/>
                  </a:cxn>
                  <a:cxn ang="0">
                    <a:pos x="8" y="26"/>
                  </a:cxn>
                  <a:cxn ang="0">
                    <a:pos x="160" y="25"/>
                  </a:cxn>
                  <a:cxn ang="0">
                    <a:pos x="156" y="18"/>
                  </a:cxn>
                  <a:cxn ang="0">
                    <a:pos x="156" y="16"/>
                  </a:cxn>
                  <a:cxn ang="0">
                    <a:pos x="152" y="13"/>
                  </a:cxn>
                  <a:cxn ang="0">
                    <a:pos x="149" y="12"/>
                  </a:cxn>
                  <a:cxn ang="0">
                    <a:pos x="143" y="13"/>
                  </a:cxn>
                  <a:cxn ang="0">
                    <a:pos x="137" y="8"/>
                  </a:cxn>
                  <a:cxn ang="0">
                    <a:pos x="130" y="3"/>
                  </a:cxn>
                  <a:cxn ang="0">
                    <a:pos x="125" y="0"/>
                  </a:cxn>
                  <a:cxn ang="0">
                    <a:pos x="125" y="2"/>
                  </a:cxn>
                  <a:cxn ang="0">
                    <a:pos x="121" y="4"/>
                  </a:cxn>
                  <a:cxn ang="0">
                    <a:pos x="117" y="6"/>
                  </a:cxn>
                  <a:cxn ang="0">
                    <a:pos x="113" y="7"/>
                  </a:cxn>
                  <a:cxn ang="0">
                    <a:pos x="114" y="13"/>
                  </a:cxn>
                  <a:cxn ang="0">
                    <a:pos x="112" y="18"/>
                  </a:cxn>
                  <a:cxn ang="0">
                    <a:pos x="110" y="23"/>
                  </a:cxn>
                  <a:cxn ang="0">
                    <a:pos x="108" y="26"/>
                  </a:cxn>
                  <a:cxn ang="0">
                    <a:pos x="106" y="34"/>
                  </a:cxn>
                  <a:cxn ang="0">
                    <a:pos x="104" y="40"/>
                  </a:cxn>
                  <a:cxn ang="0">
                    <a:pos x="111" y="45"/>
                  </a:cxn>
                  <a:cxn ang="0">
                    <a:pos x="114" y="43"/>
                  </a:cxn>
                  <a:cxn ang="0">
                    <a:pos x="115" y="44"/>
                  </a:cxn>
                  <a:cxn ang="0">
                    <a:pos x="116" y="42"/>
                  </a:cxn>
                  <a:cxn ang="0">
                    <a:pos x="114" y="52"/>
                  </a:cxn>
                  <a:cxn ang="0">
                    <a:pos x="112" y="54"/>
                  </a:cxn>
                  <a:cxn ang="0">
                    <a:pos x="113" y="58"/>
                  </a:cxn>
                  <a:cxn ang="0">
                    <a:pos x="111" y="62"/>
                  </a:cxn>
                  <a:cxn ang="0">
                    <a:pos x="113" y="63"/>
                  </a:cxn>
                  <a:cxn ang="0">
                    <a:pos x="120" y="67"/>
                  </a:cxn>
                  <a:cxn ang="0">
                    <a:pos x="125" y="70"/>
                  </a:cxn>
                  <a:cxn ang="0">
                    <a:pos x="128" y="64"/>
                  </a:cxn>
                  <a:cxn ang="0">
                    <a:pos x="130" y="58"/>
                  </a:cxn>
                  <a:cxn ang="0">
                    <a:pos x="132" y="54"/>
                  </a:cxn>
                  <a:cxn ang="0">
                    <a:pos x="136" y="49"/>
                  </a:cxn>
                  <a:cxn ang="0">
                    <a:pos x="155" y="36"/>
                  </a:cxn>
                  <a:cxn ang="0">
                    <a:pos x="160" y="25"/>
                  </a:cxn>
                  <a:cxn ang="0">
                    <a:pos x="14" y="24"/>
                  </a:cxn>
                  <a:cxn ang="0">
                    <a:pos x="13" y="22"/>
                  </a:cxn>
                  <a:cxn ang="0">
                    <a:pos x="2" y="22"/>
                  </a:cxn>
                  <a:cxn ang="0">
                    <a:pos x="9" y="10"/>
                  </a:cxn>
                  <a:cxn ang="0">
                    <a:pos x="114" y="46"/>
                  </a:cxn>
                  <a:cxn ang="0">
                    <a:pos x="113" y="47"/>
                  </a:cxn>
                  <a:cxn ang="0">
                    <a:pos x="12" y="30"/>
                  </a:cxn>
                  <a:cxn ang="0">
                    <a:pos x="10" y="18"/>
                  </a:cxn>
                  <a:cxn ang="0">
                    <a:pos x="10" y="18"/>
                  </a:cxn>
                  <a:cxn ang="0">
                    <a:pos x="23" y="26"/>
                  </a:cxn>
                </a:cxnLst>
                <a:rect l="0" t="0" r="r" b="b"/>
                <a:pathLst>
                  <a:path w="160" h="72">
                    <a:moveTo>
                      <a:pt x="12" y="13"/>
                    </a:moveTo>
                    <a:cubicBezTo>
                      <a:pt x="12" y="13"/>
                      <a:pt x="11" y="12"/>
                      <a:pt x="12" y="12"/>
                    </a:cubicBezTo>
                    <a:cubicBezTo>
                      <a:pt x="13" y="12"/>
                      <a:pt x="13" y="13"/>
                      <a:pt x="12" y="13"/>
                    </a:cubicBezTo>
                    <a:close/>
                    <a:moveTo>
                      <a:pt x="7" y="23"/>
                    </a:moveTo>
                    <a:cubicBezTo>
                      <a:pt x="8" y="21"/>
                      <a:pt x="7" y="20"/>
                      <a:pt x="6" y="20"/>
                    </a:cubicBezTo>
                    <a:cubicBezTo>
                      <a:pt x="5" y="19"/>
                      <a:pt x="5" y="19"/>
                      <a:pt x="5" y="18"/>
                    </a:cubicBezTo>
                    <a:cubicBezTo>
                      <a:pt x="5" y="18"/>
                      <a:pt x="5" y="17"/>
                      <a:pt x="5" y="16"/>
                    </a:cubicBezTo>
                    <a:cubicBezTo>
                      <a:pt x="4" y="16"/>
                      <a:pt x="4" y="15"/>
                      <a:pt x="4" y="15"/>
                    </a:cubicBezTo>
                    <a:cubicBezTo>
                      <a:pt x="2" y="15"/>
                      <a:pt x="2" y="16"/>
                      <a:pt x="1" y="16"/>
                    </a:cubicBezTo>
                    <a:cubicBezTo>
                      <a:pt x="1" y="17"/>
                      <a:pt x="2" y="17"/>
                      <a:pt x="2" y="16"/>
                    </a:cubicBezTo>
                    <a:cubicBezTo>
                      <a:pt x="3" y="16"/>
                      <a:pt x="3" y="17"/>
                      <a:pt x="3" y="17"/>
                    </a:cubicBezTo>
                    <a:cubicBezTo>
                      <a:pt x="3" y="18"/>
                      <a:pt x="3" y="18"/>
                      <a:pt x="3" y="18"/>
                    </a:cubicBezTo>
                    <a:cubicBezTo>
                      <a:pt x="3" y="18"/>
                      <a:pt x="3" y="19"/>
                      <a:pt x="3" y="19"/>
                    </a:cubicBezTo>
                    <a:cubicBezTo>
                      <a:pt x="3" y="19"/>
                      <a:pt x="4" y="20"/>
                      <a:pt x="4" y="20"/>
                    </a:cubicBezTo>
                    <a:cubicBezTo>
                      <a:pt x="5" y="21"/>
                      <a:pt x="5" y="21"/>
                      <a:pt x="5" y="22"/>
                    </a:cubicBezTo>
                    <a:cubicBezTo>
                      <a:pt x="6" y="22"/>
                      <a:pt x="6" y="23"/>
                      <a:pt x="6" y="23"/>
                    </a:cubicBezTo>
                    <a:cubicBezTo>
                      <a:pt x="5" y="24"/>
                      <a:pt x="5" y="23"/>
                      <a:pt x="4" y="24"/>
                    </a:cubicBezTo>
                    <a:cubicBezTo>
                      <a:pt x="4" y="24"/>
                      <a:pt x="4" y="24"/>
                      <a:pt x="3" y="24"/>
                    </a:cubicBezTo>
                    <a:cubicBezTo>
                      <a:pt x="3" y="25"/>
                      <a:pt x="2" y="26"/>
                      <a:pt x="2" y="26"/>
                    </a:cubicBezTo>
                    <a:cubicBezTo>
                      <a:pt x="2" y="26"/>
                      <a:pt x="3" y="27"/>
                      <a:pt x="3" y="27"/>
                    </a:cubicBezTo>
                    <a:cubicBezTo>
                      <a:pt x="3" y="28"/>
                      <a:pt x="5" y="28"/>
                      <a:pt x="5" y="28"/>
                    </a:cubicBezTo>
                    <a:cubicBezTo>
                      <a:pt x="6" y="28"/>
                      <a:pt x="6" y="27"/>
                      <a:pt x="7" y="27"/>
                    </a:cubicBezTo>
                    <a:cubicBezTo>
                      <a:pt x="7" y="27"/>
                      <a:pt x="7" y="27"/>
                      <a:pt x="7" y="27"/>
                    </a:cubicBezTo>
                    <a:cubicBezTo>
                      <a:pt x="8" y="27"/>
                      <a:pt x="8" y="26"/>
                      <a:pt x="8" y="26"/>
                    </a:cubicBezTo>
                    <a:cubicBezTo>
                      <a:pt x="8" y="25"/>
                      <a:pt x="9" y="24"/>
                      <a:pt x="9" y="24"/>
                    </a:cubicBezTo>
                    <a:cubicBezTo>
                      <a:pt x="9" y="24"/>
                      <a:pt x="8" y="23"/>
                      <a:pt x="8" y="23"/>
                    </a:cubicBezTo>
                    <a:cubicBezTo>
                      <a:pt x="8" y="23"/>
                      <a:pt x="7" y="23"/>
                      <a:pt x="7" y="23"/>
                    </a:cubicBezTo>
                    <a:close/>
                    <a:moveTo>
                      <a:pt x="160" y="25"/>
                    </a:moveTo>
                    <a:cubicBezTo>
                      <a:pt x="160" y="24"/>
                      <a:pt x="160" y="24"/>
                      <a:pt x="160" y="23"/>
                    </a:cubicBezTo>
                    <a:cubicBezTo>
                      <a:pt x="160" y="22"/>
                      <a:pt x="159" y="22"/>
                      <a:pt x="159" y="21"/>
                    </a:cubicBezTo>
                    <a:cubicBezTo>
                      <a:pt x="158" y="20"/>
                      <a:pt x="158" y="20"/>
                      <a:pt x="158" y="19"/>
                    </a:cubicBezTo>
                    <a:cubicBezTo>
                      <a:pt x="157" y="18"/>
                      <a:pt x="157" y="19"/>
                      <a:pt x="156" y="18"/>
                    </a:cubicBezTo>
                    <a:cubicBezTo>
                      <a:pt x="156" y="17"/>
                      <a:pt x="157" y="18"/>
                      <a:pt x="157" y="18"/>
                    </a:cubicBezTo>
                    <a:cubicBezTo>
                      <a:pt x="158" y="18"/>
                      <a:pt x="159" y="18"/>
                      <a:pt x="160" y="18"/>
                    </a:cubicBezTo>
                    <a:cubicBezTo>
                      <a:pt x="159" y="17"/>
                      <a:pt x="158" y="17"/>
                      <a:pt x="157" y="16"/>
                    </a:cubicBezTo>
                    <a:cubicBezTo>
                      <a:pt x="156" y="16"/>
                      <a:pt x="156" y="16"/>
                      <a:pt x="156" y="16"/>
                    </a:cubicBezTo>
                    <a:cubicBezTo>
                      <a:pt x="155" y="16"/>
                      <a:pt x="155" y="16"/>
                      <a:pt x="154" y="15"/>
                    </a:cubicBezTo>
                    <a:cubicBezTo>
                      <a:pt x="154" y="15"/>
                      <a:pt x="153" y="14"/>
                      <a:pt x="153" y="14"/>
                    </a:cubicBezTo>
                    <a:cubicBezTo>
                      <a:pt x="153" y="14"/>
                      <a:pt x="153" y="13"/>
                      <a:pt x="152" y="13"/>
                    </a:cubicBezTo>
                    <a:cubicBezTo>
                      <a:pt x="152" y="13"/>
                      <a:pt x="152" y="13"/>
                      <a:pt x="152" y="13"/>
                    </a:cubicBezTo>
                    <a:cubicBezTo>
                      <a:pt x="152" y="12"/>
                      <a:pt x="152" y="12"/>
                      <a:pt x="151" y="12"/>
                    </a:cubicBezTo>
                    <a:cubicBezTo>
                      <a:pt x="151" y="12"/>
                      <a:pt x="151" y="12"/>
                      <a:pt x="150" y="12"/>
                    </a:cubicBezTo>
                    <a:cubicBezTo>
                      <a:pt x="150" y="12"/>
                      <a:pt x="150" y="12"/>
                      <a:pt x="149" y="12"/>
                    </a:cubicBezTo>
                    <a:cubicBezTo>
                      <a:pt x="149" y="12"/>
                      <a:pt x="149" y="12"/>
                      <a:pt x="149" y="12"/>
                    </a:cubicBezTo>
                    <a:cubicBezTo>
                      <a:pt x="149" y="13"/>
                      <a:pt x="149" y="13"/>
                      <a:pt x="148" y="13"/>
                    </a:cubicBezTo>
                    <a:cubicBezTo>
                      <a:pt x="148" y="14"/>
                      <a:pt x="148" y="14"/>
                      <a:pt x="147" y="14"/>
                    </a:cubicBezTo>
                    <a:cubicBezTo>
                      <a:pt x="147" y="14"/>
                      <a:pt x="146" y="13"/>
                      <a:pt x="145" y="14"/>
                    </a:cubicBezTo>
                    <a:cubicBezTo>
                      <a:pt x="145" y="14"/>
                      <a:pt x="144" y="13"/>
                      <a:pt x="143" y="13"/>
                    </a:cubicBezTo>
                    <a:cubicBezTo>
                      <a:pt x="143" y="13"/>
                      <a:pt x="142" y="12"/>
                      <a:pt x="142" y="12"/>
                    </a:cubicBezTo>
                    <a:cubicBezTo>
                      <a:pt x="141" y="12"/>
                      <a:pt x="141" y="13"/>
                      <a:pt x="140" y="12"/>
                    </a:cubicBezTo>
                    <a:cubicBezTo>
                      <a:pt x="139" y="12"/>
                      <a:pt x="138" y="11"/>
                      <a:pt x="139" y="10"/>
                    </a:cubicBezTo>
                    <a:cubicBezTo>
                      <a:pt x="139" y="9"/>
                      <a:pt x="137" y="9"/>
                      <a:pt x="137" y="8"/>
                    </a:cubicBezTo>
                    <a:cubicBezTo>
                      <a:pt x="136" y="8"/>
                      <a:pt x="137" y="7"/>
                      <a:pt x="136" y="7"/>
                    </a:cubicBezTo>
                    <a:cubicBezTo>
                      <a:pt x="134" y="8"/>
                      <a:pt x="134" y="7"/>
                      <a:pt x="133" y="6"/>
                    </a:cubicBezTo>
                    <a:cubicBezTo>
                      <a:pt x="133" y="6"/>
                      <a:pt x="130" y="5"/>
                      <a:pt x="131" y="5"/>
                    </a:cubicBezTo>
                    <a:cubicBezTo>
                      <a:pt x="131" y="4"/>
                      <a:pt x="131" y="3"/>
                      <a:pt x="130" y="3"/>
                    </a:cubicBezTo>
                    <a:cubicBezTo>
                      <a:pt x="130" y="3"/>
                      <a:pt x="129" y="4"/>
                      <a:pt x="129" y="3"/>
                    </a:cubicBezTo>
                    <a:cubicBezTo>
                      <a:pt x="128" y="4"/>
                      <a:pt x="128" y="3"/>
                      <a:pt x="127" y="2"/>
                    </a:cubicBezTo>
                    <a:cubicBezTo>
                      <a:pt x="127" y="2"/>
                      <a:pt x="127" y="2"/>
                      <a:pt x="126" y="2"/>
                    </a:cubicBezTo>
                    <a:cubicBezTo>
                      <a:pt x="126" y="1"/>
                      <a:pt x="126" y="1"/>
                      <a:pt x="125" y="0"/>
                    </a:cubicBezTo>
                    <a:cubicBezTo>
                      <a:pt x="125" y="1"/>
                      <a:pt x="125" y="1"/>
                      <a:pt x="125" y="1"/>
                    </a:cubicBezTo>
                    <a:cubicBezTo>
                      <a:pt x="125" y="1"/>
                      <a:pt x="125" y="1"/>
                      <a:pt x="125" y="2"/>
                    </a:cubicBezTo>
                    <a:cubicBezTo>
                      <a:pt x="125" y="2"/>
                      <a:pt x="125" y="2"/>
                      <a:pt x="125" y="2"/>
                    </a:cubicBezTo>
                    <a:cubicBezTo>
                      <a:pt x="125" y="2"/>
                      <a:pt x="125" y="2"/>
                      <a:pt x="125" y="2"/>
                    </a:cubicBezTo>
                    <a:cubicBezTo>
                      <a:pt x="125" y="2"/>
                      <a:pt x="125" y="3"/>
                      <a:pt x="124" y="3"/>
                    </a:cubicBezTo>
                    <a:cubicBezTo>
                      <a:pt x="124" y="3"/>
                      <a:pt x="124" y="4"/>
                      <a:pt x="124" y="4"/>
                    </a:cubicBezTo>
                    <a:cubicBezTo>
                      <a:pt x="124" y="4"/>
                      <a:pt x="124" y="2"/>
                      <a:pt x="123" y="3"/>
                    </a:cubicBezTo>
                    <a:cubicBezTo>
                      <a:pt x="122" y="4"/>
                      <a:pt x="122" y="4"/>
                      <a:pt x="121" y="4"/>
                    </a:cubicBezTo>
                    <a:cubicBezTo>
                      <a:pt x="120" y="4"/>
                      <a:pt x="119" y="5"/>
                      <a:pt x="118" y="5"/>
                    </a:cubicBezTo>
                    <a:cubicBezTo>
                      <a:pt x="117" y="6"/>
                      <a:pt x="118" y="6"/>
                      <a:pt x="117" y="7"/>
                    </a:cubicBezTo>
                    <a:cubicBezTo>
                      <a:pt x="117" y="7"/>
                      <a:pt x="117" y="7"/>
                      <a:pt x="117" y="6"/>
                    </a:cubicBezTo>
                    <a:cubicBezTo>
                      <a:pt x="117" y="6"/>
                      <a:pt x="117" y="6"/>
                      <a:pt x="117" y="6"/>
                    </a:cubicBezTo>
                    <a:cubicBezTo>
                      <a:pt x="117" y="5"/>
                      <a:pt x="116" y="6"/>
                      <a:pt x="116" y="6"/>
                    </a:cubicBezTo>
                    <a:cubicBezTo>
                      <a:pt x="116" y="6"/>
                      <a:pt x="115" y="7"/>
                      <a:pt x="115" y="7"/>
                    </a:cubicBezTo>
                    <a:cubicBezTo>
                      <a:pt x="114" y="7"/>
                      <a:pt x="114" y="7"/>
                      <a:pt x="114" y="7"/>
                    </a:cubicBezTo>
                    <a:cubicBezTo>
                      <a:pt x="114" y="7"/>
                      <a:pt x="113" y="7"/>
                      <a:pt x="113" y="7"/>
                    </a:cubicBezTo>
                    <a:cubicBezTo>
                      <a:pt x="113" y="8"/>
                      <a:pt x="112" y="8"/>
                      <a:pt x="113" y="9"/>
                    </a:cubicBezTo>
                    <a:cubicBezTo>
                      <a:pt x="113" y="9"/>
                      <a:pt x="114" y="9"/>
                      <a:pt x="114" y="10"/>
                    </a:cubicBezTo>
                    <a:cubicBezTo>
                      <a:pt x="114" y="10"/>
                      <a:pt x="113" y="11"/>
                      <a:pt x="113" y="11"/>
                    </a:cubicBezTo>
                    <a:cubicBezTo>
                      <a:pt x="114" y="12"/>
                      <a:pt x="114" y="12"/>
                      <a:pt x="114" y="13"/>
                    </a:cubicBezTo>
                    <a:cubicBezTo>
                      <a:pt x="114" y="13"/>
                      <a:pt x="113" y="12"/>
                      <a:pt x="113" y="12"/>
                    </a:cubicBezTo>
                    <a:cubicBezTo>
                      <a:pt x="113" y="13"/>
                      <a:pt x="113" y="14"/>
                      <a:pt x="113" y="14"/>
                    </a:cubicBezTo>
                    <a:cubicBezTo>
                      <a:pt x="113" y="15"/>
                      <a:pt x="113" y="15"/>
                      <a:pt x="113" y="16"/>
                    </a:cubicBezTo>
                    <a:cubicBezTo>
                      <a:pt x="112" y="17"/>
                      <a:pt x="112" y="17"/>
                      <a:pt x="112" y="18"/>
                    </a:cubicBezTo>
                    <a:cubicBezTo>
                      <a:pt x="111" y="18"/>
                      <a:pt x="111" y="18"/>
                      <a:pt x="110" y="18"/>
                    </a:cubicBezTo>
                    <a:cubicBezTo>
                      <a:pt x="110" y="19"/>
                      <a:pt x="110" y="19"/>
                      <a:pt x="109" y="20"/>
                    </a:cubicBezTo>
                    <a:cubicBezTo>
                      <a:pt x="109" y="20"/>
                      <a:pt x="109" y="21"/>
                      <a:pt x="109" y="21"/>
                    </a:cubicBezTo>
                    <a:cubicBezTo>
                      <a:pt x="109" y="22"/>
                      <a:pt x="110" y="22"/>
                      <a:pt x="110" y="23"/>
                    </a:cubicBezTo>
                    <a:cubicBezTo>
                      <a:pt x="110" y="23"/>
                      <a:pt x="111" y="23"/>
                      <a:pt x="111" y="23"/>
                    </a:cubicBezTo>
                    <a:cubicBezTo>
                      <a:pt x="111" y="23"/>
                      <a:pt x="110" y="23"/>
                      <a:pt x="110" y="23"/>
                    </a:cubicBezTo>
                    <a:cubicBezTo>
                      <a:pt x="109" y="23"/>
                      <a:pt x="109" y="24"/>
                      <a:pt x="109" y="25"/>
                    </a:cubicBezTo>
                    <a:cubicBezTo>
                      <a:pt x="109" y="25"/>
                      <a:pt x="109" y="25"/>
                      <a:pt x="108" y="26"/>
                    </a:cubicBezTo>
                    <a:cubicBezTo>
                      <a:pt x="108" y="27"/>
                      <a:pt x="107" y="26"/>
                      <a:pt x="106" y="26"/>
                    </a:cubicBezTo>
                    <a:cubicBezTo>
                      <a:pt x="105" y="27"/>
                      <a:pt x="105" y="28"/>
                      <a:pt x="105" y="29"/>
                    </a:cubicBezTo>
                    <a:cubicBezTo>
                      <a:pt x="106" y="30"/>
                      <a:pt x="107" y="30"/>
                      <a:pt x="106" y="31"/>
                    </a:cubicBezTo>
                    <a:cubicBezTo>
                      <a:pt x="106" y="33"/>
                      <a:pt x="105" y="33"/>
                      <a:pt x="106" y="34"/>
                    </a:cubicBezTo>
                    <a:cubicBezTo>
                      <a:pt x="106" y="35"/>
                      <a:pt x="107" y="37"/>
                      <a:pt x="107" y="38"/>
                    </a:cubicBezTo>
                    <a:cubicBezTo>
                      <a:pt x="107" y="39"/>
                      <a:pt x="107" y="39"/>
                      <a:pt x="106" y="40"/>
                    </a:cubicBezTo>
                    <a:cubicBezTo>
                      <a:pt x="106" y="40"/>
                      <a:pt x="105" y="41"/>
                      <a:pt x="105" y="40"/>
                    </a:cubicBezTo>
                    <a:cubicBezTo>
                      <a:pt x="105" y="40"/>
                      <a:pt x="104" y="40"/>
                      <a:pt x="104" y="40"/>
                    </a:cubicBezTo>
                    <a:cubicBezTo>
                      <a:pt x="104" y="40"/>
                      <a:pt x="106" y="42"/>
                      <a:pt x="106" y="42"/>
                    </a:cubicBezTo>
                    <a:cubicBezTo>
                      <a:pt x="108" y="43"/>
                      <a:pt x="108" y="43"/>
                      <a:pt x="109" y="44"/>
                    </a:cubicBezTo>
                    <a:cubicBezTo>
                      <a:pt x="110" y="45"/>
                      <a:pt x="110" y="46"/>
                      <a:pt x="111" y="46"/>
                    </a:cubicBezTo>
                    <a:cubicBezTo>
                      <a:pt x="112" y="47"/>
                      <a:pt x="111" y="45"/>
                      <a:pt x="111" y="45"/>
                    </a:cubicBezTo>
                    <a:cubicBezTo>
                      <a:pt x="111" y="45"/>
                      <a:pt x="112" y="45"/>
                      <a:pt x="112" y="45"/>
                    </a:cubicBezTo>
                    <a:cubicBezTo>
                      <a:pt x="113" y="44"/>
                      <a:pt x="113" y="44"/>
                      <a:pt x="113" y="44"/>
                    </a:cubicBezTo>
                    <a:cubicBezTo>
                      <a:pt x="114" y="43"/>
                      <a:pt x="114" y="42"/>
                      <a:pt x="114" y="42"/>
                    </a:cubicBezTo>
                    <a:cubicBezTo>
                      <a:pt x="114" y="42"/>
                      <a:pt x="113" y="43"/>
                      <a:pt x="114" y="43"/>
                    </a:cubicBezTo>
                    <a:cubicBezTo>
                      <a:pt x="114" y="43"/>
                      <a:pt x="115" y="43"/>
                      <a:pt x="115" y="44"/>
                    </a:cubicBezTo>
                    <a:cubicBezTo>
                      <a:pt x="115" y="44"/>
                      <a:pt x="114" y="43"/>
                      <a:pt x="114" y="44"/>
                    </a:cubicBezTo>
                    <a:cubicBezTo>
                      <a:pt x="114" y="44"/>
                      <a:pt x="114" y="44"/>
                      <a:pt x="114" y="45"/>
                    </a:cubicBezTo>
                    <a:cubicBezTo>
                      <a:pt x="114" y="45"/>
                      <a:pt x="115" y="44"/>
                      <a:pt x="115" y="44"/>
                    </a:cubicBezTo>
                    <a:cubicBezTo>
                      <a:pt x="115" y="43"/>
                      <a:pt x="116" y="42"/>
                      <a:pt x="115" y="41"/>
                    </a:cubicBezTo>
                    <a:cubicBezTo>
                      <a:pt x="115" y="40"/>
                      <a:pt x="115" y="39"/>
                      <a:pt x="116" y="38"/>
                    </a:cubicBezTo>
                    <a:cubicBezTo>
                      <a:pt x="116" y="39"/>
                      <a:pt x="116" y="39"/>
                      <a:pt x="115" y="40"/>
                    </a:cubicBezTo>
                    <a:cubicBezTo>
                      <a:pt x="115" y="40"/>
                      <a:pt x="115" y="41"/>
                      <a:pt x="116" y="42"/>
                    </a:cubicBezTo>
                    <a:cubicBezTo>
                      <a:pt x="116" y="42"/>
                      <a:pt x="116" y="43"/>
                      <a:pt x="116" y="43"/>
                    </a:cubicBezTo>
                    <a:cubicBezTo>
                      <a:pt x="117" y="44"/>
                      <a:pt x="117" y="44"/>
                      <a:pt x="117" y="45"/>
                    </a:cubicBezTo>
                    <a:cubicBezTo>
                      <a:pt x="116" y="46"/>
                      <a:pt x="116" y="47"/>
                      <a:pt x="116" y="49"/>
                    </a:cubicBezTo>
                    <a:cubicBezTo>
                      <a:pt x="115" y="50"/>
                      <a:pt x="115" y="51"/>
                      <a:pt x="114" y="52"/>
                    </a:cubicBezTo>
                    <a:cubicBezTo>
                      <a:pt x="114" y="51"/>
                      <a:pt x="113" y="53"/>
                      <a:pt x="113" y="53"/>
                    </a:cubicBezTo>
                    <a:cubicBezTo>
                      <a:pt x="113" y="53"/>
                      <a:pt x="111" y="53"/>
                      <a:pt x="111" y="53"/>
                    </a:cubicBezTo>
                    <a:cubicBezTo>
                      <a:pt x="111" y="52"/>
                      <a:pt x="111" y="53"/>
                      <a:pt x="111" y="53"/>
                    </a:cubicBezTo>
                    <a:cubicBezTo>
                      <a:pt x="111" y="54"/>
                      <a:pt x="112" y="54"/>
                      <a:pt x="112" y="54"/>
                    </a:cubicBezTo>
                    <a:cubicBezTo>
                      <a:pt x="112" y="54"/>
                      <a:pt x="112" y="54"/>
                      <a:pt x="112" y="55"/>
                    </a:cubicBezTo>
                    <a:cubicBezTo>
                      <a:pt x="112" y="55"/>
                      <a:pt x="112" y="55"/>
                      <a:pt x="112" y="56"/>
                    </a:cubicBezTo>
                    <a:cubicBezTo>
                      <a:pt x="113" y="56"/>
                      <a:pt x="112" y="57"/>
                      <a:pt x="112" y="57"/>
                    </a:cubicBezTo>
                    <a:cubicBezTo>
                      <a:pt x="112" y="57"/>
                      <a:pt x="113" y="58"/>
                      <a:pt x="113" y="58"/>
                    </a:cubicBezTo>
                    <a:cubicBezTo>
                      <a:pt x="113" y="59"/>
                      <a:pt x="113" y="59"/>
                      <a:pt x="113" y="59"/>
                    </a:cubicBezTo>
                    <a:cubicBezTo>
                      <a:pt x="112" y="60"/>
                      <a:pt x="112" y="60"/>
                      <a:pt x="111" y="60"/>
                    </a:cubicBezTo>
                    <a:cubicBezTo>
                      <a:pt x="110" y="60"/>
                      <a:pt x="110" y="60"/>
                      <a:pt x="110" y="61"/>
                    </a:cubicBezTo>
                    <a:cubicBezTo>
                      <a:pt x="110" y="62"/>
                      <a:pt x="110" y="63"/>
                      <a:pt x="111" y="62"/>
                    </a:cubicBezTo>
                    <a:cubicBezTo>
                      <a:pt x="111" y="62"/>
                      <a:pt x="111" y="63"/>
                      <a:pt x="111" y="63"/>
                    </a:cubicBezTo>
                    <a:cubicBezTo>
                      <a:pt x="111" y="63"/>
                      <a:pt x="110" y="64"/>
                      <a:pt x="110" y="64"/>
                    </a:cubicBezTo>
                    <a:cubicBezTo>
                      <a:pt x="110" y="65"/>
                      <a:pt x="111" y="66"/>
                      <a:pt x="112" y="65"/>
                    </a:cubicBezTo>
                    <a:cubicBezTo>
                      <a:pt x="112" y="65"/>
                      <a:pt x="113" y="64"/>
                      <a:pt x="113" y="63"/>
                    </a:cubicBezTo>
                    <a:cubicBezTo>
                      <a:pt x="114" y="63"/>
                      <a:pt x="114" y="64"/>
                      <a:pt x="115" y="64"/>
                    </a:cubicBezTo>
                    <a:cubicBezTo>
                      <a:pt x="116" y="65"/>
                      <a:pt x="116" y="65"/>
                      <a:pt x="117" y="66"/>
                    </a:cubicBezTo>
                    <a:cubicBezTo>
                      <a:pt x="117" y="66"/>
                      <a:pt x="118" y="64"/>
                      <a:pt x="119" y="65"/>
                    </a:cubicBezTo>
                    <a:cubicBezTo>
                      <a:pt x="119" y="65"/>
                      <a:pt x="120" y="66"/>
                      <a:pt x="120" y="67"/>
                    </a:cubicBezTo>
                    <a:cubicBezTo>
                      <a:pt x="119" y="67"/>
                      <a:pt x="120" y="68"/>
                      <a:pt x="120" y="69"/>
                    </a:cubicBezTo>
                    <a:cubicBezTo>
                      <a:pt x="121" y="69"/>
                      <a:pt x="121" y="70"/>
                      <a:pt x="122" y="70"/>
                    </a:cubicBezTo>
                    <a:cubicBezTo>
                      <a:pt x="122" y="71"/>
                      <a:pt x="123" y="71"/>
                      <a:pt x="123" y="71"/>
                    </a:cubicBezTo>
                    <a:cubicBezTo>
                      <a:pt x="125" y="72"/>
                      <a:pt x="124" y="70"/>
                      <a:pt x="125" y="70"/>
                    </a:cubicBezTo>
                    <a:cubicBezTo>
                      <a:pt x="126" y="69"/>
                      <a:pt x="125" y="69"/>
                      <a:pt x="125" y="68"/>
                    </a:cubicBezTo>
                    <a:cubicBezTo>
                      <a:pt x="126" y="68"/>
                      <a:pt x="126" y="67"/>
                      <a:pt x="127" y="67"/>
                    </a:cubicBezTo>
                    <a:cubicBezTo>
                      <a:pt x="127" y="67"/>
                      <a:pt x="128" y="66"/>
                      <a:pt x="128" y="66"/>
                    </a:cubicBezTo>
                    <a:cubicBezTo>
                      <a:pt x="128" y="65"/>
                      <a:pt x="128" y="65"/>
                      <a:pt x="128" y="64"/>
                    </a:cubicBezTo>
                    <a:cubicBezTo>
                      <a:pt x="127" y="64"/>
                      <a:pt x="128" y="63"/>
                      <a:pt x="128" y="62"/>
                    </a:cubicBezTo>
                    <a:cubicBezTo>
                      <a:pt x="128" y="62"/>
                      <a:pt x="128" y="60"/>
                      <a:pt x="129" y="60"/>
                    </a:cubicBezTo>
                    <a:cubicBezTo>
                      <a:pt x="130" y="60"/>
                      <a:pt x="129" y="59"/>
                      <a:pt x="129" y="58"/>
                    </a:cubicBezTo>
                    <a:cubicBezTo>
                      <a:pt x="130" y="58"/>
                      <a:pt x="130" y="58"/>
                      <a:pt x="130" y="58"/>
                    </a:cubicBezTo>
                    <a:cubicBezTo>
                      <a:pt x="130" y="58"/>
                      <a:pt x="130" y="57"/>
                      <a:pt x="130" y="57"/>
                    </a:cubicBezTo>
                    <a:cubicBezTo>
                      <a:pt x="130" y="57"/>
                      <a:pt x="130" y="53"/>
                      <a:pt x="131" y="53"/>
                    </a:cubicBezTo>
                    <a:cubicBezTo>
                      <a:pt x="131" y="54"/>
                      <a:pt x="131" y="54"/>
                      <a:pt x="132" y="54"/>
                    </a:cubicBezTo>
                    <a:cubicBezTo>
                      <a:pt x="132" y="55"/>
                      <a:pt x="132" y="55"/>
                      <a:pt x="132" y="54"/>
                    </a:cubicBezTo>
                    <a:cubicBezTo>
                      <a:pt x="133" y="54"/>
                      <a:pt x="132" y="54"/>
                      <a:pt x="132" y="53"/>
                    </a:cubicBezTo>
                    <a:cubicBezTo>
                      <a:pt x="132" y="52"/>
                      <a:pt x="133" y="52"/>
                      <a:pt x="133" y="51"/>
                    </a:cubicBezTo>
                    <a:cubicBezTo>
                      <a:pt x="134" y="51"/>
                      <a:pt x="134" y="50"/>
                      <a:pt x="134" y="50"/>
                    </a:cubicBezTo>
                    <a:cubicBezTo>
                      <a:pt x="135" y="49"/>
                      <a:pt x="136" y="49"/>
                      <a:pt x="136" y="49"/>
                    </a:cubicBezTo>
                    <a:cubicBezTo>
                      <a:pt x="138" y="48"/>
                      <a:pt x="140" y="47"/>
                      <a:pt x="142" y="46"/>
                    </a:cubicBezTo>
                    <a:cubicBezTo>
                      <a:pt x="144" y="46"/>
                      <a:pt x="146" y="45"/>
                      <a:pt x="147" y="44"/>
                    </a:cubicBezTo>
                    <a:cubicBezTo>
                      <a:pt x="149" y="43"/>
                      <a:pt x="151" y="41"/>
                      <a:pt x="152" y="40"/>
                    </a:cubicBezTo>
                    <a:cubicBezTo>
                      <a:pt x="153" y="39"/>
                      <a:pt x="154" y="37"/>
                      <a:pt x="155" y="36"/>
                    </a:cubicBezTo>
                    <a:cubicBezTo>
                      <a:pt x="156" y="35"/>
                      <a:pt x="157" y="34"/>
                      <a:pt x="157" y="32"/>
                    </a:cubicBezTo>
                    <a:cubicBezTo>
                      <a:pt x="158" y="30"/>
                      <a:pt x="158" y="28"/>
                      <a:pt x="158" y="26"/>
                    </a:cubicBezTo>
                    <a:cubicBezTo>
                      <a:pt x="159" y="27"/>
                      <a:pt x="160" y="28"/>
                      <a:pt x="160" y="27"/>
                    </a:cubicBezTo>
                    <a:cubicBezTo>
                      <a:pt x="160" y="26"/>
                      <a:pt x="160" y="25"/>
                      <a:pt x="160" y="25"/>
                    </a:cubicBezTo>
                    <a:close/>
                    <a:moveTo>
                      <a:pt x="13" y="22"/>
                    </a:moveTo>
                    <a:cubicBezTo>
                      <a:pt x="13" y="22"/>
                      <a:pt x="11" y="22"/>
                      <a:pt x="12" y="24"/>
                    </a:cubicBezTo>
                    <a:cubicBezTo>
                      <a:pt x="12" y="24"/>
                      <a:pt x="13" y="25"/>
                      <a:pt x="13" y="25"/>
                    </a:cubicBezTo>
                    <a:cubicBezTo>
                      <a:pt x="14" y="25"/>
                      <a:pt x="14" y="25"/>
                      <a:pt x="14" y="24"/>
                    </a:cubicBezTo>
                    <a:cubicBezTo>
                      <a:pt x="14" y="24"/>
                      <a:pt x="14" y="24"/>
                      <a:pt x="15" y="24"/>
                    </a:cubicBezTo>
                    <a:cubicBezTo>
                      <a:pt x="15" y="24"/>
                      <a:pt x="15" y="24"/>
                      <a:pt x="15" y="24"/>
                    </a:cubicBezTo>
                    <a:cubicBezTo>
                      <a:pt x="15" y="23"/>
                      <a:pt x="15" y="23"/>
                      <a:pt x="15" y="23"/>
                    </a:cubicBezTo>
                    <a:cubicBezTo>
                      <a:pt x="15" y="22"/>
                      <a:pt x="14" y="22"/>
                      <a:pt x="13" y="22"/>
                    </a:cubicBezTo>
                    <a:close/>
                    <a:moveTo>
                      <a:pt x="3" y="20"/>
                    </a:moveTo>
                    <a:cubicBezTo>
                      <a:pt x="3" y="19"/>
                      <a:pt x="2" y="19"/>
                      <a:pt x="1" y="19"/>
                    </a:cubicBezTo>
                    <a:cubicBezTo>
                      <a:pt x="1" y="20"/>
                      <a:pt x="0" y="20"/>
                      <a:pt x="1" y="20"/>
                    </a:cubicBezTo>
                    <a:cubicBezTo>
                      <a:pt x="1" y="21"/>
                      <a:pt x="1" y="21"/>
                      <a:pt x="2" y="22"/>
                    </a:cubicBezTo>
                    <a:cubicBezTo>
                      <a:pt x="3" y="21"/>
                      <a:pt x="3" y="21"/>
                      <a:pt x="3" y="20"/>
                    </a:cubicBezTo>
                    <a:close/>
                    <a:moveTo>
                      <a:pt x="9" y="10"/>
                    </a:moveTo>
                    <a:cubicBezTo>
                      <a:pt x="10" y="10"/>
                      <a:pt x="9" y="9"/>
                      <a:pt x="9" y="9"/>
                    </a:cubicBezTo>
                    <a:cubicBezTo>
                      <a:pt x="9" y="9"/>
                      <a:pt x="9" y="10"/>
                      <a:pt x="9" y="10"/>
                    </a:cubicBezTo>
                    <a:close/>
                    <a:moveTo>
                      <a:pt x="114" y="48"/>
                    </a:moveTo>
                    <a:cubicBezTo>
                      <a:pt x="114" y="47"/>
                      <a:pt x="114" y="47"/>
                      <a:pt x="114" y="47"/>
                    </a:cubicBezTo>
                    <a:cubicBezTo>
                      <a:pt x="115" y="47"/>
                      <a:pt x="115" y="47"/>
                      <a:pt x="115" y="46"/>
                    </a:cubicBezTo>
                    <a:cubicBezTo>
                      <a:pt x="115" y="46"/>
                      <a:pt x="114" y="46"/>
                      <a:pt x="114" y="46"/>
                    </a:cubicBezTo>
                    <a:cubicBezTo>
                      <a:pt x="113" y="45"/>
                      <a:pt x="112" y="47"/>
                      <a:pt x="112" y="48"/>
                    </a:cubicBezTo>
                    <a:cubicBezTo>
                      <a:pt x="112" y="49"/>
                      <a:pt x="111" y="50"/>
                      <a:pt x="112" y="50"/>
                    </a:cubicBezTo>
                    <a:cubicBezTo>
                      <a:pt x="113" y="50"/>
                      <a:pt x="113" y="49"/>
                      <a:pt x="113" y="49"/>
                    </a:cubicBezTo>
                    <a:cubicBezTo>
                      <a:pt x="113" y="48"/>
                      <a:pt x="113" y="48"/>
                      <a:pt x="113" y="47"/>
                    </a:cubicBezTo>
                    <a:cubicBezTo>
                      <a:pt x="113" y="47"/>
                      <a:pt x="114" y="48"/>
                      <a:pt x="114" y="48"/>
                    </a:cubicBezTo>
                    <a:close/>
                    <a:moveTo>
                      <a:pt x="12" y="30"/>
                    </a:moveTo>
                    <a:cubicBezTo>
                      <a:pt x="12" y="30"/>
                      <a:pt x="12" y="31"/>
                      <a:pt x="13" y="31"/>
                    </a:cubicBezTo>
                    <a:cubicBezTo>
                      <a:pt x="14" y="31"/>
                      <a:pt x="13" y="29"/>
                      <a:pt x="12" y="30"/>
                    </a:cubicBezTo>
                    <a:close/>
                    <a:moveTo>
                      <a:pt x="20" y="32"/>
                    </a:moveTo>
                    <a:cubicBezTo>
                      <a:pt x="21" y="31"/>
                      <a:pt x="20" y="31"/>
                      <a:pt x="20" y="31"/>
                    </a:cubicBezTo>
                    <a:cubicBezTo>
                      <a:pt x="19" y="31"/>
                      <a:pt x="20" y="32"/>
                      <a:pt x="20" y="32"/>
                    </a:cubicBezTo>
                    <a:close/>
                    <a:moveTo>
                      <a:pt x="10" y="18"/>
                    </a:moveTo>
                    <a:cubicBezTo>
                      <a:pt x="10" y="18"/>
                      <a:pt x="9" y="18"/>
                      <a:pt x="9" y="18"/>
                    </a:cubicBezTo>
                    <a:cubicBezTo>
                      <a:pt x="8" y="19"/>
                      <a:pt x="8" y="20"/>
                      <a:pt x="9" y="20"/>
                    </a:cubicBezTo>
                    <a:cubicBezTo>
                      <a:pt x="9" y="20"/>
                      <a:pt x="10" y="20"/>
                      <a:pt x="11" y="20"/>
                    </a:cubicBezTo>
                    <a:cubicBezTo>
                      <a:pt x="12" y="20"/>
                      <a:pt x="11" y="19"/>
                      <a:pt x="10" y="18"/>
                    </a:cubicBezTo>
                    <a:close/>
                    <a:moveTo>
                      <a:pt x="23" y="24"/>
                    </a:moveTo>
                    <a:cubicBezTo>
                      <a:pt x="22" y="24"/>
                      <a:pt x="22" y="25"/>
                      <a:pt x="21" y="26"/>
                    </a:cubicBezTo>
                    <a:cubicBezTo>
                      <a:pt x="20" y="26"/>
                      <a:pt x="20" y="27"/>
                      <a:pt x="21" y="27"/>
                    </a:cubicBezTo>
                    <a:cubicBezTo>
                      <a:pt x="22" y="26"/>
                      <a:pt x="22" y="27"/>
                      <a:pt x="23" y="26"/>
                    </a:cubicBezTo>
                    <a:cubicBezTo>
                      <a:pt x="23" y="26"/>
                      <a:pt x="23" y="25"/>
                      <a:pt x="24" y="25"/>
                    </a:cubicBezTo>
                    <a:cubicBezTo>
                      <a:pt x="24" y="24"/>
                      <a:pt x="24" y="24"/>
                      <a:pt x="23" y="2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6" name="Domincan Republic">
                <a:extLst>
                  <a:ext uri="{FF2B5EF4-FFF2-40B4-BE49-F238E27FC236}">
                    <a16:creationId xmlns:a16="http://schemas.microsoft.com/office/drawing/2014/main" id="{E4B5E8E9-D245-A4FE-4D49-246B074DB82C}"/>
                  </a:ext>
                </a:extLst>
              </p:cNvPr>
              <p:cNvSpPr>
                <a:spLocks noEditPoints="1"/>
              </p:cNvSpPr>
              <p:nvPr/>
            </p:nvSpPr>
            <p:spPr bwMode="auto">
              <a:xfrm>
                <a:off x="3260975" y="3264137"/>
                <a:ext cx="127421" cy="96056"/>
              </a:xfrm>
              <a:custGeom>
                <a:avLst/>
                <a:gdLst/>
                <a:ahLst/>
                <a:cxnLst>
                  <a:cxn ang="0">
                    <a:pos x="4" y="27"/>
                  </a:cxn>
                  <a:cxn ang="0">
                    <a:pos x="35" y="14"/>
                  </a:cxn>
                  <a:cxn ang="0">
                    <a:pos x="33" y="12"/>
                  </a:cxn>
                  <a:cxn ang="0">
                    <a:pos x="30" y="12"/>
                  </a:cxn>
                  <a:cxn ang="0">
                    <a:pos x="29" y="11"/>
                  </a:cxn>
                  <a:cxn ang="0">
                    <a:pos x="27" y="11"/>
                  </a:cxn>
                  <a:cxn ang="0">
                    <a:pos x="26" y="11"/>
                  </a:cxn>
                  <a:cxn ang="0">
                    <a:pos x="24" y="10"/>
                  </a:cxn>
                  <a:cxn ang="0">
                    <a:pos x="27" y="9"/>
                  </a:cxn>
                  <a:cxn ang="0">
                    <a:pos x="28" y="8"/>
                  </a:cxn>
                  <a:cxn ang="0">
                    <a:pos x="27" y="8"/>
                  </a:cxn>
                  <a:cxn ang="0">
                    <a:pos x="25" y="8"/>
                  </a:cxn>
                  <a:cxn ang="0">
                    <a:pos x="22" y="4"/>
                  </a:cxn>
                  <a:cxn ang="0">
                    <a:pos x="18" y="4"/>
                  </a:cxn>
                  <a:cxn ang="0">
                    <a:pos x="16" y="3"/>
                  </a:cxn>
                  <a:cxn ang="0">
                    <a:pos x="13" y="2"/>
                  </a:cxn>
                  <a:cxn ang="0">
                    <a:pos x="10" y="2"/>
                  </a:cxn>
                  <a:cxn ang="0">
                    <a:pos x="6" y="2"/>
                  </a:cxn>
                  <a:cxn ang="0">
                    <a:pos x="5" y="4"/>
                  </a:cxn>
                  <a:cxn ang="0">
                    <a:pos x="5" y="7"/>
                  </a:cxn>
                  <a:cxn ang="0">
                    <a:pos x="4" y="11"/>
                  </a:cxn>
                  <a:cxn ang="0">
                    <a:pos x="3" y="12"/>
                  </a:cxn>
                  <a:cxn ang="0">
                    <a:pos x="2" y="16"/>
                  </a:cxn>
                  <a:cxn ang="0">
                    <a:pos x="2" y="17"/>
                  </a:cxn>
                  <a:cxn ang="0">
                    <a:pos x="3" y="19"/>
                  </a:cxn>
                  <a:cxn ang="0">
                    <a:pos x="2" y="21"/>
                  </a:cxn>
                  <a:cxn ang="0">
                    <a:pos x="3" y="23"/>
                  </a:cxn>
                  <a:cxn ang="0">
                    <a:pos x="4" y="26"/>
                  </a:cxn>
                  <a:cxn ang="0">
                    <a:pos x="6" y="24"/>
                  </a:cxn>
                  <a:cxn ang="0">
                    <a:pos x="9" y="21"/>
                  </a:cxn>
                  <a:cxn ang="0">
                    <a:pos x="11" y="20"/>
                  </a:cxn>
                  <a:cxn ang="0">
                    <a:pos x="13" y="18"/>
                  </a:cxn>
                  <a:cxn ang="0">
                    <a:pos x="14" y="20"/>
                  </a:cxn>
                  <a:cxn ang="0">
                    <a:pos x="17" y="20"/>
                  </a:cxn>
                  <a:cxn ang="0">
                    <a:pos x="20" y="18"/>
                  </a:cxn>
                  <a:cxn ang="0">
                    <a:pos x="23" y="18"/>
                  </a:cxn>
                  <a:cxn ang="0">
                    <a:pos x="26" y="18"/>
                  </a:cxn>
                  <a:cxn ang="0">
                    <a:pos x="29" y="18"/>
                  </a:cxn>
                  <a:cxn ang="0">
                    <a:pos x="31" y="20"/>
                  </a:cxn>
                  <a:cxn ang="0">
                    <a:pos x="34" y="18"/>
                  </a:cxn>
                  <a:cxn ang="0">
                    <a:pos x="35" y="14"/>
                  </a:cxn>
                  <a:cxn ang="0">
                    <a:pos x="31" y="21"/>
                  </a:cxn>
                  <a:cxn ang="0">
                    <a:pos x="31" y="20"/>
                  </a:cxn>
                </a:cxnLst>
                <a:rect l="0" t="0" r="r" b="b"/>
                <a:pathLst>
                  <a:path w="36" h="27">
                    <a:moveTo>
                      <a:pt x="5" y="27"/>
                    </a:moveTo>
                    <a:cubicBezTo>
                      <a:pt x="4" y="27"/>
                      <a:pt x="4" y="27"/>
                      <a:pt x="4" y="27"/>
                    </a:cubicBezTo>
                    <a:cubicBezTo>
                      <a:pt x="4" y="27"/>
                      <a:pt x="4" y="26"/>
                      <a:pt x="5" y="27"/>
                    </a:cubicBezTo>
                    <a:close/>
                    <a:moveTo>
                      <a:pt x="35" y="14"/>
                    </a:moveTo>
                    <a:cubicBezTo>
                      <a:pt x="34" y="14"/>
                      <a:pt x="34" y="14"/>
                      <a:pt x="34" y="13"/>
                    </a:cubicBezTo>
                    <a:cubicBezTo>
                      <a:pt x="34" y="13"/>
                      <a:pt x="33" y="13"/>
                      <a:pt x="33" y="12"/>
                    </a:cubicBezTo>
                    <a:cubicBezTo>
                      <a:pt x="32" y="12"/>
                      <a:pt x="32" y="12"/>
                      <a:pt x="31" y="11"/>
                    </a:cubicBezTo>
                    <a:cubicBezTo>
                      <a:pt x="30" y="11"/>
                      <a:pt x="30" y="11"/>
                      <a:pt x="30" y="12"/>
                    </a:cubicBezTo>
                    <a:cubicBezTo>
                      <a:pt x="29" y="12"/>
                      <a:pt x="29" y="11"/>
                      <a:pt x="29" y="11"/>
                    </a:cubicBezTo>
                    <a:cubicBezTo>
                      <a:pt x="29" y="11"/>
                      <a:pt x="29" y="11"/>
                      <a:pt x="29" y="11"/>
                    </a:cubicBezTo>
                    <a:cubicBezTo>
                      <a:pt x="28" y="11"/>
                      <a:pt x="28" y="11"/>
                      <a:pt x="28" y="11"/>
                    </a:cubicBezTo>
                    <a:cubicBezTo>
                      <a:pt x="28" y="11"/>
                      <a:pt x="27" y="11"/>
                      <a:pt x="27" y="11"/>
                    </a:cubicBezTo>
                    <a:cubicBezTo>
                      <a:pt x="27" y="11"/>
                      <a:pt x="26" y="11"/>
                      <a:pt x="26" y="10"/>
                    </a:cubicBezTo>
                    <a:cubicBezTo>
                      <a:pt x="26" y="10"/>
                      <a:pt x="25" y="10"/>
                      <a:pt x="26" y="11"/>
                    </a:cubicBezTo>
                    <a:cubicBezTo>
                      <a:pt x="25" y="11"/>
                      <a:pt x="25" y="10"/>
                      <a:pt x="24" y="10"/>
                    </a:cubicBezTo>
                    <a:cubicBezTo>
                      <a:pt x="24" y="11"/>
                      <a:pt x="24" y="10"/>
                      <a:pt x="24" y="10"/>
                    </a:cubicBezTo>
                    <a:cubicBezTo>
                      <a:pt x="24" y="10"/>
                      <a:pt x="24" y="9"/>
                      <a:pt x="25" y="9"/>
                    </a:cubicBezTo>
                    <a:cubicBezTo>
                      <a:pt x="26" y="9"/>
                      <a:pt x="27" y="9"/>
                      <a:pt x="27" y="9"/>
                    </a:cubicBezTo>
                    <a:cubicBezTo>
                      <a:pt x="28" y="10"/>
                      <a:pt x="29" y="9"/>
                      <a:pt x="29" y="8"/>
                    </a:cubicBezTo>
                    <a:cubicBezTo>
                      <a:pt x="29" y="8"/>
                      <a:pt x="28" y="8"/>
                      <a:pt x="28" y="8"/>
                    </a:cubicBezTo>
                    <a:cubicBezTo>
                      <a:pt x="28" y="8"/>
                      <a:pt x="29" y="7"/>
                      <a:pt x="28" y="7"/>
                    </a:cubicBezTo>
                    <a:cubicBezTo>
                      <a:pt x="28" y="7"/>
                      <a:pt x="27" y="8"/>
                      <a:pt x="27" y="8"/>
                    </a:cubicBezTo>
                    <a:cubicBezTo>
                      <a:pt x="27" y="8"/>
                      <a:pt x="27" y="8"/>
                      <a:pt x="26" y="8"/>
                    </a:cubicBezTo>
                    <a:cubicBezTo>
                      <a:pt x="26" y="8"/>
                      <a:pt x="26" y="8"/>
                      <a:pt x="25" y="8"/>
                    </a:cubicBezTo>
                    <a:cubicBezTo>
                      <a:pt x="24" y="8"/>
                      <a:pt x="23" y="9"/>
                      <a:pt x="22" y="7"/>
                    </a:cubicBezTo>
                    <a:cubicBezTo>
                      <a:pt x="22" y="6"/>
                      <a:pt x="23" y="5"/>
                      <a:pt x="22" y="4"/>
                    </a:cubicBezTo>
                    <a:cubicBezTo>
                      <a:pt x="21" y="4"/>
                      <a:pt x="21" y="4"/>
                      <a:pt x="20" y="4"/>
                    </a:cubicBezTo>
                    <a:cubicBezTo>
                      <a:pt x="20" y="5"/>
                      <a:pt x="19" y="4"/>
                      <a:pt x="18" y="4"/>
                    </a:cubicBezTo>
                    <a:cubicBezTo>
                      <a:pt x="18" y="4"/>
                      <a:pt x="18" y="3"/>
                      <a:pt x="17" y="3"/>
                    </a:cubicBezTo>
                    <a:cubicBezTo>
                      <a:pt x="17" y="3"/>
                      <a:pt x="16" y="3"/>
                      <a:pt x="16" y="3"/>
                    </a:cubicBezTo>
                    <a:cubicBezTo>
                      <a:pt x="15" y="3"/>
                      <a:pt x="15" y="2"/>
                      <a:pt x="14" y="2"/>
                    </a:cubicBezTo>
                    <a:cubicBezTo>
                      <a:pt x="14" y="2"/>
                      <a:pt x="13" y="1"/>
                      <a:pt x="13" y="2"/>
                    </a:cubicBezTo>
                    <a:cubicBezTo>
                      <a:pt x="12" y="2"/>
                      <a:pt x="12" y="1"/>
                      <a:pt x="12" y="1"/>
                    </a:cubicBezTo>
                    <a:cubicBezTo>
                      <a:pt x="11" y="2"/>
                      <a:pt x="11" y="2"/>
                      <a:pt x="10" y="2"/>
                    </a:cubicBezTo>
                    <a:cubicBezTo>
                      <a:pt x="11" y="2"/>
                      <a:pt x="10" y="2"/>
                      <a:pt x="10" y="2"/>
                    </a:cubicBezTo>
                    <a:cubicBezTo>
                      <a:pt x="8" y="3"/>
                      <a:pt x="8" y="0"/>
                      <a:pt x="6" y="2"/>
                    </a:cubicBezTo>
                    <a:cubicBezTo>
                      <a:pt x="5" y="2"/>
                      <a:pt x="4" y="3"/>
                      <a:pt x="5" y="3"/>
                    </a:cubicBezTo>
                    <a:cubicBezTo>
                      <a:pt x="5" y="3"/>
                      <a:pt x="5" y="4"/>
                      <a:pt x="5" y="4"/>
                    </a:cubicBezTo>
                    <a:cubicBezTo>
                      <a:pt x="5" y="4"/>
                      <a:pt x="5" y="5"/>
                      <a:pt x="5" y="5"/>
                    </a:cubicBezTo>
                    <a:cubicBezTo>
                      <a:pt x="5" y="6"/>
                      <a:pt x="5" y="6"/>
                      <a:pt x="5" y="7"/>
                    </a:cubicBezTo>
                    <a:cubicBezTo>
                      <a:pt x="4" y="8"/>
                      <a:pt x="4" y="8"/>
                      <a:pt x="5" y="9"/>
                    </a:cubicBezTo>
                    <a:cubicBezTo>
                      <a:pt x="5" y="9"/>
                      <a:pt x="5" y="10"/>
                      <a:pt x="4" y="11"/>
                    </a:cubicBezTo>
                    <a:cubicBezTo>
                      <a:pt x="4" y="11"/>
                      <a:pt x="4" y="11"/>
                      <a:pt x="3" y="11"/>
                    </a:cubicBezTo>
                    <a:cubicBezTo>
                      <a:pt x="3" y="12"/>
                      <a:pt x="3" y="12"/>
                      <a:pt x="3" y="12"/>
                    </a:cubicBezTo>
                    <a:cubicBezTo>
                      <a:pt x="4" y="11"/>
                      <a:pt x="4" y="14"/>
                      <a:pt x="3" y="15"/>
                    </a:cubicBezTo>
                    <a:cubicBezTo>
                      <a:pt x="3" y="15"/>
                      <a:pt x="3" y="15"/>
                      <a:pt x="2" y="16"/>
                    </a:cubicBezTo>
                    <a:cubicBezTo>
                      <a:pt x="2" y="16"/>
                      <a:pt x="2" y="16"/>
                      <a:pt x="1" y="16"/>
                    </a:cubicBezTo>
                    <a:cubicBezTo>
                      <a:pt x="0" y="16"/>
                      <a:pt x="1" y="17"/>
                      <a:pt x="2" y="17"/>
                    </a:cubicBezTo>
                    <a:cubicBezTo>
                      <a:pt x="2" y="18"/>
                      <a:pt x="2" y="18"/>
                      <a:pt x="2" y="18"/>
                    </a:cubicBezTo>
                    <a:cubicBezTo>
                      <a:pt x="2" y="18"/>
                      <a:pt x="3" y="19"/>
                      <a:pt x="3" y="19"/>
                    </a:cubicBezTo>
                    <a:cubicBezTo>
                      <a:pt x="3" y="19"/>
                      <a:pt x="3" y="20"/>
                      <a:pt x="3" y="20"/>
                    </a:cubicBezTo>
                    <a:cubicBezTo>
                      <a:pt x="2" y="20"/>
                      <a:pt x="2" y="21"/>
                      <a:pt x="2" y="21"/>
                    </a:cubicBezTo>
                    <a:cubicBezTo>
                      <a:pt x="3" y="22"/>
                      <a:pt x="2" y="22"/>
                      <a:pt x="3" y="22"/>
                    </a:cubicBezTo>
                    <a:cubicBezTo>
                      <a:pt x="3" y="22"/>
                      <a:pt x="3" y="23"/>
                      <a:pt x="3" y="23"/>
                    </a:cubicBezTo>
                    <a:cubicBezTo>
                      <a:pt x="3" y="24"/>
                      <a:pt x="3" y="24"/>
                      <a:pt x="3" y="25"/>
                    </a:cubicBezTo>
                    <a:cubicBezTo>
                      <a:pt x="3" y="25"/>
                      <a:pt x="4" y="25"/>
                      <a:pt x="4" y="26"/>
                    </a:cubicBezTo>
                    <a:cubicBezTo>
                      <a:pt x="5" y="26"/>
                      <a:pt x="5" y="27"/>
                      <a:pt x="5" y="27"/>
                    </a:cubicBezTo>
                    <a:cubicBezTo>
                      <a:pt x="6" y="26"/>
                      <a:pt x="6" y="25"/>
                      <a:pt x="6" y="24"/>
                    </a:cubicBezTo>
                    <a:cubicBezTo>
                      <a:pt x="7" y="24"/>
                      <a:pt x="7" y="24"/>
                      <a:pt x="7" y="23"/>
                    </a:cubicBezTo>
                    <a:cubicBezTo>
                      <a:pt x="8" y="23"/>
                      <a:pt x="9" y="22"/>
                      <a:pt x="9" y="21"/>
                    </a:cubicBezTo>
                    <a:cubicBezTo>
                      <a:pt x="9" y="20"/>
                      <a:pt x="9" y="19"/>
                      <a:pt x="9" y="19"/>
                    </a:cubicBezTo>
                    <a:cubicBezTo>
                      <a:pt x="10" y="19"/>
                      <a:pt x="10" y="20"/>
                      <a:pt x="11" y="20"/>
                    </a:cubicBezTo>
                    <a:cubicBezTo>
                      <a:pt x="11" y="19"/>
                      <a:pt x="11" y="19"/>
                      <a:pt x="12" y="19"/>
                    </a:cubicBezTo>
                    <a:cubicBezTo>
                      <a:pt x="13" y="18"/>
                      <a:pt x="12" y="18"/>
                      <a:pt x="13" y="18"/>
                    </a:cubicBezTo>
                    <a:cubicBezTo>
                      <a:pt x="14" y="17"/>
                      <a:pt x="14" y="19"/>
                      <a:pt x="14" y="19"/>
                    </a:cubicBezTo>
                    <a:cubicBezTo>
                      <a:pt x="14" y="19"/>
                      <a:pt x="14" y="20"/>
                      <a:pt x="14" y="20"/>
                    </a:cubicBezTo>
                    <a:cubicBezTo>
                      <a:pt x="14" y="20"/>
                      <a:pt x="15" y="20"/>
                      <a:pt x="15" y="20"/>
                    </a:cubicBezTo>
                    <a:cubicBezTo>
                      <a:pt x="16" y="20"/>
                      <a:pt x="16" y="20"/>
                      <a:pt x="17" y="20"/>
                    </a:cubicBezTo>
                    <a:cubicBezTo>
                      <a:pt x="18" y="20"/>
                      <a:pt x="18" y="19"/>
                      <a:pt x="19" y="19"/>
                    </a:cubicBezTo>
                    <a:cubicBezTo>
                      <a:pt x="19" y="18"/>
                      <a:pt x="20" y="18"/>
                      <a:pt x="20" y="18"/>
                    </a:cubicBezTo>
                    <a:cubicBezTo>
                      <a:pt x="21" y="17"/>
                      <a:pt x="22" y="17"/>
                      <a:pt x="23" y="18"/>
                    </a:cubicBezTo>
                    <a:cubicBezTo>
                      <a:pt x="23" y="18"/>
                      <a:pt x="23" y="18"/>
                      <a:pt x="23" y="18"/>
                    </a:cubicBezTo>
                    <a:cubicBezTo>
                      <a:pt x="23" y="17"/>
                      <a:pt x="24" y="18"/>
                      <a:pt x="24" y="18"/>
                    </a:cubicBezTo>
                    <a:cubicBezTo>
                      <a:pt x="24" y="18"/>
                      <a:pt x="25" y="18"/>
                      <a:pt x="26" y="18"/>
                    </a:cubicBezTo>
                    <a:cubicBezTo>
                      <a:pt x="26" y="18"/>
                      <a:pt x="27" y="17"/>
                      <a:pt x="27" y="18"/>
                    </a:cubicBezTo>
                    <a:cubicBezTo>
                      <a:pt x="28" y="18"/>
                      <a:pt x="29" y="18"/>
                      <a:pt x="29" y="18"/>
                    </a:cubicBezTo>
                    <a:cubicBezTo>
                      <a:pt x="30" y="18"/>
                      <a:pt x="31" y="18"/>
                      <a:pt x="31" y="19"/>
                    </a:cubicBezTo>
                    <a:cubicBezTo>
                      <a:pt x="31" y="19"/>
                      <a:pt x="31" y="20"/>
                      <a:pt x="31" y="20"/>
                    </a:cubicBezTo>
                    <a:cubicBezTo>
                      <a:pt x="33" y="21"/>
                      <a:pt x="33" y="18"/>
                      <a:pt x="33" y="18"/>
                    </a:cubicBezTo>
                    <a:cubicBezTo>
                      <a:pt x="34" y="18"/>
                      <a:pt x="34" y="19"/>
                      <a:pt x="34" y="18"/>
                    </a:cubicBezTo>
                    <a:cubicBezTo>
                      <a:pt x="35" y="18"/>
                      <a:pt x="35" y="17"/>
                      <a:pt x="35" y="17"/>
                    </a:cubicBezTo>
                    <a:cubicBezTo>
                      <a:pt x="36" y="16"/>
                      <a:pt x="36" y="15"/>
                      <a:pt x="35" y="14"/>
                    </a:cubicBezTo>
                    <a:close/>
                    <a:moveTo>
                      <a:pt x="31" y="20"/>
                    </a:moveTo>
                    <a:cubicBezTo>
                      <a:pt x="31" y="20"/>
                      <a:pt x="31" y="21"/>
                      <a:pt x="31" y="21"/>
                    </a:cubicBezTo>
                    <a:cubicBezTo>
                      <a:pt x="32" y="21"/>
                      <a:pt x="32" y="21"/>
                      <a:pt x="33" y="21"/>
                    </a:cubicBezTo>
                    <a:cubicBezTo>
                      <a:pt x="33" y="21"/>
                      <a:pt x="32" y="20"/>
                      <a:pt x="31" y="2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7" name="Dominica">
                <a:extLst>
                  <a:ext uri="{FF2B5EF4-FFF2-40B4-BE49-F238E27FC236}">
                    <a16:creationId xmlns:a16="http://schemas.microsoft.com/office/drawing/2014/main" id="{16FD4CAA-AE5B-65BA-2CFE-677DDBCB8F06}"/>
                  </a:ext>
                </a:extLst>
              </p:cNvPr>
              <p:cNvSpPr>
                <a:spLocks/>
              </p:cNvSpPr>
              <p:nvPr/>
            </p:nvSpPr>
            <p:spPr bwMode="auto">
              <a:xfrm>
                <a:off x="3605014" y="3434687"/>
                <a:ext cx="9801" cy="20584"/>
              </a:xfrm>
              <a:custGeom>
                <a:avLst/>
                <a:gdLst/>
                <a:ahLst/>
                <a:cxnLst>
                  <a:cxn ang="0">
                    <a:pos x="3" y="2"/>
                  </a:cxn>
                  <a:cxn ang="0">
                    <a:pos x="2" y="1"/>
                  </a:cxn>
                  <a:cxn ang="0">
                    <a:pos x="1" y="0"/>
                  </a:cxn>
                  <a:cxn ang="0">
                    <a:pos x="2" y="4"/>
                  </a:cxn>
                  <a:cxn ang="0">
                    <a:pos x="2" y="5"/>
                  </a:cxn>
                  <a:cxn ang="0">
                    <a:pos x="3" y="3"/>
                  </a:cxn>
                  <a:cxn ang="0">
                    <a:pos x="3" y="2"/>
                  </a:cxn>
                </a:cxnLst>
                <a:rect l="0" t="0" r="r" b="b"/>
                <a:pathLst>
                  <a:path w="3" h="6">
                    <a:moveTo>
                      <a:pt x="3" y="2"/>
                    </a:moveTo>
                    <a:cubicBezTo>
                      <a:pt x="3" y="2"/>
                      <a:pt x="3" y="1"/>
                      <a:pt x="2" y="1"/>
                    </a:cubicBezTo>
                    <a:cubicBezTo>
                      <a:pt x="2" y="1"/>
                      <a:pt x="2" y="1"/>
                      <a:pt x="1" y="0"/>
                    </a:cubicBezTo>
                    <a:cubicBezTo>
                      <a:pt x="0" y="1"/>
                      <a:pt x="2" y="3"/>
                      <a:pt x="2" y="4"/>
                    </a:cubicBezTo>
                    <a:cubicBezTo>
                      <a:pt x="2" y="4"/>
                      <a:pt x="1" y="6"/>
                      <a:pt x="2" y="5"/>
                    </a:cubicBezTo>
                    <a:cubicBezTo>
                      <a:pt x="3" y="4"/>
                      <a:pt x="3" y="4"/>
                      <a:pt x="3" y="3"/>
                    </a:cubicBezTo>
                    <a:cubicBezTo>
                      <a:pt x="3" y="3"/>
                      <a:pt x="3" y="2"/>
                      <a:pt x="3"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8" name="Djibouti">
                <a:extLst>
                  <a:ext uri="{FF2B5EF4-FFF2-40B4-BE49-F238E27FC236}">
                    <a16:creationId xmlns:a16="http://schemas.microsoft.com/office/drawing/2014/main" id="{E90A46CE-B47A-5A78-B9C3-10AFA3AAA982}"/>
                  </a:ext>
                </a:extLst>
              </p:cNvPr>
              <p:cNvSpPr>
                <a:spLocks/>
              </p:cNvSpPr>
              <p:nvPr/>
            </p:nvSpPr>
            <p:spPr bwMode="auto">
              <a:xfrm>
                <a:off x="7120863" y="3551328"/>
                <a:ext cx="59791" cy="67631"/>
              </a:xfrm>
              <a:custGeom>
                <a:avLst/>
                <a:gdLst/>
                <a:ahLst/>
                <a:cxnLst>
                  <a:cxn ang="0">
                    <a:pos x="10" y="12"/>
                  </a:cxn>
                  <a:cxn ang="0">
                    <a:pos x="11" y="11"/>
                  </a:cxn>
                  <a:cxn ang="0">
                    <a:pos x="13" y="10"/>
                  </a:cxn>
                  <a:cxn ang="0">
                    <a:pos x="14" y="8"/>
                  </a:cxn>
                  <a:cxn ang="0">
                    <a:pos x="17" y="6"/>
                  </a:cxn>
                  <a:cxn ang="0">
                    <a:pos x="16" y="2"/>
                  </a:cxn>
                  <a:cxn ang="0">
                    <a:pos x="14" y="0"/>
                  </a:cxn>
                  <a:cxn ang="0">
                    <a:pos x="11" y="1"/>
                  </a:cxn>
                  <a:cxn ang="0">
                    <a:pos x="10" y="3"/>
                  </a:cxn>
                  <a:cxn ang="0">
                    <a:pos x="8" y="2"/>
                  </a:cxn>
                  <a:cxn ang="0">
                    <a:pos x="6" y="3"/>
                  </a:cxn>
                  <a:cxn ang="0">
                    <a:pos x="4" y="7"/>
                  </a:cxn>
                  <a:cxn ang="0">
                    <a:pos x="2" y="10"/>
                  </a:cxn>
                  <a:cxn ang="0">
                    <a:pos x="2" y="17"/>
                  </a:cxn>
                  <a:cxn ang="0">
                    <a:pos x="2" y="19"/>
                  </a:cxn>
                  <a:cxn ang="0">
                    <a:pos x="4" y="19"/>
                  </a:cxn>
                  <a:cxn ang="0">
                    <a:pos x="5" y="18"/>
                  </a:cxn>
                  <a:cxn ang="0">
                    <a:pos x="9" y="17"/>
                  </a:cxn>
                  <a:cxn ang="0">
                    <a:pos x="11" y="18"/>
                  </a:cxn>
                  <a:cxn ang="0">
                    <a:pos x="13" y="18"/>
                  </a:cxn>
                  <a:cxn ang="0">
                    <a:pos x="14" y="16"/>
                  </a:cxn>
                  <a:cxn ang="0">
                    <a:pos x="15" y="13"/>
                  </a:cxn>
                  <a:cxn ang="0">
                    <a:pos x="15" y="13"/>
                  </a:cxn>
                  <a:cxn ang="0">
                    <a:pos x="14" y="12"/>
                  </a:cxn>
                  <a:cxn ang="0">
                    <a:pos x="13" y="12"/>
                  </a:cxn>
                  <a:cxn ang="0">
                    <a:pos x="10" y="12"/>
                  </a:cxn>
                  <a:cxn ang="0">
                    <a:pos x="9" y="13"/>
                  </a:cxn>
                  <a:cxn ang="0">
                    <a:pos x="8" y="12"/>
                  </a:cxn>
                  <a:cxn ang="0">
                    <a:pos x="10" y="12"/>
                  </a:cxn>
                </a:cxnLst>
                <a:rect l="0" t="0" r="r" b="b"/>
                <a:pathLst>
                  <a:path w="17" h="19">
                    <a:moveTo>
                      <a:pt x="10" y="12"/>
                    </a:moveTo>
                    <a:cubicBezTo>
                      <a:pt x="10" y="12"/>
                      <a:pt x="10" y="11"/>
                      <a:pt x="11" y="11"/>
                    </a:cubicBezTo>
                    <a:cubicBezTo>
                      <a:pt x="11" y="10"/>
                      <a:pt x="12" y="10"/>
                      <a:pt x="13" y="10"/>
                    </a:cubicBezTo>
                    <a:cubicBezTo>
                      <a:pt x="13" y="10"/>
                      <a:pt x="14" y="9"/>
                      <a:pt x="14" y="8"/>
                    </a:cubicBezTo>
                    <a:cubicBezTo>
                      <a:pt x="15" y="7"/>
                      <a:pt x="17" y="8"/>
                      <a:pt x="17" y="6"/>
                    </a:cubicBezTo>
                    <a:cubicBezTo>
                      <a:pt x="17" y="5"/>
                      <a:pt x="16" y="4"/>
                      <a:pt x="16" y="2"/>
                    </a:cubicBezTo>
                    <a:cubicBezTo>
                      <a:pt x="15" y="2"/>
                      <a:pt x="14" y="0"/>
                      <a:pt x="14" y="0"/>
                    </a:cubicBezTo>
                    <a:cubicBezTo>
                      <a:pt x="13" y="0"/>
                      <a:pt x="12" y="0"/>
                      <a:pt x="11" y="1"/>
                    </a:cubicBezTo>
                    <a:cubicBezTo>
                      <a:pt x="11" y="2"/>
                      <a:pt x="11" y="2"/>
                      <a:pt x="10" y="3"/>
                    </a:cubicBezTo>
                    <a:cubicBezTo>
                      <a:pt x="9" y="4"/>
                      <a:pt x="9" y="2"/>
                      <a:pt x="8" y="2"/>
                    </a:cubicBezTo>
                    <a:cubicBezTo>
                      <a:pt x="7" y="2"/>
                      <a:pt x="6" y="3"/>
                      <a:pt x="6" y="3"/>
                    </a:cubicBezTo>
                    <a:cubicBezTo>
                      <a:pt x="6" y="5"/>
                      <a:pt x="5" y="6"/>
                      <a:pt x="4" y="7"/>
                    </a:cubicBezTo>
                    <a:cubicBezTo>
                      <a:pt x="3" y="8"/>
                      <a:pt x="3" y="9"/>
                      <a:pt x="2" y="10"/>
                    </a:cubicBezTo>
                    <a:cubicBezTo>
                      <a:pt x="0" y="11"/>
                      <a:pt x="2" y="15"/>
                      <a:pt x="2" y="17"/>
                    </a:cubicBezTo>
                    <a:cubicBezTo>
                      <a:pt x="2" y="18"/>
                      <a:pt x="1" y="19"/>
                      <a:pt x="2" y="19"/>
                    </a:cubicBezTo>
                    <a:cubicBezTo>
                      <a:pt x="3" y="19"/>
                      <a:pt x="3" y="19"/>
                      <a:pt x="4" y="19"/>
                    </a:cubicBezTo>
                    <a:cubicBezTo>
                      <a:pt x="4" y="19"/>
                      <a:pt x="5" y="18"/>
                      <a:pt x="5" y="18"/>
                    </a:cubicBezTo>
                    <a:cubicBezTo>
                      <a:pt x="6" y="19"/>
                      <a:pt x="8" y="18"/>
                      <a:pt x="9" y="17"/>
                    </a:cubicBezTo>
                    <a:cubicBezTo>
                      <a:pt x="9" y="17"/>
                      <a:pt x="11" y="17"/>
                      <a:pt x="11" y="18"/>
                    </a:cubicBezTo>
                    <a:cubicBezTo>
                      <a:pt x="11" y="19"/>
                      <a:pt x="12" y="19"/>
                      <a:pt x="13" y="18"/>
                    </a:cubicBezTo>
                    <a:cubicBezTo>
                      <a:pt x="13" y="17"/>
                      <a:pt x="14" y="17"/>
                      <a:pt x="14" y="16"/>
                    </a:cubicBezTo>
                    <a:cubicBezTo>
                      <a:pt x="14" y="15"/>
                      <a:pt x="15" y="14"/>
                      <a:pt x="15" y="13"/>
                    </a:cubicBezTo>
                    <a:cubicBezTo>
                      <a:pt x="15" y="13"/>
                      <a:pt x="15" y="13"/>
                      <a:pt x="15" y="13"/>
                    </a:cubicBezTo>
                    <a:cubicBezTo>
                      <a:pt x="15" y="12"/>
                      <a:pt x="15" y="12"/>
                      <a:pt x="14" y="12"/>
                    </a:cubicBezTo>
                    <a:cubicBezTo>
                      <a:pt x="14" y="12"/>
                      <a:pt x="13" y="12"/>
                      <a:pt x="13" y="12"/>
                    </a:cubicBezTo>
                    <a:cubicBezTo>
                      <a:pt x="12" y="12"/>
                      <a:pt x="11" y="12"/>
                      <a:pt x="10" y="12"/>
                    </a:cubicBezTo>
                    <a:cubicBezTo>
                      <a:pt x="9" y="13"/>
                      <a:pt x="10" y="13"/>
                      <a:pt x="9" y="13"/>
                    </a:cubicBezTo>
                    <a:cubicBezTo>
                      <a:pt x="9" y="13"/>
                      <a:pt x="9" y="12"/>
                      <a:pt x="8" y="12"/>
                    </a:cubicBezTo>
                    <a:cubicBezTo>
                      <a:pt x="9" y="12"/>
                      <a:pt x="9" y="13"/>
                      <a:pt x="10" y="1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39" name="Denmark">
                <a:extLst>
                  <a:ext uri="{FF2B5EF4-FFF2-40B4-BE49-F238E27FC236}">
                    <a16:creationId xmlns:a16="http://schemas.microsoft.com/office/drawing/2014/main" id="{7FAA0208-7EEB-1843-5793-18816489D915}"/>
                  </a:ext>
                </a:extLst>
              </p:cNvPr>
              <p:cNvSpPr>
                <a:spLocks noEditPoints="1"/>
              </p:cNvSpPr>
              <p:nvPr/>
            </p:nvSpPr>
            <p:spPr bwMode="auto">
              <a:xfrm>
                <a:off x="5983871" y="1817415"/>
                <a:ext cx="205835" cy="117619"/>
              </a:xfrm>
              <a:custGeom>
                <a:avLst/>
                <a:gdLst/>
                <a:ahLst/>
                <a:cxnLst>
                  <a:cxn ang="0">
                    <a:pos x="16" y="27"/>
                  </a:cxn>
                  <a:cxn ang="0">
                    <a:pos x="14" y="24"/>
                  </a:cxn>
                  <a:cxn ang="0">
                    <a:pos x="16" y="22"/>
                  </a:cxn>
                  <a:cxn ang="0">
                    <a:pos x="20" y="23"/>
                  </a:cxn>
                  <a:cxn ang="0">
                    <a:pos x="22" y="25"/>
                  </a:cxn>
                  <a:cxn ang="0">
                    <a:pos x="54" y="26"/>
                  </a:cxn>
                  <a:cxn ang="0">
                    <a:pos x="13" y="28"/>
                  </a:cxn>
                  <a:cxn ang="0">
                    <a:pos x="15" y="29"/>
                  </a:cxn>
                  <a:cxn ang="0">
                    <a:pos x="2" y="23"/>
                  </a:cxn>
                  <a:cxn ang="0">
                    <a:pos x="13" y="26"/>
                  </a:cxn>
                  <a:cxn ang="0">
                    <a:pos x="14" y="22"/>
                  </a:cxn>
                  <a:cxn ang="0">
                    <a:pos x="16" y="21"/>
                  </a:cxn>
                  <a:cxn ang="0">
                    <a:pos x="18" y="18"/>
                  </a:cxn>
                  <a:cxn ang="0">
                    <a:pos x="18" y="16"/>
                  </a:cxn>
                  <a:cxn ang="0">
                    <a:pos x="22" y="15"/>
                  </a:cxn>
                  <a:cxn ang="0">
                    <a:pos x="18" y="12"/>
                  </a:cxn>
                  <a:cxn ang="0">
                    <a:pos x="16" y="11"/>
                  </a:cxn>
                  <a:cxn ang="0">
                    <a:pos x="20" y="5"/>
                  </a:cxn>
                  <a:cxn ang="0">
                    <a:pos x="15" y="2"/>
                  </a:cxn>
                  <a:cxn ang="0">
                    <a:pos x="1" y="11"/>
                  </a:cxn>
                  <a:cxn ang="0">
                    <a:pos x="4" y="11"/>
                  </a:cxn>
                  <a:cxn ang="0">
                    <a:pos x="8" y="7"/>
                  </a:cxn>
                  <a:cxn ang="0">
                    <a:pos x="16" y="7"/>
                  </a:cxn>
                  <a:cxn ang="0">
                    <a:pos x="9" y="9"/>
                  </a:cxn>
                  <a:cxn ang="0">
                    <a:pos x="10" y="12"/>
                  </a:cxn>
                  <a:cxn ang="0">
                    <a:pos x="8" y="12"/>
                  </a:cxn>
                  <a:cxn ang="0">
                    <a:pos x="5" y="12"/>
                  </a:cxn>
                  <a:cxn ang="0">
                    <a:pos x="1" y="11"/>
                  </a:cxn>
                  <a:cxn ang="0">
                    <a:pos x="2" y="18"/>
                  </a:cxn>
                  <a:cxn ang="0">
                    <a:pos x="2" y="22"/>
                  </a:cxn>
                  <a:cxn ang="0">
                    <a:pos x="5" y="29"/>
                  </a:cxn>
                  <a:cxn ang="0">
                    <a:pos x="12" y="29"/>
                  </a:cxn>
                  <a:cxn ang="0">
                    <a:pos x="20" y="18"/>
                  </a:cxn>
                  <a:cxn ang="0">
                    <a:pos x="34" y="17"/>
                  </a:cxn>
                  <a:cxn ang="0">
                    <a:pos x="32" y="21"/>
                  </a:cxn>
                  <a:cxn ang="0">
                    <a:pos x="30" y="21"/>
                  </a:cxn>
                  <a:cxn ang="0">
                    <a:pos x="29" y="18"/>
                  </a:cxn>
                  <a:cxn ang="0">
                    <a:pos x="25" y="21"/>
                  </a:cxn>
                  <a:cxn ang="0">
                    <a:pos x="25" y="22"/>
                  </a:cxn>
                  <a:cxn ang="0">
                    <a:pos x="25" y="25"/>
                  </a:cxn>
                  <a:cxn ang="0">
                    <a:pos x="29" y="27"/>
                  </a:cxn>
                  <a:cxn ang="0">
                    <a:pos x="30" y="29"/>
                  </a:cxn>
                  <a:cxn ang="0">
                    <a:pos x="28" y="30"/>
                  </a:cxn>
                  <a:cxn ang="0">
                    <a:pos x="25" y="31"/>
                  </a:cxn>
                  <a:cxn ang="0">
                    <a:pos x="30" y="31"/>
                  </a:cxn>
                  <a:cxn ang="0">
                    <a:pos x="32" y="29"/>
                  </a:cxn>
                  <a:cxn ang="0">
                    <a:pos x="32" y="27"/>
                  </a:cxn>
                  <a:cxn ang="0">
                    <a:pos x="35" y="22"/>
                  </a:cxn>
                  <a:cxn ang="0">
                    <a:pos x="24" y="5"/>
                  </a:cxn>
                  <a:cxn ang="0">
                    <a:pos x="6" y="11"/>
                  </a:cxn>
                  <a:cxn ang="0">
                    <a:pos x="5" y="10"/>
                  </a:cxn>
                  <a:cxn ang="0">
                    <a:pos x="35" y="29"/>
                  </a:cxn>
                  <a:cxn ang="0">
                    <a:pos x="20" y="30"/>
                  </a:cxn>
                </a:cxnLst>
                <a:rect l="0" t="0" r="r" b="b"/>
                <a:pathLst>
                  <a:path w="58" h="33">
                    <a:moveTo>
                      <a:pt x="21" y="28"/>
                    </a:moveTo>
                    <a:cubicBezTo>
                      <a:pt x="20" y="28"/>
                      <a:pt x="20" y="28"/>
                      <a:pt x="19" y="28"/>
                    </a:cubicBezTo>
                    <a:cubicBezTo>
                      <a:pt x="19" y="28"/>
                      <a:pt x="18" y="28"/>
                      <a:pt x="18" y="28"/>
                    </a:cubicBezTo>
                    <a:cubicBezTo>
                      <a:pt x="17" y="27"/>
                      <a:pt x="17" y="28"/>
                      <a:pt x="16" y="27"/>
                    </a:cubicBezTo>
                    <a:cubicBezTo>
                      <a:pt x="17" y="27"/>
                      <a:pt x="17" y="27"/>
                      <a:pt x="16" y="27"/>
                    </a:cubicBezTo>
                    <a:cubicBezTo>
                      <a:pt x="15" y="26"/>
                      <a:pt x="16" y="27"/>
                      <a:pt x="16" y="27"/>
                    </a:cubicBezTo>
                    <a:cubicBezTo>
                      <a:pt x="16" y="27"/>
                      <a:pt x="15" y="27"/>
                      <a:pt x="15" y="27"/>
                    </a:cubicBezTo>
                    <a:cubicBezTo>
                      <a:pt x="16" y="27"/>
                      <a:pt x="15" y="26"/>
                      <a:pt x="15" y="26"/>
                    </a:cubicBezTo>
                    <a:cubicBezTo>
                      <a:pt x="15" y="26"/>
                      <a:pt x="14" y="25"/>
                      <a:pt x="15" y="25"/>
                    </a:cubicBezTo>
                    <a:cubicBezTo>
                      <a:pt x="14" y="25"/>
                      <a:pt x="14" y="25"/>
                      <a:pt x="14" y="24"/>
                    </a:cubicBezTo>
                    <a:cubicBezTo>
                      <a:pt x="14" y="24"/>
                      <a:pt x="14" y="24"/>
                      <a:pt x="14" y="24"/>
                    </a:cubicBezTo>
                    <a:cubicBezTo>
                      <a:pt x="14" y="24"/>
                      <a:pt x="13" y="24"/>
                      <a:pt x="14" y="24"/>
                    </a:cubicBezTo>
                    <a:cubicBezTo>
                      <a:pt x="14" y="24"/>
                      <a:pt x="13" y="24"/>
                      <a:pt x="13" y="24"/>
                    </a:cubicBezTo>
                    <a:cubicBezTo>
                      <a:pt x="13" y="24"/>
                      <a:pt x="14" y="24"/>
                      <a:pt x="14" y="24"/>
                    </a:cubicBezTo>
                    <a:cubicBezTo>
                      <a:pt x="14" y="23"/>
                      <a:pt x="13" y="23"/>
                      <a:pt x="13" y="23"/>
                    </a:cubicBezTo>
                    <a:cubicBezTo>
                      <a:pt x="13" y="23"/>
                      <a:pt x="14" y="22"/>
                      <a:pt x="14" y="23"/>
                    </a:cubicBezTo>
                    <a:cubicBezTo>
                      <a:pt x="14" y="23"/>
                      <a:pt x="15" y="23"/>
                      <a:pt x="15" y="23"/>
                    </a:cubicBezTo>
                    <a:cubicBezTo>
                      <a:pt x="15" y="23"/>
                      <a:pt x="16" y="23"/>
                      <a:pt x="16" y="22"/>
                    </a:cubicBezTo>
                    <a:cubicBezTo>
                      <a:pt x="17" y="22"/>
                      <a:pt x="18" y="22"/>
                      <a:pt x="18" y="22"/>
                    </a:cubicBezTo>
                    <a:cubicBezTo>
                      <a:pt x="18" y="22"/>
                      <a:pt x="19" y="23"/>
                      <a:pt x="20" y="23"/>
                    </a:cubicBezTo>
                    <a:cubicBezTo>
                      <a:pt x="20" y="23"/>
                      <a:pt x="19" y="23"/>
                      <a:pt x="19" y="23"/>
                    </a:cubicBezTo>
                    <a:cubicBezTo>
                      <a:pt x="19" y="23"/>
                      <a:pt x="19" y="24"/>
                      <a:pt x="19" y="24"/>
                    </a:cubicBezTo>
                    <a:cubicBezTo>
                      <a:pt x="19" y="24"/>
                      <a:pt x="20" y="23"/>
                      <a:pt x="20" y="23"/>
                    </a:cubicBezTo>
                    <a:cubicBezTo>
                      <a:pt x="20" y="23"/>
                      <a:pt x="20" y="23"/>
                      <a:pt x="20" y="23"/>
                    </a:cubicBezTo>
                    <a:cubicBezTo>
                      <a:pt x="21" y="23"/>
                      <a:pt x="20" y="23"/>
                      <a:pt x="20" y="22"/>
                    </a:cubicBezTo>
                    <a:cubicBezTo>
                      <a:pt x="21" y="23"/>
                      <a:pt x="20" y="22"/>
                      <a:pt x="21" y="22"/>
                    </a:cubicBezTo>
                    <a:cubicBezTo>
                      <a:pt x="21" y="22"/>
                      <a:pt x="21" y="23"/>
                      <a:pt x="21" y="23"/>
                    </a:cubicBezTo>
                    <a:cubicBezTo>
                      <a:pt x="22" y="24"/>
                      <a:pt x="20" y="23"/>
                      <a:pt x="20" y="24"/>
                    </a:cubicBezTo>
                    <a:cubicBezTo>
                      <a:pt x="20" y="24"/>
                      <a:pt x="21" y="24"/>
                      <a:pt x="21" y="24"/>
                    </a:cubicBezTo>
                    <a:cubicBezTo>
                      <a:pt x="22" y="24"/>
                      <a:pt x="22" y="25"/>
                      <a:pt x="22" y="25"/>
                    </a:cubicBezTo>
                    <a:cubicBezTo>
                      <a:pt x="22" y="25"/>
                      <a:pt x="22" y="25"/>
                      <a:pt x="22" y="25"/>
                    </a:cubicBezTo>
                    <a:cubicBezTo>
                      <a:pt x="22" y="25"/>
                      <a:pt x="22" y="26"/>
                      <a:pt x="22" y="27"/>
                    </a:cubicBezTo>
                    <a:cubicBezTo>
                      <a:pt x="22" y="28"/>
                      <a:pt x="21" y="28"/>
                      <a:pt x="21" y="28"/>
                    </a:cubicBezTo>
                    <a:close/>
                    <a:moveTo>
                      <a:pt x="56" y="26"/>
                    </a:moveTo>
                    <a:cubicBezTo>
                      <a:pt x="55" y="26"/>
                      <a:pt x="55" y="26"/>
                      <a:pt x="54" y="25"/>
                    </a:cubicBezTo>
                    <a:cubicBezTo>
                      <a:pt x="54" y="25"/>
                      <a:pt x="54" y="25"/>
                      <a:pt x="54" y="26"/>
                    </a:cubicBezTo>
                    <a:cubicBezTo>
                      <a:pt x="53" y="26"/>
                      <a:pt x="53" y="27"/>
                      <a:pt x="54" y="28"/>
                    </a:cubicBezTo>
                    <a:cubicBezTo>
                      <a:pt x="54" y="28"/>
                      <a:pt x="55" y="28"/>
                      <a:pt x="55" y="28"/>
                    </a:cubicBezTo>
                    <a:cubicBezTo>
                      <a:pt x="56" y="28"/>
                      <a:pt x="56" y="28"/>
                      <a:pt x="57" y="28"/>
                    </a:cubicBezTo>
                    <a:cubicBezTo>
                      <a:pt x="58" y="27"/>
                      <a:pt x="57" y="27"/>
                      <a:pt x="56" y="26"/>
                    </a:cubicBezTo>
                    <a:close/>
                    <a:moveTo>
                      <a:pt x="14" y="28"/>
                    </a:moveTo>
                    <a:cubicBezTo>
                      <a:pt x="14" y="27"/>
                      <a:pt x="12" y="28"/>
                      <a:pt x="13" y="28"/>
                    </a:cubicBezTo>
                    <a:cubicBezTo>
                      <a:pt x="13" y="28"/>
                      <a:pt x="13" y="28"/>
                      <a:pt x="13" y="28"/>
                    </a:cubicBezTo>
                    <a:cubicBezTo>
                      <a:pt x="13" y="28"/>
                      <a:pt x="13" y="28"/>
                      <a:pt x="13" y="28"/>
                    </a:cubicBezTo>
                    <a:cubicBezTo>
                      <a:pt x="14" y="28"/>
                      <a:pt x="14" y="29"/>
                      <a:pt x="14" y="29"/>
                    </a:cubicBezTo>
                    <a:cubicBezTo>
                      <a:pt x="14" y="29"/>
                      <a:pt x="14" y="29"/>
                      <a:pt x="14" y="29"/>
                    </a:cubicBezTo>
                    <a:cubicBezTo>
                      <a:pt x="13" y="30"/>
                      <a:pt x="15" y="29"/>
                      <a:pt x="15" y="30"/>
                    </a:cubicBezTo>
                    <a:cubicBezTo>
                      <a:pt x="15" y="30"/>
                      <a:pt x="15" y="29"/>
                      <a:pt x="15" y="29"/>
                    </a:cubicBezTo>
                    <a:cubicBezTo>
                      <a:pt x="14" y="30"/>
                      <a:pt x="16" y="30"/>
                      <a:pt x="16" y="30"/>
                    </a:cubicBezTo>
                    <a:cubicBezTo>
                      <a:pt x="16" y="30"/>
                      <a:pt x="16" y="29"/>
                      <a:pt x="16" y="29"/>
                    </a:cubicBezTo>
                    <a:cubicBezTo>
                      <a:pt x="15" y="28"/>
                      <a:pt x="14" y="28"/>
                      <a:pt x="14" y="28"/>
                    </a:cubicBezTo>
                    <a:close/>
                    <a:moveTo>
                      <a:pt x="2" y="23"/>
                    </a:moveTo>
                    <a:cubicBezTo>
                      <a:pt x="2" y="23"/>
                      <a:pt x="2" y="23"/>
                      <a:pt x="2" y="23"/>
                    </a:cubicBezTo>
                    <a:cubicBezTo>
                      <a:pt x="2" y="23"/>
                      <a:pt x="2" y="23"/>
                      <a:pt x="2" y="23"/>
                    </a:cubicBezTo>
                    <a:close/>
                    <a:moveTo>
                      <a:pt x="13" y="28"/>
                    </a:moveTo>
                    <a:cubicBezTo>
                      <a:pt x="13" y="28"/>
                      <a:pt x="12" y="28"/>
                      <a:pt x="12" y="28"/>
                    </a:cubicBezTo>
                    <a:cubicBezTo>
                      <a:pt x="12" y="28"/>
                      <a:pt x="11" y="28"/>
                      <a:pt x="11" y="28"/>
                    </a:cubicBezTo>
                    <a:cubicBezTo>
                      <a:pt x="11" y="28"/>
                      <a:pt x="12" y="27"/>
                      <a:pt x="11" y="27"/>
                    </a:cubicBezTo>
                    <a:cubicBezTo>
                      <a:pt x="11" y="27"/>
                      <a:pt x="11" y="27"/>
                      <a:pt x="11" y="27"/>
                    </a:cubicBezTo>
                    <a:cubicBezTo>
                      <a:pt x="11" y="27"/>
                      <a:pt x="13" y="26"/>
                      <a:pt x="13" y="26"/>
                    </a:cubicBezTo>
                    <a:cubicBezTo>
                      <a:pt x="13" y="26"/>
                      <a:pt x="13" y="25"/>
                      <a:pt x="12" y="25"/>
                    </a:cubicBezTo>
                    <a:cubicBezTo>
                      <a:pt x="13" y="25"/>
                      <a:pt x="12" y="24"/>
                      <a:pt x="13" y="24"/>
                    </a:cubicBezTo>
                    <a:cubicBezTo>
                      <a:pt x="13" y="23"/>
                      <a:pt x="12" y="23"/>
                      <a:pt x="11" y="23"/>
                    </a:cubicBezTo>
                    <a:cubicBezTo>
                      <a:pt x="12" y="23"/>
                      <a:pt x="12" y="23"/>
                      <a:pt x="12" y="23"/>
                    </a:cubicBezTo>
                    <a:cubicBezTo>
                      <a:pt x="12" y="23"/>
                      <a:pt x="13" y="23"/>
                      <a:pt x="13" y="23"/>
                    </a:cubicBezTo>
                    <a:cubicBezTo>
                      <a:pt x="13" y="23"/>
                      <a:pt x="14" y="22"/>
                      <a:pt x="14" y="22"/>
                    </a:cubicBezTo>
                    <a:cubicBezTo>
                      <a:pt x="14" y="22"/>
                      <a:pt x="14" y="22"/>
                      <a:pt x="13" y="22"/>
                    </a:cubicBezTo>
                    <a:cubicBezTo>
                      <a:pt x="13" y="22"/>
                      <a:pt x="13" y="22"/>
                      <a:pt x="13" y="21"/>
                    </a:cubicBezTo>
                    <a:cubicBezTo>
                      <a:pt x="13" y="21"/>
                      <a:pt x="12" y="21"/>
                      <a:pt x="12" y="21"/>
                    </a:cubicBezTo>
                    <a:cubicBezTo>
                      <a:pt x="13" y="21"/>
                      <a:pt x="13" y="21"/>
                      <a:pt x="14" y="21"/>
                    </a:cubicBezTo>
                    <a:cubicBezTo>
                      <a:pt x="14" y="21"/>
                      <a:pt x="15" y="21"/>
                      <a:pt x="15" y="21"/>
                    </a:cubicBezTo>
                    <a:cubicBezTo>
                      <a:pt x="16" y="21"/>
                      <a:pt x="16" y="21"/>
                      <a:pt x="16" y="21"/>
                    </a:cubicBezTo>
                    <a:cubicBezTo>
                      <a:pt x="15" y="21"/>
                      <a:pt x="16" y="20"/>
                      <a:pt x="16" y="20"/>
                    </a:cubicBezTo>
                    <a:cubicBezTo>
                      <a:pt x="15" y="20"/>
                      <a:pt x="15" y="20"/>
                      <a:pt x="14" y="20"/>
                    </a:cubicBezTo>
                    <a:cubicBezTo>
                      <a:pt x="15" y="19"/>
                      <a:pt x="15" y="19"/>
                      <a:pt x="16" y="19"/>
                    </a:cubicBezTo>
                    <a:cubicBezTo>
                      <a:pt x="16" y="19"/>
                      <a:pt x="17" y="20"/>
                      <a:pt x="17" y="20"/>
                    </a:cubicBezTo>
                    <a:cubicBezTo>
                      <a:pt x="17" y="20"/>
                      <a:pt x="17" y="19"/>
                      <a:pt x="17" y="19"/>
                    </a:cubicBezTo>
                    <a:cubicBezTo>
                      <a:pt x="18" y="19"/>
                      <a:pt x="17" y="18"/>
                      <a:pt x="18" y="18"/>
                    </a:cubicBezTo>
                    <a:cubicBezTo>
                      <a:pt x="18" y="18"/>
                      <a:pt x="17" y="18"/>
                      <a:pt x="17" y="18"/>
                    </a:cubicBezTo>
                    <a:cubicBezTo>
                      <a:pt x="18" y="17"/>
                      <a:pt x="17" y="17"/>
                      <a:pt x="17" y="16"/>
                    </a:cubicBezTo>
                    <a:cubicBezTo>
                      <a:pt x="17" y="16"/>
                      <a:pt x="18" y="16"/>
                      <a:pt x="18" y="15"/>
                    </a:cubicBezTo>
                    <a:cubicBezTo>
                      <a:pt x="19" y="15"/>
                      <a:pt x="19" y="15"/>
                      <a:pt x="19" y="15"/>
                    </a:cubicBezTo>
                    <a:cubicBezTo>
                      <a:pt x="19" y="15"/>
                      <a:pt x="19" y="16"/>
                      <a:pt x="19" y="16"/>
                    </a:cubicBezTo>
                    <a:cubicBezTo>
                      <a:pt x="19" y="16"/>
                      <a:pt x="18" y="16"/>
                      <a:pt x="18" y="16"/>
                    </a:cubicBezTo>
                    <a:cubicBezTo>
                      <a:pt x="18" y="17"/>
                      <a:pt x="19" y="16"/>
                      <a:pt x="20" y="16"/>
                    </a:cubicBezTo>
                    <a:cubicBezTo>
                      <a:pt x="20" y="16"/>
                      <a:pt x="19" y="17"/>
                      <a:pt x="20" y="17"/>
                    </a:cubicBezTo>
                    <a:cubicBezTo>
                      <a:pt x="20" y="17"/>
                      <a:pt x="20" y="16"/>
                      <a:pt x="20" y="16"/>
                    </a:cubicBezTo>
                    <a:cubicBezTo>
                      <a:pt x="20" y="16"/>
                      <a:pt x="21" y="15"/>
                      <a:pt x="21" y="16"/>
                    </a:cubicBezTo>
                    <a:cubicBezTo>
                      <a:pt x="21" y="16"/>
                      <a:pt x="21" y="17"/>
                      <a:pt x="21" y="16"/>
                    </a:cubicBezTo>
                    <a:cubicBezTo>
                      <a:pt x="21" y="16"/>
                      <a:pt x="22" y="16"/>
                      <a:pt x="22" y="15"/>
                    </a:cubicBezTo>
                    <a:cubicBezTo>
                      <a:pt x="22" y="15"/>
                      <a:pt x="24" y="14"/>
                      <a:pt x="23" y="13"/>
                    </a:cubicBezTo>
                    <a:cubicBezTo>
                      <a:pt x="22" y="12"/>
                      <a:pt x="21" y="13"/>
                      <a:pt x="20" y="13"/>
                    </a:cubicBezTo>
                    <a:cubicBezTo>
                      <a:pt x="20" y="13"/>
                      <a:pt x="19" y="13"/>
                      <a:pt x="19" y="13"/>
                    </a:cubicBezTo>
                    <a:cubicBezTo>
                      <a:pt x="18" y="12"/>
                      <a:pt x="18" y="12"/>
                      <a:pt x="18" y="12"/>
                    </a:cubicBezTo>
                    <a:cubicBezTo>
                      <a:pt x="17" y="12"/>
                      <a:pt x="18" y="13"/>
                      <a:pt x="17" y="13"/>
                    </a:cubicBezTo>
                    <a:cubicBezTo>
                      <a:pt x="17" y="13"/>
                      <a:pt x="17" y="12"/>
                      <a:pt x="18" y="12"/>
                    </a:cubicBezTo>
                    <a:cubicBezTo>
                      <a:pt x="18" y="12"/>
                      <a:pt x="18" y="12"/>
                      <a:pt x="18" y="11"/>
                    </a:cubicBezTo>
                    <a:cubicBezTo>
                      <a:pt x="19" y="11"/>
                      <a:pt x="18" y="11"/>
                      <a:pt x="17" y="11"/>
                    </a:cubicBezTo>
                    <a:cubicBezTo>
                      <a:pt x="17" y="11"/>
                      <a:pt x="17" y="11"/>
                      <a:pt x="17" y="11"/>
                    </a:cubicBezTo>
                    <a:cubicBezTo>
                      <a:pt x="17" y="11"/>
                      <a:pt x="16" y="11"/>
                      <a:pt x="16" y="11"/>
                    </a:cubicBezTo>
                    <a:cubicBezTo>
                      <a:pt x="16" y="11"/>
                      <a:pt x="15" y="12"/>
                      <a:pt x="14" y="11"/>
                    </a:cubicBezTo>
                    <a:cubicBezTo>
                      <a:pt x="15" y="11"/>
                      <a:pt x="15" y="11"/>
                      <a:pt x="16" y="11"/>
                    </a:cubicBezTo>
                    <a:cubicBezTo>
                      <a:pt x="17" y="11"/>
                      <a:pt x="17" y="11"/>
                      <a:pt x="18" y="11"/>
                    </a:cubicBezTo>
                    <a:cubicBezTo>
                      <a:pt x="18" y="11"/>
                      <a:pt x="18" y="8"/>
                      <a:pt x="18" y="8"/>
                    </a:cubicBezTo>
                    <a:cubicBezTo>
                      <a:pt x="18" y="8"/>
                      <a:pt x="18" y="8"/>
                      <a:pt x="18" y="8"/>
                    </a:cubicBezTo>
                    <a:cubicBezTo>
                      <a:pt x="18" y="8"/>
                      <a:pt x="18" y="8"/>
                      <a:pt x="18" y="8"/>
                    </a:cubicBezTo>
                    <a:cubicBezTo>
                      <a:pt x="18" y="8"/>
                      <a:pt x="19" y="7"/>
                      <a:pt x="19" y="6"/>
                    </a:cubicBezTo>
                    <a:cubicBezTo>
                      <a:pt x="19" y="6"/>
                      <a:pt x="20" y="6"/>
                      <a:pt x="20" y="5"/>
                    </a:cubicBezTo>
                    <a:cubicBezTo>
                      <a:pt x="20" y="5"/>
                      <a:pt x="20" y="4"/>
                      <a:pt x="20" y="4"/>
                    </a:cubicBezTo>
                    <a:cubicBezTo>
                      <a:pt x="20" y="4"/>
                      <a:pt x="20" y="3"/>
                      <a:pt x="19" y="3"/>
                    </a:cubicBezTo>
                    <a:cubicBezTo>
                      <a:pt x="19" y="2"/>
                      <a:pt x="19" y="2"/>
                      <a:pt x="19" y="2"/>
                    </a:cubicBezTo>
                    <a:cubicBezTo>
                      <a:pt x="19" y="1"/>
                      <a:pt x="20" y="0"/>
                      <a:pt x="21" y="0"/>
                    </a:cubicBezTo>
                    <a:cubicBezTo>
                      <a:pt x="19" y="0"/>
                      <a:pt x="18" y="1"/>
                      <a:pt x="18" y="1"/>
                    </a:cubicBezTo>
                    <a:cubicBezTo>
                      <a:pt x="17" y="2"/>
                      <a:pt x="15" y="1"/>
                      <a:pt x="15" y="2"/>
                    </a:cubicBezTo>
                    <a:cubicBezTo>
                      <a:pt x="14" y="3"/>
                      <a:pt x="13" y="4"/>
                      <a:pt x="13" y="4"/>
                    </a:cubicBezTo>
                    <a:cubicBezTo>
                      <a:pt x="11" y="6"/>
                      <a:pt x="10" y="6"/>
                      <a:pt x="8" y="6"/>
                    </a:cubicBezTo>
                    <a:cubicBezTo>
                      <a:pt x="7" y="6"/>
                      <a:pt x="6" y="7"/>
                      <a:pt x="5" y="7"/>
                    </a:cubicBezTo>
                    <a:cubicBezTo>
                      <a:pt x="4" y="6"/>
                      <a:pt x="4" y="7"/>
                      <a:pt x="4" y="7"/>
                    </a:cubicBezTo>
                    <a:cubicBezTo>
                      <a:pt x="3" y="8"/>
                      <a:pt x="2" y="8"/>
                      <a:pt x="2" y="9"/>
                    </a:cubicBezTo>
                    <a:cubicBezTo>
                      <a:pt x="2" y="9"/>
                      <a:pt x="1" y="10"/>
                      <a:pt x="1" y="11"/>
                    </a:cubicBezTo>
                    <a:cubicBezTo>
                      <a:pt x="2" y="11"/>
                      <a:pt x="2" y="9"/>
                      <a:pt x="2" y="11"/>
                    </a:cubicBezTo>
                    <a:cubicBezTo>
                      <a:pt x="2" y="11"/>
                      <a:pt x="3" y="12"/>
                      <a:pt x="4" y="12"/>
                    </a:cubicBezTo>
                    <a:cubicBezTo>
                      <a:pt x="4" y="12"/>
                      <a:pt x="4" y="12"/>
                      <a:pt x="4" y="11"/>
                    </a:cubicBezTo>
                    <a:cubicBezTo>
                      <a:pt x="4" y="12"/>
                      <a:pt x="4" y="11"/>
                      <a:pt x="4" y="11"/>
                    </a:cubicBezTo>
                    <a:cubicBezTo>
                      <a:pt x="4" y="11"/>
                      <a:pt x="3" y="11"/>
                      <a:pt x="3" y="11"/>
                    </a:cubicBezTo>
                    <a:cubicBezTo>
                      <a:pt x="3" y="11"/>
                      <a:pt x="3" y="11"/>
                      <a:pt x="4" y="11"/>
                    </a:cubicBezTo>
                    <a:cubicBezTo>
                      <a:pt x="4" y="11"/>
                      <a:pt x="4" y="11"/>
                      <a:pt x="4" y="11"/>
                    </a:cubicBezTo>
                    <a:cubicBezTo>
                      <a:pt x="4" y="11"/>
                      <a:pt x="3" y="10"/>
                      <a:pt x="4" y="10"/>
                    </a:cubicBezTo>
                    <a:cubicBezTo>
                      <a:pt x="4" y="9"/>
                      <a:pt x="5" y="8"/>
                      <a:pt x="5" y="8"/>
                    </a:cubicBezTo>
                    <a:cubicBezTo>
                      <a:pt x="5" y="8"/>
                      <a:pt x="6" y="8"/>
                      <a:pt x="6" y="8"/>
                    </a:cubicBezTo>
                    <a:cubicBezTo>
                      <a:pt x="6" y="8"/>
                      <a:pt x="7" y="8"/>
                      <a:pt x="7" y="8"/>
                    </a:cubicBezTo>
                    <a:cubicBezTo>
                      <a:pt x="7" y="7"/>
                      <a:pt x="8" y="8"/>
                      <a:pt x="8" y="7"/>
                    </a:cubicBezTo>
                    <a:cubicBezTo>
                      <a:pt x="9" y="7"/>
                      <a:pt x="9" y="8"/>
                      <a:pt x="9" y="8"/>
                    </a:cubicBezTo>
                    <a:cubicBezTo>
                      <a:pt x="10" y="8"/>
                      <a:pt x="10" y="7"/>
                      <a:pt x="11" y="7"/>
                    </a:cubicBezTo>
                    <a:cubicBezTo>
                      <a:pt x="12" y="7"/>
                      <a:pt x="12" y="7"/>
                      <a:pt x="13" y="7"/>
                    </a:cubicBezTo>
                    <a:cubicBezTo>
                      <a:pt x="13" y="7"/>
                      <a:pt x="13" y="7"/>
                      <a:pt x="14" y="7"/>
                    </a:cubicBezTo>
                    <a:cubicBezTo>
                      <a:pt x="14" y="6"/>
                      <a:pt x="14" y="7"/>
                      <a:pt x="15" y="7"/>
                    </a:cubicBezTo>
                    <a:cubicBezTo>
                      <a:pt x="15" y="7"/>
                      <a:pt x="15" y="7"/>
                      <a:pt x="16" y="7"/>
                    </a:cubicBezTo>
                    <a:cubicBezTo>
                      <a:pt x="16" y="7"/>
                      <a:pt x="16" y="7"/>
                      <a:pt x="17" y="8"/>
                    </a:cubicBezTo>
                    <a:cubicBezTo>
                      <a:pt x="17" y="8"/>
                      <a:pt x="17" y="8"/>
                      <a:pt x="16" y="7"/>
                    </a:cubicBezTo>
                    <a:cubicBezTo>
                      <a:pt x="16" y="7"/>
                      <a:pt x="16" y="7"/>
                      <a:pt x="15" y="7"/>
                    </a:cubicBezTo>
                    <a:cubicBezTo>
                      <a:pt x="15" y="7"/>
                      <a:pt x="13" y="7"/>
                      <a:pt x="13" y="8"/>
                    </a:cubicBezTo>
                    <a:cubicBezTo>
                      <a:pt x="12" y="8"/>
                      <a:pt x="12" y="8"/>
                      <a:pt x="11" y="7"/>
                    </a:cubicBezTo>
                    <a:cubicBezTo>
                      <a:pt x="10" y="7"/>
                      <a:pt x="9" y="8"/>
                      <a:pt x="9" y="9"/>
                    </a:cubicBezTo>
                    <a:cubicBezTo>
                      <a:pt x="9" y="9"/>
                      <a:pt x="9" y="9"/>
                      <a:pt x="9" y="9"/>
                    </a:cubicBezTo>
                    <a:cubicBezTo>
                      <a:pt x="9" y="9"/>
                      <a:pt x="9" y="10"/>
                      <a:pt x="9" y="10"/>
                    </a:cubicBezTo>
                    <a:cubicBezTo>
                      <a:pt x="9" y="10"/>
                      <a:pt x="9" y="10"/>
                      <a:pt x="9" y="11"/>
                    </a:cubicBezTo>
                    <a:cubicBezTo>
                      <a:pt x="9" y="11"/>
                      <a:pt x="9" y="11"/>
                      <a:pt x="9" y="11"/>
                    </a:cubicBezTo>
                    <a:cubicBezTo>
                      <a:pt x="9" y="11"/>
                      <a:pt x="10" y="10"/>
                      <a:pt x="10" y="11"/>
                    </a:cubicBezTo>
                    <a:cubicBezTo>
                      <a:pt x="10" y="12"/>
                      <a:pt x="10" y="12"/>
                      <a:pt x="10" y="12"/>
                    </a:cubicBezTo>
                    <a:cubicBezTo>
                      <a:pt x="11" y="12"/>
                      <a:pt x="9" y="13"/>
                      <a:pt x="10" y="12"/>
                    </a:cubicBezTo>
                    <a:cubicBezTo>
                      <a:pt x="10" y="11"/>
                      <a:pt x="9" y="12"/>
                      <a:pt x="9" y="11"/>
                    </a:cubicBezTo>
                    <a:cubicBezTo>
                      <a:pt x="9" y="11"/>
                      <a:pt x="9" y="11"/>
                      <a:pt x="8" y="12"/>
                    </a:cubicBezTo>
                    <a:cubicBezTo>
                      <a:pt x="9" y="12"/>
                      <a:pt x="9" y="12"/>
                      <a:pt x="9" y="12"/>
                    </a:cubicBezTo>
                    <a:cubicBezTo>
                      <a:pt x="9" y="12"/>
                      <a:pt x="8" y="12"/>
                      <a:pt x="8" y="12"/>
                    </a:cubicBezTo>
                    <a:cubicBezTo>
                      <a:pt x="8" y="12"/>
                      <a:pt x="8" y="12"/>
                      <a:pt x="8" y="12"/>
                    </a:cubicBezTo>
                    <a:cubicBezTo>
                      <a:pt x="8" y="11"/>
                      <a:pt x="9" y="11"/>
                      <a:pt x="9" y="10"/>
                    </a:cubicBezTo>
                    <a:cubicBezTo>
                      <a:pt x="9" y="10"/>
                      <a:pt x="8" y="10"/>
                      <a:pt x="7" y="10"/>
                    </a:cubicBezTo>
                    <a:cubicBezTo>
                      <a:pt x="7" y="10"/>
                      <a:pt x="6" y="10"/>
                      <a:pt x="6" y="10"/>
                    </a:cubicBezTo>
                    <a:cubicBezTo>
                      <a:pt x="6" y="11"/>
                      <a:pt x="7" y="11"/>
                      <a:pt x="7" y="11"/>
                    </a:cubicBezTo>
                    <a:cubicBezTo>
                      <a:pt x="6" y="11"/>
                      <a:pt x="6" y="11"/>
                      <a:pt x="6" y="11"/>
                    </a:cubicBezTo>
                    <a:cubicBezTo>
                      <a:pt x="6" y="11"/>
                      <a:pt x="5" y="12"/>
                      <a:pt x="5" y="12"/>
                    </a:cubicBezTo>
                    <a:cubicBezTo>
                      <a:pt x="5" y="12"/>
                      <a:pt x="6" y="12"/>
                      <a:pt x="5" y="13"/>
                    </a:cubicBezTo>
                    <a:cubicBezTo>
                      <a:pt x="4" y="13"/>
                      <a:pt x="4" y="12"/>
                      <a:pt x="4" y="12"/>
                    </a:cubicBezTo>
                    <a:cubicBezTo>
                      <a:pt x="3" y="13"/>
                      <a:pt x="2" y="11"/>
                      <a:pt x="2" y="12"/>
                    </a:cubicBezTo>
                    <a:cubicBezTo>
                      <a:pt x="2" y="12"/>
                      <a:pt x="2" y="12"/>
                      <a:pt x="2" y="12"/>
                    </a:cubicBezTo>
                    <a:cubicBezTo>
                      <a:pt x="1" y="12"/>
                      <a:pt x="1" y="12"/>
                      <a:pt x="1" y="11"/>
                    </a:cubicBezTo>
                    <a:cubicBezTo>
                      <a:pt x="1" y="11"/>
                      <a:pt x="1" y="11"/>
                      <a:pt x="1" y="11"/>
                    </a:cubicBezTo>
                    <a:cubicBezTo>
                      <a:pt x="1" y="11"/>
                      <a:pt x="0" y="12"/>
                      <a:pt x="0" y="13"/>
                    </a:cubicBezTo>
                    <a:cubicBezTo>
                      <a:pt x="0" y="13"/>
                      <a:pt x="0" y="13"/>
                      <a:pt x="0" y="14"/>
                    </a:cubicBezTo>
                    <a:cubicBezTo>
                      <a:pt x="0" y="14"/>
                      <a:pt x="0" y="15"/>
                      <a:pt x="0" y="15"/>
                    </a:cubicBezTo>
                    <a:cubicBezTo>
                      <a:pt x="0" y="16"/>
                      <a:pt x="0" y="18"/>
                      <a:pt x="0" y="18"/>
                    </a:cubicBezTo>
                    <a:cubicBezTo>
                      <a:pt x="1" y="18"/>
                      <a:pt x="1" y="17"/>
                      <a:pt x="1" y="17"/>
                    </a:cubicBezTo>
                    <a:cubicBezTo>
                      <a:pt x="1" y="17"/>
                      <a:pt x="2" y="17"/>
                      <a:pt x="2" y="18"/>
                    </a:cubicBezTo>
                    <a:cubicBezTo>
                      <a:pt x="2" y="18"/>
                      <a:pt x="3" y="19"/>
                      <a:pt x="2" y="19"/>
                    </a:cubicBezTo>
                    <a:cubicBezTo>
                      <a:pt x="0" y="20"/>
                      <a:pt x="1" y="19"/>
                      <a:pt x="0" y="18"/>
                    </a:cubicBezTo>
                    <a:cubicBezTo>
                      <a:pt x="0" y="19"/>
                      <a:pt x="1" y="20"/>
                      <a:pt x="1" y="21"/>
                    </a:cubicBezTo>
                    <a:cubicBezTo>
                      <a:pt x="1" y="21"/>
                      <a:pt x="0" y="22"/>
                      <a:pt x="0" y="22"/>
                    </a:cubicBezTo>
                    <a:cubicBezTo>
                      <a:pt x="0" y="23"/>
                      <a:pt x="1" y="23"/>
                      <a:pt x="2" y="23"/>
                    </a:cubicBezTo>
                    <a:cubicBezTo>
                      <a:pt x="2" y="23"/>
                      <a:pt x="1" y="22"/>
                      <a:pt x="2" y="22"/>
                    </a:cubicBezTo>
                    <a:cubicBezTo>
                      <a:pt x="2" y="22"/>
                      <a:pt x="2" y="23"/>
                      <a:pt x="2" y="23"/>
                    </a:cubicBezTo>
                    <a:cubicBezTo>
                      <a:pt x="3" y="23"/>
                      <a:pt x="3" y="24"/>
                      <a:pt x="3" y="24"/>
                    </a:cubicBezTo>
                    <a:cubicBezTo>
                      <a:pt x="4" y="24"/>
                      <a:pt x="5" y="24"/>
                      <a:pt x="5" y="25"/>
                    </a:cubicBezTo>
                    <a:cubicBezTo>
                      <a:pt x="5" y="26"/>
                      <a:pt x="5" y="27"/>
                      <a:pt x="4" y="27"/>
                    </a:cubicBezTo>
                    <a:cubicBezTo>
                      <a:pt x="5" y="27"/>
                      <a:pt x="5" y="27"/>
                      <a:pt x="5" y="28"/>
                    </a:cubicBezTo>
                    <a:cubicBezTo>
                      <a:pt x="5" y="28"/>
                      <a:pt x="4" y="29"/>
                      <a:pt x="5" y="29"/>
                    </a:cubicBezTo>
                    <a:cubicBezTo>
                      <a:pt x="5" y="30"/>
                      <a:pt x="5" y="29"/>
                      <a:pt x="6" y="29"/>
                    </a:cubicBezTo>
                    <a:cubicBezTo>
                      <a:pt x="6" y="29"/>
                      <a:pt x="7" y="29"/>
                      <a:pt x="7" y="30"/>
                    </a:cubicBezTo>
                    <a:cubicBezTo>
                      <a:pt x="8" y="30"/>
                      <a:pt x="9" y="30"/>
                      <a:pt x="9" y="30"/>
                    </a:cubicBezTo>
                    <a:cubicBezTo>
                      <a:pt x="9" y="30"/>
                      <a:pt x="10" y="30"/>
                      <a:pt x="10" y="30"/>
                    </a:cubicBezTo>
                    <a:cubicBezTo>
                      <a:pt x="11" y="30"/>
                      <a:pt x="12" y="29"/>
                      <a:pt x="13" y="29"/>
                    </a:cubicBezTo>
                    <a:cubicBezTo>
                      <a:pt x="13" y="29"/>
                      <a:pt x="12" y="29"/>
                      <a:pt x="12" y="29"/>
                    </a:cubicBezTo>
                    <a:cubicBezTo>
                      <a:pt x="13" y="30"/>
                      <a:pt x="13" y="30"/>
                      <a:pt x="13" y="30"/>
                    </a:cubicBezTo>
                    <a:cubicBezTo>
                      <a:pt x="13" y="30"/>
                      <a:pt x="13" y="30"/>
                      <a:pt x="13" y="29"/>
                    </a:cubicBezTo>
                    <a:cubicBezTo>
                      <a:pt x="14" y="30"/>
                      <a:pt x="13" y="28"/>
                      <a:pt x="13" y="28"/>
                    </a:cubicBezTo>
                    <a:close/>
                    <a:moveTo>
                      <a:pt x="20" y="20"/>
                    </a:moveTo>
                    <a:cubicBezTo>
                      <a:pt x="21" y="20"/>
                      <a:pt x="21" y="20"/>
                      <a:pt x="21" y="19"/>
                    </a:cubicBezTo>
                    <a:cubicBezTo>
                      <a:pt x="21" y="20"/>
                      <a:pt x="20" y="18"/>
                      <a:pt x="20" y="18"/>
                    </a:cubicBezTo>
                    <a:cubicBezTo>
                      <a:pt x="19" y="18"/>
                      <a:pt x="20" y="19"/>
                      <a:pt x="20" y="19"/>
                    </a:cubicBezTo>
                    <a:cubicBezTo>
                      <a:pt x="20" y="19"/>
                      <a:pt x="20" y="20"/>
                      <a:pt x="20" y="20"/>
                    </a:cubicBezTo>
                    <a:cubicBezTo>
                      <a:pt x="19" y="20"/>
                      <a:pt x="20" y="21"/>
                      <a:pt x="20" y="20"/>
                    </a:cubicBezTo>
                    <a:close/>
                    <a:moveTo>
                      <a:pt x="36" y="19"/>
                    </a:moveTo>
                    <a:cubicBezTo>
                      <a:pt x="36" y="18"/>
                      <a:pt x="37" y="18"/>
                      <a:pt x="36" y="17"/>
                    </a:cubicBezTo>
                    <a:cubicBezTo>
                      <a:pt x="35" y="17"/>
                      <a:pt x="35" y="17"/>
                      <a:pt x="34" y="17"/>
                    </a:cubicBezTo>
                    <a:cubicBezTo>
                      <a:pt x="34" y="17"/>
                      <a:pt x="33" y="17"/>
                      <a:pt x="33" y="17"/>
                    </a:cubicBezTo>
                    <a:cubicBezTo>
                      <a:pt x="32" y="17"/>
                      <a:pt x="32" y="18"/>
                      <a:pt x="31" y="18"/>
                    </a:cubicBezTo>
                    <a:cubicBezTo>
                      <a:pt x="31" y="18"/>
                      <a:pt x="30" y="19"/>
                      <a:pt x="31" y="19"/>
                    </a:cubicBezTo>
                    <a:cubicBezTo>
                      <a:pt x="32" y="18"/>
                      <a:pt x="32" y="19"/>
                      <a:pt x="32" y="20"/>
                    </a:cubicBezTo>
                    <a:cubicBezTo>
                      <a:pt x="32" y="20"/>
                      <a:pt x="32" y="21"/>
                      <a:pt x="32" y="21"/>
                    </a:cubicBezTo>
                    <a:cubicBezTo>
                      <a:pt x="32" y="21"/>
                      <a:pt x="32" y="22"/>
                      <a:pt x="32" y="21"/>
                    </a:cubicBezTo>
                    <a:cubicBezTo>
                      <a:pt x="32" y="21"/>
                      <a:pt x="32" y="21"/>
                      <a:pt x="32" y="21"/>
                    </a:cubicBezTo>
                    <a:cubicBezTo>
                      <a:pt x="32" y="21"/>
                      <a:pt x="31" y="22"/>
                      <a:pt x="31" y="22"/>
                    </a:cubicBezTo>
                    <a:cubicBezTo>
                      <a:pt x="31" y="21"/>
                      <a:pt x="32" y="21"/>
                      <a:pt x="32" y="21"/>
                    </a:cubicBezTo>
                    <a:cubicBezTo>
                      <a:pt x="32" y="20"/>
                      <a:pt x="32" y="19"/>
                      <a:pt x="31" y="19"/>
                    </a:cubicBezTo>
                    <a:cubicBezTo>
                      <a:pt x="31" y="18"/>
                      <a:pt x="31" y="20"/>
                      <a:pt x="31" y="20"/>
                    </a:cubicBezTo>
                    <a:cubicBezTo>
                      <a:pt x="30" y="20"/>
                      <a:pt x="31" y="21"/>
                      <a:pt x="30" y="21"/>
                    </a:cubicBezTo>
                    <a:cubicBezTo>
                      <a:pt x="30" y="21"/>
                      <a:pt x="29" y="21"/>
                      <a:pt x="29" y="21"/>
                    </a:cubicBezTo>
                    <a:cubicBezTo>
                      <a:pt x="29" y="21"/>
                      <a:pt x="30" y="21"/>
                      <a:pt x="30" y="20"/>
                    </a:cubicBezTo>
                    <a:cubicBezTo>
                      <a:pt x="29" y="20"/>
                      <a:pt x="29" y="20"/>
                      <a:pt x="28" y="20"/>
                    </a:cubicBezTo>
                    <a:cubicBezTo>
                      <a:pt x="29" y="20"/>
                      <a:pt x="30" y="20"/>
                      <a:pt x="29" y="19"/>
                    </a:cubicBezTo>
                    <a:cubicBezTo>
                      <a:pt x="29" y="19"/>
                      <a:pt x="29" y="19"/>
                      <a:pt x="30" y="19"/>
                    </a:cubicBezTo>
                    <a:cubicBezTo>
                      <a:pt x="29" y="19"/>
                      <a:pt x="30" y="18"/>
                      <a:pt x="29" y="18"/>
                    </a:cubicBezTo>
                    <a:cubicBezTo>
                      <a:pt x="29" y="18"/>
                      <a:pt x="29" y="19"/>
                      <a:pt x="28" y="19"/>
                    </a:cubicBezTo>
                    <a:cubicBezTo>
                      <a:pt x="27" y="18"/>
                      <a:pt x="27" y="18"/>
                      <a:pt x="26" y="18"/>
                    </a:cubicBezTo>
                    <a:cubicBezTo>
                      <a:pt x="26" y="19"/>
                      <a:pt x="27" y="18"/>
                      <a:pt x="28" y="19"/>
                    </a:cubicBezTo>
                    <a:cubicBezTo>
                      <a:pt x="28" y="20"/>
                      <a:pt x="27" y="20"/>
                      <a:pt x="26" y="20"/>
                    </a:cubicBezTo>
                    <a:cubicBezTo>
                      <a:pt x="27" y="20"/>
                      <a:pt x="26" y="20"/>
                      <a:pt x="26" y="21"/>
                    </a:cubicBezTo>
                    <a:cubicBezTo>
                      <a:pt x="26" y="21"/>
                      <a:pt x="25" y="21"/>
                      <a:pt x="25" y="21"/>
                    </a:cubicBezTo>
                    <a:cubicBezTo>
                      <a:pt x="25" y="21"/>
                      <a:pt x="24" y="21"/>
                      <a:pt x="25" y="21"/>
                    </a:cubicBezTo>
                    <a:cubicBezTo>
                      <a:pt x="24" y="21"/>
                      <a:pt x="24" y="21"/>
                      <a:pt x="24" y="21"/>
                    </a:cubicBezTo>
                    <a:cubicBezTo>
                      <a:pt x="23" y="21"/>
                      <a:pt x="23" y="21"/>
                      <a:pt x="23" y="21"/>
                    </a:cubicBezTo>
                    <a:cubicBezTo>
                      <a:pt x="23" y="21"/>
                      <a:pt x="24" y="21"/>
                      <a:pt x="24" y="21"/>
                    </a:cubicBezTo>
                    <a:cubicBezTo>
                      <a:pt x="24" y="22"/>
                      <a:pt x="23" y="21"/>
                      <a:pt x="23" y="21"/>
                    </a:cubicBezTo>
                    <a:cubicBezTo>
                      <a:pt x="23" y="22"/>
                      <a:pt x="25" y="22"/>
                      <a:pt x="25" y="22"/>
                    </a:cubicBezTo>
                    <a:cubicBezTo>
                      <a:pt x="25" y="23"/>
                      <a:pt x="24" y="23"/>
                      <a:pt x="24" y="23"/>
                    </a:cubicBezTo>
                    <a:cubicBezTo>
                      <a:pt x="24" y="23"/>
                      <a:pt x="25" y="23"/>
                      <a:pt x="25" y="23"/>
                    </a:cubicBezTo>
                    <a:cubicBezTo>
                      <a:pt x="25" y="23"/>
                      <a:pt x="25" y="24"/>
                      <a:pt x="25" y="24"/>
                    </a:cubicBezTo>
                    <a:cubicBezTo>
                      <a:pt x="25" y="24"/>
                      <a:pt x="24" y="25"/>
                      <a:pt x="24" y="25"/>
                    </a:cubicBezTo>
                    <a:cubicBezTo>
                      <a:pt x="25" y="25"/>
                      <a:pt x="25" y="25"/>
                      <a:pt x="25" y="25"/>
                    </a:cubicBezTo>
                    <a:cubicBezTo>
                      <a:pt x="25" y="25"/>
                      <a:pt x="25" y="25"/>
                      <a:pt x="25" y="25"/>
                    </a:cubicBezTo>
                    <a:cubicBezTo>
                      <a:pt x="25" y="25"/>
                      <a:pt x="26" y="26"/>
                      <a:pt x="26" y="26"/>
                    </a:cubicBezTo>
                    <a:cubicBezTo>
                      <a:pt x="25" y="26"/>
                      <a:pt x="26" y="26"/>
                      <a:pt x="26" y="26"/>
                    </a:cubicBezTo>
                    <a:cubicBezTo>
                      <a:pt x="26" y="26"/>
                      <a:pt x="27" y="26"/>
                      <a:pt x="27" y="26"/>
                    </a:cubicBezTo>
                    <a:cubicBezTo>
                      <a:pt x="28" y="26"/>
                      <a:pt x="28" y="26"/>
                      <a:pt x="28" y="26"/>
                    </a:cubicBezTo>
                    <a:cubicBezTo>
                      <a:pt x="29" y="26"/>
                      <a:pt x="29" y="26"/>
                      <a:pt x="29" y="26"/>
                    </a:cubicBezTo>
                    <a:cubicBezTo>
                      <a:pt x="30" y="26"/>
                      <a:pt x="29" y="26"/>
                      <a:pt x="29" y="27"/>
                    </a:cubicBezTo>
                    <a:cubicBezTo>
                      <a:pt x="30" y="27"/>
                      <a:pt x="30" y="27"/>
                      <a:pt x="30" y="27"/>
                    </a:cubicBezTo>
                    <a:cubicBezTo>
                      <a:pt x="30" y="27"/>
                      <a:pt x="29" y="27"/>
                      <a:pt x="29" y="27"/>
                    </a:cubicBezTo>
                    <a:cubicBezTo>
                      <a:pt x="29" y="27"/>
                      <a:pt x="30" y="28"/>
                      <a:pt x="30" y="28"/>
                    </a:cubicBezTo>
                    <a:cubicBezTo>
                      <a:pt x="30" y="28"/>
                      <a:pt x="29" y="27"/>
                      <a:pt x="29" y="27"/>
                    </a:cubicBezTo>
                    <a:cubicBezTo>
                      <a:pt x="29" y="28"/>
                      <a:pt x="31" y="28"/>
                      <a:pt x="31" y="28"/>
                    </a:cubicBezTo>
                    <a:cubicBezTo>
                      <a:pt x="31" y="29"/>
                      <a:pt x="30" y="29"/>
                      <a:pt x="30" y="29"/>
                    </a:cubicBezTo>
                    <a:cubicBezTo>
                      <a:pt x="29" y="29"/>
                      <a:pt x="30" y="30"/>
                      <a:pt x="30" y="30"/>
                    </a:cubicBezTo>
                    <a:cubicBezTo>
                      <a:pt x="30" y="30"/>
                      <a:pt x="30" y="30"/>
                      <a:pt x="30" y="30"/>
                    </a:cubicBezTo>
                    <a:cubicBezTo>
                      <a:pt x="30" y="30"/>
                      <a:pt x="30" y="30"/>
                      <a:pt x="30" y="30"/>
                    </a:cubicBezTo>
                    <a:cubicBezTo>
                      <a:pt x="30" y="30"/>
                      <a:pt x="29" y="29"/>
                      <a:pt x="29" y="29"/>
                    </a:cubicBezTo>
                    <a:cubicBezTo>
                      <a:pt x="29" y="30"/>
                      <a:pt x="29" y="30"/>
                      <a:pt x="29" y="30"/>
                    </a:cubicBezTo>
                    <a:cubicBezTo>
                      <a:pt x="29" y="30"/>
                      <a:pt x="28" y="30"/>
                      <a:pt x="28" y="30"/>
                    </a:cubicBezTo>
                    <a:cubicBezTo>
                      <a:pt x="28" y="30"/>
                      <a:pt x="28" y="30"/>
                      <a:pt x="28" y="30"/>
                    </a:cubicBezTo>
                    <a:cubicBezTo>
                      <a:pt x="28" y="30"/>
                      <a:pt x="27" y="30"/>
                      <a:pt x="26" y="29"/>
                    </a:cubicBezTo>
                    <a:cubicBezTo>
                      <a:pt x="26" y="29"/>
                      <a:pt x="26" y="29"/>
                      <a:pt x="25" y="29"/>
                    </a:cubicBezTo>
                    <a:cubicBezTo>
                      <a:pt x="25" y="29"/>
                      <a:pt x="23" y="29"/>
                      <a:pt x="24" y="30"/>
                    </a:cubicBezTo>
                    <a:cubicBezTo>
                      <a:pt x="25" y="30"/>
                      <a:pt x="24" y="30"/>
                      <a:pt x="24" y="31"/>
                    </a:cubicBezTo>
                    <a:cubicBezTo>
                      <a:pt x="24" y="31"/>
                      <a:pt x="24" y="31"/>
                      <a:pt x="25" y="31"/>
                    </a:cubicBezTo>
                    <a:cubicBezTo>
                      <a:pt x="25" y="31"/>
                      <a:pt x="26" y="31"/>
                      <a:pt x="26" y="32"/>
                    </a:cubicBezTo>
                    <a:cubicBezTo>
                      <a:pt x="26" y="32"/>
                      <a:pt x="27" y="32"/>
                      <a:pt x="27" y="32"/>
                    </a:cubicBezTo>
                    <a:cubicBezTo>
                      <a:pt x="28" y="32"/>
                      <a:pt x="29" y="32"/>
                      <a:pt x="29" y="32"/>
                    </a:cubicBezTo>
                    <a:cubicBezTo>
                      <a:pt x="30" y="32"/>
                      <a:pt x="31" y="32"/>
                      <a:pt x="30" y="31"/>
                    </a:cubicBezTo>
                    <a:cubicBezTo>
                      <a:pt x="30" y="31"/>
                      <a:pt x="30" y="31"/>
                      <a:pt x="30" y="31"/>
                    </a:cubicBezTo>
                    <a:cubicBezTo>
                      <a:pt x="31" y="31"/>
                      <a:pt x="31" y="31"/>
                      <a:pt x="30" y="31"/>
                    </a:cubicBezTo>
                    <a:cubicBezTo>
                      <a:pt x="31" y="31"/>
                      <a:pt x="31" y="31"/>
                      <a:pt x="31" y="31"/>
                    </a:cubicBezTo>
                    <a:cubicBezTo>
                      <a:pt x="30" y="32"/>
                      <a:pt x="31" y="33"/>
                      <a:pt x="32" y="33"/>
                    </a:cubicBezTo>
                    <a:cubicBezTo>
                      <a:pt x="32" y="33"/>
                      <a:pt x="31" y="32"/>
                      <a:pt x="31" y="32"/>
                    </a:cubicBezTo>
                    <a:cubicBezTo>
                      <a:pt x="31" y="32"/>
                      <a:pt x="32" y="31"/>
                      <a:pt x="32" y="31"/>
                    </a:cubicBezTo>
                    <a:cubicBezTo>
                      <a:pt x="32" y="31"/>
                      <a:pt x="33" y="30"/>
                      <a:pt x="33" y="30"/>
                    </a:cubicBezTo>
                    <a:cubicBezTo>
                      <a:pt x="32" y="29"/>
                      <a:pt x="32" y="30"/>
                      <a:pt x="32" y="29"/>
                    </a:cubicBezTo>
                    <a:cubicBezTo>
                      <a:pt x="31" y="29"/>
                      <a:pt x="31" y="29"/>
                      <a:pt x="31" y="29"/>
                    </a:cubicBezTo>
                    <a:cubicBezTo>
                      <a:pt x="31" y="29"/>
                      <a:pt x="31" y="29"/>
                      <a:pt x="31" y="28"/>
                    </a:cubicBezTo>
                    <a:cubicBezTo>
                      <a:pt x="31" y="28"/>
                      <a:pt x="32" y="29"/>
                      <a:pt x="32" y="29"/>
                    </a:cubicBezTo>
                    <a:cubicBezTo>
                      <a:pt x="32" y="29"/>
                      <a:pt x="33" y="29"/>
                      <a:pt x="33" y="28"/>
                    </a:cubicBezTo>
                    <a:cubicBezTo>
                      <a:pt x="32" y="27"/>
                      <a:pt x="34" y="27"/>
                      <a:pt x="32" y="27"/>
                    </a:cubicBezTo>
                    <a:cubicBezTo>
                      <a:pt x="32" y="27"/>
                      <a:pt x="32" y="27"/>
                      <a:pt x="32" y="27"/>
                    </a:cubicBezTo>
                    <a:cubicBezTo>
                      <a:pt x="32" y="26"/>
                      <a:pt x="32" y="27"/>
                      <a:pt x="32" y="27"/>
                    </a:cubicBezTo>
                    <a:cubicBezTo>
                      <a:pt x="33" y="27"/>
                      <a:pt x="33" y="26"/>
                      <a:pt x="33" y="26"/>
                    </a:cubicBezTo>
                    <a:cubicBezTo>
                      <a:pt x="33" y="26"/>
                      <a:pt x="33" y="26"/>
                      <a:pt x="34" y="26"/>
                    </a:cubicBezTo>
                    <a:cubicBezTo>
                      <a:pt x="34" y="26"/>
                      <a:pt x="36" y="26"/>
                      <a:pt x="35" y="25"/>
                    </a:cubicBezTo>
                    <a:cubicBezTo>
                      <a:pt x="35" y="24"/>
                      <a:pt x="34" y="24"/>
                      <a:pt x="33" y="24"/>
                    </a:cubicBezTo>
                    <a:cubicBezTo>
                      <a:pt x="33" y="23"/>
                      <a:pt x="34" y="22"/>
                      <a:pt x="35" y="22"/>
                    </a:cubicBezTo>
                    <a:cubicBezTo>
                      <a:pt x="35" y="22"/>
                      <a:pt x="36" y="22"/>
                      <a:pt x="36" y="21"/>
                    </a:cubicBezTo>
                    <a:cubicBezTo>
                      <a:pt x="36" y="20"/>
                      <a:pt x="36" y="20"/>
                      <a:pt x="36" y="19"/>
                    </a:cubicBezTo>
                    <a:cubicBezTo>
                      <a:pt x="36" y="19"/>
                      <a:pt x="36" y="19"/>
                      <a:pt x="36" y="19"/>
                    </a:cubicBezTo>
                    <a:close/>
                    <a:moveTo>
                      <a:pt x="23" y="5"/>
                    </a:moveTo>
                    <a:cubicBezTo>
                      <a:pt x="24" y="5"/>
                      <a:pt x="24" y="5"/>
                      <a:pt x="24" y="5"/>
                    </a:cubicBezTo>
                    <a:cubicBezTo>
                      <a:pt x="24" y="5"/>
                      <a:pt x="24" y="5"/>
                      <a:pt x="24" y="5"/>
                    </a:cubicBezTo>
                    <a:cubicBezTo>
                      <a:pt x="24" y="5"/>
                      <a:pt x="25" y="4"/>
                      <a:pt x="25" y="4"/>
                    </a:cubicBezTo>
                    <a:cubicBezTo>
                      <a:pt x="25" y="4"/>
                      <a:pt x="24" y="4"/>
                      <a:pt x="23" y="4"/>
                    </a:cubicBezTo>
                    <a:cubicBezTo>
                      <a:pt x="23" y="5"/>
                      <a:pt x="22" y="5"/>
                      <a:pt x="22" y="5"/>
                    </a:cubicBezTo>
                    <a:cubicBezTo>
                      <a:pt x="22" y="5"/>
                      <a:pt x="23" y="5"/>
                      <a:pt x="23" y="5"/>
                    </a:cubicBezTo>
                    <a:close/>
                    <a:moveTo>
                      <a:pt x="5" y="11"/>
                    </a:moveTo>
                    <a:cubicBezTo>
                      <a:pt x="5" y="11"/>
                      <a:pt x="6" y="11"/>
                      <a:pt x="6" y="11"/>
                    </a:cubicBezTo>
                    <a:cubicBezTo>
                      <a:pt x="6" y="10"/>
                      <a:pt x="6" y="10"/>
                      <a:pt x="6" y="10"/>
                    </a:cubicBezTo>
                    <a:cubicBezTo>
                      <a:pt x="6" y="9"/>
                      <a:pt x="7" y="9"/>
                      <a:pt x="7" y="9"/>
                    </a:cubicBezTo>
                    <a:cubicBezTo>
                      <a:pt x="7" y="9"/>
                      <a:pt x="7" y="8"/>
                      <a:pt x="7" y="8"/>
                    </a:cubicBezTo>
                    <a:cubicBezTo>
                      <a:pt x="6" y="8"/>
                      <a:pt x="6" y="9"/>
                      <a:pt x="5" y="9"/>
                    </a:cubicBezTo>
                    <a:cubicBezTo>
                      <a:pt x="5" y="9"/>
                      <a:pt x="5" y="9"/>
                      <a:pt x="4" y="9"/>
                    </a:cubicBezTo>
                    <a:cubicBezTo>
                      <a:pt x="4" y="9"/>
                      <a:pt x="5" y="10"/>
                      <a:pt x="5" y="10"/>
                    </a:cubicBezTo>
                    <a:cubicBezTo>
                      <a:pt x="5" y="10"/>
                      <a:pt x="4" y="10"/>
                      <a:pt x="4" y="10"/>
                    </a:cubicBezTo>
                    <a:cubicBezTo>
                      <a:pt x="4" y="10"/>
                      <a:pt x="5" y="11"/>
                      <a:pt x="5" y="11"/>
                    </a:cubicBezTo>
                    <a:close/>
                    <a:moveTo>
                      <a:pt x="34" y="28"/>
                    </a:moveTo>
                    <a:cubicBezTo>
                      <a:pt x="34" y="28"/>
                      <a:pt x="34" y="29"/>
                      <a:pt x="33" y="29"/>
                    </a:cubicBezTo>
                    <a:cubicBezTo>
                      <a:pt x="33" y="28"/>
                      <a:pt x="32" y="29"/>
                      <a:pt x="33" y="30"/>
                    </a:cubicBezTo>
                    <a:cubicBezTo>
                      <a:pt x="34" y="30"/>
                      <a:pt x="34" y="29"/>
                      <a:pt x="35" y="29"/>
                    </a:cubicBezTo>
                    <a:cubicBezTo>
                      <a:pt x="35" y="29"/>
                      <a:pt x="36" y="29"/>
                      <a:pt x="36" y="29"/>
                    </a:cubicBezTo>
                    <a:cubicBezTo>
                      <a:pt x="36" y="28"/>
                      <a:pt x="34" y="28"/>
                      <a:pt x="34" y="28"/>
                    </a:cubicBezTo>
                    <a:close/>
                    <a:moveTo>
                      <a:pt x="23" y="27"/>
                    </a:moveTo>
                    <a:cubicBezTo>
                      <a:pt x="22" y="27"/>
                      <a:pt x="22" y="28"/>
                      <a:pt x="22" y="29"/>
                    </a:cubicBezTo>
                    <a:cubicBezTo>
                      <a:pt x="21" y="29"/>
                      <a:pt x="21" y="29"/>
                      <a:pt x="21" y="30"/>
                    </a:cubicBezTo>
                    <a:cubicBezTo>
                      <a:pt x="21" y="30"/>
                      <a:pt x="21" y="30"/>
                      <a:pt x="20" y="30"/>
                    </a:cubicBezTo>
                    <a:cubicBezTo>
                      <a:pt x="21" y="30"/>
                      <a:pt x="21" y="32"/>
                      <a:pt x="22" y="30"/>
                    </a:cubicBezTo>
                    <a:cubicBezTo>
                      <a:pt x="22" y="29"/>
                      <a:pt x="23" y="29"/>
                      <a:pt x="23" y="28"/>
                    </a:cubicBezTo>
                    <a:cubicBezTo>
                      <a:pt x="23" y="28"/>
                      <a:pt x="23" y="26"/>
                      <a:pt x="23" y="2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0" name="Czechia (Czech Republic)">
                <a:extLst>
                  <a:ext uri="{FF2B5EF4-FFF2-40B4-BE49-F238E27FC236}">
                    <a16:creationId xmlns:a16="http://schemas.microsoft.com/office/drawing/2014/main" id="{8BFF881D-0831-67D9-D722-578B97725474}"/>
                  </a:ext>
                </a:extLst>
              </p:cNvPr>
              <p:cNvSpPr>
                <a:spLocks/>
              </p:cNvSpPr>
              <p:nvPr/>
            </p:nvSpPr>
            <p:spPr bwMode="auto">
              <a:xfrm>
                <a:off x="6100510" y="2062457"/>
                <a:ext cx="201915" cy="96056"/>
              </a:xfrm>
              <a:custGeom>
                <a:avLst/>
                <a:gdLst/>
                <a:ahLst/>
                <a:cxnLst>
                  <a:cxn ang="0">
                    <a:pos x="55" y="14"/>
                  </a:cxn>
                  <a:cxn ang="0">
                    <a:pos x="54" y="13"/>
                  </a:cxn>
                  <a:cxn ang="0">
                    <a:pos x="51" y="12"/>
                  </a:cxn>
                  <a:cxn ang="0">
                    <a:pos x="48" y="12"/>
                  </a:cxn>
                  <a:cxn ang="0">
                    <a:pos x="48" y="9"/>
                  </a:cxn>
                  <a:cxn ang="0">
                    <a:pos x="45" y="9"/>
                  </a:cxn>
                  <a:cxn ang="0">
                    <a:pos x="43" y="8"/>
                  </a:cxn>
                  <a:cxn ang="0">
                    <a:pos x="41" y="9"/>
                  </a:cxn>
                  <a:cxn ang="0">
                    <a:pos x="39" y="10"/>
                  </a:cxn>
                  <a:cxn ang="0">
                    <a:pos x="36" y="8"/>
                  </a:cxn>
                  <a:cxn ang="0">
                    <a:pos x="35" y="7"/>
                  </a:cxn>
                  <a:cxn ang="0">
                    <a:pos x="35" y="5"/>
                  </a:cxn>
                  <a:cxn ang="0">
                    <a:pos x="33" y="5"/>
                  </a:cxn>
                  <a:cxn ang="0">
                    <a:pos x="29" y="4"/>
                  </a:cxn>
                  <a:cxn ang="0">
                    <a:pos x="27" y="3"/>
                  </a:cxn>
                  <a:cxn ang="0">
                    <a:pos x="25" y="1"/>
                  </a:cxn>
                  <a:cxn ang="0">
                    <a:pos x="23" y="3"/>
                  </a:cxn>
                  <a:cxn ang="0">
                    <a:pos x="21" y="2"/>
                  </a:cxn>
                  <a:cxn ang="0">
                    <a:pos x="20" y="1"/>
                  </a:cxn>
                  <a:cxn ang="0">
                    <a:pos x="19" y="3"/>
                  </a:cxn>
                  <a:cxn ang="0">
                    <a:pos x="14" y="4"/>
                  </a:cxn>
                  <a:cxn ang="0">
                    <a:pos x="10" y="6"/>
                  </a:cxn>
                  <a:cxn ang="0">
                    <a:pos x="8" y="7"/>
                  </a:cxn>
                  <a:cxn ang="0">
                    <a:pos x="4" y="8"/>
                  </a:cxn>
                  <a:cxn ang="0">
                    <a:pos x="1" y="9"/>
                  </a:cxn>
                  <a:cxn ang="0">
                    <a:pos x="0" y="8"/>
                  </a:cxn>
                  <a:cxn ang="0">
                    <a:pos x="1" y="10"/>
                  </a:cxn>
                  <a:cxn ang="0">
                    <a:pos x="4" y="13"/>
                  </a:cxn>
                  <a:cxn ang="0">
                    <a:pos x="4" y="16"/>
                  </a:cxn>
                  <a:cxn ang="0">
                    <a:pos x="7" y="19"/>
                  </a:cxn>
                  <a:cxn ang="0">
                    <a:pos x="11" y="22"/>
                  </a:cxn>
                  <a:cxn ang="0">
                    <a:pos x="12" y="23"/>
                  </a:cxn>
                  <a:cxn ang="0">
                    <a:pos x="15" y="25"/>
                  </a:cxn>
                  <a:cxn ang="0">
                    <a:pos x="20" y="26"/>
                  </a:cxn>
                  <a:cxn ang="0">
                    <a:pos x="23" y="25"/>
                  </a:cxn>
                  <a:cxn ang="0">
                    <a:pos x="26" y="22"/>
                  </a:cxn>
                  <a:cxn ang="0">
                    <a:pos x="30" y="24"/>
                  </a:cxn>
                  <a:cxn ang="0">
                    <a:pos x="33" y="25"/>
                  </a:cxn>
                  <a:cxn ang="0">
                    <a:pos x="39" y="25"/>
                  </a:cxn>
                  <a:cxn ang="0">
                    <a:pos x="42" y="26"/>
                  </a:cxn>
                  <a:cxn ang="0">
                    <a:pos x="49" y="23"/>
                  </a:cxn>
                  <a:cxn ang="0">
                    <a:pos x="52" y="20"/>
                  </a:cxn>
                  <a:cxn ang="0">
                    <a:pos x="56" y="17"/>
                  </a:cxn>
                </a:cxnLst>
                <a:rect l="0" t="0" r="r" b="b"/>
                <a:pathLst>
                  <a:path w="57" h="27">
                    <a:moveTo>
                      <a:pt x="57" y="15"/>
                    </a:moveTo>
                    <a:cubicBezTo>
                      <a:pt x="57" y="15"/>
                      <a:pt x="57" y="15"/>
                      <a:pt x="56" y="15"/>
                    </a:cubicBezTo>
                    <a:cubicBezTo>
                      <a:pt x="56" y="15"/>
                      <a:pt x="55" y="15"/>
                      <a:pt x="55" y="14"/>
                    </a:cubicBezTo>
                    <a:cubicBezTo>
                      <a:pt x="55" y="14"/>
                      <a:pt x="55" y="14"/>
                      <a:pt x="55" y="13"/>
                    </a:cubicBezTo>
                    <a:cubicBezTo>
                      <a:pt x="55" y="13"/>
                      <a:pt x="55" y="13"/>
                      <a:pt x="55" y="13"/>
                    </a:cubicBezTo>
                    <a:cubicBezTo>
                      <a:pt x="55" y="12"/>
                      <a:pt x="55" y="13"/>
                      <a:pt x="54" y="13"/>
                    </a:cubicBezTo>
                    <a:cubicBezTo>
                      <a:pt x="54" y="13"/>
                      <a:pt x="53" y="13"/>
                      <a:pt x="53" y="13"/>
                    </a:cubicBezTo>
                    <a:cubicBezTo>
                      <a:pt x="53" y="13"/>
                      <a:pt x="52" y="13"/>
                      <a:pt x="52" y="12"/>
                    </a:cubicBezTo>
                    <a:cubicBezTo>
                      <a:pt x="52" y="12"/>
                      <a:pt x="51" y="12"/>
                      <a:pt x="51" y="12"/>
                    </a:cubicBezTo>
                    <a:cubicBezTo>
                      <a:pt x="51" y="12"/>
                      <a:pt x="51" y="12"/>
                      <a:pt x="50" y="11"/>
                    </a:cubicBezTo>
                    <a:cubicBezTo>
                      <a:pt x="50" y="11"/>
                      <a:pt x="50" y="12"/>
                      <a:pt x="50" y="12"/>
                    </a:cubicBezTo>
                    <a:cubicBezTo>
                      <a:pt x="50" y="12"/>
                      <a:pt x="49" y="12"/>
                      <a:pt x="48" y="12"/>
                    </a:cubicBezTo>
                    <a:cubicBezTo>
                      <a:pt x="48" y="12"/>
                      <a:pt x="48" y="11"/>
                      <a:pt x="48" y="11"/>
                    </a:cubicBezTo>
                    <a:cubicBezTo>
                      <a:pt x="47" y="11"/>
                      <a:pt x="47" y="11"/>
                      <a:pt x="47" y="10"/>
                    </a:cubicBezTo>
                    <a:cubicBezTo>
                      <a:pt x="46" y="10"/>
                      <a:pt x="48" y="10"/>
                      <a:pt x="48" y="9"/>
                    </a:cubicBezTo>
                    <a:cubicBezTo>
                      <a:pt x="48" y="9"/>
                      <a:pt x="48" y="8"/>
                      <a:pt x="47" y="9"/>
                    </a:cubicBezTo>
                    <a:cubicBezTo>
                      <a:pt x="47" y="9"/>
                      <a:pt x="46" y="9"/>
                      <a:pt x="46" y="9"/>
                    </a:cubicBezTo>
                    <a:cubicBezTo>
                      <a:pt x="45" y="9"/>
                      <a:pt x="45" y="9"/>
                      <a:pt x="45" y="9"/>
                    </a:cubicBezTo>
                    <a:cubicBezTo>
                      <a:pt x="44" y="9"/>
                      <a:pt x="45" y="9"/>
                      <a:pt x="44" y="9"/>
                    </a:cubicBezTo>
                    <a:cubicBezTo>
                      <a:pt x="44" y="9"/>
                      <a:pt x="44" y="9"/>
                      <a:pt x="44" y="9"/>
                    </a:cubicBezTo>
                    <a:cubicBezTo>
                      <a:pt x="44" y="9"/>
                      <a:pt x="44" y="8"/>
                      <a:pt x="43" y="8"/>
                    </a:cubicBezTo>
                    <a:cubicBezTo>
                      <a:pt x="43" y="8"/>
                      <a:pt x="43" y="8"/>
                      <a:pt x="43" y="8"/>
                    </a:cubicBezTo>
                    <a:cubicBezTo>
                      <a:pt x="43" y="8"/>
                      <a:pt x="40" y="7"/>
                      <a:pt x="40" y="8"/>
                    </a:cubicBezTo>
                    <a:cubicBezTo>
                      <a:pt x="41" y="8"/>
                      <a:pt x="41" y="8"/>
                      <a:pt x="41" y="9"/>
                    </a:cubicBezTo>
                    <a:cubicBezTo>
                      <a:pt x="41" y="9"/>
                      <a:pt x="42" y="9"/>
                      <a:pt x="42" y="9"/>
                    </a:cubicBezTo>
                    <a:cubicBezTo>
                      <a:pt x="41" y="9"/>
                      <a:pt x="41" y="10"/>
                      <a:pt x="40" y="10"/>
                    </a:cubicBezTo>
                    <a:cubicBezTo>
                      <a:pt x="40" y="10"/>
                      <a:pt x="40" y="10"/>
                      <a:pt x="39" y="10"/>
                    </a:cubicBezTo>
                    <a:cubicBezTo>
                      <a:pt x="39" y="11"/>
                      <a:pt x="38" y="11"/>
                      <a:pt x="38" y="10"/>
                    </a:cubicBezTo>
                    <a:cubicBezTo>
                      <a:pt x="38" y="10"/>
                      <a:pt x="37" y="9"/>
                      <a:pt x="37" y="9"/>
                    </a:cubicBezTo>
                    <a:cubicBezTo>
                      <a:pt x="37" y="9"/>
                      <a:pt x="36" y="8"/>
                      <a:pt x="36" y="8"/>
                    </a:cubicBezTo>
                    <a:cubicBezTo>
                      <a:pt x="36" y="8"/>
                      <a:pt x="36" y="8"/>
                      <a:pt x="36" y="8"/>
                    </a:cubicBezTo>
                    <a:cubicBezTo>
                      <a:pt x="36" y="8"/>
                      <a:pt x="36" y="8"/>
                      <a:pt x="35" y="8"/>
                    </a:cubicBezTo>
                    <a:cubicBezTo>
                      <a:pt x="35" y="8"/>
                      <a:pt x="35" y="8"/>
                      <a:pt x="35" y="7"/>
                    </a:cubicBezTo>
                    <a:cubicBezTo>
                      <a:pt x="34" y="7"/>
                      <a:pt x="36" y="7"/>
                      <a:pt x="36" y="6"/>
                    </a:cubicBezTo>
                    <a:cubicBezTo>
                      <a:pt x="37" y="6"/>
                      <a:pt x="37" y="6"/>
                      <a:pt x="36" y="5"/>
                    </a:cubicBezTo>
                    <a:cubicBezTo>
                      <a:pt x="36" y="5"/>
                      <a:pt x="36" y="5"/>
                      <a:pt x="35" y="5"/>
                    </a:cubicBezTo>
                    <a:cubicBezTo>
                      <a:pt x="35" y="5"/>
                      <a:pt x="35" y="5"/>
                      <a:pt x="34" y="5"/>
                    </a:cubicBezTo>
                    <a:cubicBezTo>
                      <a:pt x="34" y="5"/>
                      <a:pt x="34" y="5"/>
                      <a:pt x="33" y="5"/>
                    </a:cubicBezTo>
                    <a:cubicBezTo>
                      <a:pt x="33" y="6"/>
                      <a:pt x="33" y="5"/>
                      <a:pt x="33" y="5"/>
                    </a:cubicBezTo>
                    <a:cubicBezTo>
                      <a:pt x="32" y="4"/>
                      <a:pt x="32" y="5"/>
                      <a:pt x="32" y="4"/>
                    </a:cubicBezTo>
                    <a:cubicBezTo>
                      <a:pt x="31" y="4"/>
                      <a:pt x="31" y="4"/>
                      <a:pt x="31" y="4"/>
                    </a:cubicBezTo>
                    <a:cubicBezTo>
                      <a:pt x="30" y="4"/>
                      <a:pt x="29" y="4"/>
                      <a:pt x="29" y="4"/>
                    </a:cubicBezTo>
                    <a:cubicBezTo>
                      <a:pt x="29" y="4"/>
                      <a:pt x="28" y="3"/>
                      <a:pt x="28" y="3"/>
                    </a:cubicBezTo>
                    <a:cubicBezTo>
                      <a:pt x="28" y="3"/>
                      <a:pt x="28" y="3"/>
                      <a:pt x="28" y="4"/>
                    </a:cubicBezTo>
                    <a:cubicBezTo>
                      <a:pt x="27" y="4"/>
                      <a:pt x="27" y="3"/>
                      <a:pt x="27" y="3"/>
                    </a:cubicBezTo>
                    <a:cubicBezTo>
                      <a:pt x="26" y="2"/>
                      <a:pt x="27" y="2"/>
                      <a:pt x="26" y="1"/>
                    </a:cubicBezTo>
                    <a:cubicBezTo>
                      <a:pt x="26" y="1"/>
                      <a:pt x="26" y="1"/>
                      <a:pt x="26" y="1"/>
                    </a:cubicBezTo>
                    <a:cubicBezTo>
                      <a:pt x="25" y="1"/>
                      <a:pt x="25" y="1"/>
                      <a:pt x="25" y="1"/>
                    </a:cubicBezTo>
                    <a:cubicBezTo>
                      <a:pt x="24" y="0"/>
                      <a:pt x="25" y="2"/>
                      <a:pt x="24" y="2"/>
                    </a:cubicBezTo>
                    <a:cubicBezTo>
                      <a:pt x="24" y="2"/>
                      <a:pt x="24" y="3"/>
                      <a:pt x="24" y="3"/>
                    </a:cubicBezTo>
                    <a:cubicBezTo>
                      <a:pt x="24" y="3"/>
                      <a:pt x="24" y="3"/>
                      <a:pt x="23" y="3"/>
                    </a:cubicBezTo>
                    <a:cubicBezTo>
                      <a:pt x="23" y="3"/>
                      <a:pt x="23" y="3"/>
                      <a:pt x="23" y="3"/>
                    </a:cubicBezTo>
                    <a:cubicBezTo>
                      <a:pt x="22" y="3"/>
                      <a:pt x="22" y="3"/>
                      <a:pt x="21" y="3"/>
                    </a:cubicBezTo>
                    <a:cubicBezTo>
                      <a:pt x="21" y="3"/>
                      <a:pt x="21" y="2"/>
                      <a:pt x="21" y="2"/>
                    </a:cubicBezTo>
                    <a:cubicBezTo>
                      <a:pt x="21" y="2"/>
                      <a:pt x="21" y="2"/>
                      <a:pt x="21" y="2"/>
                    </a:cubicBezTo>
                    <a:cubicBezTo>
                      <a:pt x="21" y="2"/>
                      <a:pt x="21" y="2"/>
                      <a:pt x="21" y="1"/>
                    </a:cubicBezTo>
                    <a:cubicBezTo>
                      <a:pt x="21" y="1"/>
                      <a:pt x="20" y="1"/>
                      <a:pt x="20" y="1"/>
                    </a:cubicBezTo>
                    <a:cubicBezTo>
                      <a:pt x="19" y="1"/>
                      <a:pt x="19" y="1"/>
                      <a:pt x="18" y="1"/>
                    </a:cubicBezTo>
                    <a:cubicBezTo>
                      <a:pt x="18" y="1"/>
                      <a:pt x="18" y="1"/>
                      <a:pt x="19" y="2"/>
                    </a:cubicBezTo>
                    <a:cubicBezTo>
                      <a:pt x="18" y="2"/>
                      <a:pt x="20" y="2"/>
                      <a:pt x="19" y="3"/>
                    </a:cubicBezTo>
                    <a:cubicBezTo>
                      <a:pt x="18" y="3"/>
                      <a:pt x="17" y="3"/>
                      <a:pt x="17" y="3"/>
                    </a:cubicBezTo>
                    <a:cubicBezTo>
                      <a:pt x="16" y="3"/>
                      <a:pt x="15" y="3"/>
                      <a:pt x="15" y="4"/>
                    </a:cubicBezTo>
                    <a:cubicBezTo>
                      <a:pt x="15" y="4"/>
                      <a:pt x="14" y="4"/>
                      <a:pt x="14" y="4"/>
                    </a:cubicBezTo>
                    <a:cubicBezTo>
                      <a:pt x="13" y="4"/>
                      <a:pt x="13" y="4"/>
                      <a:pt x="13" y="4"/>
                    </a:cubicBezTo>
                    <a:cubicBezTo>
                      <a:pt x="12" y="4"/>
                      <a:pt x="12" y="5"/>
                      <a:pt x="11" y="5"/>
                    </a:cubicBezTo>
                    <a:cubicBezTo>
                      <a:pt x="11" y="5"/>
                      <a:pt x="10" y="6"/>
                      <a:pt x="10" y="6"/>
                    </a:cubicBezTo>
                    <a:cubicBezTo>
                      <a:pt x="9" y="6"/>
                      <a:pt x="9" y="6"/>
                      <a:pt x="9" y="7"/>
                    </a:cubicBezTo>
                    <a:cubicBezTo>
                      <a:pt x="9" y="7"/>
                      <a:pt x="8" y="6"/>
                      <a:pt x="8" y="7"/>
                    </a:cubicBezTo>
                    <a:cubicBezTo>
                      <a:pt x="8" y="7"/>
                      <a:pt x="8" y="7"/>
                      <a:pt x="8" y="7"/>
                    </a:cubicBezTo>
                    <a:cubicBezTo>
                      <a:pt x="7" y="8"/>
                      <a:pt x="6" y="7"/>
                      <a:pt x="6" y="7"/>
                    </a:cubicBezTo>
                    <a:cubicBezTo>
                      <a:pt x="6" y="7"/>
                      <a:pt x="6" y="8"/>
                      <a:pt x="5" y="8"/>
                    </a:cubicBezTo>
                    <a:cubicBezTo>
                      <a:pt x="5" y="8"/>
                      <a:pt x="5" y="7"/>
                      <a:pt x="4" y="8"/>
                    </a:cubicBezTo>
                    <a:cubicBezTo>
                      <a:pt x="4" y="8"/>
                      <a:pt x="3" y="8"/>
                      <a:pt x="3" y="9"/>
                    </a:cubicBezTo>
                    <a:cubicBezTo>
                      <a:pt x="2" y="9"/>
                      <a:pt x="2" y="10"/>
                      <a:pt x="2" y="10"/>
                    </a:cubicBezTo>
                    <a:cubicBezTo>
                      <a:pt x="2" y="10"/>
                      <a:pt x="2" y="9"/>
                      <a:pt x="1" y="9"/>
                    </a:cubicBezTo>
                    <a:cubicBezTo>
                      <a:pt x="1" y="9"/>
                      <a:pt x="1" y="9"/>
                      <a:pt x="1" y="9"/>
                    </a:cubicBezTo>
                    <a:cubicBezTo>
                      <a:pt x="1" y="9"/>
                      <a:pt x="1" y="9"/>
                      <a:pt x="1" y="9"/>
                    </a:cubicBezTo>
                    <a:cubicBezTo>
                      <a:pt x="1" y="8"/>
                      <a:pt x="0" y="8"/>
                      <a:pt x="0" y="8"/>
                    </a:cubicBezTo>
                    <a:cubicBezTo>
                      <a:pt x="1" y="9"/>
                      <a:pt x="0" y="9"/>
                      <a:pt x="0" y="9"/>
                    </a:cubicBezTo>
                    <a:cubicBezTo>
                      <a:pt x="0" y="9"/>
                      <a:pt x="1" y="10"/>
                      <a:pt x="1" y="10"/>
                    </a:cubicBezTo>
                    <a:cubicBezTo>
                      <a:pt x="1" y="10"/>
                      <a:pt x="1" y="10"/>
                      <a:pt x="1" y="10"/>
                    </a:cubicBezTo>
                    <a:cubicBezTo>
                      <a:pt x="1" y="11"/>
                      <a:pt x="2" y="11"/>
                      <a:pt x="2" y="12"/>
                    </a:cubicBezTo>
                    <a:cubicBezTo>
                      <a:pt x="2" y="12"/>
                      <a:pt x="3" y="12"/>
                      <a:pt x="3" y="12"/>
                    </a:cubicBezTo>
                    <a:cubicBezTo>
                      <a:pt x="3" y="13"/>
                      <a:pt x="4" y="13"/>
                      <a:pt x="4" y="13"/>
                    </a:cubicBezTo>
                    <a:cubicBezTo>
                      <a:pt x="4" y="13"/>
                      <a:pt x="3" y="14"/>
                      <a:pt x="3" y="14"/>
                    </a:cubicBezTo>
                    <a:cubicBezTo>
                      <a:pt x="2" y="15"/>
                      <a:pt x="3" y="15"/>
                      <a:pt x="3" y="15"/>
                    </a:cubicBezTo>
                    <a:cubicBezTo>
                      <a:pt x="4" y="15"/>
                      <a:pt x="4" y="16"/>
                      <a:pt x="4" y="16"/>
                    </a:cubicBezTo>
                    <a:cubicBezTo>
                      <a:pt x="4" y="17"/>
                      <a:pt x="5" y="17"/>
                      <a:pt x="5" y="17"/>
                    </a:cubicBezTo>
                    <a:cubicBezTo>
                      <a:pt x="5" y="18"/>
                      <a:pt x="5" y="18"/>
                      <a:pt x="6" y="19"/>
                    </a:cubicBezTo>
                    <a:cubicBezTo>
                      <a:pt x="6" y="19"/>
                      <a:pt x="7" y="19"/>
                      <a:pt x="7" y="19"/>
                    </a:cubicBezTo>
                    <a:cubicBezTo>
                      <a:pt x="7" y="19"/>
                      <a:pt x="8" y="19"/>
                      <a:pt x="8" y="19"/>
                    </a:cubicBezTo>
                    <a:cubicBezTo>
                      <a:pt x="9" y="20"/>
                      <a:pt x="9" y="21"/>
                      <a:pt x="9" y="21"/>
                    </a:cubicBezTo>
                    <a:cubicBezTo>
                      <a:pt x="10" y="21"/>
                      <a:pt x="10" y="21"/>
                      <a:pt x="11" y="22"/>
                    </a:cubicBezTo>
                    <a:cubicBezTo>
                      <a:pt x="11" y="22"/>
                      <a:pt x="11" y="22"/>
                      <a:pt x="11" y="22"/>
                    </a:cubicBezTo>
                    <a:cubicBezTo>
                      <a:pt x="11" y="22"/>
                      <a:pt x="11" y="22"/>
                      <a:pt x="11" y="23"/>
                    </a:cubicBezTo>
                    <a:cubicBezTo>
                      <a:pt x="12" y="23"/>
                      <a:pt x="12" y="23"/>
                      <a:pt x="12" y="23"/>
                    </a:cubicBezTo>
                    <a:cubicBezTo>
                      <a:pt x="13" y="23"/>
                      <a:pt x="13" y="23"/>
                      <a:pt x="14" y="24"/>
                    </a:cubicBezTo>
                    <a:cubicBezTo>
                      <a:pt x="14" y="24"/>
                      <a:pt x="14" y="24"/>
                      <a:pt x="15" y="24"/>
                    </a:cubicBezTo>
                    <a:cubicBezTo>
                      <a:pt x="15" y="25"/>
                      <a:pt x="15" y="25"/>
                      <a:pt x="15" y="25"/>
                    </a:cubicBezTo>
                    <a:cubicBezTo>
                      <a:pt x="16" y="25"/>
                      <a:pt x="17" y="25"/>
                      <a:pt x="17" y="26"/>
                    </a:cubicBezTo>
                    <a:cubicBezTo>
                      <a:pt x="16" y="27"/>
                      <a:pt x="18" y="27"/>
                      <a:pt x="19" y="27"/>
                    </a:cubicBezTo>
                    <a:cubicBezTo>
                      <a:pt x="20" y="27"/>
                      <a:pt x="20" y="27"/>
                      <a:pt x="20" y="26"/>
                    </a:cubicBezTo>
                    <a:cubicBezTo>
                      <a:pt x="21" y="26"/>
                      <a:pt x="21" y="27"/>
                      <a:pt x="22" y="27"/>
                    </a:cubicBezTo>
                    <a:cubicBezTo>
                      <a:pt x="22" y="27"/>
                      <a:pt x="23" y="27"/>
                      <a:pt x="23" y="26"/>
                    </a:cubicBezTo>
                    <a:cubicBezTo>
                      <a:pt x="23" y="26"/>
                      <a:pt x="23" y="25"/>
                      <a:pt x="23" y="25"/>
                    </a:cubicBezTo>
                    <a:cubicBezTo>
                      <a:pt x="24" y="25"/>
                      <a:pt x="24" y="25"/>
                      <a:pt x="25" y="25"/>
                    </a:cubicBezTo>
                    <a:cubicBezTo>
                      <a:pt x="25" y="24"/>
                      <a:pt x="25" y="24"/>
                      <a:pt x="25" y="23"/>
                    </a:cubicBezTo>
                    <a:cubicBezTo>
                      <a:pt x="25" y="22"/>
                      <a:pt x="25" y="22"/>
                      <a:pt x="26" y="22"/>
                    </a:cubicBezTo>
                    <a:cubicBezTo>
                      <a:pt x="27" y="22"/>
                      <a:pt x="26" y="23"/>
                      <a:pt x="26" y="23"/>
                    </a:cubicBezTo>
                    <a:cubicBezTo>
                      <a:pt x="27" y="23"/>
                      <a:pt x="27" y="23"/>
                      <a:pt x="28" y="23"/>
                    </a:cubicBezTo>
                    <a:cubicBezTo>
                      <a:pt x="29" y="23"/>
                      <a:pt x="29" y="23"/>
                      <a:pt x="30" y="24"/>
                    </a:cubicBezTo>
                    <a:cubicBezTo>
                      <a:pt x="30" y="24"/>
                      <a:pt x="31" y="24"/>
                      <a:pt x="31" y="24"/>
                    </a:cubicBezTo>
                    <a:cubicBezTo>
                      <a:pt x="31" y="24"/>
                      <a:pt x="32" y="24"/>
                      <a:pt x="32" y="24"/>
                    </a:cubicBezTo>
                    <a:cubicBezTo>
                      <a:pt x="32" y="24"/>
                      <a:pt x="33" y="24"/>
                      <a:pt x="33" y="25"/>
                    </a:cubicBezTo>
                    <a:cubicBezTo>
                      <a:pt x="34" y="25"/>
                      <a:pt x="35" y="25"/>
                      <a:pt x="36" y="25"/>
                    </a:cubicBezTo>
                    <a:cubicBezTo>
                      <a:pt x="36" y="25"/>
                      <a:pt x="37" y="25"/>
                      <a:pt x="37" y="25"/>
                    </a:cubicBezTo>
                    <a:cubicBezTo>
                      <a:pt x="37" y="24"/>
                      <a:pt x="38" y="25"/>
                      <a:pt x="39" y="25"/>
                    </a:cubicBezTo>
                    <a:cubicBezTo>
                      <a:pt x="39" y="25"/>
                      <a:pt x="39" y="25"/>
                      <a:pt x="40" y="25"/>
                    </a:cubicBezTo>
                    <a:cubicBezTo>
                      <a:pt x="40" y="25"/>
                      <a:pt x="41" y="25"/>
                      <a:pt x="41" y="26"/>
                    </a:cubicBezTo>
                    <a:cubicBezTo>
                      <a:pt x="41" y="26"/>
                      <a:pt x="41" y="27"/>
                      <a:pt x="42" y="26"/>
                    </a:cubicBezTo>
                    <a:cubicBezTo>
                      <a:pt x="43" y="26"/>
                      <a:pt x="43" y="23"/>
                      <a:pt x="44" y="24"/>
                    </a:cubicBezTo>
                    <a:cubicBezTo>
                      <a:pt x="45" y="24"/>
                      <a:pt x="46" y="24"/>
                      <a:pt x="48" y="24"/>
                    </a:cubicBezTo>
                    <a:cubicBezTo>
                      <a:pt x="48" y="24"/>
                      <a:pt x="48" y="23"/>
                      <a:pt x="49" y="23"/>
                    </a:cubicBezTo>
                    <a:cubicBezTo>
                      <a:pt x="50" y="23"/>
                      <a:pt x="50" y="23"/>
                      <a:pt x="50" y="22"/>
                    </a:cubicBezTo>
                    <a:cubicBezTo>
                      <a:pt x="50" y="22"/>
                      <a:pt x="51" y="22"/>
                      <a:pt x="51" y="21"/>
                    </a:cubicBezTo>
                    <a:cubicBezTo>
                      <a:pt x="51" y="21"/>
                      <a:pt x="51" y="20"/>
                      <a:pt x="52" y="20"/>
                    </a:cubicBezTo>
                    <a:cubicBezTo>
                      <a:pt x="52" y="19"/>
                      <a:pt x="54" y="19"/>
                      <a:pt x="54" y="18"/>
                    </a:cubicBezTo>
                    <a:cubicBezTo>
                      <a:pt x="54" y="18"/>
                      <a:pt x="54" y="18"/>
                      <a:pt x="55" y="18"/>
                    </a:cubicBezTo>
                    <a:cubicBezTo>
                      <a:pt x="55" y="17"/>
                      <a:pt x="55" y="17"/>
                      <a:pt x="56" y="17"/>
                    </a:cubicBezTo>
                    <a:cubicBezTo>
                      <a:pt x="56" y="17"/>
                      <a:pt x="57" y="17"/>
                      <a:pt x="57" y="17"/>
                    </a:cubicBezTo>
                    <a:cubicBezTo>
                      <a:pt x="57" y="16"/>
                      <a:pt x="57" y="16"/>
                      <a:pt x="57" y="1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1" name="Cyprus">
                <a:extLst>
                  <a:ext uri="{FF2B5EF4-FFF2-40B4-BE49-F238E27FC236}">
                    <a16:creationId xmlns:a16="http://schemas.microsoft.com/office/drawing/2014/main" id="{7CF952A9-15A4-D071-FC66-D6C35492DD25}"/>
                  </a:ext>
                </a:extLst>
              </p:cNvPr>
              <p:cNvSpPr>
                <a:spLocks/>
              </p:cNvSpPr>
              <p:nvPr/>
            </p:nvSpPr>
            <p:spPr bwMode="auto">
              <a:xfrm>
                <a:off x="6759180" y="2654476"/>
                <a:ext cx="74493" cy="42147"/>
              </a:xfrm>
              <a:custGeom>
                <a:avLst/>
                <a:gdLst/>
                <a:ahLst/>
                <a:cxnLst>
                  <a:cxn ang="0">
                    <a:pos x="19" y="1"/>
                  </a:cxn>
                  <a:cxn ang="0">
                    <a:pos x="17" y="2"/>
                  </a:cxn>
                  <a:cxn ang="0">
                    <a:pos x="15" y="3"/>
                  </a:cxn>
                  <a:cxn ang="0">
                    <a:pos x="13" y="4"/>
                  </a:cxn>
                  <a:cxn ang="0">
                    <a:pos x="10" y="4"/>
                  </a:cxn>
                  <a:cxn ang="0">
                    <a:pos x="6" y="3"/>
                  </a:cxn>
                  <a:cxn ang="0">
                    <a:pos x="6" y="5"/>
                  </a:cxn>
                  <a:cxn ang="0">
                    <a:pos x="5" y="6"/>
                  </a:cxn>
                  <a:cxn ang="0">
                    <a:pos x="2" y="6"/>
                  </a:cxn>
                  <a:cxn ang="0">
                    <a:pos x="1" y="7"/>
                  </a:cxn>
                  <a:cxn ang="0">
                    <a:pos x="0" y="7"/>
                  </a:cxn>
                  <a:cxn ang="0">
                    <a:pos x="1" y="9"/>
                  </a:cxn>
                  <a:cxn ang="0">
                    <a:pos x="2" y="10"/>
                  </a:cxn>
                  <a:cxn ang="0">
                    <a:pos x="2" y="11"/>
                  </a:cxn>
                  <a:cxn ang="0">
                    <a:pos x="5" y="11"/>
                  </a:cxn>
                  <a:cxn ang="0">
                    <a:pos x="7" y="11"/>
                  </a:cxn>
                  <a:cxn ang="0">
                    <a:pos x="7" y="11"/>
                  </a:cxn>
                  <a:cxn ang="0">
                    <a:pos x="9" y="11"/>
                  </a:cxn>
                  <a:cxn ang="0">
                    <a:pos x="11" y="10"/>
                  </a:cxn>
                  <a:cxn ang="0">
                    <a:pos x="13" y="9"/>
                  </a:cxn>
                  <a:cxn ang="0">
                    <a:pos x="13" y="8"/>
                  </a:cxn>
                  <a:cxn ang="0">
                    <a:pos x="13" y="7"/>
                  </a:cxn>
                  <a:cxn ang="0">
                    <a:pos x="13" y="7"/>
                  </a:cxn>
                  <a:cxn ang="0">
                    <a:pos x="14" y="7"/>
                  </a:cxn>
                  <a:cxn ang="0">
                    <a:pos x="15" y="7"/>
                  </a:cxn>
                  <a:cxn ang="0">
                    <a:pos x="14" y="7"/>
                  </a:cxn>
                  <a:cxn ang="0">
                    <a:pos x="15" y="8"/>
                  </a:cxn>
                  <a:cxn ang="0">
                    <a:pos x="16" y="8"/>
                  </a:cxn>
                  <a:cxn ang="0">
                    <a:pos x="17" y="8"/>
                  </a:cxn>
                  <a:cxn ang="0">
                    <a:pos x="16" y="4"/>
                  </a:cxn>
                  <a:cxn ang="0">
                    <a:pos x="16" y="4"/>
                  </a:cxn>
                  <a:cxn ang="0">
                    <a:pos x="18" y="2"/>
                  </a:cxn>
                  <a:cxn ang="0">
                    <a:pos x="20" y="1"/>
                  </a:cxn>
                  <a:cxn ang="0">
                    <a:pos x="21" y="0"/>
                  </a:cxn>
                  <a:cxn ang="0">
                    <a:pos x="19" y="1"/>
                  </a:cxn>
                </a:cxnLst>
                <a:rect l="0" t="0" r="r" b="b"/>
                <a:pathLst>
                  <a:path w="21" h="12">
                    <a:moveTo>
                      <a:pt x="19" y="1"/>
                    </a:moveTo>
                    <a:cubicBezTo>
                      <a:pt x="18" y="1"/>
                      <a:pt x="18" y="2"/>
                      <a:pt x="17" y="2"/>
                    </a:cubicBezTo>
                    <a:cubicBezTo>
                      <a:pt x="16" y="2"/>
                      <a:pt x="16" y="3"/>
                      <a:pt x="15" y="3"/>
                    </a:cubicBezTo>
                    <a:cubicBezTo>
                      <a:pt x="14" y="3"/>
                      <a:pt x="13" y="3"/>
                      <a:pt x="13" y="4"/>
                    </a:cubicBezTo>
                    <a:cubicBezTo>
                      <a:pt x="12" y="4"/>
                      <a:pt x="11" y="4"/>
                      <a:pt x="10" y="4"/>
                    </a:cubicBezTo>
                    <a:cubicBezTo>
                      <a:pt x="9" y="4"/>
                      <a:pt x="7" y="4"/>
                      <a:pt x="6" y="3"/>
                    </a:cubicBezTo>
                    <a:cubicBezTo>
                      <a:pt x="6" y="4"/>
                      <a:pt x="6" y="5"/>
                      <a:pt x="6" y="5"/>
                    </a:cubicBezTo>
                    <a:cubicBezTo>
                      <a:pt x="6" y="6"/>
                      <a:pt x="6" y="6"/>
                      <a:pt x="5" y="6"/>
                    </a:cubicBezTo>
                    <a:cubicBezTo>
                      <a:pt x="4" y="6"/>
                      <a:pt x="3" y="5"/>
                      <a:pt x="2" y="6"/>
                    </a:cubicBezTo>
                    <a:cubicBezTo>
                      <a:pt x="2" y="7"/>
                      <a:pt x="2" y="7"/>
                      <a:pt x="1" y="7"/>
                    </a:cubicBezTo>
                    <a:cubicBezTo>
                      <a:pt x="1" y="7"/>
                      <a:pt x="1" y="7"/>
                      <a:pt x="0" y="7"/>
                    </a:cubicBezTo>
                    <a:cubicBezTo>
                      <a:pt x="0" y="7"/>
                      <a:pt x="1" y="8"/>
                      <a:pt x="1" y="9"/>
                    </a:cubicBezTo>
                    <a:cubicBezTo>
                      <a:pt x="1" y="9"/>
                      <a:pt x="2" y="9"/>
                      <a:pt x="2" y="10"/>
                    </a:cubicBezTo>
                    <a:cubicBezTo>
                      <a:pt x="2" y="10"/>
                      <a:pt x="2" y="11"/>
                      <a:pt x="2" y="11"/>
                    </a:cubicBezTo>
                    <a:cubicBezTo>
                      <a:pt x="3" y="11"/>
                      <a:pt x="4" y="12"/>
                      <a:pt x="5" y="11"/>
                    </a:cubicBezTo>
                    <a:cubicBezTo>
                      <a:pt x="6" y="11"/>
                      <a:pt x="6" y="11"/>
                      <a:pt x="7" y="11"/>
                    </a:cubicBezTo>
                    <a:cubicBezTo>
                      <a:pt x="7" y="11"/>
                      <a:pt x="7" y="12"/>
                      <a:pt x="7" y="11"/>
                    </a:cubicBezTo>
                    <a:cubicBezTo>
                      <a:pt x="8" y="11"/>
                      <a:pt x="8" y="11"/>
                      <a:pt x="9" y="11"/>
                    </a:cubicBezTo>
                    <a:cubicBezTo>
                      <a:pt x="9" y="11"/>
                      <a:pt x="11" y="11"/>
                      <a:pt x="11" y="10"/>
                    </a:cubicBezTo>
                    <a:cubicBezTo>
                      <a:pt x="11" y="11"/>
                      <a:pt x="13" y="9"/>
                      <a:pt x="13" y="9"/>
                    </a:cubicBezTo>
                    <a:cubicBezTo>
                      <a:pt x="13" y="8"/>
                      <a:pt x="13" y="8"/>
                      <a:pt x="13" y="8"/>
                    </a:cubicBezTo>
                    <a:cubicBezTo>
                      <a:pt x="13" y="8"/>
                      <a:pt x="13" y="7"/>
                      <a:pt x="13" y="7"/>
                    </a:cubicBezTo>
                    <a:cubicBezTo>
                      <a:pt x="14" y="7"/>
                      <a:pt x="13" y="7"/>
                      <a:pt x="13" y="7"/>
                    </a:cubicBezTo>
                    <a:cubicBezTo>
                      <a:pt x="14" y="7"/>
                      <a:pt x="14" y="7"/>
                      <a:pt x="14" y="7"/>
                    </a:cubicBezTo>
                    <a:cubicBezTo>
                      <a:pt x="15" y="7"/>
                      <a:pt x="15" y="6"/>
                      <a:pt x="15" y="7"/>
                    </a:cubicBezTo>
                    <a:cubicBezTo>
                      <a:pt x="15" y="7"/>
                      <a:pt x="15" y="7"/>
                      <a:pt x="14" y="7"/>
                    </a:cubicBezTo>
                    <a:cubicBezTo>
                      <a:pt x="14" y="7"/>
                      <a:pt x="15" y="8"/>
                      <a:pt x="15" y="8"/>
                    </a:cubicBezTo>
                    <a:cubicBezTo>
                      <a:pt x="15" y="8"/>
                      <a:pt x="16" y="8"/>
                      <a:pt x="16" y="8"/>
                    </a:cubicBezTo>
                    <a:cubicBezTo>
                      <a:pt x="16" y="8"/>
                      <a:pt x="17" y="8"/>
                      <a:pt x="17" y="8"/>
                    </a:cubicBezTo>
                    <a:cubicBezTo>
                      <a:pt x="17" y="7"/>
                      <a:pt x="14" y="5"/>
                      <a:pt x="16" y="4"/>
                    </a:cubicBezTo>
                    <a:cubicBezTo>
                      <a:pt x="16" y="4"/>
                      <a:pt x="16" y="4"/>
                      <a:pt x="16" y="4"/>
                    </a:cubicBezTo>
                    <a:cubicBezTo>
                      <a:pt x="17" y="3"/>
                      <a:pt x="17" y="3"/>
                      <a:pt x="18" y="2"/>
                    </a:cubicBezTo>
                    <a:cubicBezTo>
                      <a:pt x="19" y="2"/>
                      <a:pt x="19" y="1"/>
                      <a:pt x="20" y="1"/>
                    </a:cubicBezTo>
                    <a:cubicBezTo>
                      <a:pt x="20" y="1"/>
                      <a:pt x="21" y="1"/>
                      <a:pt x="21" y="0"/>
                    </a:cubicBezTo>
                    <a:cubicBezTo>
                      <a:pt x="20" y="0"/>
                      <a:pt x="19" y="1"/>
                      <a:pt x="19"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2" name="Cuba">
                <a:extLst>
                  <a:ext uri="{FF2B5EF4-FFF2-40B4-BE49-F238E27FC236}">
                    <a16:creationId xmlns:a16="http://schemas.microsoft.com/office/drawing/2014/main" id="{9DAEC49A-72FF-4B6A-4C04-C779ACE4B28F}"/>
                  </a:ext>
                </a:extLst>
              </p:cNvPr>
              <p:cNvSpPr>
                <a:spLocks noEditPoints="1"/>
              </p:cNvSpPr>
              <p:nvPr/>
            </p:nvSpPr>
            <p:spPr bwMode="auto">
              <a:xfrm>
                <a:off x="2843426" y="3139659"/>
                <a:ext cx="357760" cy="131343"/>
              </a:xfrm>
              <a:custGeom>
                <a:avLst/>
                <a:gdLst/>
                <a:ahLst/>
                <a:cxnLst>
                  <a:cxn ang="0">
                    <a:pos x="66" y="12"/>
                  </a:cxn>
                  <a:cxn ang="0">
                    <a:pos x="68" y="11"/>
                  </a:cxn>
                  <a:cxn ang="0">
                    <a:pos x="61" y="8"/>
                  </a:cxn>
                  <a:cxn ang="0">
                    <a:pos x="64" y="8"/>
                  </a:cxn>
                  <a:cxn ang="0">
                    <a:pos x="101" y="33"/>
                  </a:cxn>
                  <a:cxn ang="0">
                    <a:pos x="93" y="28"/>
                  </a:cxn>
                  <a:cxn ang="0">
                    <a:pos x="90" y="28"/>
                  </a:cxn>
                  <a:cxn ang="0">
                    <a:pos x="86" y="28"/>
                  </a:cxn>
                  <a:cxn ang="0">
                    <a:pos x="87" y="26"/>
                  </a:cxn>
                  <a:cxn ang="0">
                    <a:pos x="85" y="23"/>
                  </a:cxn>
                  <a:cxn ang="0">
                    <a:pos x="81" y="22"/>
                  </a:cxn>
                  <a:cxn ang="0">
                    <a:pos x="78" y="21"/>
                  </a:cxn>
                  <a:cxn ang="0">
                    <a:pos x="76" y="21"/>
                  </a:cxn>
                  <a:cxn ang="0">
                    <a:pos x="73" y="19"/>
                  </a:cxn>
                  <a:cxn ang="0">
                    <a:pos x="72" y="16"/>
                  </a:cxn>
                  <a:cxn ang="0">
                    <a:pos x="72" y="17"/>
                  </a:cxn>
                  <a:cxn ang="0">
                    <a:pos x="69" y="16"/>
                  </a:cxn>
                  <a:cxn ang="0">
                    <a:pos x="63" y="11"/>
                  </a:cxn>
                  <a:cxn ang="0">
                    <a:pos x="58" y="9"/>
                  </a:cxn>
                  <a:cxn ang="0">
                    <a:pos x="52" y="6"/>
                  </a:cxn>
                  <a:cxn ang="0">
                    <a:pos x="48" y="3"/>
                  </a:cxn>
                  <a:cxn ang="0">
                    <a:pos x="43" y="1"/>
                  </a:cxn>
                  <a:cxn ang="0">
                    <a:pos x="38" y="2"/>
                  </a:cxn>
                  <a:cxn ang="0">
                    <a:pos x="34" y="1"/>
                  </a:cxn>
                  <a:cxn ang="0">
                    <a:pos x="20" y="3"/>
                  </a:cxn>
                  <a:cxn ang="0">
                    <a:pos x="16" y="4"/>
                  </a:cxn>
                  <a:cxn ang="0">
                    <a:pos x="11" y="6"/>
                  </a:cxn>
                  <a:cxn ang="0">
                    <a:pos x="6" y="10"/>
                  </a:cxn>
                  <a:cxn ang="0">
                    <a:pos x="5" y="13"/>
                  </a:cxn>
                  <a:cxn ang="0">
                    <a:pos x="1" y="15"/>
                  </a:cxn>
                  <a:cxn ang="0">
                    <a:pos x="9" y="14"/>
                  </a:cxn>
                  <a:cxn ang="0">
                    <a:pos x="14" y="11"/>
                  </a:cxn>
                  <a:cxn ang="0">
                    <a:pos x="22" y="6"/>
                  </a:cxn>
                  <a:cxn ang="0">
                    <a:pos x="29" y="9"/>
                  </a:cxn>
                  <a:cxn ang="0">
                    <a:pos x="33" y="11"/>
                  </a:cxn>
                  <a:cxn ang="0">
                    <a:pos x="37" y="11"/>
                  </a:cxn>
                  <a:cxn ang="0">
                    <a:pos x="43" y="12"/>
                  </a:cxn>
                  <a:cxn ang="0">
                    <a:pos x="46" y="16"/>
                  </a:cxn>
                  <a:cxn ang="0">
                    <a:pos x="50" y="17"/>
                  </a:cxn>
                  <a:cxn ang="0">
                    <a:pos x="54" y="18"/>
                  </a:cxn>
                  <a:cxn ang="0">
                    <a:pos x="60" y="21"/>
                  </a:cxn>
                  <a:cxn ang="0">
                    <a:pos x="63" y="26"/>
                  </a:cxn>
                  <a:cxn ang="0">
                    <a:pos x="71" y="28"/>
                  </a:cxn>
                  <a:cxn ang="0">
                    <a:pos x="71" y="32"/>
                  </a:cxn>
                  <a:cxn ang="0">
                    <a:pos x="66" y="37"/>
                  </a:cxn>
                  <a:cxn ang="0">
                    <a:pos x="75" y="36"/>
                  </a:cxn>
                  <a:cxn ang="0">
                    <a:pos x="88" y="37"/>
                  </a:cxn>
                  <a:cxn ang="0">
                    <a:pos x="91" y="35"/>
                  </a:cxn>
                  <a:cxn ang="0">
                    <a:pos x="95" y="35"/>
                  </a:cxn>
                  <a:cxn ang="0">
                    <a:pos x="67" y="13"/>
                  </a:cxn>
                  <a:cxn ang="0">
                    <a:pos x="70" y="13"/>
                  </a:cxn>
                  <a:cxn ang="0">
                    <a:pos x="22" y="16"/>
                  </a:cxn>
                  <a:cxn ang="0">
                    <a:pos x="18" y="16"/>
                  </a:cxn>
                  <a:cxn ang="0">
                    <a:pos x="17" y="19"/>
                  </a:cxn>
                  <a:cxn ang="0">
                    <a:pos x="22" y="16"/>
                  </a:cxn>
                  <a:cxn ang="0">
                    <a:pos x="54" y="25"/>
                  </a:cxn>
                  <a:cxn ang="0">
                    <a:pos x="57" y="27"/>
                  </a:cxn>
                  <a:cxn ang="0">
                    <a:pos x="61" y="29"/>
                  </a:cxn>
                  <a:cxn ang="0">
                    <a:pos x="53" y="24"/>
                  </a:cxn>
                  <a:cxn ang="0">
                    <a:pos x="65" y="9"/>
                  </a:cxn>
                  <a:cxn ang="0">
                    <a:pos x="64" y="9"/>
                  </a:cxn>
                  <a:cxn ang="0">
                    <a:pos x="52" y="5"/>
                  </a:cxn>
                </a:cxnLst>
                <a:rect l="0" t="0" r="r" b="b"/>
                <a:pathLst>
                  <a:path w="101" h="37">
                    <a:moveTo>
                      <a:pt x="58" y="6"/>
                    </a:moveTo>
                    <a:cubicBezTo>
                      <a:pt x="57" y="6"/>
                      <a:pt x="57" y="6"/>
                      <a:pt x="57" y="6"/>
                    </a:cubicBezTo>
                    <a:cubicBezTo>
                      <a:pt x="57" y="6"/>
                      <a:pt x="58" y="6"/>
                      <a:pt x="58" y="6"/>
                    </a:cubicBezTo>
                    <a:cubicBezTo>
                      <a:pt x="58" y="6"/>
                      <a:pt x="58" y="6"/>
                      <a:pt x="58" y="6"/>
                    </a:cubicBezTo>
                    <a:close/>
                    <a:moveTo>
                      <a:pt x="66" y="12"/>
                    </a:moveTo>
                    <a:cubicBezTo>
                      <a:pt x="67" y="12"/>
                      <a:pt x="67" y="12"/>
                      <a:pt x="67" y="12"/>
                    </a:cubicBezTo>
                    <a:cubicBezTo>
                      <a:pt x="67" y="12"/>
                      <a:pt x="67" y="12"/>
                      <a:pt x="67" y="12"/>
                    </a:cubicBezTo>
                    <a:cubicBezTo>
                      <a:pt x="67" y="12"/>
                      <a:pt x="67" y="13"/>
                      <a:pt x="68" y="12"/>
                    </a:cubicBezTo>
                    <a:cubicBezTo>
                      <a:pt x="68" y="12"/>
                      <a:pt x="68" y="12"/>
                      <a:pt x="68" y="12"/>
                    </a:cubicBezTo>
                    <a:cubicBezTo>
                      <a:pt x="68" y="11"/>
                      <a:pt x="68" y="12"/>
                      <a:pt x="68" y="11"/>
                    </a:cubicBezTo>
                    <a:cubicBezTo>
                      <a:pt x="68" y="11"/>
                      <a:pt x="67" y="11"/>
                      <a:pt x="67" y="11"/>
                    </a:cubicBezTo>
                    <a:cubicBezTo>
                      <a:pt x="67" y="11"/>
                      <a:pt x="67" y="11"/>
                      <a:pt x="67" y="11"/>
                    </a:cubicBezTo>
                    <a:cubicBezTo>
                      <a:pt x="67" y="10"/>
                      <a:pt x="67" y="10"/>
                      <a:pt x="67" y="10"/>
                    </a:cubicBezTo>
                    <a:cubicBezTo>
                      <a:pt x="67" y="10"/>
                      <a:pt x="66" y="11"/>
                      <a:pt x="66" y="12"/>
                    </a:cubicBezTo>
                    <a:close/>
                    <a:moveTo>
                      <a:pt x="61" y="8"/>
                    </a:moveTo>
                    <a:cubicBezTo>
                      <a:pt x="61" y="8"/>
                      <a:pt x="61" y="8"/>
                      <a:pt x="61" y="8"/>
                    </a:cubicBezTo>
                    <a:cubicBezTo>
                      <a:pt x="61" y="8"/>
                      <a:pt x="62" y="9"/>
                      <a:pt x="62" y="9"/>
                    </a:cubicBezTo>
                    <a:cubicBezTo>
                      <a:pt x="62" y="9"/>
                      <a:pt x="63" y="8"/>
                      <a:pt x="63" y="9"/>
                    </a:cubicBezTo>
                    <a:cubicBezTo>
                      <a:pt x="63" y="9"/>
                      <a:pt x="63" y="9"/>
                      <a:pt x="63" y="9"/>
                    </a:cubicBezTo>
                    <a:cubicBezTo>
                      <a:pt x="63" y="9"/>
                      <a:pt x="64" y="9"/>
                      <a:pt x="64" y="8"/>
                    </a:cubicBezTo>
                    <a:cubicBezTo>
                      <a:pt x="64" y="8"/>
                      <a:pt x="64" y="8"/>
                      <a:pt x="64" y="7"/>
                    </a:cubicBezTo>
                    <a:cubicBezTo>
                      <a:pt x="63" y="7"/>
                      <a:pt x="62" y="8"/>
                      <a:pt x="61" y="8"/>
                    </a:cubicBezTo>
                    <a:cubicBezTo>
                      <a:pt x="61" y="7"/>
                      <a:pt x="60" y="7"/>
                      <a:pt x="61" y="8"/>
                    </a:cubicBezTo>
                    <a:cubicBezTo>
                      <a:pt x="61" y="8"/>
                      <a:pt x="61" y="8"/>
                      <a:pt x="61" y="8"/>
                    </a:cubicBezTo>
                    <a:close/>
                    <a:moveTo>
                      <a:pt x="101" y="33"/>
                    </a:moveTo>
                    <a:cubicBezTo>
                      <a:pt x="100" y="32"/>
                      <a:pt x="100" y="32"/>
                      <a:pt x="99" y="32"/>
                    </a:cubicBezTo>
                    <a:cubicBezTo>
                      <a:pt x="99" y="32"/>
                      <a:pt x="97" y="32"/>
                      <a:pt x="97" y="31"/>
                    </a:cubicBezTo>
                    <a:cubicBezTo>
                      <a:pt x="97" y="30"/>
                      <a:pt x="96" y="30"/>
                      <a:pt x="96" y="29"/>
                    </a:cubicBezTo>
                    <a:cubicBezTo>
                      <a:pt x="95" y="29"/>
                      <a:pt x="95" y="29"/>
                      <a:pt x="95" y="29"/>
                    </a:cubicBezTo>
                    <a:cubicBezTo>
                      <a:pt x="95" y="28"/>
                      <a:pt x="94" y="28"/>
                      <a:pt x="93" y="28"/>
                    </a:cubicBezTo>
                    <a:cubicBezTo>
                      <a:pt x="93" y="28"/>
                      <a:pt x="92" y="28"/>
                      <a:pt x="92" y="28"/>
                    </a:cubicBezTo>
                    <a:cubicBezTo>
                      <a:pt x="92" y="28"/>
                      <a:pt x="92" y="28"/>
                      <a:pt x="91" y="28"/>
                    </a:cubicBezTo>
                    <a:cubicBezTo>
                      <a:pt x="91" y="27"/>
                      <a:pt x="90" y="28"/>
                      <a:pt x="90" y="28"/>
                    </a:cubicBezTo>
                    <a:cubicBezTo>
                      <a:pt x="90" y="28"/>
                      <a:pt x="90" y="28"/>
                      <a:pt x="90" y="28"/>
                    </a:cubicBezTo>
                    <a:cubicBezTo>
                      <a:pt x="90" y="28"/>
                      <a:pt x="89" y="28"/>
                      <a:pt x="90" y="28"/>
                    </a:cubicBezTo>
                    <a:cubicBezTo>
                      <a:pt x="90" y="27"/>
                      <a:pt x="89" y="27"/>
                      <a:pt x="89" y="27"/>
                    </a:cubicBezTo>
                    <a:cubicBezTo>
                      <a:pt x="88" y="27"/>
                      <a:pt x="89" y="28"/>
                      <a:pt x="89" y="28"/>
                    </a:cubicBezTo>
                    <a:cubicBezTo>
                      <a:pt x="89" y="28"/>
                      <a:pt x="87" y="28"/>
                      <a:pt x="87" y="28"/>
                    </a:cubicBezTo>
                    <a:cubicBezTo>
                      <a:pt x="87" y="27"/>
                      <a:pt x="87" y="27"/>
                      <a:pt x="87" y="27"/>
                    </a:cubicBezTo>
                    <a:cubicBezTo>
                      <a:pt x="87" y="27"/>
                      <a:pt x="87" y="28"/>
                      <a:pt x="86" y="28"/>
                    </a:cubicBezTo>
                    <a:cubicBezTo>
                      <a:pt x="86" y="28"/>
                      <a:pt x="85" y="27"/>
                      <a:pt x="86" y="26"/>
                    </a:cubicBezTo>
                    <a:cubicBezTo>
                      <a:pt x="86" y="26"/>
                      <a:pt x="88" y="27"/>
                      <a:pt x="88" y="27"/>
                    </a:cubicBezTo>
                    <a:cubicBezTo>
                      <a:pt x="88" y="26"/>
                      <a:pt x="87" y="25"/>
                      <a:pt x="86" y="26"/>
                    </a:cubicBezTo>
                    <a:cubicBezTo>
                      <a:pt x="86" y="26"/>
                      <a:pt x="86" y="26"/>
                      <a:pt x="86" y="25"/>
                    </a:cubicBezTo>
                    <a:cubicBezTo>
                      <a:pt x="87" y="25"/>
                      <a:pt x="87" y="25"/>
                      <a:pt x="87" y="26"/>
                    </a:cubicBezTo>
                    <a:cubicBezTo>
                      <a:pt x="87" y="26"/>
                      <a:pt x="88" y="24"/>
                      <a:pt x="88" y="24"/>
                    </a:cubicBezTo>
                    <a:cubicBezTo>
                      <a:pt x="88" y="24"/>
                      <a:pt x="87" y="24"/>
                      <a:pt x="87" y="24"/>
                    </a:cubicBezTo>
                    <a:cubicBezTo>
                      <a:pt x="87" y="23"/>
                      <a:pt x="87" y="23"/>
                      <a:pt x="87" y="23"/>
                    </a:cubicBezTo>
                    <a:cubicBezTo>
                      <a:pt x="87" y="23"/>
                      <a:pt x="86" y="23"/>
                      <a:pt x="86" y="23"/>
                    </a:cubicBezTo>
                    <a:cubicBezTo>
                      <a:pt x="86" y="23"/>
                      <a:pt x="85" y="24"/>
                      <a:pt x="85" y="23"/>
                    </a:cubicBezTo>
                    <a:cubicBezTo>
                      <a:pt x="85" y="23"/>
                      <a:pt x="84" y="23"/>
                      <a:pt x="84" y="23"/>
                    </a:cubicBezTo>
                    <a:cubicBezTo>
                      <a:pt x="84" y="24"/>
                      <a:pt x="84" y="24"/>
                      <a:pt x="83" y="23"/>
                    </a:cubicBezTo>
                    <a:cubicBezTo>
                      <a:pt x="83" y="23"/>
                      <a:pt x="83" y="23"/>
                      <a:pt x="83" y="23"/>
                    </a:cubicBezTo>
                    <a:cubicBezTo>
                      <a:pt x="83" y="24"/>
                      <a:pt x="83" y="23"/>
                      <a:pt x="83" y="22"/>
                    </a:cubicBezTo>
                    <a:cubicBezTo>
                      <a:pt x="82" y="22"/>
                      <a:pt x="82" y="22"/>
                      <a:pt x="81" y="22"/>
                    </a:cubicBezTo>
                    <a:cubicBezTo>
                      <a:pt x="81" y="21"/>
                      <a:pt x="80" y="21"/>
                      <a:pt x="79" y="21"/>
                    </a:cubicBezTo>
                    <a:cubicBezTo>
                      <a:pt x="79" y="22"/>
                      <a:pt x="79" y="22"/>
                      <a:pt x="80" y="22"/>
                    </a:cubicBezTo>
                    <a:cubicBezTo>
                      <a:pt x="79" y="22"/>
                      <a:pt x="78" y="23"/>
                      <a:pt x="78" y="22"/>
                    </a:cubicBezTo>
                    <a:cubicBezTo>
                      <a:pt x="79" y="22"/>
                      <a:pt x="79" y="22"/>
                      <a:pt x="79" y="21"/>
                    </a:cubicBezTo>
                    <a:cubicBezTo>
                      <a:pt x="79" y="22"/>
                      <a:pt x="79" y="21"/>
                      <a:pt x="78" y="21"/>
                    </a:cubicBezTo>
                    <a:cubicBezTo>
                      <a:pt x="78" y="22"/>
                      <a:pt x="78" y="22"/>
                      <a:pt x="78" y="22"/>
                    </a:cubicBezTo>
                    <a:cubicBezTo>
                      <a:pt x="78" y="22"/>
                      <a:pt x="77" y="22"/>
                      <a:pt x="77" y="21"/>
                    </a:cubicBezTo>
                    <a:cubicBezTo>
                      <a:pt x="77" y="21"/>
                      <a:pt x="79" y="21"/>
                      <a:pt x="78" y="21"/>
                    </a:cubicBezTo>
                    <a:cubicBezTo>
                      <a:pt x="77" y="20"/>
                      <a:pt x="77" y="20"/>
                      <a:pt x="76" y="21"/>
                    </a:cubicBezTo>
                    <a:cubicBezTo>
                      <a:pt x="77" y="21"/>
                      <a:pt x="76" y="21"/>
                      <a:pt x="76" y="21"/>
                    </a:cubicBezTo>
                    <a:cubicBezTo>
                      <a:pt x="76" y="21"/>
                      <a:pt x="76" y="21"/>
                      <a:pt x="76" y="21"/>
                    </a:cubicBezTo>
                    <a:cubicBezTo>
                      <a:pt x="76" y="20"/>
                      <a:pt x="77" y="21"/>
                      <a:pt x="77" y="20"/>
                    </a:cubicBezTo>
                    <a:cubicBezTo>
                      <a:pt x="77" y="20"/>
                      <a:pt x="76" y="20"/>
                      <a:pt x="76" y="19"/>
                    </a:cubicBezTo>
                    <a:cubicBezTo>
                      <a:pt x="75" y="19"/>
                      <a:pt x="75" y="19"/>
                      <a:pt x="75" y="18"/>
                    </a:cubicBezTo>
                    <a:cubicBezTo>
                      <a:pt x="74" y="17"/>
                      <a:pt x="74" y="20"/>
                      <a:pt x="73" y="19"/>
                    </a:cubicBezTo>
                    <a:cubicBezTo>
                      <a:pt x="73" y="19"/>
                      <a:pt x="72" y="19"/>
                      <a:pt x="73" y="19"/>
                    </a:cubicBezTo>
                    <a:cubicBezTo>
                      <a:pt x="73" y="18"/>
                      <a:pt x="72" y="18"/>
                      <a:pt x="72" y="18"/>
                    </a:cubicBezTo>
                    <a:cubicBezTo>
                      <a:pt x="72" y="18"/>
                      <a:pt x="73" y="18"/>
                      <a:pt x="73" y="18"/>
                    </a:cubicBezTo>
                    <a:cubicBezTo>
                      <a:pt x="74" y="19"/>
                      <a:pt x="74" y="18"/>
                      <a:pt x="74" y="17"/>
                    </a:cubicBezTo>
                    <a:cubicBezTo>
                      <a:pt x="73" y="17"/>
                      <a:pt x="73" y="16"/>
                      <a:pt x="72" y="16"/>
                    </a:cubicBezTo>
                    <a:cubicBezTo>
                      <a:pt x="72" y="16"/>
                      <a:pt x="71" y="15"/>
                      <a:pt x="71" y="15"/>
                    </a:cubicBezTo>
                    <a:cubicBezTo>
                      <a:pt x="70" y="14"/>
                      <a:pt x="70" y="14"/>
                      <a:pt x="70" y="15"/>
                    </a:cubicBezTo>
                    <a:cubicBezTo>
                      <a:pt x="70" y="15"/>
                      <a:pt x="71" y="15"/>
                      <a:pt x="71" y="16"/>
                    </a:cubicBezTo>
                    <a:cubicBezTo>
                      <a:pt x="71" y="16"/>
                      <a:pt x="71" y="16"/>
                      <a:pt x="71" y="16"/>
                    </a:cubicBezTo>
                    <a:cubicBezTo>
                      <a:pt x="71" y="16"/>
                      <a:pt x="72" y="16"/>
                      <a:pt x="72" y="17"/>
                    </a:cubicBezTo>
                    <a:cubicBezTo>
                      <a:pt x="72" y="17"/>
                      <a:pt x="72" y="17"/>
                      <a:pt x="72" y="17"/>
                    </a:cubicBezTo>
                    <a:cubicBezTo>
                      <a:pt x="72" y="18"/>
                      <a:pt x="71" y="17"/>
                      <a:pt x="71" y="17"/>
                    </a:cubicBezTo>
                    <a:cubicBezTo>
                      <a:pt x="71" y="17"/>
                      <a:pt x="71" y="16"/>
                      <a:pt x="71" y="16"/>
                    </a:cubicBezTo>
                    <a:cubicBezTo>
                      <a:pt x="71" y="16"/>
                      <a:pt x="71" y="16"/>
                      <a:pt x="70" y="16"/>
                    </a:cubicBezTo>
                    <a:cubicBezTo>
                      <a:pt x="70" y="16"/>
                      <a:pt x="69" y="16"/>
                      <a:pt x="69" y="16"/>
                    </a:cubicBezTo>
                    <a:cubicBezTo>
                      <a:pt x="68" y="16"/>
                      <a:pt x="69" y="15"/>
                      <a:pt x="68" y="15"/>
                    </a:cubicBezTo>
                    <a:cubicBezTo>
                      <a:pt x="67" y="15"/>
                      <a:pt x="67" y="14"/>
                      <a:pt x="68" y="14"/>
                    </a:cubicBezTo>
                    <a:cubicBezTo>
                      <a:pt x="67" y="14"/>
                      <a:pt x="68" y="16"/>
                      <a:pt x="67" y="14"/>
                    </a:cubicBezTo>
                    <a:cubicBezTo>
                      <a:pt x="66" y="13"/>
                      <a:pt x="66" y="13"/>
                      <a:pt x="65" y="12"/>
                    </a:cubicBezTo>
                    <a:cubicBezTo>
                      <a:pt x="64" y="12"/>
                      <a:pt x="64" y="12"/>
                      <a:pt x="63" y="11"/>
                    </a:cubicBezTo>
                    <a:cubicBezTo>
                      <a:pt x="63" y="11"/>
                      <a:pt x="63" y="11"/>
                      <a:pt x="62" y="11"/>
                    </a:cubicBezTo>
                    <a:cubicBezTo>
                      <a:pt x="62" y="10"/>
                      <a:pt x="61" y="10"/>
                      <a:pt x="61" y="10"/>
                    </a:cubicBezTo>
                    <a:cubicBezTo>
                      <a:pt x="61" y="10"/>
                      <a:pt x="60" y="9"/>
                      <a:pt x="60" y="9"/>
                    </a:cubicBezTo>
                    <a:cubicBezTo>
                      <a:pt x="60" y="10"/>
                      <a:pt x="60" y="10"/>
                      <a:pt x="59" y="9"/>
                    </a:cubicBezTo>
                    <a:cubicBezTo>
                      <a:pt x="59" y="9"/>
                      <a:pt x="58" y="9"/>
                      <a:pt x="58" y="9"/>
                    </a:cubicBezTo>
                    <a:cubicBezTo>
                      <a:pt x="57" y="9"/>
                      <a:pt x="56" y="9"/>
                      <a:pt x="56" y="9"/>
                    </a:cubicBezTo>
                    <a:cubicBezTo>
                      <a:pt x="55" y="9"/>
                      <a:pt x="54" y="9"/>
                      <a:pt x="54" y="9"/>
                    </a:cubicBezTo>
                    <a:cubicBezTo>
                      <a:pt x="54" y="8"/>
                      <a:pt x="53" y="8"/>
                      <a:pt x="53" y="8"/>
                    </a:cubicBezTo>
                    <a:cubicBezTo>
                      <a:pt x="53" y="7"/>
                      <a:pt x="53" y="7"/>
                      <a:pt x="52" y="7"/>
                    </a:cubicBezTo>
                    <a:cubicBezTo>
                      <a:pt x="52" y="6"/>
                      <a:pt x="52" y="6"/>
                      <a:pt x="52" y="6"/>
                    </a:cubicBezTo>
                    <a:cubicBezTo>
                      <a:pt x="52" y="6"/>
                      <a:pt x="52" y="5"/>
                      <a:pt x="52" y="5"/>
                    </a:cubicBezTo>
                    <a:cubicBezTo>
                      <a:pt x="51" y="5"/>
                      <a:pt x="50" y="5"/>
                      <a:pt x="50" y="5"/>
                    </a:cubicBezTo>
                    <a:cubicBezTo>
                      <a:pt x="50" y="4"/>
                      <a:pt x="50" y="4"/>
                      <a:pt x="51" y="4"/>
                    </a:cubicBezTo>
                    <a:cubicBezTo>
                      <a:pt x="50" y="4"/>
                      <a:pt x="50" y="4"/>
                      <a:pt x="49" y="4"/>
                    </a:cubicBezTo>
                    <a:cubicBezTo>
                      <a:pt x="49" y="4"/>
                      <a:pt x="49" y="3"/>
                      <a:pt x="48" y="3"/>
                    </a:cubicBezTo>
                    <a:cubicBezTo>
                      <a:pt x="48" y="4"/>
                      <a:pt x="48" y="3"/>
                      <a:pt x="48" y="3"/>
                    </a:cubicBezTo>
                    <a:cubicBezTo>
                      <a:pt x="47" y="3"/>
                      <a:pt x="47" y="3"/>
                      <a:pt x="47" y="3"/>
                    </a:cubicBezTo>
                    <a:cubicBezTo>
                      <a:pt x="46" y="4"/>
                      <a:pt x="45" y="3"/>
                      <a:pt x="45" y="3"/>
                    </a:cubicBezTo>
                    <a:cubicBezTo>
                      <a:pt x="44" y="3"/>
                      <a:pt x="44" y="3"/>
                      <a:pt x="44" y="2"/>
                    </a:cubicBezTo>
                    <a:cubicBezTo>
                      <a:pt x="43" y="2"/>
                      <a:pt x="43" y="2"/>
                      <a:pt x="43" y="1"/>
                    </a:cubicBezTo>
                    <a:cubicBezTo>
                      <a:pt x="43" y="1"/>
                      <a:pt x="44" y="1"/>
                      <a:pt x="43" y="1"/>
                    </a:cubicBezTo>
                    <a:cubicBezTo>
                      <a:pt x="43" y="1"/>
                      <a:pt x="43" y="1"/>
                      <a:pt x="43" y="1"/>
                    </a:cubicBezTo>
                    <a:cubicBezTo>
                      <a:pt x="43" y="2"/>
                      <a:pt x="41" y="2"/>
                      <a:pt x="41" y="2"/>
                    </a:cubicBezTo>
                    <a:cubicBezTo>
                      <a:pt x="40" y="2"/>
                      <a:pt x="39" y="1"/>
                      <a:pt x="39" y="2"/>
                    </a:cubicBezTo>
                    <a:cubicBezTo>
                      <a:pt x="39" y="2"/>
                      <a:pt x="38" y="2"/>
                      <a:pt x="38" y="2"/>
                    </a:cubicBezTo>
                    <a:cubicBezTo>
                      <a:pt x="38" y="2"/>
                      <a:pt x="38" y="2"/>
                      <a:pt x="37" y="1"/>
                    </a:cubicBezTo>
                    <a:cubicBezTo>
                      <a:pt x="36" y="1"/>
                      <a:pt x="38" y="1"/>
                      <a:pt x="39" y="0"/>
                    </a:cubicBezTo>
                    <a:cubicBezTo>
                      <a:pt x="38" y="0"/>
                      <a:pt x="37" y="1"/>
                      <a:pt x="36" y="1"/>
                    </a:cubicBezTo>
                    <a:cubicBezTo>
                      <a:pt x="36" y="1"/>
                      <a:pt x="34" y="2"/>
                      <a:pt x="34" y="2"/>
                    </a:cubicBezTo>
                    <a:cubicBezTo>
                      <a:pt x="34" y="2"/>
                      <a:pt x="35" y="1"/>
                      <a:pt x="34" y="1"/>
                    </a:cubicBezTo>
                    <a:cubicBezTo>
                      <a:pt x="34" y="1"/>
                      <a:pt x="33" y="1"/>
                      <a:pt x="32" y="1"/>
                    </a:cubicBezTo>
                    <a:cubicBezTo>
                      <a:pt x="31" y="1"/>
                      <a:pt x="29" y="0"/>
                      <a:pt x="28" y="0"/>
                    </a:cubicBezTo>
                    <a:cubicBezTo>
                      <a:pt x="26" y="0"/>
                      <a:pt x="25" y="2"/>
                      <a:pt x="23" y="2"/>
                    </a:cubicBezTo>
                    <a:cubicBezTo>
                      <a:pt x="23" y="2"/>
                      <a:pt x="22" y="2"/>
                      <a:pt x="21" y="2"/>
                    </a:cubicBezTo>
                    <a:cubicBezTo>
                      <a:pt x="21" y="2"/>
                      <a:pt x="21" y="3"/>
                      <a:pt x="20" y="3"/>
                    </a:cubicBezTo>
                    <a:cubicBezTo>
                      <a:pt x="21" y="2"/>
                      <a:pt x="20" y="2"/>
                      <a:pt x="20" y="2"/>
                    </a:cubicBezTo>
                    <a:cubicBezTo>
                      <a:pt x="19" y="3"/>
                      <a:pt x="19" y="3"/>
                      <a:pt x="19" y="3"/>
                    </a:cubicBezTo>
                    <a:cubicBezTo>
                      <a:pt x="18" y="3"/>
                      <a:pt x="19" y="3"/>
                      <a:pt x="19" y="2"/>
                    </a:cubicBezTo>
                    <a:cubicBezTo>
                      <a:pt x="18" y="2"/>
                      <a:pt x="18" y="3"/>
                      <a:pt x="18" y="3"/>
                    </a:cubicBezTo>
                    <a:cubicBezTo>
                      <a:pt x="17" y="3"/>
                      <a:pt x="17" y="4"/>
                      <a:pt x="16" y="4"/>
                    </a:cubicBezTo>
                    <a:cubicBezTo>
                      <a:pt x="16" y="3"/>
                      <a:pt x="16" y="4"/>
                      <a:pt x="16" y="4"/>
                    </a:cubicBezTo>
                    <a:cubicBezTo>
                      <a:pt x="15" y="4"/>
                      <a:pt x="16" y="4"/>
                      <a:pt x="15" y="4"/>
                    </a:cubicBezTo>
                    <a:cubicBezTo>
                      <a:pt x="15" y="4"/>
                      <a:pt x="14" y="4"/>
                      <a:pt x="14" y="4"/>
                    </a:cubicBezTo>
                    <a:cubicBezTo>
                      <a:pt x="14" y="5"/>
                      <a:pt x="14" y="5"/>
                      <a:pt x="13" y="5"/>
                    </a:cubicBezTo>
                    <a:cubicBezTo>
                      <a:pt x="12" y="5"/>
                      <a:pt x="12" y="5"/>
                      <a:pt x="11" y="6"/>
                    </a:cubicBezTo>
                    <a:cubicBezTo>
                      <a:pt x="11" y="6"/>
                      <a:pt x="10" y="6"/>
                      <a:pt x="10" y="6"/>
                    </a:cubicBezTo>
                    <a:cubicBezTo>
                      <a:pt x="11" y="6"/>
                      <a:pt x="9" y="7"/>
                      <a:pt x="9" y="7"/>
                    </a:cubicBezTo>
                    <a:cubicBezTo>
                      <a:pt x="9" y="7"/>
                      <a:pt x="8" y="7"/>
                      <a:pt x="8" y="7"/>
                    </a:cubicBezTo>
                    <a:cubicBezTo>
                      <a:pt x="8" y="8"/>
                      <a:pt x="8" y="8"/>
                      <a:pt x="7" y="8"/>
                    </a:cubicBezTo>
                    <a:cubicBezTo>
                      <a:pt x="7" y="8"/>
                      <a:pt x="7" y="9"/>
                      <a:pt x="6" y="10"/>
                    </a:cubicBezTo>
                    <a:cubicBezTo>
                      <a:pt x="6" y="10"/>
                      <a:pt x="6" y="11"/>
                      <a:pt x="5" y="11"/>
                    </a:cubicBezTo>
                    <a:cubicBezTo>
                      <a:pt x="6" y="11"/>
                      <a:pt x="6" y="12"/>
                      <a:pt x="6" y="12"/>
                    </a:cubicBezTo>
                    <a:cubicBezTo>
                      <a:pt x="6" y="12"/>
                      <a:pt x="6" y="12"/>
                      <a:pt x="6" y="12"/>
                    </a:cubicBezTo>
                    <a:cubicBezTo>
                      <a:pt x="6" y="13"/>
                      <a:pt x="6" y="13"/>
                      <a:pt x="7" y="13"/>
                    </a:cubicBezTo>
                    <a:cubicBezTo>
                      <a:pt x="7" y="14"/>
                      <a:pt x="6" y="13"/>
                      <a:pt x="5" y="13"/>
                    </a:cubicBezTo>
                    <a:cubicBezTo>
                      <a:pt x="5" y="13"/>
                      <a:pt x="5" y="13"/>
                      <a:pt x="5" y="13"/>
                    </a:cubicBezTo>
                    <a:cubicBezTo>
                      <a:pt x="4" y="13"/>
                      <a:pt x="4" y="13"/>
                      <a:pt x="4" y="14"/>
                    </a:cubicBezTo>
                    <a:cubicBezTo>
                      <a:pt x="3" y="14"/>
                      <a:pt x="1" y="15"/>
                      <a:pt x="1" y="14"/>
                    </a:cubicBezTo>
                    <a:cubicBezTo>
                      <a:pt x="1" y="14"/>
                      <a:pt x="1" y="15"/>
                      <a:pt x="0" y="14"/>
                    </a:cubicBezTo>
                    <a:cubicBezTo>
                      <a:pt x="0" y="15"/>
                      <a:pt x="0" y="15"/>
                      <a:pt x="1" y="15"/>
                    </a:cubicBezTo>
                    <a:cubicBezTo>
                      <a:pt x="2" y="15"/>
                      <a:pt x="2" y="15"/>
                      <a:pt x="3" y="14"/>
                    </a:cubicBezTo>
                    <a:cubicBezTo>
                      <a:pt x="4" y="14"/>
                      <a:pt x="5" y="14"/>
                      <a:pt x="5" y="15"/>
                    </a:cubicBezTo>
                    <a:cubicBezTo>
                      <a:pt x="5" y="15"/>
                      <a:pt x="4" y="16"/>
                      <a:pt x="4" y="16"/>
                    </a:cubicBezTo>
                    <a:cubicBezTo>
                      <a:pt x="5" y="17"/>
                      <a:pt x="7" y="14"/>
                      <a:pt x="8" y="14"/>
                    </a:cubicBezTo>
                    <a:cubicBezTo>
                      <a:pt x="8" y="14"/>
                      <a:pt x="9" y="15"/>
                      <a:pt x="9" y="14"/>
                    </a:cubicBezTo>
                    <a:cubicBezTo>
                      <a:pt x="9" y="14"/>
                      <a:pt x="10" y="13"/>
                      <a:pt x="10" y="13"/>
                    </a:cubicBezTo>
                    <a:cubicBezTo>
                      <a:pt x="9" y="13"/>
                      <a:pt x="10" y="12"/>
                      <a:pt x="11" y="12"/>
                    </a:cubicBezTo>
                    <a:cubicBezTo>
                      <a:pt x="11" y="12"/>
                      <a:pt x="11" y="11"/>
                      <a:pt x="12" y="11"/>
                    </a:cubicBezTo>
                    <a:cubicBezTo>
                      <a:pt x="11" y="11"/>
                      <a:pt x="12" y="12"/>
                      <a:pt x="12" y="12"/>
                    </a:cubicBezTo>
                    <a:cubicBezTo>
                      <a:pt x="13" y="11"/>
                      <a:pt x="13" y="11"/>
                      <a:pt x="14" y="11"/>
                    </a:cubicBezTo>
                    <a:cubicBezTo>
                      <a:pt x="14" y="13"/>
                      <a:pt x="17" y="10"/>
                      <a:pt x="17" y="10"/>
                    </a:cubicBezTo>
                    <a:cubicBezTo>
                      <a:pt x="18" y="10"/>
                      <a:pt x="18" y="9"/>
                      <a:pt x="19" y="9"/>
                    </a:cubicBezTo>
                    <a:cubicBezTo>
                      <a:pt x="19" y="8"/>
                      <a:pt x="20" y="7"/>
                      <a:pt x="21" y="7"/>
                    </a:cubicBezTo>
                    <a:cubicBezTo>
                      <a:pt x="21" y="7"/>
                      <a:pt x="22" y="7"/>
                      <a:pt x="22" y="6"/>
                    </a:cubicBezTo>
                    <a:cubicBezTo>
                      <a:pt x="22" y="6"/>
                      <a:pt x="22" y="6"/>
                      <a:pt x="22" y="6"/>
                    </a:cubicBezTo>
                    <a:cubicBezTo>
                      <a:pt x="22" y="6"/>
                      <a:pt x="23" y="6"/>
                      <a:pt x="23" y="6"/>
                    </a:cubicBezTo>
                    <a:cubicBezTo>
                      <a:pt x="24" y="6"/>
                      <a:pt x="25" y="6"/>
                      <a:pt x="26" y="6"/>
                    </a:cubicBezTo>
                    <a:cubicBezTo>
                      <a:pt x="27" y="6"/>
                      <a:pt x="28" y="6"/>
                      <a:pt x="29" y="6"/>
                    </a:cubicBezTo>
                    <a:cubicBezTo>
                      <a:pt x="31" y="6"/>
                      <a:pt x="31" y="6"/>
                      <a:pt x="32" y="7"/>
                    </a:cubicBezTo>
                    <a:cubicBezTo>
                      <a:pt x="34" y="9"/>
                      <a:pt x="30" y="9"/>
                      <a:pt x="29" y="9"/>
                    </a:cubicBezTo>
                    <a:cubicBezTo>
                      <a:pt x="29" y="9"/>
                      <a:pt x="27" y="9"/>
                      <a:pt x="28" y="9"/>
                    </a:cubicBezTo>
                    <a:cubicBezTo>
                      <a:pt x="28" y="10"/>
                      <a:pt x="29" y="10"/>
                      <a:pt x="30" y="11"/>
                    </a:cubicBezTo>
                    <a:cubicBezTo>
                      <a:pt x="30" y="11"/>
                      <a:pt x="30" y="12"/>
                      <a:pt x="31" y="12"/>
                    </a:cubicBezTo>
                    <a:cubicBezTo>
                      <a:pt x="31" y="12"/>
                      <a:pt x="31" y="11"/>
                      <a:pt x="32" y="11"/>
                    </a:cubicBezTo>
                    <a:cubicBezTo>
                      <a:pt x="32" y="11"/>
                      <a:pt x="33" y="11"/>
                      <a:pt x="33" y="11"/>
                    </a:cubicBezTo>
                    <a:cubicBezTo>
                      <a:pt x="33" y="11"/>
                      <a:pt x="34" y="11"/>
                      <a:pt x="34" y="12"/>
                    </a:cubicBezTo>
                    <a:cubicBezTo>
                      <a:pt x="34" y="12"/>
                      <a:pt x="35" y="13"/>
                      <a:pt x="35" y="12"/>
                    </a:cubicBezTo>
                    <a:cubicBezTo>
                      <a:pt x="36" y="11"/>
                      <a:pt x="36" y="12"/>
                      <a:pt x="36" y="13"/>
                    </a:cubicBezTo>
                    <a:cubicBezTo>
                      <a:pt x="36" y="13"/>
                      <a:pt x="36" y="11"/>
                      <a:pt x="36" y="11"/>
                    </a:cubicBezTo>
                    <a:cubicBezTo>
                      <a:pt x="36" y="10"/>
                      <a:pt x="37" y="10"/>
                      <a:pt x="37" y="11"/>
                    </a:cubicBezTo>
                    <a:cubicBezTo>
                      <a:pt x="37" y="11"/>
                      <a:pt x="37" y="12"/>
                      <a:pt x="37" y="12"/>
                    </a:cubicBezTo>
                    <a:cubicBezTo>
                      <a:pt x="37" y="13"/>
                      <a:pt x="39" y="13"/>
                      <a:pt x="40" y="13"/>
                    </a:cubicBezTo>
                    <a:cubicBezTo>
                      <a:pt x="40" y="13"/>
                      <a:pt x="43" y="13"/>
                      <a:pt x="43" y="13"/>
                    </a:cubicBezTo>
                    <a:cubicBezTo>
                      <a:pt x="43" y="12"/>
                      <a:pt x="43" y="12"/>
                      <a:pt x="42" y="12"/>
                    </a:cubicBezTo>
                    <a:cubicBezTo>
                      <a:pt x="42" y="11"/>
                      <a:pt x="43" y="11"/>
                      <a:pt x="43" y="12"/>
                    </a:cubicBezTo>
                    <a:cubicBezTo>
                      <a:pt x="43" y="12"/>
                      <a:pt x="43" y="12"/>
                      <a:pt x="43" y="12"/>
                    </a:cubicBezTo>
                    <a:cubicBezTo>
                      <a:pt x="43" y="12"/>
                      <a:pt x="44" y="12"/>
                      <a:pt x="44" y="12"/>
                    </a:cubicBezTo>
                    <a:cubicBezTo>
                      <a:pt x="44" y="13"/>
                      <a:pt x="43" y="13"/>
                      <a:pt x="43" y="13"/>
                    </a:cubicBezTo>
                    <a:cubicBezTo>
                      <a:pt x="44" y="14"/>
                      <a:pt x="45" y="15"/>
                      <a:pt x="45" y="15"/>
                    </a:cubicBezTo>
                    <a:cubicBezTo>
                      <a:pt x="46" y="15"/>
                      <a:pt x="46" y="15"/>
                      <a:pt x="46" y="16"/>
                    </a:cubicBezTo>
                    <a:cubicBezTo>
                      <a:pt x="47" y="16"/>
                      <a:pt x="47" y="17"/>
                      <a:pt x="47" y="16"/>
                    </a:cubicBezTo>
                    <a:cubicBezTo>
                      <a:pt x="47" y="16"/>
                      <a:pt x="48" y="16"/>
                      <a:pt x="48" y="16"/>
                    </a:cubicBezTo>
                    <a:cubicBezTo>
                      <a:pt x="48" y="16"/>
                      <a:pt x="48" y="17"/>
                      <a:pt x="48" y="17"/>
                    </a:cubicBezTo>
                    <a:cubicBezTo>
                      <a:pt x="49" y="17"/>
                      <a:pt x="49" y="17"/>
                      <a:pt x="49" y="17"/>
                    </a:cubicBezTo>
                    <a:cubicBezTo>
                      <a:pt x="50" y="17"/>
                      <a:pt x="50" y="17"/>
                      <a:pt x="50" y="17"/>
                    </a:cubicBezTo>
                    <a:cubicBezTo>
                      <a:pt x="50" y="17"/>
                      <a:pt x="51" y="17"/>
                      <a:pt x="51" y="18"/>
                    </a:cubicBezTo>
                    <a:cubicBezTo>
                      <a:pt x="51" y="18"/>
                      <a:pt x="51" y="18"/>
                      <a:pt x="51" y="18"/>
                    </a:cubicBezTo>
                    <a:cubicBezTo>
                      <a:pt x="52" y="18"/>
                      <a:pt x="52" y="18"/>
                      <a:pt x="52" y="18"/>
                    </a:cubicBezTo>
                    <a:cubicBezTo>
                      <a:pt x="53" y="18"/>
                      <a:pt x="53" y="18"/>
                      <a:pt x="53" y="18"/>
                    </a:cubicBezTo>
                    <a:cubicBezTo>
                      <a:pt x="53" y="18"/>
                      <a:pt x="54" y="18"/>
                      <a:pt x="54" y="18"/>
                    </a:cubicBezTo>
                    <a:cubicBezTo>
                      <a:pt x="54" y="19"/>
                      <a:pt x="55" y="18"/>
                      <a:pt x="56" y="18"/>
                    </a:cubicBezTo>
                    <a:cubicBezTo>
                      <a:pt x="57" y="18"/>
                      <a:pt x="57" y="18"/>
                      <a:pt x="58" y="18"/>
                    </a:cubicBezTo>
                    <a:cubicBezTo>
                      <a:pt x="59" y="17"/>
                      <a:pt x="59" y="18"/>
                      <a:pt x="59" y="18"/>
                    </a:cubicBezTo>
                    <a:cubicBezTo>
                      <a:pt x="59" y="18"/>
                      <a:pt x="60" y="18"/>
                      <a:pt x="60" y="19"/>
                    </a:cubicBezTo>
                    <a:cubicBezTo>
                      <a:pt x="60" y="20"/>
                      <a:pt x="60" y="20"/>
                      <a:pt x="60" y="21"/>
                    </a:cubicBezTo>
                    <a:cubicBezTo>
                      <a:pt x="60" y="21"/>
                      <a:pt x="61" y="22"/>
                      <a:pt x="60" y="22"/>
                    </a:cubicBezTo>
                    <a:cubicBezTo>
                      <a:pt x="60" y="22"/>
                      <a:pt x="60" y="22"/>
                      <a:pt x="60" y="22"/>
                    </a:cubicBezTo>
                    <a:cubicBezTo>
                      <a:pt x="60" y="22"/>
                      <a:pt x="60" y="23"/>
                      <a:pt x="60" y="24"/>
                    </a:cubicBezTo>
                    <a:cubicBezTo>
                      <a:pt x="60" y="24"/>
                      <a:pt x="60" y="24"/>
                      <a:pt x="61" y="25"/>
                    </a:cubicBezTo>
                    <a:cubicBezTo>
                      <a:pt x="61" y="25"/>
                      <a:pt x="62" y="26"/>
                      <a:pt x="63" y="26"/>
                    </a:cubicBezTo>
                    <a:cubicBezTo>
                      <a:pt x="63" y="27"/>
                      <a:pt x="64" y="28"/>
                      <a:pt x="65" y="28"/>
                    </a:cubicBezTo>
                    <a:cubicBezTo>
                      <a:pt x="65" y="28"/>
                      <a:pt x="66" y="27"/>
                      <a:pt x="66" y="28"/>
                    </a:cubicBezTo>
                    <a:cubicBezTo>
                      <a:pt x="66" y="28"/>
                      <a:pt x="67" y="28"/>
                      <a:pt x="67" y="28"/>
                    </a:cubicBezTo>
                    <a:cubicBezTo>
                      <a:pt x="68" y="28"/>
                      <a:pt x="69" y="28"/>
                      <a:pt x="70" y="28"/>
                    </a:cubicBezTo>
                    <a:cubicBezTo>
                      <a:pt x="70" y="28"/>
                      <a:pt x="71" y="27"/>
                      <a:pt x="71" y="28"/>
                    </a:cubicBezTo>
                    <a:cubicBezTo>
                      <a:pt x="71" y="28"/>
                      <a:pt x="71" y="28"/>
                      <a:pt x="72" y="28"/>
                    </a:cubicBezTo>
                    <a:cubicBezTo>
                      <a:pt x="72" y="28"/>
                      <a:pt x="71" y="30"/>
                      <a:pt x="72" y="30"/>
                    </a:cubicBezTo>
                    <a:cubicBezTo>
                      <a:pt x="73" y="30"/>
                      <a:pt x="73" y="30"/>
                      <a:pt x="72" y="31"/>
                    </a:cubicBezTo>
                    <a:cubicBezTo>
                      <a:pt x="72" y="32"/>
                      <a:pt x="72" y="32"/>
                      <a:pt x="72" y="32"/>
                    </a:cubicBezTo>
                    <a:cubicBezTo>
                      <a:pt x="71" y="33"/>
                      <a:pt x="71" y="32"/>
                      <a:pt x="71" y="32"/>
                    </a:cubicBezTo>
                    <a:cubicBezTo>
                      <a:pt x="70" y="33"/>
                      <a:pt x="69" y="33"/>
                      <a:pt x="69" y="34"/>
                    </a:cubicBezTo>
                    <a:cubicBezTo>
                      <a:pt x="68" y="34"/>
                      <a:pt x="67" y="35"/>
                      <a:pt x="67" y="35"/>
                    </a:cubicBezTo>
                    <a:cubicBezTo>
                      <a:pt x="67" y="35"/>
                      <a:pt x="67" y="35"/>
                      <a:pt x="67" y="35"/>
                    </a:cubicBezTo>
                    <a:cubicBezTo>
                      <a:pt x="67" y="36"/>
                      <a:pt x="66" y="36"/>
                      <a:pt x="66" y="37"/>
                    </a:cubicBezTo>
                    <a:cubicBezTo>
                      <a:pt x="66" y="37"/>
                      <a:pt x="66" y="37"/>
                      <a:pt x="66" y="37"/>
                    </a:cubicBezTo>
                    <a:cubicBezTo>
                      <a:pt x="67" y="37"/>
                      <a:pt x="68" y="37"/>
                      <a:pt x="68" y="37"/>
                    </a:cubicBezTo>
                    <a:cubicBezTo>
                      <a:pt x="69" y="37"/>
                      <a:pt x="69" y="37"/>
                      <a:pt x="70" y="37"/>
                    </a:cubicBezTo>
                    <a:cubicBezTo>
                      <a:pt x="69" y="37"/>
                      <a:pt x="70" y="36"/>
                      <a:pt x="70" y="36"/>
                    </a:cubicBezTo>
                    <a:cubicBezTo>
                      <a:pt x="71" y="36"/>
                      <a:pt x="71" y="37"/>
                      <a:pt x="72" y="37"/>
                    </a:cubicBezTo>
                    <a:cubicBezTo>
                      <a:pt x="73" y="37"/>
                      <a:pt x="74" y="36"/>
                      <a:pt x="75" y="36"/>
                    </a:cubicBezTo>
                    <a:cubicBezTo>
                      <a:pt x="75" y="36"/>
                      <a:pt x="76" y="36"/>
                      <a:pt x="77" y="36"/>
                    </a:cubicBezTo>
                    <a:cubicBezTo>
                      <a:pt x="77" y="36"/>
                      <a:pt x="78" y="36"/>
                      <a:pt x="78" y="36"/>
                    </a:cubicBezTo>
                    <a:cubicBezTo>
                      <a:pt x="80" y="36"/>
                      <a:pt x="80" y="36"/>
                      <a:pt x="82" y="36"/>
                    </a:cubicBezTo>
                    <a:cubicBezTo>
                      <a:pt x="83" y="36"/>
                      <a:pt x="84" y="36"/>
                      <a:pt x="85" y="36"/>
                    </a:cubicBezTo>
                    <a:cubicBezTo>
                      <a:pt x="86" y="36"/>
                      <a:pt x="86" y="37"/>
                      <a:pt x="88" y="37"/>
                    </a:cubicBezTo>
                    <a:cubicBezTo>
                      <a:pt x="88" y="37"/>
                      <a:pt x="89" y="37"/>
                      <a:pt x="90" y="37"/>
                    </a:cubicBezTo>
                    <a:cubicBezTo>
                      <a:pt x="90" y="36"/>
                      <a:pt x="90" y="36"/>
                      <a:pt x="90" y="36"/>
                    </a:cubicBezTo>
                    <a:cubicBezTo>
                      <a:pt x="90" y="36"/>
                      <a:pt x="91" y="36"/>
                      <a:pt x="90" y="35"/>
                    </a:cubicBezTo>
                    <a:cubicBezTo>
                      <a:pt x="90" y="35"/>
                      <a:pt x="91" y="35"/>
                      <a:pt x="91" y="35"/>
                    </a:cubicBezTo>
                    <a:cubicBezTo>
                      <a:pt x="91" y="35"/>
                      <a:pt x="91" y="35"/>
                      <a:pt x="91" y="35"/>
                    </a:cubicBezTo>
                    <a:cubicBezTo>
                      <a:pt x="91" y="35"/>
                      <a:pt x="91" y="36"/>
                      <a:pt x="91" y="36"/>
                    </a:cubicBezTo>
                    <a:cubicBezTo>
                      <a:pt x="91" y="36"/>
                      <a:pt x="91" y="36"/>
                      <a:pt x="91" y="37"/>
                    </a:cubicBezTo>
                    <a:cubicBezTo>
                      <a:pt x="91" y="36"/>
                      <a:pt x="92" y="37"/>
                      <a:pt x="92" y="36"/>
                    </a:cubicBezTo>
                    <a:cubicBezTo>
                      <a:pt x="92" y="36"/>
                      <a:pt x="93" y="35"/>
                      <a:pt x="93" y="35"/>
                    </a:cubicBezTo>
                    <a:cubicBezTo>
                      <a:pt x="94" y="35"/>
                      <a:pt x="94" y="35"/>
                      <a:pt x="95" y="35"/>
                    </a:cubicBezTo>
                    <a:cubicBezTo>
                      <a:pt x="95" y="35"/>
                      <a:pt x="96" y="35"/>
                      <a:pt x="97" y="35"/>
                    </a:cubicBezTo>
                    <a:cubicBezTo>
                      <a:pt x="98" y="35"/>
                      <a:pt x="99" y="35"/>
                      <a:pt x="99" y="35"/>
                    </a:cubicBezTo>
                    <a:cubicBezTo>
                      <a:pt x="99" y="35"/>
                      <a:pt x="100" y="34"/>
                      <a:pt x="100" y="34"/>
                    </a:cubicBezTo>
                    <a:cubicBezTo>
                      <a:pt x="100" y="34"/>
                      <a:pt x="101" y="33"/>
                      <a:pt x="101" y="33"/>
                    </a:cubicBezTo>
                    <a:close/>
                    <a:moveTo>
                      <a:pt x="67" y="13"/>
                    </a:moveTo>
                    <a:cubicBezTo>
                      <a:pt x="67" y="13"/>
                      <a:pt x="68" y="14"/>
                      <a:pt x="68" y="13"/>
                    </a:cubicBezTo>
                    <a:cubicBezTo>
                      <a:pt x="68" y="13"/>
                      <a:pt x="68" y="14"/>
                      <a:pt x="69" y="14"/>
                    </a:cubicBezTo>
                    <a:cubicBezTo>
                      <a:pt x="69" y="15"/>
                      <a:pt x="69" y="14"/>
                      <a:pt x="69" y="14"/>
                    </a:cubicBezTo>
                    <a:cubicBezTo>
                      <a:pt x="69" y="14"/>
                      <a:pt x="69" y="14"/>
                      <a:pt x="69" y="14"/>
                    </a:cubicBezTo>
                    <a:cubicBezTo>
                      <a:pt x="70" y="14"/>
                      <a:pt x="70" y="13"/>
                      <a:pt x="70" y="13"/>
                    </a:cubicBezTo>
                    <a:cubicBezTo>
                      <a:pt x="69" y="13"/>
                      <a:pt x="69" y="13"/>
                      <a:pt x="69" y="13"/>
                    </a:cubicBezTo>
                    <a:cubicBezTo>
                      <a:pt x="68" y="13"/>
                      <a:pt x="69" y="12"/>
                      <a:pt x="68" y="12"/>
                    </a:cubicBezTo>
                    <a:cubicBezTo>
                      <a:pt x="68" y="12"/>
                      <a:pt x="68" y="13"/>
                      <a:pt x="68" y="13"/>
                    </a:cubicBezTo>
                    <a:cubicBezTo>
                      <a:pt x="67" y="13"/>
                      <a:pt x="67" y="12"/>
                      <a:pt x="67" y="13"/>
                    </a:cubicBezTo>
                    <a:close/>
                    <a:moveTo>
                      <a:pt x="22" y="16"/>
                    </a:moveTo>
                    <a:cubicBezTo>
                      <a:pt x="21" y="15"/>
                      <a:pt x="22" y="15"/>
                      <a:pt x="21" y="14"/>
                    </a:cubicBezTo>
                    <a:cubicBezTo>
                      <a:pt x="21" y="14"/>
                      <a:pt x="20" y="14"/>
                      <a:pt x="19" y="14"/>
                    </a:cubicBezTo>
                    <a:cubicBezTo>
                      <a:pt x="19" y="14"/>
                      <a:pt x="19" y="14"/>
                      <a:pt x="19" y="14"/>
                    </a:cubicBezTo>
                    <a:cubicBezTo>
                      <a:pt x="19" y="14"/>
                      <a:pt x="18" y="15"/>
                      <a:pt x="18" y="15"/>
                    </a:cubicBezTo>
                    <a:cubicBezTo>
                      <a:pt x="18" y="15"/>
                      <a:pt x="18" y="16"/>
                      <a:pt x="18" y="16"/>
                    </a:cubicBezTo>
                    <a:cubicBezTo>
                      <a:pt x="18" y="17"/>
                      <a:pt x="19" y="18"/>
                      <a:pt x="18" y="18"/>
                    </a:cubicBezTo>
                    <a:cubicBezTo>
                      <a:pt x="19" y="18"/>
                      <a:pt x="19" y="18"/>
                      <a:pt x="19" y="18"/>
                    </a:cubicBezTo>
                    <a:cubicBezTo>
                      <a:pt x="18" y="18"/>
                      <a:pt x="18" y="18"/>
                      <a:pt x="18" y="18"/>
                    </a:cubicBezTo>
                    <a:cubicBezTo>
                      <a:pt x="17" y="19"/>
                      <a:pt x="17" y="18"/>
                      <a:pt x="16" y="18"/>
                    </a:cubicBezTo>
                    <a:cubicBezTo>
                      <a:pt x="16" y="18"/>
                      <a:pt x="17" y="19"/>
                      <a:pt x="17" y="19"/>
                    </a:cubicBezTo>
                    <a:cubicBezTo>
                      <a:pt x="18" y="20"/>
                      <a:pt x="18" y="19"/>
                      <a:pt x="19" y="20"/>
                    </a:cubicBezTo>
                    <a:cubicBezTo>
                      <a:pt x="19" y="20"/>
                      <a:pt x="20" y="20"/>
                      <a:pt x="21" y="19"/>
                    </a:cubicBezTo>
                    <a:cubicBezTo>
                      <a:pt x="21" y="19"/>
                      <a:pt x="22" y="19"/>
                      <a:pt x="22" y="18"/>
                    </a:cubicBezTo>
                    <a:cubicBezTo>
                      <a:pt x="23" y="18"/>
                      <a:pt x="22" y="18"/>
                      <a:pt x="22" y="17"/>
                    </a:cubicBezTo>
                    <a:cubicBezTo>
                      <a:pt x="22" y="17"/>
                      <a:pt x="22" y="16"/>
                      <a:pt x="22" y="16"/>
                    </a:cubicBezTo>
                    <a:close/>
                    <a:moveTo>
                      <a:pt x="53" y="24"/>
                    </a:moveTo>
                    <a:cubicBezTo>
                      <a:pt x="53" y="24"/>
                      <a:pt x="53" y="24"/>
                      <a:pt x="53" y="25"/>
                    </a:cubicBezTo>
                    <a:cubicBezTo>
                      <a:pt x="53" y="24"/>
                      <a:pt x="54" y="25"/>
                      <a:pt x="54" y="25"/>
                    </a:cubicBezTo>
                    <a:cubicBezTo>
                      <a:pt x="54" y="25"/>
                      <a:pt x="54" y="25"/>
                      <a:pt x="54" y="25"/>
                    </a:cubicBezTo>
                    <a:cubicBezTo>
                      <a:pt x="54" y="25"/>
                      <a:pt x="54" y="26"/>
                      <a:pt x="54" y="25"/>
                    </a:cubicBezTo>
                    <a:cubicBezTo>
                      <a:pt x="54" y="25"/>
                      <a:pt x="54" y="24"/>
                      <a:pt x="53" y="24"/>
                    </a:cubicBezTo>
                    <a:close/>
                    <a:moveTo>
                      <a:pt x="54" y="26"/>
                    </a:moveTo>
                    <a:cubicBezTo>
                      <a:pt x="55" y="26"/>
                      <a:pt x="55" y="26"/>
                      <a:pt x="55" y="26"/>
                    </a:cubicBezTo>
                    <a:cubicBezTo>
                      <a:pt x="55" y="26"/>
                      <a:pt x="55" y="26"/>
                      <a:pt x="54" y="26"/>
                    </a:cubicBezTo>
                    <a:close/>
                    <a:moveTo>
                      <a:pt x="57" y="27"/>
                    </a:moveTo>
                    <a:cubicBezTo>
                      <a:pt x="57" y="27"/>
                      <a:pt x="57" y="28"/>
                      <a:pt x="57" y="28"/>
                    </a:cubicBezTo>
                    <a:cubicBezTo>
                      <a:pt x="57" y="27"/>
                      <a:pt x="57" y="27"/>
                      <a:pt x="57" y="27"/>
                    </a:cubicBezTo>
                    <a:close/>
                    <a:moveTo>
                      <a:pt x="60" y="29"/>
                    </a:moveTo>
                    <a:cubicBezTo>
                      <a:pt x="60" y="29"/>
                      <a:pt x="60" y="29"/>
                      <a:pt x="60" y="29"/>
                    </a:cubicBezTo>
                    <a:cubicBezTo>
                      <a:pt x="61" y="30"/>
                      <a:pt x="61" y="29"/>
                      <a:pt x="61" y="29"/>
                    </a:cubicBezTo>
                    <a:cubicBezTo>
                      <a:pt x="60" y="29"/>
                      <a:pt x="60" y="29"/>
                      <a:pt x="60" y="29"/>
                    </a:cubicBezTo>
                    <a:close/>
                    <a:moveTo>
                      <a:pt x="32" y="18"/>
                    </a:moveTo>
                    <a:cubicBezTo>
                      <a:pt x="33" y="18"/>
                      <a:pt x="33" y="17"/>
                      <a:pt x="34" y="17"/>
                    </a:cubicBezTo>
                    <a:cubicBezTo>
                      <a:pt x="34" y="17"/>
                      <a:pt x="32" y="18"/>
                      <a:pt x="32" y="18"/>
                    </a:cubicBezTo>
                    <a:close/>
                    <a:moveTo>
                      <a:pt x="53" y="24"/>
                    </a:moveTo>
                    <a:cubicBezTo>
                      <a:pt x="52" y="23"/>
                      <a:pt x="52" y="23"/>
                      <a:pt x="52" y="23"/>
                    </a:cubicBezTo>
                    <a:cubicBezTo>
                      <a:pt x="52" y="23"/>
                      <a:pt x="52" y="24"/>
                      <a:pt x="53" y="24"/>
                    </a:cubicBezTo>
                    <a:close/>
                    <a:moveTo>
                      <a:pt x="65" y="9"/>
                    </a:moveTo>
                    <a:cubicBezTo>
                      <a:pt x="65" y="9"/>
                      <a:pt x="64" y="10"/>
                      <a:pt x="65" y="10"/>
                    </a:cubicBezTo>
                    <a:cubicBezTo>
                      <a:pt x="65" y="10"/>
                      <a:pt x="65" y="10"/>
                      <a:pt x="65" y="9"/>
                    </a:cubicBezTo>
                    <a:cubicBezTo>
                      <a:pt x="65" y="10"/>
                      <a:pt x="65" y="10"/>
                      <a:pt x="65" y="10"/>
                    </a:cubicBezTo>
                    <a:cubicBezTo>
                      <a:pt x="65" y="10"/>
                      <a:pt x="66" y="10"/>
                      <a:pt x="66" y="11"/>
                    </a:cubicBezTo>
                    <a:cubicBezTo>
                      <a:pt x="66" y="10"/>
                      <a:pt x="66" y="10"/>
                      <a:pt x="67" y="10"/>
                    </a:cubicBezTo>
                    <a:cubicBezTo>
                      <a:pt x="66" y="10"/>
                      <a:pt x="66" y="9"/>
                      <a:pt x="66" y="9"/>
                    </a:cubicBezTo>
                    <a:cubicBezTo>
                      <a:pt x="65" y="9"/>
                      <a:pt x="64" y="9"/>
                      <a:pt x="64" y="9"/>
                    </a:cubicBezTo>
                    <a:cubicBezTo>
                      <a:pt x="64" y="9"/>
                      <a:pt x="65" y="9"/>
                      <a:pt x="65" y="9"/>
                    </a:cubicBezTo>
                    <a:close/>
                    <a:moveTo>
                      <a:pt x="53" y="6"/>
                    </a:moveTo>
                    <a:cubicBezTo>
                      <a:pt x="54" y="6"/>
                      <a:pt x="54" y="6"/>
                      <a:pt x="55" y="7"/>
                    </a:cubicBezTo>
                    <a:cubicBezTo>
                      <a:pt x="54" y="6"/>
                      <a:pt x="53" y="4"/>
                      <a:pt x="52" y="5"/>
                    </a:cubicBezTo>
                    <a:cubicBezTo>
                      <a:pt x="52" y="5"/>
                      <a:pt x="52" y="5"/>
                      <a:pt x="52" y="5"/>
                    </a:cubicBezTo>
                    <a:cubicBezTo>
                      <a:pt x="52" y="5"/>
                      <a:pt x="52" y="5"/>
                      <a:pt x="53" y="5"/>
                    </a:cubicBezTo>
                    <a:cubicBezTo>
                      <a:pt x="53" y="5"/>
                      <a:pt x="53" y="5"/>
                      <a:pt x="53" y="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3" name="Croatia">
                <a:extLst>
                  <a:ext uri="{FF2B5EF4-FFF2-40B4-BE49-F238E27FC236}">
                    <a16:creationId xmlns:a16="http://schemas.microsoft.com/office/drawing/2014/main" id="{451E1A9C-970E-7D65-6F17-B7CAC60A6C14}"/>
                  </a:ext>
                </a:extLst>
              </p:cNvPr>
              <p:cNvSpPr>
                <a:spLocks noEditPoints="1"/>
              </p:cNvSpPr>
              <p:nvPr/>
            </p:nvSpPr>
            <p:spPr bwMode="auto">
              <a:xfrm>
                <a:off x="6143638" y="2235946"/>
                <a:ext cx="187211" cy="159768"/>
              </a:xfrm>
              <a:custGeom>
                <a:avLst/>
                <a:gdLst/>
                <a:ahLst/>
                <a:cxnLst>
                  <a:cxn ang="0">
                    <a:pos x="8" y="16"/>
                  </a:cxn>
                  <a:cxn ang="0">
                    <a:pos x="10" y="20"/>
                  </a:cxn>
                  <a:cxn ang="0">
                    <a:pos x="15" y="24"/>
                  </a:cxn>
                  <a:cxn ang="0">
                    <a:pos x="16" y="24"/>
                  </a:cxn>
                  <a:cxn ang="0">
                    <a:pos x="15" y="22"/>
                  </a:cxn>
                  <a:cxn ang="0">
                    <a:pos x="14" y="22"/>
                  </a:cxn>
                  <a:cxn ang="0">
                    <a:pos x="34" y="39"/>
                  </a:cxn>
                  <a:cxn ang="0">
                    <a:pos x="30" y="41"/>
                  </a:cxn>
                  <a:cxn ang="0">
                    <a:pos x="49" y="11"/>
                  </a:cxn>
                  <a:cxn ang="0">
                    <a:pos x="48" y="8"/>
                  </a:cxn>
                  <a:cxn ang="0">
                    <a:pos x="44" y="8"/>
                  </a:cxn>
                  <a:cxn ang="0">
                    <a:pos x="39" y="8"/>
                  </a:cxn>
                  <a:cxn ang="0">
                    <a:pos x="34" y="5"/>
                  </a:cxn>
                  <a:cxn ang="0">
                    <a:pos x="28" y="1"/>
                  </a:cxn>
                  <a:cxn ang="0">
                    <a:pos x="21" y="3"/>
                  </a:cxn>
                  <a:cxn ang="0">
                    <a:pos x="19" y="8"/>
                  </a:cxn>
                  <a:cxn ang="0">
                    <a:pos x="16" y="10"/>
                  </a:cxn>
                  <a:cxn ang="0">
                    <a:pos x="13" y="11"/>
                  </a:cxn>
                  <a:cxn ang="0">
                    <a:pos x="9" y="11"/>
                  </a:cxn>
                  <a:cxn ang="0">
                    <a:pos x="4" y="12"/>
                  </a:cxn>
                  <a:cxn ang="0">
                    <a:pos x="3" y="15"/>
                  </a:cxn>
                  <a:cxn ang="0">
                    <a:pos x="5" y="19"/>
                  </a:cxn>
                  <a:cxn ang="0">
                    <a:pos x="6" y="16"/>
                  </a:cxn>
                  <a:cxn ang="0">
                    <a:pos x="9" y="13"/>
                  </a:cxn>
                  <a:cxn ang="0">
                    <a:pos x="13" y="20"/>
                  </a:cxn>
                  <a:cxn ang="0">
                    <a:pos x="20" y="25"/>
                  </a:cxn>
                  <a:cxn ang="0">
                    <a:pos x="16" y="24"/>
                  </a:cxn>
                  <a:cxn ang="0">
                    <a:pos x="16" y="25"/>
                  </a:cxn>
                  <a:cxn ang="0">
                    <a:pos x="23" y="31"/>
                  </a:cxn>
                  <a:cxn ang="0">
                    <a:pos x="27" y="32"/>
                  </a:cxn>
                  <a:cxn ang="0">
                    <a:pos x="35" y="37"/>
                  </a:cxn>
                  <a:cxn ang="0">
                    <a:pos x="35" y="35"/>
                  </a:cxn>
                  <a:cxn ang="0">
                    <a:pos x="27" y="27"/>
                  </a:cxn>
                  <a:cxn ang="0">
                    <a:pos x="24" y="21"/>
                  </a:cxn>
                  <a:cxn ang="0">
                    <a:pos x="21" y="19"/>
                  </a:cxn>
                  <a:cxn ang="0">
                    <a:pos x="23" y="14"/>
                  </a:cxn>
                  <a:cxn ang="0">
                    <a:pos x="29" y="14"/>
                  </a:cxn>
                  <a:cxn ang="0">
                    <a:pos x="35" y="15"/>
                  </a:cxn>
                  <a:cxn ang="0">
                    <a:pos x="41" y="16"/>
                  </a:cxn>
                  <a:cxn ang="0">
                    <a:pos x="46" y="16"/>
                  </a:cxn>
                  <a:cxn ang="0">
                    <a:pos x="50" y="17"/>
                  </a:cxn>
                  <a:cxn ang="0">
                    <a:pos x="50" y="14"/>
                  </a:cxn>
                  <a:cxn ang="0">
                    <a:pos x="43" y="42"/>
                  </a:cxn>
                  <a:cxn ang="0">
                    <a:pos x="37" y="39"/>
                  </a:cxn>
                  <a:cxn ang="0">
                    <a:pos x="34" y="38"/>
                  </a:cxn>
                  <a:cxn ang="0">
                    <a:pos x="40" y="40"/>
                  </a:cxn>
                  <a:cxn ang="0">
                    <a:pos x="46" y="45"/>
                  </a:cxn>
                  <a:cxn ang="0">
                    <a:pos x="30" y="34"/>
                  </a:cxn>
                  <a:cxn ang="0">
                    <a:pos x="37" y="41"/>
                  </a:cxn>
                  <a:cxn ang="0">
                    <a:pos x="37" y="41"/>
                  </a:cxn>
                  <a:cxn ang="0">
                    <a:pos x="24" y="37"/>
                  </a:cxn>
                  <a:cxn ang="0">
                    <a:pos x="15" y="27"/>
                  </a:cxn>
                  <a:cxn ang="0">
                    <a:pos x="16" y="29"/>
                  </a:cxn>
                  <a:cxn ang="0">
                    <a:pos x="12" y="17"/>
                  </a:cxn>
                  <a:cxn ang="0">
                    <a:pos x="10" y="14"/>
                  </a:cxn>
                  <a:cxn ang="0">
                    <a:pos x="12" y="17"/>
                  </a:cxn>
                  <a:cxn ang="0">
                    <a:pos x="30" y="36"/>
                  </a:cxn>
                  <a:cxn ang="0">
                    <a:pos x="27" y="36"/>
                  </a:cxn>
                </a:cxnLst>
                <a:rect l="0" t="0" r="r" b="b"/>
                <a:pathLst>
                  <a:path w="53" h="45">
                    <a:moveTo>
                      <a:pt x="10" y="20"/>
                    </a:moveTo>
                    <a:cubicBezTo>
                      <a:pt x="10" y="20"/>
                      <a:pt x="10" y="21"/>
                      <a:pt x="10" y="21"/>
                    </a:cubicBezTo>
                    <a:cubicBezTo>
                      <a:pt x="9" y="20"/>
                      <a:pt x="8" y="17"/>
                      <a:pt x="8" y="17"/>
                    </a:cubicBezTo>
                    <a:cubicBezTo>
                      <a:pt x="8" y="17"/>
                      <a:pt x="8" y="18"/>
                      <a:pt x="9" y="18"/>
                    </a:cubicBezTo>
                    <a:cubicBezTo>
                      <a:pt x="9" y="17"/>
                      <a:pt x="9" y="16"/>
                      <a:pt x="8" y="16"/>
                    </a:cubicBezTo>
                    <a:cubicBezTo>
                      <a:pt x="8" y="16"/>
                      <a:pt x="8" y="16"/>
                      <a:pt x="8" y="15"/>
                    </a:cubicBezTo>
                    <a:cubicBezTo>
                      <a:pt x="8" y="14"/>
                      <a:pt x="8" y="15"/>
                      <a:pt x="8" y="15"/>
                    </a:cubicBezTo>
                    <a:cubicBezTo>
                      <a:pt x="8" y="16"/>
                      <a:pt x="9" y="16"/>
                      <a:pt x="9" y="17"/>
                    </a:cubicBezTo>
                    <a:cubicBezTo>
                      <a:pt x="9" y="17"/>
                      <a:pt x="9" y="17"/>
                      <a:pt x="9" y="18"/>
                    </a:cubicBezTo>
                    <a:cubicBezTo>
                      <a:pt x="9" y="19"/>
                      <a:pt x="9" y="19"/>
                      <a:pt x="10" y="20"/>
                    </a:cubicBezTo>
                    <a:close/>
                    <a:moveTo>
                      <a:pt x="14" y="22"/>
                    </a:moveTo>
                    <a:cubicBezTo>
                      <a:pt x="14" y="23"/>
                      <a:pt x="14" y="23"/>
                      <a:pt x="14" y="23"/>
                    </a:cubicBezTo>
                    <a:cubicBezTo>
                      <a:pt x="15" y="23"/>
                      <a:pt x="15" y="23"/>
                      <a:pt x="15" y="23"/>
                    </a:cubicBezTo>
                    <a:cubicBezTo>
                      <a:pt x="15" y="24"/>
                      <a:pt x="15" y="24"/>
                      <a:pt x="16" y="24"/>
                    </a:cubicBezTo>
                    <a:cubicBezTo>
                      <a:pt x="16" y="24"/>
                      <a:pt x="15" y="24"/>
                      <a:pt x="15" y="24"/>
                    </a:cubicBezTo>
                    <a:cubicBezTo>
                      <a:pt x="16" y="24"/>
                      <a:pt x="16" y="24"/>
                      <a:pt x="16" y="24"/>
                    </a:cubicBezTo>
                    <a:cubicBezTo>
                      <a:pt x="16" y="24"/>
                      <a:pt x="16" y="24"/>
                      <a:pt x="16" y="24"/>
                    </a:cubicBezTo>
                    <a:cubicBezTo>
                      <a:pt x="16" y="24"/>
                      <a:pt x="16" y="24"/>
                      <a:pt x="16" y="24"/>
                    </a:cubicBezTo>
                    <a:cubicBezTo>
                      <a:pt x="16" y="24"/>
                      <a:pt x="16" y="24"/>
                      <a:pt x="16" y="23"/>
                    </a:cubicBezTo>
                    <a:cubicBezTo>
                      <a:pt x="16" y="23"/>
                      <a:pt x="16" y="24"/>
                      <a:pt x="16" y="24"/>
                    </a:cubicBezTo>
                    <a:cubicBezTo>
                      <a:pt x="16" y="24"/>
                      <a:pt x="15" y="23"/>
                      <a:pt x="15" y="23"/>
                    </a:cubicBezTo>
                    <a:cubicBezTo>
                      <a:pt x="15" y="23"/>
                      <a:pt x="15" y="22"/>
                      <a:pt x="15" y="22"/>
                    </a:cubicBezTo>
                    <a:cubicBezTo>
                      <a:pt x="15" y="22"/>
                      <a:pt x="14" y="22"/>
                      <a:pt x="15" y="22"/>
                    </a:cubicBezTo>
                    <a:cubicBezTo>
                      <a:pt x="14" y="22"/>
                      <a:pt x="14" y="21"/>
                      <a:pt x="13" y="21"/>
                    </a:cubicBezTo>
                    <a:cubicBezTo>
                      <a:pt x="14" y="21"/>
                      <a:pt x="15" y="22"/>
                      <a:pt x="15" y="22"/>
                    </a:cubicBezTo>
                    <a:cubicBezTo>
                      <a:pt x="15" y="22"/>
                      <a:pt x="14" y="22"/>
                      <a:pt x="14" y="21"/>
                    </a:cubicBezTo>
                    <a:cubicBezTo>
                      <a:pt x="14" y="21"/>
                      <a:pt x="13" y="21"/>
                      <a:pt x="13" y="21"/>
                    </a:cubicBezTo>
                    <a:cubicBezTo>
                      <a:pt x="13" y="21"/>
                      <a:pt x="12" y="20"/>
                      <a:pt x="12" y="20"/>
                    </a:cubicBezTo>
                    <a:cubicBezTo>
                      <a:pt x="12" y="20"/>
                      <a:pt x="12" y="21"/>
                      <a:pt x="13" y="21"/>
                    </a:cubicBezTo>
                    <a:cubicBezTo>
                      <a:pt x="13" y="22"/>
                      <a:pt x="13" y="22"/>
                      <a:pt x="14" y="22"/>
                    </a:cubicBezTo>
                    <a:close/>
                    <a:moveTo>
                      <a:pt x="29" y="38"/>
                    </a:moveTo>
                    <a:cubicBezTo>
                      <a:pt x="29" y="38"/>
                      <a:pt x="29" y="38"/>
                      <a:pt x="29" y="39"/>
                    </a:cubicBezTo>
                    <a:cubicBezTo>
                      <a:pt x="28" y="39"/>
                      <a:pt x="31" y="39"/>
                      <a:pt x="31" y="39"/>
                    </a:cubicBezTo>
                    <a:cubicBezTo>
                      <a:pt x="31" y="39"/>
                      <a:pt x="32" y="39"/>
                      <a:pt x="32" y="39"/>
                    </a:cubicBezTo>
                    <a:cubicBezTo>
                      <a:pt x="33" y="39"/>
                      <a:pt x="33" y="39"/>
                      <a:pt x="34" y="39"/>
                    </a:cubicBezTo>
                    <a:cubicBezTo>
                      <a:pt x="33" y="39"/>
                      <a:pt x="33" y="38"/>
                      <a:pt x="31" y="38"/>
                    </a:cubicBezTo>
                    <a:cubicBezTo>
                      <a:pt x="31" y="39"/>
                      <a:pt x="30" y="38"/>
                      <a:pt x="29" y="38"/>
                    </a:cubicBezTo>
                    <a:close/>
                    <a:moveTo>
                      <a:pt x="30" y="41"/>
                    </a:moveTo>
                    <a:cubicBezTo>
                      <a:pt x="31" y="41"/>
                      <a:pt x="31" y="41"/>
                      <a:pt x="31" y="41"/>
                    </a:cubicBezTo>
                    <a:cubicBezTo>
                      <a:pt x="32" y="41"/>
                      <a:pt x="31" y="40"/>
                      <a:pt x="30" y="41"/>
                    </a:cubicBezTo>
                    <a:close/>
                    <a:moveTo>
                      <a:pt x="52" y="14"/>
                    </a:moveTo>
                    <a:cubicBezTo>
                      <a:pt x="52" y="14"/>
                      <a:pt x="51" y="14"/>
                      <a:pt x="51" y="14"/>
                    </a:cubicBezTo>
                    <a:cubicBezTo>
                      <a:pt x="50" y="14"/>
                      <a:pt x="50" y="13"/>
                      <a:pt x="49" y="13"/>
                    </a:cubicBezTo>
                    <a:cubicBezTo>
                      <a:pt x="48" y="12"/>
                      <a:pt x="49" y="12"/>
                      <a:pt x="49" y="12"/>
                    </a:cubicBezTo>
                    <a:cubicBezTo>
                      <a:pt x="48" y="11"/>
                      <a:pt x="50" y="11"/>
                      <a:pt x="49" y="11"/>
                    </a:cubicBezTo>
                    <a:cubicBezTo>
                      <a:pt x="49" y="11"/>
                      <a:pt x="49" y="10"/>
                      <a:pt x="48" y="10"/>
                    </a:cubicBezTo>
                    <a:cubicBezTo>
                      <a:pt x="48" y="10"/>
                      <a:pt x="48" y="11"/>
                      <a:pt x="48" y="10"/>
                    </a:cubicBezTo>
                    <a:cubicBezTo>
                      <a:pt x="48" y="10"/>
                      <a:pt x="48" y="10"/>
                      <a:pt x="48" y="9"/>
                    </a:cubicBezTo>
                    <a:cubicBezTo>
                      <a:pt x="48" y="9"/>
                      <a:pt x="48" y="9"/>
                      <a:pt x="48" y="9"/>
                    </a:cubicBezTo>
                    <a:cubicBezTo>
                      <a:pt x="48" y="8"/>
                      <a:pt x="48" y="9"/>
                      <a:pt x="48" y="8"/>
                    </a:cubicBezTo>
                    <a:cubicBezTo>
                      <a:pt x="48" y="8"/>
                      <a:pt x="47" y="7"/>
                      <a:pt x="47" y="7"/>
                    </a:cubicBezTo>
                    <a:cubicBezTo>
                      <a:pt x="47" y="7"/>
                      <a:pt x="47" y="7"/>
                      <a:pt x="47" y="7"/>
                    </a:cubicBezTo>
                    <a:cubicBezTo>
                      <a:pt x="47" y="7"/>
                      <a:pt x="47" y="6"/>
                      <a:pt x="48" y="6"/>
                    </a:cubicBezTo>
                    <a:cubicBezTo>
                      <a:pt x="47" y="7"/>
                      <a:pt x="46" y="6"/>
                      <a:pt x="46" y="7"/>
                    </a:cubicBezTo>
                    <a:cubicBezTo>
                      <a:pt x="45" y="7"/>
                      <a:pt x="45" y="8"/>
                      <a:pt x="44" y="8"/>
                    </a:cubicBezTo>
                    <a:cubicBezTo>
                      <a:pt x="44" y="8"/>
                      <a:pt x="44" y="8"/>
                      <a:pt x="43" y="8"/>
                    </a:cubicBezTo>
                    <a:cubicBezTo>
                      <a:pt x="43" y="8"/>
                      <a:pt x="43" y="8"/>
                      <a:pt x="43" y="8"/>
                    </a:cubicBezTo>
                    <a:cubicBezTo>
                      <a:pt x="42" y="8"/>
                      <a:pt x="42" y="8"/>
                      <a:pt x="41" y="8"/>
                    </a:cubicBezTo>
                    <a:cubicBezTo>
                      <a:pt x="41" y="8"/>
                      <a:pt x="40" y="8"/>
                      <a:pt x="40" y="8"/>
                    </a:cubicBezTo>
                    <a:cubicBezTo>
                      <a:pt x="39" y="8"/>
                      <a:pt x="39" y="8"/>
                      <a:pt x="39" y="8"/>
                    </a:cubicBezTo>
                    <a:cubicBezTo>
                      <a:pt x="38" y="8"/>
                      <a:pt x="38" y="8"/>
                      <a:pt x="38" y="8"/>
                    </a:cubicBezTo>
                    <a:cubicBezTo>
                      <a:pt x="37" y="7"/>
                      <a:pt x="36" y="6"/>
                      <a:pt x="35" y="6"/>
                    </a:cubicBezTo>
                    <a:cubicBezTo>
                      <a:pt x="35" y="6"/>
                      <a:pt x="34" y="6"/>
                      <a:pt x="34" y="6"/>
                    </a:cubicBezTo>
                    <a:cubicBezTo>
                      <a:pt x="35" y="6"/>
                      <a:pt x="34" y="6"/>
                      <a:pt x="34" y="6"/>
                    </a:cubicBezTo>
                    <a:cubicBezTo>
                      <a:pt x="34" y="6"/>
                      <a:pt x="33" y="6"/>
                      <a:pt x="34" y="5"/>
                    </a:cubicBezTo>
                    <a:cubicBezTo>
                      <a:pt x="33" y="5"/>
                      <a:pt x="33" y="5"/>
                      <a:pt x="33" y="5"/>
                    </a:cubicBezTo>
                    <a:cubicBezTo>
                      <a:pt x="33" y="5"/>
                      <a:pt x="33" y="5"/>
                      <a:pt x="33" y="5"/>
                    </a:cubicBezTo>
                    <a:cubicBezTo>
                      <a:pt x="32" y="4"/>
                      <a:pt x="31" y="3"/>
                      <a:pt x="30" y="2"/>
                    </a:cubicBezTo>
                    <a:cubicBezTo>
                      <a:pt x="30" y="2"/>
                      <a:pt x="30" y="2"/>
                      <a:pt x="29" y="2"/>
                    </a:cubicBezTo>
                    <a:cubicBezTo>
                      <a:pt x="28" y="2"/>
                      <a:pt x="28" y="1"/>
                      <a:pt x="28" y="1"/>
                    </a:cubicBezTo>
                    <a:cubicBezTo>
                      <a:pt x="28" y="0"/>
                      <a:pt x="27" y="1"/>
                      <a:pt x="27" y="0"/>
                    </a:cubicBezTo>
                    <a:cubicBezTo>
                      <a:pt x="26" y="0"/>
                      <a:pt x="26" y="0"/>
                      <a:pt x="25" y="0"/>
                    </a:cubicBezTo>
                    <a:cubicBezTo>
                      <a:pt x="24" y="0"/>
                      <a:pt x="25" y="1"/>
                      <a:pt x="25" y="2"/>
                    </a:cubicBezTo>
                    <a:cubicBezTo>
                      <a:pt x="25" y="2"/>
                      <a:pt x="23" y="2"/>
                      <a:pt x="23" y="2"/>
                    </a:cubicBezTo>
                    <a:cubicBezTo>
                      <a:pt x="23" y="2"/>
                      <a:pt x="22" y="3"/>
                      <a:pt x="21" y="3"/>
                    </a:cubicBezTo>
                    <a:cubicBezTo>
                      <a:pt x="21" y="3"/>
                      <a:pt x="21" y="3"/>
                      <a:pt x="20" y="3"/>
                    </a:cubicBezTo>
                    <a:cubicBezTo>
                      <a:pt x="20" y="3"/>
                      <a:pt x="20" y="3"/>
                      <a:pt x="19" y="3"/>
                    </a:cubicBezTo>
                    <a:cubicBezTo>
                      <a:pt x="19" y="4"/>
                      <a:pt x="19" y="5"/>
                      <a:pt x="19" y="5"/>
                    </a:cubicBezTo>
                    <a:cubicBezTo>
                      <a:pt x="20" y="5"/>
                      <a:pt x="20" y="6"/>
                      <a:pt x="20" y="6"/>
                    </a:cubicBezTo>
                    <a:cubicBezTo>
                      <a:pt x="20" y="7"/>
                      <a:pt x="20" y="8"/>
                      <a:pt x="19" y="8"/>
                    </a:cubicBezTo>
                    <a:cubicBezTo>
                      <a:pt x="19" y="8"/>
                      <a:pt x="18" y="8"/>
                      <a:pt x="18" y="8"/>
                    </a:cubicBezTo>
                    <a:cubicBezTo>
                      <a:pt x="18" y="8"/>
                      <a:pt x="18" y="8"/>
                      <a:pt x="17" y="8"/>
                    </a:cubicBezTo>
                    <a:cubicBezTo>
                      <a:pt x="17" y="8"/>
                      <a:pt x="16" y="9"/>
                      <a:pt x="16" y="9"/>
                    </a:cubicBezTo>
                    <a:cubicBezTo>
                      <a:pt x="17" y="9"/>
                      <a:pt x="17" y="9"/>
                      <a:pt x="17" y="10"/>
                    </a:cubicBezTo>
                    <a:cubicBezTo>
                      <a:pt x="17" y="9"/>
                      <a:pt x="16" y="10"/>
                      <a:pt x="16" y="10"/>
                    </a:cubicBezTo>
                    <a:cubicBezTo>
                      <a:pt x="16" y="11"/>
                      <a:pt x="17" y="11"/>
                      <a:pt x="17" y="11"/>
                    </a:cubicBezTo>
                    <a:cubicBezTo>
                      <a:pt x="17" y="12"/>
                      <a:pt x="15" y="12"/>
                      <a:pt x="15" y="12"/>
                    </a:cubicBezTo>
                    <a:cubicBezTo>
                      <a:pt x="15" y="11"/>
                      <a:pt x="14" y="11"/>
                      <a:pt x="14" y="11"/>
                    </a:cubicBezTo>
                    <a:cubicBezTo>
                      <a:pt x="14" y="11"/>
                      <a:pt x="13" y="11"/>
                      <a:pt x="13" y="11"/>
                    </a:cubicBezTo>
                    <a:cubicBezTo>
                      <a:pt x="13" y="11"/>
                      <a:pt x="13" y="11"/>
                      <a:pt x="13" y="11"/>
                    </a:cubicBezTo>
                    <a:cubicBezTo>
                      <a:pt x="12" y="11"/>
                      <a:pt x="12" y="11"/>
                      <a:pt x="11" y="11"/>
                    </a:cubicBezTo>
                    <a:cubicBezTo>
                      <a:pt x="11" y="11"/>
                      <a:pt x="11" y="10"/>
                      <a:pt x="11" y="10"/>
                    </a:cubicBezTo>
                    <a:cubicBezTo>
                      <a:pt x="11" y="10"/>
                      <a:pt x="11" y="10"/>
                      <a:pt x="11" y="10"/>
                    </a:cubicBezTo>
                    <a:cubicBezTo>
                      <a:pt x="10" y="10"/>
                      <a:pt x="10" y="9"/>
                      <a:pt x="10" y="9"/>
                    </a:cubicBezTo>
                    <a:cubicBezTo>
                      <a:pt x="10" y="9"/>
                      <a:pt x="9" y="11"/>
                      <a:pt x="9" y="11"/>
                    </a:cubicBezTo>
                    <a:cubicBezTo>
                      <a:pt x="8" y="12"/>
                      <a:pt x="8" y="11"/>
                      <a:pt x="7" y="11"/>
                    </a:cubicBezTo>
                    <a:cubicBezTo>
                      <a:pt x="7" y="11"/>
                      <a:pt x="6" y="11"/>
                      <a:pt x="6" y="11"/>
                    </a:cubicBezTo>
                    <a:cubicBezTo>
                      <a:pt x="6" y="11"/>
                      <a:pt x="5" y="11"/>
                      <a:pt x="5" y="11"/>
                    </a:cubicBezTo>
                    <a:cubicBezTo>
                      <a:pt x="5" y="11"/>
                      <a:pt x="5" y="12"/>
                      <a:pt x="5" y="12"/>
                    </a:cubicBezTo>
                    <a:cubicBezTo>
                      <a:pt x="4" y="12"/>
                      <a:pt x="4" y="12"/>
                      <a:pt x="4" y="12"/>
                    </a:cubicBezTo>
                    <a:cubicBezTo>
                      <a:pt x="3" y="12"/>
                      <a:pt x="3" y="12"/>
                      <a:pt x="3" y="12"/>
                    </a:cubicBezTo>
                    <a:cubicBezTo>
                      <a:pt x="2" y="11"/>
                      <a:pt x="2" y="11"/>
                      <a:pt x="1" y="11"/>
                    </a:cubicBezTo>
                    <a:cubicBezTo>
                      <a:pt x="0" y="11"/>
                      <a:pt x="1" y="13"/>
                      <a:pt x="2" y="13"/>
                    </a:cubicBezTo>
                    <a:cubicBezTo>
                      <a:pt x="1" y="13"/>
                      <a:pt x="2" y="14"/>
                      <a:pt x="2" y="15"/>
                    </a:cubicBezTo>
                    <a:cubicBezTo>
                      <a:pt x="2" y="15"/>
                      <a:pt x="2" y="15"/>
                      <a:pt x="3" y="15"/>
                    </a:cubicBezTo>
                    <a:cubicBezTo>
                      <a:pt x="3" y="15"/>
                      <a:pt x="2" y="15"/>
                      <a:pt x="2" y="15"/>
                    </a:cubicBezTo>
                    <a:cubicBezTo>
                      <a:pt x="2" y="16"/>
                      <a:pt x="2" y="16"/>
                      <a:pt x="3" y="16"/>
                    </a:cubicBezTo>
                    <a:cubicBezTo>
                      <a:pt x="3" y="17"/>
                      <a:pt x="3" y="18"/>
                      <a:pt x="4" y="18"/>
                    </a:cubicBezTo>
                    <a:cubicBezTo>
                      <a:pt x="4" y="18"/>
                      <a:pt x="4" y="18"/>
                      <a:pt x="3" y="18"/>
                    </a:cubicBezTo>
                    <a:cubicBezTo>
                      <a:pt x="4" y="18"/>
                      <a:pt x="4" y="18"/>
                      <a:pt x="5" y="19"/>
                    </a:cubicBezTo>
                    <a:cubicBezTo>
                      <a:pt x="5" y="19"/>
                      <a:pt x="5" y="19"/>
                      <a:pt x="4" y="18"/>
                    </a:cubicBezTo>
                    <a:cubicBezTo>
                      <a:pt x="5" y="18"/>
                      <a:pt x="5" y="19"/>
                      <a:pt x="5" y="19"/>
                    </a:cubicBezTo>
                    <a:cubicBezTo>
                      <a:pt x="5" y="19"/>
                      <a:pt x="5" y="18"/>
                      <a:pt x="5" y="18"/>
                    </a:cubicBezTo>
                    <a:cubicBezTo>
                      <a:pt x="5" y="18"/>
                      <a:pt x="5" y="18"/>
                      <a:pt x="5" y="17"/>
                    </a:cubicBezTo>
                    <a:cubicBezTo>
                      <a:pt x="6" y="17"/>
                      <a:pt x="5" y="17"/>
                      <a:pt x="6" y="16"/>
                    </a:cubicBezTo>
                    <a:cubicBezTo>
                      <a:pt x="6" y="16"/>
                      <a:pt x="6" y="17"/>
                      <a:pt x="6" y="17"/>
                    </a:cubicBezTo>
                    <a:cubicBezTo>
                      <a:pt x="6" y="17"/>
                      <a:pt x="7" y="17"/>
                      <a:pt x="7" y="16"/>
                    </a:cubicBezTo>
                    <a:cubicBezTo>
                      <a:pt x="7" y="16"/>
                      <a:pt x="7" y="15"/>
                      <a:pt x="7" y="15"/>
                    </a:cubicBezTo>
                    <a:cubicBezTo>
                      <a:pt x="7" y="15"/>
                      <a:pt x="8" y="13"/>
                      <a:pt x="8" y="13"/>
                    </a:cubicBezTo>
                    <a:cubicBezTo>
                      <a:pt x="8" y="13"/>
                      <a:pt x="9" y="13"/>
                      <a:pt x="9" y="13"/>
                    </a:cubicBezTo>
                    <a:cubicBezTo>
                      <a:pt x="9" y="13"/>
                      <a:pt x="10" y="14"/>
                      <a:pt x="10" y="13"/>
                    </a:cubicBezTo>
                    <a:cubicBezTo>
                      <a:pt x="10" y="13"/>
                      <a:pt x="10" y="14"/>
                      <a:pt x="10" y="14"/>
                    </a:cubicBezTo>
                    <a:cubicBezTo>
                      <a:pt x="11" y="14"/>
                      <a:pt x="11" y="14"/>
                      <a:pt x="11" y="15"/>
                    </a:cubicBezTo>
                    <a:cubicBezTo>
                      <a:pt x="12" y="15"/>
                      <a:pt x="13" y="15"/>
                      <a:pt x="13" y="16"/>
                    </a:cubicBezTo>
                    <a:cubicBezTo>
                      <a:pt x="14" y="17"/>
                      <a:pt x="13" y="18"/>
                      <a:pt x="13" y="20"/>
                    </a:cubicBezTo>
                    <a:cubicBezTo>
                      <a:pt x="14" y="21"/>
                      <a:pt x="14" y="21"/>
                      <a:pt x="15" y="22"/>
                    </a:cubicBezTo>
                    <a:cubicBezTo>
                      <a:pt x="16" y="22"/>
                      <a:pt x="16" y="23"/>
                      <a:pt x="17" y="23"/>
                    </a:cubicBezTo>
                    <a:cubicBezTo>
                      <a:pt x="17" y="23"/>
                      <a:pt x="18" y="24"/>
                      <a:pt x="18" y="24"/>
                    </a:cubicBezTo>
                    <a:cubicBezTo>
                      <a:pt x="19" y="24"/>
                      <a:pt x="19" y="25"/>
                      <a:pt x="19" y="25"/>
                    </a:cubicBezTo>
                    <a:cubicBezTo>
                      <a:pt x="19" y="25"/>
                      <a:pt x="19" y="25"/>
                      <a:pt x="20" y="25"/>
                    </a:cubicBezTo>
                    <a:cubicBezTo>
                      <a:pt x="19" y="25"/>
                      <a:pt x="19" y="26"/>
                      <a:pt x="20" y="26"/>
                    </a:cubicBezTo>
                    <a:cubicBezTo>
                      <a:pt x="19" y="26"/>
                      <a:pt x="19" y="25"/>
                      <a:pt x="19" y="25"/>
                    </a:cubicBezTo>
                    <a:cubicBezTo>
                      <a:pt x="18" y="26"/>
                      <a:pt x="19" y="25"/>
                      <a:pt x="19" y="25"/>
                    </a:cubicBezTo>
                    <a:cubicBezTo>
                      <a:pt x="19" y="24"/>
                      <a:pt x="18" y="24"/>
                      <a:pt x="17" y="24"/>
                    </a:cubicBezTo>
                    <a:cubicBezTo>
                      <a:pt x="17" y="24"/>
                      <a:pt x="16" y="24"/>
                      <a:pt x="16" y="24"/>
                    </a:cubicBezTo>
                    <a:cubicBezTo>
                      <a:pt x="16" y="24"/>
                      <a:pt x="17" y="25"/>
                      <a:pt x="17" y="24"/>
                    </a:cubicBezTo>
                    <a:cubicBezTo>
                      <a:pt x="17" y="24"/>
                      <a:pt x="16" y="24"/>
                      <a:pt x="16" y="24"/>
                    </a:cubicBezTo>
                    <a:cubicBezTo>
                      <a:pt x="16" y="24"/>
                      <a:pt x="16" y="25"/>
                      <a:pt x="16" y="25"/>
                    </a:cubicBezTo>
                    <a:cubicBezTo>
                      <a:pt x="16" y="25"/>
                      <a:pt x="15" y="24"/>
                      <a:pt x="15" y="24"/>
                    </a:cubicBezTo>
                    <a:cubicBezTo>
                      <a:pt x="15" y="24"/>
                      <a:pt x="16" y="25"/>
                      <a:pt x="16" y="25"/>
                    </a:cubicBezTo>
                    <a:cubicBezTo>
                      <a:pt x="16" y="26"/>
                      <a:pt x="17" y="26"/>
                      <a:pt x="17" y="27"/>
                    </a:cubicBezTo>
                    <a:cubicBezTo>
                      <a:pt x="18" y="27"/>
                      <a:pt x="18" y="28"/>
                      <a:pt x="19" y="28"/>
                    </a:cubicBezTo>
                    <a:cubicBezTo>
                      <a:pt x="19" y="29"/>
                      <a:pt x="20" y="29"/>
                      <a:pt x="20" y="29"/>
                    </a:cubicBezTo>
                    <a:cubicBezTo>
                      <a:pt x="20" y="29"/>
                      <a:pt x="20" y="29"/>
                      <a:pt x="20" y="29"/>
                    </a:cubicBezTo>
                    <a:cubicBezTo>
                      <a:pt x="20" y="29"/>
                      <a:pt x="23" y="31"/>
                      <a:pt x="23" y="31"/>
                    </a:cubicBezTo>
                    <a:cubicBezTo>
                      <a:pt x="23" y="31"/>
                      <a:pt x="23" y="31"/>
                      <a:pt x="22" y="31"/>
                    </a:cubicBezTo>
                    <a:cubicBezTo>
                      <a:pt x="22" y="31"/>
                      <a:pt x="23" y="31"/>
                      <a:pt x="23" y="31"/>
                    </a:cubicBezTo>
                    <a:cubicBezTo>
                      <a:pt x="22" y="31"/>
                      <a:pt x="22" y="32"/>
                      <a:pt x="23" y="32"/>
                    </a:cubicBezTo>
                    <a:cubicBezTo>
                      <a:pt x="22" y="33"/>
                      <a:pt x="25" y="33"/>
                      <a:pt x="24" y="33"/>
                    </a:cubicBezTo>
                    <a:cubicBezTo>
                      <a:pt x="25" y="33"/>
                      <a:pt x="26" y="32"/>
                      <a:pt x="27" y="32"/>
                    </a:cubicBezTo>
                    <a:cubicBezTo>
                      <a:pt x="27" y="32"/>
                      <a:pt x="27" y="33"/>
                      <a:pt x="27" y="33"/>
                    </a:cubicBezTo>
                    <a:cubicBezTo>
                      <a:pt x="27" y="33"/>
                      <a:pt x="28" y="33"/>
                      <a:pt x="28" y="33"/>
                    </a:cubicBezTo>
                    <a:cubicBezTo>
                      <a:pt x="29" y="33"/>
                      <a:pt x="29" y="33"/>
                      <a:pt x="30" y="34"/>
                    </a:cubicBezTo>
                    <a:cubicBezTo>
                      <a:pt x="31" y="34"/>
                      <a:pt x="32" y="34"/>
                      <a:pt x="32" y="35"/>
                    </a:cubicBezTo>
                    <a:cubicBezTo>
                      <a:pt x="33" y="36"/>
                      <a:pt x="34" y="36"/>
                      <a:pt x="35" y="37"/>
                    </a:cubicBezTo>
                    <a:cubicBezTo>
                      <a:pt x="35" y="37"/>
                      <a:pt x="36" y="38"/>
                      <a:pt x="36" y="38"/>
                    </a:cubicBezTo>
                    <a:cubicBezTo>
                      <a:pt x="36" y="38"/>
                      <a:pt x="36" y="38"/>
                      <a:pt x="36" y="38"/>
                    </a:cubicBezTo>
                    <a:cubicBezTo>
                      <a:pt x="36" y="38"/>
                      <a:pt x="37" y="39"/>
                      <a:pt x="38" y="39"/>
                    </a:cubicBezTo>
                    <a:cubicBezTo>
                      <a:pt x="39" y="39"/>
                      <a:pt x="38" y="37"/>
                      <a:pt x="37" y="37"/>
                    </a:cubicBezTo>
                    <a:cubicBezTo>
                      <a:pt x="36" y="36"/>
                      <a:pt x="35" y="36"/>
                      <a:pt x="35" y="35"/>
                    </a:cubicBezTo>
                    <a:cubicBezTo>
                      <a:pt x="34" y="34"/>
                      <a:pt x="35" y="34"/>
                      <a:pt x="35" y="33"/>
                    </a:cubicBezTo>
                    <a:cubicBezTo>
                      <a:pt x="35" y="33"/>
                      <a:pt x="34" y="33"/>
                      <a:pt x="33" y="33"/>
                    </a:cubicBezTo>
                    <a:cubicBezTo>
                      <a:pt x="32" y="32"/>
                      <a:pt x="31" y="31"/>
                      <a:pt x="30" y="30"/>
                    </a:cubicBezTo>
                    <a:cubicBezTo>
                      <a:pt x="29" y="30"/>
                      <a:pt x="29" y="29"/>
                      <a:pt x="29" y="29"/>
                    </a:cubicBezTo>
                    <a:cubicBezTo>
                      <a:pt x="28" y="28"/>
                      <a:pt x="28" y="28"/>
                      <a:pt x="27" y="27"/>
                    </a:cubicBezTo>
                    <a:cubicBezTo>
                      <a:pt x="27" y="27"/>
                      <a:pt x="26" y="27"/>
                      <a:pt x="26" y="26"/>
                    </a:cubicBezTo>
                    <a:cubicBezTo>
                      <a:pt x="26" y="26"/>
                      <a:pt x="26" y="26"/>
                      <a:pt x="25" y="25"/>
                    </a:cubicBezTo>
                    <a:cubicBezTo>
                      <a:pt x="25" y="25"/>
                      <a:pt x="25" y="24"/>
                      <a:pt x="25" y="24"/>
                    </a:cubicBezTo>
                    <a:cubicBezTo>
                      <a:pt x="25" y="23"/>
                      <a:pt x="25" y="23"/>
                      <a:pt x="24" y="23"/>
                    </a:cubicBezTo>
                    <a:cubicBezTo>
                      <a:pt x="25" y="23"/>
                      <a:pt x="24" y="22"/>
                      <a:pt x="24" y="21"/>
                    </a:cubicBezTo>
                    <a:cubicBezTo>
                      <a:pt x="24" y="21"/>
                      <a:pt x="23" y="22"/>
                      <a:pt x="23" y="21"/>
                    </a:cubicBezTo>
                    <a:cubicBezTo>
                      <a:pt x="23" y="21"/>
                      <a:pt x="23" y="21"/>
                      <a:pt x="23" y="21"/>
                    </a:cubicBezTo>
                    <a:cubicBezTo>
                      <a:pt x="23" y="20"/>
                      <a:pt x="23" y="20"/>
                      <a:pt x="23" y="20"/>
                    </a:cubicBezTo>
                    <a:cubicBezTo>
                      <a:pt x="22" y="20"/>
                      <a:pt x="22" y="20"/>
                      <a:pt x="22" y="20"/>
                    </a:cubicBezTo>
                    <a:cubicBezTo>
                      <a:pt x="21" y="19"/>
                      <a:pt x="21" y="20"/>
                      <a:pt x="21" y="19"/>
                    </a:cubicBezTo>
                    <a:cubicBezTo>
                      <a:pt x="21" y="19"/>
                      <a:pt x="21" y="19"/>
                      <a:pt x="20" y="19"/>
                    </a:cubicBezTo>
                    <a:cubicBezTo>
                      <a:pt x="20" y="18"/>
                      <a:pt x="21" y="19"/>
                      <a:pt x="21" y="18"/>
                    </a:cubicBezTo>
                    <a:cubicBezTo>
                      <a:pt x="21" y="18"/>
                      <a:pt x="20" y="17"/>
                      <a:pt x="21" y="17"/>
                    </a:cubicBezTo>
                    <a:cubicBezTo>
                      <a:pt x="21" y="16"/>
                      <a:pt x="21" y="15"/>
                      <a:pt x="21" y="15"/>
                    </a:cubicBezTo>
                    <a:cubicBezTo>
                      <a:pt x="21" y="14"/>
                      <a:pt x="23" y="14"/>
                      <a:pt x="23" y="14"/>
                    </a:cubicBezTo>
                    <a:cubicBezTo>
                      <a:pt x="23" y="15"/>
                      <a:pt x="24" y="15"/>
                      <a:pt x="24" y="16"/>
                    </a:cubicBezTo>
                    <a:cubicBezTo>
                      <a:pt x="24" y="16"/>
                      <a:pt x="25" y="16"/>
                      <a:pt x="25" y="16"/>
                    </a:cubicBezTo>
                    <a:cubicBezTo>
                      <a:pt x="26" y="16"/>
                      <a:pt x="26" y="16"/>
                      <a:pt x="26" y="16"/>
                    </a:cubicBezTo>
                    <a:cubicBezTo>
                      <a:pt x="26" y="15"/>
                      <a:pt x="27" y="15"/>
                      <a:pt x="27" y="15"/>
                    </a:cubicBezTo>
                    <a:cubicBezTo>
                      <a:pt x="27" y="14"/>
                      <a:pt x="28" y="14"/>
                      <a:pt x="29" y="14"/>
                    </a:cubicBezTo>
                    <a:cubicBezTo>
                      <a:pt x="30" y="15"/>
                      <a:pt x="30" y="14"/>
                      <a:pt x="31" y="14"/>
                    </a:cubicBezTo>
                    <a:cubicBezTo>
                      <a:pt x="30" y="14"/>
                      <a:pt x="32" y="14"/>
                      <a:pt x="32" y="14"/>
                    </a:cubicBezTo>
                    <a:cubicBezTo>
                      <a:pt x="32" y="15"/>
                      <a:pt x="33" y="15"/>
                      <a:pt x="33" y="15"/>
                    </a:cubicBezTo>
                    <a:cubicBezTo>
                      <a:pt x="34" y="15"/>
                      <a:pt x="34" y="14"/>
                      <a:pt x="34" y="15"/>
                    </a:cubicBezTo>
                    <a:cubicBezTo>
                      <a:pt x="34" y="15"/>
                      <a:pt x="35" y="15"/>
                      <a:pt x="35" y="15"/>
                    </a:cubicBezTo>
                    <a:cubicBezTo>
                      <a:pt x="35" y="15"/>
                      <a:pt x="36" y="15"/>
                      <a:pt x="36" y="15"/>
                    </a:cubicBezTo>
                    <a:cubicBezTo>
                      <a:pt x="36" y="16"/>
                      <a:pt x="37" y="15"/>
                      <a:pt x="38" y="15"/>
                    </a:cubicBezTo>
                    <a:cubicBezTo>
                      <a:pt x="38" y="16"/>
                      <a:pt x="39" y="16"/>
                      <a:pt x="39" y="16"/>
                    </a:cubicBezTo>
                    <a:cubicBezTo>
                      <a:pt x="39" y="16"/>
                      <a:pt x="40" y="15"/>
                      <a:pt x="40" y="15"/>
                    </a:cubicBezTo>
                    <a:cubicBezTo>
                      <a:pt x="40" y="15"/>
                      <a:pt x="41" y="16"/>
                      <a:pt x="41" y="16"/>
                    </a:cubicBezTo>
                    <a:cubicBezTo>
                      <a:pt x="42" y="16"/>
                      <a:pt x="42" y="15"/>
                      <a:pt x="42" y="15"/>
                    </a:cubicBezTo>
                    <a:cubicBezTo>
                      <a:pt x="42" y="15"/>
                      <a:pt x="43" y="15"/>
                      <a:pt x="43" y="15"/>
                    </a:cubicBezTo>
                    <a:cubicBezTo>
                      <a:pt x="43" y="15"/>
                      <a:pt x="45" y="16"/>
                      <a:pt x="45" y="16"/>
                    </a:cubicBezTo>
                    <a:cubicBezTo>
                      <a:pt x="45" y="16"/>
                      <a:pt x="45" y="16"/>
                      <a:pt x="45" y="16"/>
                    </a:cubicBezTo>
                    <a:cubicBezTo>
                      <a:pt x="45" y="16"/>
                      <a:pt x="45" y="15"/>
                      <a:pt x="46" y="16"/>
                    </a:cubicBezTo>
                    <a:cubicBezTo>
                      <a:pt x="45" y="16"/>
                      <a:pt x="46" y="16"/>
                      <a:pt x="46" y="16"/>
                    </a:cubicBezTo>
                    <a:cubicBezTo>
                      <a:pt x="46" y="16"/>
                      <a:pt x="46" y="17"/>
                      <a:pt x="47" y="17"/>
                    </a:cubicBezTo>
                    <a:cubicBezTo>
                      <a:pt x="47" y="17"/>
                      <a:pt x="47" y="17"/>
                      <a:pt x="47" y="17"/>
                    </a:cubicBezTo>
                    <a:cubicBezTo>
                      <a:pt x="47" y="18"/>
                      <a:pt x="48" y="18"/>
                      <a:pt x="49" y="18"/>
                    </a:cubicBezTo>
                    <a:cubicBezTo>
                      <a:pt x="48" y="17"/>
                      <a:pt x="50" y="18"/>
                      <a:pt x="50" y="17"/>
                    </a:cubicBezTo>
                    <a:cubicBezTo>
                      <a:pt x="50" y="17"/>
                      <a:pt x="50" y="17"/>
                      <a:pt x="50" y="17"/>
                    </a:cubicBezTo>
                    <a:cubicBezTo>
                      <a:pt x="50" y="16"/>
                      <a:pt x="50" y="16"/>
                      <a:pt x="50" y="16"/>
                    </a:cubicBezTo>
                    <a:cubicBezTo>
                      <a:pt x="50" y="16"/>
                      <a:pt x="50" y="15"/>
                      <a:pt x="49" y="15"/>
                    </a:cubicBezTo>
                    <a:cubicBezTo>
                      <a:pt x="49" y="15"/>
                      <a:pt x="50" y="15"/>
                      <a:pt x="50" y="15"/>
                    </a:cubicBezTo>
                    <a:cubicBezTo>
                      <a:pt x="50" y="15"/>
                      <a:pt x="50" y="14"/>
                      <a:pt x="50" y="14"/>
                    </a:cubicBezTo>
                    <a:cubicBezTo>
                      <a:pt x="50" y="14"/>
                      <a:pt x="51" y="15"/>
                      <a:pt x="51" y="15"/>
                    </a:cubicBezTo>
                    <a:cubicBezTo>
                      <a:pt x="51" y="15"/>
                      <a:pt x="52" y="15"/>
                      <a:pt x="52" y="15"/>
                    </a:cubicBezTo>
                    <a:cubicBezTo>
                      <a:pt x="52" y="15"/>
                      <a:pt x="53" y="14"/>
                      <a:pt x="52" y="14"/>
                    </a:cubicBezTo>
                    <a:close/>
                    <a:moveTo>
                      <a:pt x="44" y="42"/>
                    </a:moveTo>
                    <a:cubicBezTo>
                      <a:pt x="44" y="42"/>
                      <a:pt x="43" y="43"/>
                      <a:pt x="43" y="42"/>
                    </a:cubicBezTo>
                    <a:cubicBezTo>
                      <a:pt x="42" y="42"/>
                      <a:pt x="42" y="41"/>
                      <a:pt x="42" y="41"/>
                    </a:cubicBezTo>
                    <a:cubicBezTo>
                      <a:pt x="41" y="41"/>
                      <a:pt x="40" y="40"/>
                      <a:pt x="40" y="39"/>
                    </a:cubicBezTo>
                    <a:cubicBezTo>
                      <a:pt x="39" y="39"/>
                      <a:pt x="38" y="39"/>
                      <a:pt x="38" y="39"/>
                    </a:cubicBezTo>
                    <a:cubicBezTo>
                      <a:pt x="38" y="39"/>
                      <a:pt x="38" y="40"/>
                      <a:pt x="39" y="40"/>
                    </a:cubicBezTo>
                    <a:cubicBezTo>
                      <a:pt x="38" y="40"/>
                      <a:pt x="38" y="39"/>
                      <a:pt x="37" y="39"/>
                    </a:cubicBezTo>
                    <a:cubicBezTo>
                      <a:pt x="37" y="39"/>
                      <a:pt x="36" y="39"/>
                      <a:pt x="36" y="39"/>
                    </a:cubicBezTo>
                    <a:cubicBezTo>
                      <a:pt x="36" y="39"/>
                      <a:pt x="36" y="39"/>
                      <a:pt x="36" y="39"/>
                    </a:cubicBezTo>
                    <a:cubicBezTo>
                      <a:pt x="35" y="38"/>
                      <a:pt x="33" y="38"/>
                      <a:pt x="32" y="38"/>
                    </a:cubicBezTo>
                    <a:cubicBezTo>
                      <a:pt x="32" y="38"/>
                      <a:pt x="32" y="38"/>
                      <a:pt x="33" y="38"/>
                    </a:cubicBezTo>
                    <a:cubicBezTo>
                      <a:pt x="33" y="38"/>
                      <a:pt x="33" y="38"/>
                      <a:pt x="34" y="38"/>
                    </a:cubicBezTo>
                    <a:cubicBezTo>
                      <a:pt x="35" y="38"/>
                      <a:pt x="35" y="39"/>
                      <a:pt x="36" y="39"/>
                    </a:cubicBezTo>
                    <a:cubicBezTo>
                      <a:pt x="36" y="39"/>
                      <a:pt x="37" y="40"/>
                      <a:pt x="37" y="40"/>
                    </a:cubicBezTo>
                    <a:cubicBezTo>
                      <a:pt x="38" y="40"/>
                      <a:pt x="39" y="40"/>
                      <a:pt x="39" y="41"/>
                    </a:cubicBezTo>
                    <a:cubicBezTo>
                      <a:pt x="39" y="40"/>
                      <a:pt x="39" y="40"/>
                      <a:pt x="39" y="40"/>
                    </a:cubicBezTo>
                    <a:cubicBezTo>
                      <a:pt x="39" y="40"/>
                      <a:pt x="39" y="40"/>
                      <a:pt x="40" y="40"/>
                    </a:cubicBezTo>
                    <a:cubicBezTo>
                      <a:pt x="40" y="40"/>
                      <a:pt x="40" y="40"/>
                      <a:pt x="40" y="41"/>
                    </a:cubicBezTo>
                    <a:cubicBezTo>
                      <a:pt x="41" y="41"/>
                      <a:pt x="41" y="41"/>
                      <a:pt x="42" y="42"/>
                    </a:cubicBezTo>
                    <a:cubicBezTo>
                      <a:pt x="42" y="42"/>
                      <a:pt x="42" y="42"/>
                      <a:pt x="43" y="42"/>
                    </a:cubicBezTo>
                    <a:cubicBezTo>
                      <a:pt x="43" y="42"/>
                      <a:pt x="43" y="43"/>
                      <a:pt x="43" y="43"/>
                    </a:cubicBezTo>
                    <a:cubicBezTo>
                      <a:pt x="44" y="43"/>
                      <a:pt x="45" y="44"/>
                      <a:pt x="46" y="45"/>
                    </a:cubicBezTo>
                    <a:cubicBezTo>
                      <a:pt x="46" y="44"/>
                      <a:pt x="46" y="44"/>
                      <a:pt x="46" y="44"/>
                    </a:cubicBezTo>
                    <a:cubicBezTo>
                      <a:pt x="45" y="44"/>
                      <a:pt x="45" y="43"/>
                      <a:pt x="44" y="42"/>
                    </a:cubicBezTo>
                    <a:close/>
                    <a:moveTo>
                      <a:pt x="29" y="35"/>
                    </a:moveTo>
                    <a:cubicBezTo>
                      <a:pt x="30" y="35"/>
                      <a:pt x="30" y="35"/>
                      <a:pt x="31" y="35"/>
                    </a:cubicBezTo>
                    <a:cubicBezTo>
                      <a:pt x="31" y="35"/>
                      <a:pt x="31" y="34"/>
                      <a:pt x="30" y="34"/>
                    </a:cubicBezTo>
                    <a:cubicBezTo>
                      <a:pt x="30" y="34"/>
                      <a:pt x="28" y="34"/>
                      <a:pt x="28" y="34"/>
                    </a:cubicBezTo>
                    <a:cubicBezTo>
                      <a:pt x="28" y="34"/>
                      <a:pt x="27" y="34"/>
                      <a:pt x="27" y="34"/>
                    </a:cubicBezTo>
                    <a:cubicBezTo>
                      <a:pt x="27" y="34"/>
                      <a:pt x="27" y="35"/>
                      <a:pt x="27" y="35"/>
                    </a:cubicBezTo>
                    <a:cubicBezTo>
                      <a:pt x="27" y="35"/>
                      <a:pt x="29" y="35"/>
                      <a:pt x="29" y="35"/>
                    </a:cubicBezTo>
                    <a:close/>
                    <a:moveTo>
                      <a:pt x="37" y="41"/>
                    </a:moveTo>
                    <a:cubicBezTo>
                      <a:pt x="38" y="41"/>
                      <a:pt x="36" y="41"/>
                      <a:pt x="35" y="40"/>
                    </a:cubicBezTo>
                    <a:cubicBezTo>
                      <a:pt x="36" y="40"/>
                      <a:pt x="35" y="40"/>
                      <a:pt x="35" y="40"/>
                    </a:cubicBezTo>
                    <a:cubicBezTo>
                      <a:pt x="35" y="40"/>
                      <a:pt x="35" y="41"/>
                      <a:pt x="35" y="41"/>
                    </a:cubicBezTo>
                    <a:cubicBezTo>
                      <a:pt x="35" y="40"/>
                      <a:pt x="36" y="41"/>
                      <a:pt x="36" y="41"/>
                    </a:cubicBezTo>
                    <a:cubicBezTo>
                      <a:pt x="36" y="41"/>
                      <a:pt x="36" y="41"/>
                      <a:pt x="37" y="41"/>
                    </a:cubicBezTo>
                    <a:cubicBezTo>
                      <a:pt x="37" y="41"/>
                      <a:pt x="38" y="41"/>
                      <a:pt x="39" y="41"/>
                    </a:cubicBezTo>
                    <a:cubicBezTo>
                      <a:pt x="39" y="41"/>
                      <a:pt x="38" y="41"/>
                      <a:pt x="37" y="41"/>
                    </a:cubicBezTo>
                    <a:close/>
                    <a:moveTo>
                      <a:pt x="25" y="38"/>
                    </a:moveTo>
                    <a:cubicBezTo>
                      <a:pt x="25" y="37"/>
                      <a:pt x="25" y="37"/>
                      <a:pt x="25" y="37"/>
                    </a:cubicBezTo>
                    <a:cubicBezTo>
                      <a:pt x="25" y="37"/>
                      <a:pt x="24" y="37"/>
                      <a:pt x="24" y="37"/>
                    </a:cubicBezTo>
                    <a:cubicBezTo>
                      <a:pt x="24" y="37"/>
                      <a:pt x="24" y="37"/>
                      <a:pt x="24" y="38"/>
                    </a:cubicBezTo>
                    <a:cubicBezTo>
                      <a:pt x="24" y="38"/>
                      <a:pt x="24" y="38"/>
                      <a:pt x="24" y="38"/>
                    </a:cubicBezTo>
                    <a:cubicBezTo>
                      <a:pt x="25" y="38"/>
                      <a:pt x="25" y="38"/>
                      <a:pt x="25" y="38"/>
                    </a:cubicBezTo>
                    <a:cubicBezTo>
                      <a:pt x="26" y="38"/>
                      <a:pt x="25" y="37"/>
                      <a:pt x="25" y="38"/>
                    </a:cubicBezTo>
                    <a:close/>
                    <a:moveTo>
                      <a:pt x="15" y="27"/>
                    </a:moveTo>
                    <a:cubicBezTo>
                      <a:pt x="14" y="27"/>
                      <a:pt x="14" y="25"/>
                      <a:pt x="13" y="25"/>
                    </a:cubicBezTo>
                    <a:cubicBezTo>
                      <a:pt x="13" y="26"/>
                      <a:pt x="13" y="26"/>
                      <a:pt x="13" y="26"/>
                    </a:cubicBezTo>
                    <a:cubicBezTo>
                      <a:pt x="13" y="26"/>
                      <a:pt x="13" y="26"/>
                      <a:pt x="13" y="26"/>
                    </a:cubicBezTo>
                    <a:cubicBezTo>
                      <a:pt x="13" y="26"/>
                      <a:pt x="14" y="27"/>
                      <a:pt x="14" y="27"/>
                    </a:cubicBezTo>
                    <a:cubicBezTo>
                      <a:pt x="15" y="27"/>
                      <a:pt x="15" y="28"/>
                      <a:pt x="16" y="29"/>
                    </a:cubicBezTo>
                    <a:cubicBezTo>
                      <a:pt x="16" y="28"/>
                      <a:pt x="16" y="28"/>
                      <a:pt x="15" y="28"/>
                    </a:cubicBezTo>
                    <a:cubicBezTo>
                      <a:pt x="16" y="28"/>
                      <a:pt x="16" y="28"/>
                      <a:pt x="16" y="28"/>
                    </a:cubicBezTo>
                    <a:cubicBezTo>
                      <a:pt x="16" y="28"/>
                      <a:pt x="15" y="27"/>
                      <a:pt x="15" y="27"/>
                    </a:cubicBezTo>
                    <a:close/>
                    <a:moveTo>
                      <a:pt x="12" y="17"/>
                    </a:moveTo>
                    <a:cubicBezTo>
                      <a:pt x="12" y="17"/>
                      <a:pt x="12" y="17"/>
                      <a:pt x="12" y="17"/>
                    </a:cubicBezTo>
                    <a:cubicBezTo>
                      <a:pt x="12" y="16"/>
                      <a:pt x="12" y="16"/>
                      <a:pt x="11" y="16"/>
                    </a:cubicBezTo>
                    <a:cubicBezTo>
                      <a:pt x="11" y="16"/>
                      <a:pt x="11" y="15"/>
                      <a:pt x="11" y="15"/>
                    </a:cubicBezTo>
                    <a:cubicBezTo>
                      <a:pt x="11" y="15"/>
                      <a:pt x="11" y="15"/>
                      <a:pt x="10" y="15"/>
                    </a:cubicBezTo>
                    <a:cubicBezTo>
                      <a:pt x="10" y="15"/>
                      <a:pt x="11" y="14"/>
                      <a:pt x="10" y="14"/>
                    </a:cubicBezTo>
                    <a:cubicBezTo>
                      <a:pt x="10" y="14"/>
                      <a:pt x="10" y="15"/>
                      <a:pt x="10" y="14"/>
                    </a:cubicBezTo>
                    <a:cubicBezTo>
                      <a:pt x="10" y="14"/>
                      <a:pt x="10" y="15"/>
                      <a:pt x="10" y="15"/>
                    </a:cubicBezTo>
                    <a:cubicBezTo>
                      <a:pt x="9" y="15"/>
                      <a:pt x="9" y="15"/>
                      <a:pt x="9" y="15"/>
                    </a:cubicBezTo>
                    <a:cubicBezTo>
                      <a:pt x="9" y="16"/>
                      <a:pt x="10" y="16"/>
                      <a:pt x="11" y="16"/>
                    </a:cubicBezTo>
                    <a:cubicBezTo>
                      <a:pt x="10" y="16"/>
                      <a:pt x="12" y="17"/>
                      <a:pt x="12" y="17"/>
                    </a:cubicBezTo>
                    <a:cubicBezTo>
                      <a:pt x="12" y="17"/>
                      <a:pt x="12" y="17"/>
                      <a:pt x="12" y="17"/>
                    </a:cubicBezTo>
                    <a:close/>
                    <a:moveTo>
                      <a:pt x="30" y="37"/>
                    </a:moveTo>
                    <a:cubicBezTo>
                      <a:pt x="31" y="37"/>
                      <a:pt x="32" y="37"/>
                      <a:pt x="33" y="37"/>
                    </a:cubicBezTo>
                    <a:cubicBezTo>
                      <a:pt x="33" y="37"/>
                      <a:pt x="33" y="37"/>
                      <a:pt x="34" y="37"/>
                    </a:cubicBezTo>
                    <a:cubicBezTo>
                      <a:pt x="33" y="36"/>
                      <a:pt x="33" y="37"/>
                      <a:pt x="32" y="37"/>
                    </a:cubicBezTo>
                    <a:cubicBezTo>
                      <a:pt x="32" y="37"/>
                      <a:pt x="31" y="36"/>
                      <a:pt x="30" y="36"/>
                    </a:cubicBezTo>
                    <a:cubicBezTo>
                      <a:pt x="30" y="36"/>
                      <a:pt x="30" y="36"/>
                      <a:pt x="29" y="36"/>
                    </a:cubicBezTo>
                    <a:cubicBezTo>
                      <a:pt x="29" y="36"/>
                      <a:pt x="28" y="36"/>
                      <a:pt x="28" y="36"/>
                    </a:cubicBezTo>
                    <a:cubicBezTo>
                      <a:pt x="28" y="36"/>
                      <a:pt x="28" y="36"/>
                      <a:pt x="28" y="36"/>
                    </a:cubicBezTo>
                    <a:cubicBezTo>
                      <a:pt x="28" y="36"/>
                      <a:pt x="28" y="36"/>
                      <a:pt x="27" y="36"/>
                    </a:cubicBezTo>
                    <a:cubicBezTo>
                      <a:pt x="27" y="36"/>
                      <a:pt x="27" y="36"/>
                      <a:pt x="27" y="36"/>
                    </a:cubicBezTo>
                    <a:cubicBezTo>
                      <a:pt x="27" y="37"/>
                      <a:pt x="29" y="37"/>
                      <a:pt x="30" y="3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4" name="Crimea">
                <a:extLst>
                  <a:ext uri="{FF2B5EF4-FFF2-40B4-BE49-F238E27FC236}">
                    <a16:creationId xmlns:a16="http://schemas.microsoft.com/office/drawing/2014/main" id="{A7BCAEFA-7A33-700C-4E50-832462602857}"/>
                  </a:ext>
                </a:extLst>
              </p:cNvPr>
              <p:cNvSpPr/>
              <p:nvPr/>
            </p:nvSpPr>
            <p:spPr>
              <a:xfrm>
                <a:off x="6731770" y="2244669"/>
                <a:ext cx="128760" cy="72365"/>
              </a:xfrm>
              <a:custGeom>
                <a:avLst/>
                <a:gdLst>
                  <a:gd name="connsiteX0" fmla="*/ 80131 w 354052"/>
                  <a:gd name="connsiteY0" fmla="*/ 12788 h 198983"/>
                  <a:gd name="connsiteX1" fmla="*/ 89338 w 354052"/>
                  <a:gd name="connsiteY1" fmla="*/ 23530 h 198983"/>
                  <a:gd name="connsiteX2" fmla="*/ 89338 w 354052"/>
                  <a:gd name="connsiteY2" fmla="*/ 33249 h 198983"/>
                  <a:gd name="connsiteX3" fmla="*/ 99057 w 354052"/>
                  <a:gd name="connsiteY3" fmla="*/ 33249 h 198983"/>
                  <a:gd name="connsiteX4" fmla="*/ 89338 w 354052"/>
                  <a:gd name="connsiteY4" fmla="*/ 42968 h 198983"/>
                  <a:gd name="connsiteX5" fmla="*/ 99057 w 354052"/>
                  <a:gd name="connsiteY5" fmla="*/ 42968 h 198983"/>
                  <a:gd name="connsiteX6" fmla="*/ 89338 w 354052"/>
                  <a:gd name="connsiteY6" fmla="*/ 42968 h 198983"/>
                  <a:gd name="connsiteX7" fmla="*/ 79619 w 354052"/>
                  <a:gd name="connsiteY7" fmla="*/ 42968 h 198983"/>
                  <a:gd name="connsiteX8" fmla="*/ 69900 w 354052"/>
                  <a:gd name="connsiteY8" fmla="*/ 52687 h 198983"/>
                  <a:gd name="connsiteX9" fmla="*/ 69900 w 354052"/>
                  <a:gd name="connsiteY9" fmla="*/ 52687 h 198983"/>
                  <a:gd name="connsiteX10" fmla="*/ 60181 w 354052"/>
                  <a:gd name="connsiteY10" fmla="*/ 52687 h 198983"/>
                  <a:gd name="connsiteX11" fmla="*/ 50462 w 354052"/>
                  <a:gd name="connsiteY11" fmla="*/ 52687 h 198983"/>
                  <a:gd name="connsiteX12" fmla="*/ 50462 w 354052"/>
                  <a:gd name="connsiteY12" fmla="*/ 62406 h 198983"/>
                  <a:gd name="connsiteX13" fmla="*/ 40743 w 354052"/>
                  <a:gd name="connsiteY13" fmla="*/ 62406 h 198983"/>
                  <a:gd name="connsiteX14" fmla="*/ 21050 w 354052"/>
                  <a:gd name="connsiteY14" fmla="*/ 72125 h 198983"/>
                  <a:gd name="connsiteX15" fmla="*/ 21050 w 354052"/>
                  <a:gd name="connsiteY15" fmla="*/ 72125 h 198983"/>
                  <a:gd name="connsiteX16" fmla="*/ 11331 w 354052"/>
                  <a:gd name="connsiteY16" fmla="*/ 81844 h 198983"/>
                  <a:gd name="connsiteX17" fmla="*/ 11331 w 354052"/>
                  <a:gd name="connsiteY17" fmla="*/ 101538 h 198983"/>
                  <a:gd name="connsiteX18" fmla="*/ 21050 w 354052"/>
                  <a:gd name="connsiteY18" fmla="*/ 101538 h 198983"/>
                  <a:gd name="connsiteX19" fmla="*/ 40743 w 354052"/>
                  <a:gd name="connsiteY19" fmla="*/ 101538 h 198983"/>
                  <a:gd name="connsiteX20" fmla="*/ 50462 w 354052"/>
                  <a:gd name="connsiteY20" fmla="*/ 111257 h 198983"/>
                  <a:gd name="connsiteX21" fmla="*/ 70156 w 354052"/>
                  <a:gd name="connsiteY21" fmla="*/ 120976 h 198983"/>
                  <a:gd name="connsiteX22" fmla="*/ 79875 w 354052"/>
                  <a:gd name="connsiteY22" fmla="*/ 120976 h 198983"/>
                  <a:gd name="connsiteX23" fmla="*/ 99569 w 354052"/>
                  <a:gd name="connsiteY23" fmla="*/ 130695 h 198983"/>
                  <a:gd name="connsiteX24" fmla="*/ 99569 w 354052"/>
                  <a:gd name="connsiteY24" fmla="*/ 150388 h 198983"/>
                  <a:gd name="connsiteX25" fmla="*/ 89850 w 354052"/>
                  <a:gd name="connsiteY25" fmla="*/ 160107 h 198983"/>
                  <a:gd name="connsiteX26" fmla="*/ 99569 w 354052"/>
                  <a:gd name="connsiteY26" fmla="*/ 169826 h 198983"/>
                  <a:gd name="connsiteX27" fmla="*/ 99569 w 354052"/>
                  <a:gd name="connsiteY27" fmla="*/ 179545 h 198983"/>
                  <a:gd name="connsiteX28" fmla="*/ 89850 w 354052"/>
                  <a:gd name="connsiteY28" fmla="*/ 189264 h 198983"/>
                  <a:gd name="connsiteX29" fmla="*/ 99569 w 354052"/>
                  <a:gd name="connsiteY29" fmla="*/ 189264 h 198983"/>
                  <a:gd name="connsiteX30" fmla="*/ 109288 w 354052"/>
                  <a:gd name="connsiteY30" fmla="*/ 198983 h 198983"/>
                  <a:gd name="connsiteX31" fmla="*/ 128982 w 354052"/>
                  <a:gd name="connsiteY31" fmla="*/ 198983 h 198983"/>
                  <a:gd name="connsiteX32" fmla="*/ 148675 w 354052"/>
                  <a:gd name="connsiteY32" fmla="*/ 198983 h 198983"/>
                  <a:gd name="connsiteX33" fmla="*/ 168369 w 354052"/>
                  <a:gd name="connsiteY33" fmla="*/ 179290 h 198983"/>
                  <a:gd name="connsiteX34" fmla="*/ 168369 w 354052"/>
                  <a:gd name="connsiteY34" fmla="*/ 169571 h 198983"/>
                  <a:gd name="connsiteX35" fmla="*/ 188063 w 354052"/>
                  <a:gd name="connsiteY35" fmla="*/ 159852 h 198983"/>
                  <a:gd name="connsiteX36" fmla="*/ 197782 w 354052"/>
                  <a:gd name="connsiteY36" fmla="*/ 159852 h 198983"/>
                  <a:gd name="connsiteX37" fmla="*/ 217475 w 354052"/>
                  <a:gd name="connsiteY37" fmla="*/ 150133 h 198983"/>
                  <a:gd name="connsiteX38" fmla="*/ 227194 w 354052"/>
                  <a:gd name="connsiteY38" fmla="*/ 159852 h 198983"/>
                  <a:gd name="connsiteX39" fmla="*/ 227194 w 354052"/>
                  <a:gd name="connsiteY39" fmla="*/ 150133 h 198983"/>
                  <a:gd name="connsiteX40" fmla="*/ 236913 w 354052"/>
                  <a:gd name="connsiteY40" fmla="*/ 140414 h 198983"/>
                  <a:gd name="connsiteX41" fmla="*/ 246632 w 354052"/>
                  <a:gd name="connsiteY41" fmla="*/ 140414 h 198983"/>
                  <a:gd name="connsiteX42" fmla="*/ 256351 w 354052"/>
                  <a:gd name="connsiteY42" fmla="*/ 140414 h 198983"/>
                  <a:gd name="connsiteX43" fmla="*/ 256351 w 354052"/>
                  <a:gd name="connsiteY43" fmla="*/ 130695 h 198983"/>
                  <a:gd name="connsiteX44" fmla="*/ 266070 w 354052"/>
                  <a:gd name="connsiteY44" fmla="*/ 120976 h 198983"/>
                  <a:gd name="connsiteX45" fmla="*/ 285764 w 354052"/>
                  <a:gd name="connsiteY45" fmla="*/ 130695 h 198983"/>
                  <a:gd name="connsiteX46" fmla="*/ 295483 w 354052"/>
                  <a:gd name="connsiteY46" fmla="*/ 140414 h 198983"/>
                  <a:gd name="connsiteX47" fmla="*/ 305202 w 354052"/>
                  <a:gd name="connsiteY47" fmla="*/ 130695 h 198983"/>
                  <a:gd name="connsiteX48" fmla="*/ 324896 w 354052"/>
                  <a:gd name="connsiteY48" fmla="*/ 130695 h 198983"/>
                  <a:gd name="connsiteX49" fmla="*/ 334615 w 354052"/>
                  <a:gd name="connsiteY49" fmla="*/ 120976 h 198983"/>
                  <a:gd name="connsiteX50" fmla="*/ 334615 w 354052"/>
                  <a:gd name="connsiteY50" fmla="*/ 111257 h 198983"/>
                  <a:gd name="connsiteX51" fmla="*/ 344334 w 354052"/>
                  <a:gd name="connsiteY51" fmla="*/ 101538 h 198983"/>
                  <a:gd name="connsiteX52" fmla="*/ 354053 w 354052"/>
                  <a:gd name="connsiteY52" fmla="*/ 91819 h 198983"/>
                  <a:gd name="connsiteX53" fmla="*/ 344334 w 354052"/>
                  <a:gd name="connsiteY53" fmla="*/ 91819 h 198983"/>
                  <a:gd name="connsiteX54" fmla="*/ 324640 w 354052"/>
                  <a:gd name="connsiteY54" fmla="*/ 91819 h 198983"/>
                  <a:gd name="connsiteX55" fmla="*/ 324640 w 354052"/>
                  <a:gd name="connsiteY55" fmla="*/ 82356 h 198983"/>
                  <a:gd name="connsiteX56" fmla="*/ 304946 w 354052"/>
                  <a:gd name="connsiteY56" fmla="*/ 92074 h 198983"/>
                  <a:gd name="connsiteX57" fmla="*/ 295227 w 354052"/>
                  <a:gd name="connsiteY57" fmla="*/ 101794 h 198983"/>
                  <a:gd name="connsiteX58" fmla="*/ 285508 w 354052"/>
                  <a:gd name="connsiteY58" fmla="*/ 92074 h 198983"/>
                  <a:gd name="connsiteX59" fmla="*/ 275789 w 354052"/>
                  <a:gd name="connsiteY59" fmla="*/ 101794 h 198983"/>
                  <a:gd name="connsiteX60" fmla="*/ 226683 w 354052"/>
                  <a:gd name="connsiteY60" fmla="*/ 82100 h 198983"/>
                  <a:gd name="connsiteX61" fmla="*/ 205710 w 354052"/>
                  <a:gd name="connsiteY61" fmla="*/ 53199 h 198983"/>
                  <a:gd name="connsiteX62" fmla="*/ 198549 w 354052"/>
                  <a:gd name="connsiteY62" fmla="*/ 53199 h 198983"/>
                  <a:gd name="connsiteX63" fmla="*/ 207501 w 354052"/>
                  <a:gd name="connsiteY63" fmla="*/ 61383 h 198983"/>
                  <a:gd name="connsiteX64" fmla="*/ 217987 w 354052"/>
                  <a:gd name="connsiteY64" fmla="*/ 81844 h 198983"/>
                  <a:gd name="connsiteX65" fmla="*/ 246377 w 354052"/>
                  <a:gd name="connsiteY65" fmla="*/ 101794 h 198983"/>
                  <a:gd name="connsiteX66" fmla="*/ 246377 w 354052"/>
                  <a:gd name="connsiteY66" fmla="*/ 111512 h 198983"/>
                  <a:gd name="connsiteX67" fmla="*/ 226683 w 354052"/>
                  <a:gd name="connsiteY67" fmla="*/ 101794 h 198983"/>
                  <a:gd name="connsiteX68" fmla="*/ 216964 w 354052"/>
                  <a:gd name="connsiteY68" fmla="*/ 92074 h 198983"/>
                  <a:gd name="connsiteX69" fmla="*/ 216964 w 354052"/>
                  <a:gd name="connsiteY69" fmla="*/ 82356 h 198983"/>
                  <a:gd name="connsiteX70" fmla="*/ 207245 w 354052"/>
                  <a:gd name="connsiteY70" fmla="*/ 62662 h 198983"/>
                  <a:gd name="connsiteX71" fmla="*/ 197526 w 354052"/>
                  <a:gd name="connsiteY71" fmla="*/ 62662 h 198983"/>
                  <a:gd name="connsiteX72" fmla="*/ 187807 w 354052"/>
                  <a:gd name="connsiteY72" fmla="*/ 62662 h 198983"/>
                  <a:gd name="connsiteX73" fmla="*/ 187807 w 354052"/>
                  <a:gd name="connsiteY73" fmla="*/ 52943 h 198983"/>
                  <a:gd name="connsiteX74" fmla="*/ 178088 w 354052"/>
                  <a:gd name="connsiteY74" fmla="*/ 52943 h 198983"/>
                  <a:gd name="connsiteX75" fmla="*/ 185761 w 354052"/>
                  <a:gd name="connsiteY75" fmla="*/ 43224 h 198983"/>
                  <a:gd name="connsiteX76" fmla="*/ 178088 w 354052"/>
                  <a:gd name="connsiteY76" fmla="*/ 42968 h 198983"/>
                  <a:gd name="connsiteX77" fmla="*/ 158394 w 354052"/>
                  <a:gd name="connsiteY77" fmla="*/ 52687 h 198983"/>
                  <a:gd name="connsiteX78" fmla="*/ 168113 w 354052"/>
                  <a:gd name="connsiteY78" fmla="*/ 42968 h 198983"/>
                  <a:gd name="connsiteX79" fmla="*/ 168113 w 354052"/>
                  <a:gd name="connsiteY79" fmla="*/ 33249 h 198983"/>
                  <a:gd name="connsiteX80" fmla="*/ 158394 w 354052"/>
                  <a:gd name="connsiteY80" fmla="*/ 42968 h 198983"/>
                  <a:gd name="connsiteX81" fmla="*/ 148675 w 354052"/>
                  <a:gd name="connsiteY81" fmla="*/ 42968 h 198983"/>
                  <a:gd name="connsiteX82" fmla="*/ 148675 w 354052"/>
                  <a:gd name="connsiteY82" fmla="*/ 33249 h 198983"/>
                  <a:gd name="connsiteX83" fmla="*/ 138956 w 354052"/>
                  <a:gd name="connsiteY83" fmla="*/ 23530 h 198983"/>
                  <a:gd name="connsiteX84" fmla="*/ 138956 w 354052"/>
                  <a:gd name="connsiteY84" fmla="*/ 33249 h 198983"/>
                  <a:gd name="connsiteX85" fmla="*/ 138956 w 354052"/>
                  <a:gd name="connsiteY85" fmla="*/ 33249 h 198983"/>
                  <a:gd name="connsiteX86" fmla="*/ 129237 w 354052"/>
                  <a:gd name="connsiteY86" fmla="*/ 33249 h 198983"/>
                  <a:gd name="connsiteX87" fmla="*/ 129237 w 354052"/>
                  <a:gd name="connsiteY87" fmla="*/ 23530 h 198983"/>
                  <a:gd name="connsiteX88" fmla="*/ 119518 w 354052"/>
                  <a:gd name="connsiteY88" fmla="*/ 23530 h 198983"/>
                  <a:gd name="connsiteX89" fmla="*/ 119518 w 354052"/>
                  <a:gd name="connsiteY89" fmla="*/ 23530 h 198983"/>
                  <a:gd name="connsiteX90" fmla="*/ 109799 w 354052"/>
                  <a:gd name="connsiteY90" fmla="*/ 23530 h 198983"/>
                  <a:gd name="connsiteX91" fmla="*/ 100080 w 354052"/>
                  <a:gd name="connsiteY91" fmla="*/ 13811 h 198983"/>
                  <a:gd name="connsiteX92" fmla="*/ 90361 w 354052"/>
                  <a:gd name="connsiteY92" fmla="*/ 4092 h 198983"/>
                  <a:gd name="connsiteX93" fmla="*/ 83712 w 354052"/>
                  <a:gd name="connsiteY93" fmla="*/ 0 h 198983"/>
                  <a:gd name="connsiteX94" fmla="*/ 80131 w 354052"/>
                  <a:gd name="connsiteY94" fmla="*/ 12788 h 198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54052" h="198983">
                    <a:moveTo>
                      <a:pt x="80131" y="12788"/>
                    </a:moveTo>
                    <a:cubicBezTo>
                      <a:pt x="83967" y="10998"/>
                      <a:pt x="89338" y="13300"/>
                      <a:pt x="89338" y="23530"/>
                    </a:cubicBezTo>
                    <a:lnTo>
                      <a:pt x="89338" y="33249"/>
                    </a:lnTo>
                    <a:lnTo>
                      <a:pt x="99057" y="33249"/>
                    </a:lnTo>
                    <a:cubicBezTo>
                      <a:pt x="99057" y="42968"/>
                      <a:pt x="99057" y="42968"/>
                      <a:pt x="89338" y="42968"/>
                    </a:cubicBezTo>
                    <a:lnTo>
                      <a:pt x="99057" y="42968"/>
                    </a:lnTo>
                    <a:cubicBezTo>
                      <a:pt x="89338" y="42968"/>
                      <a:pt x="89338" y="42968"/>
                      <a:pt x="89338" y="42968"/>
                    </a:cubicBezTo>
                    <a:cubicBezTo>
                      <a:pt x="79619" y="42968"/>
                      <a:pt x="79619" y="42968"/>
                      <a:pt x="79619" y="42968"/>
                    </a:cubicBezTo>
                    <a:cubicBezTo>
                      <a:pt x="79619" y="52687"/>
                      <a:pt x="79619" y="42968"/>
                      <a:pt x="69900" y="52687"/>
                    </a:cubicBezTo>
                    <a:lnTo>
                      <a:pt x="69900" y="52687"/>
                    </a:lnTo>
                    <a:cubicBezTo>
                      <a:pt x="60181" y="52687"/>
                      <a:pt x="60181" y="52687"/>
                      <a:pt x="60181" y="52687"/>
                    </a:cubicBezTo>
                    <a:lnTo>
                      <a:pt x="50462" y="52687"/>
                    </a:lnTo>
                    <a:cubicBezTo>
                      <a:pt x="50462" y="52687"/>
                      <a:pt x="50462" y="52687"/>
                      <a:pt x="50462" y="62406"/>
                    </a:cubicBezTo>
                    <a:lnTo>
                      <a:pt x="40743" y="62406"/>
                    </a:lnTo>
                    <a:cubicBezTo>
                      <a:pt x="31024" y="62406"/>
                      <a:pt x="31024" y="72125"/>
                      <a:pt x="21050" y="72125"/>
                    </a:cubicBezTo>
                    <a:cubicBezTo>
                      <a:pt x="21050" y="81844"/>
                      <a:pt x="21050" y="72125"/>
                      <a:pt x="21050" y="72125"/>
                    </a:cubicBezTo>
                    <a:cubicBezTo>
                      <a:pt x="11331" y="81844"/>
                      <a:pt x="11331" y="81844"/>
                      <a:pt x="11331" y="81844"/>
                    </a:cubicBezTo>
                    <a:cubicBezTo>
                      <a:pt x="1612" y="81844"/>
                      <a:pt x="-8363" y="101538"/>
                      <a:pt x="11331" y="101538"/>
                    </a:cubicBezTo>
                    <a:lnTo>
                      <a:pt x="21050" y="101538"/>
                    </a:lnTo>
                    <a:cubicBezTo>
                      <a:pt x="30769" y="101538"/>
                      <a:pt x="30769" y="101538"/>
                      <a:pt x="40743" y="101538"/>
                    </a:cubicBezTo>
                    <a:cubicBezTo>
                      <a:pt x="40743" y="101538"/>
                      <a:pt x="50462" y="101538"/>
                      <a:pt x="50462" y="111257"/>
                    </a:cubicBezTo>
                    <a:cubicBezTo>
                      <a:pt x="60181" y="111257"/>
                      <a:pt x="60181" y="120976"/>
                      <a:pt x="70156" y="120976"/>
                    </a:cubicBezTo>
                    <a:cubicBezTo>
                      <a:pt x="79875" y="120976"/>
                      <a:pt x="79875" y="111257"/>
                      <a:pt x="79875" y="120976"/>
                    </a:cubicBezTo>
                    <a:cubicBezTo>
                      <a:pt x="89594" y="120976"/>
                      <a:pt x="89594" y="120976"/>
                      <a:pt x="99569" y="130695"/>
                    </a:cubicBezTo>
                    <a:cubicBezTo>
                      <a:pt x="99569" y="130695"/>
                      <a:pt x="99569" y="140414"/>
                      <a:pt x="99569" y="150388"/>
                    </a:cubicBezTo>
                    <a:cubicBezTo>
                      <a:pt x="99569" y="150388"/>
                      <a:pt x="99569" y="150388"/>
                      <a:pt x="89850" y="160107"/>
                    </a:cubicBezTo>
                    <a:cubicBezTo>
                      <a:pt x="89850" y="160107"/>
                      <a:pt x="99569" y="160107"/>
                      <a:pt x="99569" y="169826"/>
                    </a:cubicBezTo>
                    <a:cubicBezTo>
                      <a:pt x="99569" y="169826"/>
                      <a:pt x="89850" y="179545"/>
                      <a:pt x="99569" y="179545"/>
                    </a:cubicBezTo>
                    <a:cubicBezTo>
                      <a:pt x="89850" y="179545"/>
                      <a:pt x="79875" y="179545"/>
                      <a:pt x="89850" y="189264"/>
                    </a:cubicBezTo>
                    <a:lnTo>
                      <a:pt x="99569" y="189264"/>
                    </a:lnTo>
                    <a:cubicBezTo>
                      <a:pt x="109288" y="189264"/>
                      <a:pt x="109288" y="198983"/>
                      <a:pt x="109288" y="198983"/>
                    </a:cubicBezTo>
                    <a:cubicBezTo>
                      <a:pt x="119007" y="198983"/>
                      <a:pt x="128982" y="198983"/>
                      <a:pt x="128982" y="198983"/>
                    </a:cubicBezTo>
                    <a:cubicBezTo>
                      <a:pt x="138700" y="198983"/>
                      <a:pt x="138700" y="198983"/>
                      <a:pt x="148675" y="198983"/>
                    </a:cubicBezTo>
                    <a:cubicBezTo>
                      <a:pt x="148675" y="189264"/>
                      <a:pt x="158394" y="189264"/>
                      <a:pt x="168369" y="179290"/>
                    </a:cubicBezTo>
                    <a:lnTo>
                      <a:pt x="168369" y="169571"/>
                    </a:lnTo>
                    <a:cubicBezTo>
                      <a:pt x="178088" y="159852"/>
                      <a:pt x="178088" y="159852"/>
                      <a:pt x="188063" y="159852"/>
                    </a:cubicBezTo>
                    <a:lnTo>
                      <a:pt x="197782" y="159852"/>
                    </a:lnTo>
                    <a:cubicBezTo>
                      <a:pt x="207501" y="159852"/>
                      <a:pt x="207501" y="150133"/>
                      <a:pt x="217475" y="150133"/>
                    </a:cubicBezTo>
                    <a:cubicBezTo>
                      <a:pt x="217475" y="150133"/>
                      <a:pt x="217475" y="159852"/>
                      <a:pt x="227194" y="159852"/>
                    </a:cubicBezTo>
                    <a:lnTo>
                      <a:pt x="227194" y="150133"/>
                    </a:lnTo>
                    <a:lnTo>
                      <a:pt x="236913" y="140414"/>
                    </a:lnTo>
                    <a:lnTo>
                      <a:pt x="246632" y="140414"/>
                    </a:lnTo>
                    <a:cubicBezTo>
                      <a:pt x="246632" y="140414"/>
                      <a:pt x="256351" y="130695"/>
                      <a:pt x="256351" y="140414"/>
                    </a:cubicBezTo>
                    <a:cubicBezTo>
                      <a:pt x="256351" y="130695"/>
                      <a:pt x="246632" y="130695"/>
                      <a:pt x="256351" y="130695"/>
                    </a:cubicBezTo>
                    <a:cubicBezTo>
                      <a:pt x="256351" y="120976"/>
                      <a:pt x="266070" y="120976"/>
                      <a:pt x="266070" y="120976"/>
                    </a:cubicBezTo>
                    <a:cubicBezTo>
                      <a:pt x="275789" y="120976"/>
                      <a:pt x="275789" y="130695"/>
                      <a:pt x="285764" y="130695"/>
                    </a:cubicBezTo>
                    <a:cubicBezTo>
                      <a:pt x="285764" y="130695"/>
                      <a:pt x="285764" y="140414"/>
                      <a:pt x="295483" y="140414"/>
                    </a:cubicBezTo>
                    <a:lnTo>
                      <a:pt x="305202" y="130695"/>
                    </a:lnTo>
                    <a:cubicBezTo>
                      <a:pt x="314921" y="130695"/>
                      <a:pt x="314921" y="140414"/>
                      <a:pt x="324896" y="130695"/>
                    </a:cubicBezTo>
                    <a:cubicBezTo>
                      <a:pt x="324896" y="130695"/>
                      <a:pt x="344589" y="130695"/>
                      <a:pt x="334615" y="120976"/>
                    </a:cubicBezTo>
                    <a:lnTo>
                      <a:pt x="334615" y="111257"/>
                    </a:lnTo>
                    <a:cubicBezTo>
                      <a:pt x="334615" y="101538"/>
                      <a:pt x="344334" y="111257"/>
                      <a:pt x="344334" y="101538"/>
                    </a:cubicBezTo>
                    <a:cubicBezTo>
                      <a:pt x="334615" y="101538"/>
                      <a:pt x="354053" y="101538"/>
                      <a:pt x="354053" y="91819"/>
                    </a:cubicBezTo>
                    <a:cubicBezTo>
                      <a:pt x="344334" y="91819"/>
                      <a:pt x="344334" y="91819"/>
                      <a:pt x="344334" y="91819"/>
                    </a:cubicBezTo>
                    <a:cubicBezTo>
                      <a:pt x="334615" y="91819"/>
                      <a:pt x="334615" y="91819"/>
                      <a:pt x="324640" y="91819"/>
                    </a:cubicBezTo>
                    <a:lnTo>
                      <a:pt x="324640" y="82356"/>
                    </a:lnTo>
                    <a:cubicBezTo>
                      <a:pt x="314921" y="82356"/>
                      <a:pt x="304946" y="82356"/>
                      <a:pt x="304946" y="92074"/>
                    </a:cubicBezTo>
                    <a:cubicBezTo>
                      <a:pt x="295227" y="92074"/>
                      <a:pt x="304946" y="101794"/>
                      <a:pt x="295227" y="101794"/>
                    </a:cubicBezTo>
                    <a:cubicBezTo>
                      <a:pt x="285508" y="92074"/>
                      <a:pt x="285508" y="92074"/>
                      <a:pt x="285508" y="92074"/>
                    </a:cubicBezTo>
                    <a:cubicBezTo>
                      <a:pt x="285508" y="82356"/>
                      <a:pt x="275789" y="101794"/>
                      <a:pt x="275789" y="101794"/>
                    </a:cubicBezTo>
                    <a:cubicBezTo>
                      <a:pt x="256096" y="111512"/>
                      <a:pt x="236402" y="92074"/>
                      <a:pt x="226683" y="82100"/>
                    </a:cubicBezTo>
                    <a:cubicBezTo>
                      <a:pt x="219777" y="75194"/>
                      <a:pt x="212616" y="63173"/>
                      <a:pt x="205710" y="53199"/>
                    </a:cubicBezTo>
                    <a:lnTo>
                      <a:pt x="198549" y="53199"/>
                    </a:lnTo>
                    <a:cubicBezTo>
                      <a:pt x="198549" y="53199"/>
                      <a:pt x="202385" y="56268"/>
                      <a:pt x="207501" y="61383"/>
                    </a:cubicBezTo>
                    <a:cubicBezTo>
                      <a:pt x="207501" y="61383"/>
                      <a:pt x="217987" y="72125"/>
                      <a:pt x="217987" y="81844"/>
                    </a:cubicBezTo>
                    <a:cubicBezTo>
                      <a:pt x="227706" y="81844"/>
                      <a:pt x="236658" y="92074"/>
                      <a:pt x="246377" y="101794"/>
                    </a:cubicBezTo>
                    <a:cubicBezTo>
                      <a:pt x="246377" y="101794"/>
                      <a:pt x="256096" y="111512"/>
                      <a:pt x="246377" y="111512"/>
                    </a:cubicBezTo>
                    <a:cubicBezTo>
                      <a:pt x="236658" y="111512"/>
                      <a:pt x="236658" y="101794"/>
                      <a:pt x="226683" y="101794"/>
                    </a:cubicBezTo>
                    <a:cubicBezTo>
                      <a:pt x="226683" y="101794"/>
                      <a:pt x="216964" y="101794"/>
                      <a:pt x="216964" y="92074"/>
                    </a:cubicBezTo>
                    <a:cubicBezTo>
                      <a:pt x="207245" y="92074"/>
                      <a:pt x="216964" y="92074"/>
                      <a:pt x="216964" y="82356"/>
                    </a:cubicBezTo>
                    <a:cubicBezTo>
                      <a:pt x="216964" y="72637"/>
                      <a:pt x="207245" y="72637"/>
                      <a:pt x="207245" y="62662"/>
                    </a:cubicBezTo>
                    <a:cubicBezTo>
                      <a:pt x="197526" y="62662"/>
                      <a:pt x="197526" y="62662"/>
                      <a:pt x="197526" y="62662"/>
                    </a:cubicBezTo>
                    <a:lnTo>
                      <a:pt x="187807" y="62662"/>
                    </a:lnTo>
                    <a:cubicBezTo>
                      <a:pt x="187807" y="52943"/>
                      <a:pt x="187807" y="52943"/>
                      <a:pt x="187807" y="52943"/>
                    </a:cubicBezTo>
                    <a:cubicBezTo>
                      <a:pt x="178088" y="52943"/>
                      <a:pt x="178088" y="52943"/>
                      <a:pt x="178088" y="52943"/>
                    </a:cubicBezTo>
                    <a:lnTo>
                      <a:pt x="185761" y="43224"/>
                    </a:lnTo>
                    <a:lnTo>
                      <a:pt x="178088" y="42968"/>
                    </a:lnTo>
                    <a:cubicBezTo>
                      <a:pt x="178088" y="42968"/>
                      <a:pt x="168369" y="52687"/>
                      <a:pt x="158394" y="52687"/>
                    </a:cubicBezTo>
                    <a:cubicBezTo>
                      <a:pt x="168113" y="52687"/>
                      <a:pt x="168113" y="42968"/>
                      <a:pt x="168113" y="42968"/>
                    </a:cubicBezTo>
                    <a:cubicBezTo>
                      <a:pt x="177832" y="42968"/>
                      <a:pt x="168113" y="33249"/>
                      <a:pt x="168113" y="33249"/>
                    </a:cubicBezTo>
                    <a:cubicBezTo>
                      <a:pt x="168113" y="33249"/>
                      <a:pt x="168113" y="42968"/>
                      <a:pt x="158394" y="42968"/>
                    </a:cubicBezTo>
                    <a:cubicBezTo>
                      <a:pt x="148675" y="42968"/>
                      <a:pt x="148675" y="42968"/>
                      <a:pt x="148675" y="42968"/>
                    </a:cubicBezTo>
                    <a:cubicBezTo>
                      <a:pt x="148675" y="42968"/>
                      <a:pt x="158394" y="33249"/>
                      <a:pt x="148675" y="33249"/>
                    </a:cubicBezTo>
                    <a:lnTo>
                      <a:pt x="138956" y="23530"/>
                    </a:lnTo>
                    <a:lnTo>
                      <a:pt x="138956" y="33249"/>
                    </a:lnTo>
                    <a:lnTo>
                      <a:pt x="138956" y="33249"/>
                    </a:lnTo>
                    <a:cubicBezTo>
                      <a:pt x="138956" y="42968"/>
                      <a:pt x="129237" y="33249"/>
                      <a:pt x="129237" y="33249"/>
                    </a:cubicBezTo>
                    <a:cubicBezTo>
                      <a:pt x="138956" y="33249"/>
                      <a:pt x="129237" y="23530"/>
                      <a:pt x="129237" y="23530"/>
                    </a:cubicBezTo>
                    <a:lnTo>
                      <a:pt x="119518" y="23530"/>
                    </a:lnTo>
                    <a:lnTo>
                      <a:pt x="119518" y="23530"/>
                    </a:lnTo>
                    <a:cubicBezTo>
                      <a:pt x="119518" y="33249"/>
                      <a:pt x="109799" y="23530"/>
                      <a:pt x="109799" y="23530"/>
                    </a:cubicBezTo>
                    <a:cubicBezTo>
                      <a:pt x="109799" y="23530"/>
                      <a:pt x="100080" y="3836"/>
                      <a:pt x="100080" y="13811"/>
                    </a:cubicBezTo>
                    <a:cubicBezTo>
                      <a:pt x="100080" y="23530"/>
                      <a:pt x="90361" y="13811"/>
                      <a:pt x="90361" y="4092"/>
                    </a:cubicBezTo>
                    <a:lnTo>
                      <a:pt x="83712" y="0"/>
                    </a:lnTo>
                    <a:lnTo>
                      <a:pt x="80131" y="12788"/>
                    </a:ln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5" name="Cote d'Ivoire">
                <a:extLst>
                  <a:ext uri="{FF2B5EF4-FFF2-40B4-BE49-F238E27FC236}">
                    <a16:creationId xmlns:a16="http://schemas.microsoft.com/office/drawing/2014/main" id="{519508F3-2138-F216-8EA0-AC31215F6FD8}"/>
                  </a:ext>
                </a:extLst>
              </p:cNvPr>
              <p:cNvSpPr>
                <a:spLocks noEditPoints="1"/>
              </p:cNvSpPr>
              <p:nvPr/>
            </p:nvSpPr>
            <p:spPr bwMode="auto">
              <a:xfrm>
                <a:off x="5399694" y="3625820"/>
                <a:ext cx="212696" cy="254844"/>
              </a:xfrm>
              <a:custGeom>
                <a:avLst/>
                <a:gdLst/>
                <a:ahLst/>
                <a:cxnLst>
                  <a:cxn ang="0">
                    <a:pos x="56" y="34"/>
                  </a:cxn>
                  <a:cxn ang="0">
                    <a:pos x="53" y="43"/>
                  </a:cxn>
                  <a:cxn ang="0">
                    <a:pos x="53" y="49"/>
                  </a:cxn>
                  <a:cxn ang="0">
                    <a:pos x="56" y="56"/>
                  </a:cxn>
                  <a:cxn ang="0">
                    <a:pos x="57" y="61"/>
                  </a:cxn>
                  <a:cxn ang="0">
                    <a:pos x="55" y="62"/>
                  </a:cxn>
                  <a:cxn ang="0">
                    <a:pos x="52" y="61"/>
                  </a:cxn>
                  <a:cxn ang="0">
                    <a:pos x="47" y="61"/>
                  </a:cxn>
                  <a:cxn ang="0">
                    <a:pos x="47" y="59"/>
                  </a:cxn>
                  <a:cxn ang="0">
                    <a:pos x="45" y="60"/>
                  </a:cxn>
                  <a:cxn ang="0">
                    <a:pos x="41" y="60"/>
                  </a:cxn>
                  <a:cxn ang="0">
                    <a:pos x="38" y="60"/>
                  </a:cxn>
                  <a:cxn ang="0">
                    <a:pos x="39" y="61"/>
                  </a:cxn>
                  <a:cxn ang="0">
                    <a:pos x="44" y="60"/>
                  </a:cxn>
                  <a:cxn ang="0">
                    <a:pos x="34" y="61"/>
                  </a:cxn>
                  <a:cxn ang="0">
                    <a:pos x="32" y="62"/>
                  </a:cxn>
                  <a:cxn ang="0">
                    <a:pos x="33" y="61"/>
                  </a:cxn>
                  <a:cxn ang="0">
                    <a:pos x="34" y="62"/>
                  </a:cxn>
                  <a:cxn ang="0">
                    <a:pos x="26" y="63"/>
                  </a:cxn>
                  <a:cxn ang="0">
                    <a:pos x="13" y="69"/>
                  </a:cxn>
                  <a:cxn ang="0">
                    <a:pos x="10" y="63"/>
                  </a:cxn>
                  <a:cxn ang="0">
                    <a:pos x="12" y="60"/>
                  </a:cxn>
                  <a:cxn ang="0">
                    <a:pos x="12" y="55"/>
                  </a:cxn>
                  <a:cxn ang="0">
                    <a:pos x="10" y="54"/>
                  </a:cxn>
                  <a:cxn ang="0">
                    <a:pos x="8" y="50"/>
                  </a:cxn>
                  <a:cxn ang="0">
                    <a:pos x="2" y="48"/>
                  </a:cxn>
                  <a:cxn ang="0">
                    <a:pos x="2" y="45"/>
                  </a:cxn>
                  <a:cxn ang="0">
                    <a:pos x="3" y="38"/>
                  </a:cxn>
                  <a:cxn ang="0">
                    <a:pos x="4" y="35"/>
                  </a:cxn>
                  <a:cxn ang="0">
                    <a:pos x="6" y="29"/>
                  </a:cxn>
                  <a:cxn ang="0">
                    <a:pos x="4" y="26"/>
                  </a:cxn>
                  <a:cxn ang="0">
                    <a:pos x="8" y="26"/>
                  </a:cxn>
                  <a:cxn ang="0">
                    <a:pos x="8" y="22"/>
                  </a:cxn>
                  <a:cxn ang="0">
                    <a:pos x="7" y="15"/>
                  </a:cxn>
                  <a:cxn ang="0">
                    <a:pos x="5" y="8"/>
                  </a:cxn>
                  <a:cxn ang="0">
                    <a:pos x="9" y="6"/>
                  </a:cxn>
                  <a:cxn ang="0">
                    <a:pos x="12" y="4"/>
                  </a:cxn>
                  <a:cxn ang="0">
                    <a:pos x="17" y="6"/>
                  </a:cxn>
                  <a:cxn ang="0">
                    <a:pos x="20" y="1"/>
                  </a:cxn>
                  <a:cxn ang="0">
                    <a:pos x="24" y="0"/>
                  </a:cxn>
                  <a:cxn ang="0">
                    <a:pos x="24" y="4"/>
                  </a:cxn>
                  <a:cxn ang="0">
                    <a:pos x="26" y="5"/>
                  </a:cxn>
                  <a:cxn ang="0">
                    <a:pos x="32" y="5"/>
                  </a:cxn>
                  <a:cxn ang="0">
                    <a:pos x="35" y="6"/>
                  </a:cxn>
                  <a:cxn ang="0">
                    <a:pos x="37" y="10"/>
                  </a:cxn>
                  <a:cxn ang="0">
                    <a:pos x="40" y="12"/>
                  </a:cxn>
                  <a:cxn ang="0">
                    <a:pos x="42" y="12"/>
                  </a:cxn>
                  <a:cxn ang="0">
                    <a:pos x="48" y="9"/>
                  </a:cxn>
                  <a:cxn ang="0">
                    <a:pos x="53" y="9"/>
                  </a:cxn>
                  <a:cxn ang="0">
                    <a:pos x="55" y="12"/>
                  </a:cxn>
                  <a:cxn ang="0">
                    <a:pos x="57" y="18"/>
                  </a:cxn>
                  <a:cxn ang="0">
                    <a:pos x="60" y="28"/>
                  </a:cxn>
                  <a:cxn ang="0">
                    <a:pos x="52" y="62"/>
                  </a:cxn>
                </a:cxnLst>
                <a:rect l="0" t="0" r="r" b="b"/>
                <a:pathLst>
                  <a:path w="60" h="72">
                    <a:moveTo>
                      <a:pt x="59" y="29"/>
                    </a:moveTo>
                    <a:cubicBezTo>
                      <a:pt x="58" y="29"/>
                      <a:pt x="59" y="30"/>
                      <a:pt x="58" y="30"/>
                    </a:cubicBezTo>
                    <a:cubicBezTo>
                      <a:pt x="57" y="30"/>
                      <a:pt x="57" y="31"/>
                      <a:pt x="57" y="32"/>
                    </a:cubicBezTo>
                    <a:cubicBezTo>
                      <a:pt x="56" y="33"/>
                      <a:pt x="56" y="33"/>
                      <a:pt x="56" y="34"/>
                    </a:cubicBezTo>
                    <a:cubicBezTo>
                      <a:pt x="55" y="35"/>
                      <a:pt x="55" y="36"/>
                      <a:pt x="55" y="37"/>
                    </a:cubicBezTo>
                    <a:cubicBezTo>
                      <a:pt x="55" y="38"/>
                      <a:pt x="55" y="39"/>
                      <a:pt x="54" y="40"/>
                    </a:cubicBezTo>
                    <a:cubicBezTo>
                      <a:pt x="54" y="41"/>
                      <a:pt x="54" y="41"/>
                      <a:pt x="54" y="41"/>
                    </a:cubicBezTo>
                    <a:cubicBezTo>
                      <a:pt x="53" y="42"/>
                      <a:pt x="53" y="42"/>
                      <a:pt x="53" y="43"/>
                    </a:cubicBezTo>
                    <a:cubicBezTo>
                      <a:pt x="52" y="43"/>
                      <a:pt x="52" y="44"/>
                      <a:pt x="52" y="44"/>
                    </a:cubicBezTo>
                    <a:cubicBezTo>
                      <a:pt x="53" y="44"/>
                      <a:pt x="53" y="45"/>
                      <a:pt x="52" y="45"/>
                    </a:cubicBezTo>
                    <a:cubicBezTo>
                      <a:pt x="52" y="45"/>
                      <a:pt x="52" y="46"/>
                      <a:pt x="52" y="46"/>
                    </a:cubicBezTo>
                    <a:cubicBezTo>
                      <a:pt x="52" y="47"/>
                      <a:pt x="53" y="48"/>
                      <a:pt x="53" y="49"/>
                    </a:cubicBezTo>
                    <a:cubicBezTo>
                      <a:pt x="53" y="50"/>
                      <a:pt x="54" y="51"/>
                      <a:pt x="54" y="52"/>
                    </a:cubicBezTo>
                    <a:cubicBezTo>
                      <a:pt x="54" y="53"/>
                      <a:pt x="54" y="53"/>
                      <a:pt x="54" y="54"/>
                    </a:cubicBezTo>
                    <a:cubicBezTo>
                      <a:pt x="54" y="54"/>
                      <a:pt x="54" y="56"/>
                      <a:pt x="55" y="56"/>
                    </a:cubicBezTo>
                    <a:cubicBezTo>
                      <a:pt x="55" y="56"/>
                      <a:pt x="55" y="57"/>
                      <a:pt x="56" y="56"/>
                    </a:cubicBezTo>
                    <a:cubicBezTo>
                      <a:pt x="57" y="56"/>
                      <a:pt x="57" y="57"/>
                      <a:pt x="57" y="57"/>
                    </a:cubicBezTo>
                    <a:cubicBezTo>
                      <a:pt x="57" y="58"/>
                      <a:pt x="57" y="59"/>
                      <a:pt x="57" y="59"/>
                    </a:cubicBezTo>
                    <a:cubicBezTo>
                      <a:pt x="57" y="60"/>
                      <a:pt x="57" y="59"/>
                      <a:pt x="57" y="60"/>
                    </a:cubicBezTo>
                    <a:cubicBezTo>
                      <a:pt x="57" y="60"/>
                      <a:pt x="57" y="61"/>
                      <a:pt x="57" y="61"/>
                    </a:cubicBezTo>
                    <a:cubicBezTo>
                      <a:pt x="57" y="62"/>
                      <a:pt x="57" y="62"/>
                      <a:pt x="56" y="62"/>
                    </a:cubicBezTo>
                    <a:cubicBezTo>
                      <a:pt x="56" y="62"/>
                      <a:pt x="55" y="62"/>
                      <a:pt x="55" y="62"/>
                    </a:cubicBezTo>
                    <a:cubicBezTo>
                      <a:pt x="55" y="62"/>
                      <a:pt x="56" y="62"/>
                      <a:pt x="56" y="62"/>
                    </a:cubicBezTo>
                    <a:cubicBezTo>
                      <a:pt x="56" y="61"/>
                      <a:pt x="55" y="61"/>
                      <a:pt x="55" y="62"/>
                    </a:cubicBezTo>
                    <a:cubicBezTo>
                      <a:pt x="55" y="62"/>
                      <a:pt x="53" y="62"/>
                      <a:pt x="53" y="61"/>
                    </a:cubicBezTo>
                    <a:cubicBezTo>
                      <a:pt x="53" y="61"/>
                      <a:pt x="54" y="59"/>
                      <a:pt x="53" y="59"/>
                    </a:cubicBezTo>
                    <a:cubicBezTo>
                      <a:pt x="53" y="59"/>
                      <a:pt x="52" y="59"/>
                      <a:pt x="52" y="60"/>
                    </a:cubicBezTo>
                    <a:cubicBezTo>
                      <a:pt x="52" y="60"/>
                      <a:pt x="51" y="61"/>
                      <a:pt x="52" y="61"/>
                    </a:cubicBezTo>
                    <a:cubicBezTo>
                      <a:pt x="52" y="61"/>
                      <a:pt x="51" y="61"/>
                      <a:pt x="51" y="61"/>
                    </a:cubicBezTo>
                    <a:cubicBezTo>
                      <a:pt x="51" y="62"/>
                      <a:pt x="52" y="62"/>
                      <a:pt x="51" y="62"/>
                    </a:cubicBezTo>
                    <a:cubicBezTo>
                      <a:pt x="51" y="62"/>
                      <a:pt x="50" y="62"/>
                      <a:pt x="49" y="62"/>
                    </a:cubicBezTo>
                    <a:cubicBezTo>
                      <a:pt x="49" y="61"/>
                      <a:pt x="48" y="62"/>
                      <a:pt x="47" y="61"/>
                    </a:cubicBezTo>
                    <a:cubicBezTo>
                      <a:pt x="47" y="62"/>
                      <a:pt x="45" y="61"/>
                      <a:pt x="45" y="61"/>
                    </a:cubicBezTo>
                    <a:cubicBezTo>
                      <a:pt x="46" y="60"/>
                      <a:pt x="46" y="60"/>
                      <a:pt x="47" y="61"/>
                    </a:cubicBezTo>
                    <a:cubicBezTo>
                      <a:pt x="47" y="60"/>
                      <a:pt x="47" y="61"/>
                      <a:pt x="47" y="60"/>
                    </a:cubicBezTo>
                    <a:cubicBezTo>
                      <a:pt x="48" y="60"/>
                      <a:pt x="47" y="59"/>
                      <a:pt x="47" y="59"/>
                    </a:cubicBezTo>
                    <a:cubicBezTo>
                      <a:pt x="46" y="59"/>
                      <a:pt x="47" y="60"/>
                      <a:pt x="47" y="60"/>
                    </a:cubicBezTo>
                    <a:cubicBezTo>
                      <a:pt x="47" y="60"/>
                      <a:pt x="46" y="60"/>
                      <a:pt x="46" y="60"/>
                    </a:cubicBezTo>
                    <a:cubicBezTo>
                      <a:pt x="46" y="60"/>
                      <a:pt x="45" y="60"/>
                      <a:pt x="45" y="60"/>
                    </a:cubicBezTo>
                    <a:cubicBezTo>
                      <a:pt x="45" y="60"/>
                      <a:pt x="45" y="60"/>
                      <a:pt x="45" y="60"/>
                    </a:cubicBezTo>
                    <a:cubicBezTo>
                      <a:pt x="45" y="61"/>
                      <a:pt x="44" y="60"/>
                      <a:pt x="43" y="60"/>
                    </a:cubicBezTo>
                    <a:cubicBezTo>
                      <a:pt x="43" y="60"/>
                      <a:pt x="42" y="60"/>
                      <a:pt x="42" y="60"/>
                    </a:cubicBezTo>
                    <a:cubicBezTo>
                      <a:pt x="42" y="60"/>
                      <a:pt x="42" y="60"/>
                      <a:pt x="41" y="60"/>
                    </a:cubicBezTo>
                    <a:cubicBezTo>
                      <a:pt x="41" y="60"/>
                      <a:pt x="41" y="60"/>
                      <a:pt x="41" y="60"/>
                    </a:cubicBezTo>
                    <a:cubicBezTo>
                      <a:pt x="41" y="60"/>
                      <a:pt x="40" y="60"/>
                      <a:pt x="40" y="60"/>
                    </a:cubicBezTo>
                    <a:cubicBezTo>
                      <a:pt x="40" y="60"/>
                      <a:pt x="40" y="60"/>
                      <a:pt x="39" y="60"/>
                    </a:cubicBezTo>
                    <a:cubicBezTo>
                      <a:pt x="39" y="61"/>
                      <a:pt x="38" y="61"/>
                      <a:pt x="38" y="61"/>
                    </a:cubicBezTo>
                    <a:cubicBezTo>
                      <a:pt x="38" y="61"/>
                      <a:pt x="38" y="60"/>
                      <a:pt x="38" y="60"/>
                    </a:cubicBezTo>
                    <a:cubicBezTo>
                      <a:pt x="38" y="60"/>
                      <a:pt x="38" y="60"/>
                      <a:pt x="38" y="60"/>
                    </a:cubicBezTo>
                    <a:cubicBezTo>
                      <a:pt x="38" y="61"/>
                      <a:pt x="36" y="61"/>
                      <a:pt x="37" y="61"/>
                    </a:cubicBezTo>
                    <a:cubicBezTo>
                      <a:pt x="37" y="62"/>
                      <a:pt x="37" y="61"/>
                      <a:pt x="38" y="61"/>
                    </a:cubicBezTo>
                    <a:cubicBezTo>
                      <a:pt x="38" y="61"/>
                      <a:pt x="39" y="61"/>
                      <a:pt x="39" y="61"/>
                    </a:cubicBezTo>
                    <a:cubicBezTo>
                      <a:pt x="39" y="61"/>
                      <a:pt x="39" y="61"/>
                      <a:pt x="39" y="61"/>
                    </a:cubicBezTo>
                    <a:cubicBezTo>
                      <a:pt x="40" y="61"/>
                      <a:pt x="40" y="61"/>
                      <a:pt x="41" y="61"/>
                    </a:cubicBezTo>
                    <a:cubicBezTo>
                      <a:pt x="41" y="60"/>
                      <a:pt x="42" y="61"/>
                      <a:pt x="43" y="60"/>
                    </a:cubicBezTo>
                    <a:cubicBezTo>
                      <a:pt x="43" y="60"/>
                      <a:pt x="44" y="60"/>
                      <a:pt x="44" y="60"/>
                    </a:cubicBezTo>
                    <a:cubicBezTo>
                      <a:pt x="44" y="61"/>
                      <a:pt x="44" y="61"/>
                      <a:pt x="45" y="61"/>
                    </a:cubicBezTo>
                    <a:cubicBezTo>
                      <a:pt x="43" y="61"/>
                      <a:pt x="41" y="61"/>
                      <a:pt x="40" y="61"/>
                    </a:cubicBezTo>
                    <a:cubicBezTo>
                      <a:pt x="39" y="61"/>
                      <a:pt x="35" y="63"/>
                      <a:pt x="35" y="61"/>
                    </a:cubicBezTo>
                    <a:cubicBezTo>
                      <a:pt x="35" y="61"/>
                      <a:pt x="34" y="61"/>
                      <a:pt x="34" y="61"/>
                    </a:cubicBezTo>
                    <a:cubicBezTo>
                      <a:pt x="34" y="61"/>
                      <a:pt x="34" y="61"/>
                      <a:pt x="33" y="61"/>
                    </a:cubicBezTo>
                    <a:cubicBezTo>
                      <a:pt x="33" y="61"/>
                      <a:pt x="32" y="61"/>
                      <a:pt x="32" y="61"/>
                    </a:cubicBezTo>
                    <a:cubicBezTo>
                      <a:pt x="32" y="61"/>
                      <a:pt x="32" y="61"/>
                      <a:pt x="32" y="61"/>
                    </a:cubicBezTo>
                    <a:cubicBezTo>
                      <a:pt x="32" y="62"/>
                      <a:pt x="32" y="61"/>
                      <a:pt x="32" y="62"/>
                    </a:cubicBezTo>
                    <a:cubicBezTo>
                      <a:pt x="31" y="62"/>
                      <a:pt x="31" y="62"/>
                      <a:pt x="31" y="61"/>
                    </a:cubicBezTo>
                    <a:cubicBezTo>
                      <a:pt x="31" y="62"/>
                      <a:pt x="32" y="62"/>
                      <a:pt x="32" y="62"/>
                    </a:cubicBezTo>
                    <a:cubicBezTo>
                      <a:pt x="32" y="62"/>
                      <a:pt x="32" y="62"/>
                      <a:pt x="32" y="62"/>
                    </a:cubicBezTo>
                    <a:cubicBezTo>
                      <a:pt x="32" y="62"/>
                      <a:pt x="33" y="61"/>
                      <a:pt x="33" y="61"/>
                    </a:cubicBezTo>
                    <a:cubicBezTo>
                      <a:pt x="33" y="61"/>
                      <a:pt x="33" y="61"/>
                      <a:pt x="33" y="61"/>
                    </a:cubicBezTo>
                    <a:cubicBezTo>
                      <a:pt x="33" y="61"/>
                      <a:pt x="34" y="62"/>
                      <a:pt x="34" y="61"/>
                    </a:cubicBezTo>
                    <a:cubicBezTo>
                      <a:pt x="34" y="61"/>
                      <a:pt x="35" y="61"/>
                      <a:pt x="35" y="61"/>
                    </a:cubicBezTo>
                    <a:cubicBezTo>
                      <a:pt x="36" y="62"/>
                      <a:pt x="34" y="62"/>
                      <a:pt x="34" y="62"/>
                    </a:cubicBezTo>
                    <a:cubicBezTo>
                      <a:pt x="33" y="62"/>
                      <a:pt x="32" y="62"/>
                      <a:pt x="31" y="62"/>
                    </a:cubicBezTo>
                    <a:cubicBezTo>
                      <a:pt x="31" y="62"/>
                      <a:pt x="30" y="62"/>
                      <a:pt x="30" y="62"/>
                    </a:cubicBezTo>
                    <a:cubicBezTo>
                      <a:pt x="30" y="63"/>
                      <a:pt x="28" y="63"/>
                      <a:pt x="28" y="63"/>
                    </a:cubicBezTo>
                    <a:cubicBezTo>
                      <a:pt x="27" y="63"/>
                      <a:pt x="27" y="63"/>
                      <a:pt x="26" y="63"/>
                    </a:cubicBezTo>
                    <a:cubicBezTo>
                      <a:pt x="24" y="64"/>
                      <a:pt x="24" y="64"/>
                      <a:pt x="23" y="65"/>
                    </a:cubicBezTo>
                    <a:cubicBezTo>
                      <a:pt x="21" y="65"/>
                      <a:pt x="19" y="66"/>
                      <a:pt x="17" y="67"/>
                    </a:cubicBezTo>
                    <a:cubicBezTo>
                      <a:pt x="16" y="67"/>
                      <a:pt x="16" y="68"/>
                      <a:pt x="15" y="68"/>
                    </a:cubicBezTo>
                    <a:cubicBezTo>
                      <a:pt x="15" y="69"/>
                      <a:pt x="14" y="69"/>
                      <a:pt x="13" y="69"/>
                    </a:cubicBezTo>
                    <a:cubicBezTo>
                      <a:pt x="13" y="69"/>
                      <a:pt x="10" y="72"/>
                      <a:pt x="10" y="70"/>
                    </a:cubicBezTo>
                    <a:cubicBezTo>
                      <a:pt x="10" y="69"/>
                      <a:pt x="11" y="67"/>
                      <a:pt x="10" y="66"/>
                    </a:cubicBezTo>
                    <a:cubicBezTo>
                      <a:pt x="10" y="65"/>
                      <a:pt x="10" y="65"/>
                      <a:pt x="10" y="64"/>
                    </a:cubicBezTo>
                    <a:cubicBezTo>
                      <a:pt x="11" y="64"/>
                      <a:pt x="10" y="63"/>
                      <a:pt x="10" y="63"/>
                    </a:cubicBezTo>
                    <a:cubicBezTo>
                      <a:pt x="10" y="62"/>
                      <a:pt x="11" y="62"/>
                      <a:pt x="11" y="62"/>
                    </a:cubicBezTo>
                    <a:cubicBezTo>
                      <a:pt x="11" y="61"/>
                      <a:pt x="11" y="60"/>
                      <a:pt x="12" y="60"/>
                    </a:cubicBezTo>
                    <a:cubicBezTo>
                      <a:pt x="12" y="60"/>
                      <a:pt x="12" y="60"/>
                      <a:pt x="12" y="60"/>
                    </a:cubicBezTo>
                    <a:cubicBezTo>
                      <a:pt x="12" y="60"/>
                      <a:pt x="12" y="60"/>
                      <a:pt x="12" y="60"/>
                    </a:cubicBezTo>
                    <a:cubicBezTo>
                      <a:pt x="12" y="59"/>
                      <a:pt x="12" y="60"/>
                      <a:pt x="12" y="59"/>
                    </a:cubicBezTo>
                    <a:cubicBezTo>
                      <a:pt x="11" y="59"/>
                      <a:pt x="12" y="58"/>
                      <a:pt x="12" y="58"/>
                    </a:cubicBezTo>
                    <a:cubicBezTo>
                      <a:pt x="12" y="57"/>
                      <a:pt x="12" y="57"/>
                      <a:pt x="12" y="56"/>
                    </a:cubicBezTo>
                    <a:cubicBezTo>
                      <a:pt x="12" y="56"/>
                      <a:pt x="12" y="55"/>
                      <a:pt x="12" y="55"/>
                    </a:cubicBezTo>
                    <a:cubicBezTo>
                      <a:pt x="12" y="55"/>
                      <a:pt x="12" y="54"/>
                      <a:pt x="11" y="54"/>
                    </a:cubicBezTo>
                    <a:cubicBezTo>
                      <a:pt x="11" y="54"/>
                      <a:pt x="11" y="54"/>
                      <a:pt x="11" y="54"/>
                    </a:cubicBezTo>
                    <a:cubicBezTo>
                      <a:pt x="11" y="54"/>
                      <a:pt x="11" y="54"/>
                      <a:pt x="11" y="54"/>
                    </a:cubicBezTo>
                    <a:cubicBezTo>
                      <a:pt x="11" y="54"/>
                      <a:pt x="10" y="54"/>
                      <a:pt x="10" y="54"/>
                    </a:cubicBezTo>
                    <a:cubicBezTo>
                      <a:pt x="10" y="53"/>
                      <a:pt x="9" y="53"/>
                      <a:pt x="9" y="53"/>
                    </a:cubicBezTo>
                    <a:cubicBezTo>
                      <a:pt x="9" y="54"/>
                      <a:pt x="8" y="53"/>
                      <a:pt x="8" y="52"/>
                    </a:cubicBezTo>
                    <a:cubicBezTo>
                      <a:pt x="8" y="52"/>
                      <a:pt x="8" y="51"/>
                      <a:pt x="8" y="51"/>
                    </a:cubicBezTo>
                    <a:cubicBezTo>
                      <a:pt x="7" y="51"/>
                      <a:pt x="8" y="50"/>
                      <a:pt x="8" y="50"/>
                    </a:cubicBezTo>
                    <a:cubicBezTo>
                      <a:pt x="7" y="49"/>
                      <a:pt x="6" y="49"/>
                      <a:pt x="6" y="49"/>
                    </a:cubicBezTo>
                    <a:cubicBezTo>
                      <a:pt x="5" y="49"/>
                      <a:pt x="5" y="49"/>
                      <a:pt x="4" y="49"/>
                    </a:cubicBezTo>
                    <a:cubicBezTo>
                      <a:pt x="3" y="49"/>
                      <a:pt x="2" y="48"/>
                      <a:pt x="2" y="48"/>
                    </a:cubicBezTo>
                    <a:cubicBezTo>
                      <a:pt x="2" y="48"/>
                      <a:pt x="2" y="48"/>
                      <a:pt x="2" y="48"/>
                    </a:cubicBezTo>
                    <a:cubicBezTo>
                      <a:pt x="2" y="47"/>
                      <a:pt x="2" y="47"/>
                      <a:pt x="2" y="47"/>
                    </a:cubicBezTo>
                    <a:cubicBezTo>
                      <a:pt x="2" y="48"/>
                      <a:pt x="0" y="47"/>
                      <a:pt x="0" y="47"/>
                    </a:cubicBezTo>
                    <a:cubicBezTo>
                      <a:pt x="1" y="46"/>
                      <a:pt x="1" y="46"/>
                      <a:pt x="1" y="46"/>
                    </a:cubicBezTo>
                    <a:cubicBezTo>
                      <a:pt x="2" y="46"/>
                      <a:pt x="2" y="45"/>
                      <a:pt x="2" y="45"/>
                    </a:cubicBezTo>
                    <a:cubicBezTo>
                      <a:pt x="2" y="44"/>
                      <a:pt x="3" y="44"/>
                      <a:pt x="3" y="43"/>
                    </a:cubicBezTo>
                    <a:cubicBezTo>
                      <a:pt x="3" y="43"/>
                      <a:pt x="3" y="42"/>
                      <a:pt x="3" y="42"/>
                    </a:cubicBezTo>
                    <a:cubicBezTo>
                      <a:pt x="4" y="41"/>
                      <a:pt x="3" y="40"/>
                      <a:pt x="3" y="40"/>
                    </a:cubicBezTo>
                    <a:cubicBezTo>
                      <a:pt x="4" y="39"/>
                      <a:pt x="3" y="39"/>
                      <a:pt x="3" y="38"/>
                    </a:cubicBezTo>
                    <a:cubicBezTo>
                      <a:pt x="2" y="38"/>
                      <a:pt x="2" y="37"/>
                      <a:pt x="2" y="36"/>
                    </a:cubicBezTo>
                    <a:cubicBezTo>
                      <a:pt x="2" y="36"/>
                      <a:pt x="2" y="35"/>
                      <a:pt x="2" y="35"/>
                    </a:cubicBezTo>
                    <a:cubicBezTo>
                      <a:pt x="2" y="34"/>
                      <a:pt x="2" y="35"/>
                      <a:pt x="3" y="35"/>
                    </a:cubicBezTo>
                    <a:cubicBezTo>
                      <a:pt x="3" y="35"/>
                      <a:pt x="4" y="36"/>
                      <a:pt x="4" y="35"/>
                    </a:cubicBezTo>
                    <a:cubicBezTo>
                      <a:pt x="4" y="34"/>
                      <a:pt x="6" y="33"/>
                      <a:pt x="5" y="32"/>
                    </a:cubicBezTo>
                    <a:cubicBezTo>
                      <a:pt x="5" y="32"/>
                      <a:pt x="6" y="31"/>
                      <a:pt x="6" y="30"/>
                    </a:cubicBezTo>
                    <a:cubicBezTo>
                      <a:pt x="6" y="30"/>
                      <a:pt x="6" y="30"/>
                      <a:pt x="7" y="30"/>
                    </a:cubicBezTo>
                    <a:cubicBezTo>
                      <a:pt x="7" y="30"/>
                      <a:pt x="6" y="29"/>
                      <a:pt x="6" y="29"/>
                    </a:cubicBezTo>
                    <a:cubicBezTo>
                      <a:pt x="6" y="29"/>
                      <a:pt x="6" y="28"/>
                      <a:pt x="6" y="28"/>
                    </a:cubicBezTo>
                    <a:cubicBezTo>
                      <a:pt x="6" y="28"/>
                      <a:pt x="5" y="28"/>
                      <a:pt x="5" y="28"/>
                    </a:cubicBezTo>
                    <a:cubicBezTo>
                      <a:pt x="5" y="28"/>
                      <a:pt x="4" y="28"/>
                      <a:pt x="4" y="28"/>
                    </a:cubicBezTo>
                    <a:cubicBezTo>
                      <a:pt x="4" y="27"/>
                      <a:pt x="4" y="26"/>
                      <a:pt x="4" y="26"/>
                    </a:cubicBezTo>
                    <a:cubicBezTo>
                      <a:pt x="4" y="25"/>
                      <a:pt x="5" y="25"/>
                      <a:pt x="5" y="25"/>
                    </a:cubicBezTo>
                    <a:cubicBezTo>
                      <a:pt x="5" y="25"/>
                      <a:pt x="6" y="25"/>
                      <a:pt x="6" y="25"/>
                    </a:cubicBezTo>
                    <a:cubicBezTo>
                      <a:pt x="6" y="25"/>
                      <a:pt x="7" y="25"/>
                      <a:pt x="7" y="25"/>
                    </a:cubicBezTo>
                    <a:cubicBezTo>
                      <a:pt x="7" y="25"/>
                      <a:pt x="7" y="26"/>
                      <a:pt x="8" y="26"/>
                    </a:cubicBezTo>
                    <a:cubicBezTo>
                      <a:pt x="8" y="25"/>
                      <a:pt x="8" y="25"/>
                      <a:pt x="8" y="25"/>
                    </a:cubicBezTo>
                    <a:cubicBezTo>
                      <a:pt x="9" y="26"/>
                      <a:pt x="9" y="26"/>
                      <a:pt x="9" y="26"/>
                    </a:cubicBezTo>
                    <a:cubicBezTo>
                      <a:pt x="10" y="26"/>
                      <a:pt x="9" y="23"/>
                      <a:pt x="9" y="23"/>
                    </a:cubicBezTo>
                    <a:cubicBezTo>
                      <a:pt x="9" y="23"/>
                      <a:pt x="9" y="22"/>
                      <a:pt x="8" y="22"/>
                    </a:cubicBezTo>
                    <a:cubicBezTo>
                      <a:pt x="8" y="22"/>
                      <a:pt x="7" y="22"/>
                      <a:pt x="7" y="21"/>
                    </a:cubicBezTo>
                    <a:cubicBezTo>
                      <a:pt x="7" y="20"/>
                      <a:pt x="7" y="19"/>
                      <a:pt x="8" y="19"/>
                    </a:cubicBezTo>
                    <a:cubicBezTo>
                      <a:pt x="10" y="18"/>
                      <a:pt x="7" y="18"/>
                      <a:pt x="7" y="17"/>
                    </a:cubicBezTo>
                    <a:cubicBezTo>
                      <a:pt x="7" y="16"/>
                      <a:pt x="9" y="14"/>
                      <a:pt x="7" y="15"/>
                    </a:cubicBezTo>
                    <a:cubicBezTo>
                      <a:pt x="5" y="16"/>
                      <a:pt x="5" y="12"/>
                      <a:pt x="5" y="11"/>
                    </a:cubicBezTo>
                    <a:cubicBezTo>
                      <a:pt x="5" y="11"/>
                      <a:pt x="6" y="10"/>
                      <a:pt x="5" y="10"/>
                    </a:cubicBezTo>
                    <a:cubicBezTo>
                      <a:pt x="5" y="9"/>
                      <a:pt x="5" y="9"/>
                      <a:pt x="5" y="9"/>
                    </a:cubicBezTo>
                    <a:cubicBezTo>
                      <a:pt x="5" y="9"/>
                      <a:pt x="5" y="8"/>
                      <a:pt x="5" y="8"/>
                    </a:cubicBezTo>
                    <a:cubicBezTo>
                      <a:pt x="5" y="8"/>
                      <a:pt x="6" y="8"/>
                      <a:pt x="6" y="8"/>
                    </a:cubicBezTo>
                    <a:cubicBezTo>
                      <a:pt x="6" y="7"/>
                      <a:pt x="6" y="7"/>
                      <a:pt x="7" y="7"/>
                    </a:cubicBezTo>
                    <a:cubicBezTo>
                      <a:pt x="7" y="6"/>
                      <a:pt x="7" y="7"/>
                      <a:pt x="7" y="7"/>
                    </a:cubicBezTo>
                    <a:cubicBezTo>
                      <a:pt x="8" y="6"/>
                      <a:pt x="8" y="6"/>
                      <a:pt x="9" y="6"/>
                    </a:cubicBezTo>
                    <a:cubicBezTo>
                      <a:pt x="9" y="5"/>
                      <a:pt x="9" y="5"/>
                      <a:pt x="9" y="5"/>
                    </a:cubicBezTo>
                    <a:cubicBezTo>
                      <a:pt x="9" y="5"/>
                      <a:pt x="9" y="4"/>
                      <a:pt x="10" y="4"/>
                    </a:cubicBezTo>
                    <a:cubicBezTo>
                      <a:pt x="10" y="3"/>
                      <a:pt x="11" y="4"/>
                      <a:pt x="11" y="4"/>
                    </a:cubicBezTo>
                    <a:cubicBezTo>
                      <a:pt x="12" y="3"/>
                      <a:pt x="12" y="3"/>
                      <a:pt x="12" y="4"/>
                    </a:cubicBezTo>
                    <a:cubicBezTo>
                      <a:pt x="12" y="4"/>
                      <a:pt x="12" y="5"/>
                      <a:pt x="13" y="5"/>
                    </a:cubicBezTo>
                    <a:cubicBezTo>
                      <a:pt x="13" y="4"/>
                      <a:pt x="13" y="5"/>
                      <a:pt x="13" y="6"/>
                    </a:cubicBezTo>
                    <a:cubicBezTo>
                      <a:pt x="14" y="6"/>
                      <a:pt x="15" y="6"/>
                      <a:pt x="15" y="6"/>
                    </a:cubicBezTo>
                    <a:cubicBezTo>
                      <a:pt x="16" y="6"/>
                      <a:pt x="16" y="7"/>
                      <a:pt x="17" y="6"/>
                    </a:cubicBezTo>
                    <a:cubicBezTo>
                      <a:pt x="17" y="6"/>
                      <a:pt x="16" y="5"/>
                      <a:pt x="17" y="5"/>
                    </a:cubicBezTo>
                    <a:cubicBezTo>
                      <a:pt x="17" y="4"/>
                      <a:pt x="17" y="5"/>
                      <a:pt x="18" y="4"/>
                    </a:cubicBezTo>
                    <a:cubicBezTo>
                      <a:pt x="18" y="4"/>
                      <a:pt x="19" y="5"/>
                      <a:pt x="20" y="4"/>
                    </a:cubicBezTo>
                    <a:cubicBezTo>
                      <a:pt x="20" y="4"/>
                      <a:pt x="19" y="1"/>
                      <a:pt x="20" y="1"/>
                    </a:cubicBezTo>
                    <a:cubicBezTo>
                      <a:pt x="21" y="1"/>
                      <a:pt x="21" y="3"/>
                      <a:pt x="22" y="2"/>
                    </a:cubicBezTo>
                    <a:cubicBezTo>
                      <a:pt x="23" y="2"/>
                      <a:pt x="21" y="1"/>
                      <a:pt x="22" y="1"/>
                    </a:cubicBezTo>
                    <a:cubicBezTo>
                      <a:pt x="22" y="1"/>
                      <a:pt x="23" y="1"/>
                      <a:pt x="23" y="1"/>
                    </a:cubicBezTo>
                    <a:cubicBezTo>
                      <a:pt x="23" y="1"/>
                      <a:pt x="23" y="0"/>
                      <a:pt x="24" y="0"/>
                    </a:cubicBezTo>
                    <a:cubicBezTo>
                      <a:pt x="24" y="0"/>
                      <a:pt x="24" y="1"/>
                      <a:pt x="24" y="1"/>
                    </a:cubicBezTo>
                    <a:cubicBezTo>
                      <a:pt x="24" y="1"/>
                      <a:pt x="23" y="2"/>
                      <a:pt x="24" y="3"/>
                    </a:cubicBezTo>
                    <a:cubicBezTo>
                      <a:pt x="24" y="3"/>
                      <a:pt x="24" y="3"/>
                      <a:pt x="24" y="3"/>
                    </a:cubicBezTo>
                    <a:cubicBezTo>
                      <a:pt x="24" y="3"/>
                      <a:pt x="24" y="4"/>
                      <a:pt x="24" y="4"/>
                    </a:cubicBezTo>
                    <a:cubicBezTo>
                      <a:pt x="24" y="4"/>
                      <a:pt x="24" y="4"/>
                      <a:pt x="24" y="5"/>
                    </a:cubicBezTo>
                    <a:cubicBezTo>
                      <a:pt x="24" y="5"/>
                      <a:pt x="24" y="5"/>
                      <a:pt x="24" y="5"/>
                    </a:cubicBezTo>
                    <a:cubicBezTo>
                      <a:pt x="23" y="5"/>
                      <a:pt x="25" y="6"/>
                      <a:pt x="25" y="6"/>
                    </a:cubicBezTo>
                    <a:cubicBezTo>
                      <a:pt x="26" y="6"/>
                      <a:pt x="26" y="6"/>
                      <a:pt x="26" y="5"/>
                    </a:cubicBezTo>
                    <a:cubicBezTo>
                      <a:pt x="27" y="5"/>
                      <a:pt x="27" y="6"/>
                      <a:pt x="27" y="5"/>
                    </a:cubicBezTo>
                    <a:cubicBezTo>
                      <a:pt x="27" y="5"/>
                      <a:pt x="27" y="4"/>
                      <a:pt x="27" y="4"/>
                    </a:cubicBezTo>
                    <a:cubicBezTo>
                      <a:pt x="28" y="4"/>
                      <a:pt x="29" y="3"/>
                      <a:pt x="30" y="3"/>
                    </a:cubicBezTo>
                    <a:cubicBezTo>
                      <a:pt x="31" y="3"/>
                      <a:pt x="31" y="5"/>
                      <a:pt x="32" y="5"/>
                    </a:cubicBezTo>
                    <a:cubicBezTo>
                      <a:pt x="32" y="5"/>
                      <a:pt x="32" y="5"/>
                      <a:pt x="33" y="5"/>
                    </a:cubicBezTo>
                    <a:cubicBezTo>
                      <a:pt x="33" y="5"/>
                      <a:pt x="33" y="5"/>
                      <a:pt x="34" y="5"/>
                    </a:cubicBezTo>
                    <a:cubicBezTo>
                      <a:pt x="34" y="5"/>
                      <a:pt x="34" y="5"/>
                      <a:pt x="35" y="5"/>
                    </a:cubicBezTo>
                    <a:cubicBezTo>
                      <a:pt x="35" y="6"/>
                      <a:pt x="34" y="6"/>
                      <a:pt x="35" y="6"/>
                    </a:cubicBezTo>
                    <a:cubicBezTo>
                      <a:pt x="35" y="6"/>
                      <a:pt x="35" y="7"/>
                      <a:pt x="35" y="7"/>
                    </a:cubicBezTo>
                    <a:cubicBezTo>
                      <a:pt x="35" y="7"/>
                      <a:pt x="35" y="7"/>
                      <a:pt x="35" y="8"/>
                    </a:cubicBezTo>
                    <a:cubicBezTo>
                      <a:pt x="36" y="8"/>
                      <a:pt x="36" y="8"/>
                      <a:pt x="36" y="9"/>
                    </a:cubicBezTo>
                    <a:cubicBezTo>
                      <a:pt x="36" y="10"/>
                      <a:pt x="36" y="10"/>
                      <a:pt x="37" y="10"/>
                    </a:cubicBezTo>
                    <a:cubicBezTo>
                      <a:pt x="38" y="10"/>
                      <a:pt x="37" y="11"/>
                      <a:pt x="38" y="11"/>
                    </a:cubicBezTo>
                    <a:cubicBezTo>
                      <a:pt x="38" y="11"/>
                      <a:pt x="38" y="12"/>
                      <a:pt x="39" y="12"/>
                    </a:cubicBezTo>
                    <a:cubicBezTo>
                      <a:pt x="39" y="12"/>
                      <a:pt x="39" y="12"/>
                      <a:pt x="39" y="12"/>
                    </a:cubicBezTo>
                    <a:cubicBezTo>
                      <a:pt x="39" y="11"/>
                      <a:pt x="40" y="12"/>
                      <a:pt x="40" y="12"/>
                    </a:cubicBezTo>
                    <a:cubicBezTo>
                      <a:pt x="40" y="11"/>
                      <a:pt x="40" y="11"/>
                      <a:pt x="40" y="12"/>
                    </a:cubicBezTo>
                    <a:cubicBezTo>
                      <a:pt x="40" y="13"/>
                      <a:pt x="41" y="12"/>
                      <a:pt x="41" y="12"/>
                    </a:cubicBezTo>
                    <a:cubicBezTo>
                      <a:pt x="41" y="13"/>
                      <a:pt x="41" y="13"/>
                      <a:pt x="42" y="13"/>
                    </a:cubicBezTo>
                    <a:cubicBezTo>
                      <a:pt x="42" y="12"/>
                      <a:pt x="42" y="13"/>
                      <a:pt x="42" y="12"/>
                    </a:cubicBezTo>
                    <a:cubicBezTo>
                      <a:pt x="42" y="11"/>
                      <a:pt x="43" y="11"/>
                      <a:pt x="44" y="11"/>
                    </a:cubicBezTo>
                    <a:cubicBezTo>
                      <a:pt x="44" y="10"/>
                      <a:pt x="44" y="11"/>
                      <a:pt x="45" y="11"/>
                    </a:cubicBezTo>
                    <a:cubicBezTo>
                      <a:pt x="45" y="11"/>
                      <a:pt x="45" y="10"/>
                      <a:pt x="46" y="10"/>
                    </a:cubicBezTo>
                    <a:cubicBezTo>
                      <a:pt x="46" y="10"/>
                      <a:pt x="48" y="9"/>
                      <a:pt x="48" y="9"/>
                    </a:cubicBezTo>
                    <a:cubicBezTo>
                      <a:pt x="49" y="9"/>
                      <a:pt x="51" y="9"/>
                      <a:pt x="52" y="9"/>
                    </a:cubicBezTo>
                    <a:cubicBezTo>
                      <a:pt x="52" y="9"/>
                      <a:pt x="52" y="9"/>
                      <a:pt x="52" y="10"/>
                    </a:cubicBezTo>
                    <a:cubicBezTo>
                      <a:pt x="52" y="10"/>
                      <a:pt x="52" y="10"/>
                      <a:pt x="52" y="10"/>
                    </a:cubicBezTo>
                    <a:cubicBezTo>
                      <a:pt x="53" y="10"/>
                      <a:pt x="53" y="9"/>
                      <a:pt x="53" y="9"/>
                    </a:cubicBezTo>
                    <a:cubicBezTo>
                      <a:pt x="53" y="9"/>
                      <a:pt x="53" y="10"/>
                      <a:pt x="53" y="10"/>
                    </a:cubicBezTo>
                    <a:cubicBezTo>
                      <a:pt x="53" y="10"/>
                      <a:pt x="53" y="10"/>
                      <a:pt x="54" y="10"/>
                    </a:cubicBezTo>
                    <a:cubicBezTo>
                      <a:pt x="54" y="11"/>
                      <a:pt x="54" y="11"/>
                      <a:pt x="54" y="11"/>
                    </a:cubicBezTo>
                    <a:cubicBezTo>
                      <a:pt x="55" y="11"/>
                      <a:pt x="55" y="11"/>
                      <a:pt x="55" y="12"/>
                    </a:cubicBezTo>
                    <a:cubicBezTo>
                      <a:pt x="56" y="13"/>
                      <a:pt x="56" y="14"/>
                      <a:pt x="57" y="14"/>
                    </a:cubicBezTo>
                    <a:cubicBezTo>
                      <a:pt x="57" y="15"/>
                      <a:pt x="57" y="15"/>
                      <a:pt x="58" y="14"/>
                    </a:cubicBezTo>
                    <a:cubicBezTo>
                      <a:pt x="58" y="15"/>
                      <a:pt x="57" y="16"/>
                      <a:pt x="58" y="16"/>
                    </a:cubicBezTo>
                    <a:cubicBezTo>
                      <a:pt x="58" y="16"/>
                      <a:pt x="57" y="18"/>
                      <a:pt x="57" y="18"/>
                    </a:cubicBezTo>
                    <a:cubicBezTo>
                      <a:pt x="57" y="19"/>
                      <a:pt x="58" y="19"/>
                      <a:pt x="58" y="19"/>
                    </a:cubicBezTo>
                    <a:cubicBezTo>
                      <a:pt x="58" y="20"/>
                      <a:pt x="59" y="21"/>
                      <a:pt x="58" y="22"/>
                    </a:cubicBezTo>
                    <a:cubicBezTo>
                      <a:pt x="59" y="22"/>
                      <a:pt x="59" y="25"/>
                      <a:pt x="59" y="26"/>
                    </a:cubicBezTo>
                    <a:cubicBezTo>
                      <a:pt x="59" y="26"/>
                      <a:pt x="60" y="27"/>
                      <a:pt x="60" y="28"/>
                    </a:cubicBezTo>
                    <a:cubicBezTo>
                      <a:pt x="60" y="29"/>
                      <a:pt x="59" y="28"/>
                      <a:pt x="59" y="29"/>
                    </a:cubicBezTo>
                    <a:close/>
                    <a:moveTo>
                      <a:pt x="52" y="62"/>
                    </a:moveTo>
                    <a:cubicBezTo>
                      <a:pt x="51" y="62"/>
                      <a:pt x="53" y="62"/>
                      <a:pt x="53" y="62"/>
                    </a:cubicBezTo>
                    <a:cubicBezTo>
                      <a:pt x="53" y="62"/>
                      <a:pt x="52" y="62"/>
                      <a:pt x="52" y="6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6" name="Costa Rica">
                <a:extLst>
                  <a:ext uri="{FF2B5EF4-FFF2-40B4-BE49-F238E27FC236}">
                    <a16:creationId xmlns:a16="http://schemas.microsoft.com/office/drawing/2014/main" id="{F9884084-F89B-341E-15EA-91D24107D3A2}"/>
                  </a:ext>
                </a:extLst>
              </p:cNvPr>
              <p:cNvSpPr>
                <a:spLocks/>
              </p:cNvSpPr>
              <p:nvPr/>
            </p:nvSpPr>
            <p:spPr bwMode="auto">
              <a:xfrm>
                <a:off x="2758152" y="3608175"/>
                <a:ext cx="113700" cy="123501"/>
              </a:xfrm>
              <a:custGeom>
                <a:avLst/>
                <a:gdLst/>
                <a:ahLst/>
                <a:cxnLst>
                  <a:cxn ang="0">
                    <a:pos x="29" y="16"/>
                  </a:cxn>
                  <a:cxn ang="0">
                    <a:pos x="27" y="13"/>
                  </a:cxn>
                  <a:cxn ang="0">
                    <a:pos x="25" y="11"/>
                  </a:cxn>
                  <a:cxn ang="0">
                    <a:pos x="23" y="7"/>
                  </a:cxn>
                  <a:cxn ang="0">
                    <a:pos x="23" y="5"/>
                  </a:cxn>
                  <a:cxn ang="0">
                    <a:pos x="22" y="4"/>
                  </a:cxn>
                  <a:cxn ang="0">
                    <a:pos x="23" y="4"/>
                  </a:cxn>
                  <a:cxn ang="0">
                    <a:pos x="22" y="5"/>
                  </a:cxn>
                  <a:cxn ang="0">
                    <a:pos x="19" y="5"/>
                  </a:cxn>
                  <a:cxn ang="0">
                    <a:pos x="16" y="3"/>
                  </a:cxn>
                  <a:cxn ang="0">
                    <a:pos x="16" y="3"/>
                  </a:cxn>
                  <a:cxn ang="0">
                    <a:pos x="14" y="2"/>
                  </a:cxn>
                  <a:cxn ang="0">
                    <a:pos x="11" y="3"/>
                  </a:cxn>
                  <a:cxn ang="0">
                    <a:pos x="5" y="1"/>
                  </a:cxn>
                  <a:cxn ang="0">
                    <a:pos x="3" y="2"/>
                  </a:cxn>
                  <a:cxn ang="0">
                    <a:pos x="2" y="3"/>
                  </a:cxn>
                  <a:cxn ang="0">
                    <a:pos x="1" y="3"/>
                  </a:cxn>
                  <a:cxn ang="0">
                    <a:pos x="1" y="3"/>
                  </a:cxn>
                  <a:cxn ang="0">
                    <a:pos x="2" y="4"/>
                  </a:cxn>
                  <a:cxn ang="0">
                    <a:pos x="2" y="4"/>
                  </a:cxn>
                  <a:cxn ang="0">
                    <a:pos x="3" y="6"/>
                  </a:cxn>
                  <a:cxn ang="0">
                    <a:pos x="1" y="9"/>
                  </a:cxn>
                  <a:cxn ang="0">
                    <a:pos x="1" y="12"/>
                  </a:cxn>
                  <a:cxn ang="0">
                    <a:pos x="3" y="15"/>
                  </a:cxn>
                  <a:cxn ang="0">
                    <a:pos x="6" y="16"/>
                  </a:cxn>
                  <a:cxn ang="0">
                    <a:pos x="7" y="18"/>
                  </a:cxn>
                  <a:cxn ang="0">
                    <a:pos x="8" y="17"/>
                  </a:cxn>
                  <a:cxn ang="0">
                    <a:pos x="9" y="16"/>
                  </a:cxn>
                  <a:cxn ang="0">
                    <a:pos x="9" y="15"/>
                  </a:cxn>
                  <a:cxn ang="0">
                    <a:pos x="7" y="13"/>
                  </a:cxn>
                  <a:cxn ang="0">
                    <a:pos x="6" y="12"/>
                  </a:cxn>
                  <a:cxn ang="0">
                    <a:pos x="6" y="10"/>
                  </a:cxn>
                  <a:cxn ang="0">
                    <a:pos x="8" y="12"/>
                  </a:cxn>
                  <a:cxn ang="0">
                    <a:pos x="10" y="14"/>
                  </a:cxn>
                  <a:cxn ang="0">
                    <a:pos x="11" y="15"/>
                  </a:cxn>
                  <a:cxn ang="0">
                    <a:pos x="11" y="17"/>
                  </a:cxn>
                  <a:cxn ang="0">
                    <a:pos x="16" y="19"/>
                  </a:cxn>
                  <a:cxn ang="0">
                    <a:pos x="17" y="20"/>
                  </a:cxn>
                  <a:cxn ang="0">
                    <a:pos x="20" y="22"/>
                  </a:cxn>
                  <a:cxn ang="0">
                    <a:pos x="21" y="25"/>
                  </a:cxn>
                  <a:cxn ang="0">
                    <a:pos x="21" y="26"/>
                  </a:cxn>
                  <a:cxn ang="0">
                    <a:pos x="21" y="27"/>
                  </a:cxn>
                  <a:cxn ang="0">
                    <a:pos x="20" y="28"/>
                  </a:cxn>
                  <a:cxn ang="0">
                    <a:pos x="21" y="30"/>
                  </a:cxn>
                  <a:cxn ang="0">
                    <a:pos x="24" y="31"/>
                  </a:cxn>
                  <a:cxn ang="0">
                    <a:pos x="22" y="28"/>
                  </a:cxn>
                  <a:cxn ang="0">
                    <a:pos x="24" y="28"/>
                  </a:cxn>
                  <a:cxn ang="0">
                    <a:pos x="25" y="29"/>
                  </a:cxn>
                  <a:cxn ang="0">
                    <a:pos x="26" y="30"/>
                  </a:cxn>
                  <a:cxn ang="0">
                    <a:pos x="27" y="33"/>
                  </a:cxn>
                  <a:cxn ang="0">
                    <a:pos x="27" y="35"/>
                  </a:cxn>
                  <a:cxn ang="0">
                    <a:pos x="28" y="31"/>
                  </a:cxn>
                  <a:cxn ang="0">
                    <a:pos x="28" y="27"/>
                  </a:cxn>
                  <a:cxn ang="0">
                    <a:pos x="29" y="26"/>
                  </a:cxn>
                  <a:cxn ang="0">
                    <a:pos x="28" y="24"/>
                  </a:cxn>
                  <a:cxn ang="0">
                    <a:pos x="29" y="19"/>
                  </a:cxn>
                  <a:cxn ang="0">
                    <a:pos x="30" y="19"/>
                  </a:cxn>
                  <a:cxn ang="0">
                    <a:pos x="32" y="18"/>
                  </a:cxn>
                </a:cxnLst>
                <a:rect l="0" t="0" r="r" b="b"/>
                <a:pathLst>
                  <a:path w="32" h="35">
                    <a:moveTo>
                      <a:pt x="31" y="17"/>
                    </a:moveTo>
                    <a:cubicBezTo>
                      <a:pt x="30" y="17"/>
                      <a:pt x="29" y="17"/>
                      <a:pt x="29" y="16"/>
                    </a:cubicBezTo>
                    <a:cubicBezTo>
                      <a:pt x="29" y="17"/>
                      <a:pt x="28" y="15"/>
                      <a:pt x="28" y="14"/>
                    </a:cubicBezTo>
                    <a:cubicBezTo>
                      <a:pt x="28" y="14"/>
                      <a:pt x="28" y="13"/>
                      <a:pt x="27" y="13"/>
                    </a:cubicBezTo>
                    <a:cubicBezTo>
                      <a:pt x="27" y="13"/>
                      <a:pt x="27" y="13"/>
                      <a:pt x="26" y="12"/>
                    </a:cubicBezTo>
                    <a:cubicBezTo>
                      <a:pt x="26" y="12"/>
                      <a:pt x="25" y="11"/>
                      <a:pt x="25" y="11"/>
                    </a:cubicBezTo>
                    <a:cubicBezTo>
                      <a:pt x="25" y="10"/>
                      <a:pt x="24" y="9"/>
                      <a:pt x="24" y="9"/>
                    </a:cubicBezTo>
                    <a:cubicBezTo>
                      <a:pt x="24" y="8"/>
                      <a:pt x="23" y="8"/>
                      <a:pt x="23" y="7"/>
                    </a:cubicBezTo>
                    <a:cubicBezTo>
                      <a:pt x="23" y="6"/>
                      <a:pt x="23" y="6"/>
                      <a:pt x="23" y="5"/>
                    </a:cubicBezTo>
                    <a:cubicBezTo>
                      <a:pt x="23" y="5"/>
                      <a:pt x="23" y="5"/>
                      <a:pt x="23" y="5"/>
                    </a:cubicBezTo>
                    <a:cubicBezTo>
                      <a:pt x="23" y="5"/>
                      <a:pt x="22" y="5"/>
                      <a:pt x="22" y="5"/>
                    </a:cubicBezTo>
                    <a:cubicBezTo>
                      <a:pt x="23" y="5"/>
                      <a:pt x="22" y="4"/>
                      <a:pt x="22" y="4"/>
                    </a:cubicBezTo>
                    <a:cubicBezTo>
                      <a:pt x="23" y="4"/>
                      <a:pt x="23" y="5"/>
                      <a:pt x="23" y="5"/>
                    </a:cubicBezTo>
                    <a:cubicBezTo>
                      <a:pt x="23" y="5"/>
                      <a:pt x="23" y="4"/>
                      <a:pt x="23" y="4"/>
                    </a:cubicBezTo>
                    <a:cubicBezTo>
                      <a:pt x="23" y="3"/>
                      <a:pt x="22" y="3"/>
                      <a:pt x="22" y="3"/>
                    </a:cubicBezTo>
                    <a:cubicBezTo>
                      <a:pt x="22" y="4"/>
                      <a:pt x="22" y="4"/>
                      <a:pt x="22" y="5"/>
                    </a:cubicBezTo>
                    <a:cubicBezTo>
                      <a:pt x="21" y="5"/>
                      <a:pt x="21" y="5"/>
                      <a:pt x="20" y="5"/>
                    </a:cubicBezTo>
                    <a:cubicBezTo>
                      <a:pt x="19" y="6"/>
                      <a:pt x="19" y="5"/>
                      <a:pt x="19" y="5"/>
                    </a:cubicBezTo>
                    <a:cubicBezTo>
                      <a:pt x="18" y="5"/>
                      <a:pt x="18" y="5"/>
                      <a:pt x="17" y="5"/>
                    </a:cubicBezTo>
                    <a:cubicBezTo>
                      <a:pt x="16" y="4"/>
                      <a:pt x="17" y="4"/>
                      <a:pt x="16" y="3"/>
                    </a:cubicBezTo>
                    <a:cubicBezTo>
                      <a:pt x="16" y="3"/>
                      <a:pt x="16" y="3"/>
                      <a:pt x="16" y="3"/>
                    </a:cubicBezTo>
                    <a:cubicBezTo>
                      <a:pt x="16" y="3"/>
                      <a:pt x="16" y="3"/>
                      <a:pt x="16" y="3"/>
                    </a:cubicBezTo>
                    <a:cubicBezTo>
                      <a:pt x="15" y="2"/>
                      <a:pt x="15" y="3"/>
                      <a:pt x="15" y="3"/>
                    </a:cubicBezTo>
                    <a:cubicBezTo>
                      <a:pt x="15" y="3"/>
                      <a:pt x="14" y="3"/>
                      <a:pt x="14" y="2"/>
                    </a:cubicBezTo>
                    <a:cubicBezTo>
                      <a:pt x="14" y="2"/>
                      <a:pt x="13" y="2"/>
                      <a:pt x="13" y="2"/>
                    </a:cubicBezTo>
                    <a:cubicBezTo>
                      <a:pt x="12" y="2"/>
                      <a:pt x="12" y="2"/>
                      <a:pt x="11" y="3"/>
                    </a:cubicBezTo>
                    <a:cubicBezTo>
                      <a:pt x="10" y="3"/>
                      <a:pt x="10" y="3"/>
                      <a:pt x="9" y="3"/>
                    </a:cubicBezTo>
                    <a:cubicBezTo>
                      <a:pt x="8" y="2"/>
                      <a:pt x="6" y="1"/>
                      <a:pt x="5" y="1"/>
                    </a:cubicBezTo>
                    <a:cubicBezTo>
                      <a:pt x="4" y="1"/>
                      <a:pt x="4" y="0"/>
                      <a:pt x="3" y="0"/>
                    </a:cubicBezTo>
                    <a:cubicBezTo>
                      <a:pt x="3" y="1"/>
                      <a:pt x="3" y="1"/>
                      <a:pt x="3" y="2"/>
                    </a:cubicBezTo>
                    <a:cubicBezTo>
                      <a:pt x="3" y="2"/>
                      <a:pt x="2" y="2"/>
                      <a:pt x="2" y="2"/>
                    </a:cubicBezTo>
                    <a:cubicBezTo>
                      <a:pt x="2" y="2"/>
                      <a:pt x="3" y="3"/>
                      <a:pt x="2" y="3"/>
                    </a:cubicBezTo>
                    <a:cubicBezTo>
                      <a:pt x="2" y="3"/>
                      <a:pt x="2" y="3"/>
                      <a:pt x="2" y="3"/>
                    </a:cubicBezTo>
                    <a:cubicBezTo>
                      <a:pt x="2" y="3"/>
                      <a:pt x="2" y="3"/>
                      <a:pt x="1" y="3"/>
                    </a:cubicBezTo>
                    <a:cubicBezTo>
                      <a:pt x="1" y="3"/>
                      <a:pt x="1" y="3"/>
                      <a:pt x="1" y="3"/>
                    </a:cubicBezTo>
                    <a:cubicBezTo>
                      <a:pt x="1" y="3"/>
                      <a:pt x="1" y="3"/>
                      <a:pt x="1" y="3"/>
                    </a:cubicBezTo>
                    <a:cubicBezTo>
                      <a:pt x="1" y="3"/>
                      <a:pt x="0" y="3"/>
                      <a:pt x="0" y="4"/>
                    </a:cubicBezTo>
                    <a:cubicBezTo>
                      <a:pt x="0" y="4"/>
                      <a:pt x="1" y="4"/>
                      <a:pt x="2" y="4"/>
                    </a:cubicBezTo>
                    <a:cubicBezTo>
                      <a:pt x="2" y="4"/>
                      <a:pt x="1" y="4"/>
                      <a:pt x="1" y="4"/>
                    </a:cubicBezTo>
                    <a:cubicBezTo>
                      <a:pt x="2" y="4"/>
                      <a:pt x="2" y="4"/>
                      <a:pt x="2" y="4"/>
                    </a:cubicBezTo>
                    <a:cubicBezTo>
                      <a:pt x="3" y="5"/>
                      <a:pt x="3" y="6"/>
                      <a:pt x="2" y="7"/>
                    </a:cubicBezTo>
                    <a:cubicBezTo>
                      <a:pt x="2" y="7"/>
                      <a:pt x="3" y="6"/>
                      <a:pt x="3" y="6"/>
                    </a:cubicBezTo>
                    <a:cubicBezTo>
                      <a:pt x="3" y="7"/>
                      <a:pt x="1" y="7"/>
                      <a:pt x="1" y="8"/>
                    </a:cubicBezTo>
                    <a:cubicBezTo>
                      <a:pt x="1" y="9"/>
                      <a:pt x="1" y="9"/>
                      <a:pt x="1" y="9"/>
                    </a:cubicBezTo>
                    <a:cubicBezTo>
                      <a:pt x="0" y="9"/>
                      <a:pt x="1" y="9"/>
                      <a:pt x="1" y="10"/>
                    </a:cubicBezTo>
                    <a:cubicBezTo>
                      <a:pt x="1" y="11"/>
                      <a:pt x="0" y="11"/>
                      <a:pt x="1" y="12"/>
                    </a:cubicBezTo>
                    <a:cubicBezTo>
                      <a:pt x="1" y="12"/>
                      <a:pt x="1" y="13"/>
                      <a:pt x="2" y="13"/>
                    </a:cubicBezTo>
                    <a:cubicBezTo>
                      <a:pt x="2" y="14"/>
                      <a:pt x="2" y="14"/>
                      <a:pt x="3" y="15"/>
                    </a:cubicBezTo>
                    <a:cubicBezTo>
                      <a:pt x="3" y="15"/>
                      <a:pt x="3" y="15"/>
                      <a:pt x="4" y="15"/>
                    </a:cubicBezTo>
                    <a:cubicBezTo>
                      <a:pt x="4" y="15"/>
                      <a:pt x="5" y="15"/>
                      <a:pt x="6" y="16"/>
                    </a:cubicBezTo>
                    <a:cubicBezTo>
                      <a:pt x="6" y="16"/>
                      <a:pt x="6" y="17"/>
                      <a:pt x="7" y="17"/>
                    </a:cubicBezTo>
                    <a:cubicBezTo>
                      <a:pt x="7" y="18"/>
                      <a:pt x="7" y="19"/>
                      <a:pt x="7" y="18"/>
                    </a:cubicBezTo>
                    <a:cubicBezTo>
                      <a:pt x="8" y="18"/>
                      <a:pt x="8" y="17"/>
                      <a:pt x="8" y="17"/>
                    </a:cubicBezTo>
                    <a:cubicBezTo>
                      <a:pt x="8" y="17"/>
                      <a:pt x="8" y="17"/>
                      <a:pt x="8" y="17"/>
                    </a:cubicBezTo>
                    <a:cubicBezTo>
                      <a:pt x="8" y="16"/>
                      <a:pt x="8" y="16"/>
                      <a:pt x="8" y="16"/>
                    </a:cubicBezTo>
                    <a:cubicBezTo>
                      <a:pt x="8" y="16"/>
                      <a:pt x="9" y="16"/>
                      <a:pt x="9" y="16"/>
                    </a:cubicBezTo>
                    <a:cubicBezTo>
                      <a:pt x="9" y="16"/>
                      <a:pt x="10" y="15"/>
                      <a:pt x="10" y="15"/>
                    </a:cubicBezTo>
                    <a:cubicBezTo>
                      <a:pt x="10" y="15"/>
                      <a:pt x="9" y="15"/>
                      <a:pt x="9" y="15"/>
                    </a:cubicBezTo>
                    <a:cubicBezTo>
                      <a:pt x="9" y="15"/>
                      <a:pt x="10" y="14"/>
                      <a:pt x="9" y="14"/>
                    </a:cubicBezTo>
                    <a:cubicBezTo>
                      <a:pt x="8" y="14"/>
                      <a:pt x="7" y="14"/>
                      <a:pt x="7" y="13"/>
                    </a:cubicBezTo>
                    <a:cubicBezTo>
                      <a:pt x="7" y="13"/>
                      <a:pt x="7" y="13"/>
                      <a:pt x="7" y="13"/>
                    </a:cubicBezTo>
                    <a:cubicBezTo>
                      <a:pt x="7" y="13"/>
                      <a:pt x="6" y="12"/>
                      <a:pt x="6" y="12"/>
                    </a:cubicBezTo>
                    <a:cubicBezTo>
                      <a:pt x="6" y="11"/>
                      <a:pt x="6" y="11"/>
                      <a:pt x="6" y="11"/>
                    </a:cubicBezTo>
                    <a:cubicBezTo>
                      <a:pt x="6" y="11"/>
                      <a:pt x="6" y="10"/>
                      <a:pt x="6" y="10"/>
                    </a:cubicBezTo>
                    <a:cubicBezTo>
                      <a:pt x="6" y="11"/>
                      <a:pt x="6" y="11"/>
                      <a:pt x="7" y="11"/>
                    </a:cubicBezTo>
                    <a:cubicBezTo>
                      <a:pt x="7" y="12"/>
                      <a:pt x="7" y="11"/>
                      <a:pt x="8" y="12"/>
                    </a:cubicBezTo>
                    <a:cubicBezTo>
                      <a:pt x="9" y="12"/>
                      <a:pt x="9" y="13"/>
                      <a:pt x="10" y="14"/>
                    </a:cubicBezTo>
                    <a:cubicBezTo>
                      <a:pt x="10" y="14"/>
                      <a:pt x="10" y="14"/>
                      <a:pt x="10" y="14"/>
                    </a:cubicBezTo>
                    <a:cubicBezTo>
                      <a:pt x="10" y="14"/>
                      <a:pt x="11" y="14"/>
                      <a:pt x="11" y="14"/>
                    </a:cubicBezTo>
                    <a:cubicBezTo>
                      <a:pt x="11" y="14"/>
                      <a:pt x="11" y="14"/>
                      <a:pt x="11" y="15"/>
                    </a:cubicBezTo>
                    <a:cubicBezTo>
                      <a:pt x="11" y="15"/>
                      <a:pt x="12" y="15"/>
                      <a:pt x="12" y="16"/>
                    </a:cubicBezTo>
                    <a:cubicBezTo>
                      <a:pt x="12" y="16"/>
                      <a:pt x="11" y="17"/>
                      <a:pt x="11" y="17"/>
                    </a:cubicBezTo>
                    <a:cubicBezTo>
                      <a:pt x="12" y="18"/>
                      <a:pt x="12" y="19"/>
                      <a:pt x="13" y="19"/>
                    </a:cubicBezTo>
                    <a:cubicBezTo>
                      <a:pt x="14" y="19"/>
                      <a:pt x="15" y="19"/>
                      <a:pt x="16" y="19"/>
                    </a:cubicBezTo>
                    <a:cubicBezTo>
                      <a:pt x="15" y="19"/>
                      <a:pt x="16" y="19"/>
                      <a:pt x="16" y="20"/>
                    </a:cubicBezTo>
                    <a:cubicBezTo>
                      <a:pt x="16" y="20"/>
                      <a:pt x="17" y="20"/>
                      <a:pt x="17" y="20"/>
                    </a:cubicBezTo>
                    <a:cubicBezTo>
                      <a:pt x="18" y="21"/>
                      <a:pt x="18" y="21"/>
                      <a:pt x="18" y="21"/>
                    </a:cubicBezTo>
                    <a:cubicBezTo>
                      <a:pt x="19" y="22"/>
                      <a:pt x="19" y="22"/>
                      <a:pt x="20" y="22"/>
                    </a:cubicBezTo>
                    <a:cubicBezTo>
                      <a:pt x="20" y="23"/>
                      <a:pt x="21" y="24"/>
                      <a:pt x="21" y="25"/>
                    </a:cubicBezTo>
                    <a:cubicBezTo>
                      <a:pt x="21" y="25"/>
                      <a:pt x="21" y="25"/>
                      <a:pt x="21" y="25"/>
                    </a:cubicBezTo>
                    <a:cubicBezTo>
                      <a:pt x="21" y="25"/>
                      <a:pt x="22" y="26"/>
                      <a:pt x="21" y="26"/>
                    </a:cubicBezTo>
                    <a:cubicBezTo>
                      <a:pt x="21" y="26"/>
                      <a:pt x="21" y="26"/>
                      <a:pt x="21" y="26"/>
                    </a:cubicBezTo>
                    <a:cubicBezTo>
                      <a:pt x="21" y="26"/>
                      <a:pt x="21" y="26"/>
                      <a:pt x="21" y="26"/>
                    </a:cubicBezTo>
                    <a:cubicBezTo>
                      <a:pt x="21" y="26"/>
                      <a:pt x="21" y="26"/>
                      <a:pt x="21" y="27"/>
                    </a:cubicBezTo>
                    <a:cubicBezTo>
                      <a:pt x="21" y="27"/>
                      <a:pt x="21" y="27"/>
                      <a:pt x="21" y="27"/>
                    </a:cubicBezTo>
                    <a:cubicBezTo>
                      <a:pt x="21" y="27"/>
                      <a:pt x="21" y="28"/>
                      <a:pt x="20" y="28"/>
                    </a:cubicBezTo>
                    <a:cubicBezTo>
                      <a:pt x="20" y="28"/>
                      <a:pt x="20" y="29"/>
                      <a:pt x="20" y="29"/>
                    </a:cubicBezTo>
                    <a:cubicBezTo>
                      <a:pt x="20" y="29"/>
                      <a:pt x="21" y="30"/>
                      <a:pt x="21" y="30"/>
                    </a:cubicBezTo>
                    <a:cubicBezTo>
                      <a:pt x="22" y="31"/>
                      <a:pt x="23" y="31"/>
                      <a:pt x="23" y="31"/>
                    </a:cubicBezTo>
                    <a:cubicBezTo>
                      <a:pt x="23" y="31"/>
                      <a:pt x="24" y="31"/>
                      <a:pt x="24" y="31"/>
                    </a:cubicBezTo>
                    <a:cubicBezTo>
                      <a:pt x="24" y="31"/>
                      <a:pt x="24" y="30"/>
                      <a:pt x="24" y="30"/>
                    </a:cubicBezTo>
                    <a:cubicBezTo>
                      <a:pt x="24" y="29"/>
                      <a:pt x="22" y="29"/>
                      <a:pt x="22" y="28"/>
                    </a:cubicBezTo>
                    <a:cubicBezTo>
                      <a:pt x="22" y="28"/>
                      <a:pt x="23" y="27"/>
                      <a:pt x="23" y="27"/>
                    </a:cubicBezTo>
                    <a:cubicBezTo>
                      <a:pt x="24" y="27"/>
                      <a:pt x="24" y="28"/>
                      <a:pt x="24" y="28"/>
                    </a:cubicBezTo>
                    <a:cubicBezTo>
                      <a:pt x="25" y="28"/>
                      <a:pt x="26" y="28"/>
                      <a:pt x="26" y="29"/>
                    </a:cubicBezTo>
                    <a:cubicBezTo>
                      <a:pt x="26" y="29"/>
                      <a:pt x="25" y="29"/>
                      <a:pt x="25" y="29"/>
                    </a:cubicBezTo>
                    <a:cubicBezTo>
                      <a:pt x="25" y="29"/>
                      <a:pt x="26" y="29"/>
                      <a:pt x="26" y="29"/>
                    </a:cubicBezTo>
                    <a:cubicBezTo>
                      <a:pt x="25" y="29"/>
                      <a:pt x="26" y="30"/>
                      <a:pt x="26" y="30"/>
                    </a:cubicBezTo>
                    <a:cubicBezTo>
                      <a:pt x="26" y="31"/>
                      <a:pt x="25" y="31"/>
                      <a:pt x="25" y="31"/>
                    </a:cubicBezTo>
                    <a:cubicBezTo>
                      <a:pt x="26" y="32"/>
                      <a:pt x="27" y="32"/>
                      <a:pt x="27" y="33"/>
                    </a:cubicBezTo>
                    <a:cubicBezTo>
                      <a:pt x="27" y="33"/>
                      <a:pt x="27" y="34"/>
                      <a:pt x="27" y="34"/>
                    </a:cubicBezTo>
                    <a:cubicBezTo>
                      <a:pt x="27" y="34"/>
                      <a:pt x="27" y="35"/>
                      <a:pt x="27" y="35"/>
                    </a:cubicBezTo>
                    <a:cubicBezTo>
                      <a:pt x="28" y="34"/>
                      <a:pt x="28" y="33"/>
                      <a:pt x="27" y="32"/>
                    </a:cubicBezTo>
                    <a:cubicBezTo>
                      <a:pt x="26" y="32"/>
                      <a:pt x="27" y="31"/>
                      <a:pt x="28" y="31"/>
                    </a:cubicBezTo>
                    <a:cubicBezTo>
                      <a:pt x="28" y="30"/>
                      <a:pt x="29" y="29"/>
                      <a:pt x="28" y="28"/>
                    </a:cubicBezTo>
                    <a:cubicBezTo>
                      <a:pt x="28" y="28"/>
                      <a:pt x="28" y="28"/>
                      <a:pt x="28" y="27"/>
                    </a:cubicBezTo>
                    <a:cubicBezTo>
                      <a:pt x="28" y="27"/>
                      <a:pt x="28" y="27"/>
                      <a:pt x="28" y="26"/>
                    </a:cubicBezTo>
                    <a:cubicBezTo>
                      <a:pt x="28" y="26"/>
                      <a:pt x="29" y="26"/>
                      <a:pt x="29" y="26"/>
                    </a:cubicBezTo>
                    <a:cubicBezTo>
                      <a:pt x="29" y="26"/>
                      <a:pt x="30" y="25"/>
                      <a:pt x="30" y="25"/>
                    </a:cubicBezTo>
                    <a:cubicBezTo>
                      <a:pt x="30" y="24"/>
                      <a:pt x="28" y="23"/>
                      <a:pt x="28" y="24"/>
                    </a:cubicBezTo>
                    <a:cubicBezTo>
                      <a:pt x="28" y="22"/>
                      <a:pt x="28" y="21"/>
                      <a:pt x="28" y="20"/>
                    </a:cubicBezTo>
                    <a:cubicBezTo>
                      <a:pt x="28" y="19"/>
                      <a:pt x="28" y="19"/>
                      <a:pt x="29" y="19"/>
                    </a:cubicBezTo>
                    <a:cubicBezTo>
                      <a:pt x="29" y="19"/>
                      <a:pt x="29" y="18"/>
                      <a:pt x="29" y="18"/>
                    </a:cubicBezTo>
                    <a:cubicBezTo>
                      <a:pt x="29" y="17"/>
                      <a:pt x="30" y="19"/>
                      <a:pt x="30" y="19"/>
                    </a:cubicBezTo>
                    <a:cubicBezTo>
                      <a:pt x="31" y="19"/>
                      <a:pt x="31" y="19"/>
                      <a:pt x="31" y="19"/>
                    </a:cubicBezTo>
                    <a:cubicBezTo>
                      <a:pt x="31" y="18"/>
                      <a:pt x="32" y="18"/>
                      <a:pt x="32" y="18"/>
                    </a:cubicBezTo>
                    <a:cubicBezTo>
                      <a:pt x="32" y="18"/>
                      <a:pt x="31" y="17"/>
                      <a:pt x="31" y="1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7" name="Cook Islands (NZ)">
                <a:extLst>
                  <a:ext uri="{FF2B5EF4-FFF2-40B4-BE49-F238E27FC236}">
                    <a16:creationId xmlns:a16="http://schemas.microsoft.com/office/drawing/2014/main" id="{71DB0AD7-07F8-C5F6-75C6-750B3AD29258}"/>
                  </a:ext>
                </a:extLst>
              </p:cNvPr>
              <p:cNvSpPr/>
              <p:nvPr/>
            </p:nvSpPr>
            <p:spPr>
              <a:xfrm>
                <a:off x="391134" y="4295983"/>
                <a:ext cx="297330" cy="418686"/>
              </a:xfrm>
              <a:custGeom>
                <a:avLst/>
                <a:gdLst>
                  <a:gd name="connsiteX0" fmla="*/ 11949 w 297330"/>
                  <a:gd name="connsiteY0" fmla="*/ 32613 h 418686"/>
                  <a:gd name="connsiteX1" fmla="*/ 1256 w 297330"/>
                  <a:gd name="connsiteY1" fmla="*/ 34751 h 418686"/>
                  <a:gd name="connsiteX2" fmla="*/ 4998 w 297330"/>
                  <a:gd name="connsiteY2" fmla="*/ 28336 h 418686"/>
                  <a:gd name="connsiteX3" fmla="*/ 11949 w 297330"/>
                  <a:gd name="connsiteY3" fmla="*/ 32613 h 418686"/>
                  <a:gd name="connsiteX4" fmla="*/ 16760 w 297330"/>
                  <a:gd name="connsiteY4" fmla="*/ 53998 h 418686"/>
                  <a:gd name="connsiteX5" fmla="*/ 17830 w 297330"/>
                  <a:gd name="connsiteY5" fmla="*/ 58275 h 418686"/>
                  <a:gd name="connsiteX6" fmla="*/ 23711 w 297330"/>
                  <a:gd name="connsiteY6" fmla="*/ 57741 h 418686"/>
                  <a:gd name="connsiteX7" fmla="*/ 21572 w 297330"/>
                  <a:gd name="connsiteY7" fmla="*/ 49187 h 418686"/>
                  <a:gd name="connsiteX8" fmla="*/ 16760 w 297330"/>
                  <a:gd name="connsiteY8" fmla="*/ 53998 h 418686"/>
                  <a:gd name="connsiteX9" fmla="*/ 94282 w 297330"/>
                  <a:gd name="connsiteY9" fmla="*/ 274268 h 418686"/>
                  <a:gd name="connsiteX10" fmla="*/ 90540 w 297330"/>
                  <a:gd name="connsiteY10" fmla="*/ 279615 h 418686"/>
                  <a:gd name="connsiteX11" fmla="*/ 99629 w 297330"/>
                  <a:gd name="connsiteY11" fmla="*/ 274803 h 418686"/>
                  <a:gd name="connsiteX12" fmla="*/ 94282 w 297330"/>
                  <a:gd name="connsiteY12" fmla="*/ 274268 h 418686"/>
                  <a:gd name="connsiteX13" fmla="*/ 162181 w 297330"/>
                  <a:gd name="connsiteY13" fmla="*/ 1069 h 418686"/>
                  <a:gd name="connsiteX14" fmla="*/ 162181 w 297330"/>
                  <a:gd name="connsiteY14" fmla="*/ 6950 h 418686"/>
                  <a:gd name="connsiteX15" fmla="*/ 166993 w 297330"/>
                  <a:gd name="connsiteY15" fmla="*/ 4812 h 418686"/>
                  <a:gd name="connsiteX16" fmla="*/ 165924 w 297330"/>
                  <a:gd name="connsiteY16" fmla="*/ 0 h 418686"/>
                  <a:gd name="connsiteX17" fmla="*/ 162181 w 297330"/>
                  <a:gd name="connsiteY17" fmla="*/ 1069 h 418686"/>
                  <a:gd name="connsiteX18" fmla="*/ 163251 w 297330"/>
                  <a:gd name="connsiteY18" fmla="*/ 17108 h 418686"/>
                  <a:gd name="connsiteX19" fmla="*/ 167528 w 297330"/>
                  <a:gd name="connsiteY19" fmla="*/ 22455 h 418686"/>
                  <a:gd name="connsiteX20" fmla="*/ 168062 w 297330"/>
                  <a:gd name="connsiteY20" fmla="*/ 14970 h 418686"/>
                  <a:gd name="connsiteX21" fmla="*/ 163251 w 297330"/>
                  <a:gd name="connsiteY21" fmla="*/ 17108 h 418686"/>
                  <a:gd name="connsiteX22" fmla="*/ 204952 w 297330"/>
                  <a:gd name="connsiteY22" fmla="*/ 300465 h 418686"/>
                  <a:gd name="connsiteX23" fmla="*/ 199606 w 297330"/>
                  <a:gd name="connsiteY23" fmla="*/ 304742 h 418686"/>
                  <a:gd name="connsiteX24" fmla="*/ 207091 w 297330"/>
                  <a:gd name="connsiteY24" fmla="*/ 308485 h 418686"/>
                  <a:gd name="connsiteX25" fmla="*/ 211902 w 297330"/>
                  <a:gd name="connsiteY25" fmla="*/ 307416 h 418686"/>
                  <a:gd name="connsiteX26" fmla="*/ 211368 w 297330"/>
                  <a:gd name="connsiteY26" fmla="*/ 302069 h 418686"/>
                  <a:gd name="connsiteX27" fmla="*/ 204952 w 297330"/>
                  <a:gd name="connsiteY27" fmla="*/ 300465 h 418686"/>
                  <a:gd name="connsiteX28" fmla="*/ 234892 w 297330"/>
                  <a:gd name="connsiteY28" fmla="*/ 315435 h 418686"/>
                  <a:gd name="connsiteX29" fmla="*/ 230615 w 297330"/>
                  <a:gd name="connsiteY29" fmla="*/ 319712 h 418686"/>
                  <a:gd name="connsiteX30" fmla="*/ 234357 w 297330"/>
                  <a:gd name="connsiteY30" fmla="*/ 321851 h 418686"/>
                  <a:gd name="connsiteX31" fmla="*/ 240238 w 297330"/>
                  <a:gd name="connsiteY31" fmla="*/ 319178 h 418686"/>
                  <a:gd name="connsiteX32" fmla="*/ 234892 w 297330"/>
                  <a:gd name="connsiteY32" fmla="*/ 315435 h 418686"/>
                  <a:gd name="connsiteX33" fmla="*/ 258950 w 297330"/>
                  <a:gd name="connsiteY33" fmla="*/ 336286 h 418686"/>
                  <a:gd name="connsiteX34" fmla="*/ 253604 w 297330"/>
                  <a:gd name="connsiteY34" fmla="*/ 340028 h 418686"/>
                  <a:gd name="connsiteX35" fmla="*/ 261089 w 297330"/>
                  <a:gd name="connsiteY35" fmla="*/ 340563 h 418686"/>
                  <a:gd name="connsiteX36" fmla="*/ 258950 w 297330"/>
                  <a:gd name="connsiteY36" fmla="*/ 336286 h 418686"/>
                  <a:gd name="connsiteX37" fmla="*/ 204417 w 297330"/>
                  <a:gd name="connsiteY37" fmla="*/ 383334 h 418686"/>
                  <a:gd name="connsiteX38" fmla="*/ 202814 w 297330"/>
                  <a:gd name="connsiteY38" fmla="*/ 390819 h 418686"/>
                  <a:gd name="connsiteX39" fmla="*/ 209229 w 297330"/>
                  <a:gd name="connsiteY39" fmla="*/ 393492 h 418686"/>
                  <a:gd name="connsiteX40" fmla="*/ 215645 w 297330"/>
                  <a:gd name="connsiteY40" fmla="*/ 390819 h 418686"/>
                  <a:gd name="connsiteX41" fmla="*/ 211368 w 297330"/>
                  <a:gd name="connsiteY41" fmla="*/ 381730 h 418686"/>
                  <a:gd name="connsiteX42" fmla="*/ 204417 w 297330"/>
                  <a:gd name="connsiteY42" fmla="*/ 383334 h 418686"/>
                  <a:gd name="connsiteX43" fmla="*/ 267504 w 297330"/>
                  <a:gd name="connsiteY43" fmla="*/ 407393 h 418686"/>
                  <a:gd name="connsiteX44" fmla="*/ 263227 w 297330"/>
                  <a:gd name="connsiteY44" fmla="*/ 413274 h 418686"/>
                  <a:gd name="connsiteX45" fmla="*/ 272316 w 297330"/>
                  <a:gd name="connsiteY45" fmla="*/ 417551 h 418686"/>
                  <a:gd name="connsiteX46" fmla="*/ 276059 w 297330"/>
                  <a:gd name="connsiteY46" fmla="*/ 408462 h 418686"/>
                  <a:gd name="connsiteX47" fmla="*/ 267504 w 297330"/>
                  <a:gd name="connsiteY47" fmla="*/ 407393 h 418686"/>
                  <a:gd name="connsiteX48" fmla="*/ 286751 w 297330"/>
                  <a:gd name="connsiteY48" fmla="*/ 347513 h 418686"/>
                  <a:gd name="connsiteX49" fmla="*/ 286217 w 297330"/>
                  <a:gd name="connsiteY49" fmla="*/ 354464 h 418686"/>
                  <a:gd name="connsiteX50" fmla="*/ 295306 w 297330"/>
                  <a:gd name="connsiteY50" fmla="*/ 352860 h 418686"/>
                  <a:gd name="connsiteX51" fmla="*/ 295306 w 297330"/>
                  <a:gd name="connsiteY51" fmla="*/ 345909 h 418686"/>
                  <a:gd name="connsiteX52" fmla="*/ 286751 w 297330"/>
                  <a:gd name="connsiteY52" fmla="*/ 347513 h 418686"/>
                  <a:gd name="connsiteX53" fmla="*/ 272851 w 297330"/>
                  <a:gd name="connsiteY53" fmla="*/ 334147 h 418686"/>
                  <a:gd name="connsiteX54" fmla="*/ 276593 w 297330"/>
                  <a:gd name="connsiteY54" fmla="*/ 341098 h 418686"/>
                  <a:gd name="connsiteX55" fmla="*/ 278732 w 297330"/>
                  <a:gd name="connsiteY55" fmla="*/ 330405 h 418686"/>
                  <a:gd name="connsiteX56" fmla="*/ 272851 w 297330"/>
                  <a:gd name="connsiteY56" fmla="*/ 334147 h 418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97330" h="418686">
                    <a:moveTo>
                      <a:pt x="11949" y="32613"/>
                    </a:moveTo>
                    <a:cubicBezTo>
                      <a:pt x="12483" y="34751"/>
                      <a:pt x="5533" y="38494"/>
                      <a:pt x="1256" y="34751"/>
                    </a:cubicBezTo>
                    <a:cubicBezTo>
                      <a:pt x="-3021" y="30474"/>
                      <a:pt x="4998" y="28336"/>
                      <a:pt x="4998" y="28336"/>
                    </a:cubicBezTo>
                    <a:cubicBezTo>
                      <a:pt x="4998" y="28336"/>
                      <a:pt x="11414" y="30474"/>
                      <a:pt x="11949" y="32613"/>
                    </a:cubicBezTo>
                    <a:close/>
                    <a:moveTo>
                      <a:pt x="16760" y="53998"/>
                    </a:moveTo>
                    <a:cubicBezTo>
                      <a:pt x="15691" y="57206"/>
                      <a:pt x="16760" y="56671"/>
                      <a:pt x="17830" y="58275"/>
                    </a:cubicBezTo>
                    <a:cubicBezTo>
                      <a:pt x="18364" y="59879"/>
                      <a:pt x="22107" y="60414"/>
                      <a:pt x="23711" y="57741"/>
                    </a:cubicBezTo>
                    <a:cubicBezTo>
                      <a:pt x="23176" y="53998"/>
                      <a:pt x="26384" y="49187"/>
                      <a:pt x="21572" y="49187"/>
                    </a:cubicBezTo>
                    <a:cubicBezTo>
                      <a:pt x="16226" y="49187"/>
                      <a:pt x="16760" y="53998"/>
                      <a:pt x="16760" y="53998"/>
                    </a:cubicBezTo>
                    <a:close/>
                    <a:moveTo>
                      <a:pt x="94282" y="274268"/>
                    </a:moveTo>
                    <a:cubicBezTo>
                      <a:pt x="91075" y="274268"/>
                      <a:pt x="88402" y="277476"/>
                      <a:pt x="90540" y="279615"/>
                    </a:cubicBezTo>
                    <a:cubicBezTo>
                      <a:pt x="92679" y="281753"/>
                      <a:pt x="101767" y="276407"/>
                      <a:pt x="99629" y="274803"/>
                    </a:cubicBezTo>
                    <a:cubicBezTo>
                      <a:pt x="97490" y="273199"/>
                      <a:pt x="94282" y="274268"/>
                      <a:pt x="94282" y="274268"/>
                    </a:cubicBezTo>
                    <a:close/>
                    <a:moveTo>
                      <a:pt x="162181" y="1069"/>
                    </a:moveTo>
                    <a:cubicBezTo>
                      <a:pt x="160577" y="3742"/>
                      <a:pt x="159508" y="6950"/>
                      <a:pt x="162181" y="6950"/>
                    </a:cubicBezTo>
                    <a:cubicBezTo>
                      <a:pt x="164320" y="6950"/>
                      <a:pt x="166458" y="6950"/>
                      <a:pt x="166993" y="4812"/>
                    </a:cubicBezTo>
                    <a:cubicBezTo>
                      <a:pt x="167528" y="2673"/>
                      <a:pt x="168062" y="535"/>
                      <a:pt x="165924" y="0"/>
                    </a:cubicBezTo>
                    <a:cubicBezTo>
                      <a:pt x="163785" y="0"/>
                      <a:pt x="162181" y="1604"/>
                      <a:pt x="162181" y="1069"/>
                    </a:cubicBezTo>
                    <a:close/>
                    <a:moveTo>
                      <a:pt x="163251" y="17108"/>
                    </a:moveTo>
                    <a:cubicBezTo>
                      <a:pt x="163251" y="20851"/>
                      <a:pt x="165389" y="26197"/>
                      <a:pt x="167528" y="22455"/>
                    </a:cubicBezTo>
                    <a:cubicBezTo>
                      <a:pt x="169666" y="18712"/>
                      <a:pt x="171805" y="16039"/>
                      <a:pt x="168062" y="14970"/>
                    </a:cubicBezTo>
                    <a:cubicBezTo>
                      <a:pt x="164320" y="13366"/>
                      <a:pt x="163251" y="17108"/>
                      <a:pt x="163251" y="17108"/>
                    </a:cubicBezTo>
                    <a:close/>
                    <a:moveTo>
                      <a:pt x="204952" y="300465"/>
                    </a:moveTo>
                    <a:cubicBezTo>
                      <a:pt x="203348" y="299396"/>
                      <a:pt x="198002" y="300465"/>
                      <a:pt x="199606" y="304742"/>
                    </a:cubicBezTo>
                    <a:cubicBezTo>
                      <a:pt x="201744" y="309020"/>
                      <a:pt x="205487" y="310089"/>
                      <a:pt x="207091" y="308485"/>
                    </a:cubicBezTo>
                    <a:cubicBezTo>
                      <a:pt x="208695" y="306881"/>
                      <a:pt x="210298" y="307950"/>
                      <a:pt x="211902" y="307416"/>
                    </a:cubicBezTo>
                    <a:cubicBezTo>
                      <a:pt x="212972" y="306346"/>
                      <a:pt x="213506" y="303139"/>
                      <a:pt x="211368" y="302069"/>
                    </a:cubicBezTo>
                    <a:cubicBezTo>
                      <a:pt x="209764" y="301000"/>
                      <a:pt x="204952" y="300465"/>
                      <a:pt x="204952" y="300465"/>
                    </a:cubicBezTo>
                    <a:close/>
                    <a:moveTo>
                      <a:pt x="234892" y="315435"/>
                    </a:moveTo>
                    <a:cubicBezTo>
                      <a:pt x="231149" y="316504"/>
                      <a:pt x="230080" y="317039"/>
                      <a:pt x="230615" y="319712"/>
                    </a:cubicBezTo>
                    <a:cubicBezTo>
                      <a:pt x="231149" y="322385"/>
                      <a:pt x="231149" y="321851"/>
                      <a:pt x="234357" y="321851"/>
                    </a:cubicBezTo>
                    <a:cubicBezTo>
                      <a:pt x="237565" y="321851"/>
                      <a:pt x="241307" y="322385"/>
                      <a:pt x="240238" y="319178"/>
                    </a:cubicBezTo>
                    <a:cubicBezTo>
                      <a:pt x="239703" y="315435"/>
                      <a:pt x="234892" y="315435"/>
                      <a:pt x="234892" y="315435"/>
                    </a:cubicBezTo>
                    <a:close/>
                    <a:moveTo>
                      <a:pt x="258950" y="336286"/>
                    </a:moveTo>
                    <a:cubicBezTo>
                      <a:pt x="254139" y="336286"/>
                      <a:pt x="250931" y="338959"/>
                      <a:pt x="253604" y="340028"/>
                    </a:cubicBezTo>
                    <a:cubicBezTo>
                      <a:pt x="256277" y="340563"/>
                      <a:pt x="260554" y="343236"/>
                      <a:pt x="261089" y="340563"/>
                    </a:cubicBezTo>
                    <a:cubicBezTo>
                      <a:pt x="261089" y="337355"/>
                      <a:pt x="258950" y="335751"/>
                      <a:pt x="258950" y="336286"/>
                    </a:cubicBezTo>
                    <a:close/>
                    <a:moveTo>
                      <a:pt x="204417" y="383334"/>
                    </a:moveTo>
                    <a:cubicBezTo>
                      <a:pt x="200675" y="387076"/>
                      <a:pt x="198002" y="390284"/>
                      <a:pt x="202814" y="390819"/>
                    </a:cubicBezTo>
                    <a:cubicBezTo>
                      <a:pt x="207091" y="391353"/>
                      <a:pt x="207091" y="392957"/>
                      <a:pt x="209229" y="393492"/>
                    </a:cubicBezTo>
                    <a:cubicBezTo>
                      <a:pt x="211368" y="394027"/>
                      <a:pt x="217249" y="395096"/>
                      <a:pt x="215645" y="390819"/>
                    </a:cubicBezTo>
                    <a:cubicBezTo>
                      <a:pt x="214041" y="386007"/>
                      <a:pt x="214041" y="381730"/>
                      <a:pt x="211368" y="381730"/>
                    </a:cubicBezTo>
                    <a:cubicBezTo>
                      <a:pt x="207625" y="380661"/>
                      <a:pt x="203883" y="383334"/>
                      <a:pt x="204417" y="383334"/>
                    </a:cubicBezTo>
                    <a:close/>
                    <a:moveTo>
                      <a:pt x="267504" y="407393"/>
                    </a:moveTo>
                    <a:cubicBezTo>
                      <a:pt x="264297" y="407393"/>
                      <a:pt x="259485" y="410066"/>
                      <a:pt x="263227" y="413274"/>
                    </a:cubicBezTo>
                    <a:cubicBezTo>
                      <a:pt x="266970" y="416481"/>
                      <a:pt x="268574" y="420758"/>
                      <a:pt x="272316" y="417551"/>
                    </a:cubicBezTo>
                    <a:cubicBezTo>
                      <a:pt x="276059" y="414343"/>
                      <a:pt x="278732" y="409531"/>
                      <a:pt x="276059" y="408462"/>
                    </a:cubicBezTo>
                    <a:cubicBezTo>
                      <a:pt x="273385" y="407393"/>
                      <a:pt x="267504" y="407927"/>
                      <a:pt x="267504" y="407393"/>
                    </a:cubicBezTo>
                    <a:close/>
                    <a:moveTo>
                      <a:pt x="286751" y="347513"/>
                    </a:moveTo>
                    <a:cubicBezTo>
                      <a:pt x="281940" y="350721"/>
                      <a:pt x="283009" y="355533"/>
                      <a:pt x="286217" y="354464"/>
                    </a:cubicBezTo>
                    <a:cubicBezTo>
                      <a:pt x="289959" y="352860"/>
                      <a:pt x="293167" y="354998"/>
                      <a:pt x="295306" y="352860"/>
                    </a:cubicBezTo>
                    <a:cubicBezTo>
                      <a:pt x="297444" y="350721"/>
                      <a:pt x="298513" y="345909"/>
                      <a:pt x="295306" y="345909"/>
                    </a:cubicBezTo>
                    <a:cubicBezTo>
                      <a:pt x="292098" y="345909"/>
                      <a:pt x="286751" y="347513"/>
                      <a:pt x="286751" y="347513"/>
                    </a:cubicBezTo>
                    <a:close/>
                    <a:moveTo>
                      <a:pt x="272851" y="334147"/>
                    </a:moveTo>
                    <a:cubicBezTo>
                      <a:pt x="270712" y="338959"/>
                      <a:pt x="274455" y="341632"/>
                      <a:pt x="276593" y="341098"/>
                    </a:cubicBezTo>
                    <a:cubicBezTo>
                      <a:pt x="278732" y="340563"/>
                      <a:pt x="283009" y="330940"/>
                      <a:pt x="278732" y="330405"/>
                    </a:cubicBezTo>
                    <a:cubicBezTo>
                      <a:pt x="274455" y="329870"/>
                      <a:pt x="272851" y="334147"/>
                      <a:pt x="272851" y="334147"/>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648" name="Congo (DRC - Democratic Republic of the Congo))">
                <a:extLst>
                  <a:ext uri="{FF2B5EF4-FFF2-40B4-BE49-F238E27FC236}">
                    <a16:creationId xmlns:a16="http://schemas.microsoft.com/office/drawing/2014/main" id="{09750BE2-F5F8-FBEF-E6A4-713F886C0F64}"/>
                  </a:ext>
                </a:extLst>
              </p:cNvPr>
              <p:cNvSpPr>
                <a:spLocks/>
              </p:cNvSpPr>
              <p:nvPr/>
            </p:nvSpPr>
            <p:spPr bwMode="auto">
              <a:xfrm>
                <a:off x="6111294" y="3834595"/>
                <a:ext cx="658671" cy="734143"/>
              </a:xfrm>
              <a:custGeom>
                <a:avLst/>
                <a:gdLst/>
                <a:ahLst/>
                <a:cxnLst>
                  <a:cxn ang="0">
                    <a:pos x="181" y="32"/>
                  </a:cxn>
                  <a:cxn ang="0">
                    <a:pos x="182" y="20"/>
                  </a:cxn>
                  <a:cxn ang="0">
                    <a:pos x="179" y="17"/>
                  </a:cxn>
                  <a:cxn ang="0">
                    <a:pos x="173" y="12"/>
                  </a:cxn>
                  <a:cxn ang="0">
                    <a:pos x="166" y="11"/>
                  </a:cxn>
                  <a:cxn ang="0">
                    <a:pos x="159" y="11"/>
                  </a:cxn>
                  <a:cxn ang="0">
                    <a:pos x="153" y="9"/>
                  </a:cxn>
                  <a:cxn ang="0">
                    <a:pos x="141" y="3"/>
                  </a:cxn>
                  <a:cxn ang="0">
                    <a:pos x="133" y="2"/>
                  </a:cxn>
                  <a:cxn ang="0">
                    <a:pos x="128" y="3"/>
                  </a:cxn>
                  <a:cxn ang="0">
                    <a:pos x="121" y="4"/>
                  </a:cxn>
                  <a:cxn ang="0">
                    <a:pos x="116" y="5"/>
                  </a:cxn>
                  <a:cxn ang="0">
                    <a:pos x="107" y="7"/>
                  </a:cxn>
                  <a:cxn ang="0">
                    <a:pos x="102" y="11"/>
                  </a:cxn>
                  <a:cxn ang="0">
                    <a:pos x="90" y="12"/>
                  </a:cxn>
                  <a:cxn ang="0">
                    <a:pos x="80" y="7"/>
                  </a:cxn>
                  <a:cxn ang="0">
                    <a:pos x="65" y="10"/>
                  </a:cxn>
                  <a:cxn ang="0">
                    <a:pos x="60" y="31"/>
                  </a:cxn>
                  <a:cxn ang="0">
                    <a:pos x="56" y="53"/>
                  </a:cxn>
                  <a:cxn ang="0">
                    <a:pos x="47" y="72"/>
                  </a:cxn>
                  <a:cxn ang="0">
                    <a:pos x="40" y="94"/>
                  </a:cxn>
                  <a:cxn ang="0">
                    <a:pos x="31" y="106"/>
                  </a:cxn>
                  <a:cxn ang="0">
                    <a:pos x="22" y="109"/>
                  </a:cxn>
                  <a:cxn ang="0">
                    <a:pos x="16" y="110"/>
                  </a:cxn>
                  <a:cxn ang="0">
                    <a:pos x="10" y="110"/>
                  </a:cxn>
                  <a:cxn ang="0">
                    <a:pos x="4" y="115"/>
                  </a:cxn>
                  <a:cxn ang="0">
                    <a:pos x="3" y="125"/>
                  </a:cxn>
                  <a:cxn ang="0">
                    <a:pos x="18" y="124"/>
                  </a:cxn>
                  <a:cxn ang="0">
                    <a:pos x="41" y="124"/>
                  </a:cxn>
                  <a:cxn ang="0">
                    <a:pos x="46" y="135"/>
                  </a:cxn>
                  <a:cxn ang="0">
                    <a:pos x="49" y="141"/>
                  </a:cxn>
                  <a:cxn ang="0">
                    <a:pos x="52" y="147"/>
                  </a:cxn>
                  <a:cxn ang="0">
                    <a:pos x="63" y="146"/>
                  </a:cxn>
                  <a:cxn ang="0">
                    <a:pos x="71" y="140"/>
                  </a:cxn>
                  <a:cxn ang="0">
                    <a:pos x="82" y="136"/>
                  </a:cxn>
                  <a:cxn ang="0">
                    <a:pos x="94" y="150"/>
                  </a:cxn>
                  <a:cxn ang="0">
                    <a:pos x="96" y="168"/>
                  </a:cxn>
                  <a:cxn ang="0">
                    <a:pos x="97" y="180"/>
                  </a:cxn>
                  <a:cxn ang="0">
                    <a:pos x="105" y="181"/>
                  </a:cxn>
                  <a:cxn ang="0">
                    <a:pos x="114" y="179"/>
                  </a:cxn>
                  <a:cxn ang="0">
                    <a:pos x="119" y="185"/>
                  </a:cxn>
                  <a:cxn ang="0">
                    <a:pos x="128" y="188"/>
                  </a:cxn>
                  <a:cxn ang="0">
                    <a:pos x="138" y="190"/>
                  </a:cxn>
                  <a:cxn ang="0">
                    <a:pos x="146" y="188"/>
                  </a:cxn>
                  <a:cxn ang="0">
                    <a:pos x="156" y="196"/>
                  </a:cxn>
                  <a:cxn ang="0">
                    <a:pos x="161" y="204"/>
                  </a:cxn>
                  <a:cxn ang="0">
                    <a:pos x="169" y="207"/>
                  </a:cxn>
                  <a:cxn ang="0">
                    <a:pos x="168" y="193"/>
                  </a:cxn>
                  <a:cxn ang="0">
                    <a:pos x="163" y="195"/>
                  </a:cxn>
                  <a:cxn ang="0">
                    <a:pos x="157" y="188"/>
                  </a:cxn>
                  <a:cxn ang="0">
                    <a:pos x="159" y="171"/>
                  </a:cxn>
                  <a:cxn ang="0">
                    <a:pos x="162" y="152"/>
                  </a:cxn>
                  <a:cxn ang="0">
                    <a:pos x="175" y="141"/>
                  </a:cxn>
                  <a:cxn ang="0">
                    <a:pos x="165" y="124"/>
                  </a:cxn>
                  <a:cxn ang="0">
                    <a:pos x="165" y="112"/>
                  </a:cxn>
                  <a:cxn ang="0">
                    <a:pos x="165" y="105"/>
                  </a:cxn>
                  <a:cxn ang="0">
                    <a:pos x="165" y="98"/>
                  </a:cxn>
                  <a:cxn ang="0">
                    <a:pos x="165" y="91"/>
                  </a:cxn>
                  <a:cxn ang="0">
                    <a:pos x="164" y="85"/>
                  </a:cxn>
                  <a:cxn ang="0">
                    <a:pos x="169" y="75"/>
                  </a:cxn>
                  <a:cxn ang="0">
                    <a:pos x="170" y="65"/>
                  </a:cxn>
                  <a:cxn ang="0">
                    <a:pos x="173" y="52"/>
                  </a:cxn>
                  <a:cxn ang="0">
                    <a:pos x="182" y="41"/>
                  </a:cxn>
                </a:cxnLst>
                <a:rect l="0" t="0" r="r" b="b"/>
                <a:pathLst>
                  <a:path w="186" h="207">
                    <a:moveTo>
                      <a:pt x="186" y="35"/>
                    </a:moveTo>
                    <a:cubicBezTo>
                      <a:pt x="186" y="35"/>
                      <a:pt x="185" y="35"/>
                      <a:pt x="185" y="34"/>
                    </a:cubicBezTo>
                    <a:cubicBezTo>
                      <a:pt x="185" y="34"/>
                      <a:pt x="184" y="34"/>
                      <a:pt x="184" y="34"/>
                    </a:cubicBezTo>
                    <a:cubicBezTo>
                      <a:pt x="184" y="34"/>
                      <a:pt x="184" y="33"/>
                      <a:pt x="183" y="33"/>
                    </a:cubicBezTo>
                    <a:cubicBezTo>
                      <a:pt x="182" y="33"/>
                      <a:pt x="183" y="34"/>
                      <a:pt x="182" y="34"/>
                    </a:cubicBezTo>
                    <a:cubicBezTo>
                      <a:pt x="182" y="34"/>
                      <a:pt x="182" y="33"/>
                      <a:pt x="181" y="32"/>
                    </a:cubicBezTo>
                    <a:cubicBezTo>
                      <a:pt x="181" y="32"/>
                      <a:pt x="181" y="33"/>
                      <a:pt x="181" y="32"/>
                    </a:cubicBezTo>
                    <a:cubicBezTo>
                      <a:pt x="181" y="32"/>
                      <a:pt x="181" y="31"/>
                      <a:pt x="181" y="31"/>
                    </a:cubicBezTo>
                    <a:cubicBezTo>
                      <a:pt x="181" y="30"/>
                      <a:pt x="181" y="29"/>
                      <a:pt x="182" y="29"/>
                    </a:cubicBezTo>
                    <a:cubicBezTo>
                      <a:pt x="182" y="28"/>
                      <a:pt x="182" y="27"/>
                      <a:pt x="182" y="27"/>
                    </a:cubicBezTo>
                    <a:cubicBezTo>
                      <a:pt x="181" y="26"/>
                      <a:pt x="181" y="26"/>
                      <a:pt x="181" y="25"/>
                    </a:cubicBezTo>
                    <a:cubicBezTo>
                      <a:pt x="181" y="25"/>
                      <a:pt x="181" y="24"/>
                      <a:pt x="182" y="23"/>
                    </a:cubicBezTo>
                    <a:cubicBezTo>
                      <a:pt x="182" y="22"/>
                      <a:pt x="182" y="22"/>
                      <a:pt x="183" y="21"/>
                    </a:cubicBezTo>
                    <a:cubicBezTo>
                      <a:pt x="183" y="20"/>
                      <a:pt x="182" y="21"/>
                      <a:pt x="182" y="20"/>
                    </a:cubicBezTo>
                    <a:cubicBezTo>
                      <a:pt x="182" y="20"/>
                      <a:pt x="181" y="20"/>
                      <a:pt x="181" y="20"/>
                    </a:cubicBezTo>
                    <a:cubicBezTo>
                      <a:pt x="181" y="20"/>
                      <a:pt x="181" y="19"/>
                      <a:pt x="181" y="19"/>
                    </a:cubicBezTo>
                    <a:cubicBezTo>
                      <a:pt x="181" y="19"/>
                      <a:pt x="181" y="19"/>
                      <a:pt x="181" y="19"/>
                    </a:cubicBezTo>
                    <a:cubicBezTo>
                      <a:pt x="180" y="19"/>
                      <a:pt x="180" y="19"/>
                      <a:pt x="180" y="19"/>
                    </a:cubicBezTo>
                    <a:cubicBezTo>
                      <a:pt x="180" y="19"/>
                      <a:pt x="180" y="20"/>
                      <a:pt x="179" y="20"/>
                    </a:cubicBezTo>
                    <a:cubicBezTo>
                      <a:pt x="179" y="20"/>
                      <a:pt x="179" y="19"/>
                      <a:pt x="179" y="19"/>
                    </a:cubicBezTo>
                    <a:cubicBezTo>
                      <a:pt x="179" y="18"/>
                      <a:pt x="179" y="17"/>
                      <a:pt x="179" y="17"/>
                    </a:cubicBezTo>
                    <a:cubicBezTo>
                      <a:pt x="178" y="16"/>
                      <a:pt x="178" y="17"/>
                      <a:pt x="177" y="16"/>
                    </a:cubicBezTo>
                    <a:cubicBezTo>
                      <a:pt x="177" y="16"/>
                      <a:pt x="176" y="16"/>
                      <a:pt x="176" y="16"/>
                    </a:cubicBezTo>
                    <a:cubicBezTo>
                      <a:pt x="175" y="16"/>
                      <a:pt x="175" y="15"/>
                      <a:pt x="175" y="15"/>
                    </a:cubicBezTo>
                    <a:cubicBezTo>
                      <a:pt x="175" y="14"/>
                      <a:pt x="174" y="14"/>
                      <a:pt x="174" y="14"/>
                    </a:cubicBezTo>
                    <a:cubicBezTo>
                      <a:pt x="174" y="13"/>
                      <a:pt x="174" y="13"/>
                      <a:pt x="173" y="13"/>
                    </a:cubicBezTo>
                    <a:cubicBezTo>
                      <a:pt x="173" y="13"/>
                      <a:pt x="173" y="13"/>
                      <a:pt x="173" y="12"/>
                    </a:cubicBezTo>
                    <a:cubicBezTo>
                      <a:pt x="173" y="12"/>
                      <a:pt x="173" y="12"/>
                      <a:pt x="173" y="12"/>
                    </a:cubicBezTo>
                    <a:cubicBezTo>
                      <a:pt x="172" y="11"/>
                      <a:pt x="172" y="12"/>
                      <a:pt x="171" y="11"/>
                    </a:cubicBezTo>
                    <a:cubicBezTo>
                      <a:pt x="171" y="11"/>
                      <a:pt x="171" y="10"/>
                      <a:pt x="172" y="9"/>
                    </a:cubicBezTo>
                    <a:cubicBezTo>
                      <a:pt x="172" y="9"/>
                      <a:pt x="170" y="8"/>
                      <a:pt x="169" y="8"/>
                    </a:cubicBezTo>
                    <a:cubicBezTo>
                      <a:pt x="168" y="8"/>
                      <a:pt x="168" y="9"/>
                      <a:pt x="168" y="9"/>
                    </a:cubicBezTo>
                    <a:cubicBezTo>
                      <a:pt x="168" y="10"/>
                      <a:pt x="167" y="10"/>
                      <a:pt x="167" y="10"/>
                    </a:cubicBezTo>
                    <a:cubicBezTo>
                      <a:pt x="167" y="11"/>
                      <a:pt x="167" y="11"/>
                      <a:pt x="167" y="11"/>
                    </a:cubicBezTo>
                    <a:cubicBezTo>
                      <a:pt x="167" y="11"/>
                      <a:pt x="166" y="11"/>
                      <a:pt x="166" y="11"/>
                    </a:cubicBezTo>
                    <a:cubicBezTo>
                      <a:pt x="166" y="11"/>
                      <a:pt x="166" y="11"/>
                      <a:pt x="166" y="11"/>
                    </a:cubicBezTo>
                    <a:cubicBezTo>
                      <a:pt x="166" y="12"/>
                      <a:pt x="165" y="11"/>
                      <a:pt x="165" y="11"/>
                    </a:cubicBezTo>
                    <a:cubicBezTo>
                      <a:pt x="164" y="10"/>
                      <a:pt x="164" y="10"/>
                      <a:pt x="163" y="10"/>
                    </a:cubicBezTo>
                    <a:cubicBezTo>
                      <a:pt x="163" y="10"/>
                      <a:pt x="162" y="10"/>
                      <a:pt x="162" y="9"/>
                    </a:cubicBezTo>
                    <a:cubicBezTo>
                      <a:pt x="161" y="9"/>
                      <a:pt x="161" y="10"/>
                      <a:pt x="161" y="10"/>
                    </a:cubicBezTo>
                    <a:cubicBezTo>
                      <a:pt x="160" y="10"/>
                      <a:pt x="160" y="10"/>
                      <a:pt x="160" y="11"/>
                    </a:cubicBezTo>
                    <a:cubicBezTo>
                      <a:pt x="159" y="11"/>
                      <a:pt x="159" y="11"/>
                      <a:pt x="159" y="11"/>
                    </a:cubicBezTo>
                    <a:cubicBezTo>
                      <a:pt x="159" y="11"/>
                      <a:pt x="159" y="12"/>
                      <a:pt x="159" y="12"/>
                    </a:cubicBezTo>
                    <a:cubicBezTo>
                      <a:pt x="158" y="13"/>
                      <a:pt x="158" y="11"/>
                      <a:pt x="157" y="11"/>
                    </a:cubicBezTo>
                    <a:cubicBezTo>
                      <a:pt x="156" y="11"/>
                      <a:pt x="156" y="12"/>
                      <a:pt x="156" y="11"/>
                    </a:cubicBezTo>
                    <a:cubicBezTo>
                      <a:pt x="156" y="11"/>
                      <a:pt x="155" y="11"/>
                      <a:pt x="155" y="11"/>
                    </a:cubicBezTo>
                    <a:cubicBezTo>
                      <a:pt x="155" y="10"/>
                      <a:pt x="155" y="11"/>
                      <a:pt x="155" y="11"/>
                    </a:cubicBezTo>
                    <a:cubicBezTo>
                      <a:pt x="154" y="11"/>
                      <a:pt x="154" y="10"/>
                      <a:pt x="154" y="10"/>
                    </a:cubicBezTo>
                    <a:cubicBezTo>
                      <a:pt x="154" y="9"/>
                      <a:pt x="153" y="9"/>
                      <a:pt x="153" y="9"/>
                    </a:cubicBezTo>
                    <a:cubicBezTo>
                      <a:pt x="152" y="9"/>
                      <a:pt x="152" y="9"/>
                      <a:pt x="152" y="8"/>
                    </a:cubicBezTo>
                    <a:cubicBezTo>
                      <a:pt x="152" y="7"/>
                      <a:pt x="152" y="7"/>
                      <a:pt x="151" y="6"/>
                    </a:cubicBezTo>
                    <a:cubicBezTo>
                      <a:pt x="151" y="6"/>
                      <a:pt x="151" y="6"/>
                      <a:pt x="150" y="5"/>
                    </a:cubicBezTo>
                    <a:cubicBezTo>
                      <a:pt x="149" y="5"/>
                      <a:pt x="149" y="4"/>
                      <a:pt x="148" y="3"/>
                    </a:cubicBezTo>
                    <a:cubicBezTo>
                      <a:pt x="147" y="3"/>
                      <a:pt x="145" y="2"/>
                      <a:pt x="144" y="3"/>
                    </a:cubicBezTo>
                    <a:cubicBezTo>
                      <a:pt x="144" y="3"/>
                      <a:pt x="143" y="4"/>
                      <a:pt x="143" y="4"/>
                    </a:cubicBezTo>
                    <a:cubicBezTo>
                      <a:pt x="142" y="4"/>
                      <a:pt x="142" y="3"/>
                      <a:pt x="141" y="3"/>
                    </a:cubicBezTo>
                    <a:cubicBezTo>
                      <a:pt x="141" y="3"/>
                      <a:pt x="140" y="4"/>
                      <a:pt x="140" y="4"/>
                    </a:cubicBezTo>
                    <a:cubicBezTo>
                      <a:pt x="139" y="4"/>
                      <a:pt x="139" y="3"/>
                      <a:pt x="138" y="3"/>
                    </a:cubicBezTo>
                    <a:cubicBezTo>
                      <a:pt x="138" y="3"/>
                      <a:pt x="137" y="3"/>
                      <a:pt x="137" y="2"/>
                    </a:cubicBezTo>
                    <a:cubicBezTo>
                      <a:pt x="136" y="2"/>
                      <a:pt x="136" y="2"/>
                      <a:pt x="135" y="2"/>
                    </a:cubicBezTo>
                    <a:cubicBezTo>
                      <a:pt x="135" y="2"/>
                      <a:pt x="135" y="2"/>
                      <a:pt x="134" y="2"/>
                    </a:cubicBezTo>
                    <a:cubicBezTo>
                      <a:pt x="134" y="2"/>
                      <a:pt x="134" y="2"/>
                      <a:pt x="134" y="2"/>
                    </a:cubicBezTo>
                    <a:cubicBezTo>
                      <a:pt x="133" y="2"/>
                      <a:pt x="133" y="2"/>
                      <a:pt x="133" y="2"/>
                    </a:cubicBezTo>
                    <a:cubicBezTo>
                      <a:pt x="133" y="2"/>
                      <a:pt x="133" y="1"/>
                      <a:pt x="132" y="1"/>
                    </a:cubicBezTo>
                    <a:cubicBezTo>
                      <a:pt x="132" y="2"/>
                      <a:pt x="132" y="1"/>
                      <a:pt x="132" y="1"/>
                    </a:cubicBezTo>
                    <a:cubicBezTo>
                      <a:pt x="132" y="1"/>
                      <a:pt x="131" y="1"/>
                      <a:pt x="131" y="1"/>
                    </a:cubicBezTo>
                    <a:cubicBezTo>
                      <a:pt x="131" y="1"/>
                      <a:pt x="131" y="0"/>
                      <a:pt x="130" y="0"/>
                    </a:cubicBezTo>
                    <a:cubicBezTo>
                      <a:pt x="130" y="0"/>
                      <a:pt x="130" y="1"/>
                      <a:pt x="130" y="0"/>
                    </a:cubicBezTo>
                    <a:cubicBezTo>
                      <a:pt x="129" y="0"/>
                      <a:pt x="128" y="1"/>
                      <a:pt x="128" y="2"/>
                    </a:cubicBezTo>
                    <a:cubicBezTo>
                      <a:pt x="128" y="3"/>
                      <a:pt x="128" y="3"/>
                      <a:pt x="128" y="3"/>
                    </a:cubicBezTo>
                    <a:cubicBezTo>
                      <a:pt x="128" y="3"/>
                      <a:pt x="128" y="4"/>
                      <a:pt x="128" y="4"/>
                    </a:cubicBezTo>
                    <a:cubicBezTo>
                      <a:pt x="127" y="4"/>
                      <a:pt x="127" y="4"/>
                      <a:pt x="126" y="4"/>
                    </a:cubicBezTo>
                    <a:cubicBezTo>
                      <a:pt x="126" y="4"/>
                      <a:pt x="126" y="5"/>
                      <a:pt x="125" y="5"/>
                    </a:cubicBezTo>
                    <a:cubicBezTo>
                      <a:pt x="125" y="5"/>
                      <a:pt x="125" y="4"/>
                      <a:pt x="124" y="5"/>
                    </a:cubicBezTo>
                    <a:cubicBezTo>
                      <a:pt x="124" y="5"/>
                      <a:pt x="123" y="5"/>
                      <a:pt x="123" y="5"/>
                    </a:cubicBezTo>
                    <a:cubicBezTo>
                      <a:pt x="123" y="5"/>
                      <a:pt x="121" y="5"/>
                      <a:pt x="122" y="5"/>
                    </a:cubicBezTo>
                    <a:cubicBezTo>
                      <a:pt x="122" y="5"/>
                      <a:pt x="121" y="5"/>
                      <a:pt x="121" y="4"/>
                    </a:cubicBezTo>
                    <a:cubicBezTo>
                      <a:pt x="121" y="4"/>
                      <a:pt x="120" y="3"/>
                      <a:pt x="120" y="3"/>
                    </a:cubicBezTo>
                    <a:cubicBezTo>
                      <a:pt x="120" y="3"/>
                      <a:pt x="119" y="3"/>
                      <a:pt x="119" y="4"/>
                    </a:cubicBezTo>
                    <a:cubicBezTo>
                      <a:pt x="119" y="3"/>
                      <a:pt x="118" y="3"/>
                      <a:pt x="119" y="4"/>
                    </a:cubicBezTo>
                    <a:cubicBezTo>
                      <a:pt x="119" y="4"/>
                      <a:pt x="118" y="4"/>
                      <a:pt x="118" y="5"/>
                    </a:cubicBezTo>
                    <a:cubicBezTo>
                      <a:pt x="118" y="5"/>
                      <a:pt x="118" y="5"/>
                      <a:pt x="117" y="5"/>
                    </a:cubicBezTo>
                    <a:cubicBezTo>
                      <a:pt x="117" y="5"/>
                      <a:pt x="117" y="5"/>
                      <a:pt x="117" y="5"/>
                    </a:cubicBezTo>
                    <a:cubicBezTo>
                      <a:pt x="116" y="5"/>
                      <a:pt x="116" y="5"/>
                      <a:pt x="116" y="5"/>
                    </a:cubicBezTo>
                    <a:cubicBezTo>
                      <a:pt x="116" y="5"/>
                      <a:pt x="115" y="6"/>
                      <a:pt x="115" y="6"/>
                    </a:cubicBezTo>
                    <a:cubicBezTo>
                      <a:pt x="115" y="6"/>
                      <a:pt x="115" y="6"/>
                      <a:pt x="115" y="6"/>
                    </a:cubicBezTo>
                    <a:cubicBezTo>
                      <a:pt x="114" y="6"/>
                      <a:pt x="115" y="6"/>
                      <a:pt x="114" y="6"/>
                    </a:cubicBezTo>
                    <a:cubicBezTo>
                      <a:pt x="113" y="6"/>
                      <a:pt x="112" y="7"/>
                      <a:pt x="111" y="8"/>
                    </a:cubicBezTo>
                    <a:cubicBezTo>
                      <a:pt x="110" y="8"/>
                      <a:pt x="110" y="8"/>
                      <a:pt x="110" y="9"/>
                    </a:cubicBezTo>
                    <a:cubicBezTo>
                      <a:pt x="110" y="9"/>
                      <a:pt x="109" y="9"/>
                      <a:pt x="108" y="9"/>
                    </a:cubicBezTo>
                    <a:cubicBezTo>
                      <a:pt x="108" y="8"/>
                      <a:pt x="108" y="7"/>
                      <a:pt x="107" y="7"/>
                    </a:cubicBezTo>
                    <a:cubicBezTo>
                      <a:pt x="106" y="7"/>
                      <a:pt x="106" y="8"/>
                      <a:pt x="106" y="7"/>
                    </a:cubicBezTo>
                    <a:cubicBezTo>
                      <a:pt x="105" y="7"/>
                      <a:pt x="105" y="6"/>
                      <a:pt x="104" y="6"/>
                    </a:cubicBezTo>
                    <a:cubicBezTo>
                      <a:pt x="104" y="7"/>
                      <a:pt x="105" y="7"/>
                      <a:pt x="104" y="7"/>
                    </a:cubicBezTo>
                    <a:cubicBezTo>
                      <a:pt x="104" y="8"/>
                      <a:pt x="103" y="7"/>
                      <a:pt x="103" y="8"/>
                    </a:cubicBezTo>
                    <a:cubicBezTo>
                      <a:pt x="103" y="8"/>
                      <a:pt x="103" y="9"/>
                      <a:pt x="103" y="9"/>
                    </a:cubicBezTo>
                    <a:cubicBezTo>
                      <a:pt x="103" y="10"/>
                      <a:pt x="103" y="10"/>
                      <a:pt x="102" y="10"/>
                    </a:cubicBezTo>
                    <a:cubicBezTo>
                      <a:pt x="101" y="10"/>
                      <a:pt x="102" y="11"/>
                      <a:pt x="102" y="11"/>
                    </a:cubicBezTo>
                    <a:cubicBezTo>
                      <a:pt x="102" y="12"/>
                      <a:pt x="101" y="12"/>
                      <a:pt x="101" y="12"/>
                    </a:cubicBezTo>
                    <a:cubicBezTo>
                      <a:pt x="101" y="13"/>
                      <a:pt x="101" y="13"/>
                      <a:pt x="100" y="14"/>
                    </a:cubicBezTo>
                    <a:cubicBezTo>
                      <a:pt x="99" y="14"/>
                      <a:pt x="98" y="13"/>
                      <a:pt x="97" y="13"/>
                    </a:cubicBezTo>
                    <a:cubicBezTo>
                      <a:pt x="96" y="13"/>
                      <a:pt x="96" y="13"/>
                      <a:pt x="95" y="13"/>
                    </a:cubicBezTo>
                    <a:cubicBezTo>
                      <a:pt x="94" y="13"/>
                      <a:pt x="94" y="12"/>
                      <a:pt x="93" y="12"/>
                    </a:cubicBezTo>
                    <a:cubicBezTo>
                      <a:pt x="92" y="12"/>
                      <a:pt x="92" y="12"/>
                      <a:pt x="91" y="13"/>
                    </a:cubicBezTo>
                    <a:cubicBezTo>
                      <a:pt x="91" y="13"/>
                      <a:pt x="90" y="12"/>
                      <a:pt x="90" y="12"/>
                    </a:cubicBezTo>
                    <a:cubicBezTo>
                      <a:pt x="89" y="12"/>
                      <a:pt x="89" y="12"/>
                      <a:pt x="88" y="12"/>
                    </a:cubicBezTo>
                    <a:cubicBezTo>
                      <a:pt x="88" y="12"/>
                      <a:pt x="88" y="12"/>
                      <a:pt x="87" y="12"/>
                    </a:cubicBezTo>
                    <a:cubicBezTo>
                      <a:pt x="87" y="11"/>
                      <a:pt x="85" y="10"/>
                      <a:pt x="84" y="10"/>
                    </a:cubicBezTo>
                    <a:cubicBezTo>
                      <a:pt x="84" y="11"/>
                      <a:pt x="83" y="11"/>
                      <a:pt x="82" y="11"/>
                    </a:cubicBezTo>
                    <a:cubicBezTo>
                      <a:pt x="82" y="11"/>
                      <a:pt x="82" y="10"/>
                      <a:pt x="81" y="10"/>
                    </a:cubicBezTo>
                    <a:cubicBezTo>
                      <a:pt x="81" y="9"/>
                      <a:pt x="81" y="9"/>
                      <a:pt x="81" y="8"/>
                    </a:cubicBezTo>
                    <a:cubicBezTo>
                      <a:pt x="80" y="8"/>
                      <a:pt x="80" y="7"/>
                      <a:pt x="80" y="7"/>
                    </a:cubicBezTo>
                    <a:cubicBezTo>
                      <a:pt x="79" y="6"/>
                      <a:pt x="77" y="5"/>
                      <a:pt x="76" y="5"/>
                    </a:cubicBezTo>
                    <a:cubicBezTo>
                      <a:pt x="75" y="4"/>
                      <a:pt x="75" y="4"/>
                      <a:pt x="75" y="3"/>
                    </a:cubicBezTo>
                    <a:cubicBezTo>
                      <a:pt x="74" y="3"/>
                      <a:pt x="73" y="3"/>
                      <a:pt x="73" y="3"/>
                    </a:cubicBezTo>
                    <a:cubicBezTo>
                      <a:pt x="71" y="3"/>
                      <a:pt x="71" y="3"/>
                      <a:pt x="70" y="4"/>
                    </a:cubicBezTo>
                    <a:cubicBezTo>
                      <a:pt x="69" y="4"/>
                      <a:pt x="69" y="5"/>
                      <a:pt x="68" y="5"/>
                    </a:cubicBezTo>
                    <a:cubicBezTo>
                      <a:pt x="67" y="5"/>
                      <a:pt x="67" y="6"/>
                      <a:pt x="67" y="7"/>
                    </a:cubicBezTo>
                    <a:cubicBezTo>
                      <a:pt x="66" y="8"/>
                      <a:pt x="65" y="9"/>
                      <a:pt x="65" y="10"/>
                    </a:cubicBezTo>
                    <a:cubicBezTo>
                      <a:pt x="64" y="11"/>
                      <a:pt x="64" y="11"/>
                      <a:pt x="63" y="11"/>
                    </a:cubicBezTo>
                    <a:cubicBezTo>
                      <a:pt x="63" y="11"/>
                      <a:pt x="62" y="12"/>
                      <a:pt x="62" y="12"/>
                    </a:cubicBezTo>
                    <a:cubicBezTo>
                      <a:pt x="63" y="14"/>
                      <a:pt x="63" y="15"/>
                      <a:pt x="63" y="17"/>
                    </a:cubicBezTo>
                    <a:cubicBezTo>
                      <a:pt x="63" y="19"/>
                      <a:pt x="63" y="20"/>
                      <a:pt x="63" y="22"/>
                    </a:cubicBezTo>
                    <a:cubicBezTo>
                      <a:pt x="63" y="23"/>
                      <a:pt x="63" y="24"/>
                      <a:pt x="63" y="25"/>
                    </a:cubicBezTo>
                    <a:cubicBezTo>
                      <a:pt x="63" y="25"/>
                      <a:pt x="62" y="26"/>
                      <a:pt x="62" y="26"/>
                    </a:cubicBezTo>
                    <a:cubicBezTo>
                      <a:pt x="61" y="28"/>
                      <a:pt x="61" y="30"/>
                      <a:pt x="60" y="31"/>
                    </a:cubicBezTo>
                    <a:cubicBezTo>
                      <a:pt x="60" y="32"/>
                      <a:pt x="59" y="32"/>
                      <a:pt x="59" y="33"/>
                    </a:cubicBezTo>
                    <a:cubicBezTo>
                      <a:pt x="59" y="34"/>
                      <a:pt x="58" y="34"/>
                      <a:pt x="58" y="35"/>
                    </a:cubicBezTo>
                    <a:cubicBezTo>
                      <a:pt x="58" y="37"/>
                      <a:pt x="58" y="39"/>
                      <a:pt x="58" y="41"/>
                    </a:cubicBezTo>
                    <a:cubicBezTo>
                      <a:pt x="58" y="42"/>
                      <a:pt x="57" y="44"/>
                      <a:pt x="57" y="46"/>
                    </a:cubicBezTo>
                    <a:cubicBezTo>
                      <a:pt x="57" y="47"/>
                      <a:pt x="56" y="47"/>
                      <a:pt x="56" y="48"/>
                    </a:cubicBezTo>
                    <a:cubicBezTo>
                      <a:pt x="56" y="49"/>
                      <a:pt x="56" y="50"/>
                      <a:pt x="56" y="51"/>
                    </a:cubicBezTo>
                    <a:cubicBezTo>
                      <a:pt x="56" y="51"/>
                      <a:pt x="56" y="52"/>
                      <a:pt x="56" y="53"/>
                    </a:cubicBezTo>
                    <a:cubicBezTo>
                      <a:pt x="57" y="54"/>
                      <a:pt x="57" y="54"/>
                      <a:pt x="57" y="55"/>
                    </a:cubicBezTo>
                    <a:cubicBezTo>
                      <a:pt x="56" y="56"/>
                      <a:pt x="56" y="57"/>
                      <a:pt x="55" y="57"/>
                    </a:cubicBezTo>
                    <a:cubicBezTo>
                      <a:pt x="55" y="58"/>
                      <a:pt x="55" y="59"/>
                      <a:pt x="55" y="60"/>
                    </a:cubicBezTo>
                    <a:cubicBezTo>
                      <a:pt x="54" y="61"/>
                      <a:pt x="54" y="61"/>
                      <a:pt x="54" y="62"/>
                    </a:cubicBezTo>
                    <a:cubicBezTo>
                      <a:pt x="55" y="63"/>
                      <a:pt x="55" y="64"/>
                      <a:pt x="54" y="65"/>
                    </a:cubicBezTo>
                    <a:cubicBezTo>
                      <a:pt x="54" y="67"/>
                      <a:pt x="52" y="68"/>
                      <a:pt x="51" y="70"/>
                    </a:cubicBezTo>
                    <a:cubicBezTo>
                      <a:pt x="50" y="71"/>
                      <a:pt x="49" y="71"/>
                      <a:pt x="47" y="72"/>
                    </a:cubicBezTo>
                    <a:cubicBezTo>
                      <a:pt x="46" y="73"/>
                      <a:pt x="45" y="74"/>
                      <a:pt x="45" y="76"/>
                    </a:cubicBezTo>
                    <a:cubicBezTo>
                      <a:pt x="44" y="77"/>
                      <a:pt x="44" y="79"/>
                      <a:pt x="43" y="80"/>
                    </a:cubicBezTo>
                    <a:cubicBezTo>
                      <a:pt x="42" y="81"/>
                      <a:pt x="41" y="81"/>
                      <a:pt x="41" y="82"/>
                    </a:cubicBezTo>
                    <a:cubicBezTo>
                      <a:pt x="40" y="82"/>
                      <a:pt x="40" y="83"/>
                      <a:pt x="40" y="83"/>
                    </a:cubicBezTo>
                    <a:cubicBezTo>
                      <a:pt x="39" y="85"/>
                      <a:pt x="40" y="87"/>
                      <a:pt x="40" y="88"/>
                    </a:cubicBezTo>
                    <a:cubicBezTo>
                      <a:pt x="40" y="89"/>
                      <a:pt x="40" y="90"/>
                      <a:pt x="40" y="91"/>
                    </a:cubicBezTo>
                    <a:cubicBezTo>
                      <a:pt x="39" y="92"/>
                      <a:pt x="40" y="93"/>
                      <a:pt x="40" y="94"/>
                    </a:cubicBezTo>
                    <a:cubicBezTo>
                      <a:pt x="40" y="95"/>
                      <a:pt x="40" y="96"/>
                      <a:pt x="40" y="96"/>
                    </a:cubicBezTo>
                    <a:cubicBezTo>
                      <a:pt x="39" y="97"/>
                      <a:pt x="39" y="98"/>
                      <a:pt x="39" y="98"/>
                    </a:cubicBezTo>
                    <a:cubicBezTo>
                      <a:pt x="38" y="99"/>
                      <a:pt x="38" y="100"/>
                      <a:pt x="37" y="101"/>
                    </a:cubicBezTo>
                    <a:cubicBezTo>
                      <a:pt x="37" y="101"/>
                      <a:pt x="37" y="102"/>
                      <a:pt x="37" y="103"/>
                    </a:cubicBezTo>
                    <a:cubicBezTo>
                      <a:pt x="36" y="104"/>
                      <a:pt x="34" y="103"/>
                      <a:pt x="33" y="104"/>
                    </a:cubicBezTo>
                    <a:cubicBezTo>
                      <a:pt x="33" y="105"/>
                      <a:pt x="33" y="105"/>
                      <a:pt x="32" y="106"/>
                    </a:cubicBezTo>
                    <a:cubicBezTo>
                      <a:pt x="32" y="107"/>
                      <a:pt x="32" y="106"/>
                      <a:pt x="31" y="106"/>
                    </a:cubicBezTo>
                    <a:cubicBezTo>
                      <a:pt x="30" y="106"/>
                      <a:pt x="29" y="108"/>
                      <a:pt x="28" y="109"/>
                    </a:cubicBezTo>
                    <a:cubicBezTo>
                      <a:pt x="28" y="110"/>
                      <a:pt x="27" y="110"/>
                      <a:pt x="27" y="111"/>
                    </a:cubicBezTo>
                    <a:cubicBezTo>
                      <a:pt x="26" y="112"/>
                      <a:pt x="26" y="112"/>
                      <a:pt x="26" y="113"/>
                    </a:cubicBezTo>
                    <a:cubicBezTo>
                      <a:pt x="25" y="113"/>
                      <a:pt x="24" y="113"/>
                      <a:pt x="24" y="113"/>
                    </a:cubicBezTo>
                    <a:cubicBezTo>
                      <a:pt x="23" y="112"/>
                      <a:pt x="23" y="113"/>
                      <a:pt x="22" y="113"/>
                    </a:cubicBezTo>
                    <a:cubicBezTo>
                      <a:pt x="22" y="112"/>
                      <a:pt x="23" y="111"/>
                      <a:pt x="22" y="111"/>
                    </a:cubicBezTo>
                    <a:cubicBezTo>
                      <a:pt x="22" y="110"/>
                      <a:pt x="22" y="110"/>
                      <a:pt x="22" y="109"/>
                    </a:cubicBezTo>
                    <a:cubicBezTo>
                      <a:pt x="22" y="109"/>
                      <a:pt x="23" y="108"/>
                      <a:pt x="23" y="108"/>
                    </a:cubicBezTo>
                    <a:cubicBezTo>
                      <a:pt x="22" y="107"/>
                      <a:pt x="22" y="107"/>
                      <a:pt x="22" y="106"/>
                    </a:cubicBezTo>
                    <a:cubicBezTo>
                      <a:pt x="21" y="106"/>
                      <a:pt x="21" y="107"/>
                      <a:pt x="20" y="107"/>
                    </a:cubicBezTo>
                    <a:cubicBezTo>
                      <a:pt x="19" y="108"/>
                      <a:pt x="19" y="108"/>
                      <a:pt x="18" y="108"/>
                    </a:cubicBezTo>
                    <a:cubicBezTo>
                      <a:pt x="17" y="109"/>
                      <a:pt x="17" y="107"/>
                      <a:pt x="16" y="108"/>
                    </a:cubicBezTo>
                    <a:cubicBezTo>
                      <a:pt x="15" y="108"/>
                      <a:pt x="16" y="109"/>
                      <a:pt x="16" y="109"/>
                    </a:cubicBezTo>
                    <a:cubicBezTo>
                      <a:pt x="16" y="110"/>
                      <a:pt x="15" y="110"/>
                      <a:pt x="16" y="110"/>
                    </a:cubicBezTo>
                    <a:cubicBezTo>
                      <a:pt x="16" y="111"/>
                      <a:pt x="15" y="111"/>
                      <a:pt x="15" y="111"/>
                    </a:cubicBezTo>
                    <a:cubicBezTo>
                      <a:pt x="14" y="112"/>
                      <a:pt x="14" y="112"/>
                      <a:pt x="14" y="112"/>
                    </a:cubicBezTo>
                    <a:cubicBezTo>
                      <a:pt x="14" y="112"/>
                      <a:pt x="14" y="111"/>
                      <a:pt x="13" y="112"/>
                    </a:cubicBezTo>
                    <a:cubicBezTo>
                      <a:pt x="13" y="112"/>
                      <a:pt x="13" y="112"/>
                      <a:pt x="13" y="112"/>
                    </a:cubicBezTo>
                    <a:cubicBezTo>
                      <a:pt x="13" y="112"/>
                      <a:pt x="13" y="113"/>
                      <a:pt x="13" y="113"/>
                    </a:cubicBezTo>
                    <a:cubicBezTo>
                      <a:pt x="12" y="112"/>
                      <a:pt x="12" y="112"/>
                      <a:pt x="12" y="112"/>
                    </a:cubicBezTo>
                    <a:cubicBezTo>
                      <a:pt x="11" y="111"/>
                      <a:pt x="11" y="111"/>
                      <a:pt x="10" y="110"/>
                    </a:cubicBezTo>
                    <a:cubicBezTo>
                      <a:pt x="10" y="110"/>
                      <a:pt x="10" y="109"/>
                      <a:pt x="10" y="110"/>
                    </a:cubicBezTo>
                    <a:cubicBezTo>
                      <a:pt x="9" y="110"/>
                      <a:pt x="9" y="110"/>
                      <a:pt x="9" y="110"/>
                    </a:cubicBezTo>
                    <a:cubicBezTo>
                      <a:pt x="9" y="111"/>
                      <a:pt x="9" y="111"/>
                      <a:pt x="8" y="111"/>
                    </a:cubicBezTo>
                    <a:cubicBezTo>
                      <a:pt x="7" y="111"/>
                      <a:pt x="7" y="111"/>
                      <a:pt x="6" y="112"/>
                    </a:cubicBezTo>
                    <a:cubicBezTo>
                      <a:pt x="6" y="113"/>
                      <a:pt x="6" y="113"/>
                      <a:pt x="6" y="113"/>
                    </a:cubicBezTo>
                    <a:cubicBezTo>
                      <a:pt x="6" y="114"/>
                      <a:pt x="5" y="113"/>
                      <a:pt x="5" y="113"/>
                    </a:cubicBezTo>
                    <a:cubicBezTo>
                      <a:pt x="5" y="114"/>
                      <a:pt x="5" y="114"/>
                      <a:pt x="4" y="115"/>
                    </a:cubicBezTo>
                    <a:cubicBezTo>
                      <a:pt x="4" y="115"/>
                      <a:pt x="3" y="115"/>
                      <a:pt x="3" y="115"/>
                    </a:cubicBezTo>
                    <a:cubicBezTo>
                      <a:pt x="4" y="116"/>
                      <a:pt x="4" y="115"/>
                      <a:pt x="4" y="116"/>
                    </a:cubicBezTo>
                    <a:cubicBezTo>
                      <a:pt x="4" y="117"/>
                      <a:pt x="4" y="117"/>
                      <a:pt x="4" y="118"/>
                    </a:cubicBezTo>
                    <a:cubicBezTo>
                      <a:pt x="4" y="119"/>
                      <a:pt x="4" y="120"/>
                      <a:pt x="4" y="122"/>
                    </a:cubicBezTo>
                    <a:cubicBezTo>
                      <a:pt x="4" y="123"/>
                      <a:pt x="2" y="122"/>
                      <a:pt x="2" y="122"/>
                    </a:cubicBezTo>
                    <a:cubicBezTo>
                      <a:pt x="0" y="123"/>
                      <a:pt x="2" y="125"/>
                      <a:pt x="3" y="125"/>
                    </a:cubicBezTo>
                    <a:cubicBezTo>
                      <a:pt x="3" y="124"/>
                      <a:pt x="4" y="125"/>
                      <a:pt x="3" y="125"/>
                    </a:cubicBezTo>
                    <a:cubicBezTo>
                      <a:pt x="3" y="126"/>
                      <a:pt x="4" y="125"/>
                      <a:pt x="4" y="125"/>
                    </a:cubicBezTo>
                    <a:cubicBezTo>
                      <a:pt x="5" y="125"/>
                      <a:pt x="5" y="125"/>
                      <a:pt x="6" y="125"/>
                    </a:cubicBezTo>
                    <a:cubicBezTo>
                      <a:pt x="6" y="124"/>
                      <a:pt x="7" y="123"/>
                      <a:pt x="8" y="123"/>
                    </a:cubicBezTo>
                    <a:cubicBezTo>
                      <a:pt x="9" y="124"/>
                      <a:pt x="11" y="124"/>
                      <a:pt x="12" y="124"/>
                    </a:cubicBezTo>
                    <a:cubicBezTo>
                      <a:pt x="13" y="123"/>
                      <a:pt x="14" y="124"/>
                      <a:pt x="14" y="124"/>
                    </a:cubicBezTo>
                    <a:cubicBezTo>
                      <a:pt x="15" y="124"/>
                      <a:pt x="15" y="124"/>
                      <a:pt x="16" y="124"/>
                    </a:cubicBezTo>
                    <a:cubicBezTo>
                      <a:pt x="16" y="124"/>
                      <a:pt x="17" y="123"/>
                      <a:pt x="18" y="124"/>
                    </a:cubicBezTo>
                    <a:cubicBezTo>
                      <a:pt x="19" y="124"/>
                      <a:pt x="19" y="124"/>
                      <a:pt x="20" y="124"/>
                    </a:cubicBezTo>
                    <a:cubicBezTo>
                      <a:pt x="21" y="124"/>
                      <a:pt x="22" y="124"/>
                      <a:pt x="23" y="124"/>
                    </a:cubicBezTo>
                    <a:cubicBezTo>
                      <a:pt x="24" y="124"/>
                      <a:pt x="24" y="124"/>
                      <a:pt x="25" y="124"/>
                    </a:cubicBezTo>
                    <a:cubicBezTo>
                      <a:pt x="26" y="123"/>
                      <a:pt x="28" y="124"/>
                      <a:pt x="30" y="124"/>
                    </a:cubicBezTo>
                    <a:cubicBezTo>
                      <a:pt x="32" y="124"/>
                      <a:pt x="34" y="124"/>
                      <a:pt x="35" y="124"/>
                    </a:cubicBezTo>
                    <a:cubicBezTo>
                      <a:pt x="36" y="124"/>
                      <a:pt x="37" y="124"/>
                      <a:pt x="38" y="124"/>
                    </a:cubicBezTo>
                    <a:cubicBezTo>
                      <a:pt x="39" y="124"/>
                      <a:pt x="40" y="123"/>
                      <a:pt x="41" y="124"/>
                    </a:cubicBezTo>
                    <a:cubicBezTo>
                      <a:pt x="41" y="124"/>
                      <a:pt x="42" y="124"/>
                      <a:pt x="42" y="124"/>
                    </a:cubicBezTo>
                    <a:cubicBezTo>
                      <a:pt x="43" y="124"/>
                      <a:pt x="43" y="124"/>
                      <a:pt x="43" y="125"/>
                    </a:cubicBezTo>
                    <a:cubicBezTo>
                      <a:pt x="43" y="125"/>
                      <a:pt x="43" y="126"/>
                      <a:pt x="44" y="126"/>
                    </a:cubicBezTo>
                    <a:cubicBezTo>
                      <a:pt x="44" y="127"/>
                      <a:pt x="45" y="127"/>
                      <a:pt x="45" y="128"/>
                    </a:cubicBezTo>
                    <a:cubicBezTo>
                      <a:pt x="44" y="129"/>
                      <a:pt x="44" y="130"/>
                      <a:pt x="45" y="130"/>
                    </a:cubicBezTo>
                    <a:cubicBezTo>
                      <a:pt x="45" y="131"/>
                      <a:pt x="45" y="132"/>
                      <a:pt x="45" y="133"/>
                    </a:cubicBezTo>
                    <a:cubicBezTo>
                      <a:pt x="46" y="133"/>
                      <a:pt x="46" y="134"/>
                      <a:pt x="46" y="135"/>
                    </a:cubicBezTo>
                    <a:cubicBezTo>
                      <a:pt x="46" y="135"/>
                      <a:pt x="47" y="135"/>
                      <a:pt x="47" y="136"/>
                    </a:cubicBezTo>
                    <a:cubicBezTo>
                      <a:pt x="47" y="136"/>
                      <a:pt x="47" y="136"/>
                      <a:pt x="47" y="136"/>
                    </a:cubicBezTo>
                    <a:cubicBezTo>
                      <a:pt x="47" y="137"/>
                      <a:pt x="47" y="137"/>
                      <a:pt x="47" y="138"/>
                    </a:cubicBezTo>
                    <a:cubicBezTo>
                      <a:pt x="47" y="138"/>
                      <a:pt x="47" y="139"/>
                      <a:pt x="47" y="139"/>
                    </a:cubicBezTo>
                    <a:cubicBezTo>
                      <a:pt x="47" y="140"/>
                      <a:pt x="48" y="140"/>
                      <a:pt x="48" y="140"/>
                    </a:cubicBezTo>
                    <a:cubicBezTo>
                      <a:pt x="48" y="141"/>
                      <a:pt x="49" y="140"/>
                      <a:pt x="49" y="141"/>
                    </a:cubicBezTo>
                    <a:cubicBezTo>
                      <a:pt x="49" y="141"/>
                      <a:pt x="48" y="141"/>
                      <a:pt x="49" y="141"/>
                    </a:cubicBezTo>
                    <a:cubicBezTo>
                      <a:pt x="49" y="142"/>
                      <a:pt x="49" y="142"/>
                      <a:pt x="49" y="143"/>
                    </a:cubicBezTo>
                    <a:cubicBezTo>
                      <a:pt x="50" y="143"/>
                      <a:pt x="50" y="143"/>
                      <a:pt x="50" y="143"/>
                    </a:cubicBezTo>
                    <a:cubicBezTo>
                      <a:pt x="50" y="144"/>
                      <a:pt x="50" y="144"/>
                      <a:pt x="50" y="144"/>
                    </a:cubicBezTo>
                    <a:cubicBezTo>
                      <a:pt x="50" y="144"/>
                      <a:pt x="50" y="144"/>
                      <a:pt x="51" y="145"/>
                    </a:cubicBezTo>
                    <a:cubicBezTo>
                      <a:pt x="51" y="145"/>
                      <a:pt x="51" y="145"/>
                      <a:pt x="51" y="146"/>
                    </a:cubicBezTo>
                    <a:cubicBezTo>
                      <a:pt x="52" y="146"/>
                      <a:pt x="51" y="146"/>
                      <a:pt x="52" y="147"/>
                    </a:cubicBezTo>
                    <a:cubicBezTo>
                      <a:pt x="52" y="147"/>
                      <a:pt x="52" y="147"/>
                      <a:pt x="52" y="147"/>
                    </a:cubicBezTo>
                    <a:cubicBezTo>
                      <a:pt x="53" y="148"/>
                      <a:pt x="52" y="148"/>
                      <a:pt x="53" y="148"/>
                    </a:cubicBezTo>
                    <a:cubicBezTo>
                      <a:pt x="53" y="149"/>
                      <a:pt x="54" y="148"/>
                      <a:pt x="55" y="148"/>
                    </a:cubicBezTo>
                    <a:cubicBezTo>
                      <a:pt x="55" y="148"/>
                      <a:pt x="56" y="147"/>
                      <a:pt x="56" y="148"/>
                    </a:cubicBezTo>
                    <a:cubicBezTo>
                      <a:pt x="57" y="148"/>
                      <a:pt x="57" y="148"/>
                      <a:pt x="58" y="148"/>
                    </a:cubicBezTo>
                    <a:cubicBezTo>
                      <a:pt x="58" y="147"/>
                      <a:pt x="60" y="147"/>
                      <a:pt x="61" y="147"/>
                    </a:cubicBezTo>
                    <a:cubicBezTo>
                      <a:pt x="61" y="147"/>
                      <a:pt x="62" y="147"/>
                      <a:pt x="62" y="147"/>
                    </a:cubicBezTo>
                    <a:cubicBezTo>
                      <a:pt x="62" y="146"/>
                      <a:pt x="63" y="146"/>
                      <a:pt x="63" y="146"/>
                    </a:cubicBezTo>
                    <a:cubicBezTo>
                      <a:pt x="64" y="146"/>
                      <a:pt x="64" y="146"/>
                      <a:pt x="64" y="147"/>
                    </a:cubicBezTo>
                    <a:cubicBezTo>
                      <a:pt x="64" y="147"/>
                      <a:pt x="65" y="147"/>
                      <a:pt x="66" y="147"/>
                    </a:cubicBezTo>
                    <a:cubicBezTo>
                      <a:pt x="67" y="147"/>
                      <a:pt x="69" y="147"/>
                      <a:pt x="70" y="147"/>
                    </a:cubicBezTo>
                    <a:cubicBezTo>
                      <a:pt x="70" y="146"/>
                      <a:pt x="70" y="146"/>
                      <a:pt x="70" y="145"/>
                    </a:cubicBezTo>
                    <a:cubicBezTo>
                      <a:pt x="70" y="145"/>
                      <a:pt x="71" y="144"/>
                      <a:pt x="70" y="143"/>
                    </a:cubicBezTo>
                    <a:cubicBezTo>
                      <a:pt x="70" y="142"/>
                      <a:pt x="71" y="143"/>
                      <a:pt x="71" y="142"/>
                    </a:cubicBezTo>
                    <a:cubicBezTo>
                      <a:pt x="72" y="141"/>
                      <a:pt x="72" y="141"/>
                      <a:pt x="71" y="140"/>
                    </a:cubicBezTo>
                    <a:cubicBezTo>
                      <a:pt x="71" y="140"/>
                      <a:pt x="71" y="139"/>
                      <a:pt x="71" y="138"/>
                    </a:cubicBezTo>
                    <a:cubicBezTo>
                      <a:pt x="71" y="138"/>
                      <a:pt x="72" y="137"/>
                      <a:pt x="72" y="137"/>
                    </a:cubicBezTo>
                    <a:cubicBezTo>
                      <a:pt x="72" y="137"/>
                      <a:pt x="72" y="136"/>
                      <a:pt x="72" y="136"/>
                    </a:cubicBezTo>
                    <a:cubicBezTo>
                      <a:pt x="74" y="136"/>
                      <a:pt x="75" y="136"/>
                      <a:pt x="77" y="136"/>
                    </a:cubicBezTo>
                    <a:cubicBezTo>
                      <a:pt x="77" y="136"/>
                      <a:pt x="79" y="136"/>
                      <a:pt x="79" y="136"/>
                    </a:cubicBezTo>
                    <a:cubicBezTo>
                      <a:pt x="79" y="135"/>
                      <a:pt x="79" y="135"/>
                      <a:pt x="80" y="135"/>
                    </a:cubicBezTo>
                    <a:cubicBezTo>
                      <a:pt x="81" y="135"/>
                      <a:pt x="83" y="135"/>
                      <a:pt x="82" y="136"/>
                    </a:cubicBezTo>
                    <a:cubicBezTo>
                      <a:pt x="82" y="136"/>
                      <a:pt x="81" y="139"/>
                      <a:pt x="82" y="139"/>
                    </a:cubicBezTo>
                    <a:cubicBezTo>
                      <a:pt x="82" y="139"/>
                      <a:pt x="83" y="139"/>
                      <a:pt x="84" y="139"/>
                    </a:cubicBezTo>
                    <a:cubicBezTo>
                      <a:pt x="85" y="139"/>
                      <a:pt x="86" y="139"/>
                      <a:pt x="87" y="139"/>
                    </a:cubicBezTo>
                    <a:cubicBezTo>
                      <a:pt x="89" y="139"/>
                      <a:pt x="91" y="139"/>
                      <a:pt x="93" y="139"/>
                    </a:cubicBezTo>
                    <a:cubicBezTo>
                      <a:pt x="95" y="139"/>
                      <a:pt x="94" y="141"/>
                      <a:pt x="94" y="143"/>
                    </a:cubicBezTo>
                    <a:cubicBezTo>
                      <a:pt x="94" y="144"/>
                      <a:pt x="93" y="146"/>
                      <a:pt x="94" y="148"/>
                    </a:cubicBezTo>
                    <a:cubicBezTo>
                      <a:pt x="94" y="148"/>
                      <a:pt x="94" y="149"/>
                      <a:pt x="94" y="150"/>
                    </a:cubicBezTo>
                    <a:cubicBezTo>
                      <a:pt x="94" y="150"/>
                      <a:pt x="95" y="150"/>
                      <a:pt x="95" y="151"/>
                    </a:cubicBezTo>
                    <a:cubicBezTo>
                      <a:pt x="95" y="151"/>
                      <a:pt x="95" y="151"/>
                      <a:pt x="95" y="152"/>
                    </a:cubicBezTo>
                    <a:cubicBezTo>
                      <a:pt x="95" y="153"/>
                      <a:pt x="94" y="155"/>
                      <a:pt x="94" y="157"/>
                    </a:cubicBezTo>
                    <a:cubicBezTo>
                      <a:pt x="94" y="157"/>
                      <a:pt x="94" y="158"/>
                      <a:pt x="94" y="159"/>
                    </a:cubicBezTo>
                    <a:cubicBezTo>
                      <a:pt x="94" y="160"/>
                      <a:pt x="94" y="161"/>
                      <a:pt x="94" y="161"/>
                    </a:cubicBezTo>
                    <a:cubicBezTo>
                      <a:pt x="93" y="163"/>
                      <a:pt x="94" y="165"/>
                      <a:pt x="95" y="166"/>
                    </a:cubicBezTo>
                    <a:cubicBezTo>
                      <a:pt x="95" y="167"/>
                      <a:pt x="95" y="168"/>
                      <a:pt x="96" y="168"/>
                    </a:cubicBezTo>
                    <a:cubicBezTo>
                      <a:pt x="97" y="168"/>
                      <a:pt x="97" y="168"/>
                      <a:pt x="97" y="169"/>
                    </a:cubicBezTo>
                    <a:cubicBezTo>
                      <a:pt x="97" y="170"/>
                      <a:pt x="97" y="171"/>
                      <a:pt x="98" y="172"/>
                    </a:cubicBezTo>
                    <a:cubicBezTo>
                      <a:pt x="98" y="172"/>
                      <a:pt x="98" y="173"/>
                      <a:pt x="98" y="173"/>
                    </a:cubicBezTo>
                    <a:cubicBezTo>
                      <a:pt x="98" y="174"/>
                      <a:pt x="98" y="174"/>
                      <a:pt x="98" y="175"/>
                    </a:cubicBezTo>
                    <a:cubicBezTo>
                      <a:pt x="99" y="175"/>
                      <a:pt x="98" y="176"/>
                      <a:pt x="98" y="177"/>
                    </a:cubicBezTo>
                    <a:cubicBezTo>
                      <a:pt x="98" y="178"/>
                      <a:pt x="98" y="178"/>
                      <a:pt x="97" y="178"/>
                    </a:cubicBezTo>
                    <a:cubicBezTo>
                      <a:pt x="97" y="179"/>
                      <a:pt x="97" y="179"/>
                      <a:pt x="97" y="180"/>
                    </a:cubicBezTo>
                    <a:cubicBezTo>
                      <a:pt x="97" y="181"/>
                      <a:pt x="98" y="181"/>
                      <a:pt x="98" y="182"/>
                    </a:cubicBezTo>
                    <a:cubicBezTo>
                      <a:pt x="98" y="182"/>
                      <a:pt x="97" y="183"/>
                      <a:pt x="98" y="183"/>
                    </a:cubicBezTo>
                    <a:cubicBezTo>
                      <a:pt x="98" y="183"/>
                      <a:pt x="99" y="182"/>
                      <a:pt x="99" y="182"/>
                    </a:cubicBezTo>
                    <a:cubicBezTo>
                      <a:pt x="100" y="182"/>
                      <a:pt x="100" y="181"/>
                      <a:pt x="100" y="181"/>
                    </a:cubicBezTo>
                    <a:cubicBezTo>
                      <a:pt x="101" y="180"/>
                      <a:pt x="101" y="181"/>
                      <a:pt x="102" y="181"/>
                    </a:cubicBezTo>
                    <a:cubicBezTo>
                      <a:pt x="102" y="181"/>
                      <a:pt x="103" y="181"/>
                      <a:pt x="103" y="181"/>
                    </a:cubicBezTo>
                    <a:cubicBezTo>
                      <a:pt x="104" y="181"/>
                      <a:pt x="104" y="181"/>
                      <a:pt x="105" y="181"/>
                    </a:cubicBezTo>
                    <a:cubicBezTo>
                      <a:pt x="105" y="181"/>
                      <a:pt x="105" y="181"/>
                      <a:pt x="106" y="181"/>
                    </a:cubicBezTo>
                    <a:cubicBezTo>
                      <a:pt x="106" y="181"/>
                      <a:pt x="107" y="181"/>
                      <a:pt x="108" y="181"/>
                    </a:cubicBezTo>
                    <a:cubicBezTo>
                      <a:pt x="108" y="180"/>
                      <a:pt x="109" y="180"/>
                      <a:pt x="109" y="180"/>
                    </a:cubicBezTo>
                    <a:cubicBezTo>
                      <a:pt x="110" y="180"/>
                      <a:pt x="110" y="180"/>
                      <a:pt x="111" y="180"/>
                    </a:cubicBezTo>
                    <a:cubicBezTo>
                      <a:pt x="112" y="180"/>
                      <a:pt x="112" y="180"/>
                      <a:pt x="112" y="180"/>
                    </a:cubicBezTo>
                    <a:cubicBezTo>
                      <a:pt x="113" y="180"/>
                      <a:pt x="113" y="180"/>
                      <a:pt x="113" y="180"/>
                    </a:cubicBezTo>
                    <a:cubicBezTo>
                      <a:pt x="114" y="181"/>
                      <a:pt x="114" y="180"/>
                      <a:pt x="114" y="179"/>
                    </a:cubicBezTo>
                    <a:cubicBezTo>
                      <a:pt x="114" y="178"/>
                      <a:pt x="115" y="179"/>
                      <a:pt x="116" y="179"/>
                    </a:cubicBezTo>
                    <a:cubicBezTo>
                      <a:pt x="116" y="179"/>
                      <a:pt x="116" y="180"/>
                      <a:pt x="116" y="180"/>
                    </a:cubicBezTo>
                    <a:cubicBezTo>
                      <a:pt x="117" y="181"/>
                      <a:pt x="118" y="180"/>
                      <a:pt x="118" y="181"/>
                    </a:cubicBezTo>
                    <a:cubicBezTo>
                      <a:pt x="119" y="182"/>
                      <a:pt x="118" y="182"/>
                      <a:pt x="118" y="182"/>
                    </a:cubicBezTo>
                    <a:cubicBezTo>
                      <a:pt x="118" y="182"/>
                      <a:pt x="119" y="182"/>
                      <a:pt x="119" y="183"/>
                    </a:cubicBezTo>
                    <a:cubicBezTo>
                      <a:pt x="119" y="183"/>
                      <a:pt x="118" y="184"/>
                      <a:pt x="118" y="184"/>
                    </a:cubicBezTo>
                    <a:cubicBezTo>
                      <a:pt x="117" y="185"/>
                      <a:pt x="118" y="185"/>
                      <a:pt x="119" y="185"/>
                    </a:cubicBezTo>
                    <a:cubicBezTo>
                      <a:pt x="119" y="185"/>
                      <a:pt x="119" y="185"/>
                      <a:pt x="120" y="185"/>
                    </a:cubicBezTo>
                    <a:cubicBezTo>
                      <a:pt x="121" y="185"/>
                      <a:pt x="121" y="184"/>
                      <a:pt x="121" y="184"/>
                    </a:cubicBezTo>
                    <a:cubicBezTo>
                      <a:pt x="122" y="183"/>
                      <a:pt x="123" y="184"/>
                      <a:pt x="123" y="183"/>
                    </a:cubicBezTo>
                    <a:cubicBezTo>
                      <a:pt x="124" y="183"/>
                      <a:pt x="125" y="183"/>
                      <a:pt x="126" y="183"/>
                    </a:cubicBezTo>
                    <a:cubicBezTo>
                      <a:pt x="126" y="183"/>
                      <a:pt x="127" y="182"/>
                      <a:pt x="127" y="182"/>
                    </a:cubicBezTo>
                    <a:cubicBezTo>
                      <a:pt x="128" y="183"/>
                      <a:pt x="127" y="184"/>
                      <a:pt x="127" y="185"/>
                    </a:cubicBezTo>
                    <a:cubicBezTo>
                      <a:pt x="128" y="186"/>
                      <a:pt x="127" y="187"/>
                      <a:pt x="128" y="188"/>
                    </a:cubicBezTo>
                    <a:cubicBezTo>
                      <a:pt x="129" y="188"/>
                      <a:pt x="129" y="188"/>
                      <a:pt x="129" y="189"/>
                    </a:cubicBezTo>
                    <a:cubicBezTo>
                      <a:pt x="129" y="189"/>
                      <a:pt x="130" y="188"/>
                      <a:pt x="130" y="188"/>
                    </a:cubicBezTo>
                    <a:cubicBezTo>
                      <a:pt x="131" y="188"/>
                      <a:pt x="131" y="189"/>
                      <a:pt x="132" y="189"/>
                    </a:cubicBezTo>
                    <a:cubicBezTo>
                      <a:pt x="133" y="189"/>
                      <a:pt x="133" y="189"/>
                      <a:pt x="133" y="190"/>
                    </a:cubicBezTo>
                    <a:cubicBezTo>
                      <a:pt x="134" y="190"/>
                      <a:pt x="134" y="190"/>
                      <a:pt x="135" y="190"/>
                    </a:cubicBezTo>
                    <a:cubicBezTo>
                      <a:pt x="136" y="190"/>
                      <a:pt x="136" y="190"/>
                      <a:pt x="137" y="190"/>
                    </a:cubicBezTo>
                    <a:cubicBezTo>
                      <a:pt x="137" y="190"/>
                      <a:pt x="138" y="190"/>
                      <a:pt x="138" y="190"/>
                    </a:cubicBezTo>
                    <a:cubicBezTo>
                      <a:pt x="138" y="190"/>
                      <a:pt x="139" y="191"/>
                      <a:pt x="139" y="191"/>
                    </a:cubicBezTo>
                    <a:cubicBezTo>
                      <a:pt x="139" y="191"/>
                      <a:pt x="141" y="191"/>
                      <a:pt x="141" y="191"/>
                    </a:cubicBezTo>
                    <a:cubicBezTo>
                      <a:pt x="141" y="191"/>
                      <a:pt x="142" y="191"/>
                      <a:pt x="142" y="191"/>
                    </a:cubicBezTo>
                    <a:cubicBezTo>
                      <a:pt x="143" y="191"/>
                      <a:pt x="143" y="190"/>
                      <a:pt x="143" y="189"/>
                    </a:cubicBezTo>
                    <a:cubicBezTo>
                      <a:pt x="144" y="189"/>
                      <a:pt x="144" y="188"/>
                      <a:pt x="144" y="187"/>
                    </a:cubicBezTo>
                    <a:cubicBezTo>
                      <a:pt x="144" y="187"/>
                      <a:pt x="144" y="187"/>
                      <a:pt x="145" y="187"/>
                    </a:cubicBezTo>
                    <a:cubicBezTo>
                      <a:pt x="146" y="186"/>
                      <a:pt x="146" y="187"/>
                      <a:pt x="146" y="188"/>
                    </a:cubicBezTo>
                    <a:cubicBezTo>
                      <a:pt x="146" y="189"/>
                      <a:pt x="147" y="189"/>
                      <a:pt x="147" y="190"/>
                    </a:cubicBezTo>
                    <a:cubicBezTo>
                      <a:pt x="148" y="190"/>
                      <a:pt x="148" y="191"/>
                      <a:pt x="148" y="192"/>
                    </a:cubicBezTo>
                    <a:cubicBezTo>
                      <a:pt x="148" y="193"/>
                      <a:pt x="149" y="194"/>
                      <a:pt x="150" y="195"/>
                    </a:cubicBezTo>
                    <a:cubicBezTo>
                      <a:pt x="151" y="195"/>
                      <a:pt x="151" y="194"/>
                      <a:pt x="152" y="194"/>
                    </a:cubicBezTo>
                    <a:cubicBezTo>
                      <a:pt x="152" y="194"/>
                      <a:pt x="153" y="195"/>
                      <a:pt x="153" y="195"/>
                    </a:cubicBezTo>
                    <a:cubicBezTo>
                      <a:pt x="154" y="195"/>
                      <a:pt x="154" y="196"/>
                      <a:pt x="155" y="196"/>
                    </a:cubicBezTo>
                    <a:cubicBezTo>
                      <a:pt x="155" y="196"/>
                      <a:pt x="156" y="196"/>
                      <a:pt x="156" y="196"/>
                    </a:cubicBezTo>
                    <a:cubicBezTo>
                      <a:pt x="157" y="197"/>
                      <a:pt x="157" y="197"/>
                      <a:pt x="158" y="198"/>
                    </a:cubicBezTo>
                    <a:cubicBezTo>
                      <a:pt x="158" y="198"/>
                      <a:pt x="158" y="199"/>
                      <a:pt x="158" y="199"/>
                    </a:cubicBezTo>
                    <a:cubicBezTo>
                      <a:pt x="157" y="199"/>
                      <a:pt x="158" y="200"/>
                      <a:pt x="158" y="200"/>
                    </a:cubicBezTo>
                    <a:cubicBezTo>
                      <a:pt x="158" y="201"/>
                      <a:pt x="158" y="201"/>
                      <a:pt x="159" y="201"/>
                    </a:cubicBezTo>
                    <a:cubicBezTo>
                      <a:pt x="159" y="200"/>
                      <a:pt x="160" y="200"/>
                      <a:pt x="160" y="201"/>
                    </a:cubicBezTo>
                    <a:cubicBezTo>
                      <a:pt x="160" y="201"/>
                      <a:pt x="161" y="202"/>
                      <a:pt x="161" y="202"/>
                    </a:cubicBezTo>
                    <a:cubicBezTo>
                      <a:pt x="161" y="203"/>
                      <a:pt x="161" y="203"/>
                      <a:pt x="161" y="204"/>
                    </a:cubicBezTo>
                    <a:cubicBezTo>
                      <a:pt x="163" y="204"/>
                      <a:pt x="161" y="207"/>
                      <a:pt x="163" y="206"/>
                    </a:cubicBezTo>
                    <a:cubicBezTo>
                      <a:pt x="163" y="206"/>
                      <a:pt x="164" y="206"/>
                      <a:pt x="164" y="206"/>
                    </a:cubicBezTo>
                    <a:cubicBezTo>
                      <a:pt x="164" y="206"/>
                      <a:pt x="164" y="207"/>
                      <a:pt x="164" y="207"/>
                    </a:cubicBezTo>
                    <a:cubicBezTo>
                      <a:pt x="165" y="207"/>
                      <a:pt x="165" y="206"/>
                      <a:pt x="165" y="206"/>
                    </a:cubicBezTo>
                    <a:cubicBezTo>
                      <a:pt x="166" y="206"/>
                      <a:pt x="167" y="206"/>
                      <a:pt x="167" y="205"/>
                    </a:cubicBezTo>
                    <a:cubicBezTo>
                      <a:pt x="168" y="205"/>
                      <a:pt x="168" y="205"/>
                      <a:pt x="169" y="205"/>
                    </a:cubicBezTo>
                    <a:cubicBezTo>
                      <a:pt x="170" y="205"/>
                      <a:pt x="168" y="206"/>
                      <a:pt x="169" y="207"/>
                    </a:cubicBezTo>
                    <a:cubicBezTo>
                      <a:pt x="169" y="207"/>
                      <a:pt x="170" y="207"/>
                      <a:pt x="170" y="207"/>
                    </a:cubicBezTo>
                    <a:cubicBezTo>
                      <a:pt x="170" y="207"/>
                      <a:pt x="170" y="206"/>
                      <a:pt x="170" y="206"/>
                    </a:cubicBezTo>
                    <a:cubicBezTo>
                      <a:pt x="170" y="205"/>
                      <a:pt x="170" y="203"/>
                      <a:pt x="170" y="202"/>
                    </a:cubicBezTo>
                    <a:cubicBezTo>
                      <a:pt x="170" y="200"/>
                      <a:pt x="170" y="198"/>
                      <a:pt x="171" y="196"/>
                    </a:cubicBezTo>
                    <a:cubicBezTo>
                      <a:pt x="171" y="195"/>
                      <a:pt x="171" y="193"/>
                      <a:pt x="170" y="193"/>
                    </a:cubicBezTo>
                    <a:cubicBezTo>
                      <a:pt x="170" y="193"/>
                      <a:pt x="170" y="193"/>
                      <a:pt x="169" y="193"/>
                    </a:cubicBezTo>
                    <a:cubicBezTo>
                      <a:pt x="169" y="193"/>
                      <a:pt x="169" y="193"/>
                      <a:pt x="168" y="193"/>
                    </a:cubicBezTo>
                    <a:cubicBezTo>
                      <a:pt x="168" y="193"/>
                      <a:pt x="167" y="194"/>
                      <a:pt x="167" y="194"/>
                    </a:cubicBezTo>
                    <a:cubicBezTo>
                      <a:pt x="167" y="195"/>
                      <a:pt x="167" y="195"/>
                      <a:pt x="168" y="195"/>
                    </a:cubicBezTo>
                    <a:cubicBezTo>
                      <a:pt x="168" y="196"/>
                      <a:pt x="168" y="196"/>
                      <a:pt x="167" y="196"/>
                    </a:cubicBezTo>
                    <a:cubicBezTo>
                      <a:pt x="167" y="196"/>
                      <a:pt x="167" y="196"/>
                      <a:pt x="167" y="196"/>
                    </a:cubicBezTo>
                    <a:cubicBezTo>
                      <a:pt x="166" y="196"/>
                      <a:pt x="166" y="196"/>
                      <a:pt x="165" y="195"/>
                    </a:cubicBezTo>
                    <a:cubicBezTo>
                      <a:pt x="165" y="195"/>
                      <a:pt x="164" y="195"/>
                      <a:pt x="164" y="195"/>
                    </a:cubicBezTo>
                    <a:cubicBezTo>
                      <a:pt x="163" y="195"/>
                      <a:pt x="163" y="195"/>
                      <a:pt x="163" y="195"/>
                    </a:cubicBezTo>
                    <a:cubicBezTo>
                      <a:pt x="162" y="194"/>
                      <a:pt x="162" y="193"/>
                      <a:pt x="161" y="193"/>
                    </a:cubicBezTo>
                    <a:cubicBezTo>
                      <a:pt x="161" y="192"/>
                      <a:pt x="161" y="192"/>
                      <a:pt x="160" y="192"/>
                    </a:cubicBezTo>
                    <a:cubicBezTo>
                      <a:pt x="160" y="191"/>
                      <a:pt x="160" y="191"/>
                      <a:pt x="160" y="191"/>
                    </a:cubicBezTo>
                    <a:cubicBezTo>
                      <a:pt x="159" y="191"/>
                      <a:pt x="159" y="190"/>
                      <a:pt x="159" y="190"/>
                    </a:cubicBezTo>
                    <a:cubicBezTo>
                      <a:pt x="159" y="190"/>
                      <a:pt x="158" y="190"/>
                      <a:pt x="158" y="190"/>
                    </a:cubicBezTo>
                    <a:cubicBezTo>
                      <a:pt x="158" y="189"/>
                      <a:pt x="158" y="189"/>
                      <a:pt x="158" y="189"/>
                    </a:cubicBezTo>
                    <a:cubicBezTo>
                      <a:pt x="157" y="189"/>
                      <a:pt x="157" y="188"/>
                      <a:pt x="157" y="188"/>
                    </a:cubicBezTo>
                    <a:cubicBezTo>
                      <a:pt x="157" y="187"/>
                      <a:pt x="157" y="186"/>
                      <a:pt x="157" y="185"/>
                    </a:cubicBezTo>
                    <a:cubicBezTo>
                      <a:pt x="157" y="185"/>
                      <a:pt x="157" y="184"/>
                      <a:pt x="157" y="184"/>
                    </a:cubicBezTo>
                    <a:cubicBezTo>
                      <a:pt x="158" y="182"/>
                      <a:pt x="158" y="180"/>
                      <a:pt x="159" y="179"/>
                    </a:cubicBezTo>
                    <a:cubicBezTo>
                      <a:pt x="159" y="178"/>
                      <a:pt x="159" y="177"/>
                      <a:pt x="160" y="177"/>
                    </a:cubicBezTo>
                    <a:cubicBezTo>
                      <a:pt x="160" y="176"/>
                      <a:pt x="160" y="176"/>
                      <a:pt x="160" y="176"/>
                    </a:cubicBezTo>
                    <a:cubicBezTo>
                      <a:pt x="159" y="174"/>
                      <a:pt x="160" y="173"/>
                      <a:pt x="159" y="172"/>
                    </a:cubicBezTo>
                    <a:cubicBezTo>
                      <a:pt x="159" y="171"/>
                      <a:pt x="159" y="171"/>
                      <a:pt x="159" y="171"/>
                    </a:cubicBezTo>
                    <a:cubicBezTo>
                      <a:pt x="159" y="170"/>
                      <a:pt x="159" y="170"/>
                      <a:pt x="159" y="169"/>
                    </a:cubicBezTo>
                    <a:cubicBezTo>
                      <a:pt x="159" y="169"/>
                      <a:pt x="160" y="168"/>
                      <a:pt x="160" y="167"/>
                    </a:cubicBezTo>
                    <a:cubicBezTo>
                      <a:pt x="160" y="167"/>
                      <a:pt x="160" y="167"/>
                      <a:pt x="160" y="166"/>
                    </a:cubicBezTo>
                    <a:cubicBezTo>
                      <a:pt x="159" y="166"/>
                      <a:pt x="159" y="164"/>
                      <a:pt x="159" y="164"/>
                    </a:cubicBezTo>
                    <a:cubicBezTo>
                      <a:pt x="159" y="164"/>
                      <a:pt x="159" y="162"/>
                      <a:pt x="158" y="162"/>
                    </a:cubicBezTo>
                    <a:cubicBezTo>
                      <a:pt x="157" y="161"/>
                      <a:pt x="157" y="161"/>
                      <a:pt x="158" y="160"/>
                    </a:cubicBezTo>
                    <a:cubicBezTo>
                      <a:pt x="160" y="159"/>
                      <a:pt x="164" y="155"/>
                      <a:pt x="162" y="152"/>
                    </a:cubicBezTo>
                    <a:cubicBezTo>
                      <a:pt x="166" y="152"/>
                      <a:pt x="170" y="151"/>
                      <a:pt x="175" y="150"/>
                    </a:cubicBezTo>
                    <a:cubicBezTo>
                      <a:pt x="175" y="150"/>
                      <a:pt x="179" y="150"/>
                      <a:pt x="179" y="149"/>
                    </a:cubicBezTo>
                    <a:cubicBezTo>
                      <a:pt x="178" y="148"/>
                      <a:pt x="178" y="148"/>
                      <a:pt x="177" y="147"/>
                    </a:cubicBezTo>
                    <a:cubicBezTo>
                      <a:pt x="177" y="147"/>
                      <a:pt x="177" y="146"/>
                      <a:pt x="177" y="146"/>
                    </a:cubicBezTo>
                    <a:cubicBezTo>
                      <a:pt x="176" y="146"/>
                      <a:pt x="176" y="146"/>
                      <a:pt x="176" y="146"/>
                    </a:cubicBezTo>
                    <a:cubicBezTo>
                      <a:pt x="175" y="146"/>
                      <a:pt x="175" y="144"/>
                      <a:pt x="175" y="143"/>
                    </a:cubicBezTo>
                    <a:cubicBezTo>
                      <a:pt x="175" y="143"/>
                      <a:pt x="175" y="142"/>
                      <a:pt x="175" y="141"/>
                    </a:cubicBezTo>
                    <a:cubicBezTo>
                      <a:pt x="175" y="140"/>
                      <a:pt x="174" y="138"/>
                      <a:pt x="173" y="138"/>
                    </a:cubicBezTo>
                    <a:cubicBezTo>
                      <a:pt x="172" y="137"/>
                      <a:pt x="172" y="137"/>
                      <a:pt x="171" y="137"/>
                    </a:cubicBezTo>
                    <a:cubicBezTo>
                      <a:pt x="170" y="136"/>
                      <a:pt x="170" y="135"/>
                      <a:pt x="170" y="135"/>
                    </a:cubicBezTo>
                    <a:cubicBezTo>
                      <a:pt x="169" y="133"/>
                      <a:pt x="168" y="133"/>
                      <a:pt x="168" y="131"/>
                    </a:cubicBezTo>
                    <a:cubicBezTo>
                      <a:pt x="167" y="131"/>
                      <a:pt x="166" y="127"/>
                      <a:pt x="166" y="127"/>
                    </a:cubicBezTo>
                    <a:cubicBezTo>
                      <a:pt x="166" y="126"/>
                      <a:pt x="166" y="126"/>
                      <a:pt x="165" y="126"/>
                    </a:cubicBezTo>
                    <a:cubicBezTo>
                      <a:pt x="165" y="125"/>
                      <a:pt x="165" y="125"/>
                      <a:pt x="165" y="124"/>
                    </a:cubicBezTo>
                    <a:cubicBezTo>
                      <a:pt x="166" y="124"/>
                      <a:pt x="167" y="123"/>
                      <a:pt x="167" y="122"/>
                    </a:cubicBezTo>
                    <a:cubicBezTo>
                      <a:pt x="167" y="122"/>
                      <a:pt x="167" y="121"/>
                      <a:pt x="167" y="121"/>
                    </a:cubicBezTo>
                    <a:cubicBezTo>
                      <a:pt x="167" y="121"/>
                      <a:pt x="167" y="121"/>
                      <a:pt x="167" y="121"/>
                    </a:cubicBezTo>
                    <a:cubicBezTo>
                      <a:pt x="167" y="120"/>
                      <a:pt x="166" y="119"/>
                      <a:pt x="166" y="119"/>
                    </a:cubicBezTo>
                    <a:cubicBezTo>
                      <a:pt x="166" y="118"/>
                      <a:pt x="165" y="116"/>
                      <a:pt x="165" y="115"/>
                    </a:cubicBezTo>
                    <a:cubicBezTo>
                      <a:pt x="165" y="115"/>
                      <a:pt x="165" y="114"/>
                      <a:pt x="165" y="113"/>
                    </a:cubicBezTo>
                    <a:cubicBezTo>
                      <a:pt x="165" y="113"/>
                      <a:pt x="165" y="112"/>
                      <a:pt x="165" y="112"/>
                    </a:cubicBezTo>
                    <a:cubicBezTo>
                      <a:pt x="165" y="111"/>
                      <a:pt x="165" y="109"/>
                      <a:pt x="165" y="109"/>
                    </a:cubicBezTo>
                    <a:cubicBezTo>
                      <a:pt x="166" y="109"/>
                      <a:pt x="166" y="107"/>
                      <a:pt x="166" y="107"/>
                    </a:cubicBezTo>
                    <a:cubicBezTo>
                      <a:pt x="166" y="106"/>
                      <a:pt x="166" y="105"/>
                      <a:pt x="166" y="105"/>
                    </a:cubicBezTo>
                    <a:cubicBezTo>
                      <a:pt x="166" y="105"/>
                      <a:pt x="166" y="104"/>
                      <a:pt x="166" y="104"/>
                    </a:cubicBezTo>
                    <a:cubicBezTo>
                      <a:pt x="166" y="105"/>
                      <a:pt x="166" y="106"/>
                      <a:pt x="165" y="106"/>
                    </a:cubicBezTo>
                    <a:cubicBezTo>
                      <a:pt x="165" y="107"/>
                      <a:pt x="164" y="107"/>
                      <a:pt x="164" y="106"/>
                    </a:cubicBezTo>
                    <a:cubicBezTo>
                      <a:pt x="164" y="106"/>
                      <a:pt x="165" y="106"/>
                      <a:pt x="165" y="105"/>
                    </a:cubicBezTo>
                    <a:cubicBezTo>
                      <a:pt x="165" y="105"/>
                      <a:pt x="165" y="104"/>
                      <a:pt x="165" y="104"/>
                    </a:cubicBezTo>
                    <a:cubicBezTo>
                      <a:pt x="165" y="103"/>
                      <a:pt x="165" y="103"/>
                      <a:pt x="165" y="102"/>
                    </a:cubicBezTo>
                    <a:cubicBezTo>
                      <a:pt x="165" y="102"/>
                      <a:pt x="165" y="101"/>
                      <a:pt x="165" y="101"/>
                    </a:cubicBezTo>
                    <a:cubicBezTo>
                      <a:pt x="165" y="101"/>
                      <a:pt x="165" y="101"/>
                      <a:pt x="165" y="101"/>
                    </a:cubicBezTo>
                    <a:cubicBezTo>
                      <a:pt x="165" y="100"/>
                      <a:pt x="165" y="100"/>
                      <a:pt x="165" y="100"/>
                    </a:cubicBezTo>
                    <a:cubicBezTo>
                      <a:pt x="165" y="99"/>
                      <a:pt x="165" y="99"/>
                      <a:pt x="165" y="99"/>
                    </a:cubicBezTo>
                    <a:cubicBezTo>
                      <a:pt x="165" y="98"/>
                      <a:pt x="165" y="98"/>
                      <a:pt x="165" y="98"/>
                    </a:cubicBezTo>
                    <a:cubicBezTo>
                      <a:pt x="165" y="97"/>
                      <a:pt x="165" y="97"/>
                      <a:pt x="165" y="96"/>
                    </a:cubicBezTo>
                    <a:cubicBezTo>
                      <a:pt x="165" y="96"/>
                      <a:pt x="166" y="96"/>
                      <a:pt x="166" y="96"/>
                    </a:cubicBezTo>
                    <a:cubicBezTo>
                      <a:pt x="166" y="96"/>
                      <a:pt x="166" y="95"/>
                      <a:pt x="166" y="95"/>
                    </a:cubicBezTo>
                    <a:cubicBezTo>
                      <a:pt x="166" y="95"/>
                      <a:pt x="166" y="95"/>
                      <a:pt x="166" y="94"/>
                    </a:cubicBezTo>
                    <a:cubicBezTo>
                      <a:pt x="166" y="94"/>
                      <a:pt x="166" y="94"/>
                      <a:pt x="166" y="93"/>
                    </a:cubicBezTo>
                    <a:cubicBezTo>
                      <a:pt x="166" y="92"/>
                      <a:pt x="166" y="93"/>
                      <a:pt x="165" y="92"/>
                    </a:cubicBezTo>
                    <a:cubicBezTo>
                      <a:pt x="165" y="92"/>
                      <a:pt x="165" y="92"/>
                      <a:pt x="165" y="91"/>
                    </a:cubicBezTo>
                    <a:cubicBezTo>
                      <a:pt x="164" y="91"/>
                      <a:pt x="164" y="91"/>
                      <a:pt x="164" y="90"/>
                    </a:cubicBezTo>
                    <a:cubicBezTo>
                      <a:pt x="164" y="90"/>
                      <a:pt x="164" y="90"/>
                      <a:pt x="164" y="89"/>
                    </a:cubicBezTo>
                    <a:cubicBezTo>
                      <a:pt x="164" y="89"/>
                      <a:pt x="163" y="89"/>
                      <a:pt x="163" y="88"/>
                    </a:cubicBezTo>
                    <a:cubicBezTo>
                      <a:pt x="163" y="88"/>
                      <a:pt x="162" y="87"/>
                      <a:pt x="162" y="87"/>
                    </a:cubicBezTo>
                    <a:cubicBezTo>
                      <a:pt x="162" y="87"/>
                      <a:pt x="163" y="87"/>
                      <a:pt x="163" y="86"/>
                    </a:cubicBezTo>
                    <a:cubicBezTo>
                      <a:pt x="162" y="86"/>
                      <a:pt x="162" y="86"/>
                      <a:pt x="163" y="85"/>
                    </a:cubicBezTo>
                    <a:cubicBezTo>
                      <a:pt x="163" y="85"/>
                      <a:pt x="164" y="85"/>
                      <a:pt x="164" y="85"/>
                    </a:cubicBezTo>
                    <a:cubicBezTo>
                      <a:pt x="164" y="84"/>
                      <a:pt x="164" y="85"/>
                      <a:pt x="165" y="84"/>
                    </a:cubicBezTo>
                    <a:cubicBezTo>
                      <a:pt x="165" y="84"/>
                      <a:pt x="165" y="83"/>
                      <a:pt x="165" y="83"/>
                    </a:cubicBezTo>
                    <a:cubicBezTo>
                      <a:pt x="165" y="81"/>
                      <a:pt x="165" y="80"/>
                      <a:pt x="166" y="78"/>
                    </a:cubicBezTo>
                    <a:cubicBezTo>
                      <a:pt x="166" y="78"/>
                      <a:pt x="167" y="77"/>
                      <a:pt x="167" y="77"/>
                    </a:cubicBezTo>
                    <a:cubicBezTo>
                      <a:pt x="167" y="77"/>
                      <a:pt x="167" y="76"/>
                      <a:pt x="168" y="76"/>
                    </a:cubicBezTo>
                    <a:cubicBezTo>
                      <a:pt x="168" y="76"/>
                      <a:pt x="168" y="76"/>
                      <a:pt x="168" y="76"/>
                    </a:cubicBezTo>
                    <a:cubicBezTo>
                      <a:pt x="169" y="76"/>
                      <a:pt x="169" y="75"/>
                      <a:pt x="169" y="75"/>
                    </a:cubicBezTo>
                    <a:cubicBezTo>
                      <a:pt x="169" y="75"/>
                      <a:pt x="169" y="75"/>
                      <a:pt x="170" y="74"/>
                    </a:cubicBezTo>
                    <a:cubicBezTo>
                      <a:pt x="170" y="74"/>
                      <a:pt x="170" y="73"/>
                      <a:pt x="170" y="72"/>
                    </a:cubicBezTo>
                    <a:cubicBezTo>
                      <a:pt x="169" y="72"/>
                      <a:pt x="169" y="71"/>
                      <a:pt x="170" y="70"/>
                    </a:cubicBezTo>
                    <a:cubicBezTo>
                      <a:pt x="170" y="70"/>
                      <a:pt x="169" y="69"/>
                      <a:pt x="170" y="69"/>
                    </a:cubicBezTo>
                    <a:cubicBezTo>
                      <a:pt x="170" y="69"/>
                      <a:pt x="170" y="69"/>
                      <a:pt x="170" y="69"/>
                    </a:cubicBezTo>
                    <a:cubicBezTo>
                      <a:pt x="170" y="68"/>
                      <a:pt x="170" y="67"/>
                      <a:pt x="170" y="66"/>
                    </a:cubicBezTo>
                    <a:cubicBezTo>
                      <a:pt x="170" y="65"/>
                      <a:pt x="170" y="65"/>
                      <a:pt x="170" y="65"/>
                    </a:cubicBezTo>
                    <a:cubicBezTo>
                      <a:pt x="170" y="63"/>
                      <a:pt x="171" y="61"/>
                      <a:pt x="171" y="60"/>
                    </a:cubicBezTo>
                    <a:cubicBezTo>
                      <a:pt x="171" y="59"/>
                      <a:pt x="171" y="59"/>
                      <a:pt x="171" y="58"/>
                    </a:cubicBezTo>
                    <a:cubicBezTo>
                      <a:pt x="171" y="58"/>
                      <a:pt x="171" y="58"/>
                      <a:pt x="172" y="57"/>
                    </a:cubicBezTo>
                    <a:cubicBezTo>
                      <a:pt x="172" y="57"/>
                      <a:pt x="172" y="58"/>
                      <a:pt x="172" y="57"/>
                    </a:cubicBezTo>
                    <a:cubicBezTo>
                      <a:pt x="172" y="57"/>
                      <a:pt x="172" y="56"/>
                      <a:pt x="172" y="56"/>
                    </a:cubicBezTo>
                    <a:cubicBezTo>
                      <a:pt x="172" y="55"/>
                      <a:pt x="173" y="55"/>
                      <a:pt x="173" y="54"/>
                    </a:cubicBezTo>
                    <a:cubicBezTo>
                      <a:pt x="173" y="54"/>
                      <a:pt x="173" y="53"/>
                      <a:pt x="173" y="52"/>
                    </a:cubicBezTo>
                    <a:cubicBezTo>
                      <a:pt x="173" y="52"/>
                      <a:pt x="173" y="51"/>
                      <a:pt x="173" y="50"/>
                    </a:cubicBezTo>
                    <a:cubicBezTo>
                      <a:pt x="174" y="50"/>
                      <a:pt x="174" y="50"/>
                      <a:pt x="175" y="49"/>
                    </a:cubicBezTo>
                    <a:cubicBezTo>
                      <a:pt x="176" y="49"/>
                      <a:pt x="175" y="47"/>
                      <a:pt x="176" y="46"/>
                    </a:cubicBezTo>
                    <a:cubicBezTo>
                      <a:pt x="177" y="46"/>
                      <a:pt x="177" y="47"/>
                      <a:pt x="177" y="46"/>
                    </a:cubicBezTo>
                    <a:cubicBezTo>
                      <a:pt x="177" y="46"/>
                      <a:pt x="177" y="46"/>
                      <a:pt x="177" y="46"/>
                    </a:cubicBezTo>
                    <a:cubicBezTo>
                      <a:pt x="178" y="46"/>
                      <a:pt x="178" y="46"/>
                      <a:pt x="179" y="45"/>
                    </a:cubicBezTo>
                    <a:cubicBezTo>
                      <a:pt x="180" y="43"/>
                      <a:pt x="181" y="42"/>
                      <a:pt x="182" y="41"/>
                    </a:cubicBezTo>
                    <a:cubicBezTo>
                      <a:pt x="184" y="40"/>
                      <a:pt x="185" y="38"/>
                      <a:pt x="186" y="37"/>
                    </a:cubicBezTo>
                    <a:cubicBezTo>
                      <a:pt x="186" y="36"/>
                      <a:pt x="186" y="36"/>
                      <a:pt x="186" y="3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49" name="Congo (Republic of Congo)">
                <a:extLst>
                  <a:ext uri="{FF2B5EF4-FFF2-40B4-BE49-F238E27FC236}">
                    <a16:creationId xmlns:a16="http://schemas.microsoft.com/office/drawing/2014/main" id="{4EAD1395-68A6-294B-50A6-B25DBC460152}"/>
                  </a:ext>
                </a:extLst>
              </p:cNvPr>
              <p:cNvSpPr>
                <a:spLocks/>
              </p:cNvSpPr>
              <p:nvPr/>
            </p:nvSpPr>
            <p:spPr bwMode="auto">
              <a:xfrm>
                <a:off x="6076007" y="3898304"/>
                <a:ext cx="261704" cy="344038"/>
              </a:xfrm>
              <a:custGeom>
                <a:avLst/>
                <a:gdLst/>
                <a:ahLst/>
                <a:cxnLst>
                  <a:cxn ang="0">
                    <a:pos x="71" y="2"/>
                  </a:cxn>
                  <a:cxn ang="0">
                    <a:pos x="67" y="2"/>
                  </a:cxn>
                  <a:cxn ang="0">
                    <a:pos x="64" y="1"/>
                  </a:cxn>
                  <a:cxn ang="0">
                    <a:pos x="60" y="2"/>
                  </a:cxn>
                  <a:cxn ang="0">
                    <a:pos x="55" y="2"/>
                  </a:cxn>
                  <a:cxn ang="0">
                    <a:pos x="53" y="7"/>
                  </a:cxn>
                  <a:cxn ang="0">
                    <a:pos x="52" y="12"/>
                  </a:cxn>
                  <a:cxn ang="0">
                    <a:pos x="49" y="17"/>
                  </a:cxn>
                  <a:cxn ang="0">
                    <a:pos x="48" y="23"/>
                  </a:cxn>
                  <a:cxn ang="0">
                    <a:pos x="45" y="20"/>
                  </a:cxn>
                  <a:cxn ang="0">
                    <a:pos x="39" y="19"/>
                  </a:cxn>
                  <a:cxn ang="0">
                    <a:pos x="37" y="18"/>
                  </a:cxn>
                  <a:cxn ang="0">
                    <a:pos x="34" y="17"/>
                  </a:cxn>
                  <a:cxn ang="0">
                    <a:pos x="31" y="17"/>
                  </a:cxn>
                  <a:cxn ang="0">
                    <a:pos x="21" y="19"/>
                  </a:cxn>
                  <a:cxn ang="0">
                    <a:pos x="20" y="22"/>
                  </a:cxn>
                  <a:cxn ang="0">
                    <a:pos x="20" y="28"/>
                  </a:cxn>
                  <a:cxn ang="0">
                    <a:pos x="25" y="26"/>
                  </a:cxn>
                  <a:cxn ang="0">
                    <a:pos x="30" y="26"/>
                  </a:cxn>
                  <a:cxn ang="0">
                    <a:pos x="32" y="30"/>
                  </a:cxn>
                  <a:cxn ang="0">
                    <a:pos x="30" y="35"/>
                  </a:cxn>
                  <a:cxn ang="0">
                    <a:pos x="27" y="40"/>
                  </a:cxn>
                  <a:cxn ang="0">
                    <a:pos x="28" y="44"/>
                  </a:cxn>
                  <a:cxn ang="0">
                    <a:pos x="32" y="46"/>
                  </a:cxn>
                  <a:cxn ang="0">
                    <a:pos x="32" y="52"/>
                  </a:cxn>
                  <a:cxn ang="0">
                    <a:pos x="33" y="57"/>
                  </a:cxn>
                  <a:cxn ang="0">
                    <a:pos x="33" y="60"/>
                  </a:cxn>
                  <a:cxn ang="0">
                    <a:pos x="31" y="64"/>
                  </a:cxn>
                  <a:cxn ang="0">
                    <a:pos x="30" y="68"/>
                  </a:cxn>
                  <a:cxn ang="0">
                    <a:pos x="27" y="66"/>
                  </a:cxn>
                  <a:cxn ang="0">
                    <a:pos x="23" y="68"/>
                  </a:cxn>
                  <a:cxn ang="0">
                    <a:pos x="19" y="67"/>
                  </a:cxn>
                  <a:cxn ang="0">
                    <a:pos x="18" y="65"/>
                  </a:cxn>
                  <a:cxn ang="0">
                    <a:pos x="13" y="62"/>
                  </a:cxn>
                  <a:cxn ang="0">
                    <a:pos x="10" y="68"/>
                  </a:cxn>
                  <a:cxn ang="0">
                    <a:pos x="6" y="67"/>
                  </a:cxn>
                  <a:cxn ang="0">
                    <a:pos x="5" y="70"/>
                  </a:cxn>
                  <a:cxn ang="0">
                    <a:pos x="7" y="74"/>
                  </a:cxn>
                  <a:cxn ang="0">
                    <a:pos x="9" y="78"/>
                  </a:cxn>
                  <a:cxn ang="0">
                    <a:pos x="6" y="82"/>
                  </a:cxn>
                  <a:cxn ang="0">
                    <a:pos x="2" y="81"/>
                  </a:cxn>
                  <a:cxn ang="0">
                    <a:pos x="2" y="86"/>
                  </a:cxn>
                  <a:cxn ang="0">
                    <a:pos x="7" y="93"/>
                  </a:cxn>
                  <a:cxn ang="0">
                    <a:pos x="8" y="96"/>
                  </a:cxn>
                  <a:cxn ang="0">
                    <a:pos x="13" y="93"/>
                  </a:cxn>
                  <a:cxn ang="0">
                    <a:pos x="15" y="91"/>
                  </a:cxn>
                  <a:cxn ang="0">
                    <a:pos x="20" y="92"/>
                  </a:cxn>
                  <a:cxn ang="0">
                    <a:pos x="23" y="95"/>
                  </a:cxn>
                  <a:cxn ang="0">
                    <a:pos x="26" y="90"/>
                  </a:cxn>
                  <a:cxn ang="0">
                    <a:pos x="32" y="88"/>
                  </a:cxn>
                  <a:cxn ang="0">
                    <a:pos x="32" y="93"/>
                  </a:cxn>
                  <a:cxn ang="0">
                    <a:pos x="35" y="95"/>
                  </a:cxn>
                  <a:cxn ang="0">
                    <a:pos x="42" y="88"/>
                  </a:cxn>
                  <a:cxn ang="0">
                    <a:pos x="47" y="83"/>
                  </a:cxn>
                  <a:cxn ang="0">
                    <a:pos x="50" y="76"/>
                  </a:cxn>
                  <a:cxn ang="0">
                    <a:pos x="50" y="65"/>
                  </a:cxn>
                  <a:cxn ang="0">
                    <a:pos x="59" y="53"/>
                  </a:cxn>
                  <a:cxn ang="0">
                    <a:pos x="65" y="46"/>
                  </a:cxn>
                  <a:cxn ang="0">
                    <a:pos x="65" y="39"/>
                  </a:cxn>
                  <a:cxn ang="0">
                    <a:pos x="66" y="32"/>
                  </a:cxn>
                  <a:cxn ang="0">
                    <a:pos x="68" y="22"/>
                  </a:cxn>
                  <a:cxn ang="0">
                    <a:pos x="70" y="13"/>
                  </a:cxn>
                  <a:cxn ang="0">
                    <a:pos x="73" y="4"/>
                  </a:cxn>
                </a:cxnLst>
                <a:rect l="0" t="0" r="r" b="b"/>
                <a:pathLst>
                  <a:path w="74" h="97">
                    <a:moveTo>
                      <a:pt x="73" y="4"/>
                    </a:moveTo>
                    <a:cubicBezTo>
                      <a:pt x="73" y="3"/>
                      <a:pt x="73" y="2"/>
                      <a:pt x="72" y="2"/>
                    </a:cubicBezTo>
                    <a:cubicBezTo>
                      <a:pt x="72" y="1"/>
                      <a:pt x="72" y="2"/>
                      <a:pt x="71" y="2"/>
                    </a:cubicBezTo>
                    <a:cubicBezTo>
                      <a:pt x="70" y="2"/>
                      <a:pt x="70" y="2"/>
                      <a:pt x="70" y="2"/>
                    </a:cubicBezTo>
                    <a:cubicBezTo>
                      <a:pt x="69" y="3"/>
                      <a:pt x="69" y="3"/>
                      <a:pt x="69" y="3"/>
                    </a:cubicBezTo>
                    <a:cubicBezTo>
                      <a:pt x="68" y="2"/>
                      <a:pt x="68" y="2"/>
                      <a:pt x="67" y="2"/>
                    </a:cubicBezTo>
                    <a:cubicBezTo>
                      <a:pt x="67" y="2"/>
                      <a:pt x="67" y="2"/>
                      <a:pt x="66" y="2"/>
                    </a:cubicBezTo>
                    <a:cubicBezTo>
                      <a:pt x="66" y="2"/>
                      <a:pt x="66" y="3"/>
                      <a:pt x="65" y="2"/>
                    </a:cubicBezTo>
                    <a:cubicBezTo>
                      <a:pt x="65" y="1"/>
                      <a:pt x="65" y="1"/>
                      <a:pt x="64" y="1"/>
                    </a:cubicBezTo>
                    <a:cubicBezTo>
                      <a:pt x="64" y="1"/>
                      <a:pt x="63" y="1"/>
                      <a:pt x="63" y="1"/>
                    </a:cubicBezTo>
                    <a:cubicBezTo>
                      <a:pt x="62" y="0"/>
                      <a:pt x="62" y="1"/>
                      <a:pt x="61" y="1"/>
                    </a:cubicBezTo>
                    <a:cubicBezTo>
                      <a:pt x="61" y="1"/>
                      <a:pt x="61" y="2"/>
                      <a:pt x="60" y="2"/>
                    </a:cubicBezTo>
                    <a:cubicBezTo>
                      <a:pt x="60" y="1"/>
                      <a:pt x="60" y="2"/>
                      <a:pt x="59" y="2"/>
                    </a:cubicBezTo>
                    <a:cubicBezTo>
                      <a:pt x="59" y="2"/>
                      <a:pt x="57" y="2"/>
                      <a:pt x="56" y="2"/>
                    </a:cubicBezTo>
                    <a:cubicBezTo>
                      <a:pt x="56" y="2"/>
                      <a:pt x="56" y="3"/>
                      <a:pt x="55" y="2"/>
                    </a:cubicBezTo>
                    <a:cubicBezTo>
                      <a:pt x="55" y="2"/>
                      <a:pt x="54" y="2"/>
                      <a:pt x="54" y="3"/>
                    </a:cubicBezTo>
                    <a:cubicBezTo>
                      <a:pt x="53" y="3"/>
                      <a:pt x="53" y="5"/>
                      <a:pt x="53" y="5"/>
                    </a:cubicBezTo>
                    <a:cubicBezTo>
                      <a:pt x="53" y="6"/>
                      <a:pt x="52" y="7"/>
                      <a:pt x="53" y="7"/>
                    </a:cubicBezTo>
                    <a:cubicBezTo>
                      <a:pt x="53" y="8"/>
                      <a:pt x="52" y="8"/>
                      <a:pt x="52" y="9"/>
                    </a:cubicBezTo>
                    <a:cubicBezTo>
                      <a:pt x="52" y="9"/>
                      <a:pt x="53" y="10"/>
                      <a:pt x="53" y="10"/>
                    </a:cubicBezTo>
                    <a:cubicBezTo>
                      <a:pt x="52" y="11"/>
                      <a:pt x="52" y="11"/>
                      <a:pt x="52" y="12"/>
                    </a:cubicBezTo>
                    <a:cubicBezTo>
                      <a:pt x="51" y="13"/>
                      <a:pt x="51" y="14"/>
                      <a:pt x="50" y="16"/>
                    </a:cubicBezTo>
                    <a:cubicBezTo>
                      <a:pt x="50" y="16"/>
                      <a:pt x="50" y="17"/>
                      <a:pt x="50" y="17"/>
                    </a:cubicBezTo>
                    <a:cubicBezTo>
                      <a:pt x="49" y="17"/>
                      <a:pt x="49" y="17"/>
                      <a:pt x="49" y="17"/>
                    </a:cubicBezTo>
                    <a:cubicBezTo>
                      <a:pt x="48" y="18"/>
                      <a:pt x="48" y="19"/>
                      <a:pt x="49" y="20"/>
                    </a:cubicBezTo>
                    <a:cubicBezTo>
                      <a:pt x="49" y="20"/>
                      <a:pt x="49" y="22"/>
                      <a:pt x="49" y="22"/>
                    </a:cubicBezTo>
                    <a:cubicBezTo>
                      <a:pt x="49" y="22"/>
                      <a:pt x="49" y="23"/>
                      <a:pt x="48" y="23"/>
                    </a:cubicBezTo>
                    <a:cubicBezTo>
                      <a:pt x="48" y="22"/>
                      <a:pt x="48" y="22"/>
                      <a:pt x="47" y="22"/>
                    </a:cubicBezTo>
                    <a:cubicBezTo>
                      <a:pt x="47" y="22"/>
                      <a:pt x="47" y="22"/>
                      <a:pt x="47" y="21"/>
                    </a:cubicBezTo>
                    <a:cubicBezTo>
                      <a:pt x="47" y="21"/>
                      <a:pt x="46" y="20"/>
                      <a:pt x="45" y="20"/>
                    </a:cubicBezTo>
                    <a:cubicBezTo>
                      <a:pt x="44" y="20"/>
                      <a:pt x="43" y="20"/>
                      <a:pt x="42" y="20"/>
                    </a:cubicBezTo>
                    <a:cubicBezTo>
                      <a:pt x="41" y="20"/>
                      <a:pt x="41" y="19"/>
                      <a:pt x="40" y="19"/>
                    </a:cubicBezTo>
                    <a:cubicBezTo>
                      <a:pt x="39" y="19"/>
                      <a:pt x="39" y="19"/>
                      <a:pt x="39" y="19"/>
                    </a:cubicBezTo>
                    <a:cubicBezTo>
                      <a:pt x="38" y="19"/>
                      <a:pt x="38" y="19"/>
                      <a:pt x="38" y="19"/>
                    </a:cubicBezTo>
                    <a:cubicBezTo>
                      <a:pt x="38" y="19"/>
                      <a:pt x="37" y="20"/>
                      <a:pt x="37" y="19"/>
                    </a:cubicBezTo>
                    <a:cubicBezTo>
                      <a:pt x="37" y="19"/>
                      <a:pt x="37" y="19"/>
                      <a:pt x="37" y="18"/>
                    </a:cubicBezTo>
                    <a:cubicBezTo>
                      <a:pt x="37" y="18"/>
                      <a:pt x="36" y="19"/>
                      <a:pt x="36" y="18"/>
                    </a:cubicBezTo>
                    <a:cubicBezTo>
                      <a:pt x="36" y="18"/>
                      <a:pt x="35" y="18"/>
                      <a:pt x="35" y="18"/>
                    </a:cubicBezTo>
                    <a:cubicBezTo>
                      <a:pt x="35" y="18"/>
                      <a:pt x="34" y="17"/>
                      <a:pt x="34" y="17"/>
                    </a:cubicBezTo>
                    <a:cubicBezTo>
                      <a:pt x="34" y="17"/>
                      <a:pt x="33" y="18"/>
                      <a:pt x="33" y="18"/>
                    </a:cubicBezTo>
                    <a:cubicBezTo>
                      <a:pt x="33" y="18"/>
                      <a:pt x="32" y="18"/>
                      <a:pt x="32" y="17"/>
                    </a:cubicBezTo>
                    <a:cubicBezTo>
                      <a:pt x="32" y="17"/>
                      <a:pt x="31" y="17"/>
                      <a:pt x="31" y="17"/>
                    </a:cubicBezTo>
                    <a:cubicBezTo>
                      <a:pt x="30" y="18"/>
                      <a:pt x="29" y="18"/>
                      <a:pt x="28" y="18"/>
                    </a:cubicBezTo>
                    <a:cubicBezTo>
                      <a:pt x="26" y="18"/>
                      <a:pt x="24" y="18"/>
                      <a:pt x="22" y="17"/>
                    </a:cubicBezTo>
                    <a:cubicBezTo>
                      <a:pt x="21" y="17"/>
                      <a:pt x="22" y="18"/>
                      <a:pt x="21" y="19"/>
                    </a:cubicBezTo>
                    <a:cubicBezTo>
                      <a:pt x="21" y="19"/>
                      <a:pt x="21" y="20"/>
                      <a:pt x="20" y="20"/>
                    </a:cubicBezTo>
                    <a:cubicBezTo>
                      <a:pt x="20" y="20"/>
                      <a:pt x="20" y="21"/>
                      <a:pt x="20" y="21"/>
                    </a:cubicBezTo>
                    <a:cubicBezTo>
                      <a:pt x="20" y="21"/>
                      <a:pt x="20" y="22"/>
                      <a:pt x="20" y="22"/>
                    </a:cubicBezTo>
                    <a:cubicBezTo>
                      <a:pt x="20" y="22"/>
                      <a:pt x="20" y="24"/>
                      <a:pt x="20" y="24"/>
                    </a:cubicBezTo>
                    <a:cubicBezTo>
                      <a:pt x="20" y="25"/>
                      <a:pt x="22" y="26"/>
                      <a:pt x="20" y="27"/>
                    </a:cubicBezTo>
                    <a:cubicBezTo>
                      <a:pt x="20" y="27"/>
                      <a:pt x="20" y="28"/>
                      <a:pt x="20" y="28"/>
                    </a:cubicBezTo>
                    <a:cubicBezTo>
                      <a:pt x="21" y="28"/>
                      <a:pt x="22" y="28"/>
                      <a:pt x="22" y="27"/>
                    </a:cubicBezTo>
                    <a:cubicBezTo>
                      <a:pt x="23" y="27"/>
                      <a:pt x="23" y="27"/>
                      <a:pt x="24" y="27"/>
                    </a:cubicBezTo>
                    <a:cubicBezTo>
                      <a:pt x="24" y="27"/>
                      <a:pt x="25" y="26"/>
                      <a:pt x="25" y="26"/>
                    </a:cubicBezTo>
                    <a:cubicBezTo>
                      <a:pt x="26" y="26"/>
                      <a:pt x="26" y="26"/>
                      <a:pt x="26" y="26"/>
                    </a:cubicBezTo>
                    <a:cubicBezTo>
                      <a:pt x="26" y="25"/>
                      <a:pt x="27" y="25"/>
                      <a:pt x="28" y="26"/>
                    </a:cubicBezTo>
                    <a:cubicBezTo>
                      <a:pt x="29" y="26"/>
                      <a:pt x="29" y="26"/>
                      <a:pt x="30" y="26"/>
                    </a:cubicBezTo>
                    <a:cubicBezTo>
                      <a:pt x="30" y="26"/>
                      <a:pt x="31" y="26"/>
                      <a:pt x="31" y="27"/>
                    </a:cubicBezTo>
                    <a:cubicBezTo>
                      <a:pt x="31" y="27"/>
                      <a:pt x="31" y="28"/>
                      <a:pt x="31" y="29"/>
                    </a:cubicBezTo>
                    <a:cubicBezTo>
                      <a:pt x="31" y="29"/>
                      <a:pt x="32" y="29"/>
                      <a:pt x="32" y="30"/>
                    </a:cubicBezTo>
                    <a:cubicBezTo>
                      <a:pt x="32" y="31"/>
                      <a:pt x="33" y="31"/>
                      <a:pt x="33" y="32"/>
                    </a:cubicBezTo>
                    <a:cubicBezTo>
                      <a:pt x="33" y="32"/>
                      <a:pt x="33" y="33"/>
                      <a:pt x="32" y="33"/>
                    </a:cubicBezTo>
                    <a:cubicBezTo>
                      <a:pt x="32" y="33"/>
                      <a:pt x="31" y="36"/>
                      <a:pt x="30" y="35"/>
                    </a:cubicBezTo>
                    <a:cubicBezTo>
                      <a:pt x="30" y="35"/>
                      <a:pt x="29" y="35"/>
                      <a:pt x="29" y="36"/>
                    </a:cubicBezTo>
                    <a:cubicBezTo>
                      <a:pt x="29" y="36"/>
                      <a:pt x="29" y="36"/>
                      <a:pt x="29" y="37"/>
                    </a:cubicBezTo>
                    <a:cubicBezTo>
                      <a:pt x="28" y="37"/>
                      <a:pt x="27" y="39"/>
                      <a:pt x="27" y="40"/>
                    </a:cubicBezTo>
                    <a:cubicBezTo>
                      <a:pt x="28" y="41"/>
                      <a:pt x="28" y="42"/>
                      <a:pt x="27" y="42"/>
                    </a:cubicBezTo>
                    <a:cubicBezTo>
                      <a:pt x="27" y="43"/>
                      <a:pt x="27" y="43"/>
                      <a:pt x="27" y="44"/>
                    </a:cubicBezTo>
                    <a:cubicBezTo>
                      <a:pt x="27" y="44"/>
                      <a:pt x="28" y="44"/>
                      <a:pt x="28" y="44"/>
                    </a:cubicBezTo>
                    <a:cubicBezTo>
                      <a:pt x="28" y="44"/>
                      <a:pt x="29" y="44"/>
                      <a:pt x="29" y="44"/>
                    </a:cubicBezTo>
                    <a:cubicBezTo>
                      <a:pt x="30" y="45"/>
                      <a:pt x="30" y="46"/>
                      <a:pt x="30" y="46"/>
                    </a:cubicBezTo>
                    <a:cubicBezTo>
                      <a:pt x="30" y="46"/>
                      <a:pt x="31" y="46"/>
                      <a:pt x="32" y="46"/>
                    </a:cubicBezTo>
                    <a:cubicBezTo>
                      <a:pt x="32" y="47"/>
                      <a:pt x="33" y="47"/>
                      <a:pt x="33" y="48"/>
                    </a:cubicBezTo>
                    <a:cubicBezTo>
                      <a:pt x="34" y="48"/>
                      <a:pt x="33" y="49"/>
                      <a:pt x="33" y="50"/>
                    </a:cubicBezTo>
                    <a:cubicBezTo>
                      <a:pt x="33" y="50"/>
                      <a:pt x="33" y="51"/>
                      <a:pt x="32" y="52"/>
                    </a:cubicBezTo>
                    <a:cubicBezTo>
                      <a:pt x="32" y="52"/>
                      <a:pt x="33" y="53"/>
                      <a:pt x="33" y="53"/>
                    </a:cubicBezTo>
                    <a:cubicBezTo>
                      <a:pt x="33" y="54"/>
                      <a:pt x="33" y="55"/>
                      <a:pt x="33" y="55"/>
                    </a:cubicBezTo>
                    <a:cubicBezTo>
                      <a:pt x="33" y="56"/>
                      <a:pt x="33" y="56"/>
                      <a:pt x="33" y="57"/>
                    </a:cubicBezTo>
                    <a:cubicBezTo>
                      <a:pt x="33" y="57"/>
                      <a:pt x="33" y="57"/>
                      <a:pt x="33" y="58"/>
                    </a:cubicBezTo>
                    <a:cubicBezTo>
                      <a:pt x="33" y="58"/>
                      <a:pt x="32" y="59"/>
                      <a:pt x="32" y="59"/>
                    </a:cubicBezTo>
                    <a:cubicBezTo>
                      <a:pt x="32" y="59"/>
                      <a:pt x="33" y="60"/>
                      <a:pt x="33" y="60"/>
                    </a:cubicBezTo>
                    <a:cubicBezTo>
                      <a:pt x="32" y="60"/>
                      <a:pt x="32" y="61"/>
                      <a:pt x="32" y="61"/>
                    </a:cubicBezTo>
                    <a:cubicBezTo>
                      <a:pt x="32" y="62"/>
                      <a:pt x="32" y="62"/>
                      <a:pt x="32" y="63"/>
                    </a:cubicBezTo>
                    <a:cubicBezTo>
                      <a:pt x="31" y="63"/>
                      <a:pt x="31" y="63"/>
                      <a:pt x="31" y="64"/>
                    </a:cubicBezTo>
                    <a:cubicBezTo>
                      <a:pt x="31" y="64"/>
                      <a:pt x="31" y="65"/>
                      <a:pt x="30" y="66"/>
                    </a:cubicBezTo>
                    <a:cubicBezTo>
                      <a:pt x="29" y="66"/>
                      <a:pt x="30" y="66"/>
                      <a:pt x="30" y="67"/>
                    </a:cubicBezTo>
                    <a:cubicBezTo>
                      <a:pt x="31" y="67"/>
                      <a:pt x="30" y="67"/>
                      <a:pt x="30" y="68"/>
                    </a:cubicBezTo>
                    <a:cubicBezTo>
                      <a:pt x="30" y="69"/>
                      <a:pt x="29" y="68"/>
                      <a:pt x="29" y="68"/>
                    </a:cubicBezTo>
                    <a:cubicBezTo>
                      <a:pt x="28" y="69"/>
                      <a:pt x="26" y="69"/>
                      <a:pt x="27" y="68"/>
                    </a:cubicBezTo>
                    <a:cubicBezTo>
                      <a:pt x="28" y="67"/>
                      <a:pt x="27" y="67"/>
                      <a:pt x="27" y="66"/>
                    </a:cubicBezTo>
                    <a:cubicBezTo>
                      <a:pt x="27" y="66"/>
                      <a:pt x="27" y="65"/>
                      <a:pt x="26" y="65"/>
                    </a:cubicBezTo>
                    <a:cubicBezTo>
                      <a:pt x="26" y="64"/>
                      <a:pt x="25" y="67"/>
                      <a:pt x="24" y="67"/>
                    </a:cubicBezTo>
                    <a:cubicBezTo>
                      <a:pt x="24" y="67"/>
                      <a:pt x="24" y="68"/>
                      <a:pt x="23" y="68"/>
                    </a:cubicBezTo>
                    <a:cubicBezTo>
                      <a:pt x="23" y="68"/>
                      <a:pt x="22" y="68"/>
                      <a:pt x="22" y="68"/>
                    </a:cubicBezTo>
                    <a:cubicBezTo>
                      <a:pt x="21" y="67"/>
                      <a:pt x="20" y="67"/>
                      <a:pt x="20" y="67"/>
                    </a:cubicBezTo>
                    <a:cubicBezTo>
                      <a:pt x="19" y="67"/>
                      <a:pt x="19" y="67"/>
                      <a:pt x="19" y="67"/>
                    </a:cubicBezTo>
                    <a:cubicBezTo>
                      <a:pt x="19" y="67"/>
                      <a:pt x="19" y="67"/>
                      <a:pt x="18" y="67"/>
                    </a:cubicBezTo>
                    <a:cubicBezTo>
                      <a:pt x="19" y="67"/>
                      <a:pt x="19" y="66"/>
                      <a:pt x="18" y="66"/>
                    </a:cubicBezTo>
                    <a:cubicBezTo>
                      <a:pt x="18" y="65"/>
                      <a:pt x="18" y="66"/>
                      <a:pt x="18" y="65"/>
                    </a:cubicBezTo>
                    <a:cubicBezTo>
                      <a:pt x="18" y="64"/>
                      <a:pt x="17" y="62"/>
                      <a:pt x="17" y="62"/>
                    </a:cubicBezTo>
                    <a:cubicBezTo>
                      <a:pt x="16" y="62"/>
                      <a:pt x="15" y="61"/>
                      <a:pt x="14" y="62"/>
                    </a:cubicBezTo>
                    <a:cubicBezTo>
                      <a:pt x="14" y="62"/>
                      <a:pt x="14" y="63"/>
                      <a:pt x="13" y="62"/>
                    </a:cubicBezTo>
                    <a:cubicBezTo>
                      <a:pt x="13" y="62"/>
                      <a:pt x="13" y="64"/>
                      <a:pt x="14" y="64"/>
                    </a:cubicBezTo>
                    <a:cubicBezTo>
                      <a:pt x="14" y="65"/>
                      <a:pt x="14" y="66"/>
                      <a:pt x="13" y="67"/>
                    </a:cubicBezTo>
                    <a:cubicBezTo>
                      <a:pt x="12" y="67"/>
                      <a:pt x="11" y="68"/>
                      <a:pt x="10" y="68"/>
                    </a:cubicBezTo>
                    <a:cubicBezTo>
                      <a:pt x="9" y="68"/>
                      <a:pt x="9" y="67"/>
                      <a:pt x="9" y="67"/>
                    </a:cubicBezTo>
                    <a:cubicBezTo>
                      <a:pt x="8" y="67"/>
                      <a:pt x="7" y="67"/>
                      <a:pt x="7" y="67"/>
                    </a:cubicBezTo>
                    <a:cubicBezTo>
                      <a:pt x="6" y="68"/>
                      <a:pt x="6" y="67"/>
                      <a:pt x="6" y="67"/>
                    </a:cubicBezTo>
                    <a:cubicBezTo>
                      <a:pt x="5" y="67"/>
                      <a:pt x="5" y="67"/>
                      <a:pt x="5" y="67"/>
                    </a:cubicBezTo>
                    <a:cubicBezTo>
                      <a:pt x="5" y="68"/>
                      <a:pt x="5" y="69"/>
                      <a:pt x="5" y="69"/>
                    </a:cubicBezTo>
                    <a:cubicBezTo>
                      <a:pt x="5" y="70"/>
                      <a:pt x="6" y="70"/>
                      <a:pt x="5" y="70"/>
                    </a:cubicBezTo>
                    <a:cubicBezTo>
                      <a:pt x="5" y="71"/>
                      <a:pt x="4" y="73"/>
                      <a:pt x="5" y="73"/>
                    </a:cubicBezTo>
                    <a:cubicBezTo>
                      <a:pt x="5" y="73"/>
                      <a:pt x="5" y="72"/>
                      <a:pt x="6" y="72"/>
                    </a:cubicBezTo>
                    <a:cubicBezTo>
                      <a:pt x="6" y="73"/>
                      <a:pt x="6" y="73"/>
                      <a:pt x="7" y="74"/>
                    </a:cubicBezTo>
                    <a:cubicBezTo>
                      <a:pt x="7" y="74"/>
                      <a:pt x="7" y="74"/>
                      <a:pt x="6" y="75"/>
                    </a:cubicBezTo>
                    <a:cubicBezTo>
                      <a:pt x="6" y="75"/>
                      <a:pt x="6" y="75"/>
                      <a:pt x="6" y="76"/>
                    </a:cubicBezTo>
                    <a:cubicBezTo>
                      <a:pt x="6" y="77"/>
                      <a:pt x="8" y="77"/>
                      <a:pt x="9" y="78"/>
                    </a:cubicBezTo>
                    <a:cubicBezTo>
                      <a:pt x="9" y="78"/>
                      <a:pt x="6" y="80"/>
                      <a:pt x="8" y="81"/>
                    </a:cubicBezTo>
                    <a:cubicBezTo>
                      <a:pt x="8" y="81"/>
                      <a:pt x="8" y="82"/>
                      <a:pt x="8" y="82"/>
                    </a:cubicBezTo>
                    <a:cubicBezTo>
                      <a:pt x="7" y="82"/>
                      <a:pt x="7" y="82"/>
                      <a:pt x="6" y="82"/>
                    </a:cubicBezTo>
                    <a:cubicBezTo>
                      <a:pt x="5" y="82"/>
                      <a:pt x="5" y="80"/>
                      <a:pt x="4" y="80"/>
                    </a:cubicBezTo>
                    <a:cubicBezTo>
                      <a:pt x="4" y="80"/>
                      <a:pt x="4" y="80"/>
                      <a:pt x="3" y="81"/>
                    </a:cubicBezTo>
                    <a:cubicBezTo>
                      <a:pt x="3" y="81"/>
                      <a:pt x="3" y="81"/>
                      <a:pt x="2" y="81"/>
                    </a:cubicBezTo>
                    <a:cubicBezTo>
                      <a:pt x="2" y="81"/>
                      <a:pt x="2" y="81"/>
                      <a:pt x="2" y="82"/>
                    </a:cubicBezTo>
                    <a:cubicBezTo>
                      <a:pt x="1" y="82"/>
                      <a:pt x="0" y="84"/>
                      <a:pt x="1" y="85"/>
                    </a:cubicBezTo>
                    <a:cubicBezTo>
                      <a:pt x="2" y="85"/>
                      <a:pt x="2" y="86"/>
                      <a:pt x="2" y="86"/>
                    </a:cubicBezTo>
                    <a:cubicBezTo>
                      <a:pt x="3" y="87"/>
                      <a:pt x="3" y="87"/>
                      <a:pt x="3" y="88"/>
                    </a:cubicBezTo>
                    <a:cubicBezTo>
                      <a:pt x="4" y="89"/>
                      <a:pt x="6" y="90"/>
                      <a:pt x="7" y="91"/>
                    </a:cubicBezTo>
                    <a:cubicBezTo>
                      <a:pt x="7" y="92"/>
                      <a:pt x="6" y="92"/>
                      <a:pt x="7" y="93"/>
                    </a:cubicBezTo>
                    <a:cubicBezTo>
                      <a:pt x="7" y="93"/>
                      <a:pt x="7" y="93"/>
                      <a:pt x="7" y="93"/>
                    </a:cubicBezTo>
                    <a:cubicBezTo>
                      <a:pt x="7" y="93"/>
                      <a:pt x="7" y="94"/>
                      <a:pt x="7" y="93"/>
                    </a:cubicBezTo>
                    <a:cubicBezTo>
                      <a:pt x="7" y="94"/>
                      <a:pt x="8" y="95"/>
                      <a:pt x="8" y="96"/>
                    </a:cubicBezTo>
                    <a:cubicBezTo>
                      <a:pt x="9" y="97"/>
                      <a:pt x="9" y="96"/>
                      <a:pt x="10" y="96"/>
                    </a:cubicBezTo>
                    <a:cubicBezTo>
                      <a:pt x="10" y="95"/>
                      <a:pt x="11" y="94"/>
                      <a:pt x="11" y="94"/>
                    </a:cubicBezTo>
                    <a:cubicBezTo>
                      <a:pt x="12" y="94"/>
                      <a:pt x="12" y="93"/>
                      <a:pt x="13" y="93"/>
                    </a:cubicBezTo>
                    <a:cubicBezTo>
                      <a:pt x="13" y="92"/>
                      <a:pt x="12" y="92"/>
                      <a:pt x="13" y="92"/>
                    </a:cubicBezTo>
                    <a:cubicBezTo>
                      <a:pt x="13" y="92"/>
                      <a:pt x="14" y="92"/>
                      <a:pt x="14" y="92"/>
                    </a:cubicBezTo>
                    <a:cubicBezTo>
                      <a:pt x="15" y="92"/>
                      <a:pt x="15" y="91"/>
                      <a:pt x="15" y="91"/>
                    </a:cubicBezTo>
                    <a:cubicBezTo>
                      <a:pt x="15" y="91"/>
                      <a:pt x="16" y="90"/>
                      <a:pt x="16" y="90"/>
                    </a:cubicBezTo>
                    <a:cubicBezTo>
                      <a:pt x="17" y="88"/>
                      <a:pt x="19" y="92"/>
                      <a:pt x="19" y="92"/>
                    </a:cubicBezTo>
                    <a:cubicBezTo>
                      <a:pt x="19" y="92"/>
                      <a:pt x="19" y="91"/>
                      <a:pt x="20" y="92"/>
                    </a:cubicBezTo>
                    <a:cubicBezTo>
                      <a:pt x="20" y="92"/>
                      <a:pt x="20" y="93"/>
                      <a:pt x="21" y="93"/>
                    </a:cubicBezTo>
                    <a:cubicBezTo>
                      <a:pt x="21" y="93"/>
                      <a:pt x="22" y="94"/>
                      <a:pt x="22" y="94"/>
                    </a:cubicBezTo>
                    <a:cubicBezTo>
                      <a:pt x="22" y="94"/>
                      <a:pt x="22" y="95"/>
                      <a:pt x="23" y="95"/>
                    </a:cubicBezTo>
                    <a:cubicBezTo>
                      <a:pt x="23" y="95"/>
                      <a:pt x="24" y="93"/>
                      <a:pt x="24" y="94"/>
                    </a:cubicBezTo>
                    <a:cubicBezTo>
                      <a:pt x="24" y="94"/>
                      <a:pt x="25" y="93"/>
                      <a:pt x="25" y="93"/>
                    </a:cubicBezTo>
                    <a:cubicBezTo>
                      <a:pt x="26" y="93"/>
                      <a:pt x="25" y="90"/>
                      <a:pt x="26" y="90"/>
                    </a:cubicBezTo>
                    <a:cubicBezTo>
                      <a:pt x="27" y="89"/>
                      <a:pt x="28" y="92"/>
                      <a:pt x="28" y="90"/>
                    </a:cubicBezTo>
                    <a:cubicBezTo>
                      <a:pt x="29" y="89"/>
                      <a:pt x="30" y="90"/>
                      <a:pt x="30" y="89"/>
                    </a:cubicBezTo>
                    <a:cubicBezTo>
                      <a:pt x="31" y="89"/>
                      <a:pt x="31" y="88"/>
                      <a:pt x="32" y="88"/>
                    </a:cubicBezTo>
                    <a:cubicBezTo>
                      <a:pt x="32" y="89"/>
                      <a:pt x="32" y="89"/>
                      <a:pt x="33" y="90"/>
                    </a:cubicBezTo>
                    <a:cubicBezTo>
                      <a:pt x="33" y="90"/>
                      <a:pt x="32" y="91"/>
                      <a:pt x="32" y="91"/>
                    </a:cubicBezTo>
                    <a:cubicBezTo>
                      <a:pt x="32" y="92"/>
                      <a:pt x="32" y="92"/>
                      <a:pt x="32" y="93"/>
                    </a:cubicBezTo>
                    <a:cubicBezTo>
                      <a:pt x="32" y="93"/>
                      <a:pt x="32" y="94"/>
                      <a:pt x="32" y="95"/>
                    </a:cubicBezTo>
                    <a:cubicBezTo>
                      <a:pt x="33" y="95"/>
                      <a:pt x="33" y="94"/>
                      <a:pt x="33" y="95"/>
                    </a:cubicBezTo>
                    <a:cubicBezTo>
                      <a:pt x="34" y="95"/>
                      <a:pt x="34" y="95"/>
                      <a:pt x="35" y="95"/>
                    </a:cubicBezTo>
                    <a:cubicBezTo>
                      <a:pt x="36" y="95"/>
                      <a:pt x="36" y="94"/>
                      <a:pt x="37" y="93"/>
                    </a:cubicBezTo>
                    <a:cubicBezTo>
                      <a:pt x="38" y="92"/>
                      <a:pt x="39" y="91"/>
                      <a:pt x="39" y="90"/>
                    </a:cubicBezTo>
                    <a:cubicBezTo>
                      <a:pt x="40" y="89"/>
                      <a:pt x="41" y="88"/>
                      <a:pt x="42" y="88"/>
                    </a:cubicBezTo>
                    <a:cubicBezTo>
                      <a:pt x="43" y="89"/>
                      <a:pt x="43" y="87"/>
                      <a:pt x="43" y="86"/>
                    </a:cubicBezTo>
                    <a:cubicBezTo>
                      <a:pt x="44" y="85"/>
                      <a:pt x="45" y="85"/>
                      <a:pt x="46" y="85"/>
                    </a:cubicBezTo>
                    <a:cubicBezTo>
                      <a:pt x="47" y="85"/>
                      <a:pt x="47" y="84"/>
                      <a:pt x="47" y="83"/>
                    </a:cubicBezTo>
                    <a:cubicBezTo>
                      <a:pt x="48" y="82"/>
                      <a:pt x="48" y="81"/>
                      <a:pt x="49" y="80"/>
                    </a:cubicBezTo>
                    <a:cubicBezTo>
                      <a:pt x="49" y="79"/>
                      <a:pt x="50" y="78"/>
                      <a:pt x="50" y="78"/>
                    </a:cubicBezTo>
                    <a:cubicBezTo>
                      <a:pt x="50" y="77"/>
                      <a:pt x="50" y="76"/>
                      <a:pt x="50" y="76"/>
                    </a:cubicBezTo>
                    <a:cubicBezTo>
                      <a:pt x="49" y="75"/>
                      <a:pt x="49" y="73"/>
                      <a:pt x="50" y="72"/>
                    </a:cubicBezTo>
                    <a:cubicBezTo>
                      <a:pt x="50" y="71"/>
                      <a:pt x="50" y="69"/>
                      <a:pt x="50" y="68"/>
                    </a:cubicBezTo>
                    <a:cubicBezTo>
                      <a:pt x="49" y="67"/>
                      <a:pt x="49" y="66"/>
                      <a:pt x="50" y="65"/>
                    </a:cubicBezTo>
                    <a:cubicBezTo>
                      <a:pt x="51" y="64"/>
                      <a:pt x="52" y="63"/>
                      <a:pt x="53" y="62"/>
                    </a:cubicBezTo>
                    <a:cubicBezTo>
                      <a:pt x="53" y="61"/>
                      <a:pt x="54" y="60"/>
                      <a:pt x="54" y="59"/>
                    </a:cubicBezTo>
                    <a:cubicBezTo>
                      <a:pt x="55" y="57"/>
                      <a:pt x="56" y="54"/>
                      <a:pt x="59" y="53"/>
                    </a:cubicBezTo>
                    <a:cubicBezTo>
                      <a:pt x="59" y="53"/>
                      <a:pt x="60" y="53"/>
                      <a:pt x="61" y="52"/>
                    </a:cubicBezTo>
                    <a:cubicBezTo>
                      <a:pt x="61" y="51"/>
                      <a:pt x="62" y="51"/>
                      <a:pt x="62" y="50"/>
                    </a:cubicBezTo>
                    <a:cubicBezTo>
                      <a:pt x="63" y="49"/>
                      <a:pt x="64" y="48"/>
                      <a:pt x="65" y="46"/>
                    </a:cubicBezTo>
                    <a:cubicBezTo>
                      <a:pt x="65" y="45"/>
                      <a:pt x="64" y="45"/>
                      <a:pt x="64" y="44"/>
                    </a:cubicBezTo>
                    <a:cubicBezTo>
                      <a:pt x="64" y="43"/>
                      <a:pt x="65" y="42"/>
                      <a:pt x="65" y="41"/>
                    </a:cubicBezTo>
                    <a:cubicBezTo>
                      <a:pt x="65" y="41"/>
                      <a:pt x="65" y="40"/>
                      <a:pt x="65" y="39"/>
                    </a:cubicBezTo>
                    <a:cubicBezTo>
                      <a:pt x="66" y="38"/>
                      <a:pt x="66" y="38"/>
                      <a:pt x="67" y="37"/>
                    </a:cubicBezTo>
                    <a:cubicBezTo>
                      <a:pt x="67" y="36"/>
                      <a:pt x="66" y="36"/>
                      <a:pt x="66" y="35"/>
                    </a:cubicBezTo>
                    <a:cubicBezTo>
                      <a:pt x="66" y="34"/>
                      <a:pt x="66" y="33"/>
                      <a:pt x="66" y="32"/>
                    </a:cubicBezTo>
                    <a:cubicBezTo>
                      <a:pt x="66" y="31"/>
                      <a:pt x="66" y="31"/>
                      <a:pt x="66" y="30"/>
                    </a:cubicBezTo>
                    <a:cubicBezTo>
                      <a:pt x="66" y="29"/>
                      <a:pt x="67" y="28"/>
                      <a:pt x="67" y="28"/>
                    </a:cubicBezTo>
                    <a:cubicBezTo>
                      <a:pt x="67" y="26"/>
                      <a:pt x="68" y="24"/>
                      <a:pt x="68" y="22"/>
                    </a:cubicBezTo>
                    <a:cubicBezTo>
                      <a:pt x="68" y="21"/>
                      <a:pt x="68" y="19"/>
                      <a:pt x="68" y="17"/>
                    </a:cubicBezTo>
                    <a:cubicBezTo>
                      <a:pt x="68" y="16"/>
                      <a:pt x="69" y="16"/>
                      <a:pt x="69" y="15"/>
                    </a:cubicBezTo>
                    <a:cubicBezTo>
                      <a:pt x="69" y="14"/>
                      <a:pt x="69" y="14"/>
                      <a:pt x="70" y="13"/>
                    </a:cubicBezTo>
                    <a:cubicBezTo>
                      <a:pt x="71" y="12"/>
                      <a:pt x="71" y="10"/>
                      <a:pt x="72" y="9"/>
                    </a:cubicBezTo>
                    <a:cubicBezTo>
                      <a:pt x="72" y="8"/>
                      <a:pt x="73" y="7"/>
                      <a:pt x="73" y="6"/>
                    </a:cubicBezTo>
                    <a:cubicBezTo>
                      <a:pt x="74" y="6"/>
                      <a:pt x="73" y="5"/>
                      <a:pt x="73" y="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0" name="Comoros">
                <a:extLst>
                  <a:ext uri="{FF2B5EF4-FFF2-40B4-BE49-F238E27FC236}">
                    <a16:creationId xmlns:a16="http://schemas.microsoft.com/office/drawing/2014/main" id="{0F127D68-CF0D-7FE7-40C7-01977F9F2CF3}"/>
                  </a:ext>
                </a:extLst>
              </p:cNvPr>
              <p:cNvSpPr>
                <a:spLocks noEditPoints="1"/>
              </p:cNvSpPr>
              <p:nvPr/>
            </p:nvSpPr>
            <p:spPr bwMode="auto">
              <a:xfrm>
                <a:off x="7173791" y="4483464"/>
                <a:ext cx="70572" cy="67631"/>
              </a:xfrm>
              <a:custGeom>
                <a:avLst/>
                <a:gdLst/>
                <a:ahLst/>
                <a:cxnLst>
                  <a:cxn ang="0">
                    <a:pos x="19" y="17"/>
                  </a:cxn>
                  <a:cxn ang="0">
                    <a:pos x="19" y="17"/>
                  </a:cxn>
                  <a:cxn ang="0">
                    <a:pos x="18" y="15"/>
                  </a:cxn>
                  <a:cxn ang="0">
                    <a:pos x="17" y="16"/>
                  </a:cxn>
                  <a:cxn ang="0">
                    <a:pos x="18" y="17"/>
                  </a:cxn>
                  <a:cxn ang="0">
                    <a:pos x="18" y="18"/>
                  </a:cxn>
                  <a:cxn ang="0">
                    <a:pos x="17" y="18"/>
                  </a:cxn>
                  <a:cxn ang="0">
                    <a:pos x="18" y="19"/>
                  </a:cxn>
                  <a:cxn ang="0">
                    <a:pos x="19" y="18"/>
                  </a:cxn>
                  <a:cxn ang="0">
                    <a:pos x="19" y="17"/>
                  </a:cxn>
                  <a:cxn ang="0">
                    <a:pos x="19" y="16"/>
                  </a:cxn>
                  <a:cxn ang="0">
                    <a:pos x="18" y="15"/>
                  </a:cxn>
                  <a:cxn ang="0">
                    <a:pos x="11" y="10"/>
                  </a:cxn>
                  <a:cxn ang="0">
                    <a:pos x="9" y="10"/>
                  </a:cxn>
                  <a:cxn ang="0">
                    <a:pos x="11" y="11"/>
                  </a:cxn>
                  <a:cxn ang="0">
                    <a:pos x="12" y="12"/>
                  </a:cxn>
                  <a:cxn ang="0">
                    <a:pos x="12" y="9"/>
                  </a:cxn>
                  <a:cxn ang="0">
                    <a:pos x="11" y="10"/>
                  </a:cxn>
                  <a:cxn ang="0">
                    <a:pos x="4" y="11"/>
                  </a:cxn>
                  <a:cxn ang="0">
                    <a:pos x="4" y="12"/>
                  </a:cxn>
                  <a:cxn ang="0">
                    <a:pos x="6" y="12"/>
                  </a:cxn>
                  <a:cxn ang="0">
                    <a:pos x="4" y="11"/>
                  </a:cxn>
                  <a:cxn ang="0">
                    <a:pos x="1" y="1"/>
                  </a:cxn>
                  <a:cxn ang="0">
                    <a:pos x="0" y="3"/>
                  </a:cxn>
                  <a:cxn ang="0">
                    <a:pos x="0" y="5"/>
                  </a:cxn>
                  <a:cxn ang="0">
                    <a:pos x="1" y="7"/>
                  </a:cxn>
                  <a:cxn ang="0">
                    <a:pos x="2" y="7"/>
                  </a:cxn>
                  <a:cxn ang="0">
                    <a:pos x="2" y="4"/>
                  </a:cxn>
                  <a:cxn ang="0">
                    <a:pos x="1" y="1"/>
                  </a:cxn>
                </a:cxnLst>
                <a:rect l="0" t="0" r="r" b="b"/>
                <a:pathLst>
                  <a:path w="20" h="19">
                    <a:moveTo>
                      <a:pt x="19" y="17"/>
                    </a:moveTo>
                    <a:cubicBezTo>
                      <a:pt x="19" y="16"/>
                      <a:pt x="20" y="16"/>
                      <a:pt x="19" y="17"/>
                    </a:cubicBezTo>
                    <a:close/>
                    <a:moveTo>
                      <a:pt x="18" y="15"/>
                    </a:moveTo>
                    <a:cubicBezTo>
                      <a:pt x="17" y="16"/>
                      <a:pt x="17" y="16"/>
                      <a:pt x="17" y="16"/>
                    </a:cubicBezTo>
                    <a:cubicBezTo>
                      <a:pt x="17" y="17"/>
                      <a:pt x="18" y="17"/>
                      <a:pt x="18" y="17"/>
                    </a:cubicBezTo>
                    <a:cubicBezTo>
                      <a:pt x="18" y="18"/>
                      <a:pt x="18" y="18"/>
                      <a:pt x="18" y="18"/>
                    </a:cubicBezTo>
                    <a:cubicBezTo>
                      <a:pt x="18" y="19"/>
                      <a:pt x="18" y="18"/>
                      <a:pt x="17" y="18"/>
                    </a:cubicBezTo>
                    <a:cubicBezTo>
                      <a:pt x="18" y="18"/>
                      <a:pt x="17" y="19"/>
                      <a:pt x="18" y="19"/>
                    </a:cubicBezTo>
                    <a:cubicBezTo>
                      <a:pt x="18" y="19"/>
                      <a:pt x="18" y="18"/>
                      <a:pt x="19" y="18"/>
                    </a:cubicBezTo>
                    <a:cubicBezTo>
                      <a:pt x="19" y="18"/>
                      <a:pt x="18" y="17"/>
                      <a:pt x="19" y="17"/>
                    </a:cubicBezTo>
                    <a:cubicBezTo>
                      <a:pt x="19" y="17"/>
                      <a:pt x="19" y="16"/>
                      <a:pt x="19" y="16"/>
                    </a:cubicBezTo>
                    <a:cubicBezTo>
                      <a:pt x="18" y="16"/>
                      <a:pt x="18" y="16"/>
                      <a:pt x="18" y="15"/>
                    </a:cubicBezTo>
                    <a:close/>
                    <a:moveTo>
                      <a:pt x="11" y="10"/>
                    </a:moveTo>
                    <a:cubicBezTo>
                      <a:pt x="11" y="10"/>
                      <a:pt x="9" y="10"/>
                      <a:pt x="9" y="10"/>
                    </a:cubicBezTo>
                    <a:cubicBezTo>
                      <a:pt x="9" y="10"/>
                      <a:pt x="11" y="11"/>
                      <a:pt x="11" y="11"/>
                    </a:cubicBezTo>
                    <a:cubicBezTo>
                      <a:pt x="11" y="11"/>
                      <a:pt x="12" y="12"/>
                      <a:pt x="12" y="12"/>
                    </a:cubicBezTo>
                    <a:cubicBezTo>
                      <a:pt x="13" y="12"/>
                      <a:pt x="12" y="10"/>
                      <a:pt x="12" y="9"/>
                    </a:cubicBezTo>
                    <a:cubicBezTo>
                      <a:pt x="12" y="8"/>
                      <a:pt x="11" y="10"/>
                      <a:pt x="11" y="10"/>
                    </a:cubicBezTo>
                    <a:close/>
                    <a:moveTo>
                      <a:pt x="4" y="11"/>
                    </a:moveTo>
                    <a:cubicBezTo>
                      <a:pt x="3" y="11"/>
                      <a:pt x="4" y="12"/>
                      <a:pt x="4" y="12"/>
                    </a:cubicBezTo>
                    <a:cubicBezTo>
                      <a:pt x="5" y="12"/>
                      <a:pt x="5" y="12"/>
                      <a:pt x="6" y="12"/>
                    </a:cubicBezTo>
                    <a:cubicBezTo>
                      <a:pt x="6" y="12"/>
                      <a:pt x="4" y="11"/>
                      <a:pt x="4" y="11"/>
                    </a:cubicBezTo>
                    <a:close/>
                    <a:moveTo>
                      <a:pt x="1" y="1"/>
                    </a:moveTo>
                    <a:cubicBezTo>
                      <a:pt x="0" y="2"/>
                      <a:pt x="0" y="3"/>
                      <a:pt x="0" y="3"/>
                    </a:cubicBezTo>
                    <a:cubicBezTo>
                      <a:pt x="0" y="4"/>
                      <a:pt x="0" y="5"/>
                      <a:pt x="0" y="5"/>
                    </a:cubicBezTo>
                    <a:cubicBezTo>
                      <a:pt x="0" y="6"/>
                      <a:pt x="0" y="6"/>
                      <a:pt x="1" y="7"/>
                    </a:cubicBezTo>
                    <a:cubicBezTo>
                      <a:pt x="2" y="7"/>
                      <a:pt x="2" y="7"/>
                      <a:pt x="2" y="7"/>
                    </a:cubicBezTo>
                    <a:cubicBezTo>
                      <a:pt x="3" y="7"/>
                      <a:pt x="2" y="4"/>
                      <a:pt x="2" y="4"/>
                    </a:cubicBezTo>
                    <a:cubicBezTo>
                      <a:pt x="2" y="3"/>
                      <a:pt x="2" y="0"/>
                      <a:pt x="1"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1" name="Colombia">
                <a:extLst>
                  <a:ext uri="{FF2B5EF4-FFF2-40B4-BE49-F238E27FC236}">
                    <a16:creationId xmlns:a16="http://schemas.microsoft.com/office/drawing/2014/main" id="{0C7524E9-013A-70B3-5362-3B0A63AA0733}"/>
                  </a:ext>
                </a:extLst>
              </p:cNvPr>
              <p:cNvSpPr>
                <a:spLocks noEditPoints="1"/>
              </p:cNvSpPr>
              <p:nvPr/>
            </p:nvSpPr>
            <p:spPr bwMode="auto">
              <a:xfrm>
                <a:off x="2907136" y="3522901"/>
                <a:ext cx="489102" cy="688076"/>
              </a:xfrm>
              <a:custGeom>
                <a:avLst/>
                <a:gdLst/>
                <a:ahLst/>
                <a:cxnLst>
                  <a:cxn ang="0">
                    <a:pos x="134" y="125"/>
                  </a:cxn>
                  <a:cxn ang="0">
                    <a:pos x="125" y="127"/>
                  </a:cxn>
                  <a:cxn ang="0">
                    <a:pos x="111" y="135"/>
                  </a:cxn>
                  <a:cxn ang="0">
                    <a:pos x="116" y="140"/>
                  </a:cxn>
                  <a:cxn ang="0">
                    <a:pos x="109" y="151"/>
                  </a:cxn>
                  <a:cxn ang="0">
                    <a:pos x="112" y="170"/>
                  </a:cxn>
                  <a:cxn ang="0">
                    <a:pos x="104" y="189"/>
                  </a:cxn>
                  <a:cxn ang="0">
                    <a:pos x="105" y="175"/>
                  </a:cxn>
                  <a:cxn ang="0">
                    <a:pos x="99" y="172"/>
                  </a:cxn>
                  <a:cxn ang="0">
                    <a:pos x="92" y="171"/>
                  </a:cxn>
                  <a:cxn ang="0">
                    <a:pos x="84" y="174"/>
                  </a:cxn>
                  <a:cxn ang="0">
                    <a:pos x="78" y="172"/>
                  </a:cxn>
                  <a:cxn ang="0">
                    <a:pos x="75" y="167"/>
                  </a:cxn>
                  <a:cxn ang="0">
                    <a:pos x="71" y="161"/>
                  </a:cxn>
                  <a:cxn ang="0">
                    <a:pos x="65" y="154"/>
                  </a:cxn>
                  <a:cxn ang="0">
                    <a:pos x="56" y="148"/>
                  </a:cxn>
                  <a:cxn ang="0">
                    <a:pos x="47" y="143"/>
                  </a:cxn>
                  <a:cxn ang="0">
                    <a:pos x="38" y="144"/>
                  </a:cxn>
                  <a:cxn ang="0">
                    <a:pos x="28" y="136"/>
                  </a:cxn>
                  <a:cxn ang="0">
                    <a:pos x="22" y="131"/>
                  </a:cxn>
                  <a:cxn ang="0">
                    <a:pos x="25" y="125"/>
                  </a:cxn>
                  <a:cxn ang="0">
                    <a:pos x="28" y="120"/>
                  </a:cxn>
                  <a:cxn ang="0">
                    <a:pos x="32" y="117"/>
                  </a:cxn>
                  <a:cxn ang="0">
                    <a:pos x="33" y="115"/>
                  </a:cxn>
                  <a:cxn ang="0">
                    <a:pos x="37" y="109"/>
                  </a:cxn>
                  <a:cxn ang="0">
                    <a:pos x="39" y="106"/>
                  </a:cxn>
                  <a:cxn ang="0">
                    <a:pos x="39" y="104"/>
                  </a:cxn>
                  <a:cxn ang="0">
                    <a:pos x="36" y="102"/>
                  </a:cxn>
                  <a:cxn ang="0">
                    <a:pos x="38" y="94"/>
                  </a:cxn>
                  <a:cxn ang="0">
                    <a:pos x="38" y="81"/>
                  </a:cxn>
                  <a:cxn ang="0">
                    <a:pos x="37" y="73"/>
                  </a:cxn>
                  <a:cxn ang="0">
                    <a:pos x="35" y="64"/>
                  </a:cxn>
                  <a:cxn ang="0">
                    <a:pos x="41" y="60"/>
                  </a:cxn>
                  <a:cxn ang="0">
                    <a:pos x="41" y="55"/>
                  </a:cxn>
                  <a:cxn ang="0">
                    <a:pos x="44" y="59"/>
                  </a:cxn>
                  <a:cxn ang="0">
                    <a:pos x="44" y="54"/>
                  </a:cxn>
                  <a:cxn ang="0">
                    <a:pos x="55" y="44"/>
                  </a:cxn>
                  <a:cxn ang="0">
                    <a:pos x="56" y="36"/>
                  </a:cxn>
                  <a:cxn ang="0">
                    <a:pos x="59" y="31"/>
                  </a:cxn>
                  <a:cxn ang="0">
                    <a:pos x="64" y="27"/>
                  </a:cxn>
                  <a:cxn ang="0">
                    <a:pos x="68" y="28"/>
                  </a:cxn>
                  <a:cxn ang="0">
                    <a:pos x="72" y="23"/>
                  </a:cxn>
                  <a:cxn ang="0">
                    <a:pos x="88" y="18"/>
                  </a:cxn>
                  <a:cxn ang="0">
                    <a:pos x="94" y="12"/>
                  </a:cxn>
                  <a:cxn ang="0">
                    <a:pos x="96" y="11"/>
                  </a:cxn>
                  <a:cxn ang="0">
                    <a:pos x="90" y="25"/>
                  </a:cxn>
                  <a:cxn ang="0">
                    <a:pos x="80" y="43"/>
                  </a:cxn>
                  <a:cxn ang="0">
                    <a:pos x="85" y="53"/>
                  </a:cxn>
                  <a:cxn ang="0">
                    <a:pos x="90" y="70"/>
                  </a:cxn>
                  <a:cxn ang="0">
                    <a:pos x="107" y="71"/>
                  </a:cxn>
                  <a:cxn ang="0">
                    <a:pos x="121" y="79"/>
                  </a:cxn>
                  <a:cxn ang="0">
                    <a:pos x="134" y="79"/>
                  </a:cxn>
                  <a:cxn ang="0">
                    <a:pos x="130" y="95"/>
                  </a:cxn>
                  <a:cxn ang="0">
                    <a:pos x="135" y="110"/>
                  </a:cxn>
                  <a:cxn ang="0">
                    <a:pos x="135" y="121"/>
                  </a:cxn>
                  <a:cxn ang="0">
                    <a:pos x="97" y="10"/>
                  </a:cxn>
                </a:cxnLst>
                <a:rect l="0" t="0" r="r" b="b"/>
                <a:pathLst>
                  <a:path w="138" h="194">
                    <a:moveTo>
                      <a:pt x="1" y="9"/>
                    </a:moveTo>
                    <a:cubicBezTo>
                      <a:pt x="1" y="9"/>
                      <a:pt x="0" y="10"/>
                      <a:pt x="0" y="10"/>
                    </a:cubicBezTo>
                    <a:cubicBezTo>
                      <a:pt x="0" y="10"/>
                      <a:pt x="0" y="9"/>
                      <a:pt x="1" y="9"/>
                    </a:cubicBezTo>
                    <a:close/>
                    <a:moveTo>
                      <a:pt x="138" y="134"/>
                    </a:moveTo>
                    <a:cubicBezTo>
                      <a:pt x="138" y="134"/>
                      <a:pt x="136" y="135"/>
                      <a:pt x="136" y="134"/>
                    </a:cubicBezTo>
                    <a:cubicBezTo>
                      <a:pt x="136" y="133"/>
                      <a:pt x="137" y="131"/>
                      <a:pt x="136" y="130"/>
                    </a:cubicBezTo>
                    <a:cubicBezTo>
                      <a:pt x="136" y="129"/>
                      <a:pt x="136" y="128"/>
                      <a:pt x="135" y="127"/>
                    </a:cubicBezTo>
                    <a:cubicBezTo>
                      <a:pt x="135" y="126"/>
                      <a:pt x="135" y="126"/>
                      <a:pt x="134" y="125"/>
                    </a:cubicBezTo>
                    <a:cubicBezTo>
                      <a:pt x="134" y="125"/>
                      <a:pt x="134" y="124"/>
                      <a:pt x="134" y="124"/>
                    </a:cubicBezTo>
                    <a:cubicBezTo>
                      <a:pt x="132" y="123"/>
                      <a:pt x="130" y="127"/>
                      <a:pt x="129" y="128"/>
                    </a:cubicBezTo>
                    <a:cubicBezTo>
                      <a:pt x="128" y="128"/>
                      <a:pt x="127" y="128"/>
                      <a:pt x="127" y="127"/>
                    </a:cubicBezTo>
                    <a:cubicBezTo>
                      <a:pt x="127" y="126"/>
                      <a:pt x="126" y="126"/>
                      <a:pt x="126" y="126"/>
                    </a:cubicBezTo>
                    <a:cubicBezTo>
                      <a:pt x="126" y="126"/>
                      <a:pt x="126" y="125"/>
                      <a:pt x="126" y="125"/>
                    </a:cubicBezTo>
                    <a:cubicBezTo>
                      <a:pt x="126" y="125"/>
                      <a:pt x="125" y="126"/>
                      <a:pt x="125" y="126"/>
                    </a:cubicBezTo>
                    <a:cubicBezTo>
                      <a:pt x="125" y="127"/>
                      <a:pt x="125" y="127"/>
                      <a:pt x="125" y="127"/>
                    </a:cubicBezTo>
                    <a:cubicBezTo>
                      <a:pt x="125" y="127"/>
                      <a:pt x="125" y="127"/>
                      <a:pt x="125" y="127"/>
                    </a:cubicBezTo>
                    <a:cubicBezTo>
                      <a:pt x="125" y="128"/>
                      <a:pt x="125" y="128"/>
                      <a:pt x="126" y="128"/>
                    </a:cubicBezTo>
                    <a:cubicBezTo>
                      <a:pt x="123" y="129"/>
                      <a:pt x="120" y="128"/>
                      <a:pt x="117" y="128"/>
                    </a:cubicBezTo>
                    <a:cubicBezTo>
                      <a:pt x="115" y="128"/>
                      <a:pt x="114" y="128"/>
                      <a:pt x="113" y="128"/>
                    </a:cubicBezTo>
                    <a:cubicBezTo>
                      <a:pt x="112" y="128"/>
                      <a:pt x="111" y="129"/>
                      <a:pt x="109" y="128"/>
                    </a:cubicBezTo>
                    <a:cubicBezTo>
                      <a:pt x="109" y="131"/>
                      <a:pt x="109" y="133"/>
                      <a:pt x="109" y="135"/>
                    </a:cubicBezTo>
                    <a:cubicBezTo>
                      <a:pt x="109" y="135"/>
                      <a:pt x="109" y="136"/>
                      <a:pt x="110" y="135"/>
                    </a:cubicBezTo>
                    <a:cubicBezTo>
                      <a:pt x="110" y="135"/>
                      <a:pt x="110" y="135"/>
                      <a:pt x="111" y="135"/>
                    </a:cubicBezTo>
                    <a:cubicBezTo>
                      <a:pt x="111" y="136"/>
                      <a:pt x="111" y="136"/>
                      <a:pt x="111" y="135"/>
                    </a:cubicBezTo>
                    <a:cubicBezTo>
                      <a:pt x="112" y="135"/>
                      <a:pt x="113" y="136"/>
                      <a:pt x="113" y="136"/>
                    </a:cubicBezTo>
                    <a:cubicBezTo>
                      <a:pt x="114" y="136"/>
                      <a:pt x="113" y="136"/>
                      <a:pt x="114" y="136"/>
                    </a:cubicBezTo>
                    <a:cubicBezTo>
                      <a:pt x="114" y="136"/>
                      <a:pt x="114" y="135"/>
                      <a:pt x="114" y="136"/>
                    </a:cubicBezTo>
                    <a:cubicBezTo>
                      <a:pt x="115" y="136"/>
                      <a:pt x="115" y="136"/>
                      <a:pt x="116" y="137"/>
                    </a:cubicBezTo>
                    <a:cubicBezTo>
                      <a:pt x="116" y="137"/>
                      <a:pt x="116" y="137"/>
                      <a:pt x="116" y="137"/>
                    </a:cubicBezTo>
                    <a:cubicBezTo>
                      <a:pt x="115" y="137"/>
                      <a:pt x="116" y="137"/>
                      <a:pt x="116" y="138"/>
                    </a:cubicBezTo>
                    <a:cubicBezTo>
                      <a:pt x="116" y="138"/>
                      <a:pt x="116" y="139"/>
                      <a:pt x="116" y="139"/>
                    </a:cubicBezTo>
                    <a:cubicBezTo>
                      <a:pt x="116" y="140"/>
                      <a:pt x="117" y="140"/>
                      <a:pt x="116" y="140"/>
                    </a:cubicBezTo>
                    <a:cubicBezTo>
                      <a:pt x="116" y="140"/>
                      <a:pt x="115" y="141"/>
                      <a:pt x="115" y="140"/>
                    </a:cubicBezTo>
                    <a:cubicBezTo>
                      <a:pt x="115" y="140"/>
                      <a:pt x="114" y="140"/>
                      <a:pt x="114" y="140"/>
                    </a:cubicBezTo>
                    <a:cubicBezTo>
                      <a:pt x="114" y="140"/>
                      <a:pt x="113" y="139"/>
                      <a:pt x="113" y="139"/>
                    </a:cubicBezTo>
                    <a:cubicBezTo>
                      <a:pt x="112" y="140"/>
                      <a:pt x="112" y="140"/>
                      <a:pt x="111" y="140"/>
                    </a:cubicBezTo>
                    <a:cubicBezTo>
                      <a:pt x="111" y="140"/>
                      <a:pt x="110" y="141"/>
                      <a:pt x="110" y="141"/>
                    </a:cubicBezTo>
                    <a:cubicBezTo>
                      <a:pt x="109" y="141"/>
                      <a:pt x="108" y="141"/>
                      <a:pt x="107" y="141"/>
                    </a:cubicBezTo>
                    <a:cubicBezTo>
                      <a:pt x="107" y="143"/>
                      <a:pt x="107" y="146"/>
                      <a:pt x="107" y="148"/>
                    </a:cubicBezTo>
                    <a:cubicBezTo>
                      <a:pt x="107" y="149"/>
                      <a:pt x="108" y="150"/>
                      <a:pt x="109" y="151"/>
                    </a:cubicBezTo>
                    <a:cubicBezTo>
                      <a:pt x="109" y="151"/>
                      <a:pt x="109" y="151"/>
                      <a:pt x="110" y="151"/>
                    </a:cubicBezTo>
                    <a:cubicBezTo>
                      <a:pt x="110" y="152"/>
                      <a:pt x="110" y="152"/>
                      <a:pt x="111" y="152"/>
                    </a:cubicBezTo>
                    <a:cubicBezTo>
                      <a:pt x="112" y="153"/>
                      <a:pt x="112" y="153"/>
                      <a:pt x="112" y="154"/>
                    </a:cubicBezTo>
                    <a:cubicBezTo>
                      <a:pt x="112" y="155"/>
                      <a:pt x="112" y="155"/>
                      <a:pt x="112" y="155"/>
                    </a:cubicBezTo>
                    <a:cubicBezTo>
                      <a:pt x="112" y="156"/>
                      <a:pt x="112" y="156"/>
                      <a:pt x="112" y="157"/>
                    </a:cubicBezTo>
                    <a:cubicBezTo>
                      <a:pt x="113" y="158"/>
                      <a:pt x="113" y="158"/>
                      <a:pt x="113" y="159"/>
                    </a:cubicBezTo>
                    <a:cubicBezTo>
                      <a:pt x="114" y="160"/>
                      <a:pt x="114" y="161"/>
                      <a:pt x="114" y="162"/>
                    </a:cubicBezTo>
                    <a:cubicBezTo>
                      <a:pt x="113" y="165"/>
                      <a:pt x="113" y="167"/>
                      <a:pt x="112" y="170"/>
                    </a:cubicBezTo>
                    <a:cubicBezTo>
                      <a:pt x="112" y="171"/>
                      <a:pt x="112" y="172"/>
                      <a:pt x="112" y="173"/>
                    </a:cubicBezTo>
                    <a:cubicBezTo>
                      <a:pt x="112" y="175"/>
                      <a:pt x="112" y="176"/>
                      <a:pt x="111" y="178"/>
                    </a:cubicBezTo>
                    <a:cubicBezTo>
                      <a:pt x="111" y="181"/>
                      <a:pt x="111" y="184"/>
                      <a:pt x="110" y="186"/>
                    </a:cubicBezTo>
                    <a:cubicBezTo>
                      <a:pt x="110" y="188"/>
                      <a:pt x="110" y="189"/>
                      <a:pt x="110" y="190"/>
                    </a:cubicBezTo>
                    <a:cubicBezTo>
                      <a:pt x="110" y="191"/>
                      <a:pt x="110" y="193"/>
                      <a:pt x="109" y="194"/>
                    </a:cubicBezTo>
                    <a:cubicBezTo>
                      <a:pt x="109" y="193"/>
                      <a:pt x="108" y="193"/>
                      <a:pt x="108" y="192"/>
                    </a:cubicBezTo>
                    <a:cubicBezTo>
                      <a:pt x="107" y="192"/>
                      <a:pt x="107" y="191"/>
                      <a:pt x="107" y="191"/>
                    </a:cubicBezTo>
                    <a:cubicBezTo>
                      <a:pt x="106" y="190"/>
                      <a:pt x="105" y="188"/>
                      <a:pt x="104" y="189"/>
                    </a:cubicBezTo>
                    <a:cubicBezTo>
                      <a:pt x="104" y="190"/>
                      <a:pt x="103" y="190"/>
                      <a:pt x="102" y="189"/>
                    </a:cubicBezTo>
                    <a:cubicBezTo>
                      <a:pt x="102" y="189"/>
                      <a:pt x="102" y="188"/>
                      <a:pt x="102" y="188"/>
                    </a:cubicBezTo>
                    <a:cubicBezTo>
                      <a:pt x="103" y="186"/>
                      <a:pt x="104" y="184"/>
                      <a:pt x="105" y="182"/>
                    </a:cubicBezTo>
                    <a:cubicBezTo>
                      <a:pt x="106" y="181"/>
                      <a:pt x="106" y="180"/>
                      <a:pt x="107" y="179"/>
                    </a:cubicBezTo>
                    <a:cubicBezTo>
                      <a:pt x="107" y="178"/>
                      <a:pt x="107" y="178"/>
                      <a:pt x="108" y="178"/>
                    </a:cubicBezTo>
                    <a:cubicBezTo>
                      <a:pt x="108" y="177"/>
                      <a:pt x="108" y="176"/>
                      <a:pt x="107" y="177"/>
                    </a:cubicBezTo>
                    <a:cubicBezTo>
                      <a:pt x="107" y="177"/>
                      <a:pt x="106" y="176"/>
                      <a:pt x="106" y="176"/>
                    </a:cubicBezTo>
                    <a:cubicBezTo>
                      <a:pt x="106" y="175"/>
                      <a:pt x="105" y="176"/>
                      <a:pt x="105" y="175"/>
                    </a:cubicBezTo>
                    <a:cubicBezTo>
                      <a:pt x="105" y="175"/>
                      <a:pt x="106" y="175"/>
                      <a:pt x="105" y="175"/>
                    </a:cubicBezTo>
                    <a:cubicBezTo>
                      <a:pt x="105" y="175"/>
                      <a:pt x="104" y="175"/>
                      <a:pt x="104" y="175"/>
                    </a:cubicBezTo>
                    <a:cubicBezTo>
                      <a:pt x="104" y="175"/>
                      <a:pt x="103" y="174"/>
                      <a:pt x="103" y="174"/>
                    </a:cubicBezTo>
                    <a:cubicBezTo>
                      <a:pt x="103" y="174"/>
                      <a:pt x="103" y="174"/>
                      <a:pt x="103" y="174"/>
                    </a:cubicBezTo>
                    <a:cubicBezTo>
                      <a:pt x="102" y="175"/>
                      <a:pt x="102" y="174"/>
                      <a:pt x="102" y="174"/>
                    </a:cubicBezTo>
                    <a:cubicBezTo>
                      <a:pt x="102" y="173"/>
                      <a:pt x="101" y="173"/>
                      <a:pt x="100" y="172"/>
                    </a:cubicBezTo>
                    <a:cubicBezTo>
                      <a:pt x="100" y="172"/>
                      <a:pt x="100" y="172"/>
                      <a:pt x="99" y="172"/>
                    </a:cubicBezTo>
                    <a:cubicBezTo>
                      <a:pt x="99" y="172"/>
                      <a:pt x="99" y="172"/>
                      <a:pt x="99" y="172"/>
                    </a:cubicBezTo>
                    <a:cubicBezTo>
                      <a:pt x="98" y="173"/>
                      <a:pt x="98" y="172"/>
                      <a:pt x="98" y="173"/>
                    </a:cubicBezTo>
                    <a:cubicBezTo>
                      <a:pt x="97" y="173"/>
                      <a:pt x="97" y="173"/>
                      <a:pt x="97" y="173"/>
                    </a:cubicBezTo>
                    <a:cubicBezTo>
                      <a:pt x="96" y="173"/>
                      <a:pt x="95" y="174"/>
                      <a:pt x="95" y="173"/>
                    </a:cubicBezTo>
                    <a:cubicBezTo>
                      <a:pt x="95" y="172"/>
                      <a:pt x="95" y="172"/>
                      <a:pt x="94" y="173"/>
                    </a:cubicBezTo>
                    <a:cubicBezTo>
                      <a:pt x="94" y="173"/>
                      <a:pt x="94" y="172"/>
                      <a:pt x="94" y="172"/>
                    </a:cubicBezTo>
                    <a:cubicBezTo>
                      <a:pt x="94" y="172"/>
                      <a:pt x="93" y="172"/>
                      <a:pt x="93" y="172"/>
                    </a:cubicBezTo>
                    <a:cubicBezTo>
                      <a:pt x="92" y="172"/>
                      <a:pt x="92" y="172"/>
                      <a:pt x="92" y="172"/>
                    </a:cubicBezTo>
                    <a:cubicBezTo>
                      <a:pt x="92" y="171"/>
                      <a:pt x="92" y="171"/>
                      <a:pt x="92" y="171"/>
                    </a:cubicBezTo>
                    <a:cubicBezTo>
                      <a:pt x="91" y="171"/>
                      <a:pt x="91" y="172"/>
                      <a:pt x="90" y="173"/>
                    </a:cubicBezTo>
                    <a:cubicBezTo>
                      <a:pt x="90" y="173"/>
                      <a:pt x="90" y="173"/>
                      <a:pt x="90" y="173"/>
                    </a:cubicBezTo>
                    <a:cubicBezTo>
                      <a:pt x="89" y="173"/>
                      <a:pt x="89" y="173"/>
                      <a:pt x="88" y="174"/>
                    </a:cubicBezTo>
                    <a:cubicBezTo>
                      <a:pt x="88" y="174"/>
                      <a:pt x="88" y="174"/>
                      <a:pt x="88" y="174"/>
                    </a:cubicBezTo>
                    <a:cubicBezTo>
                      <a:pt x="87" y="174"/>
                      <a:pt x="87" y="174"/>
                      <a:pt x="87" y="175"/>
                    </a:cubicBezTo>
                    <a:cubicBezTo>
                      <a:pt x="87" y="175"/>
                      <a:pt x="86" y="175"/>
                      <a:pt x="86" y="175"/>
                    </a:cubicBezTo>
                    <a:cubicBezTo>
                      <a:pt x="85" y="174"/>
                      <a:pt x="85" y="174"/>
                      <a:pt x="85" y="174"/>
                    </a:cubicBezTo>
                    <a:cubicBezTo>
                      <a:pt x="84" y="174"/>
                      <a:pt x="84" y="174"/>
                      <a:pt x="84" y="174"/>
                    </a:cubicBezTo>
                    <a:cubicBezTo>
                      <a:pt x="83" y="174"/>
                      <a:pt x="83" y="174"/>
                      <a:pt x="83" y="174"/>
                    </a:cubicBezTo>
                    <a:cubicBezTo>
                      <a:pt x="83" y="174"/>
                      <a:pt x="83" y="175"/>
                      <a:pt x="82" y="174"/>
                    </a:cubicBezTo>
                    <a:cubicBezTo>
                      <a:pt x="82" y="174"/>
                      <a:pt x="82" y="174"/>
                      <a:pt x="82" y="174"/>
                    </a:cubicBezTo>
                    <a:cubicBezTo>
                      <a:pt x="81" y="174"/>
                      <a:pt x="81" y="175"/>
                      <a:pt x="80" y="174"/>
                    </a:cubicBezTo>
                    <a:cubicBezTo>
                      <a:pt x="80" y="174"/>
                      <a:pt x="80" y="174"/>
                      <a:pt x="80" y="174"/>
                    </a:cubicBezTo>
                    <a:cubicBezTo>
                      <a:pt x="80" y="174"/>
                      <a:pt x="79" y="174"/>
                      <a:pt x="79" y="174"/>
                    </a:cubicBezTo>
                    <a:cubicBezTo>
                      <a:pt x="79" y="174"/>
                      <a:pt x="79" y="173"/>
                      <a:pt x="79" y="173"/>
                    </a:cubicBezTo>
                    <a:cubicBezTo>
                      <a:pt x="78" y="173"/>
                      <a:pt x="78" y="173"/>
                      <a:pt x="78" y="172"/>
                    </a:cubicBezTo>
                    <a:cubicBezTo>
                      <a:pt x="78" y="172"/>
                      <a:pt x="78" y="172"/>
                      <a:pt x="78" y="171"/>
                    </a:cubicBezTo>
                    <a:cubicBezTo>
                      <a:pt x="79" y="171"/>
                      <a:pt x="78" y="170"/>
                      <a:pt x="78" y="170"/>
                    </a:cubicBezTo>
                    <a:cubicBezTo>
                      <a:pt x="78" y="169"/>
                      <a:pt x="78" y="169"/>
                      <a:pt x="78" y="168"/>
                    </a:cubicBezTo>
                    <a:cubicBezTo>
                      <a:pt x="78" y="168"/>
                      <a:pt x="78" y="168"/>
                      <a:pt x="77" y="168"/>
                    </a:cubicBezTo>
                    <a:cubicBezTo>
                      <a:pt x="77" y="167"/>
                      <a:pt x="77" y="167"/>
                      <a:pt x="77" y="167"/>
                    </a:cubicBezTo>
                    <a:cubicBezTo>
                      <a:pt x="77" y="167"/>
                      <a:pt x="77" y="167"/>
                      <a:pt x="77" y="167"/>
                    </a:cubicBezTo>
                    <a:cubicBezTo>
                      <a:pt x="76" y="167"/>
                      <a:pt x="76" y="168"/>
                      <a:pt x="76" y="168"/>
                    </a:cubicBezTo>
                    <a:cubicBezTo>
                      <a:pt x="76" y="168"/>
                      <a:pt x="76" y="167"/>
                      <a:pt x="75" y="167"/>
                    </a:cubicBezTo>
                    <a:cubicBezTo>
                      <a:pt x="75" y="167"/>
                      <a:pt x="74" y="167"/>
                      <a:pt x="74" y="167"/>
                    </a:cubicBezTo>
                    <a:cubicBezTo>
                      <a:pt x="74" y="166"/>
                      <a:pt x="75" y="165"/>
                      <a:pt x="74" y="165"/>
                    </a:cubicBezTo>
                    <a:cubicBezTo>
                      <a:pt x="74" y="164"/>
                      <a:pt x="74" y="164"/>
                      <a:pt x="74" y="164"/>
                    </a:cubicBezTo>
                    <a:cubicBezTo>
                      <a:pt x="73" y="163"/>
                      <a:pt x="74" y="163"/>
                      <a:pt x="73" y="162"/>
                    </a:cubicBezTo>
                    <a:cubicBezTo>
                      <a:pt x="73" y="162"/>
                      <a:pt x="73" y="162"/>
                      <a:pt x="72" y="162"/>
                    </a:cubicBezTo>
                    <a:cubicBezTo>
                      <a:pt x="72" y="161"/>
                      <a:pt x="72" y="161"/>
                      <a:pt x="72" y="161"/>
                    </a:cubicBezTo>
                    <a:cubicBezTo>
                      <a:pt x="71" y="161"/>
                      <a:pt x="72" y="161"/>
                      <a:pt x="71" y="161"/>
                    </a:cubicBezTo>
                    <a:cubicBezTo>
                      <a:pt x="71" y="161"/>
                      <a:pt x="71" y="161"/>
                      <a:pt x="71" y="161"/>
                    </a:cubicBezTo>
                    <a:cubicBezTo>
                      <a:pt x="70" y="161"/>
                      <a:pt x="71" y="160"/>
                      <a:pt x="70" y="160"/>
                    </a:cubicBezTo>
                    <a:cubicBezTo>
                      <a:pt x="70" y="160"/>
                      <a:pt x="70" y="160"/>
                      <a:pt x="70" y="160"/>
                    </a:cubicBezTo>
                    <a:cubicBezTo>
                      <a:pt x="70" y="160"/>
                      <a:pt x="70" y="160"/>
                      <a:pt x="69" y="160"/>
                    </a:cubicBezTo>
                    <a:cubicBezTo>
                      <a:pt x="69" y="160"/>
                      <a:pt x="69" y="159"/>
                      <a:pt x="69" y="159"/>
                    </a:cubicBezTo>
                    <a:cubicBezTo>
                      <a:pt x="67" y="159"/>
                      <a:pt x="67" y="158"/>
                      <a:pt x="66" y="157"/>
                    </a:cubicBezTo>
                    <a:cubicBezTo>
                      <a:pt x="66" y="157"/>
                      <a:pt x="67" y="157"/>
                      <a:pt x="67" y="157"/>
                    </a:cubicBezTo>
                    <a:cubicBezTo>
                      <a:pt x="67" y="157"/>
                      <a:pt x="66" y="156"/>
                      <a:pt x="66" y="156"/>
                    </a:cubicBezTo>
                    <a:cubicBezTo>
                      <a:pt x="66" y="155"/>
                      <a:pt x="66" y="154"/>
                      <a:pt x="65" y="154"/>
                    </a:cubicBezTo>
                    <a:cubicBezTo>
                      <a:pt x="65" y="153"/>
                      <a:pt x="65" y="153"/>
                      <a:pt x="64" y="153"/>
                    </a:cubicBezTo>
                    <a:cubicBezTo>
                      <a:pt x="64" y="152"/>
                      <a:pt x="64" y="152"/>
                      <a:pt x="63" y="152"/>
                    </a:cubicBezTo>
                    <a:cubicBezTo>
                      <a:pt x="63" y="152"/>
                      <a:pt x="63" y="152"/>
                      <a:pt x="63" y="152"/>
                    </a:cubicBezTo>
                    <a:cubicBezTo>
                      <a:pt x="63" y="151"/>
                      <a:pt x="63" y="151"/>
                      <a:pt x="62" y="151"/>
                    </a:cubicBezTo>
                    <a:cubicBezTo>
                      <a:pt x="62" y="151"/>
                      <a:pt x="62" y="150"/>
                      <a:pt x="62" y="150"/>
                    </a:cubicBezTo>
                    <a:cubicBezTo>
                      <a:pt x="61" y="149"/>
                      <a:pt x="61" y="149"/>
                      <a:pt x="60" y="150"/>
                    </a:cubicBezTo>
                    <a:cubicBezTo>
                      <a:pt x="60" y="149"/>
                      <a:pt x="58" y="147"/>
                      <a:pt x="57" y="148"/>
                    </a:cubicBezTo>
                    <a:cubicBezTo>
                      <a:pt x="57" y="148"/>
                      <a:pt x="57" y="149"/>
                      <a:pt x="56" y="148"/>
                    </a:cubicBezTo>
                    <a:cubicBezTo>
                      <a:pt x="56" y="148"/>
                      <a:pt x="55" y="148"/>
                      <a:pt x="55" y="148"/>
                    </a:cubicBezTo>
                    <a:cubicBezTo>
                      <a:pt x="55" y="147"/>
                      <a:pt x="54" y="147"/>
                      <a:pt x="53" y="147"/>
                    </a:cubicBezTo>
                    <a:cubicBezTo>
                      <a:pt x="53" y="147"/>
                      <a:pt x="52" y="146"/>
                      <a:pt x="51" y="146"/>
                    </a:cubicBezTo>
                    <a:cubicBezTo>
                      <a:pt x="51" y="145"/>
                      <a:pt x="50" y="145"/>
                      <a:pt x="50" y="144"/>
                    </a:cubicBezTo>
                    <a:cubicBezTo>
                      <a:pt x="50" y="144"/>
                      <a:pt x="49" y="144"/>
                      <a:pt x="49" y="144"/>
                    </a:cubicBezTo>
                    <a:cubicBezTo>
                      <a:pt x="49" y="144"/>
                      <a:pt x="49" y="144"/>
                      <a:pt x="49" y="144"/>
                    </a:cubicBezTo>
                    <a:cubicBezTo>
                      <a:pt x="48" y="143"/>
                      <a:pt x="48" y="143"/>
                      <a:pt x="48" y="143"/>
                    </a:cubicBezTo>
                    <a:cubicBezTo>
                      <a:pt x="47" y="143"/>
                      <a:pt x="47" y="143"/>
                      <a:pt x="47" y="143"/>
                    </a:cubicBezTo>
                    <a:cubicBezTo>
                      <a:pt x="47" y="143"/>
                      <a:pt x="47" y="143"/>
                      <a:pt x="46" y="143"/>
                    </a:cubicBezTo>
                    <a:cubicBezTo>
                      <a:pt x="45" y="143"/>
                      <a:pt x="46" y="144"/>
                      <a:pt x="45" y="145"/>
                    </a:cubicBezTo>
                    <a:cubicBezTo>
                      <a:pt x="45" y="145"/>
                      <a:pt x="44" y="145"/>
                      <a:pt x="44" y="145"/>
                    </a:cubicBezTo>
                    <a:cubicBezTo>
                      <a:pt x="44" y="145"/>
                      <a:pt x="43" y="144"/>
                      <a:pt x="43" y="144"/>
                    </a:cubicBezTo>
                    <a:cubicBezTo>
                      <a:pt x="42" y="145"/>
                      <a:pt x="42" y="145"/>
                      <a:pt x="41" y="145"/>
                    </a:cubicBezTo>
                    <a:cubicBezTo>
                      <a:pt x="41" y="145"/>
                      <a:pt x="41" y="144"/>
                      <a:pt x="41" y="144"/>
                    </a:cubicBezTo>
                    <a:cubicBezTo>
                      <a:pt x="40" y="144"/>
                      <a:pt x="40" y="144"/>
                      <a:pt x="40" y="144"/>
                    </a:cubicBezTo>
                    <a:cubicBezTo>
                      <a:pt x="39" y="144"/>
                      <a:pt x="39" y="143"/>
                      <a:pt x="38" y="144"/>
                    </a:cubicBezTo>
                    <a:cubicBezTo>
                      <a:pt x="38" y="144"/>
                      <a:pt x="37" y="143"/>
                      <a:pt x="36" y="143"/>
                    </a:cubicBezTo>
                    <a:cubicBezTo>
                      <a:pt x="36" y="142"/>
                      <a:pt x="36" y="141"/>
                      <a:pt x="36" y="141"/>
                    </a:cubicBezTo>
                    <a:cubicBezTo>
                      <a:pt x="36" y="140"/>
                      <a:pt x="35" y="140"/>
                      <a:pt x="34" y="140"/>
                    </a:cubicBezTo>
                    <a:cubicBezTo>
                      <a:pt x="33" y="139"/>
                      <a:pt x="34" y="138"/>
                      <a:pt x="33" y="138"/>
                    </a:cubicBezTo>
                    <a:cubicBezTo>
                      <a:pt x="33" y="138"/>
                      <a:pt x="32" y="138"/>
                      <a:pt x="32" y="138"/>
                    </a:cubicBezTo>
                    <a:cubicBezTo>
                      <a:pt x="31" y="138"/>
                      <a:pt x="31" y="138"/>
                      <a:pt x="31" y="138"/>
                    </a:cubicBezTo>
                    <a:cubicBezTo>
                      <a:pt x="30" y="137"/>
                      <a:pt x="29" y="137"/>
                      <a:pt x="29" y="137"/>
                    </a:cubicBezTo>
                    <a:cubicBezTo>
                      <a:pt x="28" y="137"/>
                      <a:pt x="28" y="136"/>
                      <a:pt x="28" y="136"/>
                    </a:cubicBezTo>
                    <a:cubicBezTo>
                      <a:pt x="28" y="136"/>
                      <a:pt x="28" y="136"/>
                      <a:pt x="28" y="135"/>
                    </a:cubicBezTo>
                    <a:cubicBezTo>
                      <a:pt x="28" y="135"/>
                      <a:pt x="28" y="135"/>
                      <a:pt x="28" y="135"/>
                    </a:cubicBezTo>
                    <a:cubicBezTo>
                      <a:pt x="27" y="135"/>
                      <a:pt x="27" y="134"/>
                      <a:pt x="27" y="134"/>
                    </a:cubicBezTo>
                    <a:cubicBezTo>
                      <a:pt x="27" y="134"/>
                      <a:pt x="26" y="135"/>
                      <a:pt x="26" y="134"/>
                    </a:cubicBezTo>
                    <a:cubicBezTo>
                      <a:pt x="26" y="134"/>
                      <a:pt x="25" y="134"/>
                      <a:pt x="25" y="134"/>
                    </a:cubicBezTo>
                    <a:cubicBezTo>
                      <a:pt x="25" y="134"/>
                      <a:pt x="25" y="133"/>
                      <a:pt x="24" y="133"/>
                    </a:cubicBezTo>
                    <a:cubicBezTo>
                      <a:pt x="24" y="133"/>
                      <a:pt x="24" y="133"/>
                      <a:pt x="23" y="133"/>
                    </a:cubicBezTo>
                    <a:cubicBezTo>
                      <a:pt x="23" y="132"/>
                      <a:pt x="23" y="132"/>
                      <a:pt x="22" y="131"/>
                    </a:cubicBezTo>
                    <a:cubicBezTo>
                      <a:pt x="22" y="131"/>
                      <a:pt x="22" y="130"/>
                      <a:pt x="21" y="130"/>
                    </a:cubicBezTo>
                    <a:cubicBezTo>
                      <a:pt x="20" y="130"/>
                      <a:pt x="20" y="128"/>
                      <a:pt x="21" y="128"/>
                    </a:cubicBezTo>
                    <a:cubicBezTo>
                      <a:pt x="22" y="127"/>
                      <a:pt x="22" y="127"/>
                      <a:pt x="23" y="127"/>
                    </a:cubicBezTo>
                    <a:cubicBezTo>
                      <a:pt x="23" y="127"/>
                      <a:pt x="24" y="127"/>
                      <a:pt x="24" y="128"/>
                    </a:cubicBezTo>
                    <a:cubicBezTo>
                      <a:pt x="24" y="128"/>
                      <a:pt x="25" y="128"/>
                      <a:pt x="25" y="127"/>
                    </a:cubicBezTo>
                    <a:cubicBezTo>
                      <a:pt x="25" y="127"/>
                      <a:pt x="25" y="127"/>
                      <a:pt x="25" y="126"/>
                    </a:cubicBezTo>
                    <a:cubicBezTo>
                      <a:pt x="25" y="126"/>
                      <a:pt x="25" y="126"/>
                      <a:pt x="25" y="126"/>
                    </a:cubicBezTo>
                    <a:cubicBezTo>
                      <a:pt x="24" y="126"/>
                      <a:pt x="25" y="126"/>
                      <a:pt x="25" y="125"/>
                    </a:cubicBezTo>
                    <a:cubicBezTo>
                      <a:pt x="24" y="125"/>
                      <a:pt x="24" y="125"/>
                      <a:pt x="24" y="125"/>
                    </a:cubicBezTo>
                    <a:cubicBezTo>
                      <a:pt x="24" y="125"/>
                      <a:pt x="24" y="124"/>
                      <a:pt x="24" y="124"/>
                    </a:cubicBezTo>
                    <a:cubicBezTo>
                      <a:pt x="24" y="124"/>
                      <a:pt x="24" y="123"/>
                      <a:pt x="24" y="123"/>
                    </a:cubicBezTo>
                    <a:cubicBezTo>
                      <a:pt x="25" y="122"/>
                      <a:pt x="25" y="121"/>
                      <a:pt x="25" y="120"/>
                    </a:cubicBezTo>
                    <a:cubicBezTo>
                      <a:pt x="25" y="121"/>
                      <a:pt x="25" y="121"/>
                      <a:pt x="25" y="121"/>
                    </a:cubicBezTo>
                    <a:cubicBezTo>
                      <a:pt x="25" y="121"/>
                      <a:pt x="26" y="121"/>
                      <a:pt x="26" y="120"/>
                    </a:cubicBezTo>
                    <a:cubicBezTo>
                      <a:pt x="26" y="120"/>
                      <a:pt x="26" y="119"/>
                      <a:pt x="27" y="120"/>
                    </a:cubicBezTo>
                    <a:cubicBezTo>
                      <a:pt x="27" y="120"/>
                      <a:pt x="27" y="120"/>
                      <a:pt x="28" y="120"/>
                    </a:cubicBezTo>
                    <a:cubicBezTo>
                      <a:pt x="28" y="120"/>
                      <a:pt x="28" y="119"/>
                      <a:pt x="28" y="120"/>
                    </a:cubicBezTo>
                    <a:cubicBezTo>
                      <a:pt x="29" y="119"/>
                      <a:pt x="29" y="120"/>
                      <a:pt x="29" y="120"/>
                    </a:cubicBezTo>
                    <a:cubicBezTo>
                      <a:pt x="30" y="120"/>
                      <a:pt x="30" y="119"/>
                      <a:pt x="30" y="119"/>
                    </a:cubicBezTo>
                    <a:cubicBezTo>
                      <a:pt x="30" y="119"/>
                      <a:pt x="30" y="120"/>
                      <a:pt x="31" y="119"/>
                    </a:cubicBezTo>
                    <a:cubicBezTo>
                      <a:pt x="31" y="119"/>
                      <a:pt x="31" y="118"/>
                      <a:pt x="31" y="118"/>
                    </a:cubicBezTo>
                    <a:cubicBezTo>
                      <a:pt x="31" y="118"/>
                      <a:pt x="31" y="118"/>
                      <a:pt x="32" y="118"/>
                    </a:cubicBezTo>
                    <a:cubicBezTo>
                      <a:pt x="31" y="119"/>
                      <a:pt x="34" y="119"/>
                      <a:pt x="33" y="118"/>
                    </a:cubicBezTo>
                    <a:cubicBezTo>
                      <a:pt x="33" y="118"/>
                      <a:pt x="33" y="117"/>
                      <a:pt x="32" y="117"/>
                    </a:cubicBezTo>
                    <a:cubicBezTo>
                      <a:pt x="33" y="117"/>
                      <a:pt x="33" y="117"/>
                      <a:pt x="33" y="117"/>
                    </a:cubicBezTo>
                    <a:cubicBezTo>
                      <a:pt x="33" y="117"/>
                      <a:pt x="33" y="117"/>
                      <a:pt x="33" y="116"/>
                    </a:cubicBezTo>
                    <a:cubicBezTo>
                      <a:pt x="33" y="116"/>
                      <a:pt x="33" y="116"/>
                      <a:pt x="34" y="117"/>
                    </a:cubicBezTo>
                    <a:cubicBezTo>
                      <a:pt x="34" y="116"/>
                      <a:pt x="33" y="116"/>
                      <a:pt x="33" y="116"/>
                    </a:cubicBezTo>
                    <a:cubicBezTo>
                      <a:pt x="34" y="116"/>
                      <a:pt x="34" y="116"/>
                      <a:pt x="34" y="116"/>
                    </a:cubicBezTo>
                    <a:cubicBezTo>
                      <a:pt x="34" y="116"/>
                      <a:pt x="33" y="116"/>
                      <a:pt x="33" y="116"/>
                    </a:cubicBezTo>
                    <a:cubicBezTo>
                      <a:pt x="33" y="115"/>
                      <a:pt x="34" y="115"/>
                      <a:pt x="34" y="115"/>
                    </a:cubicBezTo>
                    <a:cubicBezTo>
                      <a:pt x="34" y="116"/>
                      <a:pt x="34" y="113"/>
                      <a:pt x="33" y="115"/>
                    </a:cubicBezTo>
                    <a:cubicBezTo>
                      <a:pt x="34" y="114"/>
                      <a:pt x="33" y="114"/>
                      <a:pt x="34" y="114"/>
                    </a:cubicBezTo>
                    <a:cubicBezTo>
                      <a:pt x="35" y="114"/>
                      <a:pt x="35" y="112"/>
                      <a:pt x="36" y="112"/>
                    </a:cubicBezTo>
                    <a:cubicBezTo>
                      <a:pt x="36" y="112"/>
                      <a:pt x="36" y="112"/>
                      <a:pt x="36" y="111"/>
                    </a:cubicBezTo>
                    <a:cubicBezTo>
                      <a:pt x="37" y="111"/>
                      <a:pt x="36" y="111"/>
                      <a:pt x="36" y="111"/>
                    </a:cubicBezTo>
                    <a:cubicBezTo>
                      <a:pt x="36" y="110"/>
                      <a:pt x="37" y="110"/>
                      <a:pt x="37" y="110"/>
                    </a:cubicBezTo>
                    <a:cubicBezTo>
                      <a:pt x="37" y="110"/>
                      <a:pt x="37" y="111"/>
                      <a:pt x="37" y="111"/>
                    </a:cubicBezTo>
                    <a:cubicBezTo>
                      <a:pt x="37" y="111"/>
                      <a:pt x="37" y="109"/>
                      <a:pt x="37" y="110"/>
                    </a:cubicBezTo>
                    <a:cubicBezTo>
                      <a:pt x="37" y="109"/>
                      <a:pt x="37" y="109"/>
                      <a:pt x="37" y="109"/>
                    </a:cubicBezTo>
                    <a:cubicBezTo>
                      <a:pt x="37" y="109"/>
                      <a:pt x="38" y="109"/>
                      <a:pt x="38" y="109"/>
                    </a:cubicBezTo>
                    <a:cubicBezTo>
                      <a:pt x="38" y="109"/>
                      <a:pt x="38" y="109"/>
                      <a:pt x="38" y="109"/>
                    </a:cubicBezTo>
                    <a:cubicBezTo>
                      <a:pt x="38" y="108"/>
                      <a:pt x="38" y="108"/>
                      <a:pt x="38" y="108"/>
                    </a:cubicBezTo>
                    <a:cubicBezTo>
                      <a:pt x="38" y="108"/>
                      <a:pt x="38" y="108"/>
                      <a:pt x="38" y="108"/>
                    </a:cubicBezTo>
                    <a:cubicBezTo>
                      <a:pt x="38" y="108"/>
                      <a:pt x="39" y="108"/>
                      <a:pt x="38" y="108"/>
                    </a:cubicBezTo>
                    <a:cubicBezTo>
                      <a:pt x="38" y="107"/>
                      <a:pt x="39" y="107"/>
                      <a:pt x="39" y="107"/>
                    </a:cubicBezTo>
                    <a:cubicBezTo>
                      <a:pt x="39" y="107"/>
                      <a:pt x="39" y="107"/>
                      <a:pt x="39" y="107"/>
                    </a:cubicBezTo>
                    <a:cubicBezTo>
                      <a:pt x="39" y="107"/>
                      <a:pt x="39" y="107"/>
                      <a:pt x="39" y="106"/>
                    </a:cubicBezTo>
                    <a:cubicBezTo>
                      <a:pt x="39" y="106"/>
                      <a:pt x="39" y="107"/>
                      <a:pt x="39" y="106"/>
                    </a:cubicBezTo>
                    <a:cubicBezTo>
                      <a:pt x="39" y="106"/>
                      <a:pt x="39" y="106"/>
                      <a:pt x="39" y="106"/>
                    </a:cubicBezTo>
                    <a:cubicBezTo>
                      <a:pt x="39" y="106"/>
                      <a:pt x="39" y="106"/>
                      <a:pt x="39" y="106"/>
                    </a:cubicBezTo>
                    <a:cubicBezTo>
                      <a:pt x="39" y="106"/>
                      <a:pt x="40" y="106"/>
                      <a:pt x="39" y="106"/>
                    </a:cubicBezTo>
                    <a:cubicBezTo>
                      <a:pt x="39" y="105"/>
                      <a:pt x="39" y="105"/>
                      <a:pt x="39" y="106"/>
                    </a:cubicBezTo>
                    <a:cubicBezTo>
                      <a:pt x="40" y="105"/>
                      <a:pt x="40" y="105"/>
                      <a:pt x="40" y="105"/>
                    </a:cubicBezTo>
                    <a:cubicBezTo>
                      <a:pt x="40" y="105"/>
                      <a:pt x="40" y="104"/>
                      <a:pt x="40" y="104"/>
                    </a:cubicBezTo>
                    <a:cubicBezTo>
                      <a:pt x="40" y="104"/>
                      <a:pt x="40" y="104"/>
                      <a:pt x="39" y="104"/>
                    </a:cubicBezTo>
                    <a:cubicBezTo>
                      <a:pt x="40" y="105"/>
                      <a:pt x="38" y="105"/>
                      <a:pt x="38" y="105"/>
                    </a:cubicBezTo>
                    <a:cubicBezTo>
                      <a:pt x="38" y="105"/>
                      <a:pt x="38" y="104"/>
                      <a:pt x="38" y="104"/>
                    </a:cubicBezTo>
                    <a:cubicBezTo>
                      <a:pt x="38" y="103"/>
                      <a:pt x="38" y="104"/>
                      <a:pt x="39" y="104"/>
                    </a:cubicBezTo>
                    <a:cubicBezTo>
                      <a:pt x="38" y="104"/>
                      <a:pt x="39" y="103"/>
                      <a:pt x="39" y="103"/>
                    </a:cubicBezTo>
                    <a:cubicBezTo>
                      <a:pt x="39" y="103"/>
                      <a:pt x="38" y="102"/>
                      <a:pt x="38" y="102"/>
                    </a:cubicBezTo>
                    <a:cubicBezTo>
                      <a:pt x="38" y="103"/>
                      <a:pt x="38" y="103"/>
                      <a:pt x="38" y="103"/>
                    </a:cubicBezTo>
                    <a:cubicBezTo>
                      <a:pt x="37" y="104"/>
                      <a:pt x="37" y="104"/>
                      <a:pt x="37" y="103"/>
                    </a:cubicBezTo>
                    <a:cubicBezTo>
                      <a:pt x="36" y="103"/>
                      <a:pt x="36" y="102"/>
                      <a:pt x="36" y="102"/>
                    </a:cubicBezTo>
                    <a:cubicBezTo>
                      <a:pt x="37" y="101"/>
                      <a:pt x="37" y="101"/>
                      <a:pt x="38" y="101"/>
                    </a:cubicBezTo>
                    <a:cubicBezTo>
                      <a:pt x="38" y="101"/>
                      <a:pt x="39" y="100"/>
                      <a:pt x="38" y="100"/>
                    </a:cubicBezTo>
                    <a:cubicBezTo>
                      <a:pt x="37" y="100"/>
                      <a:pt x="37" y="100"/>
                      <a:pt x="37" y="99"/>
                    </a:cubicBezTo>
                    <a:cubicBezTo>
                      <a:pt x="37" y="99"/>
                      <a:pt x="38" y="98"/>
                      <a:pt x="38" y="98"/>
                    </a:cubicBezTo>
                    <a:cubicBezTo>
                      <a:pt x="38" y="98"/>
                      <a:pt x="38" y="98"/>
                      <a:pt x="38" y="97"/>
                    </a:cubicBezTo>
                    <a:cubicBezTo>
                      <a:pt x="38" y="97"/>
                      <a:pt x="38" y="96"/>
                      <a:pt x="38" y="96"/>
                    </a:cubicBezTo>
                    <a:cubicBezTo>
                      <a:pt x="38" y="96"/>
                      <a:pt x="37" y="95"/>
                      <a:pt x="38" y="95"/>
                    </a:cubicBezTo>
                    <a:cubicBezTo>
                      <a:pt x="38" y="95"/>
                      <a:pt x="38" y="94"/>
                      <a:pt x="38" y="94"/>
                    </a:cubicBezTo>
                    <a:cubicBezTo>
                      <a:pt x="38" y="94"/>
                      <a:pt x="38" y="93"/>
                      <a:pt x="38" y="93"/>
                    </a:cubicBezTo>
                    <a:cubicBezTo>
                      <a:pt x="38" y="92"/>
                      <a:pt x="38" y="91"/>
                      <a:pt x="38" y="90"/>
                    </a:cubicBezTo>
                    <a:cubicBezTo>
                      <a:pt x="38" y="89"/>
                      <a:pt x="38" y="89"/>
                      <a:pt x="37" y="88"/>
                    </a:cubicBezTo>
                    <a:cubicBezTo>
                      <a:pt x="38" y="88"/>
                      <a:pt x="37" y="87"/>
                      <a:pt x="37" y="87"/>
                    </a:cubicBezTo>
                    <a:cubicBezTo>
                      <a:pt x="37" y="87"/>
                      <a:pt x="36" y="87"/>
                      <a:pt x="36" y="87"/>
                    </a:cubicBezTo>
                    <a:cubicBezTo>
                      <a:pt x="36" y="87"/>
                      <a:pt x="37" y="86"/>
                      <a:pt x="37" y="86"/>
                    </a:cubicBezTo>
                    <a:cubicBezTo>
                      <a:pt x="37" y="85"/>
                      <a:pt x="38" y="86"/>
                      <a:pt x="38" y="85"/>
                    </a:cubicBezTo>
                    <a:cubicBezTo>
                      <a:pt x="40" y="84"/>
                      <a:pt x="39" y="82"/>
                      <a:pt x="38" y="81"/>
                    </a:cubicBezTo>
                    <a:cubicBezTo>
                      <a:pt x="38" y="82"/>
                      <a:pt x="37" y="80"/>
                      <a:pt x="37" y="80"/>
                    </a:cubicBezTo>
                    <a:cubicBezTo>
                      <a:pt x="37" y="79"/>
                      <a:pt x="37" y="79"/>
                      <a:pt x="37" y="78"/>
                    </a:cubicBezTo>
                    <a:cubicBezTo>
                      <a:pt x="37" y="78"/>
                      <a:pt x="38" y="79"/>
                      <a:pt x="38" y="78"/>
                    </a:cubicBezTo>
                    <a:cubicBezTo>
                      <a:pt x="38" y="78"/>
                      <a:pt x="38" y="77"/>
                      <a:pt x="38" y="77"/>
                    </a:cubicBezTo>
                    <a:cubicBezTo>
                      <a:pt x="38" y="77"/>
                      <a:pt x="38" y="76"/>
                      <a:pt x="38" y="76"/>
                    </a:cubicBezTo>
                    <a:cubicBezTo>
                      <a:pt x="39" y="75"/>
                      <a:pt x="38" y="75"/>
                      <a:pt x="38" y="74"/>
                    </a:cubicBezTo>
                    <a:cubicBezTo>
                      <a:pt x="38" y="74"/>
                      <a:pt x="37" y="73"/>
                      <a:pt x="37" y="74"/>
                    </a:cubicBezTo>
                    <a:cubicBezTo>
                      <a:pt x="37" y="74"/>
                      <a:pt x="37" y="74"/>
                      <a:pt x="37" y="73"/>
                    </a:cubicBezTo>
                    <a:cubicBezTo>
                      <a:pt x="37" y="73"/>
                      <a:pt x="35" y="71"/>
                      <a:pt x="35" y="72"/>
                    </a:cubicBezTo>
                    <a:cubicBezTo>
                      <a:pt x="35" y="72"/>
                      <a:pt x="35" y="71"/>
                      <a:pt x="35" y="71"/>
                    </a:cubicBezTo>
                    <a:cubicBezTo>
                      <a:pt x="36" y="71"/>
                      <a:pt x="36" y="70"/>
                      <a:pt x="36" y="70"/>
                    </a:cubicBezTo>
                    <a:cubicBezTo>
                      <a:pt x="36" y="70"/>
                      <a:pt x="35" y="69"/>
                      <a:pt x="35" y="70"/>
                    </a:cubicBezTo>
                    <a:cubicBezTo>
                      <a:pt x="35" y="69"/>
                      <a:pt x="34" y="69"/>
                      <a:pt x="34" y="68"/>
                    </a:cubicBezTo>
                    <a:cubicBezTo>
                      <a:pt x="33" y="68"/>
                      <a:pt x="34" y="67"/>
                      <a:pt x="34" y="67"/>
                    </a:cubicBezTo>
                    <a:cubicBezTo>
                      <a:pt x="34" y="66"/>
                      <a:pt x="34" y="65"/>
                      <a:pt x="34" y="65"/>
                    </a:cubicBezTo>
                    <a:cubicBezTo>
                      <a:pt x="35" y="65"/>
                      <a:pt x="35" y="65"/>
                      <a:pt x="35" y="64"/>
                    </a:cubicBezTo>
                    <a:cubicBezTo>
                      <a:pt x="35" y="64"/>
                      <a:pt x="35" y="63"/>
                      <a:pt x="35" y="63"/>
                    </a:cubicBezTo>
                    <a:cubicBezTo>
                      <a:pt x="36" y="62"/>
                      <a:pt x="36" y="63"/>
                      <a:pt x="36" y="63"/>
                    </a:cubicBezTo>
                    <a:cubicBezTo>
                      <a:pt x="36" y="64"/>
                      <a:pt x="36" y="65"/>
                      <a:pt x="37" y="64"/>
                    </a:cubicBezTo>
                    <a:cubicBezTo>
                      <a:pt x="37" y="64"/>
                      <a:pt x="38" y="63"/>
                      <a:pt x="38" y="63"/>
                    </a:cubicBezTo>
                    <a:cubicBezTo>
                      <a:pt x="38" y="63"/>
                      <a:pt x="39" y="63"/>
                      <a:pt x="39" y="62"/>
                    </a:cubicBezTo>
                    <a:cubicBezTo>
                      <a:pt x="39" y="62"/>
                      <a:pt x="39" y="62"/>
                      <a:pt x="39" y="61"/>
                    </a:cubicBezTo>
                    <a:cubicBezTo>
                      <a:pt x="39" y="61"/>
                      <a:pt x="39" y="60"/>
                      <a:pt x="40" y="60"/>
                    </a:cubicBezTo>
                    <a:cubicBezTo>
                      <a:pt x="40" y="60"/>
                      <a:pt x="41" y="60"/>
                      <a:pt x="41" y="60"/>
                    </a:cubicBezTo>
                    <a:cubicBezTo>
                      <a:pt x="40" y="59"/>
                      <a:pt x="41" y="57"/>
                      <a:pt x="39" y="56"/>
                    </a:cubicBezTo>
                    <a:cubicBezTo>
                      <a:pt x="39" y="56"/>
                      <a:pt x="39" y="56"/>
                      <a:pt x="39" y="55"/>
                    </a:cubicBezTo>
                    <a:cubicBezTo>
                      <a:pt x="39" y="55"/>
                      <a:pt x="39" y="55"/>
                      <a:pt x="39" y="54"/>
                    </a:cubicBezTo>
                    <a:cubicBezTo>
                      <a:pt x="39" y="54"/>
                      <a:pt x="38" y="54"/>
                      <a:pt x="38" y="54"/>
                    </a:cubicBezTo>
                    <a:cubicBezTo>
                      <a:pt x="38" y="54"/>
                      <a:pt x="39" y="53"/>
                      <a:pt x="39" y="53"/>
                    </a:cubicBezTo>
                    <a:cubicBezTo>
                      <a:pt x="39" y="52"/>
                      <a:pt x="39" y="52"/>
                      <a:pt x="39" y="52"/>
                    </a:cubicBezTo>
                    <a:cubicBezTo>
                      <a:pt x="40" y="52"/>
                      <a:pt x="40" y="53"/>
                      <a:pt x="40" y="54"/>
                    </a:cubicBezTo>
                    <a:cubicBezTo>
                      <a:pt x="40" y="54"/>
                      <a:pt x="41" y="54"/>
                      <a:pt x="41" y="55"/>
                    </a:cubicBezTo>
                    <a:cubicBezTo>
                      <a:pt x="42" y="55"/>
                      <a:pt x="42" y="56"/>
                      <a:pt x="42" y="56"/>
                    </a:cubicBezTo>
                    <a:cubicBezTo>
                      <a:pt x="42" y="57"/>
                      <a:pt x="43" y="56"/>
                      <a:pt x="43" y="56"/>
                    </a:cubicBezTo>
                    <a:cubicBezTo>
                      <a:pt x="43" y="56"/>
                      <a:pt x="43" y="57"/>
                      <a:pt x="43" y="57"/>
                    </a:cubicBezTo>
                    <a:cubicBezTo>
                      <a:pt x="43" y="57"/>
                      <a:pt x="43" y="57"/>
                      <a:pt x="43" y="57"/>
                    </a:cubicBezTo>
                    <a:cubicBezTo>
                      <a:pt x="43" y="57"/>
                      <a:pt x="43" y="59"/>
                      <a:pt x="44" y="58"/>
                    </a:cubicBezTo>
                    <a:cubicBezTo>
                      <a:pt x="44" y="58"/>
                      <a:pt x="44" y="58"/>
                      <a:pt x="44" y="58"/>
                    </a:cubicBezTo>
                    <a:cubicBezTo>
                      <a:pt x="44" y="58"/>
                      <a:pt x="44" y="59"/>
                      <a:pt x="44" y="59"/>
                    </a:cubicBezTo>
                    <a:cubicBezTo>
                      <a:pt x="44" y="59"/>
                      <a:pt x="44" y="59"/>
                      <a:pt x="44" y="59"/>
                    </a:cubicBezTo>
                    <a:cubicBezTo>
                      <a:pt x="44" y="59"/>
                      <a:pt x="43" y="59"/>
                      <a:pt x="43" y="59"/>
                    </a:cubicBezTo>
                    <a:cubicBezTo>
                      <a:pt x="43" y="60"/>
                      <a:pt x="43" y="60"/>
                      <a:pt x="44" y="60"/>
                    </a:cubicBezTo>
                    <a:cubicBezTo>
                      <a:pt x="45" y="60"/>
                      <a:pt x="45" y="60"/>
                      <a:pt x="45" y="60"/>
                    </a:cubicBezTo>
                    <a:cubicBezTo>
                      <a:pt x="45" y="59"/>
                      <a:pt x="45" y="59"/>
                      <a:pt x="45" y="59"/>
                    </a:cubicBezTo>
                    <a:cubicBezTo>
                      <a:pt x="45" y="59"/>
                      <a:pt x="45" y="58"/>
                      <a:pt x="45" y="59"/>
                    </a:cubicBezTo>
                    <a:cubicBezTo>
                      <a:pt x="45" y="58"/>
                      <a:pt x="45" y="58"/>
                      <a:pt x="45" y="57"/>
                    </a:cubicBezTo>
                    <a:cubicBezTo>
                      <a:pt x="45" y="56"/>
                      <a:pt x="45" y="56"/>
                      <a:pt x="45" y="55"/>
                    </a:cubicBezTo>
                    <a:cubicBezTo>
                      <a:pt x="45" y="55"/>
                      <a:pt x="45" y="54"/>
                      <a:pt x="44" y="54"/>
                    </a:cubicBezTo>
                    <a:cubicBezTo>
                      <a:pt x="44" y="54"/>
                      <a:pt x="43" y="53"/>
                      <a:pt x="43" y="53"/>
                    </a:cubicBezTo>
                    <a:cubicBezTo>
                      <a:pt x="44" y="52"/>
                      <a:pt x="45" y="52"/>
                      <a:pt x="45" y="52"/>
                    </a:cubicBezTo>
                    <a:cubicBezTo>
                      <a:pt x="46" y="52"/>
                      <a:pt x="46" y="51"/>
                      <a:pt x="47" y="51"/>
                    </a:cubicBezTo>
                    <a:cubicBezTo>
                      <a:pt x="48" y="51"/>
                      <a:pt x="48" y="49"/>
                      <a:pt x="49" y="49"/>
                    </a:cubicBezTo>
                    <a:cubicBezTo>
                      <a:pt x="50" y="49"/>
                      <a:pt x="51" y="48"/>
                      <a:pt x="51" y="47"/>
                    </a:cubicBezTo>
                    <a:cubicBezTo>
                      <a:pt x="51" y="47"/>
                      <a:pt x="51" y="46"/>
                      <a:pt x="51" y="46"/>
                    </a:cubicBezTo>
                    <a:cubicBezTo>
                      <a:pt x="52" y="45"/>
                      <a:pt x="52" y="45"/>
                      <a:pt x="52" y="45"/>
                    </a:cubicBezTo>
                    <a:cubicBezTo>
                      <a:pt x="52" y="45"/>
                      <a:pt x="55" y="43"/>
                      <a:pt x="55" y="44"/>
                    </a:cubicBezTo>
                    <a:cubicBezTo>
                      <a:pt x="55" y="44"/>
                      <a:pt x="55" y="44"/>
                      <a:pt x="55" y="44"/>
                    </a:cubicBezTo>
                    <a:cubicBezTo>
                      <a:pt x="55" y="44"/>
                      <a:pt x="56" y="44"/>
                      <a:pt x="56" y="44"/>
                    </a:cubicBezTo>
                    <a:cubicBezTo>
                      <a:pt x="57" y="43"/>
                      <a:pt x="57" y="43"/>
                      <a:pt x="57" y="42"/>
                    </a:cubicBezTo>
                    <a:cubicBezTo>
                      <a:pt x="57" y="41"/>
                      <a:pt x="57" y="41"/>
                      <a:pt x="56" y="41"/>
                    </a:cubicBezTo>
                    <a:cubicBezTo>
                      <a:pt x="56" y="41"/>
                      <a:pt x="57" y="40"/>
                      <a:pt x="57" y="39"/>
                    </a:cubicBezTo>
                    <a:cubicBezTo>
                      <a:pt x="57" y="39"/>
                      <a:pt x="57" y="38"/>
                      <a:pt x="57" y="37"/>
                    </a:cubicBezTo>
                    <a:cubicBezTo>
                      <a:pt x="57" y="36"/>
                      <a:pt x="58" y="36"/>
                      <a:pt x="58" y="35"/>
                    </a:cubicBezTo>
                    <a:cubicBezTo>
                      <a:pt x="59" y="34"/>
                      <a:pt x="56" y="36"/>
                      <a:pt x="56" y="36"/>
                    </a:cubicBezTo>
                    <a:cubicBezTo>
                      <a:pt x="56" y="36"/>
                      <a:pt x="57" y="35"/>
                      <a:pt x="57" y="35"/>
                    </a:cubicBezTo>
                    <a:cubicBezTo>
                      <a:pt x="57" y="35"/>
                      <a:pt x="57" y="34"/>
                      <a:pt x="58" y="34"/>
                    </a:cubicBezTo>
                    <a:cubicBezTo>
                      <a:pt x="58" y="35"/>
                      <a:pt x="58" y="34"/>
                      <a:pt x="58" y="34"/>
                    </a:cubicBezTo>
                    <a:cubicBezTo>
                      <a:pt x="58" y="33"/>
                      <a:pt x="58" y="33"/>
                      <a:pt x="58" y="33"/>
                    </a:cubicBezTo>
                    <a:cubicBezTo>
                      <a:pt x="58" y="33"/>
                      <a:pt x="58" y="32"/>
                      <a:pt x="59" y="32"/>
                    </a:cubicBezTo>
                    <a:cubicBezTo>
                      <a:pt x="58" y="32"/>
                      <a:pt x="58" y="32"/>
                      <a:pt x="58" y="33"/>
                    </a:cubicBezTo>
                    <a:cubicBezTo>
                      <a:pt x="58" y="33"/>
                      <a:pt x="59" y="32"/>
                      <a:pt x="59" y="32"/>
                    </a:cubicBezTo>
                    <a:cubicBezTo>
                      <a:pt x="58" y="31"/>
                      <a:pt x="59" y="31"/>
                      <a:pt x="59" y="31"/>
                    </a:cubicBezTo>
                    <a:cubicBezTo>
                      <a:pt x="59" y="30"/>
                      <a:pt x="60" y="30"/>
                      <a:pt x="60" y="30"/>
                    </a:cubicBezTo>
                    <a:cubicBezTo>
                      <a:pt x="60" y="30"/>
                      <a:pt x="61" y="29"/>
                      <a:pt x="61" y="30"/>
                    </a:cubicBezTo>
                    <a:cubicBezTo>
                      <a:pt x="61" y="30"/>
                      <a:pt x="62" y="29"/>
                      <a:pt x="61" y="29"/>
                    </a:cubicBezTo>
                    <a:cubicBezTo>
                      <a:pt x="61" y="29"/>
                      <a:pt x="61" y="29"/>
                      <a:pt x="61" y="29"/>
                    </a:cubicBezTo>
                    <a:cubicBezTo>
                      <a:pt x="61" y="29"/>
                      <a:pt x="61" y="29"/>
                      <a:pt x="62" y="29"/>
                    </a:cubicBezTo>
                    <a:cubicBezTo>
                      <a:pt x="62" y="28"/>
                      <a:pt x="62" y="28"/>
                      <a:pt x="62" y="28"/>
                    </a:cubicBezTo>
                    <a:cubicBezTo>
                      <a:pt x="63" y="28"/>
                      <a:pt x="63" y="28"/>
                      <a:pt x="63" y="27"/>
                    </a:cubicBezTo>
                    <a:cubicBezTo>
                      <a:pt x="63" y="27"/>
                      <a:pt x="63" y="27"/>
                      <a:pt x="64" y="27"/>
                    </a:cubicBezTo>
                    <a:cubicBezTo>
                      <a:pt x="64" y="27"/>
                      <a:pt x="64" y="26"/>
                      <a:pt x="64" y="26"/>
                    </a:cubicBezTo>
                    <a:cubicBezTo>
                      <a:pt x="64" y="26"/>
                      <a:pt x="65" y="25"/>
                      <a:pt x="65" y="25"/>
                    </a:cubicBezTo>
                    <a:cubicBezTo>
                      <a:pt x="66" y="25"/>
                      <a:pt x="66" y="25"/>
                      <a:pt x="67" y="26"/>
                    </a:cubicBezTo>
                    <a:cubicBezTo>
                      <a:pt x="68" y="26"/>
                      <a:pt x="69" y="27"/>
                      <a:pt x="71" y="26"/>
                    </a:cubicBezTo>
                    <a:cubicBezTo>
                      <a:pt x="70" y="27"/>
                      <a:pt x="69" y="27"/>
                      <a:pt x="69" y="27"/>
                    </a:cubicBezTo>
                    <a:cubicBezTo>
                      <a:pt x="68" y="27"/>
                      <a:pt x="69" y="28"/>
                      <a:pt x="69" y="28"/>
                    </a:cubicBezTo>
                    <a:cubicBezTo>
                      <a:pt x="68" y="28"/>
                      <a:pt x="68" y="28"/>
                      <a:pt x="68" y="28"/>
                    </a:cubicBezTo>
                    <a:cubicBezTo>
                      <a:pt x="67" y="28"/>
                      <a:pt x="68" y="29"/>
                      <a:pt x="68" y="28"/>
                    </a:cubicBezTo>
                    <a:cubicBezTo>
                      <a:pt x="68" y="28"/>
                      <a:pt x="68" y="29"/>
                      <a:pt x="68" y="29"/>
                    </a:cubicBezTo>
                    <a:cubicBezTo>
                      <a:pt x="69" y="29"/>
                      <a:pt x="68" y="28"/>
                      <a:pt x="68" y="28"/>
                    </a:cubicBezTo>
                    <a:cubicBezTo>
                      <a:pt x="69" y="28"/>
                      <a:pt x="69" y="29"/>
                      <a:pt x="69" y="29"/>
                    </a:cubicBezTo>
                    <a:cubicBezTo>
                      <a:pt x="69" y="29"/>
                      <a:pt x="69" y="29"/>
                      <a:pt x="69" y="29"/>
                    </a:cubicBezTo>
                    <a:cubicBezTo>
                      <a:pt x="70" y="29"/>
                      <a:pt x="70" y="28"/>
                      <a:pt x="70" y="28"/>
                    </a:cubicBezTo>
                    <a:cubicBezTo>
                      <a:pt x="70" y="27"/>
                      <a:pt x="71" y="27"/>
                      <a:pt x="71" y="26"/>
                    </a:cubicBezTo>
                    <a:cubicBezTo>
                      <a:pt x="72" y="25"/>
                      <a:pt x="71" y="25"/>
                      <a:pt x="71" y="24"/>
                    </a:cubicBezTo>
                    <a:cubicBezTo>
                      <a:pt x="71" y="24"/>
                      <a:pt x="72" y="23"/>
                      <a:pt x="72" y="23"/>
                    </a:cubicBezTo>
                    <a:cubicBezTo>
                      <a:pt x="72" y="23"/>
                      <a:pt x="73" y="23"/>
                      <a:pt x="73" y="23"/>
                    </a:cubicBezTo>
                    <a:cubicBezTo>
                      <a:pt x="73" y="23"/>
                      <a:pt x="73" y="23"/>
                      <a:pt x="73" y="23"/>
                    </a:cubicBezTo>
                    <a:cubicBezTo>
                      <a:pt x="73" y="23"/>
                      <a:pt x="73" y="22"/>
                      <a:pt x="74" y="23"/>
                    </a:cubicBezTo>
                    <a:cubicBezTo>
                      <a:pt x="75" y="23"/>
                      <a:pt x="75" y="23"/>
                      <a:pt x="76" y="23"/>
                    </a:cubicBezTo>
                    <a:cubicBezTo>
                      <a:pt x="78" y="23"/>
                      <a:pt x="80" y="24"/>
                      <a:pt x="81" y="23"/>
                    </a:cubicBezTo>
                    <a:cubicBezTo>
                      <a:pt x="82" y="22"/>
                      <a:pt x="83" y="21"/>
                      <a:pt x="84" y="20"/>
                    </a:cubicBezTo>
                    <a:cubicBezTo>
                      <a:pt x="84" y="20"/>
                      <a:pt x="85" y="20"/>
                      <a:pt x="86" y="19"/>
                    </a:cubicBezTo>
                    <a:cubicBezTo>
                      <a:pt x="86" y="19"/>
                      <a:pt x="87" y="19"/>
                      <a:pt x="88" y="18"/>
                    </a:cubicBezTo>
                    <a:cubicBezTo>
                      <a:pt x="88" y="18"/>
                      <a:pt x="88" y="18"/>
                      <a:pt x="89" y="18"/>
                    </a:cubicBezTo>
                    <a:cubicBezTo>
                      <a:pt x="89" y="18"/>
                      <a:pt x="90" y="17"/>
                      <a:pt x="90" y="17"/>
                    </a:cubicBezTo>
                    <a:cubicBezTo>
                      <a:pt x="91" y="17"/>
                      <a:pt x="92" y="15"/>
                      <a:pt x="92" y="14"/>
                    </a:cubicBezTo>
                    <a:cubicBezTo>
                      <a:pt x="92" y="13"/>
                      <a:pt x="92" y="13"/>
                      <a:pt x="93" y="13"/>
                    </a:cubicBezTo>
                    <a:cubicBezTo>
                      <a:pt x="93" y="13"/>
                      <a:pt x="94" y="12"/>
                      <a:pt x="94" y="13"/>
                    </a:cubicBezTo>
                    <a:cubicBezTo>
                      <a:pt x="94" y="13"/>
                      <a:pt x="93" y="14"/>
                      <a:pt x="94" y="14"/>
                    </a:cubicBezTo>
                    <a:cubicBezTo>
                      <a:pt x="94" y="14"/>
                      <a:pt x="95" y="13"/>
                      <a:pt x="95" y="13"/>
                    </a:cubicBezTo>
                    <a:cubicBezTo>
                      <a:pt x="95" y="12"/>
                      <a:pt x="95" y="12"/>
                      <a:pt x="94" y="12"/>
                    </a:cubicBezTo>
                    <a:cubicBezTo>
                      <a:pt x="94" y="12"/>
                      <a:pt x="95" y="11"/>
                      <a:pt x="96" y="11"/>
                    </a:cubicBezTo>
                    <a:cubicBezTo>
                      <a:pt x="95" y="12"/>
                      <a:pt x="96" y="12"/>
                      <a:pt x="96" y="12"/>
                    </a:cubicBezTo>
                    <a:cubicBezTo>
                      <a:pt x="96" y="12"/>
                      <a:pt x="96" y="11"/>
                      <a:pt x="97" y="11"/>
                    </a:cubicBezTo>
                    <a:cubicBezTo>
                      <a:pt x="96" y="12"/>
                      <a:pt x="97" y="11"/>
                      <a:pt x="97" y="11"/>
                    </a:cubicBezTo>
                    <a:cubicBezTo>
                      <a:pt x="97" y="11"/>
                      <a:pt x="97" y="11"/>
                      <a:pt x="97" y="11"/>
                    </a:cubicBezTo>
                    <a:cubicBezTo>
                      <a:pt x="97" y="11"/>
                      <a:pt x="97" y="11"/>
                      <a:pt x="97" y="11"/>
                    </a:cubicBezTo>
                    <a:cubicBezTo>
                      <a:pt x="97" y="11"/>
                      <a:pt x="97" y="11"/>
                      <a:pt x="97" y="11"/>
                    </a:cubicBezTo>
                    <a:cubicBezTo>
                      <a:pt x="97" y="11"/>
                      <a:pt x="97" y="11"/>
                      <a:pt x="96" y="11"/>
                    </a:cubicBezTo>
                    <a:cubicBezTo>
                      <a:pt x="97" y="10"/>
                      <a:pt x="99" y="11"/>
                      <a:pt x="99" y="11"/>
                    </a:cubicBezTo>
                    <a:cubicBezTo>
                      <a:pt x="100" y="11"/>
                      <a:pt x="101" y="11"/>
                      <a:pt x="101" y="12"/>
                    </a:cubicBezTo>
                    <a:cubicBezTo>
                      <a:pt x="102" y="12"/>
                      <a:pt x="102" y="13"/>
                      <a:pt x="102" y="14"/>
                    </a:cubicBezTo>
                    <a:cubicBezTo>
                      <a:pt x="103" y="15"/>
                      <a:pt x="101" y="16"/>
                      <a:pt x="100" y="16"/>
                    </a:cubicBezTo>
                    <a:cubicBezTo>
                      <a:pt x="99" y="18"/>
                      <a:pt x="98" y="18"/>
                      <a:pt x="97" y="18"/>
                    </a:cubicBezTo>
                    <a:cubicBezTo>
                      <a:pt x="95" y="19"/>
                      <a:pt x="94" y="19"/>
                      <a:pt x="93" y="20"/>
                    </a:cubicBezTo>
                    <a:cubicBezTo>
                      <a:pt x="92" y="21"/>
                      <a:pt x="92" y="22"/>
                      <a:pt x="92" y="23"/>
                    </a:cubicBezTo>
                    <a:cubicBezTo>
                      <a:pt x="91" y="23"/>
                      <a:pt x="91" y="24"/>
                      <a:pt x="90" y="25"/>
                    </a:cubicBezTo>
                    <a:cubicBezTo>
                      <a:pt x="90" y="25"/>
                      <a:pt x="89" y="25"/>
                      <a:pt x="88" y="25"/>
                    </a:cubicBezTo>
                    <a:cubicBezTo>
                      <a:pt x="88" y="25"/>
                      <a:pt x="88" y="26"/>
                      <a:pt x="87" y="27"/>
                    </a:cubicBezTo>
                    <a:cubicBezTo>
                      <a:pt x="87" y="27"/>
                      <a:pt x="86" y="28"/>
                      <a:pt x="86" y="28"/>
                    </a:cubicBezTo>
                    <a:cubicBezTo>
                      <a:pt x="86" y="29"/>
                      <a:pt x="85" y="30"/>
                      <a:pt x="85" y="31"/>
                    </a:cubicBezTo>
                    <a:cubicBezTo>
                      <a:pt x="84" y="32"/>
                      <a:pt x="84" y="33"/>
                      <a:pt x="83" y="35"/>
                    </a:cubicBezTo>
                    <a:cubicBezTo>
                      <a:pt x="83" y="36"/>
                      <a:pt x="83" y="37"/>
                      <a:pt x="83" y="38"/>
                    </a:cubicBezTo>
                    <a:cubicBezTo>
                      <a:pt x="83" y="39"/>
                      <a:pt x="83" y="39"/>
                      <a:pt x="82" y="40"/>
                    </a:cubicBezTo>
                    <a:cubicBezTo>
                      <a:pt x="82" y="41"/>
                      <a:pt x="81" y="42"/>
                      <a:pt x="80" y="43"/>
                    </a:cubicBezTo>
                    <a:cubicBezTo>
                      <a:pt x="80" y="44"/>
                      <a:pt x="79" y="45"/>
                      <a:pt x="79" y="45"/>
                    </a:cubicBezTo>
                    <a:cubicBezTo>
                      <a:pt x="79" y="45"/>
                      <a:pt x="78" y="46"/>
                      <a:pt x="78" y="46"/>
                    </a:cubicBezTo>
                    <a:cubicBezTo>
                      <a:pt x="79" y="47"/>
                      <a:pt x="80" y="46"/>
                      <a:pt x="81" y="46"/>
                    </a:cubicBezTo>
                    <a:cubicBezTo>
                      <a:pt x="81" y="46"/>
                      <a:pt x="82" y="45"/>
                      <a:pt x="82" y="45"/>
                    </a:cubicBezTo>
                    <a:cubicBezTo>
                      <a:pt x="82" y="46"/>
                      <a:pt x="82" y="46"/>
                      <a:pt x="82" y="47"/>
                    </a:cubicBezTo>
                    <a:cubicBezTo>
                      <a:pt x="82" y="48"/>
                      <a:pt x="83" y="47"/>
                      <a:pt x="83" y="47"/>
                    </a:cubicBezTo>
                    <a:cubicBezTo>
                      <a:pt x="84" y="47"/>
                      <a:pt x="84" y="48"/>
                      <a:pt x="84" y="48"/>
                    </a:cubicBezTo>
                    <a:cubicBezTo>
                      <a:pt x="84" y="50"/>
                      <a:pt x="84" y="51"/>
                      <a:pt x="85" y="53"/>
                    </a:cubicBezTo>
                    <a:cubicBezTo>
                      <a:pt x="86" y="54"/>
                      <a:pt x="87" y="55"/>
                      <a:pt x="87" y="56"/>
                    </a:cubicBezTo>
                    <a:cubicBezTo>
                      <a:pt x="87" y="57"/>
                      <a:pt x="88" y="58"/>
                      <a:pt x="88" y="58"/>
                    </a:cubicBezTo>
                    <a:cubicBezTo>
                      <a:pt x="88" y="59"/>
                      <a:pt x="87" y="59"/>
                      <a:pt x="87" y="59"/>
                    </a:cubicBezTo>
                    <a:cubicBezTo>
                      <a:pt x="86" y="60"/>
                      <a:pt x="86" y="60"/>
                      <a:pt x="87" y="61"/>
                    </a:cubicBezTo>
                    <a:cubicBezTo>
                      <a:pt x="87" y="61"/>
                      <a:pt x="86" y="62"/>
                      <a:pt x="86" y="63"/>
                    </a:cubicBezTo>
                    <a:cubicBezTo>
                      <a:pt x="86" y="64"/>
                      <a:pt x="86" y="66"/>
                      <a:pt x="88" y="66"/>
                    </a:cubicBezTo>
                    <a:cubicBezTo>
                      <a:pt x="90" y="66"/>
                      <a:pt x="89" y="67"/>
                      <a:pt x="89" y="69"/>
                    </a:cubicBezTo>
                    <a:cubicBezTo>
                      <a:pt x="90" y="69"/>
                      <a:pt x="90" y="70"/>
                      <a:pt x="90" y="70"/>
                    </a:cubicBezTo>
                    <a:cubicBezTo>
                      <a:pt x="91" y="70"/>
                      <a:pt x="92" y="70"/>
                      <a:pt x="93" y="70"/>
                    </a:cubicBezTo>
                    <a:cubicBezTo>
                      <a:pt x="93" y="70"/>
                      <a:pt x="94" y="70"/>
                      <a:pt x="94" y="70"/>
                    </a:cubicBezTo>
                    <a:cubicBezTo>
                      <a:pt x="95" y="70"/>
                      <a:pt x="96" y="70"/>
                      <a:pt x="97" y="70"/>
                    </a:cubicBezTo>
                    <a:cubicBezTo>
                      <a:pt x="97" y="70"/>
                      <a:pt x="98" y="71"/>
                      <a:pt x="98" y="71"/>
                    </a:cubicBezTo>
                    <a:cubicBezTo>
                      <a:pt x="99" y="70"/>
                      <a:pt x="100" y="71"/>
                      <a:pt x="100" y="70"/>
                    </a:cubicBezTo>
                    <a:cubicBezTo>
                      <a:pt x="101" y="70"/>
                      <a:pt x="101" y="70"/>
                      <a:pt x="102" y="69"/>
                    </a:cubicBezTo>
                    <a:cubicBezTo>
                      <a:pt x="102" y="69"/>
                      <a:pt x="103" y="69"/>
                      <a:pt x="103" y="69"/>
                    </a:cubicBezTo>
                    <a:cubicBezTo>
                      <a:pt x="104" y="69"/>
                      <a:pt x="105" y="71"/>
                      <a:pt x="107" y="71"/>
                    </a:cubicBezTo>
                    <a:cubicBezTo>
                      <a:pt x="107" y="71"/>
                      <a:pt x="108" y="70"/>
                      <a:pt x="108" y="71"/>
                    </a:cubicBezTo>
                    <a:cubicBezTo>
                      <a:pt x="109" y="71"/>
                      <a:pt x="109" y="71"/>
                      <a:pt x="109" y="71"/>
                    </a:cubicBezTo>
                    <a:cubicBezTo>
                      <a:pt x="110" y="73"/>
                      <a:pt x="111" y="74"/>
                      <a:pt x="112" y="75"/>
                    </a:cubicBezTo>
                    <a:cubicBezTo>
                      <a:pt x="113" y="77"/>
                      <a:pt x="113" y="78"/>
                      <a:pt x="114" y="79"/>
                    </a:cubicBezTo>
                    <a:cubicBezTo>
                      <a:pt x="115" y="80"/>
                      <a:pt x="115" y="80"/>
                      <a:pt x="115" y="80"/>
                    </a:cubicBezTo>
                    <a:cubicBezTo>
                      <a:pt x="116" y="79"/>
                      <a:pt x="116" y="80"/>
                      <a:pt x="117" y="80"/>
                    </a:cubicBezTo>
                    <a:cubicBezTo>
                      <a:pt x="118" y="80"/>
                      <a:pt x="118" y="79"/>
                      <a:pt x="119" y="79"/>
                    </a:cubicBezTo>
                    <a:cubicBezTo>
                      <a:pt x="120" y="79"/>
                      <a:pt x="121" y="79"/>
                      <a:pt x="121" y="79"/>
                    </a:cubicBezTo>
                    <a:cubicBezTo>
                      <a:pt x="122" y="79"/>
                      <a:pt x="122" y="80"/>
                      <a:pt x="122" y="80"/>
                    </a:cubicBezTo>
                    <a:cubicBezTo>
                      <a:pt x="123" y="80"/>
                      <a:pt x="123" y="80"/>
                      <a:pt x="124" y="79"/>
                    </a:cubicBezTo>
                    <a:cubicBezTo>
                      <a:pt x="125" y="79"/>
                      <a:pt x="126" y="79"/>
                      <a:pt x="127" y="79"/>
                    </a:cubicBezTo>
                    <a:cubicBezTo>
                      <a:pt x="127" y="79"/>
                      <a:pt x="127" y="79"/>
                      <a:pt x="128" y="79"/>
                    </a:cubicBezTo>
                    <a:cubicBezTo>
                      <a:pt x="129" y="79"/>
                      <a:pt x="129" y="79"/>
                      <a:pt x="129" y="79"/>
                    </a:cubicBezTo>
                    <a:cubicBezTo>
                      <a:pt x="130" y="78"/>
                      <a:pt x="131" y="78"/>
                      <a:pt x="132" y="78"/>
                    </a:cubicBezTo>
                    <a:cubicBezTo>
                      <a:pt x="132" y="78"/>
                      <a:pt x="133" y="78"/>
                      <a:pt x="133" y="78"/>
                    </a:cubicBezTo>
                    <a:cubicBezTo>
                      <a:pt x="133" y="79"/>
                      <a:pt x="134" y="79"/>
                      <a:pt x="134" y="79"/>
                    </a:cubicBezTo>
                    <a:cubicBezTo>
                      <a:pt x="133" y="80"/>
                      <a:pt x="134" y="80"/>
                      <a:pt x="134" y="81"/>
                    </a:cubicBezTo>
                    <a:cubicBezTo>
                      <a:pt x="135" y="82"/>
                      <a:pt x="134" y="82"/>
                      <a:pt x="133" y="83"/>
                    </a:cubicBezTo>
                    <a:cubicBezTo>
                      <a:pt x="132" y="84"/>
                      <a:pt x="132" y="85"/>
                      <a:pt x="132" y="86"/>
                    </a:cubicBezTo>
                    <a:cubicBezTo>
                      <a:pt x="132" y="87"/>
                      <a:pt x="132" y="87"/>
                      <a:pt x="131" y="88"/>
                    </a:cubicBezTo>
                    <a:cubicBezTo>
                      <a:pt x="131" y="88"/>
                      <a:pt x="130" y="88"/>
                      <a:pt x="130" y="89"/>
                    </a:cubicBezTo>
                    <a:cubicBezTo>
                      <a:pt x="130" y="90"/>
                      <a:pt x="130" y="91"/>
                      <a:pt x="130" y="92"/>
                    </a:cubicBezTo>
                    <a:cubicBezTo>
                      <a:pt x="130" y="92"/>
                      <a:pt x="130" y="93"/>
                      <a:pt x="130" y="93"/>
                    </a:cubicBezTo>
                    <a:cubicBezTo>
                      <a:pt x="130" y="94"/>
                      <a:pt x="130" y="94"/>
                      <a:pt x="130" y="95"/>
                    </a:cubicBezTo>
                    <a:cubicBezTo>
                      <a:pt x="130" y="96"/>
                      <a:pt x="129" y="97"/>
                      <a:pt x="130" y="98"/>
                    </a:cubicBezTo>
                    <a:cubicBezTo>
                      <a:pt x="130" y="99"/>
                      <a:pt x="130" y="100"/>
                      <a:pt x="130" y="101"/>
                    </a:cubicBezTo>
                    <a:cubicBezTo>
                      <a:pt x="130" y="102"/>
                      <a:pt x="131" y="102"/>
                      <a:pt x="131" y="103"/>
                    </a:cubicBezTo>
                    <a:cubicBezTo>
                      <a:pt x="131" y="104"/>
                      <a:pt x="131" y="106"/>
                      <a:pt x="132" y="106"/>
                    </a:cubicBezTo>
                    <a:cubicBezTo>
                      <a:pt x="132" y="106"/>
                      <a:pt x="133" y="106"/>
                      <a:pt x="133" y="106"/>
                    </a:cubicBezTo>
                    <a:cubicBezTo>
                      <a:pt x="133" y="107"/>
                      <a:pt x="133" y="107"/>
                      <a:pt x="133" y="107"/>
                    </a:cubicBezTo>
                    <a:cubicBezTo>
                      <a:pt x="133" y="108"/>
                      <a:pt x="133" y="108"/>
                      <a:pt x="134" y="109"/>
                    </a:cubicBezTo>
                    <a:cubicBezTo>
                      <a:pt x="134" y="109"/>
                      <a:pt x="134" y="109"/>
                      <a:pt x="135" y="110"/>
                    </a:cubicBezTo>
                    <a:cubicBezTo>
                      <a:pt x="135" y="110"/>
                      <a:pt x="134" y="111"/>
                      <a:pt x="133" y="112"/>
                    </a:cubicBezTo>
                    <a:cubicBezTo>
                      <a:pt x="132" y="112"/>
                      <a:pt x="132" y="113"/>
                      <a:pt x="131" y="114"/>
                    </a:cubicBezTo>
                    <a:cubicBezTo>
                      <a:pt x="130" y="115"/>
                      <a:pt x="129" y="115"/>
                      <a:pt x="129" y="117"/>
                    </a:cubicBezTo>
                    <a:cubicBezTo>
                      <a:pt x="129" y="116"/>
                      <a:pt x="131" y="116"/>
                      <a:pt x="131" y="116"/>
                    </a:cubicBezTo>
                    <a:cubicBezTo>
                      <a:pt x="131" y="117"/>
                      <a:pt x="132" y="117"/>
                      <a:pt x="132" y="117"/>
                    </a:cubicBezTo>
                    <a:cubicBezTo>
                      <a:pt x="132" y="118"/>
                      <a:pt x="132" y="118"/>
                      <a:pt x="132" y="118"/>
                    </a:cubicBezTo>
                    <a:cubicBezTo>
                      <a:pt x="133" y="119"/>
                      <a:pt x="134" y="120"/>
                      <a:pt x="135" y="121"/>
                    </a:cubicBezTo>
                    <a:cubicBezTo>
                      <a:pt x="135" y="121"/>
                      <a:pt x="135" y="121"/>
                      <a:pt x="135" y="121"/>
                    </a:cubicBezTo>
                    <a:cubicBezTo>
                      <a:pt x="136" y="122"/>
                      <a:pt x="135" y="122"/>
                      <a:pt x="135" y="122"/>
                    </a:cubicBezTo>
                    <a:cubicBezTo>
                      <a:pt x="135" y="123"/>
                      <a:pt x="136" y="124"/>
                      <a:pt x="136" y="124"/>
                    </a:cubicBezTo>
                    <a:cubicBezTo>
                      <a:pt x="136" y="125"/>
                      <a:pt x="136" y="125"/>
                      <a:pt x="136" y="125"/>
                    </a:cubicBezTo>
                    <a:cubicBezTo>
                      <a:pt x="136" y="126"/>
                      <a:pt x="136" y="126"/>
                      <a:pt x="137" y="127"/>
                    </a:cubicBezTo>
                    <a:cubicBezTo>
                      <a:pt x="137" y="128"/>
                      <a:pt x="137" y="130"/>
                      <a:pt x="138" y="131"/>
                    </a:cubicBezTo>
                    <a:cubicBezTo>
                      <a:pt x="138" y="132"/>
                      <a:pt x="138" y="132"/>
                      <a:pt x="138" y="132"/>
                    </a:cubicBezTo>
                    <a:cubicBezTo>
                      <a:pt x="138" y="133"/>
                      <a:pt x="138" y="133"/>
                      <a:pt x="138" y="134"/>
                    </a:cubicBezTo>
                    <a:close/>
                    <a:moveTo>
                      <a:pt x="97" y="10"/>
                    </a:moveTo>
                    <a:cubicBezTo>
                      <a:pt x="97" y="11"/>
                      <a:pt x="97" y="11"/>
                      <a:pt x="97" y="11"/>
                    </a:cubicBezTo>
                    <a:cubicBezTo>
                      <a:pt x="97" y="11"/>
                      <a:pt x="97" y="10"/>
                      <a:pt x="97" y="10"/>
                    </a:cubicBezTo>
                    <a:close/>
                    <a:moveTo>
                      <a:pt x="4" y="1"/>
                    </a:moveTo>
                    <a:cubicBezTo>
                      <a:pt x="5" y="1"/>
                      <a:pt x="5" y="0"/>
                      <a:pt x="5" y="0"/>
                    </a:cubicBezTo>
                    <a:cubicBezTo>
                      <a:pt x="4" y="0"/>
                      <a:pt x="4" y="1"/>
                      <a:pt x="4"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2" name="Cocos (Keeling) Islands (Australia)">
                <a:extLst>
                  <a:ext uri="{FF2B5EF4-FFF2-40B4-BE49-F238E27FC236}">
                    <a16:creationId xmlns:a16="http://schemas.microsoft.com/office/drawing/2014/main" id="{CD5049C0-B9C7-B1AE-2711-43D5E60AD46E}"/>
                  </a:ext>
                </a:extLst>
              </p:cNvPr>
              <p:cNvSpPr/>
              <p:nvPr/>
            </p:nvSpPr>
            <p:spPr>
              <a:xfrm>
                <a:off x="9002559" y="4518769"/>
                <a:ext cx="5099" cy="6257"/>
              </a:xfrm>
              <a:custGeom>
                <a:avLst/>
                <a:gdLst>
                  <a:gd name="connsiteX0" fmla="*/ 1 w 5099"/>
                  <a:gd name="connsiteY0" fmla="*/ 3215 h 6257"/>
                  <a:gd name="connsiteX1" fmla="*/ 157 w 5099"/>
                  <a:gd name="connsiteY1" fmla="*/ 2880 h 6257"/>
                  <a:gd name="connsiteX2" fmla="*/ 416 w 5099"/>
                  <a:gd name="connsiteY2" fmla="*/ 3123 h 6257"/>
                  <a:gd name="connsiteX3" fmla="*/ 443 w 5099"/>
                  <a:gd name="connsiteY3" fmla="*/ 3538 h 6257"/>
                  <a:gd name="connsiteX4" fmla="*/ 729 w 5099"/>
                  <a:gd name="connsiteY4" fmla="*/ 4417 h 6257"/>
                  <a:gd name="connsiteX5" fmla="*/ 649 w 5099"/>
                  <a:gd name="connsiteY5" fmla="*/ 4632 h 6257"/>
                  <a:gd name="connsiteX6" fmla="*/ 385 w 5099"/>
                  <a:gd name="connsiteY6" fmla="*/ 4561 h 6257"/>
                  <a:gd name="connsiteX7" fmla="*/ 612 w 5099"/>
                  <a:gd name="connsiteY7" fmla="*/ 5062 h 6257"/>
                  <a:gd name="connsiteX8" fmla="*/ 935 w 5099"/>
                  <a:gd name="connsiteY8" fmla="*/ 5477 h 6257"/>
                  <a:gd name="connsiteX9" fmla="*/ 1070 w 5099"/>
                  <a:gd name="connsiteY9" fmla="*/ 5864 h 6257"/>
                  <a:gd name="connsiteX10" fmla="*/ 1670 w 5099"/>
                  <a:gd name="connsiteY10" fmla="*/ 5864 h 6257"/>
                  <a:gd name="connsiteX11" fmla="*/ 1719 w 5099"/>
                  <a:gd name="connsiteY11" fmla="*/ 5671 h 6257"/>
                  <a:gd name="connsiteX12" fmla="*/ 2026 w 5099"/>
                  <a:gd name="connsiteY12" fmla="*/ 5671 h 6257"/>
                  <a:gd name="connsiteX13" fmla="*/ 2134 w 5099"/>
                  <a:gd name="connsiteY13" fmla="*/ 5907 h 6257"/>
                  <a:gd name="connsiteX14" fmla="*/ 1568 w 5099"/>
                  <a:gd name="connsiteY14" fmla="*/ 6080 h 6257"/>
                  <a:gd name="connsiteX15" fmla="*/ 1353 w 5099"/>
                  <a:gd name="connsiteY15" fmla="*/ 6224 h 6257"/>
                  <a:gd name="connsiteX16" fmla="*/ 938 w 5099"/>
                  <a:gd name="connsiteY16" fmla="*/ 6040 h 6257"/>
                  <a:gd name="connsiteX17" fmla="*/ 446 w 5099"/>
                  <a:gd name="connsiteY17" fmla="*/ 5339 h 6257"/>
                  <a:gd name="connsiteX18" fmla="*/ 124 w 5099"/>
                  <a:gd name="connsiteY18" fmla="*/ 5053 h 6257"/>
                  <a:gd name="connsiteX19" fmla="*/ 16 w 5099"/>
                  <a:gd name="connsiteY19" fmla="*/ 4835 h 6257"/>
                  <a:gd name="connsiteX20" fmla="*/ 167 w 5099"/>
                  <a:gd name="connsiteY20" fmla="*/ 4214 h 6257"/>
                  <a:gd name="connsiteX21" fmla="*/ 90 w 5099"/>
                  <a:gd name="connsiteY21" fmla="*/ 3575 h 6257"/>
                  <a:gd name="connsiteX22" fmla="*/ 1 w 5099"/>
                  <a:gd name="connsiteY22" fmla="*/ 3215 h 6257"/>
                  <a:gd name="connsiteX23" fmla="*/ 2988 w 5099"/>
                  <a:gd name="connsiteY23" fmla="*/ 5702 h 6257"/>
                  <a:gd name="connsiteX24" fmla="*/ 3037 w 5099"/>
                  <a:gd name="connsiteY24" fmla="*/ 5987 h 6257"/>
                  <a:gd name="connsiteX25" fmla="*/ 3594 w 5099"/>
                  <a:gd name="connsiteY25" fmla="*/ 6258 h 6257"/>
                  <a:gd name="connsiteX26" fmla="*/ 4722 w 5099"/>
                  <a:gd name="connsiteY26" fmla="*/ 5858 h 6257"/>
                  <a:gd name="connsiteX27" fmla="*/ 5100 w 5099"/>
                  <a:gd name="connsiteY27" fmla="*/ 4921 h 6257"/>
                  <a:gd name="connsiteX28" fmla="*/ 4706 w 5099"/>
                  <a:gd name="connsiteY28" fmla="*/ 4085 h 6257"/>
                  <a:gd name="connsiteX29" fmla="*/ 4734 w 5099"/>
                  <a:gd name="connsiteY29" fmla="*/ 3433 h 6257"/>
                  <a:gd name="connsiteX30" fmla="*/ 4233 w 5099"/>
                  <a:gd name="connsiteY30" fmla="*/ 2646 h 6257"/>
                  <a:gd name="connsiteX31" fmla="*/ 3840 w 5099"/>
                  <a:gd name="connsiteY31" fmla="*/ 2016 h 6257"/>
                  <a:gd name="connsiteX32" fmla="*/ 3597 w 5099"/>
                  <a:gd name="connsiteY32" fmla="*/ 1915 h 6257"/>
                  <a:gd name="connsiteX33" fmla="*/ 3345 w 5099"/>
                  <a:gd name="connsiteY33" fmla="*/ 1549 h 6257"/>
                  <a:gd name="connsiteX34" fmla="*/ 3253 w 5099"/>
                  <a:gd name="connsiteY34" fmla="*/ 977 h 6257"/>
                  <a:gd name="connsiteX35" fmla="*/ 2982 w 5099"/>
                  <a:gd name="connsiteY35" fmla="*/ 621 h 6257"/>
                  <a:gd name="connsiteX36" fmla="*/ 2404 w 5099"/>
                  <a:gd name="connsiteY36" fmla="*/ 685 h 6257"/>
                  <a:gd name="connsiteX37" fmla="*/ 2576 w 5099"/>
                  <a:gd name="connsiteY37" fmla="*/ 864 h 6257"/>
                  <a:gd name="connsiteX38" fmla="*/ 2991 w 5099"/>
                  <a:gd name="connsiteY38" fmla="*/ 891 h 6257"/>
                  <a:gd name="connsiteX39" fmla="*/ 3170 w 5099"/>
                  <a:gd name="connsiteY39" fmla="*/ 1279 h 6257"/>
                  <a:gd name="connsiteX40" fmla="*/ 3127 w 5099"/>
                  <a:gd name="connsiteY40" fmla="*/ 1780 h 6257"/>
                  <a:gd name="connsiteX41" fmla="*/ 3406 w 5099"/>
                  <a:gd name="connsiteY41" fmla="*/ 2022 h 6257"/>
                  <a:gd name="connsiteX42" fmla="*/ 3474 w 5099"/>
                  <a:gd name="connsiteY42" fmla="*/ 2348 h 6257"/>
                  <a:gd name="connsiteX43" fmla="*/ 3953 w 5099"/>
                  <a:gd name="connsiteY43" fmla="*/ 2493 h 6257"/>
                  <a:gd name="connsiteX44" fmla="*/ 4396 w 5099"/>
                  <a:gd name="connsiteY44" fmla="*/ 3765 h 6257"/>
                  <a:gd name="connsiteX45" fmla="*/ 4752 w 5099"/>
                  <a:gd name="connsiteY45" fmla="*/ 4709 h 6257"/>
                  <a:gd name="connsiteX46" fmla="*/ 4937 w 5099"/>
                  <a:gd name="connsiteY46" fmla="*/ 4988 h 6257"/>
                  <a:gd name="connsiteX47" fmla="*/ 4722 w 5099"/>
                  <a:gd name="connsiteY47" fmla="*/ 5081 h 6257"/>
                  <a:gd name="connsiteX48" fmla="*/ 4611 w 5099"/>
                  <a:gd name="connsiteY48" fmla="*/ 5634 h 6257"/>
                  <a:gd name="connsiteX49" fmla="*/ 4476 w 5099"/>
                  <a:gd name="connsiteY49" fmla="*/ 5778 h 6257"/>
                  <a:gd name="connsiteX50" fmla="*/ 3910 w 5099"/>
                  <a:gd name="connsiteY50" fmla="*/ 5634 h 6257"/>
                  <a:gd name="connsiteX51" fmla="*/ 3754 w 5099"/>
                  <a:gd name="connsiteY51" fmla="*/ 6043 h 6257"/>
                  <a:gd name="connsiteX52" fmla="*/ 3489 w 5099"/>
                  <a:gd name="connsiteY52" fmla="*/ 5849 h 6257"/>
                  <a:gd name="connsiteX53" fmla="*/ 3010 w 5099"/>
                  <a:gd name="connsiteY53" fmla="*/ 5622 h 6257"/>
                  <a:gd name="connsiteX54" fmla="*/ 2988 w 5099"/>
                  <a:gd name="connsiteY54" fmla="*/ 5702 h 6257"/>
                  <a:gd name="connsiteX55" fmla="*/ 1024 w 5099"/>
                  <a:gd name="connsiteY55" fmla="*/ 409 h 6257"/>
                  <a:gd name="connsiteX56" fmla="*/ 1310 w 5099"/>
                  <a:gd name="connsiteY56" fmla="*/ 489 h 6257"/>
                  <a:gd name="connsiteX57" fmla="*/ 1347 w 5099"/>
                  <a:gd name="connsiteY57" fmla="*/ 267 h 6257"/>
                  <a:gd name="connsiteX58" fmla="*/ 1132 w 5099"/>
                  <a:gd name="connsiteY58" fmla="*/ 18 h 6257"/>
                  <a:gd name="connsiteX59" fmla="*/ 674 w 5099"/>
                  <a:gd name="connsiteY59" fmla="*/ 120 h 6257"/>
                  <a:gd name="connsiteX60" fmla="*/ 1024 w 5099"/>
                  <a:gd name="connsiteY60" fmla="*/ 409 h 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099" h="6257">
                    <a:moveTo>
                      <a:pt x="1" y="3215"/>
                    </a:moveTo>
                    <a:cubicBezTo>
                      <a:pt x="10" y="3178"/>
                      <a:pt x="157" y="2880"/>
                      <a:pt x="157" y="2880"/>
                    </a:cubicBezTo>
                    <a:lnTo>
                      <a:pt x="416" y="3123"/>
                    </a:lnTo>
                    <a:lnTo>
                      <a:pt x="443" y="3538"/>
                    </a:lnTo>
                    <a:cubicBezTo>
                      <a:pt x="443" y="3538"/>
                      <a:pt x="708" y="4315"/>
                      <a:pt x="729" y="4417"/>
                    </a:cubicBezTo>
                    <a:cubicBezTo>
                      <a:pt x="751" y="4518"/>
                      <a:pt x="649" y="4632"/>
                      <a:pt x="649" y="4632"/>
                    </a:cubicBezTo>
                    <a:lnTo>
                      <a:pt x="385" y="4561"/>
                    </a:lnTo>
                    <a:cubicBezTo>
                      <a:pt x="385" y="4561"/>
                      <a:pt x="609" y="5025"/>
                      <a:pt x="612" y="5062"/>
                    </a:cubicBezTo>
                    <a:cubicBezTo>
                      <a:pt x="615" y="5099"/>
                      <a:pt x="935" y="5477"/>
                      <a:pt x="935" y="5477"/>
                    </a:cubicBezTo>
                    <a:cubicBezTo>
                      <a:pt x="935" y="5477"/>
                      <a:pt x="1015" y="5778"/>
                      <a:pt x="1070" y="5864"/>
                    </a:cubicBezTo>
                    <a:cubicBezTo>
                      <a:pt x="1129" y="5950"/>
                      <a:pt x="1491" y="5926"/>
                      <a:pt x="1670" y="5864"/>
                    </a:cubicBezTo>
                    <a:cubicBezTo>
                      <a:pt x="1848" y="5803"/>
                      <a:pt x="1719" y="5671"/>
                      <a:pt x="1719" y="5671"/>
                    </a:cubicBezTo>
                    <a:cubicBezTo>
                      <a:pt x="1719" y="5671"/>
                      <a:pt x="1919" y="5655"/>
                      <a:pt x="2026" y="5671"/>
                    </a:cubicBezTo>
                    <a:cubicBezTo>
                      <a:pt x="2134" y="5686"/>
                      <a:pt x="2134" y="5907"/>
                      <a:pt x="2134" y="5907"/>
                    </a:cubicBezTo>
                    <a:cubicBezTo>
                      <a:pt x="2134" y="5907"/>
                      <a:pt x="1894" y="6018"/>
                      <a:pt x="1568" y="6080"/>
                    </a:cubicBezTo>
                    <a:cubicBezTo>
                      <a:pt x="1242" y="6141"/>
                      <a:pt x="1353" y="6224"/>
                      <a:pt x="1353" y="6224"/>
                    </a:cubicBezTo>
                    <a:lnTo>
                      <a:pt x="938" y="6040"/>
                    </a:lnTo>
                    <a:cubicBezTo>
                      <a:pt x="938" y="6040"/>
                      <a:pt x="723" y="5637"/>
                      <a:pt x="446" y="5339"/>
                    </a:cubicBezTo>
                    <a:cubicBezTo>
                      <a:pt x="167" y="5044"/>
                      <a:pt x="142" y="5213"/>
                      <a:pt x="124" y="5053"/>
                    </a:cubicBezTo>
                    <a:cubicBezTo>
                      <a:pt x="105" y="4893"/>
                      <a:pt x="16" y="4835"/>
                      <a:pt x="16" y="4835"/>
                    </a:cubicBezTo>
                    <a:cubicBezTo>
                      <a:pt x="16" y="4835"/>
                      <a:pt x="102" y="4752"/>
                      <a:pt x="167" y="4214"/>
                    </a:cubicBezTo>
                    <a:cubicBezTo>
                      <a:pt x="231" y="3676"/>
                      <a:pt x="90" y="3575"/>
                      <a:pt x="90" y="3575"/>
                    </a:cubicBezTo>
                    <a:cubicBezTo>
                      <a:pt x="90" y="3575"/>
                      <a:pt x="-9" y="3249"/>
                      <a:pt x="1" y="3215"/>
                    </a:cubicBezTo>
                    <a:close/>
                    <a:moveTo>
                      <a:pt x="2988" y="5702"/>
                    </a:moveTo>
                    <a:cubicBezTo>
                      <a:pt x="2988" y="5702"/>
                      <a:pt x="2881" y="5947"/>
                      <a:pt x="3037" y="5987"/>
                    </a:cubicBezTo>
                    <a:cubicBezTo>
                      <a:pt x="3194" y="6027"/>
                      <a:pt x="3594" y="6258"/>
                      <a:pt x="3594" y="6258"/>
                    </a:cubicBezTo>
                    <a:cubicBezTo>
                      <a:pt x="3594" y="6258"/>
                      <a:pt x="4611" y="5963"/>
                      <a:pt x="4722" y="5858"/>
                    </a:cubicBezTo>
                    <a:cubicBezTo>
                      <a:pt x="4832" y="5754"/>
                      <a:pt x="5100" y="4921"/>
                      <a:pt x="5100" y="4921"/>
                    </a:cubicBezTo>
                    <a:lnTo>
                      <a:pt x="4706" y="4085"/>
                    </a:lnTo>
                    <a:lnTo>
                      <a:pt x="4734" y="3433"/>
                    </a:lnTo>
                    <a:cubicBezTo>
                      <a:pt x="4734" y="3433"/>
                      <a:pt x="4319" y="2880"/>
                      <a:pt x="4233" y="2646"/>
                    </a:cubicBezTo>
                    <a:cubicBezTo>
                      <a:pt x="4147" y="2413"/>
                      <a:pt x="3840" y="2016"/>
                      <a:pt x="3840" y="2016"/>
                    </a:cubicBezTo>
                    <a:lnTo>
                      <a:pt x="3597" y="1915"/>
                    </a:lnTo>
                    <a:lnTo>
                      <a:pt x="3345" y="1549"/>
                    </a:lnTo>
                    <a:lnTo>
                      <a:pt x="3253" y="977"/>
                    </a:lnTo>
                    <a:cubicBezTo>
                      <a:pt x="3253" y="977"/>
                      <a:pt x="3142" y="630"/>
                      <a:pt x="2982" y="621"/>
                    </a:cubicBezTo>
                    <a:cubicBezTo>
                      <a:pt x="2822" y="612"/>
                      <a:pt x="2404" y="685"/>
                      <a:pt x="2404" y="685"/>
                    </a:cubicBezTo>
                    <a:lnTo>
                      <a:pt x="2576" y="864"/>
                    </a:lnTo>
                    <a:lnTo>
                      <a:pt x="2991" y="891"/>
                    </a:lnTo>
                    <a:cubicBezTo>
                      <a:pt x="2991" y="891"/>
                      <a:pt x="3139" y="1030"/>
                      <a:pt x="3170" y="1279"/>
                    </a:cubicBezTo>
                    <a:cubicBezTo>
                      <a:pt x="3200" y="1527"/>
                      <a:pt x="3096" y="1647"/>
                      <a:pt x="3127" y="1780"/>
                    </a:cubicBezTo>
                    <a:cubicBezTo>
                      <a:pt x="3157" y="1912"/>
                      <a:pt x="3305" y="1872"/>
                      <a:pt x="3406" y="2022"/>
                    </a:cubicBezTo>
                    <a:cubicBezTo>
                      <a:pt x="3508" y="2173"/>
                      <a:pt x="3428" y="2287"/>
                      <a:pt x="3474" y="2348"/>
                    </a:cubicBezTo>
                    <a:cubicBezTo>
                      <a:pt x="3520" y="2410"/>
                      <a:pt x="3763" y="2204"/>
                      <a:pt x="3953" y="2493"/>
                    </a:cubicBezTo>
                    <a:cubicBezTo>
                      <a:pt x="4144" y="2782"/>
                      <a:pt x="4301" y="3390"/>
                      <a:pt x="4396" y="3765"/>
                    </a:cubicBezTo>
                    <a:cubicBezTo>
                      <a:pt x="4491" y="4140"/>
                      <a:pt x="4703" y="4613"/>
                      <a:pt x="4752" y="4709"/>
                    </a:cubicBezTo>
                    <a:cubicBezTo>
                      <a:pt x="4802" y="4804"/>
                      <a:pt x="4980" y="4912"/>
                      <a:pt x="4937" y="4988"/>
                    </a:cubicBezTo>
                    <a:cubicBezTo>
                      <a:pt x="4894" y="5062"/>
                      <a:pt x="4762" y="4970"/>
                      <a:pt x="4722" y="5081"/>
                    </a:cubicBezTo>
                    <a:cubicBezTo>
                      <a:pt x="4682" y="5191"/>
                      <a:pt x="4949" y="5480"/>
                      <a:pt x="4611" y="5634"/>
                    </a:cubicBezTo>
                    <a:cubicBezTo>
                      <a:pt x="4273" y="5788"/>
                      <a:pt x="4728" y="5797"/>
                      <a:pt x="4476" y="5778"/>
                    </a:cubicBezTo>
                    <a:cubicBezTo>
                      <a:pt x="4224" y="5760"/>
                      <a:pt x="3972" y="5511"/>
                      <a:pt x="3910" y="5634"/>
                    </a:cubicBezTo>
                    <a:cubicBezTo>
                      <a:pt x="3849" y="5760"/>
                      <a:pt x="3818" y="6095"/>
                      <a:pt x="3754" y="6043"/>
                    </a:cubicBezTo>
                    <a:cubicBezTo>
                      <a:pt x="3689" y="5990"/>
                      <a:pt x="3606" y="5846"/>
                      <a:pt x="3489" y="5849"/>
                    </a:cubicBezTo>
                    <a:cubicBezTo>
                      <a:pt x="3372" y="5852"/>
                      <a:pt x="3034" y="5539"/>
                      <a:pt x="3010" y="5622"/>
                    </a:cubicBezTo>
                    <a:cubicBezTo>
                      <a:pt x="2985" y="5705"/>
                      <a:pt x="2988" y="5702"/>
                      <a:pt x="2988" y="5702"/>
                    </a:cubicBezTo>
                    <a:close/>
                    <a:moveTo>
                      <a:pt x="1024" y="409"/>
                    </a:moveTo>
                    <a:cubicBezTo>
                      <a:pt x="1129" y="513"/>
                      <a:pt x="1199" y="535"/>
                      <a:pt x="1310" y="489"/>
                    </a:cubicBezTo>
                    <a:cubicBezTo>
                      <a:pt x="1421" y="442"/>
                      <a:pt x="1338" y="375"/>
                      <a:pt x="1347" y="267"/>
                    </a:cubicBezTo>
                    <a:cubicBezTo>
                      <a:pt x="1353" y="160"/>
                      <a:pt x="1242" y="67"/>
                      <a:pt x="1132" y="18"/>
                    </a:cubicBezTo>
                    <a:cubicBezTo>
                      <a:pt x="1021" y="-31"/>
                      <a:pt x="815" y="24"/>
                      <a:pt x="674" y="120"/>
                    </a:cubicBezTo>
                    <a:cubicBezTo>
                      <a:pt x="674" y="117"/>
                      <a:pt x="920" y="304"/>
                      <a:pt x="1024" y="409"/>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653" name="Christmas Island (Aus)">
                <a:extLst>
                  <a:ext uri="{FF2B5EF4-FFF2-40B4-BE49-F238E27FC236}">
                    <a16:creationId xmlns:a16="http://schemas.microsoft.com/office/drawing/2014/main" id="{91887263-48E3-945A-4265-30806C844160}"/>
                  </a:ext>
                </a:extLst>
              </p:cNvPr>
              <p:cNvSpPr/>
              <p:nvPr/>
            </p:nvSpPr>
            <p:spPr>
              <a:xfrm>
                <a:off x="9271277" y="4495202"/>
                <a:ext cx="5122" cy="4506"/>
              </a:xfrm>
              <a:custGeom>
                <a:avLst/>
                <a:gdLst>
                  <a:gd name="connsiteX0" fmla="*/ 2382 w 5122"/>
                  <a:gd name="connsiteY0" fmla="*/ 1408 h 4506"/>
                  <a:gd name="connsiteX1" fmla="*/ 3638 w 5122"/>
                  <a:gd name="connsiteY1" fmla="*/ 807 h 4506"/>
                  <a:gd name="connsiteX2" fmla="*/ 4118 w 5122"/>
                  <a:gd name="connsiteY2" fmla="*/ 20 h 4506"/>
                  <a:gd name="connsiteX3" fmla="*/ 4834 w 5122"/>
                  <a:gd name="connsiteY3" fmla="*/ 87 h 4506"/>
                  <a:gd name="connsiteX4" fmla="*/ 4978 w 5122"/>
                  <a:gd name="connsiteY4" fmla="*/ 947 h 4506"/>
                  <a:gd name="connsiteX5" fmla="*/ 5122 w 5122"/>
                  <a:gd name="connsiteY5" fmla="*/ 1541 h 4506"/>
                  <a:gd name="connsiteX6" fmla="*/ 4539 w 5122"/>
                  <a:gd name="connsiteY6" fmla="*/ 1859 h 4506"/>
                  <a:gd name="connsiteX7" fmla="*/ 3841 w 5122"/>
                  <a:gd name="connsiteY7" fmla="*/ 3572 h 4506"/>
                  <a:gd name="connsiteX8" fmla="*/ 3830 w 5122"/>
                  <a:gd name="connsiteY8" fmla="*/ 4425 h 4506"/>
                  <a:gd name="connsiteX9" fmla="*/ 3091 w 5122"/>
                  <a:gd name="connsiteY9" fmla="*/ 4377 h 4506"/>
                  <a:gd name="connsiteX10" fmla="*/ 2803 w 5122"/>
                  <a:gd name="connsiteY10" fmla="*/ 2982 h 4506"/>
                  <a:gd name="connsiteX11" fmla="*/ 680 w 5122"/>
                  <a:gd name="connsiteY11" fmla="*/ 2586 h 4506"/>
                  <a:gd name="connsiteX12" fmla="*/ 104 w 5122"/>
                  <a:gd name="connsiteY12" fmla="*/ 2904 h 4506"/>
                  <a:gd name="connsiteX13" fmla="*/ 233 w 5122"/>
                  <a:gd name="connsiteY13" fmla="*/ 2335 h 4506"/>
                  <a:gd name="connsiteX14" fmla="*/ 724 w 5122"/>
                  <a:gd name="connsiteY14" fmla="*/ 1696 h 4506"/>
                  <a:gd name="connsiteX15" fmla="*/ 388 w 5122"/>
                  <a:gd name="connsiteY15" fmla="*/ 1180 h 4506"/>
                  <a:gd name="connsiteX16" fmla="*/ 532 w 5122"/>
                  <a:gd name="connsiteY16" fmla="*/ 681 h 4506"/>
                  <a:gd name="connsiteX17" fmla="*/ 924 w 5122"/>
                  <a:gd name="connsiteY17" fmla="*/ 1091 h 4506"/>
                  <a:gd name="connsiteX18" fmla="*/ 2382 w 5122"/>
                  <a:gd name="connsiteY18" fmla="*/ 1408 h 4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22" h="4506">
                    <a:moveTo>
                      <a:pt x="2382" y="1408"/>
                    </a:moveTo>
                    <a:cubicBezTo>
                      <a:pt x="2382" y="1408"/>
                      <a:pt x="3398" y="1139"/>
                      <a:pt x="3638" y="807"/>
                    </a:cubicBezTo>
                    <a:cubicBezTo>
                      <a:pt x="3878" y="471"/>
                      <a:pt x="3926" y="94"/>
                      <a:pt x="4118" y="20"/>
                    </a:cubicBezTo>
                    <a:cubicBezTo>
                      <a:pt x="4310" y="-50"/>
                      <a:pt x="4834" y="87"/>
                      <a:pt x="4834" y="87"/>
                    </a:cubicBezTo>
                    <a:cubicBezTo>
                      <a:pt x="4834" y="87"/>
                      <a:pt x="4986" y="674"/>
                      <a:pt x="4978" y="947"/>
                    </a:cubicBezTo>
                    <a:cubicBezTo>
                      <a:pt x="4967" y="1220"/>
                      <a:pt x="5122" y="1541"/>
                      <a:pt x="5122" y="1541"/>
                    </a:cubicBezTo>
                    <a:cubicBezTo>
                      <a:pt x="5122" y="1541"/>
                      <a:pt x="4724" y="1530"/>
                      <a:pt x="4539" y="1859"/>
                    </a:cubicBezTo>
                    <a:cubicBezTo>
                      <a:pt x="4354" y="2188"/>
                      <a:pt x="3848" y="3004"/>
                      <a:pt x="3841" y="3572"/>
                    </a:cubicBezTo>
                    <a:cubicBezTo>
                      <a:pt x="3834" y="4141"/>
                      <a:pt x="4048" y="4333"/>
                      <a:pt x="3830" y="4425"/>
                    </a:cubicBezTo>
                    <a:cubicBezTo>
                      <a:pt x="3616" y="4518"/>
                      <a:pt x="3184" y="4566"/>
                      <a:pt x="3091" y="4377"/>
                    </a:cubicBezTo>
                    <a:cubicBezTo>
                      <a:pt x="2999" y="4189"/>
                      <a:pt x="3224" y="3185"/>
                      <a:pt x="2803" y="2982"/>
                    </a:cubicBezTo>
                    <a:cubicBezTo>
                      <a:pt x="2382" y="2778"/>
                      <a:pt x="846" y="2476"/>
                      <a:pt x="680" y="2586"/>
                    </a:cubicBezTo>
                    <a:cubicBezTo>
                      <a:pt x="514" y="2697"/>
                      <a:pt x="277" y="3011"/>
                      <a:pt x="104" y="2904"/>
                    </a:cubicBezTo>
                    <a:cubicBezTo>
                      <a:pt x="-70" y="2793"/>
                      <a:pt x="-25" y="2431"/>
                      <a:pt x="233" y="2335"/>
                    </a:cubicBezTo>
                    <a:cubicBezTo>
                      <a:pt x="492" y="2239"/>
                      <a:pt x="739" y="1833"/>
                      <a:pt x="724" y="1696"/>
                    </a:cubicBezTo>
                    <a:cubicBezTo>
                      <a:pt x="710" y="1564"/>
                      <a:pt x="340" y="1342"/>
                      <a:pt x="388" y="1180"/>
                    </a:cubicBezTo>
                    <a:cubicBezTo>
                      <a:pt x="436" y="1017"/>
                      <a:pt x="451" y="692"/>
                      <a:pt x="532" y="681"/>
                    </a:cubicBezTo>
                    <a:cubicBezTo>
                      <a:pt x="614" y="670"/>
                      <a:pt x="399" y="843"/>
                      <a:pt x="924" y="1091"/>
                    </a:cubicBezTo>
                    <a:cubicBezTo>
                      <a:pt x="1448" y="1338"/>
                      <a:pt x="2135" y="1586"/>
                      <a:pt x="2382" y="1408"/>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654" name="China">
                <a:extLst>
                  <a:ext uri="{FF2B5EF4-FFF2-40B4-BE49-F238E27FC236}">
                    <a16:creationId xmlns:a16="http://schemas.microsoft.com/office/drawing/2014/main" id="{7C6EE3A5-4AED-1904-C329-F4DB8E213929}"/>
                  </a:ext>
                </a:extLst>
              </p:cNvPr>
              <p:cNvSpPr>
                <a:spLocks noEditPoints="1"/>
              </p:cNvSpPr>
              <p:nvPr/>
            </p:nvSpPr>
            <p:spPr bwMode="auto">
              <a:xfrm>
                <a:off x="8062802" y="1970320"/>
                <a:ext cx="1766256" cy="1368310"/>
              </a:xfrm>
              <a:custGeom>
                <a:avLst/>
                <a:gdLst/>
                <a:ahLst/>
                <a:cxnLst>
                  <a:cxn ang="0">
                    <a:pos x="383" y="355"/>
                  </a:cxn>
                  <a:cxn ang="0">
                    <a:pos x="378" y="366"/>
                  </a:cxn>
                  <a:cxn ang="0">
                    <a:pos x="382" y="383"/>
                  </a:cxn>
                  <a:cxn ang="0">
                    <a:pos x="430" y="334"/>
                  </a:cxn>
                  <a:cxn ang="0">
                    <a:pos x="490" y="117"/>
                  </a:cxn>
                  <a:cxn ang="0">
                    <a:pos x="478" y="124"/>
                  </a:cxn>
                  <a:cxn ang="0">
                    <a:pos x="458" y="137"/>
                  </a:cxn>
                  <a:cxn ang="0">
                    <a:pos x="435" y="156"/>
                  </a:cxn>
                  <a:cxn ang="0">
                    <a:pos x="428" y="151"/>
                  </a:cxn>
                  <a:cxn ang="0">
                    <a:pos x="415" y="144"/>
                  </a:cxn>
                  <a:cxn ang="0">
                    <a:pos x="410" y="166"/>
                  </a:cxn>
                  <a:cxn ang="0">
                    <a:pos x="447" y="174"/>
                  </a:cxn>
                  <a:cxn ang="0">
                    <a:pos x="441" y="181"/>
                  </a:cxn>
                  <a:cxn ang="0">
                    <a:pos x="429" y="197"/>
                  </a:cxn>
                  <a:cxn ang="0">
                    <a:pos x="458" y="231"/>
                  </a:cxn>
                  <a:cxn ang="0">
                    <a:pos x="467" y="246"/>
                  </a:cxn>
                  <a:cxn ang="0">
                    <a:pos x="469" y="261"/>
                  </a:cxn>
                  <a:cxn ang="0">
                    <a:pos x="472" y="267"/>
                  </a:cxn>
                  <a:cxn ang="0">
                    <a:pos x="468" y="278"/>
                  </a:cxn>
                  <a:cxn ang="0">
                    <a:pos x="463" y="290"/>
                  </a:cxn>
                  <a:cxn ang="0">
                    <a:pos x="463" y="296"/>
                  </a:cxn>
                  <a:cxn ang="0">
                    <a:pos x="459" y="307"/>
                  </a:cxn>
                  <a:cxn ang="0">
                    <a:pos x="456" y="314"/>
                  </a:cxn>
                  <a:cxn ang="0">
                    <a:pos x="446" y="323"/>
                  </a:cxn>
                  <a:cxn ang="0">
                    <a:pos x="435" y="334"/>
                  </a:cxn>
                  <a:cxn ang="0">
                    <a:pos x="423" y="337"/>
                  </a:cxn>
                  <a:cxn ang="0">
                    <a:pos x="411" y="333"/>
                  </a:cxn>
                  <a:cxn ang="0">
                    <a:pos x="404" y="346"/>
                  </a:cxn>
                  <a:cxn ang="0">
                    <a:pos x="389" y="349"/>
                  </a:cxn>
                  <a:cxn ang="0">
                    <a:pos x="385" y="362"/>
                  </a:cxn>
                  <a:cxn ang="0">
                    <a:pos x="376" y="347"/>
                  </a:cxn>
                  <a:cxn ang="0">
                    <a:pos x="366" y="345"/>
                  </a:cxn>
                  <a:cxn ang="0">
                    <a:pos x="351" y="345"/>
                  </a:cxn>
                  <a:cxn ang="0">
                    <a:pos x="320" y="338"/>
                  </a:cxn>
                  <a:cxn ang="0">
                    <a:pos x="301" y="347"/>
                  </a:cxn>
                  <a:cxn ang="0">
                    <a:pos x="277" y="336"/>
                  </a:cxn>
                  <a:cxn ang="0">
                    <a:pos x="256" y="314"/>
                  </a:cxn>
                  <a:cxn ang="0">
                    <a:pos x="254" y="276"/>
                  </a:cxn>
                  <a:cxn ang="0">
                    <a:pos x="235" y="267"/>
                  </a:cxn>
                  <a:cxn ang="0">
                    <a:pos x="202" y="279"/>
                  </a:cxn>
                  <a:cxn ang="0">
                    <a:pos x="165" y="277"/>
                  </a:cxn>
                  <a:cxn ang="0">
                    <a:pos x="132" y="271"/>
                  </a:cxn>
                  <a:cxn ang="0">
                    <a:pos x="93" y="254"/>
                  </a:cxn>
                  <a:cxn ang="0">
                    <a:pos x="63" y="227"/>
                  </a:cxn>
                  <a:cxn ang="0">
                    <a:pos x="71" y="199"/>
                  </a:cxn>
                  <a:cxn ang="0">
                    <a:pos x="29" y="189"/>
                  </a:cxn>
                  <a:cxn ang="0">
                    <a:pos x="13" y="163"/>
                  </a:cxn>
                  <a:cxn ang="0">
                    <a:pos x="16" y="142"/>
                  </a:cxn>
                  <a:cxn ang="0">
                    <a:pos x="49" y="120"/>
                  </a:cxn>
                  <a:cxn ang="0">
                    <a:pos x="54" y="90"/>
                  </a:cxn>
                  <a:cxn ang="0">
                    <a:pos x="79" y="54"/>
                  </a:cxn>
                  <a:cxn ang="0">
                    <a:pos x="121" y="69"/>
                  </a:cxn>
                  <a:cxn ang="0">
                    <a:pos x="183" y="109"/>
                  </a:cxn>
                  <a:cxn ang="0">
                    <a:pos x="304" y="119"/>
                  </a:cxn>
                  <a:cxn ang="0">
                    <a:pos x="336" y="87"/>
                  </a:cxn>
                  <a:cxn ang="0">
                    <a:pos x="363" y="64"/>
                  </a:cxn>
                  <a:cxn ang="0">
                    <a:pos x="345" y="34"/>
                  </a:cxn>
                  <a:cxn ang="0">
                    <a:pos x="353" y="1"/>
                  </a:cxn>
                  <a:cxn ang="0">
                    <a:pos x="396" y="17"/>
                  </a:cxn>
                  <a:cxn ang="0">
                    <a:pos x="438" y="45"/>
                  </a:cxn>
                  <a:cxn ang="0">
                    <a:pos x="483" y="58"/>
                  </a:cxn>
                  <a:cxn ang="0">
                    <a:pos x="499" y="85"/>
                  </a:cxn>
                  <a:cxn ang="0">
                    <a:pos x="474" y="258"/>
                  </a:cxn>
                </a:cxnLst>
                <a:rect l="0" t="0" r="r" b="b"/>
                <a:pathLst>
                  <a:path w="499" h="386">
                    <a:moveTo>
                      <a:pt x="454" y="316"/>
                    </a:moveTo>
                    <a:cubicBezTo>
                      <a:pt x="454" y="316"/>
                      <a:pt x="454" y="316"/>
                      <a:pt x="454" y="316"/>
                    </a:cubicBezTo>
                    <a:cubicBezTo>
                      <a:pt x="454" y="317"/>
                      <a:pt x="453" y="316"/>
                      <a:pt x="453" y="316"/>
                    </a:cubicBezTo>
                    <a:cubicBezTo>
                      <a:pt x="453" y="316"/>
                      <a:pt x="453" y="317"/>
                      <a:pt x="453" y="317"/>
                    </a:cubicBezTo>
                    <a:cubicBezTo>
                      <a:pt x="453" y="317"/>
                      <a:pt x="454" y="317"/>
                      <a:pt x="454" y="317"/>
                    </a:cubicBezTo>
                    <a:cubicBezTo>
                      <a:pt x="455" y="317"/>
                      <a:pt x="454" y="316"/>
                      <a:pt x="454" y="316"/>
                    </a:cubicBezTo>
                    <a:close/>
                    <a:moveTo>
                      <a:pt x="474" y="255"/>
                    </a:moveTo>
                    <a:cubicBezTo>
                      <a:pt x="474" y="254"/>
                      <a:pt x="471" y="254"/>
                      <a:pt x="472" y="254"/>
                    </a:cubicBezTo>
                    <a:cubicBezTo>
                      <a:pt x="472" y="254"/>
                      <a:pt x="472" y="255"/>
                      <a:pt x="472" y="256"/>
                    </a:cubicBezTo>
                    <a:cubicBezTo>
                      <a:pt x="473" y="256"/>
                      <a:pt x="473" y="255"/>
                      <a:pt x="473" y="255"/>
                    </a:cubicBezTo>
                    <a:cubicBezTo>
                      <a:pt x="473" y="255"/>
                      <a:pt x="473" y="255"/>
                      <a:pt x="473" y="256"/>
                    </a:cubicBezTo>
                    <a:cubicBezTo>
                      <a:pt x="474" y="256"/>
                      <a:pt x="475" y="256"/>
                      <a:pt x="475" y="256"/>
                    </a:cubicBezTo>
                    <a:cubicBezTo>
                      <a:pt x="475" y="255"/>
                      <a:pt x="475" y="255"/>
                      <a:pt x="474" y="255"/>
                    </a:cubicBezTo>
                    <a:close/>
                    <a:moveTo>
                      <a:pt x="464" y="305"/>
                    </a:moveTo>
                    <a:cubicBezTo>
                      <a:pt x="465" y="305"/>
                      <a:pt x="465" y="305"/>
                      <a:pt x="465" y="304"/>
                    </a:cubicBezTo>
                    <a:cubicBezTo>
                      <a:pt x="465" y="304"/>
                      <a:pt x="464" y="304"/>
                      <a:pt x="464" y="304"/>
                    </a:cubicBezTo>
                    <a:cubicBezTo>
                      <a:pt x="464" y="304"/>
                      <a:pt x="464" y="304"/>
                      <a:pt x="464" y="304"/>
                    </a:cubicBezTo>
                    <a:cubicBezTo>
                      <a:pt x="464" y="303"/>
                      <a:pt x="463" y="304"/>
                      <a:pt x="463" y="304"/>
                    </a:cubicBezTo>
                    <a:cubicBezTo>
                      <a:pt x="463" y="304"/>
                      <a:pt x="463" y="304"/>
                      <a:pt x="464" y="304"/>
                    </a:cubicBezTo>
                    <a:cubicBezTo>
                      <a:pt x="464" y="305"/>
                      <a:pt x="464" y="305"/>
                      <a:pt x="464" y="305"/>
                    </a:cubicBezTo>
                    <a:cubicBezTo>
                      <a:pt x="464" y="305"/>
                      <a:pt x="463" y="305"/>
                      <a:pt x="463" y="305"/>
                    </a:cubicBezTo>
                    <a:cubicBezTo>
                      <a:pt x="463" y="305"/>
                      <a:pt x="464" y="305"/>
                      <a:pt x="464" y="305"/>
                    </a:cubicBezTo>
                    <a:cubicBezTo>
                      <a:pt x="464" y="305"/>
                      <a:pt x="463" y="306"/>
                      <a:pt x="464" y="306"/>
                    </a:cubicBezTo>
                    <a:cubicBezTo>
                      <a:pt x="464" y="306"/>
                      <a:pt x="464" y="306"/>
                      <a:pt x="464" y="306"/>
                    </a:cubicBezTo>
                    <a:cubicBezTo>
                      <a:pt x="464" y="306"/>
                      <a:pt x="464" y="306"/>
                      <a:pt x="464" y="306"/>
                    </a:cubicBezTo>
                    <a:cubicBezTo>
                      <a:pt x="465" y="305"/>
                      <a:pt x="465" y="305"/>
                      <a:pt x="465" y="305"/>
                    </a:cubicBezTo>
                    <a:cubicBezTo>
                      <a:pt x="465" y="305"/>
                      <a:pt x="464" y="305"/>
                      <a:pt x="464" y="305"/>
                    </a:cubicBezTo>
                    <a:close/>
                    <a:moveTo>
                      <a:pt x="372" y="354"/>
                    </a:moveTo>
                    <a:cubicBezTo>
                      <a:pt x="372" y="354"/>
                      <a:pt x="372" y="354"/>
                      <a:pt x="372" y="354"/>
                    </a:cubicBezTo>
                    <a:cubicBezTo>
                      <a:pt x="371" y="354"/>
                      <a:pt x="372" y="354"/>
                      <a:pt x="372" y="354"/>
                    </a:cubicBezTo>
                    <a:close/>
                    <a:moveTo>
                      <a:pt x="383" y="354"/>
                    </a:moveTo>
                    <a:cubicBezTo>
                      <a:pt x="383" y="354"/>
                      <a:pt x="383" y="354"/>
                      <a:pt x="383" y="355"/>
                    </a:cubicBezTo>
                    <a:cubicBezTo>
                      <a:pt x="382" y="355"/>
                      <a:pt x="383" y="355"/>
                      <a:pt x="383" y="355"/>
                    </a:cubicBezTo>
                    <a:cubicBezTo>
                      <a:pt x="384" y="355"/>
                      <a:pt x="384" y="354"/>
                      <a:pt x="384" y="354"/>
                    </a:cubicBezTo>
                    <a:cubicBezTo>
                      <a:pt x="385" y="354"/>
                      <a:pt x="385" y="355"/>
                      <a:pt x="385" y="355"/>
                    </a:cubicBezTo>
                    <a:cubicBezTo>
                      <a:pt x="385" y="355"/>
                      <a:pt x="385" y="354"/>
                      <a:pt x="385" y="354"/>
                    </a:cubicBezTo>
                    <a:cubicBezTo>
                      <a:pt x="385" y="354"/>
                      <a:pt x="385" y="354"/>
                      <a:pt x="385" y="354"/>
                    </a:cubicBezTo>
                    <a:cubicBezTo>
                      <a:pt x="384" y="354"/>
                      <a:pt x="384" y="354"/>
                      <a:pt x="384" y="354"/>
                    </a:cubicBezTo>
                    <a:cubicBezTo>
                      <a:pt x="384" y="353"/>
                      <a:pt x="383" y="354"/>
                      <a:pt x="383" y="354"/>
                    </a:cubicBezTo>
                    <a:cubicBezTo>
                      <a:pt x="383" y="354"/>
                      <a:pt x="383" y="354"/>
                      <a:pt x="383" y="354"/>
                    </a:cubicBezTo>
                    <a:cubicBezTo>
                      <a:pt x="383" y="354"/>
                      <a:pt x="383" y="354"/>
                      <a:pt x="383" y="354"/>
                    </a:cubicBezTo>
                    <a:close/>
                    <a:moveTo>
                      <a:pt x="391" y="366"/>
                    </a:moveTo>
                    <a:cubicBezTo>
                      <a:pt x="391" y="365"/>
                      <a:pt x="390" y="366"/>
                      <a:pt x="389" y="365"/>
                    </a:cubicBezTo>
                    <a:cubicBezTo>
                      <a:pt x="389" y="365"/>
                      <a:pt x="389" y="365"/>
                      <a:pt x="388" y="364"/>
                    </a:cubicBezTo>
                    <a:cubicBezTo>
                      <a:pt x="388" y="364"/>
                      <a:pt x="388" y="364"/>
                      <a:pt x="388" y="364"/>
                    </a:cubicBezTo>
                    <a:cubicBezTo>
                      <a:pt x="387" y="365"/>
                      <a:pt x="388" y="366"/>
                      <a:pt x="388" y="366"/>
                    </a:cubicBezTo>
                    <a:cubicBezTo>
                      <a:pt x="388" y="366"/>
                      <a:pt x="388" y="366"/>
                      <a:pt x="387" y="366"/>
                    </a:cubicBezTo>
                    <a:cubicBezTo>
                      <a:pt x="387" y="365"/>
                      <a:pt x="387" y="366"/>
                      <a:pt x="387" y="366"/>
                    </a:cubicBezTo>
                    <a:cubicBezTo>
                      <a:pt x="387" y="365"/>
                      <a:pt x="386" y="365"/>
                      <a:pt x="386" y="365"/>
                    </a:cubicBezTo>
                    <a:cubicBezTo>
                      <a:pt x="385" y="364"/>
                      <a:pt x="386" y="366"/>
                      <a:pt x="386" y="366"/>
                    </a:cubicBezTo>
                    <a:cubicBezTo>
                      <a:pt x="386" y="366"/>
                      <a:pt x="386" y="366"/>
                      <a:pt x="385" y="365"/>
                    </a:cubicBezTo>
                    <a:cubicBezTo>
                      <a:pt x="386" y="365"/>
                      <a:pt x="385" y="365"/>
                      <a:pt x="384" y="365"/>
                    </a:cubicBezTo>
                    <a:cubicBezTo>
                      <a:pt x="384" y="365"/>
                      <a:pt x="383" y="365"/>
                      <a:pt x="383" y="365"/>
                    </a:cubicBezTo>
                    <a:cubicBezTo>
                      <a:pt x="383" y="365"/>
                      <a:pt x="383" y="366"/>
                      <a:pt x="383" y="366"/>
                    </a:cubicBezTo>
                    <a:cubicBezTo>
                      <a:pt x="383" y="366"/>
                      <a:pt x="383" y="366"/>
                      <a:pt x="383" y="365"/>
                    </a:cubicBezTo>
                    <a:cubicBezTo>
                      <a:pt x="383" y="366"/>
                      <a:pt x="382" y="365"/>
                      <a:pt x="382" y="366"/>
                    </a:cubicBezTo>
                    <a:cubicBezTo>
                      <a:pt x="382" y="367"/>
                      <a:pt x="382" y="366"/>
                      <a:pt x="382" y="366"/>
                    </a:cubicBezTo>
                    <a:cubicBezTo>
                      <a:pt x="382" y="366"/>
                      <a:pt x="381" y="366"/>
                      <a:pt x="381" y="366"/>
                    </a:cubicBezTo>
                    <a:cubicBezTo>
                      <a:pt x="381" y="366"/>
                      <a:pt x="381" y="366"/>
                      <a:pt x="381" y="366"/>
                    </a:cubicBezTo>
                    <a:cubicBezTo>
                      <a:pt x="380" y="367"/>
                      <a:pt x="380" y="366"/>
                      <a:pt x="380" y="366"/>
                    </a:cubicBezTo>
                    <a:cubicBezTo>
                      <a:pt x="380" y="366"/>
                      <a:pt x="380" y="366"/>
                      <a:pt x="380" y="366"/>
                    </a:cubicBezTo>
                    <a:cubicBezTo>
                      <a:pt x="380" y="366"/>
                      <a:pt x="380" y="365"/>
                      <a:pt x="379" y="366"/>
                    </a:cubicBezTo>
                    <a:cubicBezTo>
                      <a:pt x="379" y="365"/>
                      <a:pt x="378" y="365"/>
                      <a:pt x="378" y="366"/>
                    </a:cubicBezTo>
                    <a:cubicBezTo>
                      <a:pt x="377" y="366"/>
                      <a:pt x="378" y="366"/>
                      <a:pt x="378" y="366"/>
                    </a:cubicBezTo>
                    <a:cubicBezTo>
                      <a:pt x="377" y="366"/>
                      <a:pt x="378" y="367"/>
                      <a:pt x="378" y="367"/>
                    </a:cubicBezTo>
                    <a:cubicBezTo>
                      <a:pt x="378" y="367"/>
                      <a:pt x="377" y="367"/>
                      <a:pt x="377" y="367"/>
                    </a:cubicBezTo>
                    <a:cubicBezTo>
                      <a:pt x="377" y="367"/>
                      <a:pt x="376" y="367"/>
                      <a:pt x="376" y="367"/>
                    </a:cubicBezTo>
                    <a:cubicBezTo>
                      <a:pt x="375" y="366"/>
                      <a:pt x="375" y="367"/>
                      <a:pt x="375" y="367"/>
                    </a:cubicBezTo>
                    <a:cubicBezTo>
                      <a:pt x="374" y="368"/>
                      <a:pt x="374" y="368"/>
                      <a:pt x="374" y="368"/>
                    </a:cubicBezTo>
                    <a:cubicBezTo>
                      <a:pt x="375" y="368"/>
                      <a:pt x="376" y="368"/>
                      <a:pt x="376" y="368"/>
                    </a:cubicBezTo>
                    <a:cubicBezTo>
                      <a:pt x="376" y="368"/>
                      <a:pt x="375" y="368"/>
                      <a:pt x="376" y="369"/>
                    </a:cubicBezTo>
                    <a:cubicBezTo>
                      <a:pt x="375" y="368"/>
                      <a:pt x="375" y="369"/>
                      <a:pt x="374" y="370"/>
                    </a:cubicBezTo>
                    <a:cubicBezTo>
                      <a:pt x="373" y="370"/>
                      <a:pt x="372" y="370"/>
                      <a:pt x="373" y="371"/>
                    </a:cubicBezTo>
                    <a:cubicBezTo>
                      <a:pt x="372" y="371"/>
                      <a:pt x="372" y="372"/>
                      <a:pt x="371" y="372"/>
                    </a:cubicBezTo>
                    <a:cubicBezTo>
                      <a:pt x="371" y="372"/>
                      <a:pt x="370" y="372"/>
                      <a:pt x="370" y="373"/>
                    </a:cubicBezTo>
                    <a:cubicBezTo>
                      <a:pt x="370" y="373"/>
                      <a:pt x="370" y="374"/>
                      <a:pt x="370" y="374"/>
                    </a:cubicBezTo>
                    <a:cubicBezTo>
                      <a:pt x="370" y="374"/>
                      <a:pt x="370" y="374"/>
                      <a:pt x="370" y="374"/>
                    </a:cubicBezTo>
                    <a:cubicBezTo>
                      <a:pt x="371" y="374"/>
                      <a:pt x="371" y="375"/>
                      <a:pt x="371" y="375"/>
                    </a:cubicBezTo>
                    <a:cubicBezTo>
                      <a:pt x="370" y="375"/>
                      <a:pt x="371" y="377"/>
                      <a:pt x="371" y="377"/>
                    </a:cubicBezTo>
                    <a:cubicBezTo>
                      <a:pt x="371" y="378"/>
                      <a:pt x="372" y="379"/>
                      <a:pt x="372" y="380"/>
                    </a:cubicBezTo>
                    <a:cubicBezTo>
                      <a:pt x="372" y="381"/>
                      <a:pt x="371" y="382"/>
                      <a:pt x="372" y="382"/>
                    </a:cubicBezTo>
                    <a:cubicBezTo>
                      <a:pt x="373" y="382"/>
                      <a:pt x="373" y="382"/>
                      <a:pt x="374" y="383"/>
                    </a:cubicBezTo>
                    <a:cubicBezTo>
                      <a:pt x="374" y="383"/>
                      <a:pt x="374" y="383"/>
                      <a:pt x="375" y="383"/>
                    </a:cubicBezTo>
                    <a:cubicBezTo>
                      <a:pt x="375" y="384"/>
                      <a:pt x="376" y="383"/>
                      <a:pt x="376" y="384"/>
                    </a:cubicBezTo>
                    <a:cubicBezTo>
                      <a:pt x="376" y="384"/>
                      <a:pt x="376" y="384"/>
                      <a:pt x="377" y="384"/>
                    </a:cubicBezTo>
                    <a:cubicBezTo>
                      <a:pt x="377" y="384"/>
                      <a:pt x="378" y="384"/>
                      <a:pt x="379" y="384"/>
                    </a:cubicBezTo>
                    <a:cubicBezTo>
                      <a:pt x="379" y="384"/>
                      <a:pt x="379" y="384"/>
                      <a:pt x="380" y="384"/>
                    </a:cubicBezTo>
                    <a:cubicBezTo>
                      <a:pt x="380" y="384"/>
                      <a:pt x="380" y="385"/>
                      <a:pt x="380" y="385"/>
                    </a:cubicBezTo>
                    <a:cubicBezTo>
                      <a:pt x="380" y="385"/>
                      <a:pt x="380" y="385"/>
                      <a:pt x="380" y="385"/>
                    </a:cubicBezTo>
                    <a:cubicBezTo>
                      <a:pt x="380" y="385"/>
                      <a:pt x="380" y="385"/>
                      <a:pt x="381" y="385"/>
                    </a:cubicBezTo>
                    <a:cubicBezTo>
                      <a:pt x="381" y="385"/>
                      <a:pt x="381" y="386"/>
                      <a:pt x="381" y="386"/>
                    </a:cubicBezTo>
                    <a:cubicBezTo>
                      <a:pt x="381" y="385"/>
                      <a:pt x="381" y="385"/>
                      <a:pt x="382" y="385"/>
                    </a:cubicBezTo>
                    <a:cubicBezTo>
                      <a:pt x="382" y="385"/>
                      <a:pt x="382" y="385"/>
                      <a:pt x="382" y="385"/>
                    </a:cubicBezTo>
                    <a:cubicBezTo>
                      <a:pt x="383" y="385"/>
                      <a:pt x="382" y="385"/>
                      <a:pt x="382" y="384"/>
                    </a:cubicBezTo>
                    <a:cubicBezTo>
                      <a:pt x="382" y="384"/>
                      <a:pt x="382" y="384"/>
                      <a:pt x="382" y="384"/>
                    </a:cubicBezTo>
                    <a:cubicBezTo>
                      <a:pt x="382" y="384"/>
                      <a:pt x="382" y="383"/>
                      <a:pt x="382" y="383"/>
                    </a:cubicBezTo>
                    <a:cubicBezTo>
                      <a:pt x="383" y="383"/>
                      <a:pt x="384" y="383"/>
                      <a:pt x="385" y="383"/>
                    </a:cubicBezTo>
                    <a:cubicBezTo>
                      <a:pt x="385" y="383"/>
                      <a:pt x="384" y="383"/>
                      <a:pt x="384" y="383"/>
                    </a:cubicBezTo>
                    <a:cubicBezTo>
                      <a:pt x="384" y="383"/>
                      <a:pt x="385" y="383"/>
                      <a:pt x="385" y="383"/>
                    </a:cubicBezTo>
                    <a:cubicBezTo>
                      <a:pt x="385" y="383"/>
                      <a:pt x="385" y="383"/>
                      <a:pt x="385" y="383"/>
                    </a:cubicBezTo>
                    <a:cubicBezTo>
                      <a:pt x="385" y="383"/>
                      <a:pt x="385" y="383"/>
                      <a:pt x="385" y="383"/>
                    </a:cubicBezTo>
                    <a:cubicBezTo>
                      <a:pt x="385" y="382"/>
                      <a:pt x="385" y="382"/>
                      <a:pt x="385" y="382"/>
                    </a:cubicBezTo>
                    <a:cubicBezTo>
                      <a:pt x="385" y="382"/>
                      <a:pt x="386" y="381"/>
                      <a:pt x="386" y="381"/>
                    </a:cubicBezTo>
                    <a:cubicBezTo>
                      <a:pt x="386" y="380"/>
                      <a:pt x="387" y="380"/>
                      <a:pt x="387" y="380"/>
                    </a:cubicBezTo>
                    <a:cubicBezTo>
                      <a:pt x="387" y="380"/>
                      <a:pt x="388" y="380"/>
                      <a:pt x="388" y="380"/>
                    </a:cubicBezTo>
                    <a:cubicBezTo>
                      <a:pt x="388" y="380"/>
                      <a:pt x="387" y="380"/>
                      <a:pt x="387" y="380"/>
                    </a:cubicBezTo>
                    <a:cubicBezTo>
                      <a:pt x="387" y="380"/>
                      <a:pt x="388" y="380"/>
                      <a:pt x="388" y="380"/>
                    </a:cubicBezTo>
                    <a:cubicBezTo>
                      <a:pt x="388" y="380"/>
                      <a:pt x="388" y="379"/>
                      <a:pt x="388" y="379"/>
                    </a:cubicBezTo>
                    <a:cubicBezTo>
                      <a:pt x="389" y="379"/>
                      <a:pt x="389" y="379"/>
                      <a:pt x="389" y="379"/>
                    </a:cubicBezTo>
                    <a:cubicBezTo>
                      <a:pt x="389" y="378"/>
                      <a:pt x="389" y="378"/>
                      <a:pt x="389" y="378"/>
                    </a:cubicBezTo>
                    <a:cubicBezTo>
                      <a:pt x="388" y="378"/>
                      <a:pt x="389" y="379"/>
                      <a:pt x="388" y="379"/>
                    </a:cubicBezTo>
                    <a:cubicBezTo>
                      <a:pt x="388" y="379"/>
                      <a:pt x="388" y="378"/>
                      <a:pt x="388" y="378"/>
                    </a:cubicBezTo>
                    <a:cubicBezTo>
                      <a:pt x="389" y="377"/>
                      <a:pt x="389" y="377"/>
                      <a:pt x="389" y="377"/>
                    </a:cubicBezTo>
                    <a:cubicBezTo>
                      <a:pt x="389" y="376"/>
                      <a:pt x="389" y="375"/>
                      <a:pt x="389" y="375"/>
                    </a:cubicBezTo>
                    <a:cubicBezTo>
                      <a:pt x="389" y="375"/>
                      <a:pt x="389" y="375"/>
                      <a:pt x="389" y="375"/>
                    </a:cubicBezTo>
                    <a:cubicBezTo>
                      <a:pt x="389" y="375"/>
                      <a:pt x="388" y="375"/>
                      <a:pt x="388" y="375"/>
                    </a:cubicBezTo>
                    <a:cubicBezTo>
                      <a:pt x="389" y="375"/>
                      <a:pt x="389" y="374"/>
                      <a:pt x="389" y="373"/>
                    </a:cubicBezTo>
                    <a:cubicBezTo>
                      <a:pt x="389" y="373"/>
                      <a:pt x="389" y="373"/>
                      <a:pt x="389" y="373"/>
                    </a:cubicBezTo>
                    <a:cubicBezTo>
                      <a:pt x="390" y="373"/>
                      <a:pt x="389" y="372"/>
                      <a:pt x="389" y="372"/>
                    </a:cubicBezTo>
                    <a:cubicBezTo>
                      <a:pt x="390" y="372"/>
                      <a:pt x="390" y="371"/>
                      <a:pt x="390" y="371"/>
                    </a:cubicBezTo>
                    <a:cubicBezTo>
                      <a:pt x="390" y="370"/>
                      <a:pt x="390" y="370"/>
                      <a:pt x="390" y="370"/>
                    </a:cubicBezTo>
                    <a:cubicBezTo>
                      <a:pt x="390" y="370"/>
                      <a:pt x="391" y="370"/>
                      <a:pt x="391" y="370"/>
                    </a:cubicBezTo>
                    <a:cubicBezTo>
                      <a:pt x="390" y="370"/>
                      <a:pt x="390" y="370"/>
                      <a:pt x="391" y="371"/>
                    </a:cubicBezTo>
                    <a:cubicBezTo>
                      <a:pt x="391" y="371"/>
                      <a:pt x="391" y="370"/>
                      <a:pt x="391" y="370"/>
                    </a:cubicBezTo>
                    <a:cubicBezTo>
                      <a:pt x="391" y="370"/>
                      <a:pt x="392" y="369"/>
                      <a:pt x="392" y="369"/>
                    </a:cubicBezTo>
                    <a:cubicBezTo>
                      <a:pt x="392" y="369"/>
                      <a:pt x="392" y="369"/>
                      <a:pt x="392" y="368"/>
                    </a:cubicBezTo>
                    <a:cubicBezTo>
                      <a:pt x="392" y="368"/>
                      <a:pt x="391" y="367"/>
                      <a:pt x="391" y="366"/>
                    </a:cubicBezTo>
                    <a:close/>
                    <a:moveTo>
                      <a:pt x="430" y="334"/>
                    </a:moveTo>
                    <a:cubicBezTo>
                      <a:pt x="430" y="334"/>
                      <a:pt x="430" y="334"/>
                      <a:pt x="430" y="334"/>
                    </a:cubicBezTo>
                    <a:cubicBezTo>
                      <a:pt x="430" y="334"/>
                      <a:pt x="430" y="334"/>
                      <a:pt x="430" y="334"/>
                    </a:cubicBezTo>
                    <a:close/>
                    <a:moveTo>
                      <a:pt x="499" y="90"/>
                    </a:moveTo>
                    <a:cubicBezTo>
                      <a:pt x="499" y="92"/>
                      <a:pt x="497" y="91"/>
                      <a:pt x="496" y="91"/>
                    </a:cubicBezTo>
                    <a:cubicBezTo>
                      <a:pt x="494" y="90"/>
                      <a:pt x="492" y="90"/>
                      <a:pt x="490" y="89"/>
                    </a:cubicBezTo>
                    <a:cubicBezTo>
                      <a:pt x="490" y="89"/>
                      <a:pt x="488" y="89"/>
                      <a:pt x="488" y="89"/>
                    </a:cubicBezTo>
                    <a:cubicBezTo>
                      <a:pt x="487" y="88"/>
                      <a:pt x="487" y="88"/>
                      <a:pt x="486" y="88"/>
                    </a:cubicBezTo>
                    <a:cubicBezTo>
                      <a:pt x="486" y="88"/>
                      <a:pt x="487" y="89"/>
                      <a:pt x="486" y="89"/>
                    </a:cubicBezTo>
                    <a:cubicBezTo>
                      <a:pt x="486" y="89"/>
                      <a:pt x="485" y="89"/>
                      <a:pt x="486" y="90"/>
                    </a:cubicBezTo>
                    <a:cubicBezTo>
                      <a:pt x="486" y="90"/>
                      <a:pt x="486" y="91"/>
                      <a:pt x="486" y="91"/>
                    </a:cubicBezTo>
                    <a:cubicBezTo>
                      <a:pt x="485" y="92"/>
                      <a:pt x="485" y="91"/>
                      <a:pt x="484" y="92"/>
                    </a:cubicBezTo>
                    <a:cubicBezTo>
                      <a:pt x="483" y="93"/>
                      <a:pt x="483" y="92"/>
                      <a:pt x="483" y="92"/>
                    </a:cubicBezTo>
                    <a:cubicBezTo>
                      <a:pt x="482" y="92"/>
                      <a:pt x="483" y="93"/>
                      <a:pt x="482" y="93"/>
                    </a:cubicBezTo>
                    <a:cubicBezTo>
                      <a:pt x="481" y="93"/>
                      <a:pt x="482" y="94"/>
                      <a:pt x="483" y="94"/>
                    </a:cubicBezTo>
                    <a:cubicBezTo>
                      <a:pt x="483" y="94"/>
                      <a:pt x="484" y="95"/>
                      <a:pt x="484" y="95"/>
                    </a:cubicBezTo>
                    <a:cubicBezTo>
                      <a:pt x="486" y="97"/>
                      <a:pt x="487" y="98"/>
                      <a:pt x="488" y="99"/>
                    </a:cubicBezTo>
                    <a:cubicBezTo>
                      <a:pt x="488" y="100"/>
                      <a:pt x="489" y="101"/>
                      <a:pt x="489" y="101"/>
                    </a:cubicBezTo>
                    <a:cubicBezTo>
                      <a:pt x="490" y="102"/>
                      <a:pt x="490" y="102"/>
                      <a:pt x="490" y="103"/>
                    </a:cubicBezTo>
                    <a:cubicBezTo>
                      <a:pt x="490" y="104"/>
                      <a:pt x="490" y="105"/>
                      <a:pt x="491" y="105"/>
                    </a:cubicBezTo>
                    <a:cubicBezTo>
                      <a:pt x="491" y="106"/>
                      <a:pt x="492" y="107"/>
                      <a:pt x="492" y="107"/>
                    </a:cubicBezTo>
                    <a:cubicBezTo>
                      <a:pt x="492" y="108"/>
                      <a:pt x="493" y="108"/>
                      <a:pt x="494" y="109"/>
                    </a:cubicBezTo>
                    <a:cubicBezTo>
                      <a:pt x="494" y="109"/>
                      <a:pt x="494" y="109"/>
                      <a:pt x="494" y="110"/>
                    </a:cubicBezTo>
                    <a:cubicBezTo>
                      <a:pt x="494" y="110"/>
                      <a:pt x="494" y="110"/>
                      <a:pt x="494" y="110"/>
                    </a:cubicBezTo>
                    <a:cubicBezTo>
                      <a:pt x="494" y="111"/>
                      <a:pt x="494" y="111"/>
                      <a:pt x="495" y="112"/>
                    </a:cubicBezTo>
                    <a:cubicBezTo>
                      <a:pt x="495" y="112"/>
                      <a:pt x="494" y="113"/>
                      <a:pt x="495" y="113"/>
                    </a:cubicBezTo>
                    <a:cubicBezTo>
                      <a:pt x="495" y="114"/>
                      <a:pt x="495" y="114"/>
                      <a:pt x="495" y="114"/>
                    </a:cubicBezTo>
                    <a:cubicBezTo>
                      <a:pt x="495" y="114"/>
                      <a:pt x="495" y="114"/>
                      <a:pt x="495" y="114"/>
                    </a:cubicBezTo>
                    <a:cubicBezTo>
                      <a:pt x="495" y="114"/>
                      <a:pt x="495" y="115"/>
                      <a:pt x="495" y="115"/>
                    </a:cubicBezTo>
                    <a:cubicBezTo>
                      <a:pt x="494" y="115"/>
                      <a:pt x="494" y="115"/>
                      <a:pt x="494" y="115"/>
                    </a:cubicBezTo>
                    <a:cubicBezTo>
                      <a:pt x="494" y="115"/>
                      <a:pt x="492" y="114"/>
                      <a:pt x="493" y="115"/>
                    </a:cubicBezTo>
                    <a:cubicBezTo>
                      <a:pt x="493" y="115"/>
                      <a:pt x="491" y="115"/>
                      <a:pt x="491" y="115"/>
                    </a:cubicBezTo>
                    <a:cubicBezTo>
                      <a:pt x="491" y="115"/>
                      <a:pt x="490" y="116"/>
                      <a:pt x="490" y="117"/>
                    </a:cubicBezTo>
                    <a:cubicBezTo>
                      <a:pt x="491" y="117"/>
                      <a:pt x="491" y="117"/>
                      <a:pt x="492" y="117"/>
                    </a:cubicBezTo>
                    <a:cubicBezTo>
                      <a:pt x="492" y="117"/>
                      <a:pt x="493" y="117"/>
                      <a:pt x="493" y="118"/>
                    </a:cubicBezTo>
                    <a:cubicBezTo>
                      <a:pt x="493" y="119"/>
                      <a:pt x="493" y="119"/>
                      <a:pt x="494" y="119"/>
                    </a:cubicBezTo>
                    <a:cubicBezTo>
                      <a:pt x="493" y="119"/>
                      <a:pt x="492" y="118"/>
                      <a:pt x="492" y="118"/>
                    </a:cubicBezTo>
                    <a:cubicBezTo>
                      <a:pt x="492" y="118"/>
                      <a:pt x="492" y="117"/>
                      <a:pt x="491" y="117"/>
                    </a:cubicBezTo>
                    <a:cubicBezTo>
                      <a:pt x="491" y="118"/>
                      <a:pt x="492" y="118"/>
                      <a:pt x="492" y="118"/>
                    </a:cubicBezTo>
                    <a:cubicBezTo>
                      <a:pt x="492" y="118"/>
                      <a:pt x="491" y="118"/>
                      <a:pt x="491" y="118"/>
                    </a:cubicBezTo>
                    <a:cubicBezTo>
                      <a:pt x="490" y="117"/>
                      <a:pt x="490" y="117"/>
                      <a:pt x="489" y="117"/>
                    </a:cubicBezTo>
                    <a:cubicBezTo>
                      <a:pt x="489" y="116"/>
                      <a:pt x="488" y="116"/>
                      <a:pt x="488" y="115"/>
                    </a:cubicBezTo>
                    <a:cubicBezTo>
                      <a:pt x="488" y="115"/>
                      <a:pt x="488" y="114"/>
                      <a:pt x="487" y="114"/>
                    </a:cubicBezTo>
                    <a:cubicBezTo>
                      <a:pt x="487" y="114"/>
                      <a:pt x="486" y="114"/>
                      <a:pt x="486" y="114"/>
                    </a:cubicBezTo>
                    <a:cubicBezTo>
                      <a:pt x="486" y="114"/>
                      <a:pt x="486" y="113"/>
                      <a:pt x="486" y="114"/>
                    </a:cubicBezTo>
                    <a:cubicBezTo>
                      <a:pt x="485" y="114"/>
                      <a:pt x="485" y="113"/>
                      <a:pt x="484" y="113"/>
                    </a:cubicBezTo>
                    <a:cubicBezTo>
                      <a:pt x="484" y="113"/>
                      <a:pt x="484" y="113"/>
                      <a:pt x="484" y="113"/>
                    </a:cubicBezTo>
                    <a:cubicBezTo>
                      <a:pt x="484" y="113"/>
                      <a:pt x="484" y="115"/>
                      <a:pt x="484" y="115"/>
                    </a:cubicBezTo>
                    <a:cubicBezTo>
                      <a:pt x="484" y="115"/>
                      <a:pt x="484" y="116"/>
                      <a:pt x="484" y="116"/>
                    </a:cubicBezTo>
                    <a:cubicBezTo>
                      <a:pt x="485" y="117"/>
                      <a:pt x="485" y="117"/>
                      <a:pt x="485" y="117"/>
                    </a:cubicBezTo>
                    <a:cubicBezTo>
                      <a:pt x="485" y="117"/>
                      <a:pt x="485" y="118"/>
                      <a:pt x="485" y="119"/>
                    </a:cubicBezTo>
                    <a:cubicBezTo>
                      <a:pt x="486" y="119"/>
                      <a:pt x="485" y="119"/>
                      <a:pt x="485" y="119"/>
                    </a:cubicBezTo>
                    <a:cubicBezTo>
                      <a:pt x="485" y="119"/>
                      <a:pt x="485" y="120"/>
                      <a:pt x="484" y="120"/>
                    </a:cubicBezTo>
                    <a:cubicBezTo>
                      <a:pt x="484" y="120"/>
                      <a:pt x="484" y="120"/>
                      <a:pt x="484" y="120"/>
                    </a:cubicBezTo>
                    <a:cubicBezTo>
                      <a:pt x="484" y="120"/>
                      <a:pt x="484" y="119"/>
                      <a:pt x="483" y="119"/>
                    </a:cubicBezTo>
                    <a:cubicBezTo>
                      <a:pt x="483" y="119"/>
                      <a:pt x="483" y="119"/>
                      <a:pt x="482" y="119"/>
                    </a:cubicBezTo>
                    <a:cubicBezTo>
                      <a:pt x="483" y="119"/>
                      <a:pt x="482" y="120"/>
                      <a:pt x="482" y="120"/>
                    </a:cubicBezTo>
                    <a:cubicBezTo>
                      <a:pt x="482" y="120"/>
                      <a:pt x="482" y="120"/>
                      <a:pt x="482" y="121"/>
                    </a:cubicBezTo>
                    <a:cubicBezTo>
                      <a:pt x="482" y="121"/>
                      <a:pt x="482" y="121"/>
                      <a:pt x="482" y="121"/>
                    </a:cubicBezTo>
                    <a:cubicBezTo>
                      <a:pt x="482" y="122"/>
                      <a:pt x="482" y="121"/>
                      <a:pt x="482" y="122"/>
                    </a:cubicBezTo>
                    <a:cubicBezTo>
                      <a:pt x="483" y="122"/>
                      <a:pt x="482" y="122"/>
                      <a:pt x="482" y="123"/>
                    </a:cubicBezTo>
                    <a:cubicBezTo>
                      <a:pt x="482" y="123"/>
                      <a:pt x="481" y="123"/>
                      <a:pt x="481" y="123"/>
                    </a:cubicBezTo>
                    <a:cubicBezTo>
                      <a:pt x="481" y="123"/>
                      <a:pt x="481" y="124"/>
                      <a:pt x="481" y="124"/>
                    </a:cubicBezTo>
                    <a:cubicBezTo>
                      <a:pt x="480" y="124"/>
                      <a:pt x="480" y="124"/>
                      <a:pt x="480" y="124"/>
                    </a:cubicBezTo>
                    <a:cubicBezTo>
                      <a:pt x="479" y="124"/>
                      <a:pt x="479" y="124"/>
                      <a:pt x="478" y="124"/>
                    </a:cubicBezTo>
                    <a:cubicBezTo>
                      <a:pt x="477" y="124"/>
                      <a:pt x="476" y="124"/>
                      <a:pt x="475" y="124"/>
                    </a:cubicBezTo>
                    <a:cubicBezTo>
                      <a:pt x="474" y="124"/>
                      <a:pt x="473" y="124"/>
                      <a:pt x="474" y="125"/>
                    </a:cubicBezTo>
                    <a:cubicBezTo>
                      <a:pt x="475" y="126"/>
                      <a:pt x="475" y="126"/>
                      <a:pt x="476" y="127"/>
                    </a:cubicBezTo>
                    <a:cubicBezTo>
                      <a:pt x="477" y="128"/>
                      <a:pt x="478" y="128"/>
                      <a:pt x="478" y="129"/>
                    </a:cubicBezTo>
                    <a:cubicBezTo>
                      <a:pt x="478" y="129"/>
                      <a:pt x="478" y="131"/>
                      <a:pt x="478" y="131"/>
                    </a:cubicBezTo>
                    <a:cubicBezTo>
                      <a:pt x="477" y="131"/>
                      <a:pt x="477" y="130"/>
                      <a:pt x="476" y="130"/>
                    </a:cubicBezTo>
                    <a:cubicBezTo>
                      <a:pt x="476" y="130"/>
                      <a:pt x="475" y="130"/>
                      <a:pt x="475" y="130"/>
                    </a:cubicBezTo>
                    <a:cubicBezTo>
                      <a:pt x="475" y="131"/>
                      <a:pt x="474" y="130"/>
                      <a:pt x="474" y="130"/>
                    </a:cubicBezTo>
                    <a:cubicBezTo>
                      <a:pt x="473" y="130"/>
                      <a:pt x="473" y="130"/>
                      <a:pt x="472" y="130"/>
                    </a:cubicBezTo>
                    <a:cubicBezTo>
                      <a:pt x="471" y="130"/>
                      <a:pt x="470" y="130"/>
                      <a:pt x="470" y="130"/>
                    </a:cubicBezTo>
                    <a:cubicBezTo>
                      <a:pt x="470" y="129"/>
                      <a:pt x="467" y="129"/>
                      <a:pt x="468" y="129"/>
                    </a:cubicBezTo>
                    <a:cubicBezTo>
                      <a:pt x="468" y="128"/>
                      <a:pt x="468" y="129"/>
                      <a:pt x="467" y="128"/>
                    </a:cubicBezTo>
                    <a:cubicBezTo>
                      <a:pt x="467" y="128"/>
                      <a:pt x="466" y="128"/>
                      <a:pt x="467" y="128"/>
                    </a:cubicBezTo>
                    <a:cubicBezTo>
                      <a:pt x="466" y="127"/>
                      <a:pt x="466" y="127"/>
                      <a:pt x="466" y="127"/>
                    </a:cubicBezTo>
                    <a:cubicBezTo>
                      <a:pt x="465" y="127"/>
                      <a:pt x="465" y="127"/>
                      <a:pt x="465" y="126"/>
                    </a:cubicBezTo>
                    <a:cubicBezTo>
                      <a:pt x="464" y="126"/>
                      <a:pt x="465" y="127"/>
                      <a:pt x="464" y="127"/>
                    </a:cubicBezTo>
                    <a:cubicBezTo>
                      <a:pt x="464" y="128"/>
                      <a:pt x="463" y="127"/>
                      <a:pt x="463" y="127"/>
                    </a:cubicBezTo>
                    <a:cubicBezTo>
                      <a:pt x="463" y="127"/>
                      <a:pt x="464" y="127"/>
                      <a:pt x="463" y="128"/>
                    </a:cubicBezTo>
                    <a:cubicBezTo>
                      <a:pt x="463" y="128"/>
                      <a:pt x="463" y="128"/>
                      <a:pt x="463" y="128"/>
                    </a:cubicBezTo>
                    <a:cubicBezTo>
                      <a:pt x="463" y="128"/>
                      <a:pt x="463" y="128"/>
                      <a:pt x="463" y="129"/>
                    </a:cubicBezTo>
                    <a:cubicBezTo>
                      <a:pt x="463" y="129"/>
                      <a:pt x="463" y="129"/>
                      <a:pt x="463" y="130"/>
                    </a:cubicBezTo>
                    <a:cubicBezTo>
                      <a:pt x="463" y="130"/>
                      <a:pt x="463" y="131"/>
                      <a:pt x="463" y="131"/>
                    </a:cubicBezTo>
                    <a:cubicBezTo>
                      <a:pt x="463" y="131"/>
                      <a:pt x="464" y="131"/>
                      <a:pt x="463" y="131"/>
                    </a:cubicBezTo>
                    <a:cubicBezTo>
                      <a:pt x="463" y="131"/>
                      <a:pt x="463" y="132"/>
                      <a:pt x="463" y="132"/>
                    </a:cubicBezTo>
                    <a:cubicBezTo>
                      <a:pt x="463" y="133"/>
                      <a:pt x="463" y="133"/>
                      <a:pt x="462" y="134"/>
                    </a:cubicBezTo>
                    <a:cubicBezTo>
                      <a:pt x="462" y="134"/>
                      <a:pt x="462" y="134"/>
                      <a:pt x="462" y="135"/>
                    </a:cubicBezTo>
                    <a:cubicBezTo>
                      <a:pt x="462" y="135"/>
                      <a:pt x="461" y="136"/>
                      <a:pt x="462" y="136"/>
                    </a:cubicBezTo>
                    <a:cubicBezTo>
                      <a:pt x="461" y="136"/>
                      <a:pt x="461" y="136"/>
                      <a:pt x="461" y="136"/>
                    </a:cubicBezTo>
                    <a:cubicBezTo>
                      <a:pt x="460" y="136"/>
                      <a:pt x="460" y="136"/>
                      <a:pt x="460" y="136"/>
                    </a:cubicBezTo>
                    <a:cubicBezTo>
                      <a:pt x="459" y="136"/>
                      <a:pt x="459" y="136"/>
                      <a:pt x="459" y="137"/>
                    </a:cubicBezTo>
                    <a:cubicBezTo>
                      <a:pt x="459" y="137"/>
                      <a:pt x="459" y="137"/>
                      <a:pt x="459" y="137"/>
                    </a:cubicBezTo>
                    <a:cubicBezTo>
                      <a:pt x="459" y="138"/>
                      <a:pt x="459" y="137"/>
                      <a:pt x="458" y="137"/>
                    </a:cubicBezTo>
                    <a:cubicBezTo>
                      <a:pt x="458" y="137"/>
                      <a:pt x="459" y="138"/>
                      <a:pt x="458" y="138"/>
                    </a:cubicBezTo>
                    <a:cubicBezTo>
                      <a:pt x="458" y="138"/>
                      <a:pt x="458" y="139"/>
                      <a:pt x="458" y="139"/>
                    </a:cubicBezTo>
                    <a:cubicBezTo>
                      <a:pt x="457" y="139"/>
                      <a:pt x="457" y="139"/>
                      <a:pt x="457" y="139"/>
                    </a:cubicBezTo>
                    <a:cubicBezTo>
                      <a:pt x="456" y="139"/>
                      <a:pt x="456" y="139"/>
                      <a:pt x="456" y="139"/>
                    </a:cubicBezTo>
                    <a:cubicBezTo>
                      <a:pt x="456" y="139"/>
                      <a:pt x="456" y="139"/>
                      <a:pt x="455" y="139"/>
                    </a:cubicBezTo>
                    <a:cubicBezTo>
                      <a:pt x="455" y="140"/>
                      <a:pt x="455" y="140"/>
                      <a:pt x="455" y="141"/>
                    </a:cubicBezTo>
                    <a:cubicBezTo>
                      <a:pt x="455" y="141"/>
                      <a:pt x="454" y="141"/>
                      <a:pt x="454" y="141"/>
                    </a:cubicBezTo>
                    <a:cubicBezTo>
                      <a:pt x="454" y="141"/>
                      <a:pt x="453" y="142"/>
                      <a:pt x="453" y="142"/>
                    </a:cubicBezTo>
                    <a:cubicBezTo>
                      <a:pt x="453" y="143"/>
                      <a:pt x="451" y="144"/>
                      <a:pt x="451" y="145"/>
                    </a:cubicBezTo>
                    <a:cubicBezTo>
                      <a:pt x="452" y="146"/>
                      <a:pt x="451" y="147"/>
                      <a:pt x="451" y="147"/>
                    </a:cubicBezTo>
                    <a:cubicBezTo>
                      <a:pt x="450" y="148"/>
                      <a:pt x="450" y="148"/>
                      <a:pt x="449" y="148"/>
                    </a:cubicBezTo>
                    <a:cubicBezTo>
                      <a:pt x="448" y="148"/>
                      <a:pt x="448" y="148"/>
                      <a:pt x="447" y="148"/>
                    </a:cubicBezTo>
                    <a:cubicBezTo>
                      <a:pt x="447" y="148"/>
                      <a:pt x="446" y="147"/>
                      <a:pt x="446" y="147"/>
                    </a:cubicBezTo>
                    <a:cubicBezTo>
                      <a:pt x="446" y="147"/>
                      <a:pt x="446" y="148"/>
                      <a:pt x="446" y="148"/>
                    </a:cubicBezTo>
                    <a:cubicBezTo>
                      <a:pt x="446" y="149"/>
                      <a:pt x="445" y="148"/>
                      <a:pt x="445" y="148"/>
                    </a:cubicBezTo>
                    <a:cubicBezTo>
                      <a:pt x="445" y="148"/>
                      <a:pt x="445" y="149"/>
                      <a:pt x="445" y="149"/>
                    </a:cubicBezTo>
                    <a:cubicBezTo>
                      <a:pt x="444" y="149"/>
                      <a:pt x="444" y="148"/>
                      <a:pt x="444" y="148"/>
                    </a:cubicBezTo>
                    <a:cubicBezTo>
                      <a:pt x="444" y="149"/>
                      <a:pt x="443" y="148"/>
                      <a:pt x="443" y="148"/>
                    </a:cubicBezTo>
                    <a:cubicBezTo>
                      <a:pt x="443" y="148"/>
                      <a:pt x="443" y="148"/>
                      <a:pt x="443" y="149"/>
                    </a:cubicBezTo>
                    <a:cubicBezTo>
                      <a:pt x="443" y="149"/>
                      <a:pt x="443" y="149"/>
                      <a:pt x="443" y="149"/>
                    </a:cubicBezTo>
                    <a:cubicBezTo>
                      <a:pt x="443" y="149"/>
                      <a:pt x="444" y="149"/>
                      <a:pt x="443" y="150"/>
                    </a:cubicBezTo>
                    <a:cubicBezTo>
                      <a:pt x="442" y="150"/>
                      <a:pt x="442" y="149"/>
                      <a:pt x="442" y="149"/>
                    </a:cubicBezTo>
                    <a:cubicBezTo>
                      <a:pt x="442" y="149"/>
                      <a:pt x="441" y="149"/>
                      <a:pt x="441" y="150"/>
                    </a:cubicBezTo>
                    <a:cubicBezTo>
                      <a:pt x="442" y="150"/>
                      <a:pt x="441" y="150"/>
                      <a:pt x="440" y="150"/>
                    </a:cubicBezTo>
                    <a:cubicBezTo>
                      <a:pt x="440" y="150"/>
                      <a:pt x="440" y="150"/>
                      <a:pt x="440" y="151"/>
                    </a:cubicBezTo>
                    <a:cubicBezTo>
                      <a:pt x="439" y="151"/>
                      <a:pt x="439" y="151"/>
                      <a:pt x="439" y="151"/>
                    </a:cubicBezTo>
                    <a:cubicBezTo>
                      <a:pt x="439" y="152"/>
                      <a:pt x="438" y="152"/>
                      <a:pt x="438" y="152"/>
                    </a:cubicBezTo>
                    <a:cubicBezTo>
                      <a:pt x="438" y="152"/>
                      <a:pt x="437" y="153"/>
                      <a:pt x="436" y="153"/>
                    </a:cubicBezTo>
                    <a:cubicBezTo>
                      <a:pt x="436" y="153"/>
                      <a:pt x="436" y="154"/>
                      <a:pt x="436" y="154"/>
                    </a:cubicBezTo>
                    <a:cubicBezTo>
                      <a:pt x="436" y="154"/>
                      <a:pt x="436" y="154"/>
                      <a:pt x="436" y="154"/>
                    </a:cubicBezTo>
                    <a:cubicBezTo>
                      <a:pt x="435" y="155"/>
                      <a:pt x="436" y="155"/>
                      <a:pt x="436" y="155"/>
                    </a:cubicBezTo>
                    <a:cubicBezTo>
                      <a:pt x="436" y="155"/>
                      <a:pt x="436" y="156"/>
                      <a:pt x="435" y="156"/>
                    </a:cubicBezTo>
                    <a:cubicBezTo>
                      <a:pt x="435" y="156"/>
                      <a:pt x="435" y="156"/>
                      <a:pt x="434" y="156"/>
                    </a:cubicBezTo>
                    <a:cubicBezTo>
                      <a:pt x="434" y="156"/>
                      <a:pt x="435" y="157"/>
                      <a:pt x="435" y="157"/>
                    </a:cubicBezTo>
                    <a:cubicBezTo>
                      <a:pt x="435" y="157"/>
                      <a:pt x="434" y="157"/>
                      <a:pt x="434" y="157"/>
                    </a:cubicBezTo>
                    <a:cubicBezTo>
                      <a:pt x="434" y="157"/>
                      <a:pt x="435" y="157"/>
                      <a:pt x="435" y="157"/>
                    </a:cubicBezTo>
                    <a:cubicBezTo>
                      <a:pt x="434" y="158"/>
                      <a:pt x="433" y="156"/>
                      <a:pt x="433" y="157"/>
                    </a:cubicBezTo>
                    <a:cubicBezTo>
                      <a:pt x="433" y="157"/>
                      <a:pt x="433" y="157"/>
                      <a:pt x="433" y="157"/>
                    </a:cubicBezTo>
                    <a:cubicBezTo>
                      <a:pt x="432" y="157"/>
                      <a:pt x="433" y="157"/>
                      <a:pt x="432" y="157"/>
                    </a:cubicBezTo>
                    <a:cubicBezTo>
                      <a:pt x="432" y="158"/>
                      <a:pt x="433" y="158"/>
                      <a:pt x="433" y="158"/>
                    </a:cubicBezTo>
                    <a:cubicBezTo>
                      <a:pt x="434" y="159"/>
                      <a:pt x="433" y="158"/>
                      <a:pt x="432" y="158"/>
                    </a:cubicBezTo>
                    <a:cubicBezTo>
                      <a:pt x="432" y="158"/>
                      <a:pt x="432" y="159"/>
                      <a:pt x="432" y="159"/>
                    </a:cubicBezTo>
                    <a:cubicBezTo>
                      <a:pt x="431" y="159"/>
                      <a:pt x="431" y="159"/>
                      <a:pt x="431" y="159"/>
                    </a:cubicBezTo>
                    <a:cubicBezTo>
                      <a:pt x="431" y="159"/>
                      <a:pt x="430" y="159"/>
                      <a:pt x="430" y="159"/>
                    </a:cubicBezTo>
                    <a:cubicBezTo>
                      <a:pt x="430" y="159"/>
                      <a:pt x="430" y="159"/>
                      <a:pt x="430" y="159"/>
                    </a:cubicBezTo>
                    <a:cubicBezTo>
                      <a:pt x="430" y="159"/>
                      <a:pt x="429" y="161"/>
                      <a:pt x="429" y="160"/>
                    </a:cubicBezTo>
                    <a:cubicBezTo>
                      <a:pt x="429" y="159"/>
                      <a:pt x="429" y="159"/>
                      <a:pt x="428" y="159"/>
                    </a:cubicBezTo>
                    <a:cubicBezTo>
                      <a:pt x="428" y="158"/>
                      <a:pt x="428" y="158"/>
                      <a:pt x="428" y="158"/>
                    </a:cubicBezTo>
                    <a:cubicBezTo>
                      <a:pt x="428" y="158"/>
                      <a:pt x="428" y="158"/>
                      <a:pt x="428" y="158"/>
                    </a:cubicBezTo>
                    <a:cubicBezTo>
                      <a:pt x="428" y="157"/>
                      <a:pt x="428" y="157"/>
                      <a:pt x="428" y="157"/>
                    </a:cubicBezTo>
                    <a:cubicBezTo>
                      <a:pt x="429" y="157"/>
                      <a:pt x="429" y="157"/>
                      <a:pt x="429" y="157"/>
                    </a:cubicBezTo>
                    <a:cubicBezTo>
                      <a:pt x="430" y="157"/>
                      <a:pt x="429" y="156"/>
                      <a:pt x="430" y="156"/>
                    </a:cubicBezTo>
                    <a:cubicBezTo>
                      <a:pt x="430" y="156"/>
                      <a:pt x="430" y="157"/>
                      <a:pt x="431" y="157"/>
                    </a:cubicBezTo>
                    <a:cubicBezTo>
                      <a:pt x="431" y="157"/>
                      <a:pt x="431" y="156"/>
                      <a:pt x="431" y="156"/>
                    </a:cubicBezTo>
                    <a:cubicBezTo>
                      <a:pt x="432" y="156"/>
                      <a:pt x="432" y="155"/>
                      <a:pt x="431" y="155"/>
                    </a:cubicBezTo>
                    <a:cubicBezTo>
                      <a:pt x="431" y="155"/>
                      <a:pt x="431" y="154"/>
                      <a:pt x="431" y="154"/>
                    </a:cubicBezTo>
                    <a:cubicBezTo>
                      <a:pt x="431" y="154"/>
                      <a:pt x="431" y="154"/>
                      <a:pt x="432" y="153"/>
                    </a:cubicBezTo>
                    <a:cubicBezTo>
                      <a:pt x="432" y="153"/>
                      <a:pt x="431" y="153"/>
                      <a:pt x="432" y="153"/>
                    </a:cubicBezTo>
                    <a:cubicBezTo>
                      <a:pt x="432" y="153"/>
                      <a:pt x="433" y="153"/>
                      <a:pt x="433" y="152"/>
                    </a:cubicBezTo>
                    <a:cubicBezTo>
                      <a:pt x="433" y="152"/>
                      <a:pt x="432" y="152"/>
                      <a:pt x="432" y="152"/>
                    </a:cubicBezTo>
                    <a:cubicBezTo>
                      <a:pt x="432" y="153"/>
                      <a:pt x="431" y="152"/>
                      <a:pt x="431" y="152"/>
                    </a:cubicBezTo>
                    <a:cubicBezTo>
                      <a:pt x="431" y="152"/>
                      <a:pt x="431" y="153"/>
                      <a:pt x="431" y="153"/>
                    </a:cubicBezTo>
                    <a:cubicBezTo>
                      <a:pt x="430" y="153"/>
                      <a:pt x="430" y="153"/>
                      <a:pt x="430" y="153"/>
                    </a:cubicBezTo>
                    <a:cubicBezTo>
                      <a:pt x="429" y="153"/>
                      <a:pt x="429" y="152"/>
                      <a:pt x="428" y="151"/>
                    </a:cubicBezTo>
                    <a:cubicBezTo>
                      <a:pt x="427" y="151"/>
                      <a:pt x="427" y="151"/>
                      <a:pt x="427" y="151"/>
                    </a:cubicBezTo>
                    <a:cubicBezTo>
                      <a:pt x="427" y="151"/>
                      <a:pt x="426" y="151"/>
                      <a:pt x="426" y="151"/>
                    </a:cubicBezTo>
                    <a:cubicBezTo>
                      <a:pt x="426" y="150"/>
                      <a:pt x="428" y="150"/>
                      <a:pt x="428" y="150"/>
                    </a:cubicBezTo>
                    <a:cubicBezTo>
                      <a:pt x="428" y="150"/>
                      <a:pt x="428" y="150"/>
                      <a:pt x="428" y="149"/>
                    </a:cubicBezTo>
                    <a:cubicBezTo>
                      <a:pt x="427" y="149"/>
                      <a:pt x="426" y="148"/>
                      <a:pt x="427" y="147"/>
                    </a:cubicBezTo>
                    <a:cubicBezTo>
                      <a:pt x="428" y="147"/>
                      <a:pt x="428" y="147"/>
                      <a:pt x="428" y="147"/>
                    </a:cubicBezTo>
                    <a:cubicBezTo>
                      <a:pt x="429" y="147"/>
                      <a:pt x="429" y="147"/>
                      <a:pt x="429" y="147"/>
                    </a:cubicBezTo>
                    <a:cubicBezTo>
                      <a:pt x="429" y="146"/>
                      <a:pt x="429" y="146"/>
                      <a:pt x="429" y="146"/>
                    </a:cubicBezTo>
                    <a:cubicBezTo>
                      <a:pt x="429" y="145"/>
                      <a:pt x="430" y="144"/>
                      <a:pt x="429" y="144"/>
                    </a:cubicBezTo>
                    <a:cubicBezTo>
                      <a:pt x="430" y="144"/>
                      <a:pt x="430" y="143"/>
                      <a:pt x="430" y="142"/>
                    </a:cubicBezTo>
                    <a:cubicBezTo>
                      <a:pt x="430" y="142"/>
                      <a:pt x="430" y="142"/>
                      <a:pt x="430" y="142"/>
                    </a:cubicBezTo>
                    <a:cubicBezTo>
                      <a:pt x="430" y="142"/>
                      <a:pt x="430" y="141"/>
                      <a:pt x="430" y="141"/>
                    </a:cubicBezTo>
                    <a:cubicBezTo>
                      <a:pt x="431" y="140"/>
                      <a:pt x="429" y="140"/>
                      <a:pt x="429" y="139"/>
                    </a:cubicBezTo>
                    <a:cubicBezTo>
                      <a:pt x="429" y="139"/>
                      <a:pt x="429" y="138"/>
                      <a:pt x="428" y="138"/>
                    </a:cubicBezTo>
                    <a:cubicBezTo>
                      <a:pt x="428" y="138"/>
                      <a:pt x="428" y="138"/>
                      <a:pt x="428" y="138"/>
                    </a:cubicBezTo>
                    <a:cubicBezTo>
                      <a:pt x="427" y="138"/>
                      <a:pt x="426" y="138"/>
                      <a:pt x="426" y="137"/>
                    </a:cubicBezTo>
                    <a:cubicBezTo>
                      <a:pt x="425" y="137"/>
                      <a:pt x="425" y="137"/>
                      <a:pt x="424" y="136"/>
                    </a:cubicBezTo>
                    <a:cubicBezTo>
                      <a:pt x="424" y="136"/>
                      <a:pt x="424" y="135"/>
                      <a:pt x="424" y="135"/>
                    </a:cubicBezTo>
                    <a:cubicBezTo>
                      <a:pt x="424" y="135"/>
                      <a:pt x="424" y="136"/>
                      <a:pt x="424" y="137"/>
                    </a:cubicBezTo>
                    <a:cubicBezTo>
                      <a:pt x="424" y="137"/>
                      <a:pt x="423" y="137"/>
                      <a:pt x="423" y="137"/>
                    </a:cubicBezTo>
                    <a:cubicBezTo>
                      <a:pt x="422" y="137"/>
                      <a:pt x="420" y="135"/>
                      <a:pt x="420" y="136"/>
                    </a:cubicBezTo>
                    <a:cubicBezTo>
                      <a:pt x="420" y="136"/>
                      <a:pt x="419" y="136"/>
                      <a:pt x="418" y="136"/>
                    </a:cubicBezTo>
                    <a:cubicBezTo>
                      <a:pt x="418" y="136"/>
                      <a:pt x="418" y="137"/>
                      <a:pt x="418" y="137"/>
                    </a:cubicBezTo>
                    <a:cubicBezTo>
                      <a:pt x="418" y="137"/>
                      <a:pt x="417" y="137"/>
                      <a:pt x="417" y="137"/>
                    </a:cubicBezTo>
                    <a:cubicBezTo>
                      <a:pt x="417" y="138"/>
                      <a:pt x="418" y="138"/>
                      <a:pt x="418" y="138"/>
                    </a:cubicBezTo>
                    <a:cubicBezTo>
                      <a:pt x="417" y="138"/>
                      <a:pt x="417" y="139"/>
                      <a:pt x="416" y="140"/>
                    </a:cubicBezTo>
                    <a:cubicBezTo>
                      <a:pt x="416" y="140"/>
                      <a:pt x="416" y="141"/>
                      <a:pt x="416" y="141"/>
                    </a:cubicBezTo>
                    <a:cubicBezTo>
                      <a:pt x="416" y="141"/>
                      <a:pt x="416" y="141"/>
                      <a:pt x="416" y="141"/>
                    </a:cubicBezTo>
                    <a:cubicBezTo>
                      <a:pt x="416" y="141"/>
                      <a:pt x="416" y="141"/>
                      <a:pt x="416" y="141"/>
                    </a:cubicBezTo>
                    <a:cubicBezTo>
                      <a:pt x="415" y="142"/>
                      <a:pt x="417" y="142"/>
                      <a:pt x="416" y="142"/>
                    </a:cubicBezTo>
                    <a:cubicBezTo>
                      <a:pt x="415" y="142"/>
                      <a:pt x="416" y="143"/>
                      <a:pt x="416" y="143"/>
                    </a:cubicBezTo>
                    <a:cubicBezTo>
                      <a:pt x="416" y="144"/>
                      <a:pt x="415" y="144"/>
                      <a:pt x="415" y="144"/>
                    </a:cubicBezTo>
                    <a:cubicBezTo>
                      <a:pt x="414" y="145"/>
                      <a:pt x="413" y="145"/>
                      <a:pt x="412" y="146"/>
                    </a:cubicBezTo>
                    <a:cubicBezTo>
                      <a:pt x="411" y="146"/>
                      <a:pt x="409" y="146"/>
                      <a:pt x="409" y="147"/>
                    </a:cubicBezTo>
                    <a:cubicBezTo>
                      <a:pt x="409" y="148"/>
                      <a:pt x="409" y="148"/>
                      <a:pt x="409" y="148"/>
                    </a:cubicBezTo>
                    <a:cubicBezTo>
                      <a:pt x="409" y="148"/>
                      <a:pt x="408" y="149"/>
                      <a:pt x="408" y="149"/>
                    </a:cubicBezTo>
                    <a:cubicBezTo>
                      <a:pt x="408" y="149"/>
                      <a:pt x="408" y="150"/>
                      <a:pt x="408" y="150"/>
                    </a:cubicBezTo>
                    <a:cubicBezTo>
                      <a:pt x="408" y="150"/>
                      <a:pt x="408" y="150"/>
                      <a:pt x="408" y="151"/>
                    </a:cubicBezTo>
                    <a:cubicBezTo>
                      <a:pt x="408" y="151"/>
                      <a:pt x="408" y="151"/>
                      <a:pt x="408" y="151"/>
                    </a:cubicBezTo>
                    <a:cubicBezTo>
                      <a:pt x="408" y="151"/>
                      <a:pt x="408" y="151"/>
                      <a:pt x="408" y="151"/>
                    </a:cubicBezTo>
                    <a:cubicBezTo>
                      <a:pt x="408" y="151"/>
                      <a:pt x="409" y="152"/>
                      <a:pt x="409" y="152"/>
                    </a:cubicBezTo>
                    <a:cubicBezTo>
                      <a:pt x="409" y="153"/>
                      <a:pt x="408" y="153"/>
                      <a:pt x="408" y="154"/>
                    </a:cubicBezTo>
                    <a:cubicBezTo>
                      <a:pt x="408" y="154"/>
                      <a:pt x="408" y="154"/>
                      <a:pt x="408" y="155"/>
                    </a:cubicBezTo>
                    <a:cubicBezTo>
                      <a:pt x="408" y="155"/>
                      <a:pt x="407" y="156"/>
                      <a:pt x="407" y="155"/>
                    </a:cubicBezTo>
                    <a:cubicBezTo>
                      <a:pt x="407" y="155"/>
                      <a:pt x="407" y="155"/>
                      <a:pt x="407" y="155"/>
                    </a:cubicBezTo>
                    <a:cubicBezTo>
                      <a:pt x="407" y="155"/>
                      <a:pt x="407" y="155"/>
                      <a:pt x="406" y="154"/>
                    </a:cubicBezTo>
                    <a:cubicBezTo>
                      <a:pt x="406" y="156"/>
                      <a:pt x="404" y="154"/>
                      <a:pt x="404" y="155"/>
                    </a:cubicBezTo>
                    <a:cubicBezTo>
                      <a:pt x="403" y="155"/>
                      <a:pt x="403" y="157"/>
                      <a:pt x="401" y="156"/>
                    </a:cubicBezTo>
                    <a:cubicBezTo>
                      <a:pt x="400" y="155"/>
                      <a:pt x="399" y="154"/>
                      <a:pt x="398" y="154"/>
                    </a:cubicBezTo>
                    <a:cubicBezTo>
                      <a:pt x="397" y="155"/>
                      <a:pt x="396" y="156"/>
                      <a:pt x="397" y="157"/>
                    </a:cubicBezTo>
                    <a:cubicBezTo>
                      <a:pt x="397" y="157"/>
                      <a:pt x="397" y="157"/>
                      <a:pt x="397" y="157"/>
                    </a:cubicBezTo>
                    <a:cubicBezTo>
                      <a:pt x="397" y="158"/>
                      <a:pt x="397" y="158"/>
                      <a:pt x="397" y="159"/>
                    </a:cubicBezTo>
                    <a:cubicBezTo>
                      <a:pt x="397" y="160"/>
                      <a:pt x="397" y="161"/>
                      <a:pt x="398" y="162"/>
                    </a:cubicBezTo>
                    <a:cubicBezTo>
                      <a:pt x="399" y="163"/>
                      <a:pt x="400" y="164"/>
                      <a:pt x="402" y="165"/>
                    </a:cubicBezTo>
                    <a:cubicBezTo>
                      <a:pt x="402" y="165"/>
                      <a:pt x="403" y="166"/>
                      <a:pt x="404" y="166"/>
                    </a:cubicBezTo>
                    <a:cubicBezTo>
                      <a:pt x="404" y="166"/>
                      <a:pt x="405" y="166"/>
                      <a:pt x="406" y="166"/>
                    </a:cubicBezTo>
                    <a:cubicBezTo>
                      <a:pt x="406" y="167"/>
                      <a:pt x="407" y="167"/>
                      <a:pt x="407" y="167"/>
                    </a:cubicBezTo>
                    <a:cubicBezTo>
                      <a:pt x="407" y="167"/>
                      <a:pt x="407" y="167"/>
                      <a:pt x="407" y="166"/>
                    </a:cubicBezTo>
                    <a:cubicBezTo>
                      <a:pt x="407" y="166"/>
                      <a:pt x="407" y="167"/>
                      <a:pt x="407" y="167"/>
                    </a:cubicBezTo>
                    <a:cubicBezTo>
                      <a:pt x="407" y="166"/>
                      <a:pt x="408" y="166"/>
                      <a:pt x="408" y="166"/>
                    </a:cubicBezTo>
                    <a:cubicBezTo>
                      <a:pt x="408" y="167"/>
                      <a:pt x="408" y="167"/>
                      <a:pt x="408" y="167"/>
                    </a:cubicBezTo>
                    <a:cubicBezTo>
                      <a:pt x="408" y="167"/>
                      <a:pt x="409" y="168"/>
                      <a:pt x="409" y="168"/>
                    </a:cubicBezTo>
                    <a:cubicBezTo>
                      <a:pt x="409" y="167"/>
                      <a:pt x="410" y="167"/>
                      <a:pt x="409" y="166"/>
                    </a:cubicBezTo>
                    <a:cubicBezTo>
                      <a:pt x="409" y="166"/>
                      <a:pt x="410" y="166"/>
                      <a:pt x="410" y="166"/>
                    </a:cubicBezTo>
                    <a:cubicBezTo>
                      <a:pt x="411" y="166"/>
                      <a:pt x="412" y="166"/>
                      <a:pt x="412" y="167"/>
                    </a:cubicBezTo>
                    <a:cubicBezTo>
                      <a:pt x="413" y="168"/>
                      <a:pt x="413" y="168"/>
                      <a:pt x="414" y="169"/>
                    </a:cubicBezTo>
                    <a:cubicBezTo>
                      <a:pt x="415" y="169"/>
                      <a:pt x="415" y="170"/>
                      <a:pt x="415" y="170"/>
                    </a:cubicBezTo>
                    <a:cubicBezTo>
                      <a:pt x="415" y="171"/>
                      <a:pt x="415" y="171"/>
                      <a:pt x="415" y="171"/>
                    </a:cubicBezTo>
                    <a:cubicBezTo>
                      <a:pt x="414" y="172"/>
                      <a:pt x="415" y="172"/>
                      <a:pt x="415" y="173"/>
                    </a:cubicBezTo>
                    <a:cubicBezTo>
                      <a:pt x="415" y="173"/>
                      <a:pt x="415" y="175"/>
                      <a:pt x="416" y="175"/>
                    </a:cubicBezTo>
                    <a:cubicBezTo>
                      <a:pt x="416" y="176"/>
                      <a:pt x="417" y="176"/>
                      <a:pt x="418" y="177"/>
                    </a:cubicBezTo>
                    <a:cubicBezTo>
                      <a:pt x="419" y="177"/>
                      <a:pt x="420" y="177"/>
                      <a:pt x="421" y="177"/>
                    </a:cubicBezTo>
                    <a:cubicBezTo>
                      <a:pt x="422" y="177"/>
                      <a:pt x="423" y="178"/>
                      <a:pt x="424" y="177"/>
                    </a:cubicBezTo>
                    <a:cubicBezTo>
                      <a:pt x="425" y="176"/>
                      <a:pt x="424" y="176"/>
                      <a:pt x="424" y="175"/>
                    </a:cubicBezTo>
                    <a:cubicBezTo>
                      <a:pt x="424" y="175"/>
                      <a:pt x="425" y="174"/>
                      <a:pt x="425" y="174"/>
                    </a:cubicBezTo>
                    <a:cubicBezTo>
                      <a:pt x="426" y="173"/>
                      <a:pt x="426" y="173"/>
                      <a:pt x="427" y="172"/>
                    </a:cubicBezTo>
                    <a:cubicBezTo>
                      <a:pt x="427" y="171"/>
                      <a:pt x="426" y="171"/>
                      <a:pt x="426" y="171"/>
                    </a:cubicBezTo>
                    <a:cubicBezTo>
                      <a:pt x="426" y="171"/>
                      <a:pt x="427" y="171"/>
                      <a:pt x="427" y="171"/>
                    </a:cubicBezTo>
                    <a:cubicBezTo>
                      <a:pt x="428" y="170"/>
                      <a:pt x="428" y="170"/>
                      <a:pt x="429" y="170"/>
                    </a:cubicBezTo>
                    <a:cubicBezTo>
                      <a:pt x="430" y="170"/>
                      <a:pt x="430" y="169"/>
                      <a:pt x="430" y="170"/>
                    </a:cubicBezTo>
                    <a:cubicBezTo>
                      <a:pt x="431" y="170"/>
                      <a:pt x="431" y="170"/>
                      <a:pt x="432" y="170"/>
                    </a:cubicBezTo>
                    <a:cubicBezTo>
                      <a:pt x="432" y="171"/>
                      <a:pt x="433" y="171"/>
                      <a:pt x="434" y="171"/>
                    </a:cubicBezTo>
                    <a:cubicBezTo>
                      <a:pt x="434" y="171"/>
                      <a:pt x="434" y="172"/>
                      <a:pt x="434" y="172"/>
                    </a:cubicBezTo>
                    <a:cubicBezTo>
                      <a:pt x="435" y="173"/>
                      <a:pt x="437" y="172"/>
                      <a:pt x="436" y="172"/>
                    </a:cubicBezTo>
                    <a:cubicBezTo>
                      <a:pt x="436" y="172"/>
                      <a:pt x="437" y="172"/>
                      <a:pt x="437" y="172"/>
                    </a:cubicBezTo>
                    <a:cubicBezTo>
                      <a:pt x="436" y="172"/>
                      <a:pt x="437" y="173"/>
                      <a:pt x="438" y="173"/>
                    </a:cubicBezTo>
                    <a:cubicBezTo>
                      <a:pt x="438" y="174"/>
                      <a:pt x="439" y="174"/>
                      <a:pt x="440" y="174"/>
                    </a:cubicBezTo>
                    <a:cubicBezTo>
                      <a:pt x="440" y="174"/>
                      <a:pt x="439" y="174"/>
                      <a:pt x="439" y="174"/>
                    </a:cubicBezTo>
                    <a:cubicBezTo>
                      <a:pt x="439" y="173"/>
                      <a:pt x="440" y="174"/>
                      <a:pt x="441" y="174"/>
                    </a:cubicBezTo>
                    <a:cubicBezTo>
                      <a:pt x="441" y="174"/>
                      <a:pt x="442" y="173"/>
                      <a:pt x="442" y="174"/>
                    </a:cubicBezTo>
                    <a:cubicBezTo>
                      <a:pt x="443" y="175"/>
                      <a:pt x="443" y="174"/>
                      <a:pt x="442" y="173"/>
                    </a:cubicBezTo>
                    <a:cubicBezTo>
                      <a:pt x="442" y="173"/>
                      <a:pt x="443" y="173"/>
                      <a:pt x="443" y="173"/>
                    </a:cubicBezTo>
                    <a:cubicBezTo>
                      <a:pt x="444" y="173"/>
                      <a:pt x="444" y="173"/>
                      <a:pt x="444" y="174"/>
                    </a:cubicBezTo>
                    <a:cubicBezTo>
                      <a:pt x="444" y="174"/>
                      <a:pt x="445" y="174"/>
                      <a:pt x="445" y="174"/>
                    </a:cubicBezTo>
                    <a:cubicBezTo>
                      <a:pt x="445" y="173"/>
                      <a:pt x="445" y="174"/>
                      <a:pt x="445" y="174"/>
                    </a:cubicBezTo>
                    <a:cubicBezTo>
                      <a:pt x="446" y="174"/>
                      <a:pt x="447" y="174"/>
                      <a:pt x="447" y="174"/>
                    </a:cubicBezTo>
                    <a:cubicBezTo>
                      <a:pt x="448" y="174"/>
                      <a:pt x="449" y="174"/>
                      <a:pt x="449" y="174"/>
                    </a:cubicBezTo>
                    <a:cubicBezTo>
                      <a:pt x="449" y="175"/>
                      <a:pt x="449" y="175"/>
                      <a:pt x="449" y="175"/>
                    </a:cubicBezTo>
                    <a:cubicBezTo>
                      <a:pt x="448" y="175"/>
                      <a:pt x="449" y="175"/>
                      <a:pt x="449" y="175"/>
                    </a:cubicBezTo>
                    <a:cubicBezTo>
                      <a:pt x="449" y="175"/>
                      <a:pt x="449" y="175"/>
                      <a:pt x="448" y="175"/>
                    </a:cubicBezTo>
                    <a:cubicBezTo>
                      <a:pt x="449" y="176"/>
                      <a:pt x="449" y="176"/>
                      <a:pt x="449" y="176"/>
                    </a:cubicBezTo>
                    <a:cubicBezTo>
                      <a:pt x="450" y="177"/>
                      <a:pt x="449" y="177"/>
                      <a:pt x="449" y="177"/>
                    </a:cubicBezTo>
                    <a:cubicBezTo>
                      <a:pt x="449" y="177"/>
                      <a:pt x="449" y="177"/>
                      <a:pt x="449" y="177"/>
                    </a:cubicBezTo>
                    <a:cubicBezTo>
                      <a:pt x="448" y="177"/>
                      <a:pt x="448" y="177"/>
                      <a:pt x="448" y="177"/>
                    </a:cubicBezTo>
                    <a:cubicBezTo>
                      <a:pt x="448" y="177"/>
                      <a:pt x="449" y="178"/>
                      <a:pt x="449" y="178"/>
                    </a:cubicBezTo>
                    <a:cubicBezTo>
                      <a:pt x="449" y="178"/>
                      <a:pt x="448" y="179"/>
                      <a:pt x="449" y="179"/>
                    </a:cubicBezTo>
                    <a:cubicBezTo>
                      <a:pt x="449" y="179"/>
                      <a:pt x="449" y="178"/>
                      <a:pt x="450" y="179"/>
                    </a:cubicBezTo>
                    <a:cubicBezTo>
                      <a:pt x="450" y="179"/>
                      <a:pt x="450" y="180"/>
                      <a:pt x="450" y="180"/>
                    </a:cubicBezTo>
                    <a:cubicBezTo>
                      <a:pt x="450" y="180"/>
                      <a:pt x="450" y="180"/>
                      <a:pt x="450" y="180"/>
                    </a:cubicBezTo>
                    <a:cubicBezTo>
                      <a:pt x="450" y="179"/>
                      <a:pt x="449" y="180"/>
                      <a:pt x="449" y="180"/>
                    </a:cubicBezTo>
                    <a:cubicBezTo>
                      <a:pt x="449" y="180"/>
                      <a:pt x="450" y="180"/>
                      <a:pt x="449" y="180"/>
                    </a:cubicBezTo>
                    <a:cubicBezTo>
                      <a:pt x="449" y="180"/>
                      <a:pt x="449" y="180"/>
                      <a:pt x="449" y="181"/>
                    </a:cubicBezTo>
                    <a:cubicBezTo>
                      <a:pt x="448" y="181"/>
                      <a:pt x="446" y="180"/>
                      <a:pt x="448" y="180"/>
                    </a:cubicBezTo>
                    <a:cubicBezTo>
                      <a:pt x="447" y="180"/>
                      <a:pt x="447" y="180"/>
                      <a:pt x="447" y="179"/>
                    </a:cubicBezTo>
                    <a:cubicBezTo>
                      <a:pt x="447" y="179"/>
                      <a:pt x="447" y="179"/>
                      <a:pt x="446" y="179"/>
                    </a:cubicBezTo>
                    <a:cubicBezTo>
                      <a:pt x="446" y="179"/>
                      <a:pt x="446" y="180"/>
                      <a:pt x="445" y="180"/>
                    </a:cubicBezTo>
                    <a:cubicBezTo>
                      <a:pt x="445" y="179"/>
                      <a:pt x="446" y="179"/>
                      <a:pt x="445" y="179"/>
                    </a:cubicBezTo>
                    <a:cubicBezTo>
                      <a:pt x="445" y="179"/>
                      <a:pt x="444" y="179"/>
                      <a:pt x="444" y="179"/>
                    </a:cubicBezTo>
                    <a:cubicBezTo>
                      <a:pt x="444" y="179"/>
                      <a:pt x="445" y="179"/>
                      <a:pt x="445" y="179"/>
                    </a:cubicBezTo>
                    <a:cubicBezTo>
                      <a:pt x="444" y="180"/>
                      <a:pt x="444" y="180"/>
                      <a:pt x="444" y="180"/>
                    </a:cubicBezTo>
                    <a:cubicBezTo>
                      <a:pt x="444" y="180"/>
                      <a:pt x="443" y="180"/>
                      <a:pt x="443" y="180"/>
                    </a:cubicBezTo>
                    <a:cubicBezTo>
                      <a:pt x="443" y="181"/>
                      <a:pt x="442" y="181"/>
                      <a:pt x="443" y="180"/>
                    </a:cubicBezTo>
                    <a:cubicBezTo>
                      <a:pt x="442" y="180"/>
                      <a:pt x="442" y="181"/>
                      <a:pt x="443" y="181"/>
                    </a:cubicBezTo>
                    <a:cubicBezTo>
                      <a:pt x="442" y="181"/>
                      <a:pt x="441" y="181"/>
                      <a:pt x="442" y="181"/>
                    </a:cubicBezTo>
                    <a:cubicBezTo>
                      <a:pt x="442" y="180"/>
                      <a:pt x="442" y="180"/>
                      <a:pt x="441" y="181"/>
                    </a:cubicBezTo>
                    <a:cubicBezTo>
                      <a:pt x="441" y="181"/>
                      <a:pt x="441" y="181"/>
                      <a:pt x="441" y="181"/>
                    </a:cubicBezTo>
                    <a:cubicBezTo>
                      <a:pt x="441" y="181"/>
                      <a:pt x="441" y="181"/>
                      <a:pt x="441" y="181"/>
                    </a:cubicBezTo>
                    <a:cubicBezTo>
                      <a:pt x="441" y="181"/>
                      <a:pt x="441" y="181"/>
                      <a:pt x="441" y="181"/>
                    </a:cubicBezTo>
                    <a:cubicBezTo>
                      <a:pt x="441" y="182"/>
                      <a:pt x="440" y="182"/>
                      <a:pt x="441" y="182"/>
                    </a:cubicBezTo>
                    <a:cubicBezTo>
                      <a:pt x="440" y="182"/>
                      <a:pt x="439" y="182"/>
                      <a:pt x="438" y="183"/>
                    </a:cubicBezTo>
                    <a:cubicBezTo>
                      <a:pt x="438" y="183"/>
                      <a:pt x="438" y="183"/>
                      <a:pt x="438" y="183"/>
                    </a:cubicBezTo>
                    <a:cubicBezTo>
                      <a:pt x="438" y="183"/>
                      <a:pt x="438" y="183"/>
                      <a:pt x="438" y="183"/>
                    </a:cubicBezTo>
                    <a:cubicBezTo>
                      <a:pt x="437" y="183"/>
                      <a:pt x="437" y="183"/>
                      <a:pt x="437" y="183"/>
                    </a:cubicBezTo>
                    <a:cubicBezTo>
                      <a:pt x="436" y="182"/>
                      <a:pt x="435" y="183"/>
                      <a:pt x="435" y="183"/>
                    </a:cubicBezTo>
                    <a:cubicBezTo>
                      <a:pt x="435" y="184"/>
                      <a:pt x="435" y="184"/>
                      <a:pt x="436" y="184"/>
                    </a:cubicBezTo>
                    <a:cubicBezTo>
                      <a:pt x="436" y="184"/>
                      <a:pt x="436" y="183"/>
                      <a:pt x="436" y="183"/>
                    </a:cubicBezTo>
                    <a:cubicBezTo>
                      <a:pt x="436" y="183"/>
                      <a:pt x="437" y="184"/>
                      <a:pt x="437" y="184"/>
                    </a:cubicBezTo>
                    <a:cubicBezTo>
                      <a:pt x="437" y="184"/>
                      <a:pt x="437" y="185"/>
                      <a:pt x="437" y="185"/>
                    </a:cubicBezTo>
                    <a:cubicBezTo>
                      <a:pt x="438" y="186"/>
                      <a:pt x="436" y="185"/>
                      <a:pt x="436" y="185"/>
                    </a:cubicBezTo>
                    <a:cubicBezTo>
                      <a:pt x="436" y="184"/>
                      <a:pt x="435" y="185"/>
                      <a:pt x="436" y="186"/>
                    </a:cubicBezTo>
                    <a:cubicBezTo>
                      <a:pt x="436" y="186"/>
                      <a:pt x="436" y="186"/>
                      <a:pt x="435" y="186"/>
                    </a:cubicBezTo>
                    <a:cubicBezTo>
                      <a:pt x="436" y="187"/>
                      <a:pt x="436" y="187"/>
                      <a:pt x="437" y="188"/>
                    </a:cubicBezTo>
                    <a:cubicBezTo>
                      <a:pt x="437" y="188"/>
                      <a:pt x="435" y="189"/>
                      <a:pt x="434" y="189"/>
                    </a:cubicBezTo>
                    <a:cubicBezTo>
                      <a:pt x="433" y="190"/>
                      <a:pt x="434" y="188"/>
                      <a:pt x="433" y="187"/>
                    </a:cubicBezTo>
                    <a:cubicBezTo>
                      <a:pt x="433" y="186"/>
                      <a:pt x="432" y="187"/>
                      <a:pt x="433" y="188"/>
                    </a:cubicBezTo>
                    <a:cubicBezTo>
                      <a:pt x="433" y="188"/>
                      <a:pt x="431" y="187"/>
                      <a:pt x="431" y="187"/>
                    </a:cubicBezTo>
                    <a:cubicBezTo>
                      <a:pt x="431" y="187"/>
                      <a:pt x="431" y="188"/>
                      <a:pt x="431" y="188"/>
                    </a:cubicBezTo>
                    <a:cubicBezTo>
                      <a:pt x="432" y="189"/>
                      <a:pt x="432" y="189"/>
                      <a:pt x="433" y="190"/>
                    </a:cubicBezTo>
                    <a:cubicBezTo>
                      <a:pt x="433" y="190"/>
                      <a:pt x="433" y="190"/>
                      <a:pt x="433" y="190"/>
                    </a:cubicBezTo>
                    <a:cubicBezTo>
                      <a:pt x="433" y="190"/>
                      <a:pt x="434" y="190"/>
                      <a:pt x="434" y="190"/>
                    </a:cubicBezTo>
                    <a:cubicBezTo>
                      <a:pt x="434" y="190"/>
                      <a:pt x="433" y="190"/>
                      <a:pt x="433" y="191"/>
                    </a:cubicBezTo>
                    <a:cubicBezTo>
                      <a:pt x="433" y="191"/>
                      <a:pt x="433" y="190"/>
                      <a:pt x="433" y="190"/>
                    </a:cubicBezTo>
                    <a:cubicBezTo>
                      <a:pt x="432" y="191"/>
                      <a:pt x="432" y="191"/>
                      <a:pt x="432" y="192"/>
                    </a:cubicBezTo>
                    <a:cubicBezTo>
                      <a:pt x="433" y="193"/>
                      <a:pt x="431" y="192"/>
                      <a:pt x="431" y="192"/>
                    </a:cubicBezTo>
                    <a:cubicBezTo>
                      <a:pt x="431" y="192"/>
                      <a:pt x="432" y="193"/>
                      <a:pt x="432" y="194"/>
                    </a:cubicBezTo>
                    <a:cubicBezTo>
                      <a:pt x="432" y="194"/>
                      <a:pt x="431" y="194"/>
                      <a:pt x="431" y="194"/>
                    </a:cubicBezTo>
                    <a:cubicBezTo>
                      <a:pt x="431" y="194"/>
                      <a:pt x="431" y="194"/>
                      <a:pt x="430" y="194"/>
                    </a:cubicBezTo>
                    <a:cubicBezTo>
                      <a:pt x="430" y="194"/>
                      <a:pt x="430" y="194"/>
                      <a:pt x="430" y="194"/>
                    </a:cubicBezTo>
                    <a:cubicBezTo>
                      <a:pt x="429" y="194"/>
                      <a:pt x="430" y="195"/>
                      <a:pt x="430" y="195"/>
                    </a:cubicBezTo>
                    <a:cubicBezTo>
                      <a:pt x="430" y="196"/>
                      <a:pt x="430" y="196"/>
                      <a:pt x="429" y="197"/>
                    </a:cubicBezTo>
                    <a:cubicBezTo>
                      <a:pt x="429" y="197"/>
                      <a:pt x="429" y="197"/>
                      <a:pt x="429" y="197"/>
                    </a:cubicBezTo>
                    <a:cubicBezTo>
                      <a:pt x="428" y="198"/>
                      <a:pt x="429" y="199"/>
                      <a:pt x="429" y="200"/>
                    </a:cubicBezTo>
                    <a:cubicBezTo>
                      <a:pt x="428" y="200"/>
                      <a:pt x="428" y="200"/>
                      <a:pt x="428" y="200"/>
                    </a:cubicBezTo>
                    <a:cubicBezTo>
                      <a:pt x="428" y="200"/>
                      <a:pt x="428" y="201"/>
                      <a:pt x="428" y="201"/>
                    </a:cubicBezTo>
                    <a:cubicBezTo>
                      <a:pt x="428" y="201"/>
                      <a:pt x="428" y="202"/>
                      <a:pt x="428" y="202"/>
                    </a:cubicBezTo>
                    <a:cubicBezTo>
                      <a:pt x="428" y="202"/>
                      <a:pt x="429" y="204"/>
                      <a:pt x="429" y="204"/>
                    </a:cubicBezTo>
                    <a:cubicBezTo>
                      <a:pt x="429" y="204"/>
                      <a:pt x="429" y="203"/>
                      <a:pt x="429" y="203"/>
                    </a:cubicBezTo>
                    <a:cubicBezTo>
                      <a:pt x="429" y="203"/>
                      <a:pt x="430" y="203"/>
                      <a:pt x="430" y="203"/>
                    </a:cubicBezTo>
                    <a:cubicBezTo>
                      <a:pt x="430" y="203"/>
                      <a:pt x="431" y="203"/>
                      <a:pt x="431" y="204"/>
                    </a:cubicBezTo>
                    <a:cubicBezTo>
                      <a:pt x="432" y="204"/>
                      <a:pt x="431" y="204"/>
                      <a:pt x="431" y="204"/>
                    </a:cubicBezTo>
                    <a:cubicBezTo>
                      <a:pt x="432" y="205"/>
                      <a:pt x="433" y="205"/>
                      <a:pt x="433" y="205"/>
                    </a:cubicBezTo>
                    <a:cubicBezTo>
                      <a:pt x="434" y="206"/>
                      <a:pt x="435" y="206"/>
                      <a:pt x="435" y="206"/>
                    </a:cubicBezTo>
                    <a:cubicBezTo>
                      <a:pt x="436" y="207"/>
                      <a:pt x="437" y="207"/>
                      <a:pt x="437" y="207"/>
                    </a:cubicBezTo>
                    <a:cubicBezTo>
                      <a:pt x="438" y="207"/>
                      <a:pt x="438" y="207"/>
                      <a:pt x="438" y="207"/>
                    </a:cubicBezTo>
                    <a:cubicBezTo>
                      <a:pt x="439" y="208"/>
                      <a:pt x="440" y="208"/>
                      <a:pt x="440" y="209"/>
                    </a:cubicBezTo>
                    <a:cubicBezTo>
                      <a:pt x="441" y="210"/>
                      <a:pt x="443" y="211"/>
                      <a:pt x="443" y="213"/>
                    </a:cubicBezTo>
                    <a:cubicBezTo>
                      <a:pt x="443" y="214"/>
                      <a:pt x="445" y="214"/>
                      <a:pt x="445" y="215"/>
                    </a:cubicBezTo>
                    <a:cubicBezTo>
                      <a:pt x="445" y="215"/>
                      <a:pt x="445" y="216"/>
                      <a:pt x="446" y="216"/>
                    </a:cubicBezTo>
                    <a:cubicBezTo>
                      <a:pt x="446" y="217"/>
                      <a:pt x="447" y="217"/>
                      <a:pt x="447" y="218"/>
                    </a:cubicBezTo>
                    <a:cubicBezTo>
                      <a:pt x="448" y="219"/>
                      <a:pt x="448" y="219"/>
                      <a:pt x="449" y="220"/>
                    </a:cubicBezTo>
                    <a:cubicBezTo>
                      <a:pt x="449" y="220"/>
                      <a:pt x="449" y="220"/>
                      <a:pt x="449" y="220"/>
                    </a:cubicBezTo>
                    <a:cubicBezTo>
                      <a:pt x="449" y="221"/>
                      <a:pt x="450" y="221"/>
                      <a:pt x="450" y="221"/>
                    </a:cubicBezTo>
                    <a:cubicBezTo>
                      <a:pt x="450" y="221"/>
                      <a:pt x="450" y="222"/>
                      <a:pt x="451" y="222"/>
                    </a:cubicBezTo>
                    <a:cubicBezTo>
                      <a:pt x="451" y="222"/>
                      <a:pt x="451" y="222"/>
                      <a:pt x="451" y="223"/>
                    </a:cubicBezTo>
                    <a:cubicBezTo>
                      <a:pt x="452" y="223"/>
                      <a:pt x="452" y="224"/>
                      <a:pt x="452" y="225"/>
                    </a:cubicBezTo>
                    <a:cubicBezTo>
                      <a:pt x="452" y="225"/>
                      <a:pt x="452" y="225"/>
                      <a:pt x="452" y="225"/>
                    </a:cubicBezTo>
                    <a:cubicBezTo>
                      <a:pt x="452" y="225"/>
                      <a:pt x="452" y="226"/>
                      <a:pt x="452" y="226"/>
                    </a:cubicBezTo>
                    <a:cubicBezTo>
                      <a:pt x="452" y="225"/>
                      <a:pt x="452" y="226"/>
                      <a:pt x="452" y="226"/>
                    </a:cubicBezTo>
                    <a:cubicBezTo>
                      <a:pt x="452" y="227"/>
                      <a:pt x="453" y="227"/>
                      <a:pt x="453" y="227"/>
                    </a:cubicBezTo>
                    <a:cubicBezTo>
                      <a:pt x="454" y="227"/>
                      <a:pt x="455" y="228"/>
                      <a:pt x="456" y="228"/>
                    </a:cubicBezTo>
                    <a:cubicBezTo>
                      <a:pt x="457" y="229"/>
                      <a:pt x="458" y="229"/>
                      <a:pt x="458" y="229"/>
                    </a:cubicBezTo>
                    <a:cubicBezTo>
                      <a:pt x="458" y="230"/>
                      <a:pt x="459" y="231"/>
                      <a:pt x="458" y="231"/>
                    </a:cubicBezTo>
                    <a:cubicBezTo>
                      <a:pt x="459" y="231"/>
                      <a:pt x="459" y="232"/>
                      <a:pt x="460" y="232"/>
                    </a:cubicBezTo>
                    <a:cubicBezTo>
                      <a:pt x="460" y="232"/>
                      <a:pt x="460" y="232"/>
                      <a:pt x="461" y="232"/>
                    </a:cubicBezTo>
                    <a:cubicBezTo>
                      <a:pt x="462" y="233"/>
                      <a:pt x="463" y="233"/>
                      <a:pt x="464" y="234"/>
                    </a:cubicBezTo>
                    <a:cubicBezTo>
                      <a:pt x="464" y="235"/>
                      <a:pt x="466" y="237"/>
                      <a:pt x="465" y="237"/>
                    </a:cubicBezTo>
                    <a:cubicBezTo>
                      <a:pt x="464" y="238"/>
                      <a:pt x="462" y="236"/>
                      <a:pt x="462" y="236"/>
                    </a:cubicBezTo>
                    <a:cubicBezTo>
                      <a:pt x="461" y="236"/>
                      <a:pt x="461" y="235"/>
                      <a:pt x="460" y="235"/>
                    </a:cubicBezTo>
                    <a:cubicBezTo>
                      <a:pt x="459" y="235"/>
                      <a:pt x="459" y="235"/>
                      <a:pt x="458" y="235"/>
                    </a:cubicBezTo>
                    <a:cubicBezTo>
                      <a:pt x="457" y="235"/>
                      <a:pt x="456" y="236"/>
                      <a:pt x="456" y="235"/>
                    </a:cubicBezTo>
                    <a:cubicBezTo>
                      <a:pt x="455" y="234"/>
                      <a:pt x="454" y="233"/>
                      <a:pt x="454" y="233"/>
                    </a:cubicBezTo>
                    <a:cubicBezTo>
                      <a:pt x="453" y="233"/>
                      <a:pt x="452" y="232"/>
                      <a:pt x="451" y="233"/>
                    </a:cubicBezTo>
                    <a:cubicBezTo>
                      <a:pt x="450" y="233"/>
                      <a:pt x="450" y="234"/>
                      <a:pt x="449" y="234"/>
                    </a:cubicBezTo>
                    <a:cubicBezTo>
                      <a:pt x="448" y="235"/>
                      <a:pt x="446" y="233"/>
                      <a:pt x="445" y="232"/>
                    </a:cubicBezTo>
                    <a:cubicBezTo>
                      <a:pt x="445" y="231"/>
                      <a:pt x="445" y="231"/>
                      <a:pt x="444" y="230"/>
                    </a:cubicBezTo>
                    <a:cubicBezTo>
                      <a:pt x="444" y="230"/>
                      <a:pt x="443" y="230"/>
                      <a:pt x="443" y="230"/>
                    </a:cubicBezTo>
                    <a:cubicBezTo>
                      <a:pt x="443" y="230"/>
                      <a:pt x="442" y="230"/>
                      <a:pt x="442" y="230"/>
                    </a:cubicBezTo>
                    <a:cubicBezTo>
                      <a:pt x="442" y="230"/>
                      <a:pt x="443" y="230"/>
                      <a:pt x="443" y="231"/>
                    </a:cubicBezTo>
                    <a:cubicBezTo>
                      <a:pt x="443" y="231"/>
                      <a:pt x="442" y="232"/>
                      <a:pt x="443" y="232"/>
                    </a:cubicBezTo>
                    <a:cubicBezTo>
                      <a:pt x="443" y="231"/>
                      <a:pt x="443" y="231"/>
                      <a:pt x="443" y="231"/>
                    </a:cubicBezTo>
                    <a:cubicBezTo>
                      <a:pt x="443" y="231"/>
                      <a:pt x="444" y="231"/>
                      <a:pt x="444" y="231"/>
                    </a:cubicBezTo>
                    <a:cubicBezTo>
                      <a:pt x="444" y="231"/>
                      <a:pt x="444" y="232"/>
                      <a:pt x="444" y="232"/>
                    </a:cubicBezTo>
                    <a:cubicBezTo>
                      <a:pt x="444" y="232"/>
                      <a:pt x="445" y="232"/>
                      <a:pt x="445" y="233"/>
                    </a:cubicBezTo>
                    <a:cubicBezTo>
                      <a:pt x="446" y="233"/>
                      <a:pt x="445" y="234"/>
                      <a:pt x="446" y="234"/>
                    </a:cubicBezTo>
                    <a:cubicBezTo>
                      <a:pt x="447" y="234"/>
                      <a:pt x="447" y="234"/>
                      <a:pt x="447" y="234"/>
                    </a:cubicBezTo>
                    <a:cubicBezTo>
                      <a:pt x="448" y="235"/>
                      <a:pt x="449" y="235"/>
                      <a:pt x="450" y="234"/>
                    </a:cubicBezTo>
                    <a:cubicBezTo>
                      <a:pt x="451" y="234"/>
                      <a:pt x="451" y="234"/>
                      <a:pt x="451" y="233"/>
                    </a:cubicBezTo>
                    <a:cubicBezTo>
                      <a:pt x="451" y="233"/>
                      <a:pt x="453" y="234"/>
                      <a:pt x="454" y="234"/>
                    </a:cubicBezTo>
                    <a:cubicBezTo>
                      <a:pt x="454" y="234"/>
                      <a:pt x="455" y="236"/>
                      <a:pt x="454" y="235"/>
                    </a:cubicBezTo>
                    <a:cubicBezTo>
                      <a:pt x="454" y="236"/>
                      <a:pt x="456" y="236"/>
                      <a:pt x="457" y="236"/>
                    </a:cubicBezTo>
                    <a:cubicBezTo>
                      <a:pt x="458" y="237"/>
                      <a:pt x="459" y="237"/>
                      <a:pt x="460" y="238"/>
                    </a:cubicBezTo>
                    <a:cubicBezTo>
                      <a:pt x="460" y="239"/>
                      <a:pt x="461" y="239"/>
                      <a:pt x="462" y="240"/>
                    </a:cubicBezTo>
                    <a:cubicBezTo>
                      <a:pt x="463" y="241"/>
                      <a:pt x="465" y="241"/>
                      <a:pt x="466" y="243"/>
                    </a:cubicBezTo>
                    <a:cubicBezTo>
                      <a:pt x="467" y="244"/>
                      <a:pt x="469" y="246"/>
                      <a:pt x="467" y="246"/>
                    </a:cubicBezTo>
                    <a:cubicBezTo>
                      <a:pt x="466" y="246"/>
                      <a:pt x="465" y="246"/>
                      <a:pt x="464" y="247"/>
                    </a:cubicBezTo>
                    <a:cubicBezTo>
                      <a:pt x="464" y="247"/>
                      <a:pt x="464" y="248"/>
                      <a:pt x="463" y="248"/>
                    </a:cubicBezTo>
                    <a:cubicBezTo>
                      <a:pt x="463" y="248"/>
                      <a:pt x="463" y="248"/>
                      <a:pt x="463" y="248"/>
                    </a:cubicBezTo>
                    <a:cubicBezTo>
                      <a:pt x="462" y="249"/>
                      <a:pt x="462" y="249"/>
                      <a:pt x="462" y="249"/>
                    </a:cubicBezTo>
                    <a:cubicBezTo>
                      <a:pt x="461" y="249"/>
                      <a:pt x="461" y="249"/>
                      <a:pt x="461" y="250"/>
                    </a:cubicBezTo>
                    <a:cubicBezTo>
                      <a:pt x="461" y="250"/>
                      <a:pt x="461" y="251"/>
                      <a:pt x="461" y="251"/>
                    </a:cubicBezTo>
                    <a:cubicBezTo>
                      <a:pt x="461" y="252"/>
                      <a:pt x="460" y="252"/>
                      <a:pt x="459" y="252"/>
                    </a:cubicBezTo>
                    <a:cubicBezTo>
                      <a:pt x="458" y="251"/>
                      <a:pt x="458" y="251"/>
                      <a:pt x="457" y="251"/>
                    </a:cubicBezTo>
                    <a:cubicBezTo>
                      <a:pt x="457" y="251"/>
                      <a:pt x="456" y="251"/>
                      <a:pt x="456" y="252"/>
                    </a:cubicBezTo>
                    <a:cubicBezTo>
                      <a:pt x="456" y="252"/>
                      <a:pt x="456" y="252"/>
                      <a:pt x="456" y="252"/>
                    </a:cubicBezTo>
                    <a:cubicBezTo>
                      <a:pt x="456" y="253"/>
                      <a:pt x="455" y="252"/>
                      <a:pt x="455" y="253"/>
                    </a:cubicBezTo>
                    <a:cubicBezTo>
                      <a:pt x="455" y="253"/>
                      <a:pt x="455" y="253"/>
                      <a:pt x="454" y="253"/>
                    </a:cubicBezTo>
                    <a:cubicBezTo>
                      <a:pt x="455" y="253"/>
                      <a:pt x="455" y="253"/>
                      <a:pt x="455" y="253"/>
                    </a:cubicBezTo>
                    <a:cubicBezTo>
                      <a:pt x="455" y="252"/>
                      <a:pt x="456" y="253"/>
                      <a:pt x="456" y="253"/>
                    </a:cubicBezTo>
                    <a:cubicBezTo>
                      <a:pt x="457" y="253"/>
                      <a:pt x="456" y="252"/>
                      <a:pt x="457" y="252"/>
                    </a:cubicBezTo>
                    <a:cubicBezTo>
                      <a:pt x="458" y="251"/>
                      <a:pt x="459" y="253"/>
                      <a:pt x="459" y="253"/>
                    </a:cubicBezTo>
                    <a:cubicBezTo>
                      <a:pt x="459" y="254"/>
                      <a:pt x="459" y="254"/>
                      <a:pt x="459" y="254"/>
                    </a:cubicBezTo>
                    <a:cubicBezTo>
                      <a:pt x="460" y="255"/>
                      <a:pt x="460" y="254"/>
                      <a:pt x="461" y="255"/>
                    </a:cubicBezTo>
                    <a:cubicBezTo>
                      <a:pt x="461" y="254"/>
                      <a:pt x="459" y="255"/>
                      <a:pt x="459" y="254"/>
                    </a:cubicBezTo>
                    <a:cubicBezTo>
                      <a:pt x="459" y="254"/>
                      <a:pt x="461" y="254"/>
                      <a:pt x="461" y="254"/>
                    </a:cubicBezTo>
                    <a:cubicBezTo>
                      <a:pt x="461" y="254"/>
                      <a:pt x="462" y="254"/>
                      <a:pt x="462" y="253"/>
                    </a:cubicBezTo>
                    <a:cubicBezTo>
                      <a:pt x="464" y="252"/>
                      <a:pt x="465" y="252"/>
                      <a:pt x="466" y="253"/>
                    </a:cubicBezTo>
                    <a:cubicBezTo>
                      <a:pt x="467" y="254"/>
                      <a:pt x="467" y="254"/>
                      <a:pt x="468" y="255"/>
                    </a:cubicBezTo>
                    <a:cubicBezTo>
                      <a:pt x="468" y="255"/>
                      <a:pt x="469" y="256"/>
                      <a:pt x="470" y="256"/>
                    </a:cubicBezTo>
                    <a:cubicBezTo>
                      <a:pt x="471" y="256"/>
                      <a:pt x="472" y="257"/>
                      <a:pt x="473" y="257"/>
                    </a:cubicBezTo>
                    <a:cubicBezTo>
                      <a:pt x="473" y="257"/>
                      <a:pt x="474" y="257"/>
                      <a:pt x="473" y="257"/>
                    </a:cubicBezTo>
                    <a:cubicBezTo>
                      <a:pt x="473" y="258"/>
                      <a:pt x="472" y="258"/>
                      <a:pt x="472" y="259"/>
                    </a:cubicBezTo>
                    <a:cubicBezTo>
                      <a:pt x="471" y="259"/>
                      <a:pt x="471" y="260"/>
                      <a:pt x="471" y="260"/>
                    </a:cubicBezTo>
                    <a:cubicBezTo>
                      <a:pt x="470" y="261"/>
                      <a:pt x="470" y="260"/>
                      <a:pt x="469" y="261"/>
                    </a:cubicBezTo>
                    <a:cubicBezTo>
                      <a:pt x="469" y="261"/>
                      <a:pt x="469" y="260"/>
                      <a:pt x="469" y="261"/>
                    </a:cubicBezTo>
                    <a:cubicBezTo>
                      <a:pt x="469" y="261"/>
                      <a:pt x="469" y="262"/>
                      <a:pt x="469" y="262"/>
                    </a:cubicBezTo>
                    <a:cubicBezTo>
                      <a:pt x="469" y="262"/>
                      <a:pt x="469" y="261"/>
                      <a:pt x="469" y="261"/>
                    </a:cubicBezTo>
                    <a:cubicBezTo>
                      <a:pt x="469" y="261"/>
                      <a:pt x="469" y="262"/>
                      <a:pt x="469" y="262"/>
                    </a:cubicBezTo>
                    <a:cubicBezTo>
                      <a:pt x="470" y="262"/>
                      <a:pt x="470" y="261"/>
                      <a:pt x="470" y="261"/>
                    </a:cubicBezTo>
                    <a:cubicBezTo>
                      <a:pt x="470" y="261"/>
                      <a:pt x="471" y="261"/>
                      <a:pt x="471" y="261"/>
                    </a:cubicBezTo>
                    <a:cubicBezTo>
                      <a:pt x="471" y="261"/>
                      <a:pt x="471" y="261"/>
                      <a:pt x="471" y="261"/>
                    </a:cubicBezTo>
                    <a:cubicBezTo>
                      <a:pt x="472" y="261"/>
                      <a:pt x="471" y="262"/>
                      <a:pt x="472" y="261"/>
                    </a:cubicBezTo>
                    <a:cubicBezTo>
                      <a:pt x="472" y="261"/>
                      <a:pt x="472" y="261"/>
                      <a:pt x="472" y="261"/>
                    </a:cubicBezTo>
                    <a:cubicBezTo>
                      <a:pt x="472" y="261"/>
                      <a:pt x="471" y="261"/>
                      <a:pt x="471" y="260"/>
                    </a:cubicBezTo>
                    <a:cubicBezTo>
                      <a:pt x="472" y="260"/>
                      <a:pt x="472" y="260"/>
                      <a:pt x="473" y="260"/>
                    </a:cubicBezTo>
                    <a:cubicBezTo>
                      <a:pt x="474" y="260"/>
                      <a:pt x="473" y="260"/>
                      <a:pt x="473" y="261"/>
                    </a:cubicBezTo>
                    <a:cubicBezTo>
                      <a:pt x="473" y="261"/>
                      <a:pt x="474" y="261"/>
                      <a:pt x="474" y="262"/>
                    </a:cubicBezTo>
                    <a:cubicBezTo>
                      <a:pt x="473" y="262"/>
                      <a:pt x="473" y="262"/>
                      <a:pt x="473" y="262"/>
                    </a:cubicBezTo>
                    <a:cubicBezTo>
                      <a:pt x="473" y="263"/>
                      <a:pt x="474" y="263"/>
                      <a:pt x="474" y="263"/>
                    </a:cubicBezTo>
                    <a:cubicBezTo>
                      <a:pt x="474" y="263"/>
                      <a:pt x="474" y="264"/>
                      <a:pt x="474" y="264"/>
                    </a:cubicBezTo>
                    <a:cubicBezTo>
                      <a:pt x="475" y="263"/>
                      <a:pt x="474" y="264"/>
                      <a:pt x="474" y="264"/>
                    </a:cubicBezTo>
                    <a:cubicBezTo>
                      <a:pt x="473" y="266"/>
                      <a:pt x="473" y="264"/>
                      <a:pt x="473" y="263"/>
                    </a:cubicBezTo>
                    <a:cubicBezTo>
                      <a:pt x="473" y="263"/>
                      <a:pt x="473" y="263"/>
                      <a:pt x="473" y="263"/>
                    </a:cubicBezTo>
                    <a:cubicBezTo>
                      <a:pt x="473" y="263"/>
                      <a:pt x="473" y="263"/>
                      <a:pt x="473" y="263"/>
                    </a:cubicBezTo>
                    <a:cubicBezTo>
                      <a:pt x="473" y="263"/>
                      <a:pt x="472" y="262"/>
                      <a:pt x="472" y="262"/>
                    </a:cubicBezTo>
                    <a:cubicBezTo>
                      <a:pt x="472" y="263"/>
                      <a:pt x="473" y="264"/>
                      <a:pt x="472" y="264"/>
                    </a:cubicBezTo>
                    <a:cubicBezTo>
                      <a:pt x="471" y="265"/>
                      <a:pt x="472" y="263"/>
                      <a:pt x="471" y="263"/>
                    </a:cubicBezTo>
                    <a:cubicBezTo>
                      <a:pt x="471" y="263"/>
                      <a:pt x="471" y="264"/>
                      <a:pt x="471" y="264"/>
                    </a:cubicBezTo>
                    <a:cubicBezTo>
                      <a:pt x="471" y="264"/>
                      <a:pt x="471" y="263"/>
                      <a:pt x="470" y="263"/>
                    </a:cubicBezTo>
                    <a:cubicBezTo>
                      <a:pt x="471" y="264"/>
                      <a:pt x="470" y="264"/>
                      <a:pt x="470" y="264"/>
                    </a:cubicBezTo>
                    <a:cubicBezTo>
                      <a:pt x="471" y="264"/>
                      <a:pt x="469" y="265"/>
                      <a:pt x="470" y="265"/>
                    </a:cubicBezTo>
                    <a:cubicBezTo>
                      <a:pt x="470" y="265"/>
                      <a:pt x="470" y="265"/>
                      <a:pt x="470" y="265"/>
                    </a:cubicBezTo>
                    <a:cubicBezTo>
                      <a:pt x="470" y="265"/>
                      <a:pt x="471" y="265"/>
                      <a:pt x="472" y="265"/>
                    </a:cubicBezTo>
                    <a:cubicBezTo>
                      <a:pt x="472" y="266"/>
                      <a:pt x="471" y="266"/>
                      <a:pt x="471" y="266"/>
                    </a:cubicBezTo>
                    <a:cubicBezTo>
                      <a:pt x="471" y="266"/>
                      <a:pt x="471" y="266"/>
                      <a:pt x="471" y="266"/>
                    </a:cubicBezTo>
                    <a:cubicBezTo>
                      <a:pt x="471" y="266"/>
                      <a:pt x="471" y="266"/>
                      <a:pt x="471" y="266"/>
                    </a:cubicBezTo>
                    <a:cubicBezTo>
                      <a:pt x="472" y="266"/>
                      <a:pt x="472" y="266"/>
                      <a:pt x="472" y="266"/>
                    </a:cubicBezTo>
                    <a:cubicBezTo>
                      <a:pt x="472" y="267"/>
                      <a:pt x="473" y="267"/>
                      <a:pt x="473" y="267"/>
                    </a:cubicBezTo>
                    <a:cubicBezTo>
                      <a:pt x="473" y="268"/>
                      <a:pt x="472" y="267"/>
                      <a:pt x="472" y="267"/>
                    </a:cubicBezTo>
                    <a:cubicBezTo>
                      <a:pt x="472" y="268"/>
                      <a:pt x="471" y="267"/>
                      <a:pt x="471" y="267"/>
                    </a:cubicBezTo>
                    <a:cubicBezTo>
                      <a:pt x="471" y="267"/>
                      <a:pt x="471" y="267"/>
                      <a:pt x="471" y="268"/>
                    </a:cubicBezTo>
                    <a:cubicBezTo>
                      <a:pt x="472" y="268"/>
                      <a:pt x="472" y="268"/>
                      <a:pt x="472" y="268"/>
                    </a:cubicBezTo>
                    <a:cubicBezTo>
                      <a:pt x="472" y="268"/>
                      <a:pt x="473" y="268"/>
                      <a:pt x="473" y="269"/>
                    </a:cubicBezTo>
                    <a:cubicBezTo>
                      <a:pt x="473" y="269"/>
                      <a:pt x="473" y="270"/>
                      <a:pt x="471" y="270"/>
                    </a:cubicBezTo>
                    <a:cubicBezTo>
                      <a:pt x="471" y="270"/>
                      <a:pt x="470" y="270"/>
                      <a:pt x="470" y="270"/>
                    </a:cubicBezTo>
                    <a:cubicBezTo>
                      <a:pt x="470" y="269"/>
                      <a:pt x="470" y="269"/>
                      <a:pt x="469" y="269"/>
                    </a:cubicBezTo>
                    <a:cubicBezTo>
                      <a:pt x="470" y="269"/>
                      <a:pt x="469" y="270"/>
                      <a:pt x="470" y="270"/>
                    </a:cubicBezTo>
                    <a:cubicBezTo>
                      <a:pt x="470" y="270"/>
                      <a:pt x="470" y="270"/>
                      <a:pt x="471" y="270"/>
                    </a:cubicBezTo>
                    <a:cubicBezTo>
                      <a:pt x="471" y="270"/>
                      <a:pt x="472" y="270"/>
                      <a:pt x="472" y="271"/>
                    </a:cubicBezTo>
                    <a:cubicBezTo>
                      <a:pt x="472" y="271"/>
                      <a:pt x="473" y="272"/>
                      <a:pt x="473" y="272"/>
                    </a:cubicBezTo>
                    <a:cubicBezTo>
                      <a:pt x="473" y="272"/>
                      <a:pt x="475" y="275"/>
                      <a:pt x="474" y="275"/>
                    </a:cubicBezTo>
                    <a:cubicBezTo>
                      <a:pt x="474" y="275"/>
                      <a:pt x="473" y="274"/>
                      <a:pt x="473" y="274"/>
                    </a:cubicBezTo>
                    <a:cubicBezTo>
                      <a:pt x="473" y="274"/>
                      <a:pt x="472" y="274"/>
                      <a:pt x="472" y="274"/>
                    </a:cubicBezTo>
                    <a:cubicBezTo>
                      <a:pt x="472" y="274"/>
                      <a:pt x="473" y="275"/>
                      <a:pt x="472" y="275"/>
                    </a:cubicBezTo>
                    <a:cubicBezTo>
                      <a:pt x="472" y="275"/>
                      <a:pt x="472" y="275"/>
                      <a:pt x="472" y="276"/>
                    </a:cubicBezTo>
                    <a:cubicBezTo>
                      <a:pt x="472" y="276"/>
                      <a:pt x="472" y="276"/>
                      <a:pt x="472" y="276"/>
                    </a:cubicBezTo>
                    <a:cubicBezTo>
                      <a:pt x="471" y="276"/>
                      <a:pt x="471" y="275"/>
                      <a:pt x="471" y="275"/>
                    </a:cubicBezTo>
                    <a:cubicBezTo>
                      <a:pt x="471" y="275"/>
                      <a:pt x="470" y="274"/>
                      <a:pt x="470" y="274"/>
                    </a:cubicBezTo>
                    <a:cubicBezTo>
                      <a:pt x="470" y="274"/>
                      <a:pt x="470" y="273"/>
                      <a:pt x="470" y="274"/>
                    </a:cubicBezTo>
                    <a:cubicBezTo>
                      <a:pt x="469" y="274"/>
                      <a:pt x="469" y="275"/>
                      <a:pt x="469" y="274"/>
                    </a:cubicBezTo>
                    <a:cubicBezTo>
                      <a:pt x="469" y="274"/>
                      <a:pt x="468" y="274"/>
                      <a:pt x="469" y="274"/>
                    </a:cubicBezTo>
                    <a:cubicBezTo>
                      <a:pt x="469" y="275"/>
                      <a:pt x="469" y="275"/>
                      <a:pt x="469" y="275"/>
                    </a:cubicBezTo>
                    <a:cubicBezTo>
                      <a:pt x="470" y="275"/>
                      <a:pt x="470" y="275"/>
                      <a:pt x="469" y="275"/>
                    </a:cubicBezTo>
                    <a:cubicBezTo>
                      <a:pt x="469" y="276"/>
                      <a:pt x="469" y="276"/>
                      <a:pt x="469" y="277"/>
                    </a:cubicBezTo>
                    <a:cubicBezTo>
                      <a:pt x="469" y="278"/>
                      <a:pt x="468" y="278"/>
                      <a:pt x="468" y="278"/>
                    </a:cubicBezTo>
                    <a:cubicBezTo>
                      <a:pt x="467" y="278"/>
                      <a:pt x="467" y="277"/>
                      <a:pt x="466" y="277"/>
                    </a:cubicBezTo>
                    <a:cubicBezTo>
                      <a:pt x="466" y="277"/>
                      <a:pt x="466" y="277"/>
                      <a:pt x="465" y="277"/>
                    </a:cubicBezTo>
                    <a:cubicBezTo>
                      <a:pt x="465" y="277"/>
                      <a:pt x="465" y="276"/>
                      <a:pt x="465" y="276"/>
                    </a:cubicBezTo>
                    <a:cubicBezTo>
                      <a:pt x="465" y="277"/>
                      <a:pt x="465" y="277"/>
                      <a:pt x="465" y="277"/>
                    </a:cubicBezTo>
                    <a:cubicBezTo>
                      <a:pt x="466" y="277"/>
                      <a:pt x="466" y="277"/>
                      <a:pt x="466" y="277"/>
                    </a:cubicBezTo>
                    <a:cubicBezTo>
                      <a:pt x="467" y="278"/>
                      <a:pt x="468" y="278"/>
                      <a:pt x="468" y="278"/>
                    </a:cubicBezTo>
                    <a:cubicBezTo>
                      <a:pt x="468" y="279"/>
                      <a:pt x="468" y="280"/>
                      <a:pt x="467" y="280"/>
                    </a:cubicBezTo>
                    <a:cubicBezTo>
                      <a:pt x="467" y="281"/>
                      <a:pt x="467" y="280"/>
                      <a:pt x="466" y="280"/>
                    </a:cubicBezTo>
                    <a:cubicBezTo>
                      <a:pt x="467" y="281"/>
                      <a:pt x="467" y="282"/>
                      <a:pt x="466" y="282"/>
                    </a:cubicBezTo>
                    <a:cubicBezTo>
                      <a:pt x="466" y="282"/>
                      <a:pt x="467" y="283"/>
                      <a:pt x="467" y="283"/>
                    </a:cubicBezTo>
                    <a:cubicBezTo>
                      <a:pt x="468" y="283"/>
                      <a:pt x="467" y="284"/>
                      <a:pt x="467" y="284"/>
                    </a:cubicBezTo>
                    <a:cubicBezTo>
                      <a:pt x="468" y="285"/>
                      <a:pt x="467" y="284"/>
                      <a:pt x="467" y="284"/>
                    </a:cubicBezTo>
                    <a:cubicBezTo>
                      <a:pt x="466" y="284"/>
                      <a:pt x="467" y="285"/>
                      <a:pt x="466" y="285"/>
                    </a:cubicBezTo>
                    <a:cubicBezTo>
                      <a:pt x="467" y="285"/>
                      <a:pt x="467" y="286"/>
                      <a:pt x="467" y="286"/>
                    </a:cubicBezTo>
                    <a:cubicBezTo>
                      <a:pt x="467" y="287"/>
                      <a:pt x="466" y="286"/>
                      <a:pt x="466" y="286"/>
                    </a:cubicBezTo>
                    <a:cubicBezTo>
                      <a:pt x="466" y="286"/>
                      <a:pt x="466" y="286"/>
                      <a:pt x="466" y="287"/>
                    </a:cubicBezTo>
                    <a:cubicBezTo>
                      <a:pt x="466" y="286"/>
                      <a:pt x="466" y="286"/>
                      <a:pt x="465" y="286"/>
                    </a:cubicBezTo>
                    <a:cubicBezTo>
                      <a:pt x="465" y="286"/>
                      <a:pt x="465" y="286"/>
                      <a:pt x="465" y="286"/>
                    </a:cubicBezTo>
                    <a:cubicBezTo>
                      <a:pt x="464" y="286"/>
                      <a:pt x="465" y="285"/>
                      <a:pt x="465" y="285"/>
                    </a:cubicBezTo>
                    <a:cubicBezTo>
                      <a:pt x="464" y="285"/>
                      <a:pt x="464" y="285"/>
                      <a:pt x="464" y="285"/>
                    </a:cubicBezTo>
                    <a:cubicBezTo>
                      <a:pt x="464" y="286"/>
                      <a:pt x="464" y="286"/>
                      <a:pt x="464" y="285"/>
                    </a:cubicBezTo>
                    <a:cubicBezTo>
                      <a:pt x="464" y="286"/>
                      <a:pt x="464" y="286"/>
                      <a:pt x="464" y="286"/>
                    </a:cubicBezTo>
                    <a:cubicBezTo>
                      <a:pt x="464" y="286"/>
                      <a:pt x="464" y="286"/>
                      <a:pt x="465" y="286"/>
                    </a:cubicBezTo>
                    <a:cubicBezTo>
                      <a:pt x="465" y="286"/>
                      <a:pt x="465" y="286"/>
                      <a:pt x="465" y="286"/>
                    </a:cubicBezTo>
                    <a:cubicBezTo>
                      <a:pt x="465" y="286"/>
                      <a:pt x="465" y="287"/>
                      <a:pt x="465" y="287"/>
                    </a:cubicBezTo>
                    <a:cubicBezTo>
                      <a:pt x="466" y="287"/>
                      <a:pt x="467" y="287"/>
                      <a:pt x="466" y="287"/>
                    </a:cubicBezTo>
                    <a:cubicBezTo>
                      <a:pt x="466" y="287"/>
                      <a:pt x="466" y="287"/>
                      <a:pt x="466" y="287"/>
                    </a:cubicBezTo>
                    <a:cubicBezTo>
                      <a:pt x="466" y="287"/>
                      <a:pt x="466" y="287"/>
                      <a:pt x="466" y="287"/>
                    </a:cubicBezTo>
                    <a:cubicBezTo>
                      <a:pt x="465" y="288"/>
                      <a:pt x="465" y="287"/>
                      <a:pt x="465" y="287"/>
                    </a:cubicBezTo>
                    <a:cubicBezTo>
                      <a:pt x="465" y="287"/>
                      <a:pt x="465" y="288"/>
                      <a:pt x="465" y="288"/>
                    </a:cubicBezTo>
                    <a:cubicBezTo>
                      <a:pt x="465" y="288"/>
                      <a:pt x="465" y="288"/>
                      <a:pt x="464" y="288"/>
                    </a:cubicBezTo>
                    <a:cubicBezTo>
                      <a:pt x="465" y="288"/>
                      <a:pt x="465" y="288"/>
                      <a:pt x="465" y="288"/>
                    </a:cubicBezTo>
                    <a:cubicBezTo>
                      <a:pt x="465" y="289"/>
                      <a:pt x="464" y="289"/>
                      <a:pt x="464" y="289"/>
                    </a:cubicBezTo>
                    <a:cubicBezTo>
                      <a:pt x="464" y="289"/>
                      <a:pt x="465" y="289"/>
                      <a:pt x="465" y="289"/>
                    </a:cubicBezTo>
                    <a:cubicBezTo>
                      <a:pt x="465" y="289"/>
                      <a:pt x="465" y="289"/>
                      <a:pt x="464" y="289"/>
                    </a:cubicBezTo>
                    <a:cubicBezTo>
                      <a:pt x="464" y="289"/>
                      <a:pt x="464" y="289"/>
                      <a:pt x="464" y="290"/>
                    </a:cubicBezTo>
                    <a:cubicBezTo>
                      <a:pt x="464" y="290"/>
                      <a:pt x="463" y="290"/>
                      <a:pt x="463" y="290"/>
                    </a:cubicBezTo>
                    <a:cubicBezTo>
                      <a:pt x="463" y="290"/>
                      <a:pt x="463" y="290"/>
                      <a:pt x="463" y="290"/>
                    </a:cubicBezTo>
                    <a:cubicBezTo>
                      <a:pt x="463" y="291"/>
                      <a:pt x="464" y="291"/>
                      <a:pt x="464" y="291"/>
                    </a:cubicBezTo>
                    <a:cubicBezTo>
                      <a:pt x="464" y="291"/>
                      <a:pt x="464" y="291"/>
                      <a:pt x="464" y="291"/>
                    </a:cubicBezTo>
                    <a:cubicBezTo>
                      <a:pt x="464" y="292"/>
                      <a:pt x="465" y="291"/>
                      <a:pt x="465" y="292"/>
                    </a:cubicBezTo>
                    <a:cubicBezTo>
                      <a:pt x="465" y="292"/>
                      <a:pt x="464" y="292"/>
                      <a:pt x="465" y="292"/>
                    </a:cubicBezTo>
                    <a:cubicBezTo>
                      <a:pt x="464" y="293"/>
                      <a:pt x="464" y="292"/>
                      <a:pt x="464" y="293"/>
                    </a:cubicBezTo>
                    <a:cubicBezTo>
                      <a:pt x="464" y="293"/>
                      <a:pt x="463" y="293"/>
                      <a:pt x="463" y="293"/>
                    </a:cubicBezTo>
                    <a:cubicBezTo>
                      <a:pt x="463" y="293"/>
                      <a:pt x="462" y="295"/>
                      <a:pt x="462" y="293"/>
                    </a:cubicBezTo>
                    <a:cubicBezTo>
                      <a:pt x="462" y="293"/>
                      <a:pt x="463" y="293"/>
                      <a:pt x="463" y="292"/>
                    </a:cubicBezTo>
                    <a:cubicBezTo>
                      <a:pt x="463" y="292"/>
                      <a:pt x="464" y="291"/>
                      <a:pt x="464" y="291"/>
                    </a:cubicBezTo>
                    <a:cubicBezTo>
                      <a:pt x="463" y="291"/>
                      <a:pt x="463" y="291"/>
                      <a:pt x="463" y="291"/>
                    </a:cubicBezTo>
                    <a:cubicBezTo>
                      <a:pt x="462" y="291"/>
                      <a:pt x="463" y="292"/>
                      <a:pt x="462" y="292"/>
                    </a:cubicBezTo>
                    <a:cubicBezTo>
                      <a:pt x="462" y="292"/>
                      <a:pt x="461" y="292"/>
                      <a:pt x="461" y="292"/>
                    </a:cubicBezTo>
                    <a:cubicBezTo>
                      <a:pt x="461" y="291"/>
                      <a:pt x="461" y="291"/>
                      <a:pt x="461" y="291"/>
                    </a:cubicBezTo>
                    <a:cubicBezTo>
                      <a:pt x="461" y="291"/>
                      <a:pt x="461" y="291"/>
                      <a:pt x="461" y="291"/>
                    </a:cubicBezTo>
                    <a:cubicBezTo>
                      <a:pt x="461" y="291"/>
                      <a:pt x="461" y="290"/>
                      <a:pt x="461" y="290"/>
                    </a:cubicBezTo>
                    <a:cubicBezTo>
                      <a:pt x="461" y="290"/>
                      <a:pt x="461" y="291"/>
                      <a:pt x="461" y="291"/>
                    </a:cubicBezTo>
                    <a:cubicBezTo>
                      <a:pt x="461" y="291"/>
                      <a:pt x="460" y="291"/>
                      <a:pt x="460" y="291"/>
                    </a:cubicBezTo>
                    <a:cubicBezTo>
                      <a:pt x="460" y="291"/>
                      <a:pt x="461" y="291"/>
                      <a:pt x="460" y="292"/>
                    </a:cubicBezTo>
                    <a:cubicBezTo>
                      <a:pt x="460" y="292"/>
                      <a:pt x="459" y="291"/>
                      <a:pt x="459" y="291"/>
                    </a:cubicBezTo>
                    <a:cubicBezTo>
                      <a:pt x="459" y="291"/>
                      <a:pt x="459" y="291"/>
                      <a:pt x="459" y="291"/>
                    </a:cubicBezTo>
                    <a:cubicBezTo>
                      <a:pt x="459" y="291"/>
                      <a:pt x="459" y="291"/>
                      <a:pt x="459" y="292"/>
                    </a:cubicBezTo>
                    <a:cubicBezTo>
                      <a:pt x="459" y="292"/>
                      <a:pt x="459" y="291"/>
                      <a:pt x="460" y="292"/>
                    </a:cubicBezTo>
                    <a:cubicBezTo>
                      <a:pt x="460" y="292"/>
                      <a:pt x="459" y="293"/>
                      <a:pt x="460" y="293"/>
                    </a:cubicBezTo>
                    <a:cubicBezTo>
                      <a:pt x="460" y="293"/>
                      <a:pt x="460" y="293"/>
                      <a:pt x="461" y="293"/>
                    </a:cubicBezTo>
                    <a:cubicBezTo>
                      <a:pt x="461" y="293"/>
                      <a:pt x="462" y="293"/>
                      <a:pt x="461" y="293"/>
                    </a:cubicBezTo>
                    <a:cubicBezTo>
                      <a:pt x="462" y="294"/>
                      <a:pt x="462" y="294"/>
                      <a:pt x="462" y="295"/>
                    </a:cubicBezTo>
                    <a:cubicBezTo>
                      <a:pt x="462" y="295"/>
                      <a:pt x="461" y="294"/>
                      <a:pt x="460" y="294"/>
                    </a:cubicBezTo>
                    <a:cubicBezTo>
                      <a:pt x="461" y="294"/>
                      <a:pt x="460" y="294"/>
                      <a:pt x="460" y="294"/>
                    </a:cubicBezTo>
                    <a:cubicBezTo>
                      <a:pt x="460" y="295"/>
                      <a:pt x="461" y="295"/>
                      <a:pt x="461" y="295"/>
                    </a:cubicBezTo>
                    <a:cubicBezTo>
                      <a:pt x="461" y="295"/>
                      <a:pt x="461" y="296"/>
                      <a:pt x="462" y="296"/>
                    </a:cubicBezTo>
                    <a:cubicBezTo>
                      <a:pt x="462" y="296"/>
                      <a:pt x="462" y="295"/>
                      <a:pt x="462" y="295"/>
                    </a:cubicBezTo>
                    <a:cubicBezTo>
                      <a:pt x="463" y="295"/>
                      <a:pt x="463" y="295"/>
                      <a:pt x="463" y="296"/>
                    </a:cubicBezTo>
                    <a:cubicBezTo>
                      <a:pt x="463" y="296"/>
                      <a:pt x="464" y="296"/>
                      <a:pt x="464" y="296"/>
                    </a:cubicBezTo>
                    <a:cubicBezTo>
                      <a:pt x="464" y="296"/>
                      <a:pt x="463" y="296"/>
                      <a:pt x="463" y="296"/>
                    </a:cubicBezTo>
                    <a:cubicBezTo>
                      <a:pt x="463" y="296"/>
                      <a:pt x="462" y="296"/>
                      <a:pt x="462" y="296"/>
                    </a:cubicBezTo>
                    <a:cubicBezTo>
                      <a:pt x="462" y="296"/>
                      <a:pt x="461" y="296"/>
                      <a:pt x="461" y="297"/>
                    </a:cubicBezTo>
                    <a:cubicBezTo>
                      <a:pt x="461" y="297"/>
                      <a:pt x="461" y="298"/>
                      <a:pt x="461" y="298"/>
                    </a:cubicBezTo>
                    <a:cubicBezTo>
                      <a:pt x="460" y="299"/>
                      <a:pt x="460" y="300"/>
                      <a:pt x="459" y="299"/>
                    </a:cubicBezTo>
                    <a:cubicBezTo>
                      <a:pt x="459" y="299"/>
                      <a:pt x="458" y="299"/>
                      <a:pt x="457" y="299"/>
                    </a:cubicBezTo>
                    <a:cubicBezTo>
                      <a:pt x="457" y="298"/>
                      <a:pt x="457" y="298"/>
                      <a:pt x="456" y="298"/>
                    </a:cubicBezTo>
                    <a:cubicBezTo>
                      <a:pt x="457" y="298"/>
                      <a:pt x="457" y="298"/>
                      <a:pt x="458" y="299"/>
                    </a:cubicBezTo>
                    <a:cubicBezTo>
                      <a:pt x="458" y="299"/>
                      <a:pt x="458" y="300"/>
                      <a:pt x="458" y="300"/>
                    </a:cubicBezTo>
                    <a:cubicBezTo>
                      <a:pt x="459" y="300"/>
                      <a:pt x="460" y="300"/>
                      <a:pt x="460" y="299"/>
                    </a:cubicBezTo>
                    <a:cubicBezTo>
                      <a:pt x="461" y="299"/>
                      <a:pt x="462" y="299"/>
                      <a:pt x="462" y="299"/>
                    </a:cubicBezTo>
                    <a:cubicBezTo>
                      <a:pt x="463" y="300"/>
                      <a:pt x="462" y="301"/>
                      <a:pt x="461" y="301"/>
                    </a:cubicBezTo>
                    <a:cubicBezTo>
                      <a:pt x="462" y="301"/>
                      <a:pt x="462" y="302"/>
                      <a:pt x="462" y="303"/>
                    </a:cubicBezTo>
                    <a:cubicBezTo>
                      <a:pt x="462" y="303"/>
                      <a:pt x="461" y="303"/>
                      <a:pt x="461" y="303"/>
                    </a:cubicBezTo>
                    <a:cubicBezTo>
                      <a:pt x="460" y="303"/>
                      <a:pt x="461" y="304"/>
                      <a:pt x="461" y="304"/>
                    </a:cubicBezTo>
                    <a:cubicBezTo>
                      <a:pt x="461" y="304"/>
                      <a:pt x="461" y="304"/>
                      <a:pt x="462" y="304"/>
                    </a:cubicBezTo>
                    <a:cubicBezTo>
                      <a:pt x="462" y="305"/>
                      <a:pt x="462" y="305"/>
                      <a:pt x="462" y="305"/>
                    </a:cubicBezTo>
                    <a:cubicBezTo>
                      <a:pt x="462" y="305"/>
                      <a:pt x="463" y="306"/>
                      <a:pt x="463" y="306"/>
                    </a:cubicBezTo>
                    <a:cubicBezTo>
                      <a:pt x="463" y="306"/>
                      <a:pt x="463" y="307"/>
                      <a:pt x="463" y="307"/>
                    </a:cubicBezTo>
                    <a:cubicBezTo>
                      <a:pt x="463" y="307"/>
                      <a:pt x="463" y="306"/>
                      <a:pt x="463" y="306"/>
                    </a:cubicBezTo>
                    <a:cubicBezTo>
                      <a:pt x="463" y="306"/>
                      <a:pt x="463" y="306"/>
                      <a:pt x="462" y="305"/>
                    </a:cubicBezTo>
                    <a:cubicBezTo>
                      <a:pt x="462" y="305"/>
                      <a:pt x="462" y="306"/>
                      <a:pt x="462" y="306"/>
                    </a:cubicBezTo>
                    <a:cubicBezTo>
                      <a:pt x="462" y="306"/>
                      <a:pt x="463" y="306"/>
                      <a:pt x="462" y="306"/>
                    </a:cubicBezTo>
                    <a:cubicBezTo>
                      <a:pt x="462" y="306"/>
                      <a:pt x="462" y="307"/>
                      <a:pt x="462" y="306"/>
                    </a:cubicBezTo>
                    <a:cubicBezTo>
                      <a:pt x="462" y="306"/>
                      <a:pt x="462" y="305"/>
                      <a:pt x="461" y="306"/>
                    </a:cubicBezTo>
                    <a:cubicBezTo>
                      <a:pt x="461" y="305"/>
                      <a:pt x="461" y="305"/>
                      <a:pt x="461" y="305"/>
                    </a:cubicBezTo>
                    <a:cubicBezTo>
                      <a:pt x="461" y="305"/>
                      <a:pt x="460" y="305"/>
                      <a:pt x="460" y="305"/>
                    </a:cubicBezTo>
                    <a:cubicBezTo>
                      <a:pt x="460" y="304"/>
                      <a:pt x="460" y="304"/>
                      <a:pt x="460" y="304"/>
                    </a:cubicBezTo>
                    <a:cubicBezTo>
                      <a:pt x="460" y="304"/>
                      <a:pt x="460" y="304"/>
                      <a:pt x="460" y="304"/>
                    </a:cubicBezTo>
                    <a:cubicBezTo>
                      <a:pt x="460" y="305"/>
                      <a:pt x="459" y="305"/>
                      <a:pt x="459" y="305"/>
                    </a:cubicBezTo>
                    <a:cubicBezTo>
                      <a:pt x="458" y="306"/>
                      <a:pt x="459" y="306"/>
                      <a:pt x="459" y="307"/>
                    </a:cubicBezTo>
                    <a:cubicBezTo>
                      <a:pt x="459" y="307"/>
                      <a:pt x="459" y="307"/>
                      <a:pt x="459" y="307"/>
                    </a:cubicBezTo>
                    <a:cubicBezTo>
                      <a:pt x="459" y="307"/>
                      <a:pt x="459" y="308"/>
                      <a:pt x="460" y="307"/>
                    </a:cubicBezTo>
                    <a:cubicBezTo>
                      <a:pt x="460" y="307"/>
                      <a:pt x="461" y="308"/>
                      <a:pt x="461" y="308"/>
                    </a:cubicBezTo>
                    <a:cubicBezTo>
                      <a:pt x="461" y="308"/>
                      <a:pt x="460" y="308"/>
                      <a:pt x="460" y="308"/>
                    </a:cubicBezTo>
                    <a:cubicBezTo>
                      <a:pt x="460" y="309"/>
                      <a:pt x="460" y="309"/>
                      <a:pt x="460" y="309"/>
                    </a:cubicBezTo>
                    <a:cubicBezTo>
                      <a:pt x="460" y="308"/>
                      <a:pt x="459" y="309"/>
                      <a:pt x="459" y="308"/>
                    </a:cubicBezTo>
                    <a:cubicBezTo>
                      <a:pt x="459" y="308"/>
                      <a:pt x="459" y="308"/>
                      <a:pt x="459" y="308"/>
                    </a:cubicBezTo>
                    <a:cubicBezTo>
                      <a:pt x="458" y="308"/>
                      <a:pt x="459" y="309"/>
                      <a:pt x="459" y="309"/>
                    </a:cubicBezTo>
                    <a:cubicBezTo>
                      <a:pt x="459" y="309"/>
                      <a:pt x="458" y="309"/>
                      <a:pt x="459" y="309"/>
                    </a:cubicBezTo>
                    <a:cubicBezTo>
                      <a:pt x="458" y="309"/>
                      <a:pt x="458" y="309"/>
                      <a:pt x="458" y="309"/>
                    </a:cubicBezTo>
                    <a:cubicBezTo>
                      <a:pt x="458" y="309"/>
                      <a:pt x="458" y="309"/>
                      <a:pt x="458" y="309"/>
                    </a:cubicBezTo>
                    <a:cubicBezTo>
                      <a:pt x="458" y="309"/>
                      <a:pt x="459" y="308"/>
                      <a:pt x="458" y="308"/>
                    </a:cubicBezTo>
                    <a:cubicBezTo>
                      <a:pt x="457" y="308"/>
                      <a:pt x="458" y="307"/>
                      <a:pt x="458" y="308"/>
                    </a:cubicBezTo>
                    <a:cubicBezTo>
                      <a:pt x="458" y="307"/>
                      <a:pt x="457" y="308"/>
                      <a:pt x="456" y="308"/>
                    </a:cubicBezTo>
                    <a:cubicBezTo>
                      <a:pt x="456" y="308"/>
                      <a:pt x="457" y="308"/>
                      <a:pt x="457" y="309"/>
                    </a:cubicBezTo>
                    <a:cubicBezTo>
                      <a:pt x="457" y="309"/>
                      <a:pt x="457" y="308"/>
                      <a:pt x="457" y="309"/>
                    </a:cubicBezTo>
                    <a:cubicBezTo>
                      <a:pt x="457" y="309"/>
                      <a:pt x="457" y="309"/>
                      <a:pt x="457" y="309"/>
                    </a:cubicBezTo>
                    <a:cubicBezTo>
                      <a:pt x="457" y="309"/>
                      <a:pt x="456" y="309"/>
                      <a:pt x="457" y="310"/>
                    </a:cubicBezTo>
                    <a:cubicBezTo>
                      <a:pt x="457" y="310"/>
                      <a:pt x="457" y="310"/>
                      <a:pt x="458" y="310"/>
                    </a:cubicBezTo>
                    <a:cubicBezTo>
                      <a:pt x="458" y="311"/>
                      <a:pt x="458" y="310"/>
                      <a:pt x="458" y="310"/>
                    </a:cubicBezTo>
                    <a:cubicBezTo>
                      <a:pt x="458" y="310"/>
                      <a:pt x="458" y="311"/>
                      <a:pt x="458" y="311"/>
                    </a:cubicBezTo>
                    <a:cubicBezTo>
                      <a:pt x="458" y="311"/>
                      <a:pt x="457" y="311"/>
                      <a:pt x="457" y="311"/>
                    </a:cubicBezTo>
                    <a:cubicBezTo>
                      <a:pt x="458" y="312"/>
                      <a:pt x="458" y="312"/>
                      <a:pt x="458" y="312"/>
                    </a:cubicBezTo>
                    <a:cubicBezTo>
                      <a:pt x="458" y="312"/>
                      <a:pt x="457" y="312"/>
                      <a:pt x="457" y="312"/>
                    </a:cubicBezTo>
                    <a:cubicBezTo>
                      <a:pt x="456" y="312"/>
                      <a:pt x="456" y="312"/>
                      <a:pt x="456" y="312"/>
                    </a:cubicBezTo>
                    <a:cubicBezTo>
                      <a:pt x="455" y="312"/>
                      <a:pt x="456" y="312"/>
                      <a:pt x="456" y="312"/>
                    </a:cubicBezTo>
                    <a:cubicBezTo>
                      <a:pt x="456" y="312"/>
                      <a:pt x="456" y="311"/>
                      <a:pt x="455" y="311"/>
                    </a:cubicBezTo>
                    <a:cubicBezTo>
                      <a:pt x="455" y="311"/>
                      <a:pt x="455" y="312"/>
                      <a:pt x="455" y="312"/>
                    </a:cubicBezTo>
                    <a:cubicBezTo>
                      <a:pt x="455" y="312"/>
                      <a:pt x="455" y="311"/>
                      <a:pt x="455" y="311"/>
                    </a:cubicBezTo>
                    <a:cubicBezTo>
                      <a:pt x="455" y="311"/>
                      <a:pt x="455" y="312"/>
                      <a:pt x="455" y="312"/>
                    </a:cubicBezTo>
                    <a:cubicBezTo>
                      <a:pt x="455" y="312"/>
                      <a:pt x="455" y="312"/>
                      <a:pt x="455" y="312"/>
                    </a:cubicBezTo>
                    <a:cubicBezTo>
                      <a:pt x="455" y="313"/>
                      <a:pt x="457" y="312"/>
                      <a:pt x="456" y="314"/>
                    </a:cubicBezTo>
                    <a:cubicBezTo>
                      <a:pt x="456" y="314"/>
                      <a:pt x="455" y="314"/>
                      <a:pt x="456" y="315"/>
                    </a:cubicBezTo>
                    <a:cubicBezTo>
                      <a:pt x="456" y="315"/>
                      <a:pt x="456" y="316"/>
                      <a:pt x="455" y="316"/>
                    </a:cubicBezTo>
                    <a:cubicBezTo>
                      <a:pt x="455" y="316"/>
                      <a:pt x="455" y="315"/>
                      <a:pt x="454" y="315"/>
                    </a:cubicBezTo>
                    <a:cubicBezTo>
                      <a:pt x="454" y="315"/>
                      <a:pt x="454" y="314"/>
                      <a:pt x="454" y="314"/>
                    </a:cubicBezTo>
                    <a:cubicBezTo>
                      <a:pt x="453" y="314"/>
                      <a:pt x="454" y="315"/>
                      <a:pt x="453" y="315"/>
                    </a:cubicBezTo>
                    <a:cubicBezTo>
                      <a:pt x="453" y="315"/>
                      <a:pt x="453" y="315"/>
                      <a:pt x="452" y="316"/>
                    </a:cubicBezTo>
                    <a:cubicBezTo>
                      <a:pt x="452" y="316"/>
                      <a:pt x="451" y="315"/>
                      <a:pt x="451" y="314"/>
                    </a:cubicBezTo>
                    <a:cubicBezTo>
                      <a:pt x="451" y="315"/>
                      <a:pt x="451" y="315"/>
                      <a:pt x="450" y="315"/>
                    </a:cubicBezTo>
                    <a:cubicBezTo>
                      <a:pt x="450" y="315"/>
                      <a:pt x="450" y="315"/>
                      <a:pt x="450" y="315"/>
                    </a:cubicBezTo>
                    <a:cubicBezTo>
                      <a:pt x="450" y="316"/>
                      <a:pt x="450" y="316"/>
                      <a:pt x="449" y="316"/>
                    </a:cubicBezTo>
                    <a:cubicBezTo>
                      <a:pt x="450" y="316"/>
                      <a:pt x="450" y="316"/>
                      <a:pt x="450" y="316"/>
                    </a:cubicBezTo>
                    <a:cubicBezTo>
                      <a:pt x="450" y="317"/>
                      <a:pt x="450" y="316"/>
                      <a:pt x="450" y="317"/>
                    </a:cubicBezTo>
                    <a:cubicBezTo>
                      <a:pt x="450" y="317"/>
                      <a:pt x="449" y="316"/>
                      <a:pt x="449" y="316"/>
                    </a:cubicBezTo>
                    <a:cubicBezTo>
                      <a:pt x="449" y="316"/>
                      <a:pt x="447" y="316"/>
                      <a:pt x="448" y="317"/>
                    </a:cubicBezTo>
                    <a:cubicBezTo>
                      <a:pt x="449" y="317"/>
                      <a:pt x="450" y="317"/>
                      <a:pt x="450" y="317"/>
                    </a:cubicBezTo>
                    <a:cubicBezTo>
                      <a:pt x="451" y="317"/>
                      <a:pt x="450" y="318"/>
                      <a:pt x="450" y="318"/>
                    </a:cubicBezTo>
                    <a:cubicBezTo>
                      <a:pt x="450" y="318"/>
                      <a:pt x="451" y="318"/>
                      <a:pt x="451" y="318"/>
                    </a:cubicBezTo>
                    <a:cubicBezTo>
                      <a:pt x="451" y="318"/>
                      <a:pt x="451" y="318"/>
                      <a:pt x="451" y="319"/>
                    </a:cubicBezTo>
                    <a:cubicBezTo>
                      <a:pt x="451" y="319"/>
                      <a:pt x="450" y="320"/>
                      <a:pt x="450" y="320"/>
                    </a:cubicBezTo>
                    <a:cubicBezTo>
                      <a:pt x="450" y="319"/>
                      <a:pt x="450" y="319"/>
                      <a:pt x="450" y="319"/>
                    </a:cubicBezTo>
                    <a:cubicBezTo>
                      <a:pt x="450" y="320"/>
                      <a:pt x="450" y="320"/>
                      <a:pt x="450" y="320"/>
                    </a:cubicBezTo>
                    <a:cubicBezTo>
                      <a:pt x="450" y="320"/>
                      <a:pt x="450" y="320"/>
                      <a:pt x="450" y="320"/>
                    </a:cubicBezTo>
                    <a:cubicBezTo>
                      <a:pt x="450" y="321"/>
                      <a:pt x="450" y="321"/>
                      <a:pt x="449" y="321"/>
                    </a:cubicBezTo>
                    <a:cubicBezTo>
                      <a:pt x="449" y="322"/>
                      <a:pt x="449" y="323"/>
                      <a:pt x="448" y="323"/>
                    </a:cubicBezTo>
                    <a:cubicBezTo>
                      <a:pt x="448" y="322"/>
                      <a:pt x="449" y="321"/>
                      <a:pt x="448" y="321"/>
                    </a:cubicBezTo>
                    <a:cubicBezTo>
                      <a:pt x="449" y="321"/>
                      <a:pt x="449" y="321"/>
                      <a:pt x="448" y="321"/>
                    </a:cubicBezTo>
                    <a:cubicBezTo>
                      <a:pt x="449" y="321"/>
                      <a:pt x="448" y="321"/>
                      <a:pt x="447" y="321"/>
                    </a:cubicBezTo>
                    <a:cubicBezTo>
                      <a:pt x="448" y="321"/>
                      <a:pt x="448" y="322"/>
                      <a:pt x="448" y="323"/>
                    </a:cubicBezTo>
                    <a:cubicBezTo>
                      <a:pt x="447" y="323"/>
                      <a:pt x="448" y="324"/>
                      <a:pt x="447" y="325"/>
                    </a:cubicBezTo>
                    <a:cubicBezTo>
                      <a:pt x="447" y="324"/>
                      <a:pt x="448" y="323"/>
                      <a:pt x="447" y="323"/>
                    </a:cubicBezTo>
                    <a:cubicBezTo>
                      <a:pt x="446" y="322"/>
                      <a:pt x="445" y="322"/>
                      <a:pt x="445" y="322"/>
                    </a:cubicBezTo>
                    <a:cubicBezTo>
                      <a:pt x="446" y="323"/>
                      <a:pt x="446" y="322"/>
                      <a:pt x="446" y="323"/>
                    </a:cubicBezTo>
                    <a:cubicBezTo>
                      <a:pt x="446" y="323"/>
                      <a:pt x="446" y="324"/>
                      <a:pt x="446" y="324"/>
                    </a:cubicBezTo>
                    <a:cubicBezTo>
                      <a:pt x="446" y="324"/>
                      <a:pt x="445" y="324"/>
                      <a:pt x="445" y="324"/>
                    </a:cubicBezTo>
                    <a:cubicBezTo>
                      <a:pt x="445" y="324"/>
                      <a:pt x="445" y="324"/>
                      <a:pt x="445" y="324"/>
                    </a:cubicBezTo>
                    <a:cubicBezTo>
                      <a:pt x="445" y="324"/>
                      <a:pt x="444" y="325"/>
                      <a:pt x="444" y="326"/>
                    </a:cubicBezTo>
                    <a:cubicBezTo>
                      <a:pt x="444" y="326"/>
                      <a:pt x="444" y="325"/>
                      <a:pt x="444" y="325"/>
                    </a:cubicBezTo>
                    <a:cubicBezTo>
                      <a:pt x="444" y="325"/>
                      <a:pt x="443" y="326"/>
                      <a:pt x="443" y="326"/>
                    </a:cubicBezTo>
                    <a:cubicBezTo>
                      <a:pt x="443" y="326"/>
                      <a:pt x="443" y="326"/>
                      <a:pt x="443" y="326"/>
                    </a:cubicBezTo>
                    <a:cubicBezTo>
                      <a:pt x="442" y="325"/>
                      <a:pt x="442" y="325"/>
                      <a:pt x="442" y="326"/>
                    </a:cubicBezTo>
                    <a:cubicBezTo>
                      <a:pt x="442" y="325"/>
                      <a:pt x="442" y="325"/>
                      <a:pt x="442" y="326"/>
                    </a:cubicBezTo>
                    <a:cubicBezTo>
                      <a:pt x="441" y="326"/>
                      <a:pt x="441" y="326"/>
                      <a:pt x="441" y="325"/>
                    </a:cubicBezTo>
                    <a:cubicBezTo>
                      <a:pt x="441" y="325"/>
                      <a:pt x="441" y="326"/>
                      <a:pt x="441" y="326"/>
                    </a:cubicBezTo>
                    <a:cubicBezTo>
                      <a:pt x="441" y="326"/>
                      <a:pt x="441" y="326"/>
                      <a:pt x="441" y="327"/>
                    </a:cubicBezTo>
                    <a:cubicBezTo>
                      <a:pt x="441" y="327"/>
                      <a:pt x="441" y="328"/>
                      <a:pt x="441" y="328"/>
                    </a:cubicBezTo>
                    <a:cubicBezTo>
                      <a:pt x="440" y="329"/>
                      <a:pt x="440" y="329"/>
                      <a:pt x="439" y="328"/>
                    </a:cubicBezTo>
                    <a:cubicBezTo>
                      <a:pt x="439" y="328"/>
                      <a:pt x="438" y="328"/>
                      <a:pt x="438" y="328"/>
                    </a:cubicBezTo>
                    <a:cubicBezTo>
                      <a:pt x="438" y="328"/>
                      <a:pt x="439" y="329"/>
                      <a:pt x="439" y="329"/>
                    </a:cubicBezTo>
                    <a:cubicBezTo>
                      <a:pt x="439" y="329"/>
                      <a:pt x="439" y="329"/>
                      <a:pt x="439" y="329"/>
                    </a:cubicBezTo>
                    <a:cubicBezTo>
                      <a:pt x="439" y="329"/>
                      <a:pt x="439" y="329"/>
                      <a:pt x="440" y="329"/>
                    </a:cubicBezTo>
                    <a:cubicBezTo>
                      <a:pt x="440" y="329"/>
                      <a:pt x="440" y="329"/>
                      <a:pt x="440" y="329"/>
                    </a:cubicBezTo>
                    <a:cubicBezTo>
                      <a:pt x="440" y="329"/>
                      <a:pt x="441" y="330"/>
                      <a:pt x="441" y="330"/>
                    </a:cubicBezTo>
                    <a:cubicBezTo>
                      <a:pt x="440" y="330"/>
                      <a:pt x="440" y="329"/>
                      <a:pt x="440" y="329"/>
                    </a:cubicBezTo>
                    <a:cubicBezTo>
                      <a:pt x="440" y="330"/>
                      <a:pt x="440" y="330"/>
                      <a:pt x="440" y="330"/>
                    </a:cubicBezTo>
                    <a:cubicBezTo>
                      <a:pt x="440" y="330"/>
                      <a:pt x="439" y="331"/>
                      <a:pt x="439" y="330"/>
                    </a:cubicBezTo>
                    <a:cubicBezTo>
                      <a:pt x="439" y="330"/>
                      <a:pt x="438" y="329"/>
                      <a:pt x="438" y="330"/>
                    </a:cubicBezTo>
                    <a:cubicBezTo>
                      <a:pt x="438" y="330"/>
                      <a:pt x="439" y="330"/>
                      <a:pt x="439" y="331"/>
                    </a:cubicBezTo>
                    <a:cubicBezTo>
                      <a:pt x="438" y="331"/>
                      <a:pt x="439" y="332"/>
                      <a:pt x="439" y="332"/>
                    </a:cubicBezTo>
                    <a:cubicBezTo>
                      <a:pt x="439" y="333"/>
                      <a:pt x="438" y="333"/>
                      <a:pt x="437" y="333"/>
                    </a:cubicBezTo>
                    <a:cubicBezTo>
                      <a:pt x="437" y="333"/>
                      <a:pt x="437" y="333"/>
                      <a:pt x="437" y="333"/>
                    </a:cubicBezTo>
                    <a:cubicBezTo>
                      <a:pt x="436" y="333"/>
                      <a:pt x="436" y="333"/>
                      <a:pt x="436" y="333"/>
                    </a:cubicBezTo>
                    <a:cubicBezTo>
                      <a:pt x="436" y="333"/>
                      <a:pt x="436" y="333"/>
                      <a:pt x="436" y="333"/>
                    </a:cubicBezTo>
                    <a:cubicBezTo>
                      <a:pt x="436" y="333"/>
                      <a:pt x="436" y="334"/>
                      <a:pt x="435" y="334"/>
                    </a:cubicBezTo>
                    <a:cubicBezTo>
                      <a:pt x="435" y="335"/>
                      <a:pt x="435" y="334"/>
                      <a:pt x="435" y="334"/>
                    </a:cubicBezTo>
                    <a:cubicBezTo>
                      <a:pt x="435" y="333"/>
                      <a:pt x="434" y="333"/>
                      <a:pt x="434" y="333"/>
                    </a:cubicBezTo>
                    <a:cubicBezTo>
                      <a:pt x="434" y="334"/>
                      <a:pt x="435" y="334"/>
                      <a:pt x="434" y="334"/>
                    </a:cubicBezTo>
                    <a:cubicBezTo>
                      <a:pt x="434" y="334"/>
                      <a:pt x="434" y="335"/>
                      <a:pt x="434" y="334"/>
                    </a:cubicBezTo>
                    <a:cubicBezTo>
                      <a:pt x="433" y="335"/>
                      <a:pt x="433" y="335"/>
                      <a:pt x="433" y="335"/>
                    </a:cubicBezTo>
                    <a:cubicBezTo>
                      <a:pt x="432" y="336"/>
                      <a:pt x="432" y="335"/>
                      <a:pt x="432" y="335"/>
                    </a:cubicBezTo>
                    <a:cubicBezTo>
                      <a:pt x="433" y="335"/>
                      <a:pt x="432" y="335"/>
                      <a:pt x="432" y="334"/>
                    </a:cubicBezTo>
                    <a:cubicBezTo>
                      <a:pt x="432" y="334"/>
                      <a:pt x="432" y="334"/>
                      <a:pt x="431" y="334"/>
                    </a:cubicBezTo>
                    <a:cubicBezTo>
                      <a:pt x="430" y="334"/>
                      <a:pt x="432" y="333"/>
                      <a:pt x="431" y="333"/>
                    </a:cubicBezTo>
                    <a:cubicBezTo>
                      <a:pt x="431" y="333"/>
                      <a:pt x="430" y="334"/>
                      <a:pt x="430" y="334"/>
                    </a:cubicBezTo>
                    <a:cubicBezTo>
                      <a:pt x="430" y="334"/>
                      <a:pt x="430" y="334"/>
                      <a:pt x="429" y="334"/>
                    </a:cubicBezTo>
                    <a:cubicBezTo>
                      <a:pt x="429" y="333"/>
                      <a:pt x="429" y="333"/>
                      <a:pt x="428" y="333"/>
                    </a:cubicBezTo>
                    <a:cubicBezTo>
                      <a:pt x="428" y="334"/>
                      <a:pt x="430" y="334"/>
                      <a:pt x="429" y="334"/>
                    </a:cubicBezTo>
                    <a:cubicBezTo>
                      <a:pt x="429" y="334"/>
                      <a:pt x="430" y="334"/>
                      <a:pt x="430" y="334"/>
                    </a:cubicBezTo>
                    <a:cubicBezTo>
                      <a:pt x="430" y="334"/>
                      <a:pt x="430" y="335"/>
                      <a:pt x="430" y="335"/>
                    </a:cubicBezTo>
                    <a:cubicBezTo>
                      <a:pt x="430" y="335"/>
                      <a:pt x="430" y="336"/>
                      <a:pt x="430" y="335"/>
                    </a:cubicBezTo>
                    <a:cubicBezTo>
                      <a:pt x="430" y="335"/>
                      <a:pt x="430" y="335"/>
                      <a:pt x="430" y="336"/>
                    </a:cubicBezTo>
                    <a:cubicBezTo>
                      <a:pt x="430" y="336"/>
                      <a:pt x="430" y="336"/>
                      <a:pt x="430" y="336"/>
                    </a:cubicBezTo>
                    <a:cubicBezTo>
                      <a:pt x="430" y="336"/>
                      <a:pt x="428" y="336"/>
                      <a:pt x="428" y="336"/>
                    </a:cubicBezTo>
                    <a:cubicBezTo>
                      <a:pt x="428" y="336"/>
                      <a:pt x="429" y="335"/>
                      <a:pt x="429" y="335"/>
                    </a:cubicBezTo>
                    <a:cubicBezTo>
                      <a:pt x="428" y="335"/>
                      <a:pt x="428" y="335"/>
                      <a:pt x="428" y="335"/>
                    </a:cubicBezTo>
                    <a:cubicBezTo>
                      <a:pt x="428" y="335"/>
                      <a:pt x="427" y="335"/>
                      <a:pt x="427" y="335"/>
                    </a:cubicBezTo>
                    <a:cubicBezTo>
                      <a:pt x="427" y="335"/>
                      <a:pt x="427" y="334"/>
                      <a:pt x="427" y="334"/>
                    </a:cubicBezTo>
                    <a:cubicBezTo>
                      <a:pt x="428" y="334"/>
                      <a:pt x="427" y="334"/>
                      <a:pt x="427" y="334"/>
                    </a:cubicBezTo>
                    <a:cubicBezTo>
                      <a:pt x="427" y="334"/>
                      <a:pt x="427" y="334"/>
                      <a:pt x="427" y="334"/>
                    </a:cubicBezTo>
                    <a:cubicBezTo>
                      <a:pt x="426" y="335"/>
                      <a:pt x="426" y="335"/>
                      <a:pt x="426" y="335"/>
                    </a:cubicBezTo>
                    <a:cubicBezTo>
                      <a:pt x="425" y="334"/>
                      <a:pt x="425" y="336"/>
                      <a:pt x="425" y="336"/>
                    </a:cubicBezTo>
                    <a:cubicBezTo>
                      <a:pt x="424" y="336"/>
                      <a:pt x="424" y="335"/>
                      <a:pt x="424" y="335"/>
                    </a:cubicBezTo>
                    <a:cubicBezTo>
                      <a:pt x="424" y="335"/>
                      <a:pt x="423" y="335"/>
                      <a:pt x="423" y="335"/>
                    </a:cubicBezTo>
                    <a:cubicBezTo>
                      <a:pt x="424" y="336"/>
                      <a:pt x="425" y="336"/>
                      <a:pt x="424" y="336"/>
                    </a:cubicBezTo>
                    <a:cubicBezTo>
                      <a:pt x="424" y="336"/>
                      <a:pt x="424" y="338"/>
                      <a:pt x="424" y="337"/>
                    </a:cubicBezTo>
                    <a:cubicBezTo>
                      <a:pt x="424" y="337"/>
                      <a:pt x="424" y="337"/>
                      <a:pt x="423" y="337"/>
                    </a:cubicBezTo>
                    <a:cubicBezTo>
                      <a:pt x="423" y="337"/>
                      <a:pt x="423" y="337"/>
                      <a:pt x="423" y="337"/>
                    </a:cubicBezTo>
                    <a:cubicBezTo>
                      <a:pt x="422" y="336"/>
                      <a:pt x="422" y="336"/>
                      <a:pt x="422" y="335"/>
                    </a:cubicBezTo>
                    <a:cubicBezTo>
                      <a:pt x="423" y="335"/>
                      <a:pt x="423" y="335"/>
                      <a:pt x="423" y="335"/>
                    </a:cubicBezTo>
                    <a:cubicBezTo>
                      <a:pt x="423" y="335"/>
                      <a:pt x="423" y="335"/>
                      <a:pt x="423" y="335"/>
                    </a:cubicBezTo>
                    <a:cubicBezTo>
                      <a:pt x="423" y="335"/>
                      <a:pt x="422" y="335"/>
                      <a:pt x="422" y="335"/>
                    </a:cubicBezTo>
                    <a:cubicBezTo>
                      <a:pt x="422" y="335"/>
                      <a:pt x="422" y="335"/>
                      <a:pt x="421" y="335"/>
                    </a:cubicBezTo>
                    <a:cubicBezTo>
                      <a:pt x="421" y="335"/>
                      <a:pt x="420" y="336"/>
                      <a:pt x="420" y="336"/>
                    </a:cubicBezTo>
                    <a:cubicBezTo>
                      <a:pt x="420" y="337"/>
                      <a:pt x="421" y="336"/>
                      <a:pt x="421" y="336"/>
                    </a:cubicBezTo>
                    <a:cubicBezTo>
                      <a:pt x="421" y="336"/>
                      <a:pt x="420" y="337"/>
                      <a:pt x="420" y="337"/>
                    </a:cubicBezTo>
                    <a:cubicBezTo>
                      <a:pt x="420" y="337"/>
                      <a:pt x="421" y="337"/>
                      <a:pt x="421" y="337"/>
                    </a:cubicBezTo>
                    <a:cubicBezTo>
                      <a:pt x="422" y="338"/>
                      <a:pt x="421" y="338"/>
                      <a:pt x="421" y="339"/>
                    </a:cubicBezTo>
                    <a:cubicBezTo>
                      <a:pt x="420" y="338"/>
                      <a:pt x="420" y="336"/>
                      <a:pt x="419" y="337"/>
                    </a:cubicBezTo>
                    <a:cubicBezTo>
                      <a:pt x="418" y="337"/>
                      <a:pt x="418" y="338"/>
                      <a:pt x="419" y="338"/>
                    </a:cubicBezTo>
                    <a:cubicBezTo>
                      <a:pt x="419" y="338"/>
                      <a:pt x="418" y="338"/>
                      <a:pt x="417" y="338"/>
                    </a:cubicBezTo>
                    <a:cubicBezTo>
                      <a:pt x="418" y="339"/>
                      <a:pt x="418" y="339"/>
                      <a:pt x="418" y="339"/>
                    </a:cubicBezTo>
                    <a:cubicBezTo>
                      <a:pt x="418" y="339"/>
                      <a:pt x="419" y="338"/>
                      <a:pt x="419" y="339"/>
                    </a:cubicBezTo>
                    <a:cubicBezTo>
                      <a:pt x="419" y="339"/>
                      <a:pt x="420" y="339"/>
                      <a:pt x="420" y="339"/>
                    </a:cubicBezTo>
                    <a:cubicBezTo>
                      <a:pt x="420" y="339"/>
                      <a:pt x="420" y="340"/>
                      <a:pt x="419" y="340"/>
                    </a:cubicBezTo>
                    <a:cubicBezTo>
                      <a:pt x="419" y="339"/>
                      <a:pt x="418" y="339"/>
                      <a:pt x="419" y="340"/>
                    </a:cubicBezTo>
                    <a:cubicBezTo>
                      <a:pt x="419" y="340"/>
                      <a:pt x="419" y="340"/>
                      <a:pt x="419" y="341"/>
                    </a:cubicBezTo>
                    <a:cubicBezTo>
                      <a:pt x="419" y="341"/>
                      <a:pt x="419" y="340"/>
                      <a:pt x="418" y="340"/>
                    </a:cubicBezTo>
                    <a:cubicBezTo>
                      <a:pt x="418" y="340"/>
                      <a:pt x="417" y="340"/>
                      <a:pt x="416" y="339"/>
                    </a:cubicBezTo>
                    <a:cubicBezTo>
                      <a:pt x="416" y="339"/>
                      <a:pt x="415" y="339"/>
                      <a:pt x="415" y="339"/>
                    </a:cubicBezTo>
                    <a:cubicBezTo>
                      <a:pt x="415" y="339"/>
                      <a:pt x="416" y="338"/>
                      <a:pt x="416" y="338"/>
                    </a:cubicBezTo>
                    <a:cubicBezTo>
                      <a:pt x="415" y="337"/>
                      <a:pt x="415" y="338"/>
                      <a:pt x="414" y="338"/>
                    </a:cubicBezTo>
                    <a:cubicBezTo>
                      <a:pt x="415" y="337"/>
                      <a:pt x="414" y="336"/>
                      <a:pt x="413" y="335"/>
                    </a:cubicBezTo>
                    <a:cubicBezTo>
                      <a:pt x="413" y="335"/>
                      <a:pt x="412" y="335"/>
                      <a:pt x="412" y="335"/>
                    </a:cubicBezTo>
                    <a:cubicBezTo>
                      <a:pt x="412" y="335"/>
                      <a:pt x="411" y="334"/>
                      <a:pt x="411" y="334"/>
                    </a:cubicBezTo>
                    <a:cubicBezTo>
                      <a:pt x="411" y="334"/>
                      <a:pt x="411" y="334"/>
                      <a:pt x="411" y="334"/>
                    </a:cubicBezTo>
                    <a:cubicBezTo>
                      <a:pt x="411" y="334"/>
                      <a:pt x="411" y="334"/>
                      <a:pt x="411" y="334"/>
                    </a:cubicBezTo>
                    <a:cubicBezTo>
                      <a:pt x="411" y="334"/>
                      <a:pt x="411" y="333"/>
                      <a:pt x="411" y="333"/>
                    </a:cubicBezTo>
                    <a:cubicBezTo>
                      <a:pt x="411" y="333"/>
                      <a:pt x="411" y="333"/>
                      <a:pt x="411" y="332"/>
                    </a:cubicBezTo>
                    <a:cubicBezTo>
                      <a:pt x="411" y="332"/>
                      <a:pt x="411" y="333"/>
                      <a:pt x="411" y="333"/>
                    </a:cubicBezTo>
                    <a:cubicBezTo>
                      <a:pt x="411" y="333"/>
                      <a:pt x="411" y="333"/>
                      <a:pt x="411" y="332"/>
                    </a:cubicBezTo>
                    <a:cubicBezTo>
                      <a:pt x="411" y="332"/>
                      <a:pt x="411" y="333"/>
                      <a:pt x="411" y="333"/>
                    </a:cubicBezTo>
                    <a:cubicBezTo>
                      <a:pt x="411" y="333"/>
                      <a:pt x="411" y="333"/>
                      <a:pt x="411" y="332"/>
                    </a:cubicBezTo>
                    <a:cubicBezTo>
                      <a:pt x="411" y="333"/>
                      <a:pt x="410" y="332"/>
                      <a:pt x="411" y="331"/>
                    </a:cubicBezTo>
                    <a:cubicBezTo>
                      <a:pt x="411" y="331"/>
                      <a:pt x="412" y="331"/>
                      <a:pt x="413" y="331"/>
                    </a:cubicBezTo>
                    <a:cubicBezTo>
                      <a:pt x="412" y="331"/>
                      <a:pt x="411" y="331"/>
                      <a:pt x="411" y="331"/>
                    </a:cubicBezTo>
                    <a:cubicBezTo>
                      <a:pt x="410" y="332"/>
                      <a:pt x="410" y="332"/>
                      <a:pt x="410" y="332"/>
                    </a:cubicBezTo>
                    <a:cubicBezTo>
                      <a:pt x="410" y="332"/>
                      <a:pt x="409" y="332"/>
                      <a:pt x="409" y="332"/>
                    </a:cubicBezTo>
                    <a:cubicBezTo>
                      <a:pt x="409" y="332"/>
                      <a:pt x="410" y="332"/>
                      <a:pt x="410" y="332"/>
                    </a:cubicBezTo>
                    <a:cubicBezTo>
                      <a:pt x="410" y="333"/>
                      <a:pt x="410" y="333"/>
                      <a:pt x="410" y="333"/>
                    </a:cubicBezTo>
                    <a:cubicBezTo>
                      <a:pt x="409" y="334"/>
                      <a:pt x="408" y="333"/>
                      <a:pt x="408" y="333"/>
                    </a:cubicBezTo>
                    <a:cubicBezTo>
                      <a:pt x="408" y="334"/>
                      <a:pt x="409" y="334"/>
                      <a:pt x="409" y="334"/>
                    </a:cubicBezTo>
                    <a:cubicBezTo>
                      <a:pt x="409" y="334"/>
                      <a:pt x="410" y="334"/>
                      <a:pt x="410" y="335"/>
                    </a:cubicBezTo>
                    <a:cubicBezTo>
                      <a:pt x="411" y="335"/>
                      <a:pt x="410" y="335"/>
                      <a:pt x="409" y="335"/>
                    </a:cubicBezTo>
                    <a:cubicBezTo>
                      <a:pt x="410" y="336"/>
                      <a:pt x="411" y="336"/>
                      <a:pt x="411" y="336"/>
                    </a:cubicBezTo>
                    <a:cubicBezTo>
                      <a:pt x="411" y="337"/>
                      <a:pt x="412" y="338"/>
                      <a:pt x="412" y="338"/>
                    </a:cubicBezTo>
                    <a:cubicBezTo>
                      <a:pt x="412" y="339"/>
                      <a:pt x="411" y="339"/>
                      <a:pt x="412" y="339"/>
                    </a:cubicBezTo>
                    <a:cubicBezTo>
                      <a:pt x="412" y="339"/>
                      <a:pt x="412" y="340"/>
                      <a:pt x="412" y="340"/>
                    </a:cubicBezTo>
                    <a:cubicBezTo>
                      <a:pt x="412" y="341"/>
                      <a:pt x="412" y="341"/>
                      <a:pt x="412" y="342"/>
                    </a:cubicBezTo>
                    <a:cubicBezTo>
                      <a:pt x="411" y="342"/>
                      <a:pt x="411" y="341"/>
                      <a:pt x="410" y="341"/>
                    </a:cubicBezTo>
                    <a:cubicBezTo>
                      <a:pt x="410" y="340"/>
                      <a:pt x="409" y="339"/>
                      <a:pt x="409" y="339"/>
                    </a:cubicBezTo>
                    <a:cubicBezTo>
                      <a:pt x="409" y="338"/>
                      <a:pt x="408" y="338"/>
                      <a:pt x="408" y="337"/>
                    </a:cubicBezTo>
                    <a:cubicBezTo>
                      <a:pt x="408" y="338"/>
                      <a:pt x="408" y="338"/>
                      <a:pt x="408" y="338"/>
                    </a:cubicBezTo>
                    <a:cubicBezTo>
                      <a:pt x="408" y="339"/>
                      <a:pt x="409" y="339"/>
                      <a:pt x="409" y="339"/>
                    </a:cubicBezTo>
                    <a:cubicBezTo>
                      <a:pt x="409" y="340"/>
                      <a:pt x="410" y="341"/>
                      <a:pt x="410" y="341"/>
                    </a:cubicBezTo>
                    <a:cubicBezTo>
                      <a:pt x="411" y="342"/>
                      <a:pt x="410" y="341"/>
                      <a:pt x="410" y="342"/>
                    </a:cubicBezTo>
                    <a:cubicBezTo>
                      <a:pt x="410" y="342"/>
                      <a:pt x="409" y="344"/>
                      <a:pt x="409" y="343"/>
                    </a:cubicBezTo>
                    <a:cubicBezTo>
                      <a:pt x="409" y="343"/>
                      <a:pt x="408" y="342"/>
                      <a:pt x="408" y="342"/>
                    </a:cubicBezTo>
                    <a:cubicBezTo>
                      <a:pt x="408" y="341"/>
                      <a:pt x="407" y="342"/>
                      <a:pt x="407" y="342"/>
                    </a:cubicBezTo>
                    <a:cubicBezTo>
                      <a:pt x="407" y="343"/>
                      <a:pt x="408" y="344"/>
                      <a:pt x="407" y="344"/>
                    </a:cubicBezTo>
                    <a:cubicBezTo>
                      <a:pt x="407" y="345"/>
                      <a:pt x="406" y="345"/>
                      <a:pt x="406" y="345"/>
                    </a:cubicBezTo>
                    <a:cubicBezTo>
                      <a:pt x="405" y="343"/>
                      <a:pt x="404" y="346"/>
                      <a:pt x="404" y="346"/>
                    </a:cubicBezTo>
                    <a:cubicBezTo>
                      <a:pt x="403" y="346"/>
                      <a:pt x="402" y="346"/>
                      <a:pt x="402" y="345"/>
                    </a:cubicBezTo>
                    <a:cubicBezTo>
                      <a:pt x="401" y="345"/>
                      <a:pt x="402" y="344"/>
                      <a:pt x="402" y="344"/>
                    </a:cubicBezTo>
                    <a:cubicBezTo>
                      <a:pt x="402" y="344"/>
                      <a:pt x="402" y="344"/>
                      <a:pt x="401" y="344"/>
                    </a:cubicBezTo>
                    <a:cubicBezTo>
                      <a:pt x="401" y="344"/>
                      <a:pt x="401" y="343"/>
                      <a:pt x="401" y="343"/>
                    </a:cubicBezTo>
                    <a:cubicBezTo>
                      <a:pt x="401" y="343"/>
                      <a:pt x="401" y="344"/>
                      <a:pt x="401" y="344"/>
                    </a:cubicBezTo>
                    <a:cubicBezTo>
                      <a:pt x="402" y="345"/>
                      <a:pt x="402" y="345"/>
                      <a:pt x="402" y="346"/>
                    </a:cubicBezTo>
                    <a:cubicBezTo>
                      <a:pt x="402" y="347"/>
                      <a:pt x="401" y="347"/>
                      <a:pt x="400" y="346"/>
                    </a:cubicBezTo>
                    <a:cubicBezTo>
                      <a:pt x="400" y="346"/>
                      <a:pt x="400" y="346"/>
                      <a:pt x="400" y="345"/>
                    </a:cubicBezTo>
                    <a:cubicBezTo>
                      <a:pt x="400" y="346"/>
                      <a:pt x="399" y="346"/>
                      <a:pt x="398" y="346"/>
                    </a:cubicBezTo>
                    <a:cubicBezTo>
                      <a:pt x="398" y="345"/>
                      <a:pt x="398" y="345"/>
                      <a:pt x="398" y="345"/>
                    </a:cubicBezTo>
                    <a:cubicBezTo>
                      <a:pt x="398" y="346"/>
                      <a:pt x="398" y="345"/>
                      <a:pt x="397" y="344"/>
                    </a:cubicBezTo>
                    <a:cubicBezTo>
                      <a:pt x="397" y="344"/>
                      <a:pt x="397" y="345"/>
                      <a:pt x="397" y="345"/>
                    </a:cubicBezTo>
                    <a:cubicBezTo>
                      <a:pt x="397" y="346"/>
                      <a:pt x="398" y="346"/>
                      <a:pt x="398" y="346"/>
                    </a:cubicBezTo>
                    <a:cubicBezTo>
                      <a:pt x="398" y="346"/>
                      <a:pt x="398" y="347"/>
                      <a:pt x="397" y="347"/>
                    </a:cubicBezTo>
                    <a:cubicBezTo>
                      <a:pt x="397" y="347"/>
                      <a:pt x="396" y="347"/>
                      <a:pt x="397" y="347"/>
                    </a:cubicBezTo>
                    <a:cubicBezTo>
                      <a:pt x="397" y="346"/>
                      <a:pt x="396" y="347"/>
                      <a:pt x="396" y="346"/>
                    </a:cubicBezTo>
                    <a:cubicBezTo>
                      <a:pt x="396" y="347"/>
                      <a:pt x="395" y="346"/>
                      <a:pt x="395" y="346"/>
                    </a:cubicBezTo>
                    <a:cubicBezTo>
                      <a:pt x="395" y="346"/>
                      <a:pt x="396" y="346"/>
                      <a:pt x="396" y="347"/>
                    </a:cubicBezTo>
                    <a:cubicBezTo>
                      <a:pt x="396" y="347"/>
                      <a:pt x="396" y="347"/>
                      <a:pt x="396" y="348"/>
                    </a:cubicBezTo>
                    <a:cubicBezTo>
                      <a:pt x="396" y="348"/>
                      <a:pt x="395" y="348"/>
                      <a:pt x="395" y="348"/>
                    </a:cubicBezTo>
                    <a:cubicBezTo>
                      <a:pt x="395" y="349"/>
                      <a:pt x="395" y="348"/>
                      <a:pt x="394" y="348"/>
                    </a:cubicBezTo>
                    <a:cubicBezTo>
                      <a:pt x="395" y="349"/>
                      <a:pt x="395" y="349"/>
                      <a:pt x="394" y="349"/>
                    </a:cubicBezTo>
                    <a:cubicBezTo>
                      <a:pt x="394" y="349"/>
                      <a:pt x="393" y="349"/>
                      <a:pt x="393" y="348"/>
                    </a:cubicBezTo>
                    <a:cubicBezTo>
                      <a:pt x="393" y="348"/>
                      <a:pt x="393" y="348"/>
                      <a:pt x="393" y="349"/>
                    </a:cubicBezTo>
                    <a:cubicBezTo>
                      <a:pt x="393" y="349"/>
                      <a:pt x="393" y="349"/>
                      <a:pt x="392" y="349"/>
                    </a:cubicBezTo>
                    <a:cubicBezTo>
                      <a:pt x="392" y="349"/>
                      <a:pt x="393" y="349"/>
                      <a:pt x="393" y="349"/>
                    </a:cubicBezTo>
                    <a:cubicBezTo>
                      <a:pt x="392" y="349"/>
                      <a:pt x="392" y="350"/>
                      <a:pt x="392" y="350"/>
                    </a:cubicBezTo>
                    <a:cubicBezTo>
                      <a:pt x="392" y="349"/>
                      <a:pt x="392" y="349"/>
                      <a:pt x="391" y="349"/>
                    </a:cubicBezTo>
                    <a:cubicBezTo>
                      <a:pt x="391" y="349"/>
                      <a:pt x="390" y="349"/>
                      <a:pt x="391" y="349"/>
                    </a:cubicBezTo>
                    <a:cubicBezTo>
                      <a:pt x="391" y="349"/>
                      <a:pt x="390" y="349"/>
                      <a:pt x="390" y="349"/>
                    </a:cubicBezTo>
                    <a:cubicBezTo>
                      <a:pt x="390" y="349"/>
                      <a:pt x="390" y="349"/>
                      <a:pt x="390" y="349"/>
                    </a:cubicBezTo>
                    <a:cubicBezTo>
                      <a:pt x="390" y="349"/>
                      <a:pt x="389" y="348"/>
                      <a:pt x="389" y="349"/>
                    </a:cubicBezTo>
                    <a:cubicBezTo>
                      <a:pt x="389" y="349"/>
                      <a:pt x="389" y="349"/>
                      <a:pt x="389" y="350"/>
                    </a:cubicBezTo>
                    <a:cubicBezTo>
                      <a:pt x="389" y="350"/>
                      <a:pt x="389" y="349"/>
                      <a:pt x="390" y="349"/>
                    </a:cubicBezTo>
                    <a:cubicBezTo>
                      <a:pt x="390" y="349"/>
                      <a:pt x="388" y="350"/>
                      <a:pt x="388" y="350"/>
                    </a:cubicBezTo>
                    <a:cubicBezTo>
                      <a:pt x="387" y="350"/>
                      <a:pt x="386" y="351"/>
                      <a:pt x="386" y="352"/>
                    </a:cubicBezTo>
                    <a:cubicBezTo>
                      <a:pt x="386" y="351"/>
                      <a:pt x="386" y="351"/>
                      <a:pt x="386" y="351"/>
                    </a:cubicBezTo>
                    <a:cubicBezTo>
                      <a:pt x="386" y="351"/>
                      <a:pt x="386" y="351"/>
                      <a:pt x="386" y="351"/>
                    </a:cubicBezTo>
                    <a:cubicBezTo>
                      <a:pt x="385" y="350"/>
                      <a:pt x="387" y="350"/>
                      <a:pt x="387" y="350"/>
                    </a:cubicBezTo>
                    <a:cubicBezTo>
                      <a:pt x="387" y="350"/>
                      <a:pt x="386" y="350"/>
                      <a:pt x="386" y="351"/>
                    </a:cubicBezTo>
                    <a:cubicBezTo>
                      <a:pt x="386" y="351"/>
                      <a:pt x="386" y="352"/>
                      <a:pt x="385" y="352"/>
                    </a:cubicBezTo>
                    <a:cubicBezTo>
                      <a:pt x="386" y="352"/>
                      <a:pt x="384" y="352"/>
                      <a:pt x="384" y="352"/>
                    </a:cubicBezTo>
                    <a:cubicBezTo>
                      <a:pt x="384" y="352"/>
                      <a:pt x="384" y="352"/>
                      <a:pt x="384" y="351"/>
                    </a:cubicBezTo>
                    <a:cubicBezTo>
                      <a:pt x="384" y="351"/>
                      <a:pt x="384" y="351"/>
                      <a:pt x="384" y="351"/>
                    </a:cubicBezTo>
                    <a:cubicBezTo>
                      <a:pt x="384" y="351"/>
                      <a:pt x="384" y="351"/>
                      <a:pt x="384" y="351"/>
                    </a:cubicBezTo>
                    <a:cubicBezTo>
                      <a:pt x="384" y="351"/>
                      <a:pt x="384" y="351"/>
                      <a:pt x="384" y="351"/>
                    </a:cubicBezTo>
                    <a:cubicBezTo>
                      <a:pt x="384" y="351"/>
                      <a:pt x="384" y="351"/>
                      <a:pt x="384" y="351"/>
                    </a:cubicBezTo>
                    <a:cubicBezTo>
                      <a:pt x="384" y="351"/>
                      <a:pt x="384" y="350"/>
                      <a:pt x="384" y="350"/>
                    </a:cubicBezTo>
                    <a:cubicBezTo>
                      <a:pt x="384" y="351"/>
                      <a:pt x="383" y="350"/>
                      <a:pt x="383" y="350"/>
                    </a:cubicBezTo>
                    <a:cubicBezTo>
                      <a:pt x="383" y="350"/>
                      <a:pt x="384" y="351"/>
                      <a:pt x="383" y="351"/>
                    </a:cubicBezTo>
                    <a:cubicBezTo>
                      <a:pt x="384" y="351"/>
                      <a:pt x="384" y="352"/>
                      <a:pt x="384" y="353"/>
                    </a:cubicBezTo>
                    <a:cubicBezTo>
                      <a:pt x="383" y="353"/>
                      <a:pt x="383" y="354"/>
                      <a:pt x="382" y="354"/>
                    </a:cubicBezTo>
                    <a:cubicBezTo>
                      <a:pt x="382" y="354"/>
                      <a:pt x="382" y="354"/>
                      <a:pt x="382" y="354"/>
                    </a:cubicBezTo>
                    <a:cubicBezTo>
                      <a:pt x="382" y="354"/>
                      <a:pt x="382" y="355"/>
                      <a:pt x="382" y="356"/>
                    </a:cubicBezTo>
                    <a:cubicBezTo>
                      <a:pt x="382" y="356"/>
                      <a:pt x="383" y="356"/>
                      <a:pt x="383" y="356"/>
                    </a:cubicBezTo>
                    <a:cubicBezTo>
                      <a:pt x="384" y="356"/>
                      <a:pt x="385" y="357"/>
                      <a:pt x="385" y="357"/>
                    </a:cubicBezTo>
                    <a:cubicBezTo>
                      <a:pt x="385" y="358"/>
                      <a:pt x="384" y="357"/>
                      <a:pt x="384" y="357"/>
                    </a:cubicBezTo>
                    <a:cubicBezTo>
                      <a:pt x="384" y="357"/>
                      <a:pt x="384" y="357"/>
                      <a:pt x="384" y="357"/>
                    </a:cubicBezTo>
                    <a:cubicBezTo>
                      <a:pt x="384" y="358"/>
                      <a:pt x="384" y="358"/>
                      <a:pt x="384" y="358"/>
                    </a:cubicBezTo>
                    <a:cubicBezTo>
                      <a:pt x="384" y="358"/>
                      <a:pt x="384" y="358"/>
                      <a:pt x="384" y="358"/>
                    </a:cubicBezTo>
                    <a:cubicBezTo>
                      <a:pt x="384" y="358"/>
                      <a:pt x="384" y="359"/>
                      <a:pt x="384" y="359"/>
                    </a:cubicBezTo>
                    <a:cubicBezTo>
                      <a:pt x="385" y="358"/>
                      <a:pt x="385" y="359"/>
                      <a:pt x="385" y="359"/>
                    </a:cubicBezTo>
                    <a:cubicBezTo>
                      <a:pt x="386" y="359"/>
                      <a:pt x="386" y="361"/>
                      <a:pt x="386" y="361"/>
                    </a:cubicBezTo>
                    <a:cubicBezTo>
                      <a:pt x="385" y="362"/>
                      <a:pt x="385" y="362"/>
                      <a:pt x="385" y="362"/>
                    </a:cubicBezTo>
                    <a:cubicBezTo>
                      <a:pt x="384" y="363"/>
                      <a:pt x="384" y="362"/>
                      <a:pt x="384" y="363"/>
                    </a:cubicBezTo>
                    <a:cubicBezTo>
                      <a:pt x="383" y="363"/>
                      <a:pt x="381" y="362"/>
                      <a:pt x="381" y="363"/>
                    </a:cubicBezTo>
                    <a:cubicBezTo>
                      <a:pt x="381" y="362"/>
                      <a:pt x="380" y="362"/>
                      <a:pt x="380" y="361"/>
                    </a:cubicBezTo>
                    <a:cubicBezTo>
                      <a:pt x="381" y="361"/>
                      <a:pt x="381" y="361"/>
                      <a:pt x="381" y="362"/>
                    </a:cubicBezTo>
                    <a:cubicBezTo>
                      <a:pt x="381" y="361"/>
                      <a:pt x="381" y="361"/>
                      <a:pt x="381" y="361"/>
                    </a:cubicBezTo>
                    <a:cubicBezTo>
                      <a:pt x="381" y="360"/>
                      <a:pt x="381" y="360"/>
                      <a:pt x="381" y="360"/>
                    </a:cubicBezTo>
                    <a:cubicBezTo>
                      <a:pt x="381" y="360"/>
                      <a:pt x="381" y="360"/>
                      <a:pt x="380" y="360"/>
                    </a:cubicBezTo>
                    <a:cubicBezTo>
                      <a:pt x="380" y="360"/>
                      <a:pt x="381" y="360"/>
                      <a:pt x="381" y="360"/>
                    </a:cubicBezTo>
                    <a:cubicBezTo>
                      <a:pt x="380" y="361"/>
                      <a:pt x="380" y="360"/>
                      <a:pt x="380" y="360"/>
                    </a:cubicBezTo>
                    <a:cubicBezTo>
                      <a:pt x="379" y="360"/>
                      <a:pt x="380" y="359"/>
                      <a:pt x="379" y="359"/>
                    </a:cubicBezTo>
                    <a:cubicBezTo>
                      <a:pt x="379" y="359"/>
                      <a:pt x="379" y="359"/>
                      <a:pt x="379" y="359"/>
                    </a:cubicBezTo>
                    <a:cubicBezTo>
                      <a:pt x="379" y="359"/>
                      <a:pt x="378" y="359"/>
                      <a:pt x="378" y="358"/>
                    </a:cubicBezTo>
                    <a:cubicBezTo>
                      <a:pt x="378" y="358"/>
                      <a:pt x="379" y="358"/>
                      <a:pt x="379" y="358"/>
                    </a:cubicBezTo>
                    <a:cubicBezTo>
                      <a:pt x="379" y="358"/>
                      <a:pt x="379" y="358"/>
                      <a:pt x="378" y="357"/>
                    </a:cubicBezTo>
                    <a:cubicBezTo>
                      <a:pt x="378" y="357"/>
                      <a:pt x="378" y="356"/>
                      <a:pt x="378" y="356"/>
                    </a:cubicBezTo>
                    <a:cubicBezTo>
                      <a:pt x="378" y="356"/>
                      <a:pt x="378" y="356"/>
                      <a:pt x="378" y="357"/>
                    </a:cubicBezTo>
                    <a:cubicBezTo>
                      <a:pt x="378" y="356"/>
                      <a:pt x="378" y="356"/>
                      <a:pt x="378" y="356"/>
                    </a:cubicBezTo>
                    <a:cubicBezTo>
                      <a:pt x="377" y="356"/>
                      <a:pt x="377" y="355"/>
                      <a:pt x="377" y="354"/>
                    </a:cubicBezTo>
                    <a:cubicBezTo>
                      <a:pt x="378" y="354"/>
                      <a:pt x="377" y="354"/>
                      <a:pt x="377" y="353"/>
                    </a:cubicBezTo>
                    <a:cubicBezTo>
                      <a:pt x="377" y="353"/>
                      <a:pt x="377" y="352"/>
                      <a:pt x="378" y="353"/>
                    </a:cubicBezTo>
                    <a:cubicBezTo>
                      <a:pt x="378" y="352"/>
                      <a:pt x="378" y="351"/>
                      <a:pt x="378" y="351"/>
                    </a:cubicBezTo>
                    <a:cubicBezTo>
                      <a:pt x="378" y="351"/>
                      <a:pt x="379" y="351"/>
                      <a:pt x="379" y="350"/>
                    </a:cubicBezTo>
                    <a:cubicBezTo>
                      <a:pt x="379" y="350"/>
                      <a:pt x="379" y="350"/>
                      <a:pt x="379" y="349"/>
                    </a:cubicBezTo>
                    <a:cubicBezTo>
                      <a:pt x="379" y="350"/>
                      <a:pt x="379" y="349"/>
                      <a:pt x="379" y="349"/>
                    </a:cubicBezTo>
                    <a:cubicBezTo>
                      <a:pt x="378" y="349"/>
                      <a:pt x="378" y="349"/>
                      <a:pt x="378" y="349"/>
                    </a:cubicBezTo>
                    <a:cubicBezTo>
                      <a:pt x="378" y="349"/>
                      <a:pt x="378" y="349"/>
                      <a:pt x="378" y="349"/>
                    </a:cubicBezTo>
                    <a:cubicBezTo>
                      <a:pt x="378" y="350"/>
                      <a:pt x="377" y="348"/>
                      <a:pt x="377" y="348"/>
                    </a:cubicBezTo>
                    <a:cubicBezTo>
                      <a:pt x="377" y="349"/>
                      <a:pt x="377" y="348"/>
                      <a:pt x="377" y="348"/>
                    </a:cubicBezTo>
                    <a:cubicBezTo>
                      <a:pt x="377" y="349"/>
                      <a:pt x="378" y="350"/>
                      <a:pt x="376" y="349"/>
                    </a:cubicBezTo>
                    <a:cubicBezTo>
                      <a:pt x="376" y="349"/>
                      <a:pt x="376" y="348"/>
                      <a:pt x="376" y="348"/>
                    </a:cubicBezTo>
                    <a:cubicBezTo>
                      <a:pt x="376" y="348"/>
                      <a:pt x="376" y="348"/>
                      <a:pt x="376" y="348"/>
                    </a:cubicBezTo>
                    <a:cubicBezTo>
                      <a:pt x="376" y="348"/>
                      <a:pt x="375" y="348"/>
                      <a:pt x="376" y="347"/>
                    </a:cubicBezTo>
                    <a:cubicBezTo>
                      <a:pt x="375" y="348"/>
                      <a:pt x="375" y="346"/>
                      <a:pt x="375" y="346"/>
                    </a:cubicBezTo>
                    <a:cubicBezTo>
                      <a:pt x="375" y="346"/>
                      <a:pt x="375" y="347"/>
                      <a:pt x="374" y="347"/>
                    </a:cubicBezTo>
                    <a:cubicBezTo>
                      <a:pt x="374" y="347"/>
                      <a:pt x="374" y="347"/>
                      <a:pt x="375" y="347"/>
                    </a:cubicBezTo>
                    <a:cubicBezTo>
                      <a:pt x="375" y="347"/>
                      <a:pt x="374" y="347"/>
                      <a:pt x="374" y="347"/>
                    </a:cubicBezTo>
                    <a:cubicBezTo>
                      <a:pt x="375" y="348"/>
                      <a:pt x="375" y="348"/>
                      <a:pt x="375" y="349"/>
                    </a:cubicBezTo>
                    <a:cubicBezTo>
                      <a:pt x="375" y="349"/>
                      <a:pt x="374" y="350"/>
                      <a:pt x="374" y="349"/>
                    </a:cubicBezTo>
                    <a:cubicBezTo>
                      <a:pt x="374" y="350"/>
                      <a:pt x="373" y="350"/>
                      <a:pt x="373" y="349"/>
                    </a:cubicBezTo>
                    <a:cubicBezTo>
                      <a:pt x="373" y="350"/>
                      <a:pt x="372" y="350"/>
                      <a:pt x="372" y="349"/>
                    </a:cubicBezTo>
                    <a:cubicBezTo>
                      <a:pt x="372" y="350"/>
                      <a:pt x="372" y="350"/>
                      <a:pt x="372" y="350"/>
                    </a:cubicBezTo>
                    <a:cubicBezTo>
                      <a:pt x="372" y="350"/>
                      <a:pt x="371" y="350"/>
                      <a:pt x="371" y="350"/>
                    </a:cubicBezTo>
                    <a:cubicBezTo>
                      <a:pt x="370" y="349"/>
                      <a:pt x="371" y="349"/>
                      <a:pt x="371" y="349"/>
                    </a:cubicBezTo>
                    <a:cubicBezTo>
                      <a:pt x="371" y="349"/>
                      <a:pt x="371" y="348"/>
                      <a:pt x="371" y="348"/>
                    </a:cubicBezTo>
                    <a:cubicBezTo>
                      <a:pt x="371" y="348"/>
                      <a:pt x="370" y="348"/>
                      <a:pt x="370" y="347"/>
                    </a:cubicBezTo>
                    <a:cubicBezTo>
                      <a:pt x="370" y="348"/>
                      <a:pt x="370" y="348"/>
                      <a:pt x="369" y="348"/>
                    </a:cubicBezTo>
                    <a:cubicBezTo>
                      <a:pt x="369" y="348"/>
                      <a:pt x="369" y="347"/>
                      <a:pt x="369" y="347"/>
                    </a:cubicBezTo>
                    <a:cubicBezTo>
                      <a:pt x="369" y="347"/>
                      <a:pt x="368" y="347"/>
                      <a:pt x="368" y="347"/>
                    </a:cubicBezTo>
                    <a:cubicBezTo>
                      <a:pt x="368" y="346"/>
                      <a:pt x="369" y="346"/>
                      <a:pt x="369" y="346"/>
                    </a:cubicBezTo>
                    <a:cubicBezTo>
                      <a:pt x="369" y="346"/>
                      <a:pt x="368" y="346"/>
                      <a:pt x="368" y="346"/>
                    </a:cubicBezTo>
                    <a:cubicBezTo>
                      <a:pt x="368" y="346"/>
                      <a:pt x="368" y="346"/>
                      <a:pt x="368" y="346"/>
                    </a:cubicBezTo>
                    <a:cubicBezTo>
                      <a:pt x="368" y="346"/>
                      <a:pt x="368" y="346"/>
                      <a:pt x="367" y="346"/>
                    </a:cubicBezTo>
                    <a:cubicBezTo>
                      <a:pt x="368" y="346"/>
                      <a:pt x="368" y="346"/>
                      <a:pt x="368" y="347"/>
                    </a:cubicBezTo>
                    <a:cubicBezTo>
                      <a:pt x="368" y="347"/>
                      <a:pt x="368" y="346"/>
                      <a:pt x="368" y="346"/>
                    </a:cubicBezTo>
                    <a:cubicBezTo>
                      <a:pt x="367" y="347"/>
                      <a:pt x="368" y="347"/>
                      <a:pt x="368" y="348"/>
                    </a:cubicBezTo>
                    <a:cubicBezTo>
                      <a:pt x="368" y="347"/>
                      <a:pt x="368" y="347"/>
                      <a:pt x="367" y="348"/>
                    </a:cubicBezTo>
                    <a:cubicBezTo>
                      <a:pt x="367" y="348"/>
                      <a:pt x="367" y="347"/>
                      <a:pt x="367" y="347"/>
                    </a:cubicBezTo>
                    <a:cubicBezTo>
                      <a:pt x="367" y="347"/>
                      <a:pt x="367" y="347"/>
                      <a:pt x="367" y="347"/>
                    </a:cubicBezTo>
                    <a:cubicBezTo>
                      <a:pt x="367" y="347"/>
                      <a:pt x="367" y="347"/>
                      <a:pt x="367" y="347"/>
                    </a:cubicBezTo>
                    <a:cubicBezTo>
                      <a:pt x="367" y="347"/>
                      <a:pt x="367" y="347"/>
                      <a:pt x="367" y="347"/>
                    </a:cubicBezTo>
                    <a:cubicBezTo>
                      <a:pt x="367" y="347"/>
                      <a:pt x="367" y="346"/>
                      <a:pt x="367" y="346"/>
                    </a:cubicBezTo>
                    <a:cubicBezTo>
                      <a:pt x="367" y="346"/>
                      <a:pt x="367" y="347"/>
                      <a:pt x="367" y="347"/>
                    </a:cubicBezTo>
                    <a:cubicBezTo>
                      <a:pt x="366" y="347"/>
                      <a:pt x="366" y="346"/>
                      <a:pt x="366" y="346"/>
                    </a:cubicBezTo>
                    <a:cubicBezTo>
                      <a:pt x="366" y="346"/>
                      <a:pt x="366" y="346"/>
                      <a:pt x="366" y="345"/>
                    </a:cubicBezTo>
                    <a:cubicBezTo>
                      <a:pt x="366" y="346"/>
                      <a:pt x="366" y="346"/>
                      <a:pt x="366" y="346"/>
                    </a:cubicBezTo>
                    <a:cubicBezTo>
                      <a:pt x="366" y="346"/>
                      <a:pt x="366" y="346"/>
                      <a:pt x="366" y="346"/>
                    </a:cubicBezTo>
                    <a:cubicBezTo>
                      <a:pt x="366" y="346"/>
                      <a:pt x="366" y="346"/>
                      <a:pt x="366" y="346"/>
                    </a:cubicBezTo>
                    <a:cubicBezTo>
                      <a:pt x="366" y="346"/>
                      <a:pt x="365" y="346"/>
                      <a:pt x="365" y="346"/>
                    </a:cubicBezTo>
                    <a:cubicBezTo>
                      <a:pt x="365" y="345"/>
                      <a:pt x="366" y="345"/>
                      <a:pt x="366" y="345"/>
                    </a:cubicBezTo>
                    <a:cubicBezTo>
                      <a:pt x="366" y="344"/>
                      <a:pt x="365" y="344"/>
                      <a:pt x="365" y="345"/>
                    </a:cubicBezTo>
                    <a:cubicBezTo>
                      <a:pt x="365" y="345"/>
                      <a:pt x="365" y="344"/>
                      <a:pt x="365" y="344"/>
                    </a:cubicBezTo>
                    <a:cubicBezTo>
                      <a:pt x="365" y="344"/>
                      <a:pt x="364" y="345"/>
                      <a:pt x="364" y="345"/>
                    </a:cubicBezTo>
                    <a:cubicBezTo>
                      <a:pt x="364" y="345"/>
                      <a:pt x="364" y="344"/>
                      <a:pt x="364" y="344"/>
                    </a:cubicBezTo>
                    <a:cubicBezTo>
                      <a:pt x="364" y="345"/>
                      <a:pt x="365" y="346"/>
                      <a:pt x="365" y="346"/>
                    </a:cubicBezTo>
                    <a:cubicBezTo>
                      <a:pt x="365" y="347"/>
                      <a:pt x="365" y="347"/>
                      <a:pt x="365" y="347"/>
                    </a:cubicBezTo>
                    <a:cubicBezTo>
                      <a:pt x="365" y="347"/>
                      <a:pt x="365" y="347"/>
                      <a:pt x="365" y="347"/>
                    </a:cubicBezTo>
                    <a:cubicBezTo>
                      <a:pt x="365" y="347"/>
                      <a:pt x="365" y="347"/>
                      <a:pt x="365" y="347"/>
                    </a:cubicBezTo>
                    <a:cubicBezTo>
                      <a:pt x="366" y="347"/>
                      <a:pt x="366" y="347"/>
                      <a:pt x="365" y="347"/>
                    </a:cubicBezTo>
                    <a:cubicBezTo>
                      <a:pt x="366" y="348"/>
                      <a:pt x="365" y="348"/>
                      <a:pt x="365" y="348"/>
                    </a:cubicBezTo>
                    <a:cubicBezTo>
                      <a:pt x="365" y="347"/>
                      <a:pt x="365" y="348"/>
                      <a:pt x="365" y="348"/>
                    </a:cubicBezTo>
                    <a:cubicBezTo>
                      <a:pt x="364" y="348"/>
                      <a:pt x="364" y="348"/>
                      <a:pt x="364" y="348"/>
                    </a:cubicBezTo>
                    <a:cubicBezTo>
                      <a:pt x="364" y="348"/>
                      <a:pt x="364" y="348"/>
                      <a:pt x="364" y="348"/>
                    </a:cubicBezTo>
                    <a:cubicBezTo>
                      <a:pt x="365" y="348"/>
                      <a:pt x="364" y="347"/>
                      <a:pt x="365" y="347"/>
                    </a:cubicBezTo>
                    <a:cubicBezTo>
                      <a:pt x="364" y="347"/>
                      <a:pt x="364" y="347"/>
                      <a:pt x="364" y="347"/>
                    </a:cubicBezTo>
                    <a:cubicBezTo>
                      <a:pt x="364" y="347"/>
                      <a:pt x="363" y="347"/>
                      <a:pt x="363" y="347"/>
                    </a:cubicBezTo>
                    <a:cubicBezTo>
                      <a:pt x="363" y="347"/>
                      <a:pt x="364" y="348"/>
                      <a:pt x="363" y="349"/>
                    </a:cubicBezTo>
                    <a:cubicBezTo>
                      <a:pt x="362" y="349"/>
                      <a:pt x="363" y="348"/>
                      <a:pt x="363" y="348"/>
                    </a:cubicBezTo>
                    <a:cubicBezTo>
                      <a:pt x="363" y="348"/>
                      <a:pt x="363" y="347"/>
                      <a:pt x="362" y="347"/>
                    </a:cubicBezTo>
                    <a:cubicBezTo>
                      <a:pt x="363" y="348"/>
                      <a:pt x="361" y="348"/>
                      <a:pt x="361" y="349"/>
                    </a:cubicBezTo>
                    <a:cubicBezTo>
                      <a:pt x="360" y="349"/>
                      <a:pt x="360" y="348"/>
                      <a:pt x="359" y="348"/>
                    </a:cubicBezTo>
                    <a:cubicBezTo>
                      <a:pt x="359" y="347"/>
                      <a:pt x="358" y="347"/>
                      <a:pt x="357" y="348"/>
                    </a:cubicBezTo>
                    <a:cubicBezTo>
                      <a:pt x="357" y="348"/>
                      <a:pt x="356" y="348"/>
                      <a:pt x="355" y="348"/>
                    </a:cubicBezTo>
                    <a:cubicBezTo>
                      <a:pt x="355" y="347"/>
                      <a:pt x="355" y="347"/>
                      <a:pt x="355" y="348"/>
                    </a:cubicBezTo>
                    <a:cubicBezTo>
                      <a:pt x="354" y="348"/>
                      <a:pt x="354" y="346"/>
                      <a:pt x="353" y="347"/>
                    </a:cubicBezTo>
                    <a:cubicBezTo>
                      <a:pt x="353" y="347"/>
                      <a:pt x="352" y="346"/>
                      <a:pt x="351" y="346"/>
                    </a:cubicBezTo>
                    <a:cubicBezTo>
                      <a:pt x="351" y="346"/>
                      <a:pt x="350" y="345"/>
                      <a:pt x="351" y="345"/>
                    </a:cubicBezTo>
                    <a:cubicBezTo>
                      <a:pt x="351" y="345"/>
                      <a:pt x="351" y="345"/>
                      <a:pt x="351" y="344"/>
                    </a:cubicBezTo>
                    <a:cubicBezTo>
                      <a:pt x="350" y="344"/>
                      <a:pt x="350" y="345"/>
                      <a:pt x="350" y="344"/>
                    </a:cubicBezTo>
                    <a:cubicBezTo>
                      <a:pt x="349" y="344"/>
                      <a:pt x="348" y="343"/>
                      <a:pt x="348" y="343"/>
                    </a:cubicBezTo>
                    <a:cubicBezTo>
                      <a:pt x="348" y="344"/>
                      <a:pt x="347" y="344"/>
                      <a:pt x="347" y="343"/>
                    </a:cubicBezTo>
                    <a:cubicBezTo>
                      <a:pt x="347" y="342"/>
                      <a:pt x="347" y="342"/>
                      <a:pt x="347" y="341"/>
                    </a:cubicBezTo>
                    <a:cubicBezTo>
                      <a:pt x="347" y="340"/>
                      <a:pt x="346" y="340"/>
                      <a:pt x="346" y="340"/>
                    </a:cubicBezTo>
                    <a:cubicBezTo>
                      <a:pt x="345" y="340"/>
                      <a:pt x="345" y="338"/>
                      <a:pt x="345" y="338"/>
                    </a:cubicBezTo>
                    <a:cubicBezTo>
                      <a:pt x="345" y="337"/>
                      <a:pt x="346" y="336"/>
                      <a:pt x="346" y="337"/>
                    </a:cubicBezTo>
                    <a:cubicBezTo>
                      <a:pt x="346" y="338"/>
                      <a:pt x="347" y="335"/>
                      <a:pt x="347" y="335"/>
                    </a:cubicBezTo>
                    <a:cubicBezTo>
                      <a:pt x="347" y="335"/>
                      <a:pt x="346" y="334"/>
                      <a:pt x="346" y="334"/>
                    </a:cubicBezTo>
                    <a:cubicBezTo>
                      <a:pt x="346" y="334"/>
                      <a:pt x="345" y="334"/>
                      <a:pt x="345" y="334"/>
                    </a:cubicBezTo>
                    <a:cubicBezTo>
                      <a:pt x="345" y="334"/>
                      <a:pt x="345" y="334"/>
                      <a:pt x="345" y="333"/>
                    </a:cubicBezTo>
                    <a:cubicBezTo>
                      <a:pt x="344" y="333"/>
                      <a:pt x="342" y="335"/>
                      <a:pt x="341" y="334"/>
                    </a:cubicBezTo>
                    <a:cubicBezTo>
                      <a:pt x="341" y="333"/>
                      <a:pt x="340" y="333"/>
                      <a:pt x="340" y="333"/>
                    </a:cubicBezTo>
                    <a:cubicBezTo>
                      <a:pt x="339" y="333"/>
                      <a:pt x="339" y="333"/>
                      <a:pt x="339" y="333"/>
                    </a:cubicBezTo>
                    <a:cubicBezTo>
                      <a:pt x="339" y="333"/>
                      <a:pt x="338" y="333"/>
                      <a:pt x="338" y="333"/>
                    </a:cubicBezTo>
                    <a:cubicBezTo>
                      <a:pt x="338" y="333"/>
                      <a:pt x="338" y="333"/>
                      <a:pt x="337" y="333"/>
                    </a:cubicBezTo>
                    <a:cubicBezTo>
                      <a:pt x="336" y="332"/>
                      <a:pt x="336" y="332"/>
                      <a:pt x="335" y="332"/>
                    </a:cubicBezTo>
                    <a:cubicBezTo>
                      <a:pt x="335" y="332"/>
                      <a:pt x="335" y="331"/>
                      <a:pt x="334" y="331"/>
                    </a:cubicBezTo>
                    <a:cubicBezTo>
                      <a:pt x="334" y="331"/>
                      <a:pt x="334" y="330"/>
                      <a:pt x="334" y="330"/>
                    </a:cubicBezTo>
                    <a:cubicBezTo>
                      <a:pt x="333" y="329"/>
                      <a:pt x="332" y="329"/>
                      <a:pt x="332" y="328"/>
                    </a:cubicBezTo>
                    <a:cubicBezTo>
                      <a:pt x="332" y="328"/>
                      <a:pt x="331" y="329"/>
                      <a:pt x="331" y="330"/>
                    </a:cubicBezTo>
                    <a:cubicBezTo>
                      <a:pt x="331" y="330"/>
                      <a:pt x="330" y="330"/>
                      <a:pt x="330" y="330"/>
                    </a:cubicBezTo>
                    <a:cubicBezTo>
                      <a:pt x="329" y="330"/>
                      <a:pt x="329" y="331"/>
                      <a:pt x="328" y="331"/>
                    </a:cubicBezTo>
                    <a:cubicBezTo>
                      <a:pt x="328" y="331"/>
                      <a:pt x="328" y="331"/>
                      <a:pt x="328" y="331"/>
                    </a:cubicBezTo>
                    <a:cubicBezTo>
                      <a:pt x="327" y="332"/>
                      <a:pt x="328" y="332"/>
                      <a:pt x="328" y="332"/>
                    </a:cubicBezTo>
                    <a:cubicBezTo>
                      <a:pt x="328" y="333"/>
                      <a:pt x="328" y="334"/>
                      <a:pt x="327" y="334"/>
                    </a:cubicBezTo>
                    <a:cubicBezTo>
                      <a:pt x="327" y="335"/>
                      <a:pt x="326" y="335"/>
                      <a:pt x="326" y="334"/>
                    </a:cubicBezTo>
                    <a:cubicBezTo>
                      <a:pt x="325" y="335"/>
                      <a:pt x="324" y="336"/>
                      <a:pt x="323" y="336"/>
                    </a:cubicBezTo>
                    <a:cubicBezTo>
                      <a:pt x="322" y="335"/>
                      <a:pt x="323" y="334"/>
                      <a:pt x="322" y="335"/>
                    </a:cubicBezTo>
                    <a:cubicBezTo>
                      <a:pt x="321" y="335"/>
                      <a:pt x="321" y="336"/>
                      <a:pt x="321" y="337"/>
                    </a:cubicBezTo>
                    <a:cubicBezTo>
                      <a:pt x="321" y="337"/>
                      <a:pt x="321" y="338"/>
                      <a:pt x="320" y="338"/>
                    </a:cubicBezTo>
                    <a:cubicBezTo>
                      <a:pt x="319" y="337"/>
                      <a:pt x="319" y="336"/>
                      <a:pt x="318" y="335"/>
                    </a:cubicBezTo>
                    <a:cubicBezTo>
                      <a:pt x="317" y="335"/>
                      <a:pt x="317" y="335"/>
                      <a:pt x="317" y="335"/>
                    </a:cubicBezTo>
                    <a:cubicBezTo>
                      <a:pt x="316" y="336"/>
                      <a:pt x="317" y="336"/>
                      <a:pt x="317" y="336"/>
                    </a:cubicBezTo>
                    <a:cubicBezTo>
                      <a:pt x="317" y="337"/>
                      <a:pt x="316" y="337"/>
                      <a:pt x="315" y="336"/>
                    </a:cubicBezTo>
                    <a:cubicBezTo>
                      <a:pt x="315" y="336"/>
                      <a:pt x="315" y="335"/>
                      <a:pt x="314" y="335"/>
                    </a:cubicBezTo>
                    <a:cubicBezTo>
                      <a:pt x="314" y="335"/>
                      <a:pt x="314" y="336"/>
                      <a:pt x="313" y="336"/>
                    </a:cubicBezTo>
                    <a:cubicBezTo>
                      <a:pt x="313" y="337"/>
                      <a:pt x="313" y="337"/>
                      <a:pt x="313" y="337"/>
                    </a:cubicBezTo>
                    <a:cubicBezTo>
                      <a:pt x="313" y="338"/>
                      <a:pt x="312" y="338"/>
                      <a:pt x="312" y="338"/>
                    </a:cubicBezTo>
                    <a:cubicBezTo>
                      <a:pt x="312" y="338"/>
                      <a:pt x="312" y="339"/>
                      <a:pt x="312" y="339"/>
                    </a:cubicBezTo>
                    <a:cubicBezTo>
                      <a:pt x="312" y="339"/>
                      <a:pt x="311" y="338"/>
                      <a:pt x="311" y="338"/>
                    </a:cubicBezTo>
                    <a:cubicBezTo>
                      <a:pt x="311" y="338"/>
                      <a:pt x="310" y="338"/>
                      <a:pt x="310" y="337"/>
                    </a:cubicBezTo>
                    <a:cubicBezTo>
                      <a:pt x="310" y="337"/>
                      <a:pt x="310" y="337"/>
                      <a:pt x="309" y="337"/>
                    </a:cubicBezTo>
                    <a:cubicBezTo>
                      <a:pt x="309" y="336"/>
                      <a:pt x="308" y="336"/>
                      <a:pt x="308" y="336"/>
                    </a:cubicBezTo>
                    <a:cubicBezTo>
                      <a:pt x="307" y="336"/>
                      <a:pt x="307" y="335"/>
                      <a:pt x="307" y="336"/>
                    </a:cubicBezTo>
                    <a:cubicBezTo>
                      <a:pt x="307" y="336"/>
                      <a:pt x="307" y="336"/>
                      <a:pt x="307" y="336"/>
                    </a:cubicBezTo>
                    <a:cubicBezTo>
                      <a:pt x="306" y="336"/>
                      <a:pt x="307" y="335"/>
                      <a:pt x="306" y="335"/>
                    </a:cubicBezTo>
                    <a:cubicBezTo>
                      <a:pt x="306" y="335"/>
                      <a:pt x="306" y="336"/>
                      <a:pt x="305" y="336"/>
                    </a:cubicBezTo>
                    <a:cubicBezTo>
                      <a:pt x="305" y="336"/>
                      <a:pt x="306" y="336"/>
                      <a:pt x="305" y="337"/>
                    </a:cubicBezTo>
                    <a:cubicBezTo>
                      <a:pt x="305" y="337"/>
                      <a:pt x="305" y="337"/>
                      <a:pt x="305" y="338"/>
                    </a:cubicBezTo>
                    <a:cubicBezTo>
                      <a:pt x="304" y="338"/>
                      <a:pt x="304" y="339"/>
                      <a:pt x="304" y="339"/>
                    </a:cubicBezTo>
                    <a:cubicBezTo>
                      <a:pt x="304" y="339"/>
                      <a:pt x="304" y="339"/>
                      <a:pt x="303" y="339"/>
                    </a:cubicBezTo>
                    <a:cubicBezTo>
                      <a:pt x="303" y="339"/>
                      <a:pt x="302" y="338"/>
                      <a:pt x="302" y="339"/>
                    </a:cubicBezTo>
                    <a:cubicBezTo>
                      <a:pt x="301" y="339"/>
                      <a:pt x="301" y="339"/>
                      <a:pt x="301" y="339"/>
                    </a:cubicBezTo>
                    <a:cubicBezTo>
                      <a:pt x="301" y="339"/>
                      <a:pt x="300" y="338"/>
                      <a:pt x="299" y="338"/>
                    </a:cubicBezTo>
                    <a:cubicBezTo>
                      <a:pt x="299" y="339"/>
                      <a:pt x="299" y="339"/>
                      <a:pt x="299" y="339"/>
                    </a:cubicBezTo>
                    <a:cubicBezTo>
                      <a:pt x="299" y="339"/>
                      <a:pt x="299" y="340"/>
                      <a:pt x="299" y="340"/>
                    </a:cubicBezTo>
                    <a:cubicBezTo>
                      <a:pt x="298" y="341"/>
                      <a:pt x="297" y="341"/>
                      <a:pt x="298" y="341"/>
                    </a:cubicBezTo>
                    <a:cubicBezTo>
                      <a:pt x="299" y="342"/>
                      <a:pt x="298" y="342"/>
                      <a:pt x="299" y="342"/>
                    </a:cubicBezTo>
                    <a:cubicBezTo>
                      <a:pt x="299" y="343"/>
                      <a:pt x="299" y="343"/>
                      <a:pt x="299" y="344"/>
                    </a:cubicBezTo>
                    <a:cubicBezTo>
                      <a:pt x="299" y="344"/>
                      <a:pt x="300" y="344"/>
                      <a:pt x="300" y="344"/>
                    </a:cubicBezTo>
                    <a:cubicBezTo>
                      <a:pt x="300" y="344"/>
                      <a:pt x="300" y="345"/>
                      <a:pt x="301" y="345"/>
                    </a:cubicBezTo>
                    <a:cubicBezTo>
                      <a:pt x="301" y="346"/>
                      <a:pt x="301" y="347"/>
                      <a:pt x="301" y="347"/>
                    </a:cubicBezTo>
                    <a:cubicBezTo>
                      <a:pt x="301" y="348"/>
                      <a:pt x="302" y="348"/>
                      <a:pt x="301" y="348"/>
                    </a:cubicBezTo>
                    <a:cubicBezTo>
                      <a:pt x="301" y="348"/>
                      <a:pt x="301" y="350"/>
                      <a:pt x="301" y="350"/>
                    </a:cubicBezTo>
                    <a:cubicBezTo>
                      <a:pt x="301" y="351"/>
                      <a:pt x="302" y="351"/>
                      <a:pt x="302" y="352"/>
                    </a:cubicBezTo>
                    <a:cubicBezTo>
                      <a:pt x="303" y="352"/>
                      <a:pt x="302" y="352"/>
                      <a:pt x="302" y="352"/>
                    </a:cubicBezTo>
                    <a:cubicBezTo>
                      <a:pt x="302" y="352"/>
                      <a:pt x="302" y="353"/>
                      <a:pt x="302" y="353"/>
                    </a:cubicBezTo>
                    <a:cubicBezTo>
                      <a:pt x="301" y="353"/>
                      <a:pt x="301" y="352"/>
                      <a:pt x="300" y="352"/>
                    </a:cubicBezTo>
                    <a:cubicBezTo>
                      <a:pt x="300" y="353"/>
                      <a:pt x="300" y="352"/>
                      <a:pt x="300" y="352"/>
                    </a:cubicBezTo>
                    <a:cubicBezTo>
                      <a:pt x="300" y="352"/>
                      <a:pt x="299" y="352"/>
                      <a:pt x="299" y="352"/>
                    </a:cubicBezTo>
                    <a:cubicBezTo>
                      <a:pt x="298" y="352"/>
                      <a:pt x="297" y="353"/>
                      <a:pt x="297" y="352"/>
                    </a:cubicBezTo>
                    <a:cubicBezTo>
                      <a:pt x="297" y="351"/>
                      <a:pt x="296" y="351"/>
                      <a:pt x="296" y="351"/>
                    </a:cubicBezTo>
                    <a:cubicBezTo>
                      <a:pt x="296" y="351"/>
                      <a:pt x="297" y="351"/>
                      <a:pt x="297" y="351"/>
                    </a:cubicBezTo>
                    <a:cubicBezTo>
                      <a:pt x="296" y="350"/>
                      <a:pt x="296" y="350"/>
                      <a:pt x="296" y="350"/>
                    </a:cubicBezTo>
                    <a:cubicBezTo>
                      <a:pt x="296" y="349"/>
                      <a:pt x="296" y="348"/>
                      <a:pt x="295" y="348"/>
                    </a:cubicBezTo>
                    <a:cubicBezTo>
                      <a:pt x="296" y="348"/>
                      <a:pt x="295" y="347"/>
                      <a:pt x="295" y="347"/>
                    </a:cubicBezTo>
                    <a:cubicBezTo>
                      <a:pt x="295" y="347"/>
                      <a:pt x="295" y="346"/>
                      <a:pt x="295" y="346"/>
                    </a:cubicBezTo>
                    <a:cubicBezTo>
                      <a:pt x="294" y="346"/>
                      <a:pt x="292" y="347"/>
                      <a:pt x="292" y="347"/>
                    </a:cubicBezTo>
                    <a:cubicBezTo>
                      <a:pt x="292" y="348"/>
                      <a:pt x="291" y="349"/>
                      <a:pt x="290" y="349"/>
                    </a:cubicBezTo>
                    <a:cubicBezTo>
                      <a:pt x="289" y="350"/>
                      <a:pt x="289" y="348"/>
                      <a:pt x="288" y="349"/>
                    </a:cubicBezTo>
                    <a:cubicBezTo>
                      <a:pt x="287" y="349"/>
                      <a:pt x="286" y="350"/>
                      <a:pt x="286" y="349"/>
                    </a:cubicBezTo>
                    <a:cubicBezTo>
                      <a:pt x="285" y="348"/>
                      <a:pt x="286" y="347"/>
                      <a:pt x="285" y="347"/>
                    </a:cubicBezTo>
                    <a:cubicBezTo>
                      <a:pt x="284" y="347"/>
                      <a:pt x="284" y="347"/>
                      <a:pt x="283" y="346"/>
                    </a:cubicBezTo>
                    <a:cubicBezTo>
                      <a:pt x="283" y="345"/>
                      <a:pt x="284" y="344"/>
                      <a:pt x="284" y="344"/>
                    </a:cubicBezTo>
                    <a:cubicBezTo>
                      <a:pt x="284" y="344"/>
                      <a:pt x="283" y="343"/>
                      <a:pt x="283" y="343"/>
                    </a:cubicBezTo>
                    <a:cubicBezTo>
                      <a:pt x="283" y="343"/>
                      <a:pt x="282" y="343"/>
                      <a:pt x="282" y="343"/>
                    </a:cubicBezTo>
                    <a:cubicBezTo>
                      <a:pt x="282" y="343"/>
                      <a:pt x="281" y="343"/>
                      <a:pt x="281" y="343"/>
                    </a:cubicBezTo>
                    <a:cubicBezTo>
                      <a:pt x="281" y="343"/>
                      <a:pt x="281" y="343"/>
                      <a:pt x="281" y="343"/>
                    </a:cubicBezTo>
                    <a:cubicBezTo>
                      <a:pt x="280" y="343"/>
                      <a:pt x="279" y="342"/>
                      <a:pt x="278" y="342"/>
                    </a:cubicBezTo>
                    <a:cubicBezTo>
                      <a:pt x="277" y="342"/>
                      <a:pt x="277" y="342"/>
                      <a:pt x="276" y="342"/>
                    </a:cubicBezTo>
                    <a:cubicBezTo>
                      <a:pt x="275" y="342"/>
                      <a:pt x="276" y="342"/>
                      <a:pt x="276" y="341"/>
                    </a:cubicBezTo>
                    <a:cubicBezTo>
                      <a:pt x="276" y="341"/>
                      <a:pt x="276" y="340"/>
                      <a:pt x="276" y="340"/>
                    </a:cubicBezTo>
                    <a:cubicBezTo>
                      <a:pt x="276" y="339"/>
                      <a:pt x="276" y="339"/>
                      <a:pt x="277" y="339"/>
                    </a:cubicBezTo>
                    <a:cubicBezTo>
                      <a:pt x="277" y="338"/>
                      <a:pt x="277" y="337"/>
                      <a:pt x="277" y="336"/>
                    </a:cubicBezTo>
                    <a:cubicBezTo>
                      <a:pt x="277" y="336"/>
                      <a:pt x="276" y="335"/>
                      <a:pt x="276" y="335"/>
                    </a:cubicBezTo>
                    <a:cubicBezTo>
                      <a:pt x="277" y="335"/>
                      <a:pt x="277" y="334"/>
                      <a:pt x="277" y="333"/>
                    </a:cubicBezTo>
                    <a:cubicBezTo>
                      <a:pt x="277" y="333"/>
                      <a:pt x="277" y="333"/>
                      <a:pt x="278" y="333"/>
                    </a:cubicBezTo>
                    <a:cubicBezTo>
                      <a:pt x="278" y="333"/>
                      <a:pt x="278" y="333"/>
                      <a:pt x="278" y="333"/>
                    </a:cubicBezTo>
                    <a:cubicBezTo>
                      <a:pt x="277" y="332"/>
                      <a:pt x="278" y="332"/>
                      <a:pt x="277" y="332"/>
                    </a:cubicBezTo>
                    <a:cubicBezTo>
                      <a:pt x="276" y="332"/>
                      <a:pt x="276" y="331"/>
                      <a:pt x="275" y="331"/>
                    </a:cubicBezTo>
                    <a:cubicBezTo>
                      <a:pt x="275" y="331"/>
                      <a:pt x="275" y="332"/>
                      <a:pt x="275" y="332"/>
                    </a:cubicBezTo>
                    <a:cubicBezTo>
                      <a:pt x="275" y="331"/>
                      <a:pt x="274" y="332"/>
                      <a:pt x="273" y="331"/>
                    </a:cubicBezTo>
                    <a:cubicBezTo>
                      <a:pt x="273" y="331"/>
                      <a:pt x="273" y="331"/>
                      <a:pt x="272" y="331"/>
                    </a:cubicBezTo>
                    <a:cubicBezTo>
                      <a:pt x="272" y="331"/>
                      <a:pt x="271" y="330"/>
                      <a:pt x="271" y="330"/>
                    </a:cubicBezTo>
                    <a:cubicBezTo>
                      <a:pt x="271" y="329"/>
                      <a:pt x="271" y="329"/>
                      <a:pt x="271" y="329"/>
                    </a:cubicBezTo>
                    <a:cubicBezTo>
                      <a:pt x="271" y="329"/>
                      <a:pt x="271" y="329"/>
                      <a:pt x="271" y="329"/>
                    </a:cubicBezTo>
                    <a:cubicBezTo>
                      <a:pt x="271" y="328"/>
                      <a:pt x="271" y="328"/>
                      <a:pt x="271" y="327"/>
                    </a:cubicBezTo>
                    <a:cubicBezTo>
                      <a:pt x="270" y="327"/>
                      <a:pt x="270" y="327"/>
                      <a:pt x="270" y="327"/>
                    </a:cubicBezTo>
                    <a:cubicBezTo>
                      <a:pt x="270" y="326"/>
                      <a:pt x="271" y="326"/>
                      <a:pt x="270" y="325"/>
                    </a:cubicBezTo>
                    <a:cubicBezTo>
                      <a:pt x="270" y="325"/>
                      <a:pt x="270" y="324"/>
                      <a:pt x="269" y="324"/>
                    </a:cubicBezTo>
                    <a:cubicBezTo>
                      <a:pt x="269" y="324"/>
                      <a:pt x="269" y="324"/>
                      <a:pt x="268" y="323"/>
                    </a:cubicBezTo>
                    <a:cubicBezTo>
                      <a:pt x="268" y="323"/>
                      <a:pt x="268" y="322"/>
                      <a:pt x="268" y="322"/>
                    </a:cubicBezTo>
                    <a:cubicBezTo>
                      <a:pt x="268" y="321"/>
                      <a:pt x="270" y="321"/>
                      <a:pt x="270" y="320"/>
                    </a:cubicBezTo>
                    <a:cubicBezTo>
                      <a:pt x="269" y="320"/>
                      <a:pt x="269" y="320"/>
                      <a:pt x="268" y="320"/>
                    </a:cubicBezTo>
                    <a:cubicBezTo>
                      <a:pt x="268" y="320"/>
                      <a:pt x="267" y="321"/>
                      <a:pt x="267" y="320"/>
                    </a:cubicBezTo>
                    <a:cubicBezTo>
                      <a:pt x="267" y="320"/>
                      <a:pt x="266" y="320"/>
                      <a:pt x="266" y="320"/>
                    </a:cubicBezTo>
                    <a:cubicBezTo>
                      <a:pt x="265" y="320"/>
                      <a:pt x="265" y="320"/>
                      <a:pt x="264" y="320"/>
                    </a:cubicBezTo>
                    <a:cubicBezTo>
                      <a:pt x="263" y="320"/>
                      <a:pt x="261" y="320"/>
                      <a:pt x="260" y="321"/>
                    </a:cubicBezTo>
                    <a:cubicBezTo>
                      <a:pt x="260" y="322"/>
                      <a:pt x="259" y="322"/>
                      <a:pt x="258" y="323"/>
                    </a:cubicBezTo>
                    <a:cubicBezTo>
                      <a:pt x="258" y="323"/>
                      <a:pt x="257" y="322"/>
                      <a:pt x="257" y="322"/>
                    </a:cubicBezTo>
                    <a:cubicBezTo>
                      <a:pt x="257" y="322"/>
                      <a:pt x="258" y="321"/>
                      <a:pt x="258" y="321"/>
                    </a:cubicBezTo>
                    <a:cubicBezTo>
                      <a:pt x="259" y="320"/>
                      <a:pt x="259" y="320"/>
                      <a:pt x="259" y="319"/>
                    </a:cubicBezTo>
                    <a:cubicBezTo>
                      <a:pt x="259" y="318"/>
                      <a:pt x="258" y="318"/>
                      <a:pt x="258" y="318"/>
                    </a:cubicBezTo>
                    <a:cubicBezTo>
                      <a:pt x="258" y="318"/>
                      <a:pt x="258" y="317"/>
                      <a:pt x="258" y="317"/>
                    </a:cubicBezTo>
                    <a:cubicBezTo>
                      <a:pt x="257" y="316"/>
                      <a:pt x="257" y="317"/>
                      <a:pt x="256" y="317"/>
                    </a:cubicBezTo>
                    <a:cubicBezTo>
                      <a:pt x="256" y="316"/>
                      <a:pt x="256" y="315"/>
                      <a:pt x="256" y="314"/>
                    </a:cubicBezTo>
                    <a:cubicBezTo>
                      <a:pt x="256" y="314"/>
                      <a:pt x="256" y="313"/>
                      <a:pt x="257" y="313"/>
                    </a:cubicBezTo>
                    <a:cubicBezTo>
                      <a:pt x="257" y="313"/>
                      <a:pt x="258" y="312"/>
                      <a:pt x="258" y="312"/>
                    </a:cubicBezTo>
                    <a:cubicBezTo>
                      <a:pt x="257" y="311"/>
                      <a:pt x="257" y="311"/>
                      <a:pt x="257" y="310"/>
                    </a:cubicBezTo>
                    <a:cubicBezTo>
                      <a:pt x="257" y="310"/>
                      <a:pt x="257" y="309"/>
                      <a:pt x="258" y="309"/>
                    </a:cubicBezTo>
                    <a:cubicBezTo>
                      <a:pt x="258" y="308"/>
                      <a:pt x="258" y="307"/>
                      <a:pt x="258" y="308"/>
                    </a:cubicBezTo>
                    <a:cubicBezTo>
                      <a:pt x="259" y="309"/>
                      <a:pt x="259" y="308"/>
                      <a:pt x="259" y="307"/>
                    </a:cubicBezTo>
                    <a:cubicBezTo>
                      <a:pt x="260" y="307"/>
                      <a:pt x="260" y="307"/>
                      <a:pt x="260" y="307"/>
                    </a:cubicBezTo>
                    <a:cubicBezTo>
                      <a:pt x="260" y="307"/>
                      <a:pt x="260" y="306"/>
                      <a:pt x="260" y="306"/>
                    </a:cubicBezTo>
                    <a:cubicBezTo>
                      <a:pt x="260" y="306"/>
                      <a:pt x="260" y="305"/>
                      <a:pt x="260" y="305"/>
                    </a:cubicBezTo>
                    <a:cubicBezTo>
                      <a:pt x="260" y="305"/>
                      <a:pt x="260" y="304"/>
                      <a:pt x="260" y="304"/>
                    </a:cubicBezTo>
                    <a:cubicBezTo>
                      <a:pt x="261" y="303"/>
                      <a:pt x="261" y="305"/>
                      <a:pt x="262" y="304"/>
                    </a:cubicBezTo>
                    <a:cubicBezTo>
                      <a:pt x="262" y="304"/>
                      <a:pt x="262" y="304"/>
                      <a:pt x="262" y="303"/>
                    </a:cubicBezTo>
                    <a:cubicBezTo>
                      <a:pt x="262" y="303"/>
                      <a:pt x="263" y="303"/>
                      <a:pt x="262" y="303"/>
                    </a:cubicBezTo>
                    <a:cubicBezTo>
                      <a:pt x="262" y="302"/>
                      <a:pt x="263" y="301"/>
                      <a:pt x="263" y="301"/>
                    </a:cubicBezTo>
                    <a:cubicBezTo>
                      <a:pt x="264" y="302"/>
                      <a:pt x="265" y="302"/>
                      <a:pt x="265" y="301"/>
                    </a:cubicBezTo>
                    <a:cubicBezTo>
                      <a:pt x="265" y="300"/>
                      <a:pt x="262" y="299"/>
                      <a:pt x="263" y="298"/>
                    </a:cubicBezTo>
                    <a:cubicBezTo>
                      <a:pt x="264" y="298"/>
                      <a:pt x="264" y="299"/>
                      <a:pt x="264" y="298"/>
                    </a:cubicBezTo>
                    <a:cubicBezTo>
                      <a:pt x="264" y="298"/>
                      <a:pt x="264" y="297"/>
                      <a:pt x="264" y="297"/>
                    </a:cubicBezTo>
                    <a:cubicBezTo>
                      <a:pt x="263" y="296"/>
                      <a:pt x="264" y="296"/>
                      <a:pt x="264" y="295"/>
                    </a:cubicBezTo>
                    <a:cubicBezTo>
                      <a:pt x="264" y="294"/>
                      <a:pt x="264" y="293"/>
                      <a:pt x="264" y="293"/>
                    </a:cubicBezTo>
                    <a:cubicBezTo>
                      <a:pt x="264" y="291"/>
                      <a:pt x="263" y="290"/>
                      <a:pt x="263" y="288"/>
                    </a:cubicBezTo>
                    <a:cubicBezTo>
                      <a:pt x="263" y="288"/>
                      <a:pt x="262" y="288"/>
                      <a:pt x="262" y="287"/>
                    </a:cubicBezTo>
                    <a:cubicBezTo>
                      <a:pt x="262" y="287"/>
                      <a:pt x="262" y="287"/>
                      <a:pt x="262" y="286"/>
                    </a:cubicBezTo>
                    <a:cubicBezTo>
                      <a:pt x="262" y="286"/>
                      <a:pt x="262" y="285"/>
                      <a:pt x="262" y="284"/>
                    </a:cubicBezTo>
                    <a:cubicBezTo>
                      <a:pt x="261" y="284"/>
                      <a:pt x="261" y="283"/>
                      <a:pt x="261" y="282"/>
                    </a:cubicBezTo>
                    <a:cubicBezTo>
                      <a:pt x="261" y="282"/>
                      <a:pt x="261" y="282"/>
                      <a:pt x="260" y="282"/>
                    </a:cubicBezTo>
                    <a:cubicBezTo>
                      <a:pt x="260" y="282"/>
                      <a:pt x="258" y="280"/>
                      <a:pt x="258" y="281"/>
                    </a:cubicBezTo>
                    <a:cubicBezTo>
                      <a:pt x="258" y="283"/>
                      <a:pt x="258" y="283"/>
                      <a:pt x="257" y="282"/>
                    </a:cubicBezTo>
                    <a:cubicBezTo>
                      <a:pt x="257" y="281"/>
                      <a:pt x="256" y="280"/>
                      <a:pt x="256" y="280"/>
                    </a:cubicBezTo>
                    <a:cubicBezTo>
                      <a:pt x="256" y="279"/>
                      <a:pt x="255" y="279"/>
                      <a:pt x="256" y="279"/>
                    </a:cubicBezTo>
                    <a:cubicBezTo>
                      <a:pt x="256" y="278"/>
                      <a:pt x="255" y="278"/>
                      <a:pt x="255" y="278"/>
                    </a:cubicBezTo>
                    <a:cubicBezTo>
                      <a:pt x="255" y="277"/>
                      <a:pt x="255" y="276"/>
                      <a:pt x="254" y="276"/>
                    </a:cubicBezTo>
                    <a:cubicBezTo>
                      <a:pt x="254" y="275"/>
                      <a:pt x="253" y="275"/>
                      <a:pt x="253" y="275"/>
                    </a:cubicBezTo>
                    <a:cubicBezTo>
                      <a:pt x="253" y="275"/>
                      <a:pt x="253" y="275"/>
                      <a:pt x="253" y="274"/>
                    </a:cubicBezTo>
                    <a:cubicBezTo>
                      <a:pt x="253" y="274"/>
                      <a:pt x="253" y="274"/>
                      <a:pt x="252" y="274"/>
                    </a:cubicBezTo>
                    <a:cubicBezTo>
                      <a:pt x="252" y="274"/>
                      <a:pt x="252" y="273"/>
                      <a:pt x="251" y="273"/>
                    </a:cubicBezTo>
                    <a:cubicBezTo>
                      <a:pt x="251" y="274"/>
                      <a:pt x="250" y="273"/>
                      <a:pt x="250" y="273"/>
                    </a:cubicBezTo>
                    <a:cubicBezTo>
                      <a:pt x="250" y="273"/>
                      <a:pt x="250" y="271"/>
                      <a:pt x="249" y="272"/>
                    </a:cubicBezTo>
                    <a:cubicBezTo>
                      <a:pt x="249" y="272"/>
                      <a:pt x="248" y="272"/>
                      <a:pt x="248" y="272"/>
                    </a:cubicBezTo>
                    <a:cubicBezTo>
                      <a:pt x="248" y="272"/>
                      <a:pt x="248" y="273"/>
                      <a:pt x="248" y="273"/>
                    </a:cubicBezTo>
                    <a:cubicBezTo>
                      <a:pt x="248" y="273"/>
                      <a:pt x="248" y="274"/>
                      <a:pt x="248" y="274"/>
                    </a:cubicBezTo>
                    <a:cubicBezTo>
                      <a:pt x="248" y="275"/>
                      <a:pt x="248" y="274"/>
                      <a:pt x="247" y="274"/>
                    </a:cubicBezTo>
                    <a:cubicBezTo>
                      <a:pt x="247" y="274"/>
                      <a:pt x="247" y="275"/>
                      <a:pt x="247" y="275"/>
                    </a:cubicBezTo>
                    <a:cubicBezTo>
                      <a:pt x="247" y="275"/>
                      <a:pt x="246" y="275"/>
                      <a:pt x="246" y="275"/>
                    </a:cubicBezTo>
                    <a:cubicBezTo>
                      <a:pt x="246" y="274"/>
                      <a:pt x="245" y="274"/>
                      <a:pt x="245" y="273"/>
                    </a:cubicBezTo>
                    <a:cubicBezTo>
                      <a:pt x="244" y="273"/>
                      <a:pt x="244" y="274"/>
                      <a:pt x="243" y="274"/>
                    </a:cubicBezTo>
                    <a:cubicBezTo>
                      <a:pt x="243" y="274"/>
                      <a:pt x="243" y="274"/>
                      <a:pt x="243" y="274"/>
                    </a:cubicBezTo>
                    <a:cubicBezTo>
                      <a:pt x="242" y="273"/>
                      <a:pt x="242" y="274"/>
                      <a:pt x="242" y="273"/>
                    </a:cubicBezTo>
                    <a:cubicBezTo>
                      <a:pt x="241" y="273"/>
                      <a:pt x="240" y="272"/>
                      <a:pt x="240" y="272"/>
                    </a:cubicBezTo>
                    <a:cubicBezTo>
                      <a:pt x="239" y="272"/>
                      <a:pt x="239" y="273"/>
                      <a:pt x="239" y="273"/>
                    </a:cubicBezTo>
                    <a:cubicBezTo>
                      <a:pt x="239" y="273"/>
                      <a:pt x="238" y="273"/>
                      <a:pt x="238" y="273"/>
                    </a:cubicBezTo>
                    <a:cubicBezTo>
                      <a:pt x="238" y="273"/>
                      <a:pt x="238" y="274"/>
                      <a:pt x="237" y="273"/>
                    </a:cubicBezTo>
                    <a:cubicBezTo>
                      <a:pt x="237" y="273"/>
                      <a:pt x="237" y="273"/>
                      <a:pt x="236" y="273"/>
                    </a:cubicBezTo>
                    <a:cubicBezTo>
                      <a:pt x="237" y="273"/>
                      <a:pt x="237" y="273"/>
                      <a:pt x="237" y="272"/>
                    </a:cubicBezTo>
                    <a:cubicBezTo>
                      <a:pt x="237" y="272"/>
                      <a:pt x="236" y="272"/>
                      <a:pt x="237" y="271"/>
                    </a:cubicBezTo>
                    <a:cubicBezTo>
                      <a:pt x="237" y="271"/>
                      <a:pt x="237" y="271"/>
                      <a:pt x="237" y="271"/>
                    </a:cubicBezTo>
                    <a:cubicBezTo>
                      <a:pt x="237" y="271"/>
                      <a:pt x="238" y="271"/>
                      <a:pt x="238" y="271"/>
                    </a:cubicBezTo>
                    <a:cubicBezTo>
                      <a:pt x="238" y="271"/>
                      <a:pt x="238" y="270"/>
                      <a:pt x="238" y="270"/>
                    </a:cubicBezTo>
                    <a:cubicBezTo>
                      <a:pt x="238" y="270"/>
                      <a:pt x="238" y="270"/>
                      <a:pt x="239" y="270"/>
                    </a:cubicBezTo>
                    <a:cubicBezTo>
                      <a:pt x="239" y="269"/>
                      <a:pt x="238" y="268"/>
                      <a:pt x="238" y="268"/>
                    </a:cubicBezTo>
                    <a:cubicBezTo>
                      <a:pt x="238" y="268"/>
                      <a:pt x="237" y="267"/>
                      <a:pt x="237" y="267"/>
                    </a:cubicBezTo>
                    <a:cubicBezTo>
                      <a:pt x="237" y="266"/>
                      <a:pt x="237" y="266"/>
                      <a:pt x="237" y="266"/>
                    </a:cubicBezTo>
                    <a:cubicBezTo>
                      <a:pt x="237" y="266"/>
                      <a:pt x="236" y="266"/>
                      <a:pt x="235" y="266"/>
                    </a:cubicBezTo>
                    <a:cubicBezTo>
                      <a:pt x="235" y="267"/>
                      <a:pt x="235" y="267"/>
                      <a:pt x="235" y="267"/>
                    </a:cubicBezTo>
                    <a:cubicBezTo>
                      <a:pt x="234" y="268"/>
                      <a:pt x="234" y="267"/>
                      <a:pt x="234" y="267"/>
                    </a:cubicBezTo>
                    <a:cubicBezTo>
                      <a:pt x="234" y="267"/>
                      <a:pt x="234" y="266"/>
                      <a:pt x="233" y="266"/>
                    </a:cubicBezTo>
                    <a:cubicBezTo>
                      <a:pt x="234" y="266"/>
                      <a:pt x="234" y="265"/>
                      <a:pt x="235" y="265"/>
                    </a:cubicBezTo>
                    <a:cubicBezTo>
                      <a:pt x="235" y="265"/>
                      <a:pt x="236" y="264"/>
                      <a:pt x="235" y="263"/>
                    </a:cubicBezTo>
                    <a:cubicBezTo>
                      <a:pt x="235" y="263"/>
                      <a:pt x="234" y="264"/>
                      <a:pt x="234" y="264"/>
                    </a:cubicBezTo>
                    <a:cubicBezTo>
                      <a:pt x="233" y="263"/>
                      <a:pt x="233" y="262"/>
                      <a:pt x="233" y="262"/>
                    </a:cubicBezTo>
                    <a:cubicBezTo>
                      <a:pt x="232" y="261"/>
                      <a:pt x="229" y="263"/>
                      <a:pt x="229" y="264"/>
                    </a:cubicBezTo>
                    <a:cubicBezTo>
                      <a:pt x="228" y="264"/>
                      <a:pt x="228" y="264"/>
                      <a:pt x="228" y="264"/>
                    </a:cubicBezTo>
                    <a:cubicBezTo>
                      <a:pt x="228" y="265"/>
                      <a:pt x="228" y="265"/>
                      <a:pt x="228" y="265"/>
                    </a:cubicBezTo>
                    <a:cubicBezTo>
                      <a:pt x="228" y="265"/>
                      <a:pt x="227" y="265"/>
                      <a:pt x="227" y="265"/>
                    </a:cubicBezTo>
                    <a:cubicBezTo>
                      <a:pt x="227" y="265"/>
                      <a:pt x="227" y="266"/>
                      <a:pt x="227" y="266"/>
                    </a:cubicBezTo>
                    <a:cubicBezTo>
                      <a:pt x="227" y="266"/>
                      <a:pt x="226" y="266"/>
                      <a:pt x="226" y="266"/>
                    </a:cubicBezTo>
                    <a:cubicBezTo>
                      <a:pt x="225" y="265"/>
                      <a:pt x="223" y="265"/>
                      <a:pt x="222" y="265"/>
                    </a:cubicBezTo>
                    <a:cubicBezTo>
                      <a:pt x="223" y="265"/>
                      <a:pt x="223" y="265"/>
                      <a:pt x="223" y="265"/>
                    </a:cubicBezTo>
                    <a:cubicBezTo>
                      <a:pt x="223" y="265"/>
                      <a:pt x="221" y="265"/>
                      <a:pt x="221" y="264"/>
                    </a:cubicBezTo>
                    <a:cubicBezTo>
                      <a:pt x="220" y="264"/>
                      <a:pt x="220" y="263"/>
                      <a:pt x="219" y="263"/>
                    </a:cubicBezTo>
                    <a:cubicBezTo>
                      <a:pt x="219" y="263"/>
                      <a:pt x="218" y="264"/>
                      <a:pt x="218" y="264"/>
                    </a:cubicBezTo>
                    <a:cubicBezTo>
                      <a:pt x="218" y="264"/>
                      <a:pt x="218" y="264"/>
                      <a:pt x="217" y="264"/>
                    </a:cubicBezTo>
                    <a:cubicBezTo>
                      <a:pt x="217" y="264"/>
                      <a:pt x="217" y="265"/>
                      <a:pt x="216" y="265"/>
                    </a:cubicBezTo>
                    <a:cubicBezTo>
                      <a:pt x="216" y="265"/>
                      <a:pt x="216" y="265"/>
                      <a:pt x="216" y="266"/>
                    </a:cubicBezTo>
                    <a:cubicBezTo>
                      <a:pt x="215" y="266"/>
                      <a:pt x="215" y="267"/>
                      <a:pt x="215" y="267"/>
                    </a:cubicBezTo>
                    <a:cubicBezTo>
                      <a:pt x="215" y="267"/>
                      <a:pt x="214" y="267"/>
                      <a:pt x="214" y="267"/>
                    </a:cubicBezTo>
                    <a:cubicBezTo>
                      <a:pt x="214" y="267"/>
                      <a:pt x="215" y="268"/>
                      <a:pt x="214" y="268"/>
                    </a:cubicBezTo>
                    <a:cubicBezTo>
                      <a:pt x="214" y="268"/>
                      <a:pt x="214" y="268"/>
                      <a:pt x="214" y="268"/>
                    </a:cubicBezTo>
                    <a:cubicBezTo>
                      <a:pt x="214" y="269"/>
                      <a:pt x="213" y="269"/>
                      <a:pt x="213" y="269"/>
                    </a:cubicBezTo>
                    <a:cubicBezTo>
                      <a:pt x="212" y="270"/>
                      <a:pt x="212" y="270"/>
                      <a:pt x="211" y="270"/>
                    </a:cubicBezTo>
                    <a:cubicBezTo>
                      <a:pt x="210" y="270"/>
                      <a:pt x="207" y="270"/>
                      <a:pt x="207" y="272"/>
                    </a:cubicBezTo>
                    <a:cubicBezTo>
                      <a:pt x="207" y="273"/>
                      <a:pt x="207" y="273"/>
                      <a:pt x="206" y="274"/>
                    </a:cubicBezTo>
                    <a:cubicBezTo>
                      <a:pt x="206" y="274"/>
                      <a:pt x="205" y="275"/>
                      <a:pt x="205" y="275"/>
                    </a:cubicBezTo>
                    <a:cubicBezTo>
                      <a:pt x="204" y="276"/>
                      <a:pt x="203" y="276"/>
                      <a:pt x="203" y="276"/>
                    </a:cubicBezTo>
                    <a:cubicBezTo>
                      <a:pt x="203" y="277"/>
                      <a:pt x="204" y="277"/>
                      <a:pt x="204" y="278"/>
                    </a:cubicBezTo>
                    <a:cubicBezTo>
                      <a:pt x="204" y="278"/>
                      <a:pt x="203" y="279"/>
                      <a:pt x="202" y="279"/>
                    </a:cubicBezTo>
                    <a:cubicBezTo>
                      <a:pt x="202" y="279"/>
                      <a:pt x="202" y="279"/>
                      <a:pt x="202" y="279"/>
                    </a:cubicBezTo>
                    <a:cubicBezTo>
                      <a:pt x="201" y="279"/>
                      <a:pt x="201" y="280"/>
                      <a:pt x="201" y="280"/>
                    </a:cubicBezTo>
                    <a:cubicBezTo>
                      <a:pt x="201" y="280"/>
                      <a:pt x="201" y="279"/>
                      <a:pt x="201" y="279"/>
                    </a:cubicBezTo>
                    <a:cubicBezTo>
                      <a:pt x="201" y="279"/>
                      <a:pt x="201" y="280"/>
                      <a:pt x="201" y="280"/>
                    </a:cubicBezTo>
                    <a:cubicBezTo>
                      <a:pt x="201" y="280"/>
                      <a:pt x="200" y="279"/>
                      <a:pt x="200" y="279"/>
                    </a:cubicBezTo>
                    <a:cubicBezTo>
                      <a:pt x="200" y="279"/>
                      <a:pt x="200" y="280"/>
                      <a:pt x="200" y="280"/>
                    </a:cubicBezTo>
                    <a:cubicBezTo>
                      <a:pt x="199" y="280"/>
                      <a:pt x="199" y="280"/>
                      <a:pt x="199" y="280"/>
                    </a:cubicBezTo>
                    <a:cubicBezTo>
                      <a:pt x="198" y="280"/>
                      <a:pt x="198" y="280"/>
                      <a:pt x="198" y="280"/>
                    </a:cubicBezTo>
                    <a:cubicBezTo>
                      <a:pt x="197" y="281"/>
                      <a:pt x="196" y="280"/>
                      <a:pt x="196" y="280"/>
                    </a:cubicBezTo>
                    <a:cubicBezTo>
                      <a:pt x="195" y="280"/>
                      <a:pt x="194" y="280"/>
                      <a:pt x="194" y="280"/>
                    </a:cubicBezTo>
                    <a:cubicBezTo>
                      <a:pt x="194" y="279"/>
                      <a:pt x="194" y="278"/>
                      <a:pt x="193" y="278"/>
                    </a:cubicBezTo>
                    <a:cubicBezTo>
                      <a:pt x="192" y="278"/>
                      <a:pt x="191" y="278"/>
                      <a:pt x="191" y="277"/>
                    </a:cubicBezTo>
                    <a:cubicBezTo>
                      <a:pt x="190" y="277"/>
                      <a:pt x="190" y="277"/>
                      <a:pt x="189" y="277"/>
                    </a:cubicBezTo>
                    <a:cubicBezTo>
                      <a:pt x="189" y="278"/>
                      <a:pt x="189" y="278"/>
                      <a:pt x="188" y="278"/>
                    </a:cubicBezTo>
                    <a:cubicBezTo>
                      <a:pt x="187" y="277"/>
                      <a:pt x="186" y="277"/>
                      <a:pt x="185" y="277"/>
                    </a:cubicBezTo>
                    <a:cubicBezTo>
                      <a:pt x="185" y="277"/>
                      <a:pt x="185" y="277"/>
                      <a:pt x="184" y="277"/>
                    </a:cubicBezTo>
                    <a:cubicBezTo>
                      <a:pt x="183" y="277"/>
                      <a:pt x="183" y="277"/>
                      <a:pt x="182" y="277"/>
                    </a:cubicBezTo>
                    <a:cubicBezTo>
                      <a:pt x="181" y="277"/>
                      <a:pt x="182" y="276"/>
                      <a:pt x="182" y="275"/>
                    </a:cubicBezTo>
                    <a:cubicBezTo>
                      <a:pt x="182" y="274"/>
                      <a:pt x="179" y="274"/>
                      <a:pt x="178" y="274"/>
                    </a:cubicBezTo>
                    <a:cubicBezTo>
                      <a:pt x="178" y="274"/>
                      <a:pt x="177" y="274"/>
                      <a:pt x="177" y="275"/>
                    </a:cubicBezTo>
                    <a:cubicBezTo>
                      <a:pt x="176" y="275"/>
                      <a:pt x="176" y="275"/>
                      <a:pt x="176" y="276"/>
                    </a:cubicBezTo>
                    <a:cubicBezTo>
                      <a:pt x="174" y="276"/>
                      <a:pt x="174" y="277"/>
                      <a:pt x="173" y="278"/>
                    </a:cubicBezTo>
                    <a:cubicBezTo>
                      <a:pt x="172" y="279"/>
                      <a:pt x="171" y="280"/>
                      <a:pt x="171" y="282"/>
                    </a:cubicBezTo>
                    <a:cubicBezTo>
                      <a:pt x="171" y="283"/>
                      <a:pt x="171" y="283"/>
                      <a:pt x="170" y="283"/>
                    </a:cubicBezTo>
                    <a:cubicBezTo>
                      <a:pt x="170" y="284"/>
                      <a:pt x="170" y="284"/>
                      <a:pt x="170" y="285"/>
                    </a:cubicBezTo>
                    <a:cubicBezTo>
                      <a:pt x="169" y="284"/>
                      <a:pt x="168" y="284"/>
                      <a:pt x="168" y="283"/>
                    </a:cubicBezTo>
                    <a:cubicBezTo>
                      <a:pt x="168" y="282"/>
                      <a:pt x="168" y="281"/>
                      <a:pt x="168" y="280"/>
                    </a:cubicBezTo>
                    <a:cubicBezTo>
                      <a:pt x="168" y="280"/>
                      <a:pt x="168" y="279"/>
                      <a:pt x="168" y="279"/>
                    </a:cubicBezTo>
                    <a:cubicBezTo>
                      <a:pt x="168" y="279"/>
                      <a:pt x="168" y="278"/>
                      <a:pt x="168" y="278"/>
                    </a:cubicBezTo>
                    <a:cubicBezTo>
                      <a:pt x="168" y="277"/>
                      <a:pt x="167" y="277"/>
                      <a:pt x="166" y="277"/>
                    </a:cubicBezTo>
                    <a:cubicBezTo>
                      <a:pt x="166" y="277"/>
                      <a:pt x="165" y="276"/>
                      <a:pt x="165" y="276"/>
                    </a:cubicBezTo>
                    <a:cubicBezTo>
                      <a:pt x="165" y="277"/>
                      <a:pt x="165" y="277"/>
                      <a:pt x="165" y="277"/>
                    </a:cubicBezTo>
                    <a:cubicBezTo>
                      <a:pt x="164" y="277"/>
                      <a:pt x="164" y="277"/>
                      <a:pt x="164" y="277"/>
                    </a:cubicBezTo>
                    <a:cubicBezTo>
                      <a:pt x="164" y="277"/>
                      <a:pt x="164" y="277"/>
                      <a:pt x="164" y="278"/>
                    </a:cubicBezTo>
                    <a:cubicBezTo>
                      <a:pt x="164" y="278"/>
                      <a:pt x="163" y="278"/>
                      <a:pt x="163" y="278"/>
                    </a:cubicBezTo>
                    <a:cubicBezTo>
                      <a:pt x="162" y="278"/>
                      <a:pt x="160" y="278"/>
                      <a:pt x="161" y="279"/>
                    </a:cubicBezTo>
                    <a:cubicBezTo>
                      <a:pt x="161" y="279"/>
                      <a:pt x="159" y="278"/>
                      <a:pt x="159" y="279"/>
                    </a:cubicBezTo>
                    <a:cubicBezTo>
                      <a:pt x="158" y="279"/>
                      <a:pt x="158" y="279"/>
                      <a:pt x="158" y="279"/>
                    </a:cubicBezTo>
                    <a:cubicBezTo>
                      <a:pt x="158" y="280"/>
                      <a:pt x="157" y="280"/>
                      <a:pt x="157" y="280"/>
                    </a:cubicBezTo>
                    <a:cubicBezTo>
                      <a:pt x="156" y="279"/>
                      <a:pt x="156" y="279"/>
                      <a:pt x="156" y="279"/>
                    </a:cubicBezTo>
                    <a:cubicBezTo>
                      <a:pt x="155" y="279"/>
                      <a:pt x="155" y="280"/>
                      <a:pt x="155" y="280"/>
                    </a:cubicBezTo>
                    <a:cubicBezTo>
                      <a:pt x="154" y="280"/>
                      <a:pt x="155" y="279"/>
                      <a:pt x="154" y="279"/>
                    </a:cubicBezTo>
                    <a:cubicBezTo>
                      <a:pt x="154" y="279"/>
                      <a:pt x="154" y="279"/>
                      <a:pt x="153" y="279"/>
                    </a:cubicBezTo>
                    <a:cubicBezTo>
                      <a:pt x="152" y="280"/>
                      <a:pt x="152" y="279"/>
                      <a:pt x="151" y="279"/>
                    </a:cubicBezTo>
                    <a:cubicBezTo>
                      <a:pt x="151" y="278"/>
                      <a:pt x="150" y="278"/>
                      <a:pt x="149" y="278"/>
                    </a:cubicBezTo>
                    <a:cubicBezTo>
                      <a:pt x="149" y="277"/>
                      <a:pt x="149" y="277"/>
                      <a:pt x="148" y="277"/>
                    </a:cubicBezTo>
                    <a:cubicBezTo>
                      <a:pt x="148" y="277"/>
                      <a:pt x="148" y="277"/>
                      <a:pt x="148" y="277"/>
                    </a:cubicBezTo>
                    <a:cubicBezTo>
                      <a:pt x="148" y="276"/>
                      <a:pt x="147" y="277"/>
                      <a:pt x="147" y="277"/>
                    </a:cubicBezTo>
                    <a:cubicBezTo>
                      <a:pt x="147" y="277"/>
                      <a:pt x="146" y="276"/>
                      <a:pt x="146" y="276"/>
                    </a:cubicBezTo>
                    <a:cubicBezTo>
                      <a:pt x="146" y="277"/>
                      <a:pt x="146" y="278"/>
                      <a:pt x="146" y="278"/>
                    </a:cubicBezTo>
                    <a:cubicBezTo>
                      <a:pt x="146" y="279"/>
                      <a:pt x="145" y="278"/>
                      <a:pt x="145" y="278"/>
                    </a:cubicBezTo>
                    <a:cubicBezTo>
                      <a:pt x="144" y="278"/>
                      <a:pt x="144" y="278"/>
                      <a:pt x="143" y="278"/>
                    </a:cubicBezTo>
                    <a:cubicBezTo>
                      <a:pt x="143" y="277"/>
                      <a:pt x="143" y="276"/>
                      <a:pt x="142" y="276"/>
                    </a:cubicBezTo>
                    <a:cubicBezTo>
                      <a:pt x="142" y="277"/>
                      <a:pt x="142" y="277"/>
                      <a:pt x="142" y="278"/>
                    </a:cubicBezTo>
                    <a:cubicBezTo>
                      <a:pt x="143" y="279"/>
                      <a:pt x="141" y="279"/>
                      <a:pt x="141" y="278"/>
                    </a:cubicBezTo>
                    <a:cubicBezTo>
                      <a:pt x="141" y="278"/>
                      <a:pt x="140" y="277"/>
                      <a:pt x="140" y="277"/>
                    </a:cubicBezTo>
                    <a:cubicBezTo>
                      <a:pt x="140" y="277"/>
                      <a:pt x="140" y="276"/>
                      <a:pt x="140" y="276"/>
                    </a:cubicBezTo>
                    <a:cubicBezTo>
                      <a:pt x="139" y="276"/>
                      <a:pt x="139" y="275"/>
                      <a:pt x="138" y="275"/>
                    </a:cubicBezTo>
                    <a:cubicBezTo>
                      <a:pt x="138" y="275"/>
                      <a:pt x="138" y="274"/>
                      <a:pt x="138" y="274"/>
                    </a:cubicBezTo>
                    <a:cubicBezTo>
                      <a:pt x="137" y="274"/>
                      <a:pt x="137" y="275"/>
                      <a:pt x="137" y="275"/>
                    </a:cubicBezTo>
                    <a:cubicBezTo>
                      <a:pt x="136" y="274"/>
                      <a:pt x="135" y="275"/>
                      <a:pt x="134" y="275"/>
                    </a:cubicBezTo>
                    <a:cubicBezTo>
                      <a:pt x="134" y="275"/>
                      <a:pt x="133" y="274"/>
                      <a:pt x="132" y="274"/>
                    </a:cubicBezTo>
                    <a:cubicBezTo>
                      <a:pt x="132" y="274"/>
                      <a:pt x="132" y="274"/>
                      <a:pt x="132" y="273"/>
                    </a:cubicBezTo>
                    <a:cubicBezTo>
                      <a:pt x="132" y="273"/>
                      <a:pt x="132" y="271"/>
                      <a:pt x="132" y="271"/>
                    </a:cubicBezTo>
                    <a:cubicBezTo>
                      <a:pt x="132" y="271"/>
                      <a:pt x="131" y="270"/>
                      <a:pt x="131" y="271"/>
                    </a:cubicBezTo>
                    <a:cubicBezTo>
                      <a:pt x="130" y="271"/>
                      <a:pt x="130" y="272"/>
                      <a:pt x="130" y="272"/>
                    </a:cubicBezTo>
                    <a:cubicBezTo>
                      <a:pt x="129" y="272"/>
                      <a:pt x="128" y="271"/>
                      <a:pt x="128" y="271"/>
                    </a:cubicBezTo>
                    <a:cubicBezTo>
                      <a:pt x="127" y="271"/>
                      <a:pt x="127" y="270"/>
                      <a:pt x="127" y="270"/>
                    </a:cubicBezTo>
                    <a:cubicBezTo>
                      <a:pt x="127" y="270"/>
                      <a:pt x="127" y="270"/>
                      <a:pt x="126" y="270"/>
                    </a:cubicBezTo>
                    <a:cubicBezTo>
                      <a:pt x="126" y="269"/>
                      <a:pt x="125" y="269"/>
                      <a:pt x="125" y="269"/>
                    </a:cubicBezTo>
                    <a:cubicBezTo>
                      <a:pt x="124" y="268"/>
                      <a:pt x="123" y="268"/>
                      <a:pt x="122" y="267"/>
                    </a:cubicBezTo>
                    <a:cubicBezTo>
                      <a:pt x="122" y="266"/>
                      <a:pt x="122" y="266"/>
                      <a:pt x="122" y="265"/>
                    </a:cubicBezTo>
                    <a:cubicBezTo>
                      <a:pt x="121" y="265"/>
                      <a:pt x="122" y="265"/>
                      <a:pt x="121" y="264"/>
                    </a:cubicBezTo>
                    <a:cubicBezTo>
                      <a:pt x="121" y="264"/>
                      <a:pt x="121" y="264"/>
                      <a:pt x="121" y="264"/>
                    </a:cubicBezTo>
                    <a:cubicBezTo>
                      <a:pt x="120" y="263"/>
                      <a:pt x="119" y="263"/>
                      <a:pt x="119" y="263"/>
                    </a:cubicBezTo>
                    <a:cubicBezTo>
                      <a:pt x="118" y="264"/>
                      <a:pt x="117" y="264"/>
                      <a:pt x="117" y="264"/>
                    </a:cubicBezTo>
                    <a:cubicBezTo>
                      <a:pt x="117" y="265"/>
                      <a:pt x="117" y="265"/>
                      <a:pt x="116" y="265"/>
                    </a:cubicBezTo>
                    <a:cubicBezTo>
                      <a:pt x="115" y="264"/>
                      <a:pt x="114" y="263"/>
                      <a:pt x="113" y="261"/>
                    </a:cubicBezTo>
                    <a:cubicBezTo>
                      <a:pt x="113" y="261"/>
                      <a:pt x="113" y="261"/>
                      <a:pt x="113" y="261"/>
                    </a:cubicBezTo>
                    <a:cubicBezTo>
                      <a:pt x="112" y="261"/>
                      <a:pt x="113" y="261"/>
                      <a:pt x="112" y="261"/>
                    </a:cubicBezTo>
                    <a:cubicBezTo>
                      <a:pt x="112" y="260"/>
                      <a:pt x="112" y="260"/>
                      <a:pt x="111" y="260"/>
                    </a:cubicBezTo>
                    <a:cubicBezTo>
                      <a:pt x="111" y="260"/>
                      <a:pt x="111" y="260"/>
                      <a:pt x="110" y="260"/>
                    </a:cubicBezTo>
                    <a:cubicBezTo>
                      <a:pt x="110" y="259"/>
                      <a:pt x="109" y="259"/>
                      <a:pt x="109" y="259"/>
                    </a:cubicBezTo>
                    <a:cubicBezTo>
                      <a:pt x="108" y="259"/>
                      <a:pt x="107" y="258"/>
                      <a:pt x="107" y="258"/>
                    </a:cubicBezTo>
                    <a:cubicBezTo>
                      <a:pt x="107" y="258"/>
                      <a:pt x="107" y="257"/>
                      <a:pt x="106" y="257"/>
                    </a:cubicBezTo>
                    <a:cubicBezTo>
                      <a:pt x="106" y="257"/>
                      <a:pt x="106" y="257"/>
                      <a:pt x="105" y="257"/>
                    </a:cubicBezTo>
                    <a:cubicBezTo>
                      <a:pt x="104" y="256"/>
                      <a:pt x="103" y="256"/>
                      <a:pt x="102" y="255"/>
                    </a:cubicBezTo>
                    <a:cubicBezTo>
                      <a:pt x="101" y="255"/>
                      <a:pt x="101" y="255"/>
                      <a:pt x="101" y="254"/>
                    </a:cubicBezTo>
                    <a:cubicBezTo>
                      <a:pt x="101" y="254"/>
                      <a:pt x="101" y="254"/>
                      <a:pt x="101" y="254"/>
                    </a:cubicBezTo>
                    <a:cubicBezTo>
                      <a:pt x="100" y="253"/>
                      <a:pt x="100" y="253"/>
                      <a:pt x="100" y="252"/>
                    </a:cubicBezTo>
                    <a:cubicBezTo>
                      <a:pt x="100" y="252"/>
                      <a:pt x="98" y="252"/>
                      <a:pt x="98" y="251"/>
                    </a:cubicBezTo>
                    <a:cubicBezTo>
                      <a:pt x="97" y="251"/>
                      <a:pt x="96" y="251"/>
                      <a:pt x="95" y="251"/>
                    </a:cubicBezTo>
                    <a:cubicBezTo>
                      <a:pt x="95" y="251"/>
                      <a:pt x="95" y="252"/>
                      <a:pt x="94" y="252"/>
                    </a:cubicBezTo>
                    <a:cubicBezTo>
                      <a:pt x="94" y="252"/>
                      <a:pt x="93" y="251"/>
                      <a:pt x="93" y="252"/>
                    </a:cubicBezTo>
                    <a:cubicBezTo>
                      <a:pt x="93" y="252"/>
                      <a:pt x="93" y="253"/>
                      <a:pt x="93" y="253"/>
                    </a:cubicBezTo>
                    <a:cubicBezTo>
                      <a:pt x="93" y="254"/>
                      <a:pt x="93" y="254"/>
                      <a:pt x="93" y="254"/>
                    </a:cubicBezTo>
                    <a:cubicBezTo>
                      <a:pt x="93" y="254"/>
                      <a:pt x="93" y="255"/>
                      <a:pt x="93" y="255"/>
                    </a:cubicBezTo>
                    <a:cubicBezTo>
                      <a:pt x="92" y="257"/>
                      <a:pt x="90" y="253"/>
                      <a:pt x="90" y="253"/>
                    </a:cubicBezTo>
                    <a:cubicBezTo>
                      <a:pt x="89" y="252"/>
                      <a:pt x="89" y="252"/>
                      <a:pt x="88" y="252"/>
                    </a:cubicBezTo>
                    <a:cubicBezTo>
                      <a:pt x="87" y="252"/>
                      <a:pt x="87" y="251"/>
                      <a:pt x="86" y="251"/>
                    </a:cubicBezTo>
                    <a:cubicBezTo>
                      <a:pt x="85" y="250"/>
                      <a:pt x="85" y="250"/>
                      <a:pt x="84" y="250"/>
                    </a:cubicBezTo>
                    <a:cubicBezTo>
                      <a:pt x="83" y="250"/>
                      <a:pt x="82" y="249"/>
                      <a:pt x="82" y="249"/>
                    </a:cubicBezTo>
                    <a:cubicBezTo>
                      <a:pt x="81" y="249"/>
                      <a:pt x="82" y="249"/>
                      <a:pt x="81" y="248"/>
                    </a:cubicBezTo>
                    <a:cubicBezTo>
                      <a:pt x="81" y="248"/>
                      <a:pt x="82" y="248"/>
                      <a:pt x="82" y="248"/>
                    </a:cubicBezTo>
                    <a:cubicBezTo>
                      <a:pt x="81" y="247"/>
                      <a:pt x="80" y="247"/>
                      <a:pt x="80" y="247"/>
                    </a:cubicBezTo>
                    <a:cubicBezTo>
                      <a:pt x="79" y="246"/>
                      <a:pt x="79" y="246"/>
                      <a:pt x="78" y="246"/>
                    </a:cubicBezTo>
                    <a:cubicBezTo>
                      <a:pt x="78" y="245"/>
                      <a:pt x="77" y="245"/>
                      <a:pt x="77" y="245"/>
                    </a:cubicBezTo>
                    <a:cubicBezTo>
                      <a:pt x="76" y="244"/>
                      <a:pt x="76" y="245"/>
                      <a:pt x="75" y="245"/>
                    </a:cubicBezTo>
                    <a:cubicBezTo>
                      <a:pt x="74" y="245"/>
                      <a:pt x="74" y="244"/>
                      <a:pt x="73" y="244"/>
                    </a:cubicBezTo>
                    <a:cubicBezTo>
                      <a:pt x="73" y="244"/>
                      <a:pt x="73" y="243"/>
                      <a:pt x="73" y="243"/>
                    </a:cubicBezTo>
                    <a:cubicBezTo>
                      <a:pt x="72" y="243"/>
                      <a:pt x="71" y="242"/>
                      <a:pt x="71" y="241"/>
                    </a:cubicBezTo>
                    <a:cubicBezTo>
                      <a:pt x="70" y="241"/>
                      <a:pt x="70" y="240"/>
                      <a:pt x="69" y="240"/>
                    </a:cubicBezTo>
                    <a:cubicBezTo>
                      <a:pt x="69" y="240"/>
                      <a:pt x="69" y="240"/>
                      <a:pt x="69" y="241"/>
                    </a:cubicBezTo>
                    <a:cubicBezTo>
                      <a:pt x="69" y="241"/>
                      <a:pt x="69" y="241"/>
                      <a:pt x="69" y="241"/>
                    </a:cubicBezTo>
                    <a:cubicBezTo>
                      <a:pt x="69" y="241"/>
                      <a:pt x="68" y="241"/>
                      <a:pt x="68" y="241"/>
                    </a:cubicBezTo>
                    <a:cubicBezTo>
                      <a:pt x="68" y="241"/>
                      <a:pt x="68" y="241"/>
                      <a:pt x="67" y="241"/>
                    </a:cubicBezTo>
                    <a:cubicBezTo>
                      <a:pt x="66" y="241"/>
                      <a:pt x="66" y="240"/>
                      <a:pt x="66" y="240"/>
                    </a:cubicBezTo>
                    <a:cubicBezTo>
                      <a:pt x="66" y="239"/>
                      <a:pt x="66" y="239"/>
                      <a:pt x="66" y="239"/>
                    </a:cubicBezTo>
                    <a:cubicBezTo>
                      <a:pt x="66" y="239"/>
                      <a:pt x="66" y="238"/>
                      <a:pt x="66" y="238"/>
                    </a:cubicBezTo>
                    <a:cubicBezTo>
                      <a:pt x="67" y="238"/>
                      <a:pt x="66" y="237"/>
                      <a:pt x="66" y="237"/>
                    </a:cubicBezTo>
                    <a:cubicBezTo>
                      <a:pt x="65" y="237"/>
                      <a:pt x="65" y="236"/>
                      <a:pt x="65" y="235"/>
                    </a:cubicBezTo>
                    <a:cubicBezTo>
                      <a:pt x="65" y="235"/>
                      <a:pt x="65" y="234"/>
                      <a:pt x="65" y="234"/>
                    </a:cubicBezTo>
                    <a:cubicBezTo>
                      <a:pt x="64" y="233"/>
                      <a:pt x="64" y="233"/>
                      <a:pt x="63" y="232"/>
                    </a:cubicBezTo>
                    <a:cubicBezTo>
                      <a:pt x="63" y="232"/>
                      <a:pt x="63" y="231"/>
                      <a:pt x="62" y="231"/>
                    </a:cubicBezTo>
                    <a:cubicBezTo>
                      <a:pt x="62" y="231"/>
                      <a:pt x="62" y="230"/>
                      <a:pt x="61" y="229"/>
                    </a:cubicBezTo>
                    <a:cubicBezTo>
                      <a:pt x="61" y="229"/>
                      <a:pt x="61" y="228"/>
                      <a:pt x="61" y="228"/>
                    </a:cubicBezTo>
                    <a:cubicBezTo>
                      <a:pt x="60" y="227"/>
                      <a:pt x="61" y="227"/>
                      <a:pt x="61" y="227"/>
                    </a:cubicBezTo>
                    <a:cubicBezTo>
                      <a:pt x="62" y="227"/>
                      <a:pt x="63" y="227"/>
                      <a:pt x="63" y="227"/>
                    </a:cubicBezTo>
                    <a:cubicBezTo>
                      <a:pt x="64" y="226"/>
                      <a:pt x="64" y="227"/>
                      <a:pt x="64" y="228"/>
                    </a:cubicBezTo>
                    <a:cubicBezTo>
                      <a:pt x="64" y="228"/>
                      <a:pt x="65" y="229"/>
                      <a:pt x="65" y="229"/>
                    </a:cubicBezTo>
                    <a:cubicBezTo>
                      <a:pt x="66" y="230"/>
                      <a:pt x="66" y="230"/>
                      <a:pt x="67" y="230"/>
                    </a:cubicBezTo>
                    <a:cubicBezTo>
                      <a:pt x="68" y="229"/>
                      <a:pt x="67" y="229"/>
                      <a:pt x="67" y="228"/>
                    </a:cubicBezTo>
                    <a:cubicBezTo>
                      <a:pt x="68" y="228"/>
                      <a:pt x="69" y="228"/>
                      <a:pt x="69" y="228"/>
                    </a:cubicBezTo>
                    <a:cubicBezTo>
                      <a:pt x="69" y="228"/>
                      <a:pt x="70" y="227"/>
                      <a:pt x="70" y="227"/>
                    </a:cubicBezTo>
                    <a:cubicBezTo>
                      <a:pt x="71" y="226"/>
                      <a:pt x="70" y="225"/>
                      <a:pt x="70" y="225"/>
                    </a:cubicBezTo>
                    <a:cubicBezTo>
                      <a:pt x="69" y="225"/>
                      <a:pt x="69" y="224"/>
                      <a:pt x="69" y="224"/>
                    </a:cubicBezTo>
                    <a:cubicBezTo>
                      <a:pt x="68" y="223"/>
                      <a:pt x="68" y="222"/>
                      <a:pt x="68" y="221"/>
                    </a:cubicBezTo>
                    <a:cubicBezTo>
                      <a:pt x="68" y="221"/>
                      <a:pt x="68" y="221"/>
                      <a:pt x="67" y="221"/>
                    </a:cubicBezTo>
                    <a:cubicBezTo>
                      <a:pt x="67" y="221"/>
                      <a:pt x="66" y="220"/>
                      <a:pt x="66" y="220"/>
                    </a:cubicBezTo>
                    <a:cubicBezTo>
                      <a:pt x="65" y="220"/>
                      <a:pt x="66" y="220"/>
                      <a:pt x="65" y="220"/>
                    </a:cubicBezTo>
                    <a:cubicBezTo>
                      <a:pt x="65" y="219"/>
                      <a:pt x="64" y="219"/>
                      <a:pt x="63" y="218"/>
                    </a:cubicBezTo>
                    <a:cubicBezTo>
                      <a:pt x="63" y="218"/>
                      <a:pt x="63" y="217"/>
                      <a:pt x="63" y="216"/>
                    </a:cubicBezTo>
                    <a:cubicBezTo>
                      <a:pt x="62" y="216"/>
                      <a:pt x="63" y="215"/>
                      <a:pt x="63" y="216"/>
                    </a:cubicBezTo>
                    <a:cubicBezTo>
                      <a:pt x="64" y="216"/>
                      <a:pt x="64" y="215"/>
                      <a:pt x="63" y="215"/>
                    </a:cubicBezTo>
                    <a:cubicBezTo>
                      <a:pt x="63" y="214"/>
                      <a:pt x="62" y="213"/>
                      <a:pt x="62" y="212"/>
                    </a:cubicBezTo>
                    <a:cubicBezTo>
                      <a:pt x="62" y="211"/>
                      <a:pt x="63" y="212"/>
                      <a:pt x="63" y="212"/>
                    </a:cubicBezTo>
                    <a:cubicBezTo>
                      <a:pt x="64" y="211"/>
                      <a:pt x="64" y="211"/>
                      <a:pt x="65" y="211"/>
                    </a:cubicBezTo>
                    <a:cubicBezTo>
                      <a:pt x="65" y="211"/>
                      <a:pt x="66" y="212"/>
                      <a:pt x="66" y="211"/>
                    </a:cubicBezTo>
                    <a:cubicBezTo>
                      <a:pt x="66" y="211"/>
                      <a:pt x="67" y="210"/>
                      <a:pt x="67" y="210"/>
                    </a:cubicBezTo>
                    <a:cubicBezTo>
                      <a:pt x="66" y="209"/>
                      <a:pt x="67" y="210"/>
                      <a:pt x="67" y="209"/>
                    </a:cubicBezTo>
                    <a:cubicBezTo>
                      <a:pt x="67" y="209"/>
                      <a:pt x="67" y="208"/>
                      <a:pt x="67" y="208"/>
                    </a:cubicBezTo>
                    <a:cubicBezTo>
                      <a:pt x="66" y="207"/>
                      <a:pt x="67" y="207"/>
                      <a:pt x="68" y="207"/>
                    </a:cubicBezTo>
                    <a:cubicBezTo>
                      <a:pt x="68" y="207"/>
                      <a:pt x="68" y="207"/>
                      <a:pt x="68" y="206"/>
                    </a:cubicBezTo>
                    <a:cubicBezTo>
                      <a:pt x="68" y="206"/>
                      <a:pt x="68" y="206"/>
                      <a:pt x="68" y="205"/>
                    </a:cubicBezTo>
                    <a:cubicBezTo>
                      <a:pt x="69" y="205"/>
                      <a:pt x="69" y="204"/>
                      <a:pt x="69" y="204"/>
                    </a:cubicBezTo>
                    <a:cubicBezTo>
                      <a:pt x="69" y="204"/>
                      <a:pt x="70" y="205"/>
                      <a:pt x="70" y="204"/>
                    </a:cubicBezTo>
                    <a:cubicBezTo>
                      <a:pt x="71" y="204"/>
                      <a:pt x="71" y="203"/>
                      <a:pt x="71" y="203"/>
                    </a:cubicBezTo>
                    <a:cubicBezTo>
                      <a:pt x="71" y="202"/>
                      <a:pt x="71" y="201"/>
                      <a:pt x="71" y="201"/>
                    </a:cubicBezTo>
                    <a:cubicBezTo>
                      <a:pt x="71" y="201"/>
                      <a:pt x="71" y="201"/>
                      <a:pt x="72" y="201"/>
                    </a:cubicBezTo>
                    <a:cubicBezTo>
                      <a:pt x="71" y="201"/>
                      <a:pt x="70" y="200"/>
                      <a:pt x="71" y="199"/>
                    </a:cubicBezTo>
                    <a:cubicBezTo>
                      <a:pt x="71" y="199"/>
                      <a:pt x="71" y="199"/>
                      <a:pt x="71" y="198"/>
                    </a:cubicBezTo>
                    <a:cubicBezTo>
                      <a:pt x="71" y="198"/>
                      <a:pt x="71" y="197"/>
                      <a:pt x="71" y="197"/>
                    </a:cubicBezTo>
                    <a:cubicBezTo>
                      <a:pt x="71" y="197"/>
                      <a:pt x="72" y="195"/>
                      <a:pt x="71" y="195"/>
                    </a:cubicBezTo>
                    <a:cubicBezTo>
                      <a:pt x="70" y="195"/>
                      <a:pt x="70" y="194"/>
                      <a:pt x="69" y="195"/>
                    </a:cubicBezTo>
                    <a:cubicBezTo>
                      <a:pt x="69" y="195"/>
                      <a:pt x="69" y="196"/>
                      <a:pt x="68" y="196"/>
                    </a:cubicBezTo>
                    <a:cubicBezTo>
                      <a:pt x="68" y="196"/>
                      <a:pt x="67" y="193"/>
                      <a:pt x="67" y="194"/>
                    </a:cubicBezTo>
                    <a:cubicBezTo>
                      <a:pt x="66" y="195"/>
                      <a:pt x="66" y="194"/>
                      <a:pt x="66" y="194"/>
                    </a:cubicBezTo>
                    <a:cubicBezTo>
                      <a:pt x="65" y="193"/>
                      <a:pt x="65" y="194"/>
                      <a:pt x="64" y="193"/>
                    </a:cubicBezTo>
                    <a:cubicBezTo>
                      <a:pt x="64" y="192"/>
                      <a:pt x="64" y="191"/>
                      <a:pt x="63" y="191"/>
                    </a:cubicBezTo>
                    <a:cubicBezTo>
                      <a:pt x="62" y="191"/>
                      <a:pt x="62" y="191"/>
                      <a:pt x="62" y="191"/>
                    </a:cubicBezTo>
                    <a:cubicBezTo>
                      <a:pt x="62" y="191"/>
                      <a:pt x="62" y="191"/>
                      <a:pt x="62" y="190"/>
                    </a:cubicBezTo>
                    <a:cubicBezTo>
                      <a:pt x="61" y="190"/>
                      <a:pt x="61" y="190"/>
                      <a:pt x="60" y="190"/>
                    </a:cubicBezTo>
                    <a:cubicBezTo>
                      <a:pt x="59" y="190"/>
                      <a:pt x="59" y="190"/>
                      <a:pt x="58" y="190"/>
                    </a:cubicBezTo>
                    <a:cubicBezTo>
                      <a:pt x="57" y="191"/>
                      <a:pt x="57" y="191"/>
                      <a:pt x="56" y="191"/>
                    </a:cubicBezTo>
                    <a:cubicBezTo>
                      <a:pt x="55" y="190"/>
                      <a:pt x="55" y="191"/>
                      <a:pt x="55" y="191"/>
                    </a:cubicBezTo>
                    <a:cubicBezTo>
                      <a:pt x="54" y="192"/>
                      <a:pt x="53" y="192"/>
                      <a:pt x="53" y="192"/>
                    </a:cubicBezTo>
                    <a:cubicBezTo>
                      <a:pt x="52" y="193"/>
                      <a:pt x="52" y="193"/>
                      <a:pt x="52" y="193"/>
                    </a:cubicBezTo>
                    <a:cubicBezTo>
                      <a:pt x="51" y="193"/>
                      <a:pt x="51" y="193"/>
                      <a:pt x="51" y="194"/>
                    </a:cubicBezTo>
                    <a:cubicBezTo>
                      <a:pt x="51" y="194"/>
                      <a:pt x="51" y="194"/>
                      <a:pt x="51" y="195"/>
                    </a:cubicBezTo>
                    <a:cubicBezTo>
                      <a:pt x="50" y="195"/>
                      <a:pt x="49" y="194"/>
                      <a:pt x="49" y="195"/>
                    </a:cubicBezTo>
                    <a:cubicBezTo>
                      <a:pt x="49" y="195"/>
                      <a:pt x="49" y="195"/>
                      <a:pt x="48" y="195"/>
                    </a:cubicBezTo>
                    <a:cubicBezTo>
                      <a:pt x="47" y="195"/>
                      <a:pt x="47" y="196"/>
                      <a:pt x="46" y="195"/>
                    </a:cubicBezTo>
                    <a:cubicBezTo>
                      <a:pt x="46" y="195"/>
                      <a:pt x="45" y="196"/>
                      <a:pt x="44" y="195"/>
                    </a:cubicBezTo>
                    <a:cubicBezTo>
                      <a:pt x="44" y="195"/>
                      <a:pt x="43" y="195"/>
                      <a:pt x="43" y="195"/>
                    </a:cubicBezTo>
                    <a:cubicBezTo>
                      <a:pt x="43" y="195"/>
                      <a:pt x="42" y="195"/>
                      <a:pt x="42" y="195"/>
                    </a:cubicBezTo>
                    <a:cubicBezTo>
                      <a:pt x="41" y="195"/>
                      <a:pt x="41" y="194"/>
                      <a:pt x="40" y="194"/>
                    </a:cubicBezTo>
                    <a:cubicBezTo>
                      <a:pt x="39" y="194"/>
                      <a:pt x="39" y="194"/>
                      <a:pt x="38" y="193"/>
                    </a:cubicBezTo>
                    <a:cubicBezTo>
                      <a:pt x="38" y="193"/>
                      <a:pt x="37" y="193"/>
                      <a:pt x="37" y="193"/>
                    </a:cubicBezTo>
                    <a:cubicBezTo>
                      <a:pt x="36" y="192"/>
                      <a:pt x="36" y="192"/>
                      <a:pt x="36" y="191"/>
                    </a:cubicBezTo>
                    <a:cubicBezTo>
                      <a:pt x="36" y="190"/>
                      <a:pt x="35" y="191"/>
                      <a:pt x="35" y="191"/>
                    </a:cubicBezTo>
                    <a:cubicBezTo>
                      <a:pt x="34" y="192"/>
                      <a:pt x="32" y="192"/>
                      <a:pt x="32" y="191"/>
                    </a:cubicBezTo>
                    <a:cubicBezTo>
                      <a:pt x="31" y="189"/>
                      <a:pt x="30" y="190"/>
                      <a:pt x="29" y="189"/>
                    </a:cubicBezTo>
                    <a:cubicBezTo>
                      <a:pt x="29" y="188"/>
                      <a:pt x="30" y="188"/>
                      <a:pt x="29" y="188"/>
                    </a:cubicBezTo>
                    <a:cubicBezTo>
                      <a:pt x="29" y="187"/>
                      <a:pt x="30" y="187"/>
                      <a:pt x="30" y="187"/>
                    </a:cubicBezTo>
                    <a:cubicBezTo>
                      <a:pt x="30" y="187"/>
                      <a:pt x="29" y="186"/>
                      <a:pt x="29" y="186"/>
                    </a:cubicBezTo>
                    <a:cubicBezTo>
                      <a:pt x="29" y="186"/>
                      <a:pt x="29" y="185"/>
                      <a:pt x="29" y="185"/>
                    </a:cubicBezTo>
                    <a:cubicBezTo>
                      <a:pt x="29" y="184"/>
                      <a:pt x="28" y="184"/>
                      <a:pt x="28" y="183"/>
                    </a:cubicBezTo>
                    <a:cubicBezTo>
                      <a:pt x="27" y="183"/>
                      <a:pt x="27" y="182"/>
                      <a:pt x="26" y="182"/>
                    </a:cubicBezTo>
                    <a:cubicBezTo>
                      <a:pt x="26" y="182"/>
                      <a:pt x="24" y="181"/>
                      <a:pt x="24" y="181"/>
                    </a:cubicBezTo>
                    <a:cubicBezTo>
                      <a:pt x="24" y="182"/>
                      <a:pt x="23" y="181"/>
                      <a:pt x="23" y="181"/>
                    </a:cubicBezTo>
                    <a:cubicBezTo>
                      <a:pt x="22" y="180"/>
                      <a:pt x="22" y="180"/>
                      <a:pt x="21" y="179"/>
                    </a:cubicBezTo>
                    <a:cubicBezTo>
                      <a:pt x="21" y="179"/>
                      <a:pt x="20" y="179"/>
                      <a:pt x="19" y="179"/>
                    </a:cubicBezTo>
                    <a:cubicBezTo>
                      <a:pt x="19" y="179"/>
                      <a:pt x="17" y="179"/>
                      <a:pt x="18" y="180"/>
                    </a:cubicBezTo>
                    <a:cubicBezTo>
                      <a:pt x="17" y="179"/>
                      <a:pt x="17" y="179"/>
                      <a:pt x="17" y="179"/>
                    </a:cubicBezTo>
                    <a:cubicBezTo>
                      <a:pt x="17" y="178"/>
                      <a:pt x="16" y="178"/>
                      <a:pt x="16" y="178"/>
                    </a:cubicBezTo>
                    <a:cubicBezTo>
                      <a:pt x="15" y="178"/>
                      <a:pt x="15" y="178"/>
                      <a:pt x="15" y="178"/>
                    </a:cubicBezTo>
                    <a:cubicBezTo>
                      <a:pt x="15" y="178"/>
                      <a:pt x="14" y="178"/>
                      <a:pt x="14" y="178"/>
                    </a:cubicBezTo>
                    <a:cubicBezTo>
                      <a:pt x="14" y="178"/>
                      <a:pt x="12" y="177"/>
                      <a:pt x="12" y="177"/>
                    </a:cubicBezTo>
                    <a:cubicBezTo>
                      <a:pt x="13" y="177"/>
                      <a:pt x="13" y="177"/>
                      <a:pt x="13" y="177"/>
                    </a:cubicBezTo>
                    <a:cubicBezTo>
                      <a:pt x="13" y="176"/>
                      <a:pt x="13" y="176"/>
                      <a:pt x="13" y="176"/>
                    </a:cubicBezTo>
                    <a:cubicBezTo>
                      <a:pt x="14" y="176"/>
                      <a:pt x="14" y="176"/>
                      <a:pt x="15" y="175"/>
                    </a:cubicBezTo>
                    <a:cubicBezTo>
                      <a:pt x="15" y="175"/>
                      <a:pt x="16" y="176"/>
                      <a:pt x="16" y="176"/>
                    </a:cubicBezTo>
                    <a:cubicBezTo>
                      <a:pt x="17" y="176"/>
                      <a:pt x="17" y="176"/>
                      <a:pt x="17" y="176"/>
                    </a:cubicBezTo>
                    <a:cubicBezTo>
                      <a:pt x="17" y="175"/>
                      <a:pt x="18" y="175"/>
                      <a:pt x="18" y="175"/>
                    </a:cubicBezTo>
                    <a:cubicBezTo>
                      <a:pt x="18" y="175"/>
                      <a:pt x="18" y="175"/>
                      <a:pt x="19" y="174"/>
                    </a:cubicBezTo>
                    <a:cubicBezTo>
                      <a:pt x="19" y="174"/>
                      <a:pt x="17" y="173"/>
                      <a:pt x="17" y="173"/>
                    </a:cubicBezTo>
                    <a:cubicBezTo>
                      <a:pt x="17" y="173"/>
                      <a:pt x="16" y="172"/>
                      <a:pt x="16" y="172"/>
                    </a:cubicBezTo>
                    <a:cubicBezTo>
                      <a:pt x="16" y="171"/>
                      <a:pt x="16" y="171"/>
                      <a:pt x="16" y="170"/>
                    </a:cubicBezTo>
                    <a:cubicBezTo>
                      <a:pt x="16" y="170"/>
                      <a:pt x="15" y="170"/>
                      <a:pt x="15" y="169"/>
                    </a:cubicBezTo>
                    <a:cubicBezTo>
                      <a:pt x="15" y="169"/>
                      <a:pt x="15" y="169"/>
                      <a:pt x="15" y="168"/>
                    </a:cubicBezTo>
                    <a:cubicBezTo>
                      <a:pt x="15" y="168"/>
                      <a:pt x="15" y="167"/>
                      <a:pt x="14" y="167"/>
                    </a:cubicBezTo>
                    <a:cubicBezTo>
                      <a:pt x="14" y="167"/>
                      <a:pt x="14" y="167"/>
                      <a:pt x="14" y="166"/>
                    </a:cubicBezTo>
                    <a:cubicBezTo>
                      <a:pt x="13" y="166"/>
                      <a:pt x="13" y="165"/>
                      <a:pt x="13" y="164"/>
                    </a:cubicBezTo>
                    <a:cubicBezTo>
                      <a:pt x="13" y="164"/>
                      <a:pt x="13" y="163"/>
                      <a:pt x="13" y="163"/>
                    </a:cubicBezTo>
                    <a:cubicBezTo>
                      <a:pt x="13" y="162"/>
                      <a:pt x="11" y="161"/>
                      <a:pt x="9" y="161"/>
                    </a:cubicBezTo>
                    <a:cubicBezTo>
                      <a:pt x="9" y="161"/>
                      <a:pt x="8" y="160"/>
                      <a:pt x="8" y="160"/>
                    </a:cubicBezTo>
                    <a:cubicBezTo>
                      <a:pt x="7" y="161"/>
                      <a:pt x="6" y="160"/>
                      <a:pt x="6" y="160"/>
                    </a:cubicBezTo>
                    <a:cubicBezTo>
                      <a:pt x="6" y="160"/>
                      <a:pt x="6" y="161"/>
                      <a:pt x="6" y="161"/>
                    </a:cubicBezTo>
                    <a:cubicBezTo>
                      <a:pt x="6" y="161"/>
                      <a:pt x="6" y="161"/>
                      <a:pt x="6" y="162"/>
                    </a:cubicBezTo>
                    <a:cubicBezTo>
                      <a:pt x="6" y="162"/>
                      <a:pt x="5" y="162"/>
                      <a:pt x="5" y="162"/>
                    </a:cubicBezTo>
                    <a:cubicBezTo>
                      <a:pt x="5" y="162"/>
                      <a:pt x="4" y="162"/>
                      <a:pt x="4" y="161"/>
                    </a:cubicBezTo>
                    <a:cubicBezTo>
                      <a:pt x="3" y="161"/>
                      <a:pt x="3" y="160"/>
                      <a:pt x="3" y="160"/>
                    </a:cubicBezTo>
                    <a:cubicBezTo>
                      <a:pt x="2" y="159"/>
                      <a:pt x="2" y="159"/>
                      <a:pt x="2" y="158"/>
                    </a:cubicBezTo>
                    <a:cubicBezTo>
                      <a:pt x="1" y="158"/>
                      <a:pt x="2" y="158"/>
                      <a:pt x="2" y="157"/>
                    </a:cubicBezTo>
                    <a:cubicBezTo>
                      <a:pt x="3" y="157"/>
                      <a:pt x="1" y="156"/>
                      <a:pt x="1" y="155"/>
                    </a:cubicBezTo>
                    <a:cubicBezTo>
                      <a:pt x="0" y="155"/>
                      <a:pt x="0" y="154"/>
                      <a:pt x="0" y="154"/>
                    </a:cubicBezTo>
                    <a:cubicBezTo>
                      <a:pt x="0" y="154"/>
                      <a:pt x="0" y="153"/>
                      <a:pt x="0" y="153"/>
                    </a:cubicBezTo>
                    <a:cubicBezTo>
                      <a:pt x="0" y="153"/>
                      <a:pt x="0" y="152"/>
                      <a:pt x="0" y="152"/>
                    </a:cubicBezTo>
                    <a:cubicBezTo>
                      <a:pt x="1" y="152"/>
                      <a:pt x="1" y="152"/>
                      <a:pt x="2" y="151"/>
                    </a:cubicBezTo>
                    <a:cubicBezTo>
                      <a:pt x="2" y="150"/>
                      <a:pt x="1" y="149"/>
                      <a:pt x="1" y="149"/>
                    </a:cubicBezTo>
                    <a:cubicBezTo>
                      <a:pt x="0" y="148"/>
                      <a:pt x="1" y="147"/>
                      <a:pt x="1" y="146"/>
                    </a:cubicBezTo>
                    <a:cubicBezTo>
                      <a:pt x="1" y="145"/>
                      <a:pt x="1" y="145"/>
                      <a:pt x="2" y="145"/>
                    </a:cubicBezTo>
                    <a:cubicBezTo>
                      <a:pt x="3" y="144"/>
                      <a:pt x="4" y="145"/>
                      <a:pt x="4" y="144"/>
                    </a:cubicBezTo>
                    <a:cubicBezTo>
                      <a:pt x="5" y="144"/>
                      <a:pt x="5" y="143"/>
                      <a:pt x="6" y="143"/>
                    </a:cubicBezTo>
                    <a:cubicBezTo>
                      <a:pt x="6" y="143"/>
                      <a:pt x="6" y="142"/>
                      <a:pt x="7" y="142"/>
                    </a:cubicBezTo>
                    <a:cubicBezTo>
                      <a:pt x="7" y="142"/>
                      <a:pt x="8" y="142"/>
                      <a:pt x="8" y="142"/>
                    </a:cubicBezTo>
                    <a:cubicBezTo>
                      <a:pt x="8" y="142"/>
                      <a:pt x="7" y="141"/>
                      <a:pt x="7" y="141"/>
                    </a:cubicBezTo>
                    <a:cubicBezTo>
                      <a:pt x="7" y="140"/>
                      <a:pt x="7" y="140"/>
                      <a:pt x="8" y="140"/>
                    </a:cubicBezTo>
                    <a:cubicBezTo>
                      <a:pt x="9" y="141"/>
                      <a:pt x="9" y="141"/>
                      <a:pt x="10" y="141"/>
                    </a:cubicBezTo>
                    <a:cubicBezTo>
                      <a:pt x="10" y="141"/>
                      <a:pt x="11" y="141"/>
                      <a:pt x="11" y="141"/>
                    </a:cubicBezTo>
                    <a:cubicBezTo>
                      <a:pt x="11" y="141"/>
                      <a:pt x="11" y="140"/>
                      <a:pt x="11" y="140"/>
                    </a:cubicBezTo>
                    <a:cubicBezTo>
                      <a:pt x="12" y="140"/>
                      <a:pt x="13" y="139"/>
                      <a:pt x="13" y="139"/>
                    </a:cubicBezTo>
                    <a:cubicBezTo>
                      <a:pt x="14" y="139"/>
                      <a:pt x="14" y="140"/>
                      <a:pt x="14" y="140"/>
                    </a:cubicBezTo>
                    <a:cubicBezTo>
                      <a:pt x="14" y="141"/>
                      <a:pt x="15" y="141"/>
                      <a:pt x="15" y="141"/>
                    </a:cubicBezTo>
                    <a:cubicBezTo>
                      <a:pt x="15" y="141"/>
                      <a:pt x="15" y="141"/>
                      <a:pt x="15" y="142"/>
                    </a:cubicBezTo>
                    <a:cubicBezTo>
                      <a:pt x="15" y="142"/>
                      <a:pt x="15" y="143"/>
                      <a:pt x="16" y="142"/>
                    </a:cubicBezTo>
                    <a:cubicBezTo>
                      <a:pt x="16" y="142"/>
                      <a:pt x="17" y="143"/>
                      <a:pt x="17" y="142"/>
                    </a:cubicBezTo>
                    <a:cubicBezTo>
                      <a:pt x="18" y="142"/>
                      <a:pt x="18" y="141"/>
                      <a:pt x="19" y="142"/>
                    </a:cubicBezTo>
                    <a:cubicBezTo>
                      <a:pt x="19" y="142"/>
                      <a:pt x="20" y="142"/>
                      <a:pt x="20" y="141"/>
                    </a:cubicBezTo>
                    <a:cubicBezTo>
                      <a:pt x="20" y="141"/>
                      <a:pt x="20" y="141"/>
                      <a:pt x="21" y="141"/>
                    </a:cubicBezTo>
                    <a:cubicBezTo>
                      <a:pt x="21" y="142"/>
                      <a:pt x="21" y="142"/>
                      <a:pt x="22" y="142"/>
                    </a:cubicBezTo>
                    <a:cubicBezTo>
                      <a:pt x="22" y="141"/>
                      <a:pt x="22" y="141"/>
                      <a:pt x="22" y="140"/>
                    </a:cubicBezTo>
                    <a:cubicBezTo>
                      <a:pt x="22" y="139"/>
                      <a:pt x="23" y="139"/>
                      <a:pt x="23" y="138"/>
                    </a:cubicBezTo>
                    <a:cubicBezTo>
                      <a:pt x="22" y="137"/>
                      <a:pt x="23" y="137"/>
                      <a:pt x="23" y="137"/>
                    </a:cubicBezTo>
                    <a:cubicBezTo>
                      <a:pt x="24" y="136"/>
                      <a:pt x="23" y="136"/>
                      <a:pt x="23" y="135"/>
                    </a:cubicBezTo>
                    <a:cubicBezTo>
                      <a:pt x="24" y="135"/>
                      <a:pt x="25" y="134"/>
                      <a:pt x="25" y="134"/>
                    </a:cubicBezTo>
                    <a:cubicBezTo>
                      <a:pt x="26" y="135"/>
                      <a:pt x="26" y="135"/>
                      <a:pt x="27" y="135"/>
                    </a:cubicBezTo>
                    <a:cubicBezTo>
                      <a:pt x="28" y="135"/>
                      <a:pt x="28" y="135"/>
                      <a:pt x="28" y="135"/>
                    </a:cubicBezTo>
                    <a:cubicBezTo>
                      <a:pt x="29" y="135"/>
                      <a:pt x="29" y="135"/>
                      <a:pt x="29" y="135"/>
                    </a:cubicBezTo>
                    <a:cubicBezTo>
                      <a:pt x="30" y="135"/>
                      <a:pt x="31" y="135"/>
                      <a:pt x="32" y="134"/>
                    </a:cubicBezTo>
                    <a:cubicBezTo>
                      <a:pt x="33" y="134"/>
                      <a:pt x="33" y="134"/>
                      <a:pt x="34" y="134"/>
                    </a:cubicBezTo>
                    <a:cubicBezTo>
                      <a:pt x="35" y="134"/>
                      <a:pt x="35" y="134"/>
                      <a:pt x="35" y="133"/>
                    </a:cubicBezTo>
                    <a:cubicBezTo>
                      <a:pt x="35" y="133"/>
                      <a:pt x="36" y="132"/>
                      <a:pt x="36" y="132"/>
                    </a:cubicBezTo>
                    <a:cubicBezTo>
                      <a:pt x="36" y="131"/>
                      <a:pt x="35" y="131"/>
                      <a:pt x="36" y="131"/>
                    </a:cubicBezTo>
                    <a:cubicBezTo>
                      <a:pt x="36" y="130"/>
                      <a:pt x="37" y="130"/>
                      <a:pt x="37" y="130"/>
                    </a:cubicBezTo>
                    <a:cubicBezTo>
                      <a:pt x="37" y="130"/>
                      <a:pt x="37" y="130"/>
                      <a:pt x="38" y="130"/>
                    </a:cubicBezTo>
                    <a:cubicBezTo>
                      <a:pt x="38" y="130"/>
                      <a:pt x="38" y="129"/>
                      <a:pt x="38" y="129"/>
                    </a:cubicBezTo>
                    <a:cubicBezTo>
                      <a:pt x="38" y="129"/>
                      <a:pt x="39" y="129"/>
                      <a:pt x="39" y="128"/>
                    </a:cubicBezTo>
                    <a:cubicBezTo>
                      <a:pt x="40" y="128"/>
                      <a:pt x="40" y="128"/>
                      <a:pt x="41" y="127"/>
                    </a:cubicBezTo>
                    <a:cubicBezTo>
                      <a:pt x="42" y="127"/>
                      <a:pt x="42" y="127"/>
                      <a:pt x="42" y="127"/>
                    </a:cubicBezTo>
                    <a:cubicBezTo>
                      <a:pt x="43" y="126"/>
                      <a:pt x="43" y="126"/>
                      <a:pt x="43" y="126"/>
                    </a:cubicBezTo>
                    <a:cubicBezTo>
                      <a:pt x="44" y="127"/>
                      <a:pt x="44" y="126"/>
                      <a:pt x="45" y="126"/>
                    </a:cubicBezTo>
                    <a:cubicBezTo>
                      <a:pt x="45" y="125"/>
                      <a:pt x="46" y="125"/>
                      <a:pt x="46" y="125"/>
                    </a:cubicBezTo>
                    <a:cubicBezTo>
                      <a:pt x="47" y="125"/>
                      <a:pt x="47" y="124"/>
                      <a:pt x="47" y="124"/>
                    </a:cubicBezTo>
                    <a:cubicBezTo>
                      <a:pt x="48" y="123"/>
                      <a:pt x="49" y="124"/>
                      <a:pt x="50" y="124"/>
                    </a:cubicBezTo>
                    <a:cubicBezTo>
                      <a:pt x="51" y="123"/>
                      <a:pt x="50" y="122"/>
                      <a:pt x="50" y="122"/>
                    </a:cubicBezTo>
                    <a:cubicBezTo>
                      <a:pt x="50" y="122"/>
                      <a:pt x="50" y="122"/>
                      <a:pt x="50" y="121"/>
                    </a:cubicBezTo>
                    <a:cubicBezTo>
                      <a:pt x="50" y="121"/>
                      <a:pt x="49" y="121"/>
                      <a:pt x="49" y="120"/>
                    </a:cubicBezTo>
                    <a:cubicBezTo>
                      <a:pt x="49" y="120"/>
                      <a:pt x="49" y="119"/>
                      <a:pt x="48" y="118"/>
                    </a:cubicBezTo>
                    <a:cubicBezTo>
                      <a:pt x="48" y="118"/>
                      <a:pt x="47" y="117"/>
                      <a:pt x="47" y="116"/>
                    </a:cubicBezTo>
                    <a:cubicBezTo>
                      <a:pt x="48" y="116"/>
                      <a:pt x="47" y="115"/>
                      <a:pt x="48" y="115"/>
                    </a:cubicBezTo>
                    <a:cubicBezTo>
                      <a:pt x="48" y="115"/>
                      <a:pt x="51" y="115"/>
                      <a:pt x="50" y="114"/>
                    </a:cubicBezTo>
                    <a:cubicBezTo>
                      <a:pt x="49" y="114"/>
                      <a:pt x="48" y="114"/>
                      <a:pt x="48" y="113"/>
                    </a:cubicBezTo>
                    <a:cubicBezTo>
                      <a:pt x="48" y="113"/>
                      <a:pt x="49" y="112"/>
                      <a:pt x="49" y="112"/>
                    </a:cubicBezTo>
                    <a:cubicBezTo>
                      <a:pt x="50" y="112"/>
                      <a:pt x="50" y="112"/>
                      <a:pt x="51" y="112"/>
                    </a:cubicBezTo>
                    <a:cubicBezTo>
                      <a:pt x="52" y="112"/>
                      <a:pt x="51" y="111"/>
                      <a:pt x="51" y="110"/>
                    </a:cubicBezTo>
                    <a:cubicBezTo>
                      <a:pt x="50" y="110"/>
                      <a:pt x="50" y="110"/>
                      <a:pt x="49" y="110"/>
                    </a:cubicBezTo>
                    <a:cubicBezTo>
                      <a:pt x="49" y="109"/>
                      <a:pt x="50" y="109"/>
                      <a:pt x="49" y="108"/>
                    </a:cubicBezTo>
                    <a:cubicBezTo>
                      <a:pt x="49" y="107"/>
                      <a:pt x="48" y="107"/>
                      <a:pt x="48" y="106"/>
                    </a:cubicBezTo>
                    <a:cubicBezTo>
                      <a:pt x="47" y="105"/>
                      <a:pt x="47" y="105"/>
                      <a:pt x="46" y="104"/>
                    </a:cubicBezTo>
                    <a:cubicBezTo>
                      <a:pt x="45" y="103"/>
                      <a:pt x="44" y="102"/>
                      <a:pt x="44" y="100"/>
                    </a:cubicBezTo>
                    <a:cubicBezTo>
                      <a:pt x="44" y="99"/>
                      <a:pt x="43" y="99"/>
                      <a:pt x="43" y="98"/>
                    </a:cubicBezTo>
                    <a:cubicBezTo>
                      <a:pt x="42" y="97"/>
                      <a:pt x="43" y="97"/>
                      <a:pt x="42" y="96"/>
                    </a:cubicBezTo>
                    <a:cubicBezTo>
                      <a:pt x="42" y="95"/>
                      <a:pt x="42" y="95"/>
                      <a:pt x="43" y="95"/>
                    </a:cubicBezTo>
                    <a:cubicBezTo>
                      <a:pt x="44" y="95"/>
                      <a:pt x="42" y="94"/>
                      <a:pt x="42" y="94"/>
                    </a:cubicBezTo>
                    <a:cubicBezTo>
                      <a:pt x="41" y="94"/>
                      <a:pt x="40" y="93"/>
                      <a:pt x="39" y="94"/>
                    </a:cubicBezTo>
                    <a:cubicBezTo>
                      <a:pt x="39" y="94"/>
                      <a:pt x="38" y="94"/>
                      <a:pt x="37" y="93"/>
                    </a:cubicBezTo>
                    <a:cubicBezTo>
                      <a:pt x="36" y="93"/>
                      <a:pt x="37" y="92"/>
                      <a:pt x="38" y="92"/>
                    </a:cubicBezTo>
                    <a:cubicBezTo>
                      <a:pt x="38" y="91"/>
                      <a:pt x="38" y="91"/>
                      <a:pt x="39" y="91"/>
                    </a:cubicBezTo>
                    <a:cubicBezTo>
                      <a:pt x="39" y="91"/>
                      <a:pt x="40" y="91"/>
                      <a:pt x="40" y="91"/>
                    </a:cubicBezTo>
                    <a:cubicBezTo>
                      <a:pt x="40" y="91"/>
                      <a:pt x="41" y="91"/>
                      <a:pt x="41" y="91"/>
                    </a:cubicBezTo>
                    <a:cubicBezTo>
                      <a:pt x="41" y="91"/>
                      <a:pt x="41" y="90"/>
                      <a:pt x="41" y="90"/>
                    </a:cubicBezTo>
                    <a:cubicBezTo>
                      <a:pt x="42" y="90"/>
                      <a:pt x="42" y="90"/>
                      <a:pt x="42" y="90"/>
                    </a:cubicBezTo>
                    <a:cubicBezTo>
                      <a:pt x="43" y="90"/>
                      <a:pt x="43" y="90"/>
                      <a:pt x="44" y="90"/>
                    </a:cubicBezTo>
                    <a:cubicBezTo>
                      <a:pt x="44" y="90"/>
                      <a:pt x="44" y="90"/>
                      <a:pt x="45" y="90"/>
                    </a:cubicBezTo>
                    <a:cubicBezTo>
                      <a:pt x="46" y="90"/>
                      <a:pt x="46" y="89"/>
                      <a:pt x="47" y="89"/>
                    </a:cubicBezTo>
                    <a:cubicBezTo>
                      <a:pt x="48" y="89"/>
                      <a:pt x="49" y="89"/>
                      <a:pt x="50" y="88"/>
                    </a:cubicBezTo>
                    <a:cubicBezTo>
                      <a:pt x="50" y="88"/>
                      <a:pt x="51" y="88"/>
                      <a:pt x="51" y="88"/>
                    </a:cubicBezTo>
                    <a:cubicBezTo>
                      <a:pt x="52" y="88"/>
                      <a:pt x="52" y="89"/>
                      <a:pt x="53" y="89"/>
                    </a:cubicBezTo>
                    <a:cubicBezTo>
                      <a:pt x="53" y="89"/>
                      <a:pt x="54" y="90"/>
                      <a:pt x="54" y="90"/>
                    </a:cubicBezTo>
                    <a:cubicBezTo>
                      <a:pt x="55" y="90"/>
                      <a:pt x="56" y="89"/>
                      <a:pt x="56" y="89"/>
                    </a:cubicBezTo>
                    <a:cubicBezTo>
                      <a:pt x="57" y="89"/>
                      <a:pt x="57" y="89"/>
                      <a:pt x="58" y="90"/>
                    </a:cubicBezTo>
                    <a:cubicBezTo>
                      <a:pt x="59" y="90"/>
                      <a:pt x="60" y="91"/>
                      <a:pt x="60" y="89"/>
                    </a:cubicBezTo>
                    <a:cubicBezTo>
                      <a:pt x="59" y="88"/>
                      <a:pt x="59" y="87"/>
                      <a:pt x="58" y="86"/>
                    </a:cubicBezTo>
                    <a:cubicBezTo>
                      <a:pt x="56" y="86"/>
                      <a:pt x="55" y="86"/>
                      <a:pt x="55" y="84"/>
                    </a:cubicBezTo>
                    <a:cubicBezTo>
                      <a:pt x="56" y="83"/>
                      <a:pt x="56" y="82"/>
                      <a:pt x="56" y="80"/>
                    </a:cubicBezTo>
                    <a:cubicBezTo>
                      <a:pt x="55" y="78"/>
                      <a:pt x="56" y="77"/>
                      <a:pt x="56" y="75"/>
                    </a:cubicBezTo>
                    <a:cubicBezTo>
                      <a:pt x="56" y="74"/>
                      <a:pt x="56" y="73"/>
                      <a:pt x="56" y="72"/>
                    </a:cubicBezTo>
                    <a:cubicBezTo>
                      <a:pt x="56" y="71"/>
                      <a:pt x="56" y="70"/>
                      <a:pt x="56" y="70"/>
                    </a:cubicBezTo>
                    <a:cubicBezTo>
                      <a:pt x="56" y="69"/>
                      <a:pt x="55" y="68"/>
                      <a:pt x="55" y="68"/>
                    </a:cubicBezTo>
                    <a:cubicBezTo>
                      <a:pt x="56" y="67"/>
                      <a:pt x="57" y="68"/>
                      <a:pt x="57" y="68"/>
                    </a:cubicBezTo>
                    <a:cubicBezTo>
                      <a:pt x="58" y="69"/>
                      <a:pt x="60" y="69"/>
                      <a:pt x="62" y="69"/>
                    </a:cubicBezTo>
                    <a:cubicBezTo>
                      <a:pt x="63" y="70"/>
                      <a:pt x="63" y="70"/>
                      <a:pt x="64" y="70"/>
                    </a:cubicBezTo>
                    <a:cubicBezTo>
                      <a:pt x="65" y="70"/>
                      <a:pt x="66" y="70"/>
                      <a:pt x="66" y="70"/>
                    </a:cubicBezTo>
                    <a:cubicBezTo>
                      <a:pt x="67" y="70"/>
                      <a:pt x="68" y="70"/>
                      <a:pt x="69" y="70"/>
                    </a:cubicBezTo>
                    <a:cubicBezTo>
                      <a:pt x="69" y="70"/>
                      <a:pt x="70" y="70"/>
                      <a:pt x="71" y="70"/>
                    </a:cubicBezTo>
                    <a:cubicBezTo>
                      <a:pt x="72" y="71"/>
                      <a:pt x="71" y="71"/>
                      <a:pt x="72" y="72"/>
                    </a:cubicBezTo>
                    <a:cubicBezTo>
                      <a:pt x="72" y="72"/>
                      <a:pt x="73" y="72"/>
                      <a:pt x="73" y="72"/>
                    </a:cubicBezTo>
                    <a:cubicBezTo>
                      <a:pt x="73" y="71"/>
                      <a:pt x="73" y="71"/>
                      <a:pt x="74" y="71"/>
                    </a:cubicBezTo>
                    <a:cubicBezTo>
                      <a:pt x="74" y="71"/>
                      <a:pt x="75" y="70"/>
                      <a:pt x="75" y="69"/>
                    </a:cubicBezTo>
                    <a:cubicBezTo>
                      <a:pt x="76" y="69"/>
                      <a:pt x="77" y="70"/>
                      <a:pt x="77" y="69"/>
                    </a:cubicBezTo>
                    <a:cubicBezTo>
                      <a:pt x="78" y="69"/>
                      <a:pt x="77" y="68"/>
                      <a:pt x="78" y="68"/>
                    </a:cubicBezTo>
                    <a:cubicBezTo>
                      <a:pt x="79" y="67"/>
                      <a:pt x="77" y="66"/>
                      <a:pt x="77" y="65"/>
                    </a:cubicBezTo>
                    <a:cubicBezTo>
                      <a:pt x="76" y="64"/>
                      <a:pt x="76" y="64"/>
                      <a:pt x="76" y="63"/>
                    </a:cubicBezTo>
                    <a:cubicBezTo>
                      <a:pt x="75" y="62"/>
                      <a:pt x="75" y="61"/>
                      <a:pt x="74" y="61"/>
                    </a:cubicBezTo>
                    <a:cubicBezTo>
                      <a:pt x="74" y="60"/>
                      <a:pt x="74" y="60"/>
                      <a:pt x="74" y="59"/>
                    </a:cubicBezTo>
                    <a:cubicBezTo>
                      <a:pt x="74" y="58"/>
                      <a:pt x="73" y="58"/>
                      <a:pt x="74" y="57"/>
                    </a:cubicBezTo>
                    <a:cubicBezTo>
                      <a:pt x="74" y="56"/>
                      <a:pt x="74" y="55"/>
                      <a:pt x="74" y="55"/>
                    </a:cubicBezTo>
                    <a:cubicBezTo>
                      <a:pt x="74" y="54"/>
                      <a:pt x="75" y="55"/>
                      <a:pt x="76" y="55"/>
                    </a:cubicBezTo>
                    <a:cubicBezTo>
                      <a:pt x="77" y="55"/>
                      <a:pt x="77" y="55"/>
                      <a:pt x="78" y="55"/>
                    </a:cubicBezTo>
                    <a:cubicBezTo>
                      <a:pt x="78" y="54"/>
                      <a:pt x="78" y="54"/>
                      <a:pt x="78" y="54"/>
                    </a:cubicBezTo>
                    <a:cubicBezTo>
                      <a:pt x="79" y="54"/>
                      <a:pt x="79" y="54"/>
                      <a:pt x="79" y="54"/>
                    </a:cubicBezTo>
                    <a:cubicBezTo>
                      <a:pt x="80" y="54"/>
                      <a:pt x="80" y="53"/>
                      <a:pt x="80" y="53"/>
                    </a:cubicBezTo>
                    <a:cubicBezTo>
                      <a:pt x="80" y="52"/>
                      <a:pt x="81" y="52"/>
                      <a:pt x="81" y="51"/>
                    </a:cubicBezTo>
                    <a:cubicBezTo>
                      <a:pt x="81" y="51"/>
                      <a:pt x="81" y="51"/>
                      <a:pt x="81" y="51"/>
                    </a:cubicBezTo>
                    <a:cubicBezTo>
                      <a:pt x="81" y="50"/>
                      <a:pt x="81" y="50"/>
                      <a:pt x="81" y="50"/>
                    </a:cubicBezTo>
                    <a:cubicBezTo>
                      <a:pt x="81" y="50"/>
                      <a:pt x="80" y="50"/>
                      <a:pt x="80" y="49"/>
                    </a:cubicBezTo>
                    <a:cubicBezTo>
                      <a:pt x="80" y="48"/>
                      <a:pt x="80" y="48"/>
                      <a:pt x="80" y="47"/>
                    </a:cubicBezTo>
                    <a:cubicBezTo>
                      <a:pt x="80" y="47"/>
                      <a:pt x="81" y="47"/>
                      <a:pt x="82" y="47"/>
                    </a:cubicBezTo>
                    <a:cubicBezTo>
                      <a:pt x="83" y="47"/>
                      <a:pt x="85" y="48"/>
                      <a:pt x="86" y="47"/>
                    </a:cubicBezTo>
                    <a:cubicBezTo>
                      <a:pt x="86" y="47"/>
                      <a:pt x="87" y="47"/>
                      <a:pt x="88" y="47"/>
                    </a:cubicBezTo>
                    <a:cubicBezTo>
                      <a:pt x="89" y="47"/>
                      <a:pt x="88" y="47"/>
                      <a:pt x="89" y="48"/>
                    </a:cubicBezTo>
                    <a:cubicBezTo>
                      <a:pt x="89" y="48"/>
                      <a:pt x="90" y="49"/>
                      <a:pt x="89" y="49"/>
                    </a:cubicBezTo>
                    <a:cubicBezTo>
                      <a:pt x="89" y="49"/>
                      <a:pt x="89" y="49"/>
                      <a:pt x="89" y="50"/>
                    </a:cubicBezTo>
                    <a:cubicBezTo>
                      <a:pt x="89" y="51"/>
                      <a:pt x="90" y="51"/>
                      <a:pt x="91" y="51"/>
                    </a:cubicBezTo>
                    <a:cubicBezTo>
                      <a:pt x="92" y="51"/>
                      <a:pt x="92" y="51"/>
                      <a:pt x="92" y="52"/>
                    </a:cubicBezTo>
                    <a:cubicBezTo>
                      <a:pt x="92" y="52"/>
                      <a:pt x="91" y="52"/>
                      <a:pt x="92" y="53"/>
                    </a:cubicBezTo>
                    <a:cubicBezTo>
                      <a:pt x="92" y="53"/>
                      <a:pt x="93" y="53"/>
                      <a:pt x="93" y="54"/>
                    </a:cubicBezTo>
                    <a:cubicBezTo>
                      <a:pt x="94" y="54"/>
                      <a:pt x="95" y="54"/>
                      <a:pt x="95" y="54"/>
                    </a:cubicBezTo>
                    <a:cubicBezTo>
                      <a:pt x="96" y="55"/>
                      <a:pt x="98" y="55"/>
                      <a:pt x="98" y="56"/>
                    </a:cubicBezTo>
                    <a:cubicBezTo>
                      <a:pt x="99" y="57"/>
                      <a:pt x="99" y="57"/>
                      <a:pt x="100" y="57"/>
                    </a:cubicBezTo>
                    <a:cubicBezTo>
                      <a:pt x="100" y="58"/>
                      <a:pt x="101" y="58"/>
                      <a:pt x="102" y="58"/>
                    </a:cubicBezTo>
                    <a:cubicBezTo>
                      <a:pt x="103" y="58"/>
                      <a:pt x="104" y="60"/>
                      <a:pt x="106" y="59"/>
                    </a:cubicBezTo>
                    <a:cubicBezTo>
                      <a:pt x="107" y="58"/>
                      <a:pt x="108" y="59"/>
                      <a:pt x="109" y="60"/>
                    </a:cubicBezTo>
                    <a:cubicBezTo>
                      <a:pt x="110" y="60"/>
                      <a:pt x="111" y="61"/>
                      <a:pt x="112" y="61"/>
                    </a:cubicBezTo>
                    <a:cubicBezTo>
                      <a:pt x="112" y="61"/>
                      <a:pt x="112" y="60"/>
                      <a:pt x="113" y="61"/>
                    </a:cubicBezTo>
                    <a:cubicBezTo>
                      <a:pt x="113" y="61"/>
                      <a:pt x="113" y="62"/>
                      <a:pt x="114" y="62"/>
                    </a:cubicBezTo>
                    <a:cubicBezTo>
                      <a:pt x="115" y="62"/>
                      <a:pt x="115" y="62"/>
                      <a:pt x="116" y="63"/>
                    </a:cubicBezTo>
                    <a:cubicBezTo>
                      <a:pt x="116" y="63"/>
                      <a:pt x="116" y="63"/>
                      <a:pt x="116" y="63"/>
                    </a:cubicBezTo>
                    <a:cubicBezTo>
                      <a:pt x="116" y="63"/>
                      <a:pt x="117" y="64"/>
                      <a:pt x="117" y="64"/>
                    </a:cubicBezTo>
                    <a:cubicBezTo>
                      <a:pt x="117" y="64"/>
                      <a:pt x="118" y="64"/>
                      <a:pt x="118" y="65"/>
                    </a:cubicBezTo>
                    <a:cubicBezTo>
                      <a:pt x="118" y="65"/>
                      <a:pt x="118" y="65"/>
                      <a:pt x="118" y="66"/>
                    </a:cubicBezTo>
                    <a:cubicBezTo>
                      <a:pt x="119" y="66"/>
                      <a:pt x="119" y="67"/>
                      <a:pt x="119" y="67"/>
                    </a:cubicBezTo>
                    <a:cubicBezTo>
                      <a:pt x="120" y="68"/>
                      <a:pt x="120" y="68"/>
                      <a:pt x="121" y="69"/>
                    </a:cubicBezTo>
                    <a:cubicBezTo>
                      <a:pt x="121" y="69"/>
                      <a:pt x="122" y="70"/>
                      <a:pt x="122" y="70"/>
                    </a:cubicBezTo>
                    <a:cubicBezTo>
                      <a:pt x="123" y="70"/>
                      <a:pt x="124" y="70"/>
                      <a:pt x="124" y="71"/>
                    </a:cubicBezTo>
                    <a:cubicBezTo>
                      <a:pt x="125" y="71"/>
                      <a:pt x="125" y="72"/>
                      <a:pt x="125" y="72"/>
                    </a:cubicBezTo>
                    <a:cubicBezTo>
                      <a:pt x="126" y="73"/>
                      <a:pt x="126" y="73"/>
                      <a:pt x="126" y="74"/>
                    </a:cubicBezTo>
                    <a:cubicBezTo>
                      <a:pt x="127" y="74"/>
                      <a:pt x="127" y="75"/>
                      <a:pt x="127" y="75"/>
                    </a:cubicBezTo>
                    <a:cubicBezTo>
                      <a:pt x="127" y="76"/>
                      <a:pt x="127" y="77"/>
                      <a:pt x="127" y="78"/>
                    </a:cubicBezTo>
                    <a:cubicBezTo>
                      <a:pt x="127" y="78"/>
                      <a:pt x="128" y="79"/>
                      <a:pt x="128" y="79"/>
                    </a:cubicBezTo>
                    <a:cubicBezTo>
                      <a:pt x="129" y="80"/>
                      <a:pt x="129" y="80"/>
                      <a:pt x="129" y="81"/>
                    </a:cubicBezTo>
                    <a:cubicBezTo>
                      <a:pt x="129" y="81"/>
                      <a:pt x="128" y="82"/>
                      <a:pt x="128" y="82"/>
                    </a:cubicBezTo>
                    <a:cubicBezTo>
                      <a:pt x="128" y="84"/>
                      <a:pt x="128" y="85"/>
                      <a:pt x="128" y="86"/>
                    </a:cubicBezTo>
                    <a:cubicBezTo>
                      <a:pt x="129" y="87"/>
                      <a:pt x="130" y="87"/>
                      <a:pt x="130" y="88"/>
                    </a:cubicBezTo>
                    <a:cubicBezTo>
                      <a:pt x="130" y="88"/>
                      <a:pt x="131" y="88"/>
                      <a:pt x="131" y="89"/>
                    </a:cubicBezTo>
                    <a:cubicBezTo>
                      <a:pt x="131" y="89"/>
                      <a:pt x="131" y="90"/>
                      <a:pt x="132" y="89"/>
                    </a:cubicBezTo>
                    <a:cubicBezTo>
                      <a:pt x="133" y="89"/>
                      <a:pt x="134" y="89"/>
                      <a:pt x="134" y="90"/>
                    </a:cubicBezTo>
                    <a:cubicBezTo>
                      <a:pt x="135" y="90"/>
                      <a:pt x="136" y="90"/>
                      <a:pt x="136" y="90"/>
                    </a:cubicBezTo>
                    <a:cubicBezTo>
                      <a:pt x="137" y="90"/>
                      <a:pt x="137" y="90"/>
                      <a:pt x="138" y="91"/>
                    </a:cubicBezTo>
                    <a:cubicBezTo>
                      <a:pt x="139" y="91"/>
                      <a:pt x="141" y="90"/>
                      <a:pt x="143" y="91"/>
                    </a:cubicBezTo>
                    <a:cubicBezTo>
                      <a:pt x="144" y="91"/>
                      <a:pt x="146" y="91"/>
                      <a:pt x="147" y="91"/>
                    </a:cubicBezTo>
                    <a:cubicBezTo>
                      <a:pt x="149" y="91"/>
                      <a:pt x="149" y="91"/>
                      <a:pt x="150" y="91"/>
                    </a:cubicBezTo>
                    <a:cubicBezTo>
                      <a:pt x="151" y="91"/>
                      <a:pt x="152" y="91"/>
                      <a:pt x="153" y="92"/>
                    </a:cubicBezTo>
                    <a:cubicBezTo>
                      <a:pt x="155" y="92"/>
                      <a:pt x="156" y="92"/>
                      <a:pt x="158" y="93"/>
                    </a:cubicBezTo>
                    <a:cubicBezTo>
                      <a:pt x="159" y="94"/>
                      <a:pt x="160" y="95"/>
                      <a:pt x="161" y="95"/>
                    </a:cubicBezTo>
                    <a:cubicBezTo>
                      <a:pt x="162" y="95"/>
                      <a:pt x="163" y="95"/>
                      <a:pt x="163" y="96"/>
                    </a:cubicBezTo>
                    <a:cubicBezTo>
                      <a:pt x="164" y="96"/>
                      <a:pt x="165" y="97"/>
                      <a:pt x="165" y="97"/>
                    </a:cubicBezTo>
                    <a:cubicBezTo>
                      <a:pt x="166" y="97"/>
                      <a:pt x="167" y="98"/>
                      <a:pt x="168" y="98"/>
                    </a:cubicBezTo>
                    <a:cubicBezTo>
                      <a:pt x="169" y="99"/>
                      <a:pt x="170" y="99"/>
                      <a:pt x="170" y="99"/>
                    </a:cubicBezTo>
                    <a:cubicBezTo>
                      <a:pt x="171" y="99"/>
                      <a:pt x="171" y="100"/>
                      <a:pt x="172" y="99"/>
                    </a:cubicBezTo>
                    <a:cubicBezTo>
                      <a:pt x="173" y="99"/>
                      <a:pt x="174" y="99"/>
                      <a:pt x="174" y="99"/>
                    </a:cubicBezTo>
                    <a:cubicBezTo>
                      <a:pt x="175" y="99"/>
                      <a:pt x="175" y="102"/>
                      <a:pt x="176" y="102"/>
                    </a:cubicBezTo>
                    <a:cubicBezTo>
                      <a:pt x="176" y="102"/>
                      <a:pt x="177" y="102"/>
                      <a:pt x="177" y="103"/>
                    </a:cubicBezTo>
                    <a:cubicBezTo>
                      <a:pt x="178" y="103"/>
                      <a:pt x="178" y="104"/>
                      <a:pt x="179" y="105"/>
                    </a:cubicBezTo>
                    <a:cubicBezTo>
                      <a:pt x="180" y="106"/>
                      <a:pt x="182" y="107"/>
                      <a:pt x="183" y="109"/>
                    </a:cubicBezTo>
                    <a:cubicBezTo>
                      <a:pt x="183" y="110"/>
                      <a:pt x="184" y="111"/>
                      <a:pt x="186" y="112"/>
                    </a:cubicBezTo>
                    <a:cubicBezTo>
                      <a:pt x="187" y="113"/>
                      <a:pt x="189" y="114"/>
                      <a:pt x="189" y="115"/>
                    </a:cubicBezTo>
                    <a:cubicBezTo>
                      <a:pt x="190" y="115"/>
                      <a:pt x="190" y="116"/>
                      <a:pt x="190" y="116"/>
                    </a:cubicBezTo>
                    <a:cubicBezTo>
                      <a:pt x="191" y="116"/>
                      <a:pt x="192" y="116"/>
                      <a:pt x="192" y="116"/>
                    </a:cubicBezTo>
                    <a:cubicBezTo>
                      <a:pt x="193" y="116"/>
                      <a:pt x="194" y="116"/>
                      <a:pt x="195" y="116"/>
                    </a:cubicBezTo>
                    <a:cubicBezTo>
                      <a:pt x="196" y="116"/>
                      <a:pt x="197" y="115"/>
                      <a:pt x="198" y="115"/>
                    </a:cubicBezTo>
                    <a:cubicBezTo>
                      <a:pt x="200" y="116"/>
                      <a:pt x="201" y="116"/>
                      <a:pt x="203" y="116"/>
                    </a:cubicBezTo>
                    <a:cubicBezTo>
                      <a:pt x="207" y="117"/>
                      <a:pt x="211" y="117"/>
                      <a:pt x="215" y="118"/>
                    </a:cubicBezTo>
                    <a:cubicBezTo>
                      <a:pt x="216" y="118"/>
                      <a:pt x="217" y="118"/>
                      <a:pt x="218" y="118"/>
                    </a:cubicBezTo>
                    <a:cubicBezTo>
                      <a:pt x="219" y="118"/>
                      <a:pt x="220" y="117"/>
                      <a:pt x="221" y="117"/>
                    </a:cubicBezTo>
                    <a:cubicBezTo>
                      <a:pt x="223" y="116"/>
                      <a:pt x="224" y="117"/>
                      <a:pt x="226" y="117"/>
                    </a:cubicBezTo>
                    <a:cubicBezTo>
                      <a:pt x="228" y="117"/>
                      <a:pt x="230" y="118"/>
                      <a:pt x="232" y="118"/>
                    </a:cubicBezTo>
                    <a:cubicBezTo>
                      <a:pt x="234" y="118"/>
                      <a:pt x="235" y="118"/>
                      <a:pt x="237" y="118"/>
                    </a:cubicBezTo>
                    <a:cubicBezTo>
                      <a:pt x="239" y="119"/>
                      <a:pt x="240" y="120"/>
                      <a:pt x="241" y="121"/>
                    </a:cubicBezTo>
                    <a:cubicBezTo>
                      <a:pt x="243" y="122"/>
                      <a:pt x="245" y="123"/>
                      <a:pt x="246" y="123"/>
                    </a:cubicBezTo>
                    <a:cubicBezTo>
                      <a:pt x="248" y="123"/>
                      <a:pt x="250" y="123"/>
                      <a:pt x="252" y="124"/>
                    </a:cubicBezTo>
                    <a:cubicBezTo>
                      <a:pt x="254" y="124"/>
                      <a:pt x="256" y="125"/>
                      <a:pt x="258" y="126"/>
                    </a:cubicBezTo>
                    <a:cubicBezTo>
                      <a:pt x="260" y="127"/>
                      <a:pt x="261" y="126"/>
                      <a:pt x="263" y="126"/>
                    </a:cubicBezTo>
                    <a:cubicBezTo>
                      <a:pt x="264" y="126"/>
                      <a:pt x="266" y="125"/>
                      <a:pt x="266" y="126"/>
                    </a:cubicBezTo>
                    <a:cubicBezTo>
                      <a:pt x="267" y="127"/>
                      <a:pt x="267" y="128"/>
                      <a:pt x="268" y="128"/>
                    </a:cubicBezTo>
                    <a:cubicBezTo>
                      <a:pt x="270" y="128"/>
                      <a:pt x="271" y="127"/>
                      <a:pt x="272" y="129"/>
                    </a:cubicBezTo>
                    <a:cubicBezTo>
                      <a:pt x="271" y="128"/>
                      <a:pt x="272" y="128"/>
                      <a:pt x="272" y="128"/>
                    </a:cubicBezTo>
                    <a:cubicBezTo>
                      <a:pt x="272" y="127"/>
                      <a:pt x="272" y="127"/>
                      <a:pt x="273" y="127"/>
                    </a:cubicBezTo>
                    <a:cubicBezTo>
                      <a:pt x="274" y="126"/>
                      <a:pt x="276" y="125"/>
                      <a:pt x="277" y="124"/>
                    </a:cubicBezTo>
                    <a:cubicBezTo>
                      <a:pt x="278" y="124"/>
                      <a:pt x="279" y="123"/>
                      <a:pt x="280" y="123"/>
                    </a:cubicBezTo>
                    <a:cubicBezTo>
                      <a:pt x="282" y="122"/>
                      <a:pt x="284" y="121"/>
                      <a:pt x="286" y="120"/>
                    </a:cubicBezTo>
                    <a:cubicBezTo>
                      <a:pt x="288" y="120"/>
                      <a:pt x="289" y="120"/>
                      <a:pt x="291" y="120"/>
                    </a:cubicBezTo>
                    <a:cubicBezTo>
                      <a:pt x="292" y="120"/>
                      <a:pt x="293" y="120"/>
                      <a:pt x="294" y="119"/>
                    </a:cubicBezTo>
                    <a:cubicBezTo>
                      <a:pt x="294" y="119"/>
                      <a:pt x="295" y="119"/>
                      <a:pt x="296" y="119"/>
                    </a:cubicBezTo>
                    <a:cubicBezTo>
                      <a:pt x="297" y="119"/>
                      <a:pt x="299" y="119"/>
                      <a:pt x="301" y="120"/>
                    </a:cubicBezTo>
                    <a:cubicBezTo>
                      <a:pt x="301" y="120"/>
                      <a:pt x="302" y="119"/>
                      <a:pt x="303" y="119"/>
                    </a:cubicBezTo>
                    <a:cubicBezTo>
                      <a:pt x="303" y="119"/>
                      <a:pt x="304" y="119"/>
                      <a:pt x="304" y="119"/>
                    </a:cubicBezTo>
                    <a:cubicBezTo>
                      <a:pt x="306" y="119"/>
                      <a:pt x="307" y="119"/>
                      <a:pt x="309" y="118"/>
                    </a:cubicBezTo>
                    <a:cubicBezTo>
                      <a:pt x="310" y="117"/>
                      <a:pt x="311" y="117"/>
                      <a:pt x="313" y="116"/>
                    </a:cubicBezTo>
                    <a:cubicBezTo>
                      <a:pt x="313" y="116"/>
                      <a:pt x="313" y="116"/>
                      <a:pt x="314" y="115"/>
                    </a:cubicBezTo>
                    <a:cubicBezTo>
                      <a:pt x="314" y="114"/>
                      <a:pt x="314" y="114"/>
                      <a:pt x="315" y="114"/>
                    </a:cubicBezTo>
                    <a:cubicBezTo>
                      <a:pt x="315" y="113"/>
                      <a:pt x="315" y="113"/>
                      <a:pt x="315" y="112"/>
                    </a:cubicBezTo>
                    <a:cubicBezTo>
                      <a:pt x="315" y="111"/>
                      <a:pt x="315" y="111"/>
                      <a:pt x="316" y="110"/>
                    </a:cubicBezTo>
                    <a:cubicBezTo>
                      <a:pt x="316" y="109"/>
                      <a:pt x="317" y="109"/>
                      <a:pt x="318" y="109"/>
                    </a:cubicBezTo>
                    <a:cubicBezTo>
                      <a:pt x="318" y="109"/>
                      <a:pt x="318" y="108"/>
                      <a:pt x="319" y="108"/>
                    </a:cubicBezTo>
                    <a:cubicBezTo>
                      <a:pt x="319" y="108"/>
                      <a:pt x="319" y="108"/>
                      <a:pt x="319" y="108"/>
                    </a:cubicBezTo>
                    <a:cubicBezTo>
                      <a:pt x="320" y="108"/>
                      <a:pt x="320" y="108"/>
                      <a:pt x="320" y="107"/>
                    </a:cubicBezTo>
                    <a:cubicBezTo>
                      <a:pt x="321" y="107"/>
                      <a:pt x="321" y="106"/>
                      <a:pt x="321" y="106"/>
                    </a:cubicBezTo>
                    <a:cubicBezTo>
                      <a:pt x="322" y="106"/>
                      <a:pt x="322" y="106"/>
                      <a:pt x="322" y="105"/>
                    </a:cubicBezTo>
                    <a:cubicBezTo>
                      <a:pt x="322" y="105"/>
                      <a:pt x="322" y="104"/>
                      <a:pt x="321" y="104"/>
                    </a:cubicBezTo>
                    <a:cubicBezTo>
                      <a:pt x="321" y="103"/>
                      <a:pt x="320" y="103"/>
                      <a:pt x="319" y="102"/>
                    </a:cubicBezTo>
                    <a:cubicBezTo>
                      <a:pt x="319" y="102"/>
                      <a:pt x="318" y="102"/>
                      <a:pt x="317" y="101"/>
                    </a:cubicBezTo>
                    <a:cubicBezTo>
                      <a:pt x="317" y="101"/>
                      <a:pt x="316" y="100"/>
                      <a:pt x="316" y="99"/>
                    </a:cubicBezTo>
                    <a:cubicBezTo>
                      <a:pt x="315" y="99"/>
                      <a:pt x="315" y="99"/>
                      <a:pt x="314" y="98"/>
                    </a:cubicBezTo>
                    <a:cubicBezTo>
                      <a:pt x="314" y="98"/>
                      <a:pt x="314" y="97"/>
                      <a:pt x="314" y="97"/>
                    </a:cubicBezTo>
                    <a:cubicBezTo>
                      <a:pt x="314" y="96"/>
                      <a:pt x="314" y="95"/>
                      <a:pt x="314" y="94"/>
                    </a:cubicBezTo>
                    <a:cubicBezTo>
                      <a:pt x="314" y="93"/>
                      <a:pt x="314" y="91"/>
                      <a:pt x="316" y="90"/>
                    </a:cubicBezTo>
                    <a:cubicBezTo>
                      <a:pt x="316" y="90"/>
                      <a:pt x="317" y="91"/>
                      <a:pt x="318" y="91"/>
                    </a:cubicBezTo>
                    <a:cubicBezTo>
                      <a:pt x="319" y="91"/>
                      <a:pt x="319" y="91"/>
                      <a:pt x="320" y="91"/>
                    </a:cubicBezTo>
                    <a:cubicBezTo>
                      <a:pt x="321" y="92"/>
                      <a:pt x="322" y="92"/>
                      <a:pt x="322" y="93"/>
                    </a:cubicBezTo>
                    <a:cubicBezTo>
                      <a:pt x="323" y="93"/>
                      <a:pt x="324" y="93"/>
                      <a:pt x="325" y="93"/>
                    </a:cubicBezTo>
                    <a:cubicBezTo>
                      <a:pt x="326" y="93"/>
                      <a:pt x="327" y="94"/>
                      <a:pt x="328" y="94"/>
                    </a:cubicBezTo>
                    <a:cubicBezTo>
                      <a:pt x="328" y="94"/>
                      <a:pt x="329" y="94"/>
                      <a:pt x="330" y="94"/>
                    </a:cubicBezTo>
                    <a:cubicBezTo>
                      <a:pt x="331" y="94"/>
                      <a:pt x="331" y="94"/>
                      <a:pt x="332" y="94"/>
                    </a:cubicBezTo>
                    <a:cubicBezTo>
                      <a:pt x="332" y="94"/>
                      <a:pt x="333" y="93"/>
                      <a:pt x="333" y="93"/>
                    </a:cubicBezTo>
                    <a:cubicBezTo>
                      <a:pt x="333" y="92"/>
                      <a:pt x="334" y="92"/>
                      <a:pt x="334" y="92"/>
                    </a:cubicBezTo>
                    <a:cubicBezTo>
                      <a:pt x="335" y="92"/>
                      <a:pt x="335" y="91"/>
                      <a:pt x="335" y="91"/>
                    </a:cubicBezTo>
                    <a:cubicBezTo>
                      <a:pt x="335" y="90"/>
                      <a:pt x="336" y="90"/>
                      <a:pt x="336" y="89"/>
                    </a:cubicBezTo>
                    <a:cubicBezTo>
                      <a:pt x="336" y="89"/>
                      <a:pt x="336" y="88"/>
                      <a:pt x="336" y="87"/>
                    </a:cubicBezTo>
                    <a:cubicBezTo>
                      <a:pt x="336" y="86"/>
                      <a:pt x="339" y="87"/>
                      <a:pt x="339" y="87"/>
                    </a:cubicBezTo>
                    <a:cubicBezTo>
                      <a:pt x="341" y="87"/>
                      <a:pt x="343" y="87"/>
                      <a:pt x="345" y="87"/>
                    </a:cubicBezTo>
                    <a:cubicBezTo>
                      <a:pt x="346" y="86"/>
                      <a:pt x="346" y="84"/>
                      <a:pt x="348" y="84"/>
                    </a:cubicBezTo>
                    <a:cubicBezTo>
                      <a:pt x="348" y="84"/>
                      <a:pt x="349" y="83"/>
                      <a:pt x="348" y="83"/>
                    </a:cubicBezTo>
                    <a:cubicBezTo>
                      <a:pt x="348" y="82"/>
                      <a:pt x="348" y="82"/>
                      <a:pt x="348" y="81"/>
                    </a:cubicBezTo>
                    <a:cubicBezTo>
                      <a:pt x="348" y="81"/>
                      <a:pt x="348" y="80"/>
                      <a:pt x="348" y="80"/>
                    </a:cubicBezTo>
                    <a:cubicBezTo>
                      <a:pt x="348" y="79"/>
                      <a:pt x="348" y="79"/>
                      <a:pt x="349" y="78"/>
                    </a:cubicBezTo>
                    <a:cubicBezTo>
                      <a:pt x="349" y="77"/>
                      <a:pt x="349" y="77"/>
                      <a:pt x="350" y="77"/>
                    </a:cubicBezTo>
                    <a:cubicBezTo>
                      <a:pt x="350" y="77"/>
                      <a:pt x="350" y="77"/>
                      <a:pt x="351" y="77"/>
                    </a:cubicBezTo>
                    <a:cubicBezTo>
                      <a:pt x="351" y="77"/>
                      <a:pt x="355" y="77"/>
                      <a:pt x="355" y="76"/>
                    </a:cubicBezTo>
                    <a:cubicBezTo>
                      <a:pt x="355" y="76"/>
                      <a:pt x="355" y="75"/>
                      <a:pt x="354" y="75"/>
                    </a:cubicBezTo>
                    <a:cubicBezTo>
                      <a:pt x="354" y="74"/>
                      <a:pt x="355" y="74"/>
                      <a:pt x="356" y="74"/>
                    </a:cubicBezTo>
                    <a:cubicBezTo>
                      <a:pt x="356" y="75"/>
                      <a:pt x="356" y="75"/>
                      <a:pt x="357" y="75"/>
                    </a:cubicBezTo>
                    <a:cubicBezTo>
                      <a:pt x="358" y="75"/>
                      <a:pt x="358" y="75"/>
                      <a:pt x="358" y="74"/>
                    </a:cubicBezTo>
                    <a:cubicBezTo>
                      <a:pt x="358" y="74"/>
                      <a:pt x="359" y="74"/>
                      <a:pt x="359" y="74"/>
                    </a:cubicBezTo>
                    <a:cubicBezTo>
                      <a:pt x="360" y="74"/>
                      <a:pt x="360" y="73"/>
                      <a:pt x="360" y="73"/>
                    </a:cubicBezTo>
                    <a:cubicBezTo>
                      <a:pt x="361" y="72"/>
                      <a:pt x="362" y="73"/>
                      <a:pt x="363" y="73"/>
                    </a:cubicBezTo>
                    <a:cubicBezTo>
                      <a:pt x="363" y="73"/>
                      <a:pt x="364" y="73"/>
                      <a:pt x="365" y="73"/>
                    </a:cubicBezTo>
                    <a:cubicBezTo>
                      <a:pt x="365" y="73"/>
                      <a:pt x="365" y="72"/>
                      <a:pt x="366" y="72"/>
                    </a:cubicBezTo>
                    <a:cubicBezTo>
                      <a:pt x="366" y="72"/>
                      <a:pt x="366" y="73"/>
                      <a:pt x="367" y="73"/>
                    </a:cubicBezTo>
                    <a:cubicBezTo>
                      <a:pt x="367" y="73"/>
                      <a:pt x="368" y="73"/>
                      <a:pt x="368" y="74"/>
                    </a:cubicBezTo>
                    <a:cubicBezTo>
                      <a:pt x="370" y="74"/>
                      <a:pt x="371" y="74"/>
                      <a:pt x="373" y="74"/>
                    </a:cubicBezTo>
                    <a:cubicBezTo>
                      <a:pt x="373" y="74"/>
                      <a:pt x="374" y="74"/>
                      <a:pt x="374" y="74"/>
                    </a:cubicBezTo>
                    <a:cubicBezTo>
                      <a:pt x="374" y="74"/>
                      <a:pt x="374" y="74"/>
                      <a:pt x="374" y="74"/>
                    </a:cubicBezTo>
                    <a:cubicBezTo>
                      <a:pt x="374" y="73"/>
                      <a:pt x="375" y="74"/>
                      <a:pt x="375" y="73"/>
                    </a:cubicBezTo>
                    <a:cubicBezTo>
                      <a:pt x="375" y="73"/>
                      <a:pt x="375" y="73"/>
                      <a:pt x="375" y="73"/>
                    </a:cubicBezTo>
                    <a:cubicBezTo>
                      <a:pt x="374" y="71"/>
                      <a:pt x="373" y="71"/>
                      <a:pt x="372" y="70"/>
                    </a:cubicBezTo>
                    <a:cubicBezTo>
                      <a:pt x="371" y="69"/>
                      <a:pt x="371" y="68"/>
                      <a:pt x="370" y="68"/>
                    </a:cubicBezTo>
                    <a:cubicBezTo>
                      <a:pt x="369" y="67"/>
                      <a:pt x="368" y="67"/>
                      <a:pt x="368" y="67"/>
                    </a:cubicBezTo>
                    <a:cubicBezTo>
                      <a:pt x="367" y="66"/>
                      <a:pt x="366" y="66"/>
                      <a:pt x="366" y="65"/>
                    </a:cubicBezTo>
                    <a:cubicBezTo>
                      <a:pt x="365" y="65"/>
                      <a:pt x="365" y="65"/>
                      <a:pt x="365" y="65"/>
                    </a:cubicBezTo>
                    <a:cubicBezTo>
                      <a:pt x="364" y="64"/>
                      <a:pt x="363" y="64"/>
                      <a:pt x="363" y="64"/>
                    </a:cubicBezTo>
                    <a:cubicBezTo>
                      <a:pt x="363" y="63"/>
                      <a:pt x="362" y="63"/>
                      <a:pt x="361" y="62"/>
                    </a:cubicBezTo>
                    <a:cubicBezTo>
                      <a:pt x="360" y="62"/>
                      <a:pt x="359" y="62"/>
                      <a:pt x="357" y="61"/>
                    </a:cubicBezTo>
                    <a:cubicBezTo>
                      <a:pt x="356" y="60"/>
                      <a:pt x="355" y="59"/>
                      <a:pt x="353" y="59"/>
                    </a:cubicBezTo>
                    <a:cubicBezTo>
                      <a:pt x="352" y="59"/>
                      <a:pt x="350" y="59"/>
                      <a:pt x="349" y="60"/>
                    </a:cubicBezTo>
                    <a:cubicBezTo>
                      <a:pt x="348" y="60"/>
                      <a:pt x="348" y="61"/>
                      <a:pt x="348" y="62"/>
                    </a:cubicBezTo>
                    <a:cubicBezTo>
                      <a:pt x="348" y="62"/>
                      <a:pt x="348" y="63"/>
                      <a:pt x="348" y="63"/>
                    </a:cubicBezTo>
                    <a:cubicBezTo>
                      <a:pt x="347" y="63"/>
                      <a:pt x="345" y="62"/>
                      <a:pt x="345" y="62"/>
                    </a:cubicBezTo>
                    <a:cubicBezTo>
                      <a:pt x="343" y="61"/>
                      <a:pt x="341" y="60"/>
                      <a:pt x="339" y="61"/>
                    </a:cubicBezTo>
                    <a:cubicBezTo>
                      <a:pt x="338" y="61"/>
                      <a:pt x="336" y="60"/>
                      <a:pt x="335" y="62"/>
                    </a:cubicBezTo>
                    <a:cubicBezTo>
                      <a:pt x="335" y="63"/>
                      <a:pt x="333" y="61"/>
                      <a:pt x="332" y="61"/>
                    </a:cubicBezTo>
                    <a:cubicBezTo>
                      <a:pt x="331" y="61"/>
                      <a:pt x="331" y="60"/>
                      <a:pt x="330" y="60"/>
                    </a:cubicBezTo>
                    <a:cubicBezTo>
                      <a:pt x="330" y="59"/>
                      <a:pt x="329" y="58"/>
                      <a:pt x="329" y="58"/>
                    </a:cubicBezTo>
                    <a:cubicBezTo>
                      <a:pt x="329" y="57"/>
                      <a:pt x="330" y="57"/>
                      <a:pt x="330" y="57"/>
                    </a:cubicBezTo>
                    <a:cubicBezTo>
                      <a:pt x="331" y="56"/>
                      <a:pt x="330" y="55"/>
                      <a:pt x="330" y="55"/>
                    </a:cubicBezTo>
                    <a:cubicBezTo>
                      <a:pt x="329" y="54"/>
                      <a:pt x="329" y="53"/>
                      <a:pt x="329" y="51"/>
                    </a:cubicBezTo>
                    <a:cubicBezTo>
                      <a:pt x="330" y="50"/>
                      <a:pt x="329" y="50"/>
                      <a:pt x="329" y="50"/>
                    </a:cubicBezTo>
                    <a:cubicBezTo>
                      <a:pt x="329" y="49"/>
                      <a:pt x="329" y="49"/>
                      <a:pt x="329" y="48"/>
                    </a:cubicBezTo>
                    <a:cubicBezTo>
                      <a:pt x="329" y="47"/>
                      <a:pt x="329" y="46"/>
                      <a:pt x="329" y="45"/>
                    </a:cubicBezTo>
                    <a:cubicBezTo>
                      <a:pt x="329" y="44"/>
                      <a:pt x="329" y="42"/>
                      <a:pt x="329" y="40"/>
                    </a:cubicBezTo>
                    <a:cubicBezTo>
                      <a:pt x="331" y="41"/>
                      <a:pt x="333" y="42"/>
                      <a:pt x="335" y="42"/>
                    </a:cubicBezTo>
                    <a:cubicBezTo>
                      <a:pt x="336" y="42"/>
                      <a:pt x="337" y="42"/>
                      <a:pt x="338" y="42"/>
                    </a:cubicBezTo>
                    <a:cubicBezTo>
                      <a:pt x="339" y="43"/>
                      <a:pt x="339" y="43"/>
                      <a:pt x="340" y="43"/>
                    </a:cubicBezTo>
                    <a:cubicBezTo>
                      <a:pt x="341" y="43"/>
                      <a:pt x="341" y="42"/>
                      <a:pt x="342" y="42"/>
                    </a:cubicBezTo>
                    <a:cubicBezTo>
                      <a:pt x="342" y="41"/>
                      <a:pt x="342" y="41"/>
                      <a:pt x="343" y="40"/>
                    </a:cubicBezTo>
                    <a:cubicBezTo>
                      <a:pt x="343" y="40"/>
                      <a:pt x="343" y="40"/>
                      <a:pt x="343" y="40"/>
                    </a:cubicBezTo>
                    <a:cubicBezTo>
                      <a:pt x="343" y="40"/>
                      <a:pt x="343" y="40"/>
                      <a:pt x="343" y="39"/>
                    </a:cubicBezTo>
                    <a:cubicBezTo>
                      <a:pt x="344" y="39"/>
                      <a:pt x="344" y="39"/>
                      <a:pt x="344" y="38"/>
                    </a:cubicBezTo>
                    <a:cubicBezTo>
                      <a:pt x="345" y="38"/>
                      <a:pt x="346" y="38"/>
                      <a:pt x="347" y="38"/>
                    </a:cubicBezTo>
                    <a:cubicBezTo>
                      <a:pt x="348" y="38"/>
                      <a:pt x="349" y="38"/>
                      <a:pt x="349" y="37"/>
                    </a:cubicBezTo>
                    <a:cubicBezTo>
                      <a:pt x="349" y="36"/>
                      <a:pt x="348" y="36"/>
                      <a:pt x="348" y="35"/>
                    </a:cubicBezTo>
                    <a:cubicBezTo>
                      <a:pt x="348" y="34"/>
                      <a:pt x="347" y="34"/>
                      <a:pt x="346" y="34"/>
                    </a:cubicBezTo>
                    <a:cubicBezTo>
                      <a:pt x="346" y="34"/>
                      <a:pt x="346" y="34"/>
                      <a:pt x="345" y="34"/>
                    </a:cubicBezTo>
                    <a:cubicBezTo>
                      <a:pt x="345" y="34"/>
                      <a:pt x="346" y="34"/>
                      <a:pt x="346" y="34"/>
                    </a:cubicBezTo>
                    <a:cubicBezTo>
                      <a:pt x="346" y="33"/>
                      <a:pt x="345" y="32"/>
                      <a:pt x="346" y="31"/>
                    </a:cubicBezTo>
                    <a:cubicBezTo>
                      <a:pt x="346" y="30"/>
                      <a:pt x="346" y="30"/>
                      <a:pt x="346" y="29"/>
                    </a:cubicBezTo>
                    <a:cubicBezTo>
                      <a:pt x="345" y="28"/>
                      <a:pt x="346" y="27"/>
                      <a:pt x="346" y="26"/>
                    </a:cubicBezTo>
                    <a:cubicBezTo>
                      <a:pt x="346" y="26"/>
                      <a:pt x="345" y="25"/>
                      <a:pt x="346" y="25"/>
                    </a:cubicBezTo>
                    <a:cubicBezTo>
                      <a:pt x="345" y="24"/>
                      <a:pt x="346" y="24"/>
                      <a:pt x="346" y="24"/>
                    </a:cubicBezTo>
                    <a:cubicBezTo>
                      <a:pt x="345" y="23"/>
                      <a:pt x="345" y="23"/>
                      <a:pt x="345" y="23"/>
                    </a:cubicBezTo>
                    <a:cubicBezTo>
                      <a:pt x="346" y="23"/>
                      <a:pt x="346" y="23"/>
                      <a:pt x="345" y="23"/>
                    </a:cubicBezTo>
                    <a:cubicBezTo>
                      <a:pt x="345" y="22"/>
                      <a:pt x="345" y="22"/>
                      <a:pt x="345" y="21"/>
                    </a:cubicBezTo>
                    <a:cubicBezTo>
                      <a:pt x="345" y="20"/>
                      <a:pt x="345" y="20"/>
                      <a:pt x="346" y="20"/>
                    </a:cubicBezTo>
                    <a:cubicBezTo>
                      <a:pt x="346" y="19"/>
                      <a:pt x="346" y="18"/>
                      <a:pt x="347" y="18"/>
                    </a:cubicBezTo>
                    <a:cubicBezTo>
                      <a:pt x="348" y="17"/>
                      <a:pt x="348" y="17"/>
                      <a:pt x="347" y="16"/>
                    </a:cubicBezTo>
                    <a:cubicBezTo>
                      <a:pt x="347" y="16"/>
                      <a:pt x="347" y="16"/>
                      <a:pt x="347" y="15"/>
                    </a:cubicBezTo>
                    <a:cubicBezTo>
                      <a:pt x="347" y="14"/>
                      <a:pt x="345" y="14"/>
                      <a:pt x="345" y="13"/>
                    </a:cubicBezTo>
                    <a:cubicBezTo>
                      <a:pt x="344" y="12"/>
                      <a:pt x="344" y="11"/>
                      <a:pt x="343" y="11"/>
                    </a:cubicBezTo>
                    <a:cubicBezTo>
                      <a:pt x="342" y="10"/>
                      <a:pt x="341" y="10"/>
                      <a:pt x="340" y="10"/>
                    </a:cubicBezTo>
                    <a:cubicBezTo>
                      <a:pt x="339" y="11"/>
                      <a:pt x="339" y="11"/>
                      <a:pt x="338" y="10"/>
                    </a:cubicBezTo>
                    <a:cubicBezTo>
                      <a:pt x="338" y="10"/>
                      <a:pt x="337" y="10"/>
                      <a:pt x="337" y="9"/>
                    </a:cubicBezTo>
                    <a:cubicBezTo>
                      <a:pt x="337" y="9"/>
                      <a:pt x="337" y="8"/>
                      <a:pt x="337" y="8"/>
                    </a:cubicBezTo>
                    <a:cubicBezTo>
                      <a:pt x="338" y="8"/>
                      <a:pt x="338" y="7"/>
                      <a:pt x="338" y="7"/>
                    </a:cubicBezTo>
                    <a:cubicBezTo>
                      <a:pt x="339" y="6"/>
                      <a:pt x="339" y="6"/>
                      <a:pt x="339" y="5"/>
                    </a:cubicBezTo>
                    <a:cubicBezTo>
                      <a:pt x="339" y="5"/>
                      <a:pt x="339" y="4"/>
                      <a:pt x="339" y="4"/>
                    </a:cubicBezTo>
                    <a:cubicBezTo>
                      <a:pt x="339" y="4"/>
                      <a:pt x="340" y="4"/>
                      <a:pt x="340" y="4"/>
                    </a:cubicBezTo>
                    <a:cubicBezTo>
                      <a:pt x="340" y="3"/>
                      <a:pt x="342" y="4"/>
                      <a:pt x="343" y="3"/>
                    </a:cubicBezTo>
                    <a:cubicBezTo>
                      <a:pt x="343" y="3"/>
                      <a:pt x="344" y="3"/>
                      <a:pt x="345" y="3"/>
                    </a:cubicBezTo>
                    <a:cubicBezTo>
                      <a:pt x="345" y="3"/>
                      <a:pt x="346" y="2"/>
                      <a:pt x="346" y="2"/>
                    </a:cubicBezTo>
                    <a:cubicBezTo>
                      <a:pt x="347" y="2"/>
                      <a:pt x="348" y="2"/>
                      <a:pt x="349" y="2"/>
                    </a:cubicBezTo>
                    <a:cubicBezTo>
                      <a:pt x="349" y="2"/>
                      <a:pt x="349" y="2"/>
                      <a:pt x="349" y="2"/>
                    </a:cubicBezTo>
                    <a:cubicBezTo>
                      <a:pt x="349" y="1"/>
                      <a:pt x="350" y="1"/>
                      <a:pt x="350" y="1"/>
                    </a:cubicBezTo>
                    <a:cubicBezTo>
                      <a:pt x="350" y="1"/>
                      <a:pt x="350" y="1"/>
                      <a:pt x="350" y="1"/>
                    </a:cubicBezTo>
                    <a:cubicBezTo>
                      <a:pt x="350" y="1"/>
                      <a:pt x="351" y="1"/>
                      <a:pt x="351" y="1"/>
                    </a:cubicBezTo>
                    <a:cubicBezTo>
                      <a:pt x="352" y="2"/>
                      <a:pt x="352" y="2"/>
                      <a:pt x="353" y="1"/>
                    </a:cubicBezTo>
                    <a:cubicBezTo>
                      <a:pt x="354" y="1"/>
                      <a:pt x="354" y="2"/>
                      <a:pt x="355" y="1"/>
                    </a:cubicBezTo>
                    <a:cubicBezTo>
                      <a:pt x="356" y="1"/>
                      <a:pt x="357" y="1"/>
                      <a:pt x="357" y="1"/>
                    </a:cubicBezTo>
                    <a:cubicBezTo>
                      <a:pt x="358" y="0"/>
                      <a:pt x="358" y="0"/>
                      <a:pt x="359" y="1"/>
                    </a:cubicBezTo>
                    <a:cubicBezTo>
                      <a:pt x="359" y="1"/>
                      <a:pt x="360" y="1"/>
                      <a:pt x="360" y="1"/>
                    </a:cubicBezTo>
                    <a:cubicBezTo>
                      <a:pt x="360" y="1"/>
                      <a:pt x="359" y="1"/>
                      <a:pt x="360" y="0"/>
                    </a:cubicBezTo>
                    <a:cubicBezTo>
                      <a:pt x="360" y="0"/>
                      <a:pt x="360" y="1"/>
                      <a:pt x="360" y="1"/>
                    </a:cubicBezTo>
                    <a:cubicBezTo>
                      <a:pt x="360" y="0"/>
                      <a:pt x="361" y="1"/>
                      <a:pt x="361" y="1"/>
                    </a:cubicBezTo>
                    <a:cubicBezTo>
                      <a:pt x="363" y="1"/>
                      <a:pt x="364" y="1"/>
                      <a:pt x="365" y="2"/>
                    </a:cubicBezTo>
                    <a:cubicBezTo>
                      <a:pt x="365" y="2"/>
                      <a:pt x="366" y="2"/>
                      <a:pt x="367" y="2"/>
                    </a:cubicBezTo>
                    <a:cubicBezTo>
                      <a:pt x="368" y="3"/>
                      <a:pt x="368" y="3"/>
                      <a:pt x="369" y="4"/>
                    </a:cubicBezTo>
                    <a:cubicBezTo>
                      <a:pt x="369" y="4"/>
                      <a:pt x="370" y="4"/>
                      <a:pt x="371" y="4"/>
                    </a:cubicBezTo>
                    <a:cubicBezTo>
                      <a:pt x="372" y="4"/>
                      <a:pt x="373" y="5"/>
                      <a:pt x="373" y="5"/>
                    </a:cubicBezTo>
                    <a:cubicBezTo>
                      <a:pt x="374" y="5"/>
                      <a:pt x="375" y="5"/>
                      <a:pt x="374" y="5"/>
                    </a:cubicBezTo>
                    <a:cubicBezTo>
                      <a:pt x="373" y="4"/>
                      <a:pt x="374" y="4"/>
                      <a:pt x="375" y="4"/>
                    </a:cubicBezTo>
                    <a:cubicBezTo>
                      <a:pt x="376" y="4"/>
                      <a:pt x="377" y="4"/>
                      <a:pt x="377" y="5"/>
                    </a:cubicBezTo>
                    <a:cubicBezTo>
                      <a:pt x="379" y="5"/>
                      <a:pt x="380" y="6"/>
                      <a:pt x="382" y="6"/>
                    </a:cubicBezTo>
                    <a:cubicBezTo>
                      <a:pt x="383" y="7"/>
                      <a:pt x="381" y="7"/>
                      <a:pt x="382" y="7"/>
                    </a:cubicBezTo>
                    <a:cubicBezTo>
                      <a:pt x="383" y="8"/>
                      <a:pt x="383" y="7"/>
                      <a:pt x="384" y="7"/>
                    </a:cubicBezTo>
                    <a:cubicBezTo>
                      <a:pt x="384" y="8"/>
                      <a:pt x="385" y="8"/>
                      <a:pt x="386" y="9"/>
                    </a:cubicBezTo>
                    <a:cubicBezTo>
                      <a:pt x="386" y="9"/>
                      <a:pt x="386" y="8"/>
                      <a:pt x="387" y="9"/>
                    </a:cubicBezTo>
                    <a:cubicBezTo>
                      <a:pt x="387" y="9"/>
                      <a:pt x="387" y="9"/>
                      <a:pt x="387" y="9"/>
                    </a:cubicBezTo>
                    <a:cubicBezTo>
                      <a:pt x="387" y="9"/>
                      <a:pt x="387" y="9"/>
                      <a:pt x="387" y="10"/>
                    </a:cubicBezTo>
                    <a:cubicBezTo>
                      <a:pt x="387" y="10"/>
                      <a:pt x="387" y="10"/>
                      <a:pt x="387" y="10"/>
                    </a:cubicBezTo>
                    <a:cubicBezTo>
                      <a:pt x="387" y="10"/>
                      <a:pt x="387" y="11"/>
                      <a:pt x="388" y="11"/>
                    </a:cubicBezTo>
                    <a:cubicBezTo>
                      <a:pt x="388" y="10"/>
                      <a:pt x="389" y="11"/>
                      <a:pt x="389" y="11"/>
                    </a:cubicBezTo>
                    <a:cubicBezTo>
                      <a:pt x="390" y="11"/>
                      <a:pt x="390" y="12"/>
                      <a:pt x="390" y="12"/>
                    </a:cubicBezTo>
                    <a:cubicBezTo>
                      <a:pt x="390" y="12"/>
                      <a:pt x="390" y="12"/>
                      <a:pt x="391" y="12"/>
                    </a:cubicBezTo>
                    <a:cubicBezTo>
                      <a:pt x="391" y="12"/>
                      <a:pt x="392" y="13"/>
                      <a:pt x="392" y="13"/>
                    </a:cubicBezTo>
                    <a:cubicBezTo>
                      <a:pt x="392" y="14"/>
                      <a:pt x="393" y="14"/>
                      <a:pt x="393" y="14"/>
                    </a:cubicBezTo>
                    <a:cubicBezTo>
                      <a:pt x="392" y="15"/>
                      <a:pt x="394" y="15"/>
                      <a:pt x="395" y="15"/>
                    </a:cubicBezTo>
                    <a:cubicBezTo>
                      <a:pt x="395" y="15"/>
                      <a:pt x="396" y="16"/>
                      <a:pt x="395" y="16"/>
                    </a:cubicBezTo>
                    <a:cubicBezTo>
                      <a:pt x="395" y="17"/>
                      <a:pt x="396" y="17"/>
                      <a:pt x="396" y="17"/>
                    </a:cubicBezTo>
                    <a:cubicBezTo>
                      <a:pt x="397" y="18"/>
                      <a:pt x="399" y="19"/>
                      <a:pt x="400" y="20"/>
                    </a:cubicBezTo>
                    <a:cubicBezTo>
                      <a:pt x="400" y="20"/>
                      <a:pt x="400" y="20"/>
                      <a:pt x="400" y="21"/>
                    </a:cubicBezTo>
                    <a:cubicBezTo>
                      <a:pt x="400" y="21"/>
                      <a:pt x="400" y="21"/>
                      <a:pt x="400" y="21"/>
                    </a:cubicBezTo>
                    <a:cubicBezTo>
                      <a:pt x="401" y="22"/>
                      <a:pt x="402" y="21"/>
                      <a:pt x="402" y="22"/>
                    </a:cubicBezTo>
                    <a:cubicBezTo>
                      <a:pt x="402" y="22"/>
                      <a:pt x="402" y="23"/>
                      <a:pt x="403" y="23"/>
                    </a:cubicBezTo>
                    <a:cubicBezTo>
                      <a:pt x="403" y="23"/>
                      <a:pt x="403" y="23"/>
                      <a:pt x="404" y="23"/>
                    </a:cubicBezTo>
                    <a:cubicBezTo>
                      <a:pt x="404" y="23"/>
                      <a:pt x="404" y="24"/>
                      <a:pt x="404" y="24"/>
                    </a:cubicBezTo>
                    <a:cubicBezTo>
                      <a:pt x="403" y="24"/>
                      <a:pt x="404" y="25"/>
                      <a:pt x="404" y="25"/>
                    </a:cubicBezTo>
                    <a:cubicBezTo>
                      <a:pt x="404" y="25"/>
                      <a:pt x="404" y="25"/>
                      <a:pt x="404" y="25"/>
                    </a:cubicBezTo>
                    <a:cubicBezTo>
                      <a:pt x="404" y="24"/>
                      <a:pt x="404" y="24"/>
                      <a:pt x="404" y="24"/>
                    </a:cubicBezTo>
                    <a:cubicBezTo>
                      <a:pt x="405" y="24"/>
                      <a:pt x="405" y="25"/>
                      <a:pt x="405" y="25"/>
                    </a:cubicBezTo>
                    <a:cubicBezTo>
                      <a:pt x="405" y="26"/>
                      <a:pt x="407" y="27"/>
                      <a:pt x="408" y="28"/>
                    </a:cubicBezTo>
                    <a:cubicBezTo>
                      <a:pt x="410" y="29"/>
                      <a:pt x="411" y="30"/>
                      <a:pt x="412" y="31"/>
                    </a:cubicBezTo>
                    <a:cubicBezTo>
                      <a:pt x="413" y="31"/>
                      <a:pt x="413" y="32"/>
                      <a:pt x="413" y="32"/>
                    </a:cubicBezTo>
                    <a:cubicBezTo>
                      <a:pt x="413" y="33"/>
                      <a:pt x="414" y="33"/>
                      <a:pt x="414" y="33"/>
                    </a:cubicBezTo>
                    <a:cubicBezTo>
                      <a:pt x="415" y="34"/>
                      <a:pt x="415" y="35"/>
                      <a:pt x="416" y="35"/>
                    </a:cubicBezTo>
                    <a:cubicBezTo>
                      <a:pt x="416" y="35"/>
                      <a:pt x="417" y="35"/>
                      <a:pt x="418" y="36"/>
                    </a:cubicBezTo>
                    <a:cubicBezTo>
                      <a:pt x="418" y="36"/>
                      <a:pt x="418" y="37"/>
                      <a:pt x="418" y="37"/>
                    </a:cubicBezTo>
                    <a:cubicBezTo>
                      <a:pt x="418" y="38"/>
                      <a:pt x="419" y="38"/>
                      <a:pt x="419" y="39"/>
                    </a:cubicBezTo>
                    <a:cubicBezTo>
                      <a:pt x="420" y="40"/>
                      <a:pt x="420" y="40"/>
                      <a:pt x="421" y="40"/>
                    </a:cubicBezTo>
                    <a:cubicBezTo>
                      <a:pt x="422" y="40"/>
                      <a:pt x="422" y="41"/>
                      <a:pt x="422" y="41"/>
                    </a:cubicBezTo>
                    <a:cubicBezTo>
                      <a:pt x="423" y="42"/>
                      <a:pt x="424" y="42"/>
                      <a:pt x="424" y="42"/>
                    </a:cubicBezTo>
                    <a:cubicBezTo>
                      <a:pt x="425" y="42"/>
                      <a:pt x="425" y="42"/>
                      <a:pt x="426" y="43"/>
                    </a:cubicBezTo>
                    <a:cubicBezTo>
                      <a:pt x="427" y="43"/>
                      <a:pt x="428" y="43"/>
                      <a:pt x="429" y="43"/>
                    </a:cubicBezTo>
                    <a:cubicBezTo>
                      <a:pt x="429" y="43"/>
                      <a:pt x="429" y="43"/>
                      <a:pt x="429" y="42"/>
                    </a:cubicBezTo>
                    <a:cubicBezTo>
                      <a:pt x="429" y="42"/>
                      <a:pt x="430" y="42"/>
                      <a:pt x="430" y="42"/>
                    </a:cubicBezTo>
                    <a:cubicBezTo>
                      <a:pt x="430" y="42"/>
                      <a:pt x="431" y="42"/>
                      <a:pt x="431" y="42"/>
                    </a:cubicBezTo>
                    <a:cubicBezTo>
                      <a:pt x="431" y="42"/>
                      <a:pt x="431" y="42"/>
                      <a:pt x="431" y="42"/>
                    </a:cubicBezTo>
                    <a:cubicBezTo>
                      <a:pt x="431" y="42"/>
                      <a:pt x="433" y="42"/>
                      <a:pt x="433" y="43"/>
                    </a:cubicBezTo>
                    <a:cubicBezTo>
                      <a:pt x="432" y="44"/>
                      <a:pt x="433" y="43"/>
                      <a:pt x="434" y="44"/>
                    </a:cubicBezTo>
                    <a:cubicBezTo>
                      <a:pt x="434" y="44"/>
                      <a:pt x="435" y="44"/>
                      <a:pt x="435" y="44"/>
                    </a:cubicBezTo>
                    <a:cubicBezTo>
                      <a:pt x="436" y="45"/>
                      <a:pt x="437" y="44"/>
                      <a:pt x="438" y="45"/>
                    </a:cubicBezTo>
                    <a:cubicBezTo>
                      <a:pt x="439" y="45"/>
                      <a:pt x="438" y="43"/>
                      <a:pt x="439" y="44"/>
                    </a:cubicBezTo>
                    <a:cubicBezTo>
                      <a:pt x="440" y="44"/>
                      <a:pt x="440" y="45"/>
                      <a:pt x="441" y="45"/>
                    </a:cubicBezTo>
                    <a:cubicBezTo>
                      <a:pt x="441" y="46"/>
                      <a:pt x="442" y="45"/>
                      <a:pt x="443" y="46"/>
                    </a:cubicBezTo>
                    <a:cubicBezTo>
                      <a:pt x="443" y="47"/>
                      <a:pt x="444" y="47"/>
                      <a:pt x="445" y="47"/>
                    </a:cubicBezTo>
                    <a:cubicBezTo>
                      <a:pt x="445" y="48"/>
                      <a:pt x="446" y="48"/>
                      <a:pt x="447" y="49"/>
                    </a:cubicBezTo>
                    <a:cubicBezTo>
                      <a:pt x="448" y="49"/>
                      <a:pt x="449" y="50"/>
                      <a:pt x="450" y="50"/>
                    </a:cubicBezTo>
                    <a:cubicBezTo>
                      <a:pt x="451" y="50"/>
                      <a:pt x="452" y="50"/>
                      <a:pt x="452" y="50"/>
                    </a:cubicBezTo>
                    <a:cubicBezTo>
                      <a:pt x="453" y="50"/>
                      <a:pt x="453" y="50"/>
                      <a:pt x="453" y="50"/>
                    </a:cubicBezTo>
                    <a:cubicBezTo>
                      <a:pt x="453" y="51"/>
                      <a:pt x="453" y="53"/>
                      <a:pt x="454" y="53"/>
                    </a:cubicBezTo>
                    <a:cubicBezTo>
                      <a:pt x="455" y="53"/>
                      <a:pt x="455" y="54"/>
                      <a:pt x="456" y="54"/>
                    </a:cubicBezTo>
                    <a:cubicBezTo>
                      <a:pt x="456" y="54"/>
                      <a:pt x="456" y="54"/>
                      <a:pt x="457" y="55"/>
                    </a:cubicBezTo>
                    <a:cubicBezTo>
                      <a:pt x="457" y="55"/>
                      <a:pt x="458" y="55"/>
                      <a:pt x="458" y="56"/>
                    </a:cubicBezTo>
                    <a:cubicBezTo>
                      <a:pt x="458" y="56"/>
                      <a:pt x="458" y="56"/>
                      <a:pt x="458" y="56"/>
                    </a:cubicBezTo>
                    <a:cubicBezTo>
                      <a:pt x="458" y="57"/>
                      <a:pt x="458" y="57"/>
                      <a:pt x="458" y="57"/>
                    </a:cubicBezTo>
                    <a:cubicBezTo>
                      <a:pt x="458" y="58"/>
                      <a:pt x="458" y="58"/>
                      <a:pt x="458" y="58"/>
                    </a:cubicBezTo>
                    <a:cubicBezTo>
                      <a:pt x="458" y="59"/>
                      <a:pt x="459" y="59"/>
                      <a:pt x="459" y="59"/>
                    </a:cubicBezTo>
                    <a:cubicBezTo>
                      <a:pt x="460" y="59"/>
                      <a:pt x="460" y="60"/>
                      <a:pt x="461" y="60"/>
                    </a:cubicBezTo>
                    <a:cubicBezTo>
                      <a:pt x="462" y="61"/>
                      <a:pt x="463" y="62"/>
                      <a:pt x="464" y="63"/>
                    </a:cubicBezTo>
                    <a:cubicBezTo>
                      <a:pt x="465" y="63"/>
                      <a:pt x="467" y="61"/>
                      <a:pt x="468" y="62"/>
                    </a:cubicBezTo>
                    <a:cubicBezTo>
                      <a:pt x="469" y="63"/>
                      <a:pt x="469" y="63"/>
                      <a:pt x="470" y="63"/>
                    </a:cubicBezTo>
                    <a:cubicBezTo>
                      <a:pt x="470" y="62"/>
                      <a:pt x="471" y="63"/>
                      <a:pt x="471" y="63"/>
                    </a:cubicBezTo>
                    <a:cubicBezTo>
                      <a:pt x="472" y="63"/>
                      <a:pt x="472" y="62"/>
                      <a:pt x="473" y="62"/>
                    </a:cubicBezTo>
                    <a:cubicBezTo>
                      <a:pt x="474" y="62"/>
                      <a:pt x="475" y="62"/>
                      <a:pt x="475" y="62"/>
                    </a:cubicBezTo>
                    <a:cubicBezTo>
                      <a:pt x="476" y="62"/>
                      <a:pt x="477" y="63"/>
                      <a:pt x="477" y="62"/>
                    </a:cubicBezTo>
                    <a:cubicBezTo>
                      <a:pt x="477" y="62"/>
                      <a:pt x="477" y="62"/>
                      <a:pt x="477" y="62"/>
                    </a:cubicBezTo>
                    <a:cubicBezTo>
                      <a:pt x="477" y="61"/>
                      <a:pt x="477" y="61"/>
                      <a:pt x="477" y="61"/>
                    </a:cubicBezTo>
                    <a:cubicBezTo>
                      <a:pt x="477" y="60"/>
                      <a:pt x="476" y="60"/>
                      <a:pt x="477" y="60"/>
                    </a:cubicBezTo>
                    <a:cubicBezTo>
                      <a:pt x="478" y="60"/>
                      <a:pt x="478" y="60"/>
                      <a:pt x="478" y="59"/>
                    </a:cubicBezTo>
                    <a:cubicBezTo>
                      <a:pt x="478" y="59"/>
                      <a:pt x="478" y="59"/>
                      <a:pt x="479" y="59"/>
                    </a:cubicBezTo>
                    <a:cubicBezTo>
                      <a:pt x="479" y="59"/>
                      <a:pt x="479" y="58"/>
                      <a:pt x="479" y="58"/>
                    </a:cubicBezTo>
                    <a:cubicBezTo>
                      <a:pt x="479" y="58"/>
                      <a:pt x="481" y="58"/>
                      <a:pt x="481" y="58"/>
                    </a:cubicBezTo>
                    <a:cubicBezTo>
                      <a:pt x="481" y="58"/>
                      <a:pt x="482" y="59"/>
                      <a:pt x="483" y="58"/>
                    </a:cubicBezTo>
                    <a:cubicBezTo>
                      <a:pt x="483" y="58"/>
                      <a:pt x="483" y="58"/>
                      <a:pt x="483" y="58"/>
                    </a:cubicBezTo>
                    <a:cubicBezTo>
                      <a:pt x="483" y="57"/>
                      <a:pt x="483" y="57"/>
                      <a:pt x="483" y="57"/>
                    </a:cubicBezTo>
                    <a:cubicBezTo>
                      <a:pt x="484" y="57"/>
                      <a:pt x="483" y="57"/>
                      <a:pt x="484" y="57"/>
                    </a:cubicBezTo>
                    <a:cubicBezTo>
                      <a:pt x="484" y="56"/>
                      <a:pt x="484" y="57"/>
                      <a:pt x="484" y="57"/>
                    </a:cubicBezTo>
                    <a:cubicBezTo>
                      <a:pt x="484" y="57"/>
                      <a:pt x="485" y="57"/>
                      <a:pt x="485" y="56"/>
                    </a:cubicBezTo>
                    <a:cubicBezTo>
                      <a:pt x="485" y="55"/>
                      <a:pt x="486" y="56"/>
                      <a:pt x="487" y="56"/>
                    </a:cubicBezTo>
                    <a:cubicBezTo>
                      <a:pt x="487" y="55"/>
                      <a:pt x="488" y="55"/>
                      <a:pt x="488" y="55"/>
                    </a:cubicBezTo>
                    <a:cubicBezTo>
                      <a:pt x="489" y="55"/>
                      <a:pt x="490" y="55"/>
                      <a:pt x="490" y="56"/>
                    </a:cubicBezTo>
                    <a:cubicBezTo>
                      <a:pt x="490" y="56"/>
                      <a:pt x="491" y="56"/>
                      <a:pt x="492" y="56"/>
                    </a:cubicBezTo>
                    <a:cubicBezTo>
                      <a:pt x="491" y="57"/>
                      <a:pt x="492" y="57"/>
                      <a:pt x="492" y="58"/>
                    </a:cubicBezTo>
                    <a:cubicBezTo>
                      <a:pt x="492" y="58"/>
                      <a:pt x="492" y="58"/>
                      <a:pt x="492" y="59"/>
                    </a:cubicBezTo>
                    <a:cubicBezTo>
                      <a:pt x="492" y="59"/>
                      <a:pt x="492" y="59"/>
                      <a:pt x="492" y="60"/>
                    </a:cubicBezTo>
                    <a:cubicBezTo>
                      <a:pt x="493" y="60"/>
                      <a:pt x="494" y="60"/>
                      <a:pt x="494" y="61"/>
                    </a:cubicBezTo>
                    <a:cubicBezTo>
                      <a:pt x="495" y="62"/>
                      <a:pt x="496" y="62"/>
                      <a:pt x="496" y="63"/>
                    </a:cubicBezTo>
                    <a:cubicBezTo>
                      <a:pt x="496" y="63"/>
                      <a:pt x="496" y="64"/>
                      <a:pt x="496" y="65"/>
                    </a:cubicBezTo>
                    <a:cubicBezTo>
                      <a:pt x="495" y="66"/>
                      <a:pt x="495" y="65"/>
                      <a:pt x="494" y="66"/>
                    </a:cubicBezTo>
                    <a:cubicBezTo>
                      <a:pt x="493" y="67"/>
                      <a:pt x="495" y="68"/>
                      <a:pt x="495" y="69"/>
                    </a:cubicBezTo>
                    <a:cubicBezTo>
                      <a:pt x="495" y="69"/>
                      <a:pt x="495" y="69"/>
                      <a:pt x="495" y="69"/>
                    </a:cubicBezTo>
                    <a:cubicBezTo>
                      <a:pt x="495" y="69"/>
                      <a:pt x="495" y="70"/>
                      <a:pt x="495" y="70"/>
                    </a:cubicBezTo>
                    <a:cubicBezTo>
                      <a:pt x="495" y="71"/>
                      <a:pt x="495" y="72"/>
                      <a:pt x="496" y="73"/>
                    </a:cubicBezTo>
                    <a:cubicBezTo>
                      <a:pt x="497" y="73"/>
                      <a:pt x="496" y="74"/>
                      <a:pt x="496" y="75"/>
                    </a:cubicBezTo>
                    <a:cubicBezTo>
                      <a:pt x="496" y="76"/>
                      <a:pt x="497" y="76"/>
                      <a:pt x="497" y="76"/>
                    </a:cubicBezTo>
                    <a:cubicBezTo>
                      <a:pt x="498" y="76"/>
                      <a:pt x="497" y="77"/>
                      <a:pt x="498" y="77"/>
                    </a:cubicBezTo>
                    <a:cubicBezTo>
                      <a:pt x="498" y="77"/>
                      <a:pt x="498" y="77"/>
                      <a:pt x="498" y="77"/>
                    </a:cubicBezTo>
                    <a:cubicBezTo>
                      <a:pt x="498" y="78"/>
                      <a:pt x="498" y="79"/>
                      <a:pt x="498" y="78"/>
                    </a:cubicBezTo>
                    <a:cubicBezTo>
                      <a:pt x="498" y="78"/>
                      <a:pt x="497" y="79"/>
                      <a:pt x="497" y="79"/>
                    </a:cubicBezTo>
                    <a:cubicBezTo>
                      <a:pt x="498" y="80"/>
                      <a:pt x="498" y="80"/>
                      <a:pt x="498" y="81"/>
                    </a:cubicBezTo>
                    <a:cubicBezTo>
                      <a:pt x="498" y="81"/>
                      <a:pt x="498" y="82"/>
                      <a:pt x="498" y="82"/>
                    </a:cubicBezTo>
                    <a:cubicBezTo>
                      <a:pt x="498" y="82"/>
                      <a:pt x="497" y="82"/>
                      <a:pt x="497" y="82"/>
                    </a:cubicBezTo>
                    <a:cubicBezTo>
                      <a:pt x="497" y="83"/>
                      <a:pt x="498" y="83"/>
                      <a:pt x="498" y="83"/>
                    </a:cubicBezTo>
                    <a:cubicBezTo>
                      <a:pt x="498" y="84"/>
                      <a:pt x="498" y="84"/>
                      <a:pt x="498" y="84"/>
                    </a:cubicBezTo>
                    <a:cubicBezTo>
                      <a:pt x="498" y="85"/>
                      <a:pt x="499" y="85"/>
                      <a:pt x="499" y="85"/>
                    </a:cubicBezTo>
                    <a:cubicBezTo>
                      <a:pt x="498" y="85"/>
                      <a:pt x="498" y="85"/>
                      <a:pt x="498" y="85"/>
                    </a:cubicBezTo>
                    <a:cubicBezTo>
                      <a:pt x="499" y="86"/>
                      <a:pt x="497" y="86"/>
                      <a:pt x="497" y="87"/>
                    </a:cubicBezTo>
                    <a:cubicBezTo>
                      <a:pt x="497" y="88"/>
                      <a:pt x="498" y="89"/>
                      <a:pt x="498" y="89"/>
                    </a:cubicBezTo>
                    <a:cubicBezTo>
                      <a:pt x="499" y="90"/>
                      <a:pt x="499" y="90"/>
                      <a:pt x="499" y="90"/>
                    </a:cubicBezTo>
                    <a:close/>
                    <a:moveTo>
                      <a:pt x="468" y="268"/>
                    </a:moveTo>
                    <a:cubicBezTo>
                      <a:pt x="468" y="269"/>
                      <a:pt x="469" y="269"/>
                      <a:pt x="469" y="269"/>
                    </a:cubicBezTo>
                    <a:cubicBezTo>
                      <a:pt x="469" y="269"/>
                      <a:pt x="469" y="269"/>
                      <a:pt x="469" y="269"/>
                    </a:cubicBezTo>
                    <a:cubicBezTo>
                      <a:pt x="468" y="268"/>
                      <a:pt x="468" y="269"/>
                      <a:pt x="468" y="268"/>
                    </a:cubicBezTo>
                    <a:close/>
                    <a:moveTo>
                      <a:pt x="378" y="357"/>
                    </a:moveTo>
                    <a:cubicBezTo>
                      <a:pt x="378" y="356"/>
                      <a:pt x="378" y="356"/>
                      <a:pt x="378" y="356"/>
                    </a:cubicBezTo>
                    <a:cubicBezTo>
                      <a:pt x="378" y="356"/>
                      <a:pt x="378" y="356"/>
                      <a:pt x="378" y="357"/>
                    </a:cubicBezTo>
                    <a:close/>
                    <a:moveTo>
                      <a:pt x="445" y="357"/>
                    </a:moveTo>
                    <a:cubicBezTo>
                      <a:pt x="445" y="357"/>
                      <a:pt x="445" y="357"/>
                      <a:pt x="445" y="357"/>
                    </a:cubicBezTo>
                    <a:cubicBezTo>
                      <a:pt x="445" y="357"/>
                      <a:pt x="445" y="357"/>
                      <a:pt x="445" y="357"/>
                    </a:cubicBezTo>
                    <a:close/>
                    <a:moveTo>
                      <a:pt x="474" y="265"/>
                    </a:moveTo>
                    <a:cubicBezTo>
                      <a:pt x="474" y="265"/>
                      <a:pt x="474" y="265"/>
                      <a:pt x="474" y="266"/>
                    </a:cubicBezTo>
                    <a:cubicBezTo>
                      <a:pt x="474" y="266"/>
                      <a:pt x="475" y="265"/>
                      <a:pt x="474" y="265"/>
                    </a:cubicBezTo>
                    <a:cubicBezTo>
                      <a:pt x="474" y="265"/>
                      <a:pt x="474" y="265"/>
                      <a:pt x="474" y="265"/>
                    </a:cubicBezTo>
                    <a:close/>
                    <a:moveTo>
                      <a:pt x="385" y="353"/>
                    </a:moveTo>
                    <a:cubicBezTo>
                      <a:pt x="385" y="352"/>
                      <a:pt x="385" y="352"/>
                      <a:pt x="385" y="352"/>
                    </a:cubicBezTo>
                    <a:cubicBezTo>
                      <a:pt x="385" y="352"/>
                      <a:pt x="385" y="353"/>
                      <a:pt x="385" y="352"/>
                    </a:cubicBezTo>
                    <a:cubicBezTo>
                      <a:pt x="384" y="352"/>
                      <a:pt x="385" y="352"/>
                      <a:pt x="385" y="352"/>
                    </a:cubicBezTo>
                    <a:cubicBezTo>
                      <a:pt x="384" y="352"/>
                      <a:pt x="384" y="352"/>
                      <a:pt x="384" y="352"/>
                    </a:cubicBezTo>
                    <a:cubicBezTo>
                      <a:pt x="384" y="352"/>
                      <a:pt x="384" y="353"/>
                      <a:pt x="384" y="353"/>
                    </a:cubicBezTo>
                    <a:cubicBezTo>
                      <a:pt x="385" y="353"/>
                      <a:pt x="385" y="353"/>
                      <a:pt x="385" y="353"/>
                    </a:cubicBezTo>
                    <a:cubicBezTo>
                      <a:pt x="385" y="353"/>
                      <a:pt x="385" y="353"/>
                      <a:pt x="385" y="353"/>
                    </a:cubicBezTo>
                    <a:cubicBezTo>
                      <a:pt x="385" y="353"/>
                      <a:pt x="386" y="353"/>
                      <a:pt x="386" y="353"/>
                    </a:cubicBezTo>
                    <a:cubicBezTo>
                      <a:pt x="386" y="352"/>
                      <a:pt x="385" y="352"/>
                      <a:pt x="385" y="353"/>
                    </a:cubicBezTo>
                    <a:close/>
                    <a:moveTo>
                      <a:pt x="474" y="259"/>
                    </a:moveTo>
                    <a:cubicBezTo>
                      <a:pt x="474" y="259"/>
                      <a:pt x="474" y="259"/>
                      <a:pt x="474" y="259"/>
                    </a:cubicBezTo>
                    <a:cubicBezTo>
                      <a:pt x="475" y="259"/>
                      <a:pt x="475" y="259"/>
                      <a:pt x="475" y="259"/>
                    </a:cubicBezTo>
                    <a:cubicBezTo>
                      <a:pt x="475" y="259"/>
                      <a:pt x="474" y="258"/>
                      <a:pt x="474" y="258"/>
                    </a:cubicBezTo>
                    <a:cubicBezTo>
                      <a:pt x="473" y="258"/>
                      <a:pt x="473" y="259"/>
                      <a:pt x="474" y="259"/>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5" name="Chile">
                <a:extLst>
                  <a:ext uri="{FF2B5EF4-FFF2-40B4-BE49-F238E27FC236}">
                    <a16:creationId xmlns:a16="http://schemas.microsoft.com/office/drawing/2014/main" id="{6544614C-F5C7-3234-280B-7F482515CC4D}"/>
                  </a:ext>
                </a:extLst>
              </p:cNvPr>
              <p:cNvSpPr>
                <a:spLocks noEditPoints="1"/>
              </p:cNvSpPr>
              <p:nvPr/>
            </p:nvSpPr>
            <p:spPr bwMode="auto">
              <a:xfrm>
                <a:off x="2064197" y="4728505"/>
                <a:ext cx="1784880" cy="1478087"/>
              </a:xfrm>
              <a:custGeom>
                <a:avLst/>
                <a:gdLst/>
                <a:ahLst/>
                <a:cxnLst>
                  <a:cxn ang="0">
                    <a:pos x="421" y="379"/>
                  </a:cxn>
                  <a:cxn ang="0">
                    <a:pos x="394" y="334"/>
                  </a:cxn>
                  <a:cxn ang="0">
                    <a:pos x="392" y="309"/>
                  </a:cxn>
                  <a:cxn ang="0">
                    <a:pos x="399" y="344"/>
                  </a:cxn>
                  <a:cxn ang="0">
                    <a:pos x="383" y="267"/>
                  </a:cxn>
                  <a:cxn ang="0">
                    <a:pos x="400" y="297"/>
                  </a:cxn>
                  <a:cxn ang="0">
                    <a:pos x="439" y="392"/>
                  </a:cxn>
                  <a:cxn ang="0">
                    <a:pos x="450" y="397"/>
                  </a:cxn>
                  <a:cxn ang="0">
                    <a:pos x="428" y="386"/>
                  </a:cxn>
                  <a:cxn ang="0">
                    <a:pos x="409" y="354"/>
                  </a:cxn>
                  <a:cxn ang="0">
                    <a:pos x="402" y="346"/>
                  </a:cxn>
                  <a:cxn ang="0">
                    <a:pos x="407" y="351"/>
                  </a:cxn>
                  <a:cxn ang="0">
                    <a:pos x="407" y="358"/>
                  </a:cxn>
                  <a:cxn ang="0">
                    <a:pos x="415" y="361"/>
                  </a:cxn>
                  <a:cxn ang="0">
                    <a:pos x="451" y="399"/>
                  </a:cxn>
                  <a:cxn ang="0">
                    <a:pos x="455" y="398"/>
                  </a:cxn>
                  <a:cxn ang="0">
                    <a:pos x="458" y="398"/>
                  </a:cxn>
                  <a:cxn ang="0">
                    <a:pos x="404" y="354"/>
                  </a:cxn>
                  <a:cxn ang="0">
                    <a:pos x="482" y="407"/>
                  </a:cxn>
                  <a:cxn ang="0">
                    <a:pos x="482" y="409"/>
                  </a:cxn>
                  <a:cxn ang="0">
                    <a:pos x="476" y="407"/>
                  </a:cxn>
                  <a:cxn ang="0">
                    <a:pos x="493" y="406"/>
                  </a:cxn>
                  <a:cxn ang="0">
                    <a:pos x="397" y="336"/>
                  </a:cxn>
                  <a:cxn ang="0">
                    <a:pos x="415" y="373"/>
                  </a:cxn>
                  <a:cxn ang="0">
                    <a:pos x="497" y="416"/>
                  </a:cxn>
                  <a:cxn ang="0">
                    <a:pos x="0" y="106"/>
                  </a:cxn>
                  <a:cxn ang="0">
                    <a:pos x="424" y="373"/>
                  </a:cxn>
                  <a:cxn ang="0">
                    <a:pos x="393" y="298"/>
                  </a:cxn>
                  <a:cxn ang="0">
                    <a:pos x="412" y="358"/>
                  </a:cxn>
                  <a:cxn ang="0">
                    <a:pos x="414" y="351"/>
                  </a:cxn>
                  <a:cxn ang="0">
                    <a:pos x="408" y="338"/>
                  </a:cxn>
                  <a:cxn ang="0">
                    <a:pos x="406" y="330"/>
                  </a:cxn>
                  <a:cxn ang="0">
                    <a:pos x="398" y="321"/>
                  </a:cxn>
                  <a:cxn ang="0">
                    <a:pos x="388" y="314"/>
                  </a:cxn>
                  <a:cxn ang="0">
                    <a:pos x="397" y="313"/>
                  </a:cxn>
                  <a:cxn ang="0">
                    <a:pos x="397" y="301"/>
                  </a:cxn>
                  <a:cxn ang="0">
                    <a:pos x="392" y="274"/>
                  </a:cxn>
                  <a:cxn ang="0">
                    <a:pos x="381" y="263"/>
                  </a:cxn>
                  <a:cxn ang="0">
                    <a:pos x="368" y="214"/>
                  </a:cxn>
                  <a:cxn ang="0">
                    <a:pos x="368" y="161"/>
                  </a:cxn>
                  <a:cxn ang="0">
                    <a:pos x="363" y="96"/>
                  </a:cxn>
                  <a:cxn ang="0">
                    <a:pos x="360" y="38"/>
                  </a:cxn>
                  <a:cxn ang="0">
                    <a:pos x="373" y="22"/>
                  </a:cxn>
                  <a:cxn ang="0">
                    <a:pos x="381" y="81"/>
                  </a:cxn>
                  <a:cxn ang="0">
                    <a:pos x="377" y="133"/>
                  </a:cxn>
                  <a:cxn ang="0">
                    <a:pos x="388" y="177"/>
                  </a:cxn>
                  <a:cxn ang="0">
                    <a:pos x="388" y="220"/>
                  </a:cxn>
                  <a:cxn ang="0">
                    <a:pos x="397" y="271"/>
                  </a:cxn>
                  <a:cxn ang="0">
                    <a:pos x="416" y="305"/>
                  </a:cxn>
                  <a:cxn ang="0">
                    <a:pos x="416" y="350"/>
                  </a:cxn>
                  <a:cxn ang="0">
                    <a:pos x="464" y="380"/>
                  </a:cxn>
                  <a:cxn ang="0">
                    <a:pos x="441" y="388"/>
                  </a:cxn>
                  <a:cxn ang="0">
                    <a:pos x="437" y="382"/>
                  </a:cxn>
                  <a:cxn ang="0">
                    <a:pos x="433" y="383"/>
                  </a:cxn>
                  <a:cxn ang="0">
                    <a:pos x="438" y="379"/>
                  </a:cxn>
                  <a:cxn ang="0">
                    <a:pos x="432" y="374"/>
                  </a:cxn>
                  <a:cxn ang="0">
                    <a:pos x="420" y="367"/>
                  </a:cxn>
                  <a:cxn ang="0">
                    <a:pos x="453" y="386"/>
                  </a:cxn>
                  <a:cxn ang="0">
                    <a:pos x="462" y="386"/>
                  </a:cxn>
                  <a:cxn ang="0">
                    <a:pos x="468" y="400"/>
                  </a:cxn>
                  <a:cxn ang="0">
                    <a:pos x="455" y="402"/>
                  </a:cxn>
                  <a:cxn ang="0">
                    <a:pos x="470" y="405"/>
                  </a:cxn>
                </a:cxnLst>
                <a:rect l="0" t="0" r="r" b="b"/>
                <a:pathLst>
                  <a:path w="504" h="417">
                    <a:moveTo>
                      <a:pt x="379" y="285"/>
                    </a:moveTo>
                    <a:cubicBezTo>
                      <a:pt x="379" y="285"/>
                      <a:pt x="380" y="286"/>
                      <a:pt x="380" y="286"/>
                    </a:cubicBezTo>
                    <a:cubicBezTo>
                      <a:pt x="380" y="286"/>
                      <a:pt x="379" y="286"/>
                      <a:pt x="379" y="286"/>
                    </a:cubicBezTo>
                    <a:cubicBezTo>
                      <a:pt x="379" y="286"/>
                      <a:pt x="378" y="286"/>
                      <a:pt x="378" y="285"/>
                    </a:cubicBezTo>
                    <a:cubicBezTo>
                      <a:pt x="378" y="285"/>
                      <a:pt x="379" y="285"/>
                      <a:pt x="379" y="285"/>
                    </a:cubicBezTo>
                    <a:close/>
                    <a:moveTo>
                      <a:pt x="390" y="309"/>
                    </a:moveTo>
                    <a:cubicBezTo>
                      <a:pt x="390" y="309"/>
                      <a:pt x="390" y="308"/>
                      <a:pt x="390" y="308"/>
                    </a:cubicBezTo>
                    <a:cubicBezTo>
                      <a:pt x="389" y="307"/>
                      <a:pt x="389" y="307"/>
                      <a:pt x="389" y="308"/>
                    </a:cubicBezTo>
                    <a:cubicBezTo>
                      <a:pt x="388" y="308"/>
                      <a:pt x="389" y="309"/>
                      <a:pt x="389" y="309"/>
                    </a:cubicBezTo>
                    <a:cubicBezTo>
                      <a:pt x="389" y="309"/>
                      <a:pt x="390" y="309"/>
                      <a:pt x="390" y="309"/>
                    </a:cubicBezTo>
                    <a:close/>
                    <a:moveTo>
                      <a:pt x="412" y="369"/>
                    </a:moveTo>
                    <a:cubicBezTo>
                      <a:pt x="412" y="369"/>
                      <a:pt x="412" y="368"/>
                      <a:pt x="412" y="368"/>
                    </a:cubicBezTo>
                    <a:cubicBezTo>
                      <a:pt x="411" y="368"/>
                      <a:pt x="412" y="369"/>
                      <a:pt x="412" y="369"/>
                    </a:cubicBezTo>
                    <a:cubicBezTo>
                      <a:pt x="412" y="369"/>
                      <a:pt x="412" y="370"/>
                      <a:pt x="412" y="370"/>
                    </a:cubicBezTo>
                    <a:cubicBezTo>
                      <a:pt x="412" y="371"/>
                      <a:pt x="412" y="371"/>
                      <a:pt x="412" y="371"/>
                    </a:cubicBezTo>
                    <a:cubicBezTo>
                      <a:pt x="412" y="371"/>
                      <a:pt x="412" y="372"/>
                      <a:pt x="412" y="372"/>
                    </a:cubicBezTo>
                    <a:cubicBezTo>
                      <a:pt x="413" y="372"/>
                      <a:pt x="413" y="372"/>
                      <a:pt x="413" y="371"/>
                    </a:cubicBezTo>
                    <a:cubicBezTo>
                      <a:pt x="414" y="372"/>
                      <a:pt x="413" y="370"/>
                      <a:pt x="412" y="370"/>
                    </a:cubicBezTo>
                    <a:cubicBezTo>
                      <a:pt x="413" y="370"/>
                      <a:pt x="413" y="370"/>
                      <a:pt x="413" y="370"/>
                    </a:cubicBezTo>
                    <a:cubicBezTo>
                      <a:pt x="413" y="370"/>
                      <a:pt x="413" y="370"/>
                      <a:pt x="413" y="370"/>
                    </a:cubicBezTo>
                    <a:cubicBezTo>
                      <a:pt x="413" y="369"/>
                      <a:pt x="413" y="370"/>
                      <a:pt x="413" y="370"/>
                    </a:cubicBezTo>
                    <a:cubicBezTo>
                      <a:pt x="414" y="369"/>
                      <a:pt x="413" y="369"/>
                      <a:pt x="412" y="368"/>
                    </a:cubicBezTo>
                    <a:cubicBezTo>
                      <a:pt x="412" y="368"/>
                      <a:pt x="412" y="369"/>
                      <a:pt x="412" y="369"/>
                    </a:cubicBezTo>
                    <a:close/>
                    <a:moveTo>
                      <a:pt x="427" y="377"/>
                    </a:moveTo>
                    <a:cubicBezTo>
                      <a:pt x="428" y="377"/>
                      <a:pt x="428" y="378"/>
                      <a:pt x="429" y="378"/>
                    </a:cubicBezTo>
                    <a:cubicBezTo>
                      <a:pt x="429" y="378"/>
                      <a:pt x="428" y="378"/>
                      <a:pt x="428" y="378"/>
                    </a:cubicBezTo>
                    <a:cubicBezTo>
                      <a:pt x="428" y="377"/>
                      <a:pt x="427" y="376"/>
                      <a:pt x="426" y="376"/>
                    </a:cubicBezTo>
                    <a:cubicBezTo>
                      <a:pt x="426" y="376"/>
                      <a:pt x="425" y="375"/>
                      <a:pt x="425" y="375"/>
                    </a:cubicBezTo>
                    <a:cubicBezTo>
                      <a:pt x="425" y="375"/>
                      <a:pt x="424" y="375"/>
                      <a:pt x="424" y="375"/>
                    </a:cubicBezTo>
                    <a:cubicBezTo>
                      <a:pt x="424" y="375"/>
                      <a:pt x="424" y="375"/>
                      <a:pt x="424" y="375"/>
                    </a:cubicBezTo>
                    <a:cubicBezTo>
                      <a:pt x="424" y="376"/>
                      <a:pt x="425" y="376"/>
                      <a:pt x="425" y="376"/>
                    </a:cubicBezTo>
                    <a:cubicBezTo>
                      <a:pt x="424" y="376"/>
                      <a:pt x="424" y="376"/>
                      <a:pt x="424" y="376"/>
                    </a:cubicBezTo>
                    <a:cubicBezTo>
                      <a:pt x="425" y="376"/>
                      <a:pt x="426" y="377"/>
                      <a:pt x="427" y="377"/>
                    </a:cubicBezTo>
                    <a:close/>
                    <a:moveTo>
                      <a:pt x="421" y="378"/>
                    </a:moveTo>
                    <a:cubicBezTo>
                      <a:pt x="420" y="378"/>
                      <a:pt x="420" y="378"/>
                      <a:pt x="419" y="378"/>
                    </a:cubicBezTo>
                    <a:cubicBezTo>
                      <a:pt x="419" y="378"/>
                      <a:pt x="418" y="378"/>
                      <a:pt x="419" y="378"/>
                    </a:cubicBezTo>
                    <a:cubicBezTo>
                      <a:pt x="419" y="379"/>
                      <a:pt x="420" y="379"/>
                      <a:pt x="421" y="379"/>
                    </a:cubicBezTo>
                    <a:cubicBezTo>
                      <a:pt x="421" y="379"/>
                      <a:pt x="421" y="378"/>
                      <a:pt x="421" y="378"/>
                    </a:cubicBezTo>
                    <a:close/>
                    <a:moveTo>
                      <a:pt x="304" y="177"/>
                    </a:moveTo>
                    <a:cubicBezTo>
                      <a:pt x="304" y="177"/>
                      <a:pt x="305" y="177"/>
                      <a:pt x="306" y="177"/>
                    </a:cubicBezTo>
                    <a:cubicBezTo>
                      <a:pt x="305" y="176"/>
                      <a:pt x="303" y="177"/>
                      <a:pt x="304" y="177"/>
                    </a:cubicBezTo>
                    <a:close/>
                    <a:moveTo>
                      <a:pt x="388" y="295"/>
                    </a:moveTo>
                    <a:cubicBezTo>
                      <a:pt x="388" y="296"/>
                      <a:pt x="390" y="295"/>
                      <a:pt x="389" y="296"/>
                    </a:cubicBezTo>
                    <a:cubicBezTo>
                      <a:pt x="388" y="296"/>
                      <a:pt x="390" y="296"/>
                      <a:pt x="390" y="296"/>
                    </a:cubicBezTo>
                    <a:cubicBezTo>
                      <a:pt x="390" y="296"/>
                      <a:pt x="390" y="296"/>
                      <a:pt x="390" y="295"/>
                    </a:cubicBezTo>
                    <a:cubicBezTo>
                      <a:pt x="389" y="295"/>
                      <a:pt x="388" y="295"/>
                      <a:pt x="388" y="295"/>
                    </a:cubicBezTo>
                    <a:close/>
                    <a:moveTo>
                      <a:pt x="396" y="339"/>
                    </a:moveTo>
                    <a:cubicBezTo>
                      <a:pt x="396" y="339"/>
                      <a:pt x="396" y="338"/>
                      <a:pt x="396" y="338"/>
                    </a:cubicBezTo>
                    <a:cubicBezTo>
                      <a:pt x="396" y="338"/>
                      <a:pt x="396" y="338"/>
                      <a:pt x="396" y="338"/>
                    </a:cubicBezTo>
                    <a:cubicBezTo>
                      <a:pt x="396" y="338"/>
                      <a:pt x="395" y="338"/>
                      <a:pt x="395" y="338"/>
                    </a:cubicBezTo>
                    <a:cubicBezTo>
                      <a:pt x="394" y="339"/>
                      <a:pt x="394" y="338"/>
                      <a:pt x="393" y="338"/>
                    </a:cubicBezTo>
                    <a:cubicBezTo>
                      <a:pt x="393" y="339"/>
                      <a:pt x="394" y="340"/>
                      <a:pt x="394" y="340"/>
                    </a:cubicBezTo>
                    <a:cubicBezTo>
                      <a:pt x="394" y="340"/>
                      <a:pt x="396" y="339"/>
                      <a:pt x="395" y="340"/>
                    </a:cubicBezTo>
                    <a:cubicBezTo>
                      <a:pt x="395" y="340"/>
                      <a:pt x="396" y="340"/>
                      <a:pt x="396" y="340"/>
                    </a:cubicBezTo>
                    <a:cubicBezTo>
                      <a:pt x="396" y="340"/>
                      <a:pt x="395" y="340"/>
                      <a:pt x="395" y="340"/>
                    </a:cubicBezTo>
                    <a:cubicBezTo>
                      <a:pt x="394" y="340"/>
                      <a:pt x="395" y="341"/>
                      <a:pt x="395" y="341"/>
                    </a:cubicBezTo>
                    <a:cubicBezTo>
                      <a:pt x="396" y="341"/>
                      <a:pt x="397" y="340"/>
                      <a:pt x="396" y="339"/>
                    </a:cubicBezTo>
                    <a:close/>
                    <a:moveTo>
                      <a:pt x="393" y="337"/>
                    </a:moveTo>
                    <a:cubicBezTo>
                      <a:pt x="394" y="337"/>
                      <a:pt x="394" y="337"/>
                      <a:pt x="395" y="336"/>
                    </a:cubicBezTo>
                    <a:cubicBezTo>
                      <a:pt x="395" y="337"/>
                      <a:pt x="396" y="337"/>
                      <a:pt x="395" y="337"/>
                    </a:cubicBezTo>
                    <a:cubicBezTo>
                      <a:pt x="395" y="337"/>
                      <a:pt x="394" y="337"/>
                      <a:pt x="394" y="337"/>
                    </a:cubicBezTo>
                    <a:cubicBezTo>
                      <a:pt x="394" y="338"/>
                      <a:pt x="396" y="338"/>
                      <a:pt x="395" y="337"/>
                    </a:cubicBezTo>
                    <a:cubicBezTo>
                      <a:pt x="396" y="337"/>
                      <a:pt x="396" y="338"/>
                      <a:pt x="396" y="338"/>
                    </a:cubicBezTo>
                    <a:cubicBezTo>
                      <a:pt x="396" y="338"/>
                      <a:pt x="396" y="339"/>
                      <a:pt x="397" y="339"/>
                    </a:cubicBezTo>
                    <a:cubicBezTo>
                      <a:pt x="397" y="339"/>
                      <a:pt x="397" y="340"/>
                      <a:pt x="397" y="340"/>
                    </a:cubicBezTo>
                    <a:cubicBezTo>
                      <a:pt x="398" y="340"/>
                      <a:pt x="398" y="340"/>
                      <a:pt x="398" y="340"/>
                    </a:cubicBezTo>
                    <a:cubicBezTo>
                      <a:pt x="398" y="341"/>
                      <a:pt x="398" y="341"/>
                      <a:pt x="398" y="341"/>
                    </a:cubicBezTo>
                    <a:cubicBezTo>
                      <a:pt x="399" y="341"/>
                      <a:pt x="399" y="340"/>
                      <a:pt x="399" y="339"/>
                    </a:cubicBezTo>
                    <a:cubicBezTo>
                      <a:pt x="398" y="339"/>
                      <a:pt x="398" y="339"/>
                      <a:pt x="398" y="338"/>
                    </a:cubicBezTo>
                    <a:cubicBezTo>
                      <a:pt x="398" y="339"/>
                      <a:pt x="398" y="338"/>
                      <a:pt x="398" y="338"/>
                    </a:cubicBezTo>
                    <a:cubicBezTo>
                      <a:pt x="398" y="338"/>
                      <a:pt x="397" y="338"/>
                      <a:pt x="397" y="337"/>
                    </a:cubicBezTo>
                    <a:cubicBezTo>
                      <a:pt x="397" y="337"/>
                      <a:pt x="396" y="336"/>
                      <a:pt x="395" y="336"/>
                    </a:cubicBezTo>
                    <a:cubicBezTo>
                      <a:pt x="395" y="336"/>
                      <a:pt x="395" y="335"/>
                      <a:pt x="395" y="335"/>
                    </a:cubicBezTo>
                    <a:cubicBezTo>
                      <a:pt x="395" y="334"/>
                      <a:pt x="394" y="334"/>
                      <a:pt x="394" y="334"/>
                    </a:cubicBezTo>
                    <a:cubicBezTo>
                      <a:pt x="394" y="333"/>
                      <a:pt x="393" y="333"/>
                      <a:pt x="393" y="334"/>
                    </a:cubicBezTo>
                    <a:cubicBezTo>
                      <a:pt x="392" y="333"/>
                      <a:pt x="392" y="334"/>
                      <a:pt x="393" y="335"/>
                    </a:cubicBezTo>
                    <a:cubicBezTo>
                      <a:pt x="393" y="336"/>
                      <a:pt x="393" y="336"/>
                      <a:pt x="394" y="335"/>
                    </a:cubicBezTo>
                    <a:cubicBezTo>
                      <a:pt x="394" y="335"/>
                      <a:pt x="393" y="336"/>
                      <a:pt x="393" y="337"/>
                    </a:cubicBezTo>
                    <a:close/>
                    <a:moveTo>
                      <a:pt x="383" y="296"/>
                    </a:moveTo>
                    <a:cubicBezTo>
                      <a:pt x="382" y="296"/>
                      <a:pt x="383" y="297"/>
                      <a:pt x="383" y="298"/>
                    </a:cubicBezTo>
                    <a:cubicBezTo>
                      <a:pt x="384" y="298"/>
                      <a:pt x="384" y="297"/>
                      <a:pt x="384" y="297"/>
                    </a:cubicBezTo>
                    <a:cubicBezTo>
                      <a:pt x="383" y="296"/>
                      <a:pt x="383" y="296"/>
                      <a:pt x="383" y="296"/>
                    </a:cubicBezTo>
                    <a:close/>
                    <a:moveTo>
                      <a:pt x="401" y="332"/>
                    </a:moveTo>
                    <a:cubicBezTo>
                      <a:pt x="400" y="333"/>
                      <a:pt x="402" y="333"/>
                      <a:pt x="402" y="333"/>
                    </a:cubicBezTo>
                    <a:cubicBezTo>
                      <a:pt x="403" y="333"/>
                      <a:pt x="404" y="333"/>
                      <a:pt x="404" y="333"/>
                    </a:cubicBezTo>
                    <a:cubicBezTo>
                      <a:pt x="405" y="333"/>
                      <a:pt x="405" y="333"/>
                      <a:pt x="405" y="333"/>
                    </a:cubicBezTo>
                    <a:cubicBezTo>
                      <a:pt x="406" y="333"/>
                      <a:pt x="406" y="333"/>
                      <a:pt x="406" y="333"/>
                    </a:cubicBezTo>
                    <a:cubicBezTo>
                      <a:pt x="407" y="332"/>
                      <a:pt x="406" y="332"/>
                      <a:pt x="406" y="332"/>
                    </a:cubicBezTo>
                    <a:cubicBezTo>
                      <a:pt x="405" y="332"/>
                      <a:pt x="404" y="332"/>
                      <a:pt x="404" y="332"/>
                    </a:cubicBezTo>
                    <a:cubicBezTo>
                      <a:pt x="403" y="332"/>
                      <a:pt x="403" y="331"/>
                      <a:pt x="402" y="331"/>
                    </a:cubicBezTo>
                    <a:cubicBezTo>
                      <a:pt x="402" y="331"/>
                      <a:pt x="401" y="331"/>
                      <a:pt x="402" y="331"/>
                    </a:cubicBezTo>
                    <a:cubicBezTo>
                      <a:pt x="402" y="332"/>
                      <a:pt x="402" y="332"/>
                      <a:pt x="402" y="332"/>
                    </a:cubicBezTo>
                    <a:cubicBezTo>
                      <a:pt x="402" y="332"/>
                      <a:pt x="401" y="331"/>
                      <a:pt x="401" y="332"/>
                    </a:cubicBezTo>
                    <a:close/>
                    <a:moveTo>
                      <a:pt x="276" y="97"/>
                    </a:moveTo>
                    <a:cubicBezTo>
                      <a:pt x="276" y="97"/>
                      <a:pt x="276" y="97"/>
                      <a:pt x="276" y="97"/>
                    </a:cubicBezTo>
                    <a:cubicBezTo>
                      <a:pt x="276" y="97"/>
                      <a:pt x="276" y="97"/>
                      <a:pt x="276" y="97"/>
                    </a:cubicBezTo>
                    <a:close/>
                    <a:moveTo>
                      <a:pt x="388" y="288"/>
                    </a:moveTo>
                    <a:cubicBezTo>
                      <a:pt x="388" y="289"/>
                      <a:pt x="386" y="288"/>
                      <a:pt x="385" y="288"/>
                    </a:cubicBezTo>
                    <a:cubicBezTo>
                      <a:pt x="385" y="289"/>
                      <a:pt x="386" y="289"/>
                      <a:pt x="386" y="289"/>
                    </a:cubicBezTo>
                    <a:cubicBezTo>
                      <a:pt x="387" y="289"/>
                      <a:pt x="387" y="289"/>
                      <a:pt x="387" y="290"/>
                    </a:cubicBezTo>
                    <a:cubicBezTo>
                      <a:pt x="387" y="289"/>
                      <a:pt x="388" y="289"/>
                      <a:pt x="388" y="289"/>
                    </a:cubicBezTo>
                    <a:cubicBezTo>
                      <a:pt x="388" y="289"/>
                      <a:pt x="387" y="289"/>
                      <a:pt x="387" y="289"/>
                    </a:cubicBezTo>
                    <a:cubicBezTo>
                      <a:pt x="387" y="288"/>
                      <a:pt x="388" y="288"/>
                      <a:pt x="388" y="289"/>
                    </a:cubicBezTo>
                    <a:cubicBezTo>
                      <a:pt x="387" y="289"/>
                      <a:pt x="389" y="289"/>
                      <a:pt x="389" y="289"/>
                    </a:cubicBezTo>
                    <a:cubicBezTo>
                      <a:pt x="389" y="288"/>
                      <a:pt x="388" y="288"/>
                      <a:pt x="388" y="288"/>
                    </a:cubicBezTo>
                    <a:close/>
                    <a:moveTo>
                      <a:pt x="393" y="308"/>
                    </a:moveTo>
                    <a:cubicBezTo>
                      <a:pt x="393" y="308"/>
                      <a:pt x="392" y="308"/>
                      <a:pt x="392" y="308"/>
                    </a:cubicBezTo>
                    <a:cubicBezTo>
                      <a:pt x="393" y="308"/>
                      <a:pt x="392" y="307"/>
                      <a:pt x="392" y="307"/>
                    </a:cubicBezTo>
                    <a:cubicBezTo>
                      <a:pt x="392" y="307"/>
                      <a:pt x="391" y="306"/>
                      <a:pt x="390" y="306"/>
                    </a:cubicBezTo>
                    <a:cubicBezTo>
                      <a:pt x="390" y="306"/>
                      <a:pt x="390" y="308"/>
                      <a:pt x="390" y="308"/>
                    </a:cubicBezTo>
                    <a:cubicBezTo>
                      <a:pt x="391" y="308"/>
                      <a:pt x="391" y="310"/>
                      <a:pt x="392" y="309"/>
                    </a:cubicBezTo>
                    <a:cubicBezTo>
                      <a:pt x="392" y="309"/>
                      <a:pt x="392" y="309"/>
                      <a:pt x="392" y="309"/>
                    </a:cubicBezTo>
                    <a:cubicBezTo>
                      <a:pt x="392" y="308"/>
                      <a:pt x="393" y="309"/>
                      <a:pt x="393" y="308"/>
                    </a:cubicBezTo>
                    <a:close/>
                    <a:moveTo>
                      <a:pt x="390" y="297"/>
                    </a:moveTo>
                    <a:cubicBezTo>
                      <a:pt x="389" y="297"/>
                      <a:pt x="388" y="297"/>
                      <a:pt x="387" y="297"/>
                    </a:cubicBezTo>
                    <a:cubicBezTo>
                      <a:pt x="386" y="297"/>
                      <a:pt x="387" y="298"/>
                      <a:pt x="388" y="298"/>
                    </a:cubicBezTo>
                    <a:cubicBezTo>
                      <a:pt x="387" y="298"/>
                      <a:pt x="388" y="299"/>
                      <a:pt x="389" y="299"/>
                    </a:cubicBezTo>
                    <a:cubicBezTo>
                      <a:pt x="389" y="299"/>
                      <a:pt x="390" y="298"/>
                      <a:pt x="390" y="298"/>
                    </a:cubicBezTo>
                    <a:cubicBezTo>
                      <a:pt x="390" y="298"/>
                      <a:pt x="391" y="298"/>
                      <a:pt x="391" y="298"/>
                    </a:cubicBezTo>
                    <a:cubicBezTo>
                      <a:pt x="392" y="298"/>
                      <a:pt x="390" y="297"/>
                      <a:pt x="390" y="297"/>
                    </a:cubicBezTo>
                    <a:close/>
                    <a:moveTo>
                      <a:pt x="402" y="337"/>
                    </a:moveTo>
                    <a:cubicBezTo>
                      <a:pt x="402" y="337"/>
                      <a:pt x="401" y="337"/>
                      <a:pt x="401" y="337"/>
                    </a:cubicBezTo>
                    <a:cubicBezTo>
                      <a:pt x="401" y="336"/>
                      <a:pt x="401" y="336"/>
                      <a:pt x="400" y="336"/>
                    </a:cubicBezTo>
                    <a:cubicBezTo>
                      <a:pt x="400" y="336"/>
                      <a:pt x="400" y="336"/>
                      <a:pt x="400" y="336"/>
                    </a:cubicBezTo>
                    <a:cubicBezTo>
                      <a:pt x="400" y="335"/>
                      <a:pt x="400" y="335"/>
                      <a:pt x="400" y="335"/>
                    </a:cubicBezTo>
                    <a:cubicBezTo>
                      <a:pt x="399" y="334"/>
                      <a:pt x="400" y="336"/>
                      <a:pt x="400" y="336"/>
                    </a:cubicBezTo>
                    <a:cubicBezTo>
                      <a:pt x="400" y="336"/>
                      <a:pt x="400" y="336"/>
                      <a:pt x="400" y="337"/>
                    </a:cubicBezTo>
                    <a:cubicBezTo>
                      <a:pt x="400" y="337"/>
                      <a:pt x="401" y="338"/>
                      <a:pt x="401" y="338"/>
                    </a:cubicBezTo>
                    <a:cubicBezTo>
                      <a:pt x="401" y="339"/>
                      <a:pt x="400" y="337"/>
                      <a:pt x="399" y="338"/>
                    </a:cubicBezTo>
                    <a:cubicBezTo>
                      <a:pt x="398" y="338"/>
                      <a:pt x="399" y="339"/>
                      <a:pt x="400" y="340"/>
                    </a:cubicBezTo>
                    <a:cubicBezTo>
                      <a:pt x="401" y="340"/>
                      <a:pt x="402" y="340"/>
                      <a:pt x="403" y="341"/>
                    </a:cubicBezTo>
                    <a:cubicBezTo>
                      <a:pt x="404" y="341"/>
                      <a:pt x="404" y="340"/>
                      <a:pt x="403" y="340"/>
                    </a:cubicBezTo>
                    <a:cubicBezTo>
                      <a:pt x="403" y="340"/>
                      <a:pt x="404" y="340"/>
                      <a:pt x="403" y="340"/>
                    </a:cubicBezTo>
                    <a:cubicBezTo>
                      <a:pt x="403" y="340"/>
                      <a:pt x="402" y="338"/>
                      <a:pt x="402" y="338"/>
                    </a:cubicBezTo>
                    <a:cubicBezTo>
                      <a:pt x="402" y="338"/>
                      <a:pt x="401" y="338"/>
                      <a:pt x="401" y="338"/>
                    </a:cubicBezTo>
                    <a:cubicBezTo>
                      <a:pt x="401" y="338"/>
                      <a:pt x="402" y="338"/>
                      <a:pt x="402" y="337"/>
                    </a:cubicBezTo>
                    <a:close/>
                    <a:moveTo>
                      <a:pt x="390" y="305"/>
                    </a:moveTo>
                    <a:cubicBezTo>
                      <a:pt x="390" y="305"/>
                      <a:pt x="391" y="305"/>
                      <a:pt x="391" y="305"/>
                    </a:cubicBezTo>
                    <a:cubicBezTo>
                      <a:pt x="391" y="305"/>
                      <a:pt x="390" y="305"/>
                      <a:pt x="390" y="305"/>
                    </a:cubicBezTo>
                    <a:cubicBezTo>
                      <a:pt x="390" y="304"/>
                      <a:pt x="389" y="304"/>
                      <a:pt x="389" y="304"/>
                    </a:cubicBezTo>
                    <a:cubicBezTo>
                      <a:pt x="388" y="304"/>
                      <a:pt x="390" y="305"/>
                      <a:pt x="390" y="305"/>
                    </a:cubicBezTo>
                    <a:close/>
                    <a:moveTo>
                      <a:pt x="388" y="292"/>
                    </a:moveTo>
                    <a:cubicBezTo>
                      <a:pt x="388" y="292"/>
                      <a:pt x="389" y="292"/>
                      <a:pt x="389" y="292"/>
                    </a:cubicBezTo>
                    <a:cubicBezTo>
                      <a:pt x="390" y="292"/>
                      <a:pt x="388" y="291"/>
                      <a:pt x="388" y="292"/>
                    </a:cubicBezTo>
                    <a:close/>
                    <a:moveTo>
                      <a:pt x="397" y="344"/>
                    </a:moveTo>
                    <a:cubicBezTo>
                      <a:pt x="398" y="344"/>
                      <a:pt x="398" y="344"/>
                      <a:pt x="398" y="344"/>
                    </a:cubicBezTo>
                    <a:cubicBezTo>
                      <a:pt x="399" y="343"/>
                      <a:pt x="399" y="344"/>
                      <a:pt x="399" y="345"/>
                    </a:cubicBezTo>
                    <a:cubicBezTo>
                      <a:pt x="400" y="345"/>
                      <a:pt x="400" y="344"/>
                      <a:pt x="399" y="344"/>
                    </a:cubicBezTo>
                    <a:cubicBezTo>
                      <a:pt x="399" y="344"/>
                      <a:pt x="399" y="343"/>
                      <a:pt x="398" y="343"/>
                    </a:cubicBezTo>
                    <a:cubicBezTo>
                      <a:pt x="397" y="342"/>
                      <a:pt x="398" y="343"/>
                      <a:pt x="398" y="343"/>
                    </a:cubicBezTo>
                    <a:cubicBezTo>
                      <a:pt x="397" y="343"/>
                      <a:pt x="397" y="342"/>
                      <a:pt x="397" y="342"/>
                    </a:cubicBezTo>
                    <a:cubicBezTo>
                      <a:pt x="397" y="342"/>
                      <a:pt x="397" y="343"/>
                      <a:pt x="396" y="343"/>
                    </a:cubicBezTo>
                    <a:cubicBezTo>
                      <a:pt x="396" y="343"/>
                      <a:pt x="397" y="343"/>
                      <a:pt x="397" y="343"/>
                    </a:cubicBezTo>
                    <a:cubicBezTo>
                      <a:pt x="397" y="342"/>
                      <a:pt x="396" y="342"/>
                      <a:pt x="396" y="342"/>
                    </a:cubicBezTo>
                    <a:cubicBezTo>
                      <a:pt x="396" y="343"/>
                      <a:pt x="396" y="342"/>
                      <a:pt x="396" y="343"/>
                    </a:cubicBezTo>
                    <a:cubicBezTo>
                      <a:pt x="395" y="342"/>
                      <a:pt x="395" y="343"/>
                      <a:pt x="396" y="344"/>
                    </a:cubicBezTo>
                    <a:cubicBezTo>
                      <a:pt x="396" y="344"/>
                      <a:pt x="397" y="344"/>
                      <a:pt x="397" y="343"/>
                    </a:cubicBezTo>
                    <a:cubicBezTo>
                      <a:pt x="397" y="344"/>
                      <a:pt x="397" y="344"/>
                      <a:pt x="397" y="344"/>
                    </a:cubicBezTo>
                    <a:close/>
                    <a:moveTo>
                      <a:pt x="386" y="283"/>
                    </a:moveTo>
                    <a:cubicBezTo>
                      <a:pt x="386" y="283"/>
                      <a:pt x="386" y="283"/>
                      <a:pt x="387" y="283"/>
                    </a:cubicBezTo>
                    <a:cubicBezTo>
                      <a:pt x="387" y="283"/>
                      <a:pt x="387" y="283"/>
                      <a:pt x="387" y="283"/>
                    </a:cubicBezTo>
                    <a:cubicBezTo>
                      <a:pt x="387" y="282"/>
                      <a:pt x="386" y="282"/>
                      <a:pt x="386" y="281"/>
                    </a:cubicBezTo>
                    <a:cubicBezTo>
                      <a:pt x="386" y="281"/>
                      <a:pt x="385" y="280"/>
                      <a:pt x="386" y="281"/>
                    </a:cubicBezTo>
                    <a:cubicBezTo>
                      <a:pt x="386" y="281"/>
                      <a:pt x="386" y="281"/>
                      <a:pt x="386" y="281"/>
                    </a:cubicBezTo>
                    <a:cubicBezTo>
                      <a:pt x="387" y="281"/>
                      <a:pt x="387" y="280"/>
                      <a:pt x="387" y="281"/>
                    </a:cubicBezTo>
                    <a:cubicBezTo>
                      <a:pt x="388" y="281"/>
                      <a:pt x="388" y="281"/>
                      <a:pt x="388" y="281"/>
                    </a:cubicBezTo>
                    <a:cubicBezTo>
                      <a:pt x="388" y="280"/>
                      <a:pt x="387" y="280"/>
                      <a:pt x="387" y="280"/>
                    </a:cubicBezTo>
                    <a:cubicBezTo>
                      <a:pt x="387" y="280"/>
                      <a:pt x="387" y="280"/>
                      <a:pt x="387" y="280"/>
                    </a:cubicBezTo>
                    <a:cubicBezTo>
                      <a:pt x="387" y="279"/>
                      <a:pt x="386" y="278"/>
                      <a:pt x="385" y="278"/>
                    </a:cubicBezTo>
                    <a:cubicBezTo>
                      <a:pt x="386" y="278"/>
                      <a:pt x="387" y="278"/>
                      <a:pt x="387" y="278"/>
                    </a:cubicBezTo>
                    <a:cubicBezTo>
                      <a:pt x="387" y="277"/>
                      <a:pt x="385" y="277"/>
                      <a:pt x="385" y="276"/>
                    </a:cubicBezTo>
                    <a:cubicBezTo>
                      <a:pt x="385" y="276"/>
                      <a:pt x="384" y="276"/>
                      <a:pt x="384" y="276"/>
                    </a:cubicBezTo>
                    <a:cubicBezTo>
                      <a:pt x="383" y="275"/>
                      <a:pt x="383" y="275"/>
                      <a:pt x="383" y="275"/>
                    </a:cubicBezTo>
                    <a:cubicBezTo>
                      <a:pt x="383" y="275"/>
                      <a:pt x="382" y="273"/>
                      <a:pt x="383" y="274"/>
                    </a:cubicBezTo>
                    <a:cubicBezTo>
                      <a:pt x="383" y="274"/>
                      <a:pt x="383" y="274"/>
                      <a:pt x="384" y="274"/>
                    </a:cubicBezTo>
                    <a:cubicBezTo>
                      <a:pt x="384" y="274"/>
                      <a:pt x="385" y="274"/>
                      <a:pt x="384" y="274"/>
                    </a:cubicBezTo>
                    <a:cubicBezTo>
                      <a:pt x="384" y="274"/>
                      <a:pt x="383" y="273"/>
                      <a:pt x="383" y="272"/>
                    </a:cubicBezTo>
                    <a:cubicBezTo>
                      <a:pt x="384" y="272"/>
                      <a:pt x="385" y="272"/>
                      <a:pt x="385" y="272"/>
                    </a:cubicBezTo>
                    <a:cubicBezTo>
                      <a:pt x="385" y="272"/>
                      <a:pt x="386" y="272"/>
                      <a:pt x="386" y="271"/>
                    </a:cubicBezTo>
                    <a:cubicBezTo>
                      <a:pt x="385" y="271"/>
                      <a:pt x="385" y="271"/>
                      <a:pt x="385" y="271"/>
                    </a:cubicBezTo>
                    <a:cubicBezTo>
                      <a:pt x="385" y="270"/>
                      <a:pt x="384" y="270"/>
                      <a:pt x="384" y="270"/>
                    </a:cubicBezTo>
                    <a:cubicBezTo>
                      <a:pt x="384" y="269"/>
                      <a:pt x="384" y="269"/>
                      <a:pt x="383" y="268"/>
                    </a:cubicBezTo>
                    <a:cubicBezTo>
                      <a:pt x="383" y="268"/>
                      <a:pt x="382" y="268"/>
                      <a:pt x="382" y="268"/>
                    </a:cubicBezTo>
                    <a:cubicBezTo>
                      <a:pt x="382" y="268"/>
                      <a:pt x="383" y="268"/>
                      <a:pt x="383" y="268"/>
                    </a:cubicBezTo>
                    <a:cubicBezTo>
                      <a:pt x="382" y="267"/>
                      <a:pt x="382" y="267"/>
                      <a:pt x="383" y="267"/>
                    </a:cubicBezTo>
                    <a:cubicBezTo>
                      <a:pt x="383" y="267"/>
                      <a:pt x="382" y="266"/>
                      <a:pt x="382" y="266"/>
                    </a:cubicBezTo>
                    <a:cubicBezTo>
                      <a:pt x="381" y="266"/>
                      <a:pt x="382" y="267"/>
                      <a:pt x="381" y="266"/>
                    </a:cubicBezTo>
                    <a:cubicBezTo>
                      <a:pt x="380" y="266"/>
                      <a:pt x="380" y="267"/>
                      <a:pt x="381" y="267"/>
                    </a:cubicBezTo>
                    <a:cubicBezTo>
                      <a:pt x="380" y="267"/>
                      <a:pt x="380" y="267"/>
                      <a:pt x="380" y="267"/>
                    </a:cubicBezTo>
                    <a:cubicBezTo>
                      <a:pt x="380" y="267"/>
                      <a:pt x="380" y="267"/>
                      <a:pt x="380" y="267"/>
                    </a:cubicBezTo>
                    <a:cubicBezTo>
                      <a:pt x="379" y="267"/>
                      <a:pt x="378" y="267"/>
                      <a:pt x="378" y="267"/>
                    </a:cubicBezTo>
                    <a:cubicBezTo>
                      <a:pt x="378" y="267"/>
                      <a:pt x="379" y="267"/>
                      <a:pt x="379" y="267"/>
                    </a:cubicBezTo>
                    <a:cubicBezTo>
                      <a:pt x="379" y="266"/>
                      <a:pt x="379" y="266"/>
                      <a:pt x="378" y="266"/>
                    </a:cubicBezTo>
                    <a:cubicBezTo>
                      <a:pt x="378" y="266"/>
                      <a:pt x="377" y="266"/>
                      <a:pt x="378" y="266"/>
                    </a:cubicBezTo>
                    <a:cubicBezTo>
                      <a:pt x="378" y="267"/>
                      <a:pt x="378" y="267"/>
                      <a:pt x="378" y="267"/>
                    </a:cubicBezTo>
                    <a:cubicBezTo>
                      <a:pt x="378" y="268"/>
                      <a:pt x="379" y="269"/>
                      <a:pt x="379" y="269"/>
                    </a:cubicBezTo>
                    <a:cubicBezTo>
                      <a:pt x="379" y="270"/>
                      <a:pt x="378" y="270"/>
                      <a:pt x="378" y="271"/>
                    </a:cubicBezTo>
                    <a:cubicBezTo>
                      <a:pt x="378" y="271"/>
                      <a:pt x="379" y="272"/>
                      <a:pt x="379" y="273"/>
                    </a:cubicBezTo>
                    <a:cubicBezTo>
                      <a:pt x="379" y="273"/>
                      <a:pt x="379" y="274"/>
                      <a:pt x="379" y="274"/>
                    </a:cubicBezTo>
                    <a:cubicBezTo>
                      <a:pt x="380" y="275"/>
                      <a:pt x="380" y="275"/>
                      <a:pt x="380" y="276"/>
                    </a:cubicBezTo>
                    <a:cubicBezTo>
                      <a:pt x="380" y="277"/>
                      <a:pt x="381" y="277"/>
                      <a:pt x="381" y="278"/>
                    </a:cubicBezTo>
                    <a:cubicBezTo>
                      <a:pt x="381" y="278"/>
                      <a:pt x="381" y="279"/>
                      <a:pt x="381" y="279"/>
                    </a:cubicBezTo>
                    <a:cubicBezTo>
                      <a:pt x="381" y="279"/>
                      <a:pt x="381" y="280"/>
                      <a:pt x="381" y="280"/>
                    </a:cubicBezTo>
                    <a:cubicBezTo>
                      <a:pt x="380" y="280"/>
                      <a:pt x="381" y="280"/>
                      <a:pt x="381" y="281"/>
                    </a:cubicBezTo>
                    <a:cubicBezTo>
                      <a:pt x="381" y="281"/>
                      <a:pt x="381" y="282"/>
                      <a:pt x="381" y="282"/>
                    </a:cubicBezTo>
                    <a:cubicBezTo>
                      <a:pt x="381" y="282"/>
                      <a:pt x="381" y="283"/>
                      <a:pt x="382" y="283"/>
                    </a:cubicBezTo>
                    <a:cubicBezTo>
                      <a:pt x="383" y="283"/>
                      <a:pt x="383" y="283"/>
                      <a:pt x="384" y="283"/>
                    </a:cubicBezTo>
                    <a:cubicBezTo>
                      <a:pt x="385" y="283"/>
                      <a:pt x="385" y="283"/>
                      <a:pt x="386" y="284"/>
                    </a:cubicBezTo>
                    <a:cubicBezTo>
                      <a:pt x="386" y="284"/>
                      <a:pt x="386" y="283"/>
                      <a:pt x="386" y="283"/>
                    </a:cubicBezTo>
                    <a:close/>
                    <a:moveTo>
                      <a:pt x="381" y="299"/>
                    </a:moveTo>
                    <a:cubicBezTo>
                      <a:pt x="381" y="299"/>
                      <a:pt x="382" y="300"/>
                      <a:pt x="382" y="300"/>
                    </a:cubicBezTo>
                    <a:cubicBezTo>
                      <a:pt x="383" y="300"/>
                      <a:pt x="381" y="298"/>
                      <a:pt x="381" y="299"/>
                    </a:cubicBezTo>
                    <a:close/>
                    <a:moveTo>
                      <a:pt x="395" y="297"/>
                    </a:moveTo>
                    <a:cubicBezTo>
                      <a:pt x="394" y="297"/>
                      <a:pt x="396" y="298"/>
                      <a:pt x="396" y="299"/>
                    </a:cubicBezTo>
                    <a:cubicBezTo>
                      <a:pt x="396" y="299"/>
                      <a:pt x="397" y="298"/>
                      <a:pt x="397" y="299"/>
                    </a:cubicBezTo>
                    <a:cubicBezTo>
                      <a:pt x="397" y="299"/>
                      <a:pt x="398" y="299"/>
                      <a:pt x="397" y="299"/>
                    </a:cubicBezTo>
                    <a:cubicBezTo>
                      <a:pt x="397" y="299"/>
                      <a:pt x="397" y="299"/>
                      <a:pt x="397" y="299"/>
                    </a:cubicBezTo>
                    <a:cubicBezTo>
                      <a:pt x="397" y="299"/>
                      <a:pt x="396" y="299"/>
                      <a:pt x="396" y="299"/>
                    </a:cubicBezTo>
                    <a:cubicBezTo>
                      <a:pt x="396" y="299"/>
                      <a:pt x="398" y="300"/>
                      <a:pt x="398" y="300"/>
                    </a:cubicBezTo>
                    <a:cubicBezTo>
                      <a:pt x="399" y="300"/>
                      <a:pt x="399" y="299"/>
                      <a:pt x="400" y="298"/>
                    </a:cubicBezTo>
                    <a:cubicBezTo>
                      <a:pt x="401" y="297"/>
                      <a:pt x="399" y="297"/>
                      <a:pt x="399" y="297"/>
                    </a:cubicBezTo>
                    <a:cubicBezTo>
                      <a:pt x="399" y="297"/>
                      <a:pt x="400" y="298"/>
                      <a:pt x="400" y="297"/>
                    </a:cubicBezTo>
                    <a:cubicBezTo>
                      <a:pt x="401" y="297"/>
                      <a:pt x="401" y="296"/>
                      <a:pt x="401" y="296"/>
                    </a:cubicBezTo>
                    <a:cubicBezTo>
                      <a:pt x="400" y="295"/>
                      <a:pt x="400" y="295"/>
                      <a:pt x="399" y="295"/>
                    </a:cubicBezTo>
                    <a:cubicBezTo>
                      <a:pt x="399" y="295"/>
                      <a:pt x="399" y="295"/>
                      <a:pt x="398" y="296"/>
                    </a:cubicBezTo>
                    <a:cubicBezTo>
                      <a:pt x="398" y="295"/>
                      <a:pt x="399" y="294"/>
                      <a:pt x="398" y="294"/>
                    </a:cubicBezTo>
                    <a:cubicBezTo>
                      <a:pt x="396" y="294"/>
                      <a:pt x="398" y="295"/>
                      <a:pt x="398" y="295"/>
                    </a:cubicBezTo>
                    <a:cubicBezTo>
                      <a:pt x="397" y="295"/>
                      <a:pt x="396" y="294"/>
                      <a:pt x="396" y="295"/>
                    </a:cubicBezTo>
                    <a:cubicBezTo>
                      <a:pt x="396" y="295"/>
                      <a:pt x="397" y="296"/>
                      <a:pt x="397" y="296"/>
                    </a:cubicBezTo>
                    <a:cubicBezTo>
                      <a:pt x="397" y="296"/>
                      <a:pt x="397" y="297"/>
                      <a:pt x="397" y="296"/>
                    </a:cubicBezTo>
                    <a:cubicBezTo>
                      <a:pt x="397" y="296"/>
                      <a:pt x="396" y="296"/>
                      <a:pt x="396" y="296"/>
                    </a:cubicBezTo>
                    <a:cubicBezTo>
                      <a:pt x="396" y="296"/>
                      <a:pt x="397" y="297"/>
                      <a:pt x="397" y="297"/>
                    </a:cubicBezTo>
                    <a:cubicBezTo>
                      <a:pt x="397" y="297"/>
                      <a:pt x="395" y="296"/>
                      <a:pt x="395" y="297"/>
                    </a:cubicBezTo>
                    <a:close/>
                    <a:moveTo>
                      <a:pt x="449" y="396"/>
                    </a:moveTo>
                    <a:cubicBezTo>
                      <a:pt x="449" y="396"/>
                      <a:pt x="448" y="396"/>
                      <a:pt x="448" y="396"/>
                    </a:cubicBezTo>
                    <a:cubicBezTo>
                      <a:pt x="449" y="396"/>
                      <a:pt x="449" y="396"/>
                      <a:pt x="449" y="396"/>
                    </a:cubicBezTo>
                    <a:cubicBezTo>
                      <a:pt x="449" y="396"/>
                      <a:pt x="448" y="395"/>
                      <a:pt x="448" y="395"/>
                    </a:cubicBezTo>
                    <a:cubicBezTo>
                      <a:pt x="448" y="395"/>
                      <a:pt x="450" y="396"/>
                      <a:pt x="450" y="395"/>
                    </a:cubicBezTo>
                    <a:cubicBezTo>
                      <a:pt x="450" y="396"/>
                      <a:pt x="450" y="394"/>
                      <a:pt x="450" y="395"/>
                    </a:cubicBezTo>
                    <a:cubicBezTo>
                      <a:pt x="450" y="394"/>
                      <a:pt x="448" y="394"/>
                      <a:pt x="449" y="394"/>
                    </a:cubicBezTo>
                    <a:cubicBezTo>
                      <a:pt x="449" y="394"/>
                      <a:pt x="448" y="394"/>
                      <a:pt x="448" y="394"/>
                    </a:cubicBezTo>
                    <a:cubicBezTo>
                      <a:pt x="447" y="394"/>
                      <a:pt x="448" y="394"/>
                      <a:pt x="447" y="394"/>
                    </a:cubicBezTo>
                    <a:cubicBezTo>
                      <a:pt x="447" y="394"/>
                      <a:pt x="447" y="394"/>
                      <a:pt x="447" y="393"/>
                    </a:cubicBezTo>
                    <a:cubicBezTo>
                      <a:pt x="446" y="393"/>
                      <a:pt x="447" y="393"/>
                      <a:pt x="447" y="393"/>
                    </a:cubicBezTo>
                    <a:cubicBezTo>
                      <a:pt x="447" y="393"/>
                      <a:pt x="446" y="392"/>
                      <a:pt x="446" y="392"/>
                    </a:cubicBezTo>
                    <a:cubicBezTo>
                      <a:pt x="445" y="393"/>
                      <a:pt x="445" y="392"/>
                      <a:pt x="444" y="392"/>
                    </a:cubicBezTo>
                    <a:cubicBezTo>
                      <a:pt x="445" y="392"/>
                      <a:pt x="445" y="393"/>
                      <a:pt x="445" y="393"/>
                    </a:cubicBezTo>
                    <a:cubicBezTo>
                      <a:pt x="445" y="394"/>
                      <a:pt x="445" y="393"/>
                      <a:pt x="445" y="393"/>
                    </a:cubicBezTo>
                    <a:cubicBezTo>
                      <a:pt x="444" y="392"/>
                      <a:pt x="443" y="391"/>
                      <a:pt x="442" y="391"/>
                    </a:cubicBezTo>
                    <a:cubicBezTo>
                      <a:pt x="443" y="391"/>
                      <a:pt x="443" y="392"/>
                      <a:pt x="443" y="392"/>
                    </a:cubicBezTo>
                    <a:cubicBezTo>
                      <a:pt x="443" y="393"/>
                      <a:pt x="443" y="393"/>
                      <a:pt x="443" y="393"/>
                    </a:cubicBezTo>
                    <a:cubicBezTo>
                      <a:pt x="443" y="393"/>
                      <a:pt x="442" y="391"/>
                      <a:pt x="442" y="392"/>
                    </a:cubicBezTo>
                    <a:cubicBezTo>
                      <a:pt x="442" y="391"/>
                      <a:pt x="442" y="391"/>
                      <a:pt x="441" y="391"/>
                    </a:cubicBezTo>
                    <a:cubicBezTo>
                      <a:pt x="441" y="391"/>
                      <a:pt x="441" y="391"/>
                      <a:pt x="441" y="392"/>
                    </a:cubicBezTo>
                    <a:cubicBezTo>
                      <a:pt x="441" y="391"/>
                      <a:pt x="440" y="390"/>
                      <a:pt x="440" y="391"/>
                    </a:cubicBezTo>
                    <a:cubicBezTo>
                      <a:pt x="439" y="391"/>
                      <a:pt x="441" y="392"/>
                      <a:pt x="441" y="392"/>
                    </a:cubicBezTo>
                    <a:cubicBezTo>
                      <a:pt x="440" y="392"/>
                      <a:pt x="440" y="392"/>
                      <a:pt x="439" y="392"/>
                    </a:cubicBezTo>
                    <a:cubicBezTo>
                      <a:pt x="439" y="391"/>
                      <a:pt x="438" y="391"/>
                      <a:pt x="438" y="391"/>
                    </a:cubicBezTo>
                    <a:cubicBezTo>
                      <a:pt x="438" y="392"/>
                      <a:pt x="439" y="392"/>
                      <a:pt x="439" y="392"/>
                    </a:cubicBezTo>
                    <a:cubicBezTo>
                      <a:pt x="439" y="392"/>
                      <a:pt x="440" y="393"/>
                      <a:pt x="440" y="393"/>
                    </a:cubicBezTo>
                    <a:cubicBezTo>
                      <a:pt x="440" y="393"/>
                      <a:pt x="441" y="393"/>
                      <a:pt x="441" y="393"/>
                    </a:cubicBezTo>
                    <a:cubicBezTo>
                      <a:pt x="441" y="393"/>
                      <a:pt x="441" y="393"/>
                      <a:pt x="442" y="393"/>
                    </a:cubicBezTo>
                    <a:cubicBezTo>
                      <a:pt x="441" y="393"/>
                      <a:pt x="443" y="393"/>
                      <a:pt x="443" y="393"/>
                    </a:cubicBezTo>
                    <a:cubicBezTo>
                      <a:pt x="442" y="394"/>
                      <a:pt x="441" y="393"/>
                      <a:pt x="441" y="393"/>
                    </a:cubicBezTo>
                    <a:cubicBezTo>
                      <a:pt x="440" y="393"/>
                      <a:pt x="440" y="393"/>
                      <a:pt x="439" y="392"/>
                    </a:cubicBezTo>
                    <a:cubicBezTo>
                      <a:pt x="439" y="392"/>
                      <a:pt x="438" y="392"/>
                      <a:pt x="438" y="392"/>
                    </a:cubicBezTo>
                    <a:cubicBezTo>
                      <a:pt x="438" y="393"/>
                      <a:pt x="438" y="392"/>
                      <a:pt x="437" y="392"/>
                    </a:cubicBezTo>
                    <a:cubicBezTo>
                      <a:pt x="436" y="392"/>
                      <a:pt x="437" y="393"/>
                      <a:pt x="437" y="393"/>
                    </a:cubicBezTo>
                    <a:cubicBezTo>
                      <a:pt x="438" y="393"/>
                      <a:pt x="439" y="393"/>
                      <a:pt x="439" y="394"/>
                    </a:cubicBezTo>
                    <a:cubicBezTo>
                      <a:pt x="439" y="394"/>
                      <a:pt x="437" y="394"/>
                      <a:pt x="438" y="394"/>
                    </a:cubicBezTo>
                    <a:cubicBezTo>
                      <a:pt x="439" y="394"/>
                      <a:pt x="441" y="393"/>
                      <a:pt x="440" y="394"/>
                    </a:cubicBezTo>
                    <a:cubicBezTo>
                      <a:pt x="440" y="394"/>
                      <a:pt x="441" y="394"/>
                      <a:pt x="441" y="395"/>
                    </a:cubicBezTo>
                    <a:cubicBezTo>
                      <a:pt x="441" y="395"/>
                      <a:pt x="441" y="395"/>
                      <a:pt x="441" y="395"/>
                    </a:cubicBezTo>
                    <a:cubicBezTo>
                      <a:pt x="441" y="395"/>
                      <a:pt x="442" y="396"/>
                      <a:pt x="441" y="396"/>
                    </a:cubicBezTo>
                    <a:cubicBezTo>
                      <a:pt x="441" y="397"/>
                      <a:pt x="444" y="397"/>
                      <a:pt x="444" y="397"/>
                    </a:cubicBezTo>
                    <a:cubicBezTo>
                      <a:pt x="444" y="396"/>
                      <a:pt x="443" y="396"/>
                      <a:pt x="443" y="396"/>
                    </a:cubicBezTo>
                    <a:cubicBezTo>
                      <a:pt x="443" y="396"/>
                      <a:pt x="443" y="395"/>
                      <a:pt x="443" y="395"/>
                    </a:cubicBezTo>
                    <a:cubicBezTo>
                      <a:pt x="443" y="395"/>
                      <a:pt x="443" y="396"/>
                      <a:pt x="443" y="395"/>
                    </a:cubicBezTo>
                    <a:cubicBezTo>
                      <a:pt x="444" y="395"/>
                      <a:pt x="444" y="396"/>
                      <a:pt x="444" y="395"/>
                    </a:cubicBezTo>
                    <a:cubicBezTo>
                      <a:pt x="445" y="395"/>
                      <a:pt x="446" y="395"/>
                      <a:pt x="445" y="395"/>
                    </a:cubicBezTo>
                    <a:cubicBezTo>
                      <a:pt x="445" y="395"/>
                      <a:pt x="446" y="395"/>
                      <a:pt x="446" y="395"/>
                    </a:cubicBezTo>
                    <a:cubicBezTo>
                      <a:pt x="446" y="396"/>
                      <a:pt x="445" y="396"/>
                      <a:pt x="445" y="396"/>
                    </a:cubicBezTo>
                    <a:cubicBezTo>
                      <a:pt x="446" y="397"/>
                      <a:pt x="446" y="397"/>
                      <a:pt x="446" y="397"/>
                    </a:cubicBezTo>
                    <a:cubicBezTo>
                      <a:pt x="446" y="397"/>
                      <a:pt x="446" y="397"/>
                      <a:pt x="445" y="397"/>
                    </a:cubicBezTo>
                    <a:cubicBezTo>
                      <a:pt x="445" y="397"/>
                      <a:pt x="446" y="397"/>
                      <a:pt x="446" y="397"/>
                    </a:cubicBezTo>
                    <a:cubicBezTo>
                      <a:pt x="446" y="398"/>
                      <a:pt x="445" y="397"/>
                      <a:pt x="445" y="397"/>
                    </a:cubicBezTo>
                    <a:cubicBezTo>
                      <a:pt x="445" y="397"/>
                      <a:pt x="444" y="398"/>
                      <a:pt x="444" y="398"/>
                    </a:cubicBezTo>
                    <a:cubicBezTo>
                      <a:pt x="445" y="398"/>
                      <a:pt x="446" y="398"/>
                      <a:pt x="445" y="398"/>
                    </a:cubicBezTo>
                    <a:cubicBezTo>
                      <a:pt x="446" y="398"/>
                      <a:pt x="446" y="398"/>
                      <a:pt x="446" y="398"/>
                    </a:cubicBezTo>
                    <a:cubicBezTo>
                      <a:pt x="446" y="398"/>
                      <a:pt x="447" y="398"/>
                      <a:pt x="447" y="398"/>
                    </a:cubicBezTo>
                    <a:cubicBezTo>
                      <a:pt x="447" y="398"/>
                      <a:pt x="447" y="397"/>
                      <a:pt x="447" y="397"/>
                    </a:cubicBezTo>
                    <a:cubicBezTo>
                      <a:pt x="447" y="397"/>
                      <a:pt x="448" y="398"/>
                      <a:pt x="448" y="398"/>
                    </a:cubicBezTo>
                    <a:cubicBezTo>
                      <a:pt x="449" y="398"/>
                      <a:pt x="448" y="397"/>
                      <a:pt x="448" y="397"/>
                    </a:cubicBezTo>
                    <a:cubicBezTo>
                      <a:pt x="448" y="397"/>
                      <a:pt x="448" y="397"/>
                      <a:pt x="449" y="397"/>
                    </a:cubicBezTo>
                    <a:cubicBezTo>
                      <a:pt x="449" y="397"/>
                      <a:pt x="449" y="397"/>
                      <a:pt x="449" y="397"/>
                    </a:cubicBezTo>
                    <a:cubicBezTo>
                      <a:pt x="449" y="397"/>
                      <a:pt x="450" y="397"/>
                      <a:pt x="450" y="397"/>
                    </a:cubicBezTo>
                    <a:cubicBezTo>
                      <a:pt x="450" y="397"/>
                      <a:pt x="449" y="396"/>
                      <a:pt x="449" y="396"/>
                    </a:cubicBezTo>
                    <a:close/>
                    <a:moveTo>
                      <a:pt x="463" y="395"/>
                    </a:moveTo>
                    <a:cubicBezTo>
                      <a:pt x="462" y="395"/>
                      <a:pt x="460" y="395"/>
                      <a:pt x="461" y="396"/>
                    </a:cubicBezTo>
                    <a:cubicBezTo>
                      <a:pt x="461" y="396"/>
                      <a:pt x="461" y="396"/>
                      <a:pt x="461" y="397"/>
                    </a:cubicBezTo>
                    <a:cubicBezTo>
                      <a:pt x="462" y="397"/>
                      <a:pt x="462" y="397"/>
                      <a:pt x="462" y="398"/>
                    </a:cubicBezTo>
                    <a:cubicBezTo>
                      <a:pt x="463" y="398"/>
                      <a:pt x="464" y="399"/>
                      <a:pt x="466" y="399"/>
                    </a:cubicBezTo>
                    <a:cubicBezTo>
                      <a:pt x="466" y="399"/>
                      <a:pt x="465" y="398"/>
                      <a:pt x="465" y="398"/>
                    </a:cubicBezTo>
                    <a:cubicBezTo>
                      <a:pt x="465" y="398"/>
                      <a:pt x="465" y="398"/>
                      <a:pt x="464" y="397"/>
                    </a:cubicBezTo>
                    <a:cubicBezTo>
                      <a:pt x="464" y="397"/>
                      <a:pt x="463" y="397"/>
                      <a:pt x="463" y="396"/>
                    </a:cubicBezTo>
                    <a:cubicBezTo>
                      <a:pt x="463" y="396"/>
                      <a:pt x="466" y="398"/>
                      <a:pt x="466" y="397"/>
                    </a:cubicBezTo>
                    <a:cubicBezTo>
                      <a:pt x="466" y="396"/>
                      <a:pt x="465" y="396"/>
                      <a:pt x="465" y="396"/>
                    </a:cubicBezTo>
                    <a:cubicBezTo>
                      <a:pt x="464" y="395"/>
                      <a:pt x="464" y="395"/>
                      <a:pt x="463" y="394"/>
                    </a:cubicBezTo>
                    <a:cubicBezTo>
                      <a:pt x="463" y="394"/>
                      <a:pt x="463" y="392"/>
                      <a:pt x="462" y="392"/>
                    </a:cubicBezTo>
                    <a:cubicBezTo>
                      <a:pt x="462" y="392"/>
                      <a:pt x="462" y="393"/>
                      <a:pt x="462" y="393"/>
                    </a:cubicBezTo>
                    <a:cubicBezTo>
                      <a:pt x="461" y="394"/>
                      <a:pt x="461" y="394"/>
                      <a:pt x="462" y="394"/>
                    </a:cubicBezTo>
                    <a:cubicBezTo>
                      <a:pt x="462" y="394"/>
                      <a:pt x="463" y="395"/>
                      <a:pt x="463" y="395"/>
                    </a:cubicBezTo>
                    <a:close/>
                    <a:moveTo>
                      <a:pt x="430" y="390"/>
                    </a:moveTo>
                    <a:cubicBezTo>
                      <a:pt x="431" y="390"/>
                      <a:pt x="431" y="389"/>
                      <a:pt x="431" y="389"/>
                    </a:cubicBezTo>
                    <a:cubicBezTo>
                      <a:pt x="431" y="388"/>
                      <a:pt x="430" y="389"/>
                      <a:pt x="430" y="390"/>
                    </a:cubicBezTo>
                    <a:close/>
                    <a:moveTo>
                      <a:pt x="440" y="390"/>
                    </a:moveTo>
                    <a:cubicBezTo>
                      <a:pt x="440" y="390"/>
                      <a:pt x="439" y="390"/>
                      <a:pt x="439" y="389"/>
                    </a:cubicBezTo>
                    <a:cubicBezTo>
                      <a:pt x="438" y="389"/>
                      <a:pt x="437" y="389"/>
                      <a:pt x="437" y="389"/>
                    </a:cubicBezTo>
                    <a:cubicBezTo>
                      <a:pt x="437" y="389"/>
                      <a:pt x="437" y="389"/>
                      <a:pt x="437" y="389"/>
                    </a:cubicBezTo>
                    <a:cubicBezTo>
                      <a:pt x="437" y="388"/>
                      <a:pt x="436" y="388"/>
                      <a:pt x="435" y="388"/>
                    </a:cubicBezTo>
                    <a:cubicBezTo>
                      <a:pt x="436" y="388"/>
                      <a:pt x="436" y="389"/>
                      <a:pt x="436" y="389"/>
                    </a:cubicBezTo>
                    <a:cubicBezTo>
                      <a:pt x="435" y="389"/>
                      <a:pt x="435" y="388"/>
                      <a:pt x="435" y="388"/>
                    </a:cubicBezTo>
                    <a:cubicBezTo>
                      <a:pt x="435" y="387"/>
                      <a:pt x="434" y="387"/>
                      <a:pt x="434" y="387"/>
                    </a:cubicBezTo>
                    <a:cubicBezTo>
                      <a:pt x="434" y="387"/>
                      <a:pt x="434" y="388"/>
                      <a:pt x="434" y="388"/>
                    </a:cubicBezTo>
                    <a:cubicBezTo>
                      <a:pt x="434" y="388"/>
                      <a:pt x="433" y="387"/>
                      <a:pt x="432" y="387"/>
                    </a:cubicBezTo>
                    <a:cubicBezTo>
                      <a:pt x="432" y="387"/>
                      <a:pt x="432" y="386"/>
                      <a:pt x="431" y="386"/>
                    </a:cubicBezTo>
                    <a:cubicBezTo>
                      <a:pt x="431" y="386"/>
                      <a:pt x="431" y="387"/>
                      <a:pt x="431" y="387"/>
                    </a:cubicBezTo>
                    <a:cubicBezTo>
                      <a:pt x="431" y="387"/>
                      <a:pt x="431" y="387"/>
                      <a:pt x="431" y="386"/>
                    </a:cubicBezTo>
                    <a:cubicBezTo>
                      <a:pt x="431" y="386"/>
                      <a:pt x="430" y="386"/>
                      <a:pt x="430" y="386"/>
                    </a:cubicBezTo>
                    <a:cubicBezTo>
                      <a:pt x="430" y="386"/>
                      <a:pt x="429" y="386"/>
                      <a:pt x="429" y="386"/>
                    </a:cubicBezTo>
                    <a:cubicBezTo>
                      <a:pt x="429" y="386"/>
                      <a:pt x="430" y="386"/>
                      <a:pt x="429" y="386"/>
                    </a:cubicBezTo>
                    <a:cubicBezTo>
                      <a:pt x="429" y="386"/>
                      <a:pt x="429" y="386"/>
                      <a:pt x="429" y="386"/>
                    </a:cubicBezTo>
                    <a:cubicBezTo>
                      <a:pt x="428" y="386"/>
                      <a:pt x="428" y="386"/>
                      <a:pt x="428" y="386"/>
                    </a:cubicBezTo>
                    <a:cubicBezTo>
                      <a:pt x="428" y="386"/>
                      <a:pt x="427" y="385"/>
                      <a:pt x="427" y="386"/>
                    </a:cubicBezTo>
                    <a:cubicBezTo>
                      <a:pt x="427" y="386"/>
                      <a:pt x="427" y="385"/>
                      <a:pt x="426" y="385"/>
                    </a:cubicBezTo>
                    <a:cubicBezTo>
                      <a:pt x="426" y="385"/>
                      <a:pt x="426" y="385"/>
                      <a:pt x="426" y="385"/>
                    </a:cubicBezTo>
                    <a:cubicBezTo>
                      <a:pt x="425" y="384"/>
                      <a:pt x="424" y="383"/>
                      <a:pt x="423" y="383"/>
                    </a:cubicBezTo>
                    <a:cubicBezTo>
                      <a:pt x="423" y="384"/>
                      <a:pt x="424" y="384"/>
                      <a:pt x="425" y="385"/>
                    </a:cubicBezTo>
                    <a:cubicBezTo>
                      <a:pt x="425" y="385"/>
                      <a:pt x="425" y="385"/>
                      <a:pt x="425" y="386"/>
                    </a:cubicBezTo>
                    <a:cubicBezTo>
                      <a:pt x="425" y="386"/>
                      <a:pt x="426" y="386"/>
                      <a:pt x="426" y="386"/>
                    </a:cubicBezTo>
                    <a:cubicBezTo>
                      <a:pt x="426" y="386"/>
                      <a:pt x="427" y="386"/>
                      <a:pt x="427" y="386"/>
                    </a:cubicBezTo>
                    <a:cubicBezTo>
                      <a:pt x="427" y="387"/>
                      <a:pt x="428" y="387"/>
                      <a:pt x="428" y="387"/>
                    </a:cubicBezTo>
                    <a:cubicBezTo>
                      <a:pt x="428" y="387"/>
                      <a:pt x="428" y="387"/>
                      <a:pt x="429" y="387"/>
                    </a:cubicBezTo>
                    <a:cubicBezTo>
                      <a:pt x="429" y="387"/>
                      <a:pt x="429" y="387"/>
                      <a:pt x="429" y="387"/>
                    </a:cubicBezTo>
                    <a:cubicBezTo>
                      <a:pt x="429" y="387"/>
                      <a:pt x="430" y="388"/>
                      <a:pt x="431" y="387"/>
                    </a:cubicBezTo>
                    <a:cubicBezTo>
                      <a:pt x="431" y="387"/>
                      <a:pt x="430" y="387"/>
                      <a:pt x="430" y="387"/>
                    </a:cubicBezTo>
                    <a:cubicBezTo>
                      <a:pt x="431" y="387"/>
                      <a:pt x="432" y="387"/>
                      <a:pt x="432" y="387"/>
                    </a:cubicBezTo>
                    <a:cubicBezTo>
                      <a:pt x="432" y="387"/>
                      <a:pt x="433" y="387"/>
                      <a:pt x="433" y="388"/>
                    </a:cubicBezTo>
                    <a:cubicBezTo>
                      <a:pt x="433" y="388"/>
                      <a:pt x="433" y="388"/>
                      <a:pt x="434" y="388"/>
                    </a:cubicBezTo>
                    <a:cubicBezTo>
                      <a:pt x="434" y="388"/>
                      <a:pt x="434" y="388"/>
                      <a:pt x="433" y="388"/>
                    </a:cubicBezTo>
                    <a:cubicBezTo>
                      <a:pt x="434" y="388"/>
                      <a:pt x="434" y="388"/>
                      <a:pt x="434" y="388"/>
                    </a:cubicBezTo>
                    <a:cubicBezTo>
                      <a:pt x="435" y="389"/>
                      <a:pt x="434" y="388"/>
                      <a:pt x="435" y="388"/>
                    </a:cubicBezTo>
                    <a:cubicBezTo>
                      <a:pt x="435" y="389"/>
                      <a:pt x="435" y="389"/>
                      <a:pt x="435" y="389"/>
                    </a:cubicBezTo>
                    <a:cubicBezTo>
                      <a:pt x="435" y="389"/>
                      <a:pt x="436" y="389"/>
                      <a:pt x="436" y="389"/>
                    </a:cubicBezTo>
                    <a:cubicBezTo>
                      <a:pt x="436" y="389"/>
                      <a:pt x="436" y="389"/>
                      <a:pt x="435" y="389"/>
                    </a:cubicBezTo>
                    <a:cubicBezTo>
                      <a:pt x="435" y="389"/>
                      <a:pt x="436" y="390"/>
                      <a:pt x="436" y="390"/>
                    </a:cubicBezTo>
                    <a:cubicBezTo>
                      <a:pt x="436" y="390"/>
                      <a:pt x="437" y="390"/>
                      <a:pt x="437" y="390"/>
                    </a:cubicBezTo>
                    <a:cubicBezTo>
                      <a:pt x="437" y="389"/>
                      <a:pt x="437" y="389"/>
                      <a:pt x="437" y="389"/>
                    </a:cubicBezTo>
                    <a:cubicBezTo>
                      <a:pt x="437" y="389"/>
                      <a:pt x="438" y="390"/>
                      <a:pt x="438" y="390"/>
                    </a:cubicBezTo>
                    <a:cubicBezTo>
                      <a:pt x="439" y="390"/>
                      <a:pt x="439" y="390"/>
                      <a:pt x="440" y="390"/>
                    </a:cubicBezTo>
                    <a:close/>
                    <a:moveTo>
                      <a:pt x="400" y="346"/>
                    </a:moveTo>
                    <a:cubicBezTo>
                      <a:pt x="400" y="346"/>
                      <a:pt x="401" y="345"/>
                      <a:pt x="401" y="345"/>
                    </a:cubicBezTo>
                    <a:cubicBezTo>
                      <a:pt x="400" y="345"/>
                      <a:pt x="401" y="346"/>
                      <a:pt x="401" y="346"/>
                    </a:cubicBezTo>
                    <a:cubicBezTo>
                      <a:pt x="401" y="346"/>
                      <a:pt x="401" y="346"/>
                      <a:pt x="402" y="346"/>
                    </a:cubicBezTo>
                    <a:cubicBezTo>
                      <a:pt x="402" y="346"/>
                      <a:pt x="403" y="347"/>
                      <a:pt x="403" y="347"/>
                    </a:cubicBezTo>
                    <a:cubicBezTo>
                      <a:pt x="403" y="346"/>
                      <a:pt x="403" y="345"/>
                      <a:pt x="402" y="344"/>
                    </a:cubicBezTo>
                    <a:cubicBezTo>
                      <a:pt x="402" y="344"/>
                      <a:pt x="402" y="345"/>
                      <a:pt x="402" y="345"/>
                    </a:cubicBezTo>
                    <a:cubicBezTo>
                      <a:pt x="401" y="345"/>
                      <a:pt x="401" y="344"/>
                      <a:pt x="401" y="344"/>
                    </a:cubicBezTo>
                    <a:cubicBezTo>
                      <a:pt x="401" y="345"/>
                      <a:pt x="400" y="345"/>
                      <a:pt x="400" y="346"/>
                    </a:cubicBezTo>
                    <a:close/>
                    <a:moveTo>
                      <a:pt x="409" y="354"/>
                    </a:moveTo>
                    <a:cubicBezTo>
                      <a:pt x="409" y="354"/>
                      <a:pt x="410" y="355"/>
                      <a:pt x="410" y="354"/>
                    </a:cubicBezTo>
                    <a:cubicBezTo>
                      <a:pt x="411" y="354"/>
                      <a:pt x="410" y="353"/>
                      <a:pt x="410" y="353"/>
                    </a:cubicBezTo>
                    <a:cubicBezTo>
                      <a:pt x="410" y="353"/>
                      <a:pt x="410" y="353"/>
                      <a:pt x="410" y="353"/>
                    </a:cubicBezTo>
                    <a:cubicBezTo>
                      <a:pt x="410" y="353"/>
                      <a:pt x="410" y="353"/>
                      <a:pt x="410" y="353"/>
                    </a:cubicBezTo>
                    <a:cubicBezTo>
                      <a:pt x="410" y="353"/>
                      <a:pt x="410" y="352"/>
                      <a:pt x="409" y="352"/>
                    </a:cubicBezTo>
                    <a:cubicBezTo>
                      <a:pt x="409" y="352"/>
                      <a:pt x="410" y="352"/>
                      <a:pt x="410" y="352"/>
                    </a:cubicBezTo>
                    <a:cubicBezTo>
                      <a:pt x="410" y="352"/>
                      <a:pt x="409" y="351"/>
                      <a:pt x="409" y="351"/>
                    </a:cubicBezTo>
                    <a:cubicBezTo>
                      <a:pt x="408" y="350"/>
                      <a:pt x="409" y="351"/>
                      <a:pt x="408" y="352"/>
                    </a:cubicBezTo>
                    <a:cubicBezTo>
                      <a:pt x="408" y="352"/>
                      <a:pt x="408" y="350"/>
                      <a:pt x="408" y="350"/>
                    </a:cubicBezTo>
                    <a:cubicBezTo>
                      <a:pt x="408" y="349"/>
                      <a:pt x="408" y="350"/>
                      <a:pt x="408" y="349"/>
                    </a:cubicBezTo>
                    <a:cubicBezTo>
                      <a:pt x="408" y="348"/>
                      <a:pt x="408" y="347"/>
                      <a:pt x="407" y="346"/>
                    </a:cubicBezTo>
                    <a:cubicBezTo>
                      <a:pt x="407" y="346"/>
                      <a:pt x="407" y="346"/>
                      <a:pt x="407" y="345"/>
                    </a:cubicBezTo>
                    <a:cubicBezTo>
                      <a:pt x="406" y="345"/>
                      <a:pt x="406" y="345"/>
                      <a:pt x="406" y="345"/>
                    </a:cubicBezTo>
                    <a:cubicBezTo>
                      <a:pt x="406" y="344"/>
                      <a:pt x="406" y="344"/>
                      <a:pt x="406" y="344"/>
                    </a:cubicBezTo>
                    <a:cubicBezTo>
                      <a:pt x="406" y="344"/>
                      <a:pt x="406" y="344"/>
                      <a:pt x="406" y="344"/>
                    </a:cubicBezTo>
                    <a:cubicBezTo>
                      <a:pt x="406" y="344"/>
                      <a:pt x="406" y="343"/>
                      <a:pt x="405" y="343"/>
                    </a:cubicBezTo>
                    <a:cubicBezTo>
                      <a:pt x="405" y="343"/>
                      <a:pt x="405" y="343"/>
                      <a:pt x="405" y="343"/>
                    </a:cubicBezTo>
                    <a:cubicBezTo>
                      <a:pt x="405" y="342"/>
                      <a:pt x="405" y="342"/>
                      <a:pt x="404" y="342"/>
                    </a:cubicBezTo>
                    <a:cubicBezTo>
                      <a:pt x="404" y="342"/>
                      <a:pt x="404" y="340"/>
                      <a:pt x="404" y="341"/>
                    </a:cubicBezTo>
                    <a:cubicBezTo>
                      <a:pt x="403" y="341"/>
                      <a:pt x="404" y="342"/>
                      <a:pt x="404" y="342"/>
                    </a:cubicBezTo>
                    <a:cubicBezTo>
                      <a:pt x="404" y="342"/>
                      <a:pt x="403" y="341"/>
                      <a:pt x="403" y="341"/>
                    </a:cubicBezTo>
                    <a:cubicBezTo>
                      <a:pt x="403" y="341"/>
                      <a:pt x="403" y="341"/>
                      <a:pt x="402" y="341"/>
                    </a:cubicBezTo>
                    <a:cubicBezTo>
                      <a:pt x="402" y="340"/>
                      <a:pt x="402" y="341"/>
                      <a:pt x="402" y="341"/>
                    </a:cubicBezTo>
                    <a:cubicBezTo>
                      <a:pt x="401" y="341"/>
                      <a:pt x="401" y="341"/>
                      <a:pt x="401" y="341"/>
                    </a:cubicBezTo>
                    <a:cubicBezTo>
                      <a:pt x="400" y="342"/>
                      <a:pt x="401" y="342"/>
                      <a:pt x="401" y="342"/>
                    </a:cubicBezTo>
                    <a:cubicBezTo>
                      <a:pt x="401" y="342"/>
                      <a:pt x="399" y="342"/>
                      <a:pt x="400" y="343"/>
                    </a:cubicBezTo>
                    <a:cubicBezTo>
                      <a:pt x="401" y="343"/>
                      <a:pt x="401" y="342"/>
                      <a:pt x="402" y="342"/>
                    </a:cubicBezTo>
                    <a:cubicBezTo>
                      <a:pt x="402" y="342"/>
                      <a:pt x="401" y="343"/>
                      <a:pt x="401" y="343"/>
                    </a:cubicBezTo>
                    <a:cubicBezTo>
                      <a:pt x="401" y="343"/>
                      <a:pt x="401" y="343"/>
                      <a:pt x="401" y="343"/>
                    </a:cubicBezTo>
                    <a:cubicBezTo>
                      <a:pt x="402" y="344"/>
                      <a:pt x="402" y="344"/>
                      <a:pt x="402" y="344"/>
                    </a:cubicBezTo>
                    <a:cubicBezTo>
                      <a:pt x="403" y="343"/>
                      <a:pt x="403" y="344"/>
                      <a:pt x="403" y="344"/>
                    </a:cubicBezTo>
                    <a:cubicBezTo>
                      <a:pt x="403" y="344"/>
                      <a:pt x="402" y="344"/>
                      <a:pt x="402" y="344"/>
                    </a:cubicBezTo>
                    <a:cubicBezTo>
                      <a:pt x="403" y="345"/>
                      <a:pt x="403" y="345"/>
                      <a:pt x="404" y="345"/>
                    </a:cubicBezTo>
                    <a:cubicBezTo>
                      <a:pt x="403" y="345"/>
                      <a:pt x="404" y="346"/>
                      <a:pt x="404" y="347"/>
                    </a:cubicBezTo>
                    <a:cubicBezTo>
                      <a:pt x="403" y="347"/>
                      <a:pt x="404" y="348"/>
                      <a:pt x="404" y="348"/>
                    </a:cubicBezTo>
                    <a:cubicBezTo>
                      <a:pt x="404" y="348"/>
                      <a:pt x="403" y="347"/>
                      <a:pt x="403" y="347"/>
                    </a:cubicBezTo>
                    <a:cubicBezTo>
                      <a:pt x="403" y="347"/>
                      <a:pt x="402" y="346"/>
                      <a:pt x="402" y="346"/>
                    </a:cubicBezTo>
                    <a:cubicBezTo>
                      <a:pt x="402" y="346"/>
                      <a:pt x="402" y="347"/>
                      <a:pt x="402" y="347"/>
                    </a:cubicBezTo>
                    <a:cubicBezTo>
                      <a:pt x="402" y="347"/>
                      <a:pt x="402" y="347"/>
                      <a:pt x="402" y="347"/>
                    </a:cubicBezTo>
                    <a:cubicBezTo>
                      <a:pt x="402" y="347"/>
                      <a:pt x="402" y="347"/>
                      <a:pt x="401" y="347"/>
                    </a:cubicBezTo>
                    <a:cubicBezTo>
                      <a:pt x="401" y="347"/>
                      <a:pt x="403" y="348"/>
                      <a:pt x="402" y="348"/>
                    </a:cubicBezTo>
                    <a:cubicBezTo>
                      <a:pt x="401" y="348"/>
                      <a:pt x="401" y="347"/>
                      <a:pt x="401" y="347"/>
                    </a:cubicBezTo>
                    <a:cubicBezTo>
                      <a:pt x="400" y="346"/>
                      <a:pt x="400" y="347"/>
                      <a:pt x="401" y="348"/>
                    </a:cubicBezTo>
                    <a:cubicBezTo>
                      <a:pt x="401" y="348"/>
                      <a:pt x="402" y="349"/>
                      <a:pt x="402" y="349"/>
                    </a:cubicBezTo>
                    <a:cubicBezTo>
                      <a:pt x="402" y="349"/>
                      <a:pt x="401" y="348"/>
                      <a:pt x="400" y="348"/>
                    </a:cubicBezTo>
                    <a:cubicBezTo>
                      <a:pt x="400" y="348"/>
                      <a:pt x="400" y="347"/>
                      <a:pt x="399" y="347"/>
                    </a:cubicBezTo>
                    <a:cubicBezTo>
                      <a:pt x="399" y="347"/>
                      <a:pt x="399" y="348"/>
                      <a:pt x="400" y="348"/>
                    </a:cubicBezTo>
                    <a:cubicBezTo>
                      <a:pt x="400" y="349"/>
                      <a:pt x="400" y="349"/>
                      <a:pt x="400" y="349"/>
                    </a:cubicBezTo>
                    <a:cubicBezTo>
                      <a:pt x="400" y="349"/>
                      <a:pt x="401" y="349"/>
                      <a:pt x="401" y="349"/>
                    </a:cubicBezTo>
                    <a:cubicBezTo>
                      <a:pt x="401" y="349"/>
                      <a:pt x="401" y="349"/>
                      <a:pt x="401" y="349"/>
                    </a:cubicBezTo>
                    <a:cubicBezTo>
                      <a:pt x="401" y="349"/>
                      <a:pt x="401" y="349"/>
                      <a:pt x="401" y="349"/>
                    </a:cubicBezTo>
                    <a:cubicBezTo>
                      <a:pt x="402" y="349"/>
                      <a:pt x="401" y="350"/>
                      <a:pt x="402" y="350"/>
                    </a:cubicBezTo>
                    <a:cubicBezTo>
                      <a:pt x="402" y="350"/>
                      <a:pt x="402" y="351"/>
                      <a:pt x="402" y="351"/>
                    </a:cubicBezTo>
                    <a:cubicBezTo>
                      <a:pt x="402" y="351"/>
                      <a:pt x="403" y="351"/>
                      <a:pt x="403" y="352"/>
                    </a:cubicBezTo>
                    <a:cubicBezTo>
                      <a:pt x="404" y="353"/>
                      <a:pt x="405" y="354"/>
                      <a:pt x="406" y="354"/>
                    </a:cubicBezTo>
                    <a:cubicBezTo>
                      <a:pt x="406" y="353"/>
                      <a:pt x="405" y="353"/>
                      <a:pt x="405" y="353"/>
                    </a:cubicBezTo>
                    <a:cubicBezTo>
                      <a:pt x="405" y="352"/>
                      <a:pt x="405" y="353"/>
                      <a:pt x="405" y="353"/>
                    </a:cubicBezTo>
                    <a:cubicBezTo>
                      <a:pt x="405" y="352"/>
                      <a:pt x="405" y="352"/>
                      <a:pt x="405" y="352"/>
                    </a:cubicBezTo>
                    <a:cubicBezTo>
                      <a:pt x="405" y="352"/>
                      <a:pt x="405" y="351"/>
                      <a:pt x="405" y="351"/>
                    </a:cubicBezTo>
                    <a:cubicBezTo>
                      <a:pt x="405" y="351"/>
                      <a:pt x="405" y="351"/>
                      <a:pt x="405" y="351"/>
                    </a:cubicBezTo>
                    <a:cubicBezTo>
                      <a:pt x="404" y="351"/>
                      <a:pt x="404" y="351"/>
                      <a:pt x="404" y="350"/>
                    </a:cubicBezTo>
                    <a:cubicBezTo>
                      <a:pt x="404" y="350"/>
                      <a:pt x="404" y="350"/>
                      <a:pt x="404" y="350"/>
                    </a:cubicBezTo>
                    <a:cubicBezTo>
                      <a:pt x="404" y="350"/>
                      <a:pt x="404" y="349"/>
                      <a:pt x="404" y="349"/>
                    </a:cubicBezTo>
                    <a:cubicBezTo>
                      <a:pt x="404" y="349"/>
                      <a:pt x="404" y="350"/>
                      <a:pt x="404" y="350"/>
                    </a:cubicBezTo>
                    <a:cubicBezTo>
                      <a:pt x="405" y="350"/>
                      <a:pt x="405" y="349"/>
                      <a:pt x="405" y="349"/>
                    </a:cubicBezTo>
                    <a:cubicBezTo>
                      <a:pt x="405" y="350"/>
                      <a:pt x="405" y="349"/>
                      <a:pt x="405" y="349"/>
                    </a:cubicBezTo>
                    <a:cubicBezTo>
                      <a:pt x="406" y="348"/>
                      <a:pt x="405" y="348"/>
                      <a:pt x="405" y="348"/>
                    </a:cubicBezTo>
                    <a:cubicBezTo>
                      <a:pt x="405" y="348"/>
                      <a:pt x="406" y="348"/>
                      <a:pt x="406" y="348"/>
                    </a:cubicBezTo>
                    <a:cubicBezTo>
                      <a:pt x="406" y="348"/>
                      <a:pt x="406" y="348"/>
                      <a:pt x="406" y="348"/>
                    </a:cubicBezTo>
                    <a:cubicBezTo>
                      <a:pt x="406" y="348"/>
                      <a:pt x="405" y="349"/>
                      <a:pt x="406" y="349"/>
                    </a:cubicBezTo>
                    <a:cubicBezTo>
                      <a:pt x="406" y="349"/>
                      <a:pt x="406" y="349"/>
                      <a:pt x="406" y="349"/>
                    </a:cubicBezTo>
                    <a:cubicBezTo>
                      <a:pt x="406" y="349"/>
                      <a:pt x="405" y="349"/>
                      <a:pt x="405" y="350"/>
                    </a:cubicBezTo>
                    <a:cubicBezTo>
                      <a:pt x="405" y="350"/>
                      <a:pt x="406" y="351"/>
                      <a:pt x="406" y="350"/>
                    </a:cubicBezTo>
                    <a:cubicBezTo>
                      <a:pt x="406" y="351"/>
                      <a:pt x="407" y="351"/>
                      <a:pt x="407" y="351"/>
                    </a:cubicBezTo>
                    <a:cubicBezTo>
                      <a:pt x="407" y="351"/>
                      <a:pt x="405" y="350"/>
                      <a:pt x="405" y="351"/>
                    </a:cubicBezTo>
                    <a:cubicBezTo>
                      <a:pt x="405" y="351"/>
                      <a:pt x="406" y="351"/>
                      <a:pt x="406" y="351"/>
                    </a:cubicBezTo>
                    <a:cubicBezTo>
                      <a:pt x="406" y="351"/>
                      <a:pt x="406" y="351"/>
                      <a:pt x="405" y="351"/>
                    </a:cubicBezTo>
                    <a:cubicBezTo>
                      <a:pt x="406" y="351"/>
                      <a:pt x="406" y="352"/>
                      <a:pt x="406" y="352"/>
                    </a:cubicBezTo>
                    <a:cubicBezTo>
                      <a:pt x="406" y="352"/>
                      <a:pt x="406" y="352"/>
                      <a:pt x="406" y="352"/>
                    </a:cubicBezTo>
                    <a:cubicBezTo>
                      <a:pt x="406" y="352"/>
                      <a:pt x="407" y="353"/>
                      <a:pt x="407" y="352"/>
                    </a:cubicBezTo>
                    <a:cubicBezTo>
                      <a:pt x="407" y="352"/>
                      <a:pt x="407" y="352"/>
                      <a:pt x="407" y="352"/>
                    </a:cubicBezTo>
                    <a:cubicBezTo>
                      <a:pt x="407" y="352"/>
                      <a:pt x="407" y="353"/>
                      <a:pt x="407" y="353"/>
                    </a:cubicBezTo>
                    <a:cubicBezTo>
                      <a:pt x="407" y="353"/>
                      <a:pt x="407" y="353"/>
                      <a:pt x="408" y="353"/>
                    </a:cubicBezTo>
                    <a:cubicBezTo>
                      <a:pt x="408" y="353"/>
                      <a:pt x="407" y="353"/>
                      <a:pt x="407" y="353"/>
                    </a:cubicBezTo>
                    <a:cubicBezTo>
                      <a:pt x="407" y="353"/>
                      <a:pt x="406" y="353"/>
                      <a:pt x="407" y="354"/>
                    </a:cubicBezTo>
                    <a:cubicBezTo>
                      <a:pt x="407" y="355"/>
                      <a:pt x="408" y="353"/>
                      <a:pt x="409" y="354"/>
                    </a:cubicBezTo>
                    <a:cubicBezTo>
                      <a:pt x="408" y="354"/>
                      <a:pt x="408" y="354"/>
                      <a:pt x="408" y="354"/>
                    </a:cubicBezTo>
                    <a:cubicBezTo>
                      <a:pt x="407" y="355"/>
                      <a:pt x="408" y="355"/>
                      <a:pt x="408" y="355"/>
                    </a:cubicBezTo>
                    <a:cubicBezTo>
                      <a:pt x="408" y="355"/>
                      <a:pt x="408" y="355"/>
                      <a:pt x="409" y="355"/>
                    </a:cubicBezTo>
                    <a:cubicBezTo>
                      <a:pt x="409" y="354"/>
                      <a:pt x="409" y="355"/>
                      <a:pt x="409" y="355"/>
                    </a:cubicBezTo>
                    <a:cubicBezTo>
                      <a:pt x="411" y="355"/>
                      <a:pt x="409" y="354"/>
                      <a:pt x="409" y="354"/>
                    </a:cubicBezTo>
                    <a:close/>
                    <a:moveTo>
                      <a:pt x="408" y="356"/>
                    </a:moveTo>
                    <a:cubicBezTo>
                      <a:pt x="409" y="356"/>
                      <a:pt x="407" y="357"/>
                      <a:pt x="407" y="356"/>
                    </a:cubicBezTo>
                    <a:cubicBezTo>
                      <a:pt x="407" y="356"/>
                      <a:pt x="408" y="355"/>
                      <a:pt x="407" y="356"/>
                    </a:cubicBezTo>
                    <a:cubicBezTo>
                      <a:pt x="406" y="356"/>
                      <a:pt x="406" y="356"/>
                      <a:pt x="406" y="356"/>
                    </a:cubicBezTo>
                    <a:cubicBezTo>
                      <a:pt x="405" y="355"/>
                      <a:pt x="406" y="355"/>
                      <a:pt x="405" y="355"/>
                    </a:cubicBezTo>
                    <a:cubicBezTo>
                      <a:pt x="405" y="355"/>
                      <a:pt x="404" y="355"/>
                      <a:pt x="404" y="355"/>
                    </a:cubicBezTo>
                    <a:cubicBezTo>
                      <a:pt x="404" y="355"/>
                      <a:pt x="404" y="355"/>
                      <a:pt x="404" y="355"/>
                    </a:cubicBezTo>
                    <a:cubicBezTo>
                      <a:pt x="403" y="355"/>
                      <a:pt x="404" y="355"/>
                      <a:pt x="403" y="355"/>
                    </a:cubicBezTo>
                    <a:cubicBezTo>
                      <a:pt x="403" y="356"/>
                      <a:pt x="406" y="357"/>
                      <a:pt x="406" y="356"/>
                    </a:cubicBezTo>
                    <a:cubicBezTo>
                      <a:pt x="407" y="358"/>
                      <a:pt x="404" y="357"/>
                      <a:pt x="404" y="357"/>
                    </a:cubicBezTo>
                    <a:cubicBezTo>
                      <a:pt x="404" y="357"/>
                      <a:pt x="406" y="356"/>
                      <a:pt x="404" y="356"/>
                    </a:cubicBezTo>
                    <a:cubicBezTo>
                      <a:pt x="404" y="356"/>
                      <a:pt x="404" y="357"/>
                      <a:pt x="404" y="357"/>
                    </a:cubicBezTo>
                    <a:cubicBezTo>
                      <a:pt x="404" y="357"/>
                      <a:pt x="404" y="359"/>
                      <a:pt x="405" y="358"/>
                    </a:cubicBezTo>
                    <a:cubicBezTo>
                      <a:pt x="405" y="358"/>
                      <a:pt x="405" y="358"/>
                      <a:pt x="405" y="358"/>
                    </a:cubicBezTo>
                    <a:cubicBezTo>
                      <a:pt x="405" y="358"/>
                      <a:pt x="405" y="358"/>
                      <a:pt x="405" y="358"/>
                    </a:cubicBezTo>
                    <a:cubicBezTo>
                      <a:pt x="406" y="358"/>
                      <a:pt x="405" y="358"/>
                      <a:pt x="406" y="358"/>
                    </a:cubicBezTo>
                    <a:cubicBezTo>
                      <a:pt x="406" y="358"/>
                      <a:pt x="406" y="358"/>
                      <a:pt x="406" y="358"/>
                    </a:cubicBezTo>
                    <a:cubicBezTo>
                      <a:pt x="406" y="358"/>
                      <a:pt x="406" y="359"/>
                      <a:pt x="406" y="359"/>
                    </a:cubicBezTo>
                    <a:cubicBezTo>
                      <a:pt x="406" y="359"/>
                      <a:pt x="406" y="359"/>
                      <a:pt x="407" y="359"/>
                    </a:cubicBezTo>
                    <a:cubicBezTo>
                      <a:pt x="407" y="359"/>
                      <a:pt x="407" y="358"/>
                      <a:pt x="407" y="358"/>
                    </a:cubicBezTo>
                    <a:cubicBezTo>
                      <a:pt x="407" y="358"/>
                      <a:pt x="408" y="358"/>
                      <a:pt x="408" y="357"/>
                    </a:cubicBezTo>
                    <a:cubicBezTo>
                      <a:pt x="408" y="357"/>
                      <a:pt x="408" y="357"/>
                      <a:pt x="408" y="357"/>
                    </a:cubicBezTo>
                    <a:cubicBezTo>
                      <a:pt x="408" y="357"/>
                      <a:pt x="409" y="357"/>
                      <a:pt x="409" y="357"/>
                    </a:cubicBezTo>
                    <a:cubicBezTo>
                      <a:pt x="409" y="356"/>
                      <a:pt x="409" y="356"/>
                      <a:pt x="408" y="356"/>
                    </a:cubicBezTo>
                    <a:close/>
                    <a:moveTo>
                      <a:pt x="407" y="360"/>
                    </a:moveTo>
                    <a:cubicBezTo>
                      <a:pt x="407" y="360"/>
                      <a:pt x="406" y="359"/>
                      <a:pt x="406" y="360"/>
                    </a:cubicBezTo>
                    <a:cubicBezTo>
                      <a:pt x="406" y="360"/>
                      <a:pt x="405" y="359"/>
                      <a:pt x="405" y="360"/>
                    </a:cubicBezTo>
                    <a:cubicBezTo>
                      <a:pt x="405" y="360"/>
                      <a:pt x="406" y="361"/>
                      <a:pt x="406" y="361"/>
                    </a:cubicBezTo>
                    <a:cubicBezTo>
                      <a:pt x="406" y="361"/>
                      <a:pt x="406" y="361"/>
                      <a:pt x="406" y="361"/>
                    </a:cubicBezTo>
                    <a:cubicBezTo>
                      <a:pt x="406" y="361"/>
                      <a:pt x="406" y="362"/>
                      <a:pt x="405" y="362"/>
                    </a:cubicBezTo>
                    <a:cubicBezTo>
                      <a:pt x="406" y="362"/>
                      <a:pt x="406" y="362"/>
                      <a:pt x="406" y="362"/>
                    </a:cubicBezTo>
                    <a:cubicBezTo>
                      <a:pt x="406" y="362"/>
                      <a:pt x="406" y="362"/>
                      <a:pt x="406" y="362"/>
                    </a:cubicBezTo>
                    <a:cubicBezTo>
                      <a:pt x="406" y="362"/>
                      <a:pt x="406" y="363"/>
                      <a:pt x="407" y="363"/>
                    </a:cubicBezTo>
                    <a:cubicBezTo>
                      <a:pt x="407" y="363"/>
                      <a:pt x="407" y="363"/>
                      <a:pt x="407" y="363"/>
                    </a:cubicBezTo>
                    <a:cubicBezTo>
                      <a:pt x="407" y="363"/>
                      <a:pt x="408" y="363"/>
                      <a:pt x="408" y="363"/>
                    </a:cubicBezTo>
                    <a:cubicBezTo>
                      <a:pt x="408" y="363"/>
                      <a:pt x="408" y="362"/>
                      <a:pt x="407" y="362"/>
                    </a:cubicBezTo>
                    <a:cubicBezTo>
                      <a:pt x="408" y="362"/>
                      <a:pt x="407" y="362"/>
                      <a:pt x="407" y="361"/>
                    </a:cubicBezTo>
                    <a:cubicBezTo>
                      <a:pt x="408" y="361"/>
                      <a:pt x="406" y="361"/>
                      <a:pt x="406" y="360"/>
                    </a:cubicBezTo>
                    <a:cubicBezTo>
                      <a:pt x="406" y="360"/>
                      <a:pt x="407" y="361"/>
                      <a:pt x="408" y="361"/>
                    </a:cubicBezTo>
                    <a:cubicBezTo>
                      <a:pt x="408" y="361"/>
                      <a:pt x="408" y="361"/>
                      <a:pt x="407" y="361"/>
                    </a:cubicBezTo>
                    <a:cubicBezTo>
                      <a:pt x="408" y="361"/>
                      <a:pt x="407" y="361"/>
                      <a:pt x="408" y="360"/>
                    </a:cubicBezTo>
                    <a:cubicBezTo>
                      <a:pt x="408" y="361"/>
                      <a:pt x="408" y="360"/>
                      <a:pt x="408" y="360"/>
                    </a:cubicBezTo>
                    <a:cubicBezTo>
                      <a:pt x="408" y="360"/>
                      <a:pt x="407" y="360"/>
                      <a:pt x="407" y="360"/>
                    </a:cubicBezTo>
                    <a:close/>
                    <a:moveTo>
                      <a:pt x="415" y="361"/>
                    </a:moveTo>
                    <a:cubicBezTo>
                      <a:pt x="415" y="360"/>
                      <a:pt x="414" y="360"/>
                      <a:pt x="414" y="360"/>
                    </a:cubicBezTo>
                    <a:cubicBezTo>
                      <a:pt x="414" y="359"/>
                      <a:pt x="413" y="360"/>
                      <a:pt x="413" y="360"/>
                    </a:cubicBezTo>
                    <a:cubicBezTo>
                      <a:pt x="413" y="359"/>
                      <a:pt x="411" y="359"/>
                      <a:pt x="412" y="360"/>
                    </a:cubicBezTo>
                    <a:cubicBezTo>
                      <a:pt x="412" y="360"/>
                      <a:pt x="414" y="360"/>
                      <a:pt x="414" y="360"/>
                    </a:cubicBezTo>
                    <a:cubicBezTo>
                      <a:pt x="414" y="360"/>
                      <a:pt x="413" y="361"/>
                      <a:pt x="413" y="361"/>
                    </a:cubicBezTo>
                    <a:cubicBezTo>
                      <a:pt x="413" y="362"/>
                      <a:pt x="415" y="362"/>
                      <a:pt x="415" y="363"/>
                    </a:cubicBezTo>
                    <a:cubicBezTo>
                      <a:pt x="415" y="363"/>
                      <a:pt x="416" y="364"/>
                      <a:pt x="416" y="363"/>
                    </a:cubicBezTo>
                    <a:cubicBezTo>
                      <a:pt x="416" y="362"/>
                      <a:pt x="417" y="364"/>
                      <a:pt x="417" y="364"/>
                    </a:cubicBezTo>
                    <a:cubicBezTo>
                      <a:pt x="418" y="364"/>
                      <a:pt x="417" y="363"/>
                      <a:pt x="417" y="363"/>
                    </a:cubicBezTo>
                    <a:cubicBezTo>
                      <a:pt x="416" y="362"/>
                      <a:pt x="416" y="362"/>
                      <a:pt x="415" y="362"/>
                    </a:cubicBezTo>
                    <a:cubicBezTo>
                      <a:pt x="415" y="362"/>
                      <a:pt x="415" y="362"/>
                      <a:pt x="414" y="362"/>
                    </a:cubicBezTo>
                    <a:cubicBezTo>
                      <a:pt x="415" y="362"/>
                      <a:pt x="415" y="362"/>
                      <a:pt x="416" y="362"/>
                    </a:cubicBezTo>
                    <a:cubicBezTo>
                      <a:pt x="416" y="362"/>
                      <a:pt x="415" y="361"/>
                      <a:pt x="415" y="361"/>
                    </a:cubicBezTo>
                    <a:close/>
                    <a:moveTo>
                      <a:pt x="414" y="366"/>
                    </a:moveTo>
                    <a:cubicBezTo>
                      <a:pt x="414" y="366"/>
                      <a:pt x="414" y="366"/>
                      <a:pt x="414" y="366"/>
                    </a:cubicBezTo>
                    <a:cubicBezTo>
                      <a:pt x="414" y="366"/>
                      <a:pt x="415" y="366"/>
                      <a:pt x="415" y="366"/>
                    </a:cubicBezTo>
                    <a:cubicBezTo>
                      <a:pt x="415" y="366"/>
                      <a:pt x="415" y="366"/>
                      <a:pt x="415" y="366"/>
                    </a:cubicBezTo>
                    <a:cubicBezTo>
                      <a:pt x="415" y="366"/>
                      <a:pt x="415" y="365"/>
                      <a:pt x="416" y="365"/>
                    </a:cubicBezTo>
                    <a:cubicBezTo>
                      <a:pt x="416" y="365"/>
                      <a:pt x="417" y="366"/>
                      <a:pt x="417" y="366"/>
                    </a:cubicBezTo>
                    <a:cubicBezTo>
                      <a:pt x="417" y="366"/>
                      <a:pt x="417" y="366"/>
                      <a:pt x="417" y="366"/>
                    </a:cubicBezTo>
                    <a:cubicBezTo>
                      <a:pt x="417" y="366"/>
                      <a:pt x="416" y="365"/>
                      <a:pt x="416" y="364"/>
                    </a:cubicBezTo>
                    <a:cubicBezTo>
                      <a:pt x="416" y="364"/>
                      <a:pt x="416" y="363"/>
                      <a:pt x="415" y="363"/>
                    </a:cubicBezTo>
                    <a:cubicBezTo>
                      <a:pt x="415" y="363"/>
                      <a:pt x="415" y="363"/>
                      <a:pt x="415" y="363"/>
                    </a:cubicBezTo>
                    <a:cubicBezTo>
                      <a:pt x="414" y="363"/>
                      <a:pt x="413" y="362"/>
                      <a:pt x="413" y="362"/>
                    </a:cubicBezTo>
                    <a:cubicBezTo>
                      <a:pt x="413" y="363"/>
                      <a:pt x="414" y="363"/>
                      <a:pt x="414" y="363"/>
                    </a:cubicBezTo>
                    <a:cubicBezTo>
                      <a:pt x="414" y="364"/>
                      <a:pt x="413" y="363"/>
                      <a:pt x="414" y="364"/>
                    </a:cubicBezTo>
                    <a:cubicBezTo>
                      <a:pt x="414" y="364"/>
                      <a:pt x="414" y="364"/>
                      <a:pt x="414" y="364"/>
                    </a:cubicBezTo>
                    <a:cubicBezTo>
                      <a:pt x="414" y="365"/>
                      <a:pt x="413" y="364"/>
                      <a:pt x="413" y="364"/>
                    </a:cubicBezTo>
                    <a:cubicBezTo>
                      <a:pt x="412" y="364"/>
                      <a:pt x="411" y="364"/>
                      <a:pt x="411" y="364"/>
                    </a:cubicBezTo>
                    <a:cubicBezTo>
                      <a:pt x="412" y="364"/>
                      <a:pt x="412" y="364"/>
                      <a:pt x="412" y="364"/>
                    </a:cubicBezTo>
                    <a:cubicBezTo>
                      <a:pt x="411" y="364"/>
                      <a:pt x="412" y="365"/>
                      <a:pt x="412" y="365"/>
                    </a:cubicBezTo>
                    <a:cubicBezTo>
                      <a:pt x="412" y="365"/>
                      <a:pt x="412" y="365"/>
                      <a:pt x="413" y="365"/>
                    </a:cubicBezTo>
                    <a:cubicBezTo>
                      <a:pt x="413" y="366"/>
                      <a:pt x="414" y="366"/>
                      <a:pt x="413" y="365"/>
                    </a:cubicBezTo>
                    <a:cubicBezTo>
                      <a:pt x="413" y="365"/>
                      <a:pt x="414" y="365"/>
                      <a:pt x="414" y="366"/>
                    </a:cubicBezTo>
                    <a:close/>
                    <a:moveTo>
                      <a:pt x="417" y="372"/>
                    </a:moveTo>
                    <a:cubicBezTo>
                      <a:pt x="416" y="372"/>
                      <a:pt x="415" y="372"/>
                      <a:pt x="416" y="372"/>
                    </a:cubicBezTo>
                    <a:cubicBezTo>
                      <a:pt x="416" y="372"/>
                      <a:pt x="417" y="373"/>
                      <a:pt x="416" y="373"/>
                    </a:cubicBezTo>
                    <a:cubicBezTo>
                      <a:pt x="417" y="374"/>
                      <a:pt x="417" y="374"/>
                      <a:pt x="417" y="374"/>
                    </a:cubicBezTo>
                    <a:cubicBezTo>
                      <a:pt x="417" y="375"/>
                      <a:pt x="417" y="374"/>
                      <a:pt x="417" y="374"/>
                    </a:cubicBezTo>
                    <a:cubicBezTo>
                      <a:pt x="416" y="374"/>
                      <a:pt x="416" y="374"/>
                      <a:pt x="416" y="374"/>
                    </a:cubicBezTo>
                    <a:cubicBezTo>
                      <a:pt x="416" y="375"/>
                      <a:pt x="416" y="375"/>
                      <a:pt x="417" y="375"/>
                    </a:cubicBezTo>
                    <a:cubicBezTo>
                      <a:pt x="416" y="376"/>
                      <a:pt x="416" y="376"/>
                      <a:pt x="417" y="376"/>
                    </a:cubicBezTo>
                    <a:cubicBezTo>
                      <a:pt x="417" y="376"/>
                      <a:pt x="417" y="376"/>
                      <a:pt x="417" y="376"/>
                    </a:cubicBezTo>
                    <a:cubicBezTo>
                      <a:pt x="417" y="377"/>
                      <a:pt x="417" y="377"/>
                      <a:pt x="417" y="377"/>
                    </a:cubicBezTo>
                    <a:cubicBezTo>
                      <a:pt x="417" y="377"/>
                      <a:pt x="417" y="377"/>
                      <a:pt x="417" y="376"/>
                    </a:cubicBezTo>
                    <a:cubicBezTo>
                      <a:pt x="417" y="377"/>
                      <a:pt x="418" y="377"/>
                      <a:pt x="418" y="377"/>
                    </a:cubicBezTo>
                    <a:cubicBezTo>
                      <a:pt x="418" y="377"/>
                      <a:pt x="418" y="375"/>
                      <a:pt x="418" y="375"/>
                    </a:cubicBezTo>
                    <a:cubicBezTo>
                      <a:pt x="418" y="374"/>
                      <a:pt x="417" y="373"/>
                      <a:pt x="417" y="372"/>
                    </a:cubicBezTo>
                    <a:close/>
                    <a:moveTo>
                      <a:pt x="450" y="399"/>
                    </a:moveTo>
                    <a:cubicBezTo>
                      <a:pt x="450" y="399"/>
                      <a:pt x="451" y="399"/>
                      <a:pt x="451" y="399"/>
                    </a:cubicBezTo>
                    <a:cubicBezTo>
                      <a:pt x="451" y="400"/>
                      <a:pt x="451" y="399"/>
                      <a:pt x="451" y="399"/>
                    </a:cubicBezTo>
                    <a:cubicBezTo>
                      <a:pt x="451" y="399"/>
                      <a:pt x="451" y="399"/>
                      <a:pt x="451" y="399"/>
                    </a:cubicBezTo>
                    <a:cubicBezTo>
                      <a:pt x="451" y="399"/>
                      <a:pt x="451" y="398"/>
                      <a:pt x="451" y="398"/>
                    </a:cubicBezTo>
                    <a:cubicBezTo>
                      <a:pt x="451" y="398"/>
                      <a:pt x="450" y="397"/>
                      <a:pt x="450" y="398"/>
                    </a:cubicBezTo>
                    <a:cubicBezTo>
                      <a:pt x="450" y="398"/>
                      <a:pt x="450" y="398"/>
                      <a:pt x="450" y="398"/>
                    </a:cubicBezTo>
                    <a:cubicBezTo>
                      <a:pt x="450" y="398"/>
                      <a:pt x="450" y="398"/>
                      <a:pt x="450" y="398"/>
                    </a:cubicBezTo>
                    <a:cubicBezTo>
                      <a:pt x="450" y="398"/>
                      <a:pt x="450" y="398"/>
                      <a:pt x="450" y="398"/>
                    </a:cubicBezTo>
                    <a:cubicBezTo>
                      <a:pt x="450" y="399"/>
                      <a:pt x="450" y="399"/>
                      <a:pt x="450" y="399"/>
                    </a:cubicBezTo>
                    <a:cubicBezTo>
                      <a:pt x="449" y="399"/>
                      <a:pt x="450" y="400"/>
                      <a:pt x="450" y="399"/>
                    </a:cubicBezTo>
                    <a:close/>
                    <a:moveTo>
                      <a:pt x="393" y="301"/>
                    </a:moveTo>
                    <a:cubicBezTo>
                      <a:pt x="393" y="301"/>
                      <a:pt x="392" y="301"/>
                      <a:pt x="391" y="301"/>
                    </a:cubicBezTo>
                    <a:cubicBezTo>
                      <a:pt x="391" y="301"/>
                      <a:pt x="390" y="301"/>
                      <a:pt x="390" y="302"/>
                    </a:cubicBezTo>
                    <a:cubicBezTo>
                      <a:pt x="390" y="302"/>
                      <a:pt x="390" y="303"/>
                      <a:pt x="391" y="303"/>
                    </a:cubicBezTo>
                    <a:cubicBezTo>
                      <a:pt x="391" y="302"/>
                      <a:pt x="392" y="303"/>
                      <a:pt x="392" y="303"/>
                    </a:cubicBezTo>
                    <a:cubicBezTo>
                      <a:pt x="392" y="303"/>
                      <a:pt x="393" y="304"/>
                      <a:pt x="393" y="304"/>
                    </a:cubicBezTo>
                    <a:cubicBezTo>
                      <a:pt x="394" y="304"/>
                      <a:pt x="394" y="304"/>
                      <a:pt x="394" y="304"/>
                    </a:cubicBezTo>
                    <a:cubicBezTo>
                      <a:pt x="394" y="304"/>
                      <a:pt x="393" y="304"/>
                      <a:pt x="393" y="304"/>
                    </a:cubicBezTo>
                    <a:cubicBezTo>
                      <a:pt x="393" y="304"/>
                      <a:pt x="392" y="303"/>
                      <a:pt x="392" y="303"/>
                    </a:cubicBezTo>
                    <a:cubicBezTo>
                      <a:pt x="391" y="303"/>
                      <a:pt x="391" y="304"/>
                      <a:pt x="391" y="304"/>
                    </a:cubicBezTo>
                    <a:cubicBezTo>
                      <a:pt x="392" y="305"/>
                      <a:pt x="393" y="305"/>
                      <a:pt x="393" y="305"/>
                    </a:cubicBezTo>
                    <a:cubicBezTo>
                      <a:pt x="394" y="305"/>
                      <a:pt x="395" y="305"/>
                      <a:pt x="395" y="304"/>
                    </a:cubicBezTo>
                    <a:cubicBezTo>
                      <a:pt x="395" y="304"/>
                      <a:pt x="395" y="304"/>
                      <a:pt x="395" y="304"/>
                    </a:cubicBezTo>
                    <a:cubicBezTo>
                      <a:pt x="395" y="304"/>
                      <a:pt x="395" y="304"/>
                      <a:pt x="395" y="304"/>
                    </a:cubicBezTo>
                    <a:cubicBezTo>
                      <a:pt x="395" y="304"/>
                      <a:pt x="395" y="304"/>
                      <a:pt x="395" y="303"/>
                    </a:cubicBezTo>
                    <a:cubicBezTo>
                      <a:pt x="395" y="303"/>
                      <a:pt x="395" y="303"/>
                      <a:pt x="395" y="302"/>
                    </a:cubicBezTo>
                    <a:cubicBezTo>
                      <a:pt x="394" y="302"/>
                      <a:pt x="394" y="301"/>
                      <a:pt x="393" y="301"/>
                    </a:cubicBezTo>
                    <a:close/>
                    <a:moveTo>
                      <a:pt x="390" y="303"/>
                    </a:moveTo>
                    <a:cubicBezTo>
                      <a:pt x="390" y="303"/>
                      <a:pt x="390" y="303"/>
                      <a:pt x="389" y="303"/>
                    </a:cubicBezTo>
                    <a:cubicBezTo>
                      <a:pt x="389" y="303"/>
                      <a:pt x="389" y="303"/>
                      <a:pt x="389" y="304"/>
                    </a:cubicBezTo>
                    <a:cubicBezTo>
                      <a:pt x="389" y="304"/>
                      <a:pt x="390" y="304"/>
                      <a:pt x="390" y="304"/>
                    </a:cubicBezTo>
                    <a:cubicBezTo>
                      <a:pt x="391" y="304"/>
                      <a:pt x="390" y="304"/>
                      <a:pt x="390" y="303"/>
                    </a:cubicBezTo>
                    <a:close/>
                    <a:moveTo>
                      <a:pt x="455" y="400"/>
                    </a:moveTo>
                    <a:cubicBezTo>
                      <a:pt x="455" y="400"/>
                      <a:pt x="455" y="400"/>
                      <a:pt x="455" y="399"/>
                    </a:cubicBezTo>
                    <a:cubicBezTo>
                      <a:pt x="455" y="400"/>
                      <a:pt x="456" y="400"/>
                      <a:pt x="456" y="399"/>
                    </a:cubicBezTo>
                    <a:cubicBezTo>
                      <a:pt x="455" y="399"/>
                      <a:pt x="455" y="399"/>
                      <a:pt x="454" y="398"/>
                    </a:cubicBezTo>
                    <a:cubicBezTo>
                      <a:pt x="454" y="398"/>
                      <a:pt x="453" y="397"/>
                      <a:pt x="453" y="397"/>
                    </a:cubicBezTo>
                    <a:cubicBezTo>
                      <a:pt x="453" y="397"/>
                      <a:pt x="455" y="398"/>
                      <a:pt x="455" y="398"/>
                    </a:cubicBezTo>
                    <a:cubicBezTo>
                      <a:pt x="455" y="399"/>
                      <a:pt x="456" y="398"/>
                      <a:pt x="455" y="398"/>
                    </a:cubicBezTo>
                    <a:cubicBezTo>
                      <a:pt x="455" y="397"/>
                      <a:pt x="455" y="398"/>
                      <a:pt x="455" y="398"/>
                    </a:cubicBezTo>
                    <a:cubicBezTo>
                      <a:pt x="455" y="398"/>
                      <a:pt x="455" y="397"/>
                      <a:pt x="455" y="397"/>
                    </a:cubicBezTo>
                    <a:cubicBezTo>
                      <a:pt x="455" y="397"/>
                      <a:pt x="455" y="397"/>
                      <a:pt x="455" y="397"/>
                    </a:cubicBezTo>
                    <a:cubicBezTo>
                      <a:pt x="454" y="397"/>
                      <a:pt x="454" y="397"/>
                      <a:pt x="454" y="397"/>
                    </a:cubicBezTo>
                    <a:cubicBezTo>
                      <a:pt x="454" y="397"/>
                      <a:pt x="455" y="396"/>
                      <a:pt x="455" y="396"/>
                    </a:cubicBezTo>
                    <a:cubicBezTo>
                      <a:pt x="455" y="396"/>
                      <a:pt x="454" y="396"/>
                      <a:pt x="453" y="396"/>
                    </a:cubicBezTo>
                    <a:cubicBezTo>
                      <a:pt x="453" y="397"/>
                      <a:pt x="453" y="396"/>
                      <a:pt x="453" y="396"/>
                    </a:cubicBezTo>
                    <a:cubicBezTo>
                      <a:pt x="453" y="395"/>
                      <a:pt x="452" y="395"/>
                      <a:pt x="452" y="395"/>
                    </a:cubicBezTo>
                    <a:cubicBezTo>
                      <a:pt x="451" y="395"/>
                      <a:pt x="452" y="396"/>
                      <a:pt x="452" y="396"/>
                    </a:cubicBezTo>
                    <a:cubicBezTo>
                      <a:pt x="452" y="395"/>
                      <a:pt x="452" y="396"/>
                      <a:pt x="452" y="396"/>
                    </a:cubicBezTo>
                    <a:cubicBezTo>
                      <a:pt x="452" y="396"/>
                      <a:pt x="451" y="396"/>
                      <a:pt x="451" y="396"/>
                    </a:cubicBezTo>
                    <a:cubicBezTo>
                      <a:pt x="451" y="396"/>
                      <a:pt x="452" y="397"/>
                      <a:pt x="452" y="397"/>
                    </a:cubicBezTo>
                    <a:cubicBezTo>
                      <a:pt x="451" y="397"/>
                      <a:pt x="451" y="396"/>
                      <a:pt x="450" y="396"/>
                    </a:cubicBezTo>
                    <a:cubicBezTo>
                      <a:pt x="450" y="396"/>
                      <a:pt x="450" y="397"/>
                      <a:pt x="450" y="397"/>
                    </a:cubicBezTo>
                    <a:cubicBezTo>
                      <a:pt x="451" y="397"/>
                      <a:pt x="451" y="397"/>
                      <a:pt x="451" y="398"/>
                    </a:cubicBezTo>
                    <a:cubicBezTo>
                      <a:pt x="451" y="398"/>
                      <a:pt x="452" y="398"/>
                      <a:pt x="452" y="397"/>
                    </a:cubicBezTo>
                    <a:cubicBezTo>
                      <a:pt x="452" y="398"/>
                      <a:pt x="452" y="398"/>
                      <a:pt x="452" y="398"/>
                    </a:cubicBezTo>
                    <a:cubicBezTo>
                      <a:pt x="452" y="398"/>
                      <a:pt x="452" y="398"/>
                      <a:pt x="452" y="398"/>
                    </a:cubicBezTo>
                    <a:cubicBezTo>
                      <a:pt x="452" y="398"/>
                      <a:pt x="453" y="398"/>
                      <a:pt x="453" y="398"/>
                    </a:cubicBezTo>
                    <a:cubicBezTo>
                      <a:pt x="453" y="398"/>
                      <a:pt x="452" y="398"/>
                      <a:pt x="452" y="398"/>
                    </a:cubicBezTo>
                    <a:cubicBezTo>
                      <a:pt x="453" y="399"/>
                      <a:pt x="454" y="399"/>
                      <a:pt x="454" y="399"/>
                    </a:cubicBezTo>
                    <a:cubicBezTo>
                      <a:pt x="454" y="399"/>
                      <a:pt x="454" y="400"/>
                      <a:pt x="454" y="400"/>
                    </a:cubicBezTo>
                    <a:cubicBezTo>
                      <a:pt x="455" y="400"/>
                      <a:pt x="455" y="400"/>
                      <a:pt x="455" y="400"/>
                    </a:cubicBezTo>
                    <a:close/>
                    <a:moveTo>
                      <a:pt x="457" y="396"/>
                    </a:moveTo>
                    <a:cubicBezTo>
                      <a:pt x="457" y="397"/>
                      <a:pt x="458" y="397"/>
                      <a:pt x="458" y="397"/>
                    </a:cubicBezTo>
                    <a:cubicBezTo>
                      <a:pt x="457" y="397"/>
                      <a:pt x="457" y="397"/>
                      <a:pt x="456" y="396"/>
                    </a:cubicBezTo>
                    <a:cubicBezTo>
                      <a:pt x="456" y="396"/>
                      <a:pt x="456" y="397"/>
                      <a:pt x="456" y="397"/>
                    </a:cubicBezTo>
                    <a:cubicBezTo>
                      <a:pt x="456" y="397"/>
                      <a:pt x="456" y="396"/>
                      <a:pt x="455" y="396"/>
                    </a:cubicBezTo>
                    <a:cubicBezTo>
                      <a:pt x="454" y="396"/>
                      <a:pt x="456" y="398"/>
                      <a:pt x="456" y="398"/>
                    </a:cubicBezTo>
                    <a:cubicBezTo>
                      <a:pt x="456" y="398"/>
                      <a:pt x="456" y="398"/>
                      <a:pt x="456" y="398"/>
                    </a:cubicBezTo>
                    <a:cubicBezTo>
                      <a:pt x="456" y="399"/>
                      <a:pt x="456" y="399"/>
                      <a:pt x="456" y="399"/>
                    </a:cubicBezTo>
                    <a:cubicBezTo>
                      <a:pt x="457" y="399"/>
                      <a:pt x="457" y="399"/>
                      <a:pt x="457" y="399"/>
                    </a:cubicBezTo>
                    <a:cubicBezTo>
                      <a:pt x="457" y="399"/>
                      <a:pt x="457" y="399"/>
                      <a:pt x="457" y="399"/>
                    </a:cubicBezTo>
                    <a:cubicBezTo>
                      <a:pt x="457" y="399"/>
                      <a:pt x="457" y="399"/>
                      <a:pt x="457" y="400"/>
                    </a:cubicBezTo>
                    <a:cubicBezTo>
                      <a:pt x="457" y="399"/>
                      <a:pt x="458" y="398"/>
                      <a:pt x="457" y="398"/>
                    </a:cubicBezTo>
                    <a:cubicBezTo>
                      <a:pt x="457" y="398"/>
                      <a:pt x="458" y="398"/>
                      <a:pt x="458" y="398"/>
                    </a:cubicBezTo>
                    <a:cubicBezTo>
                      <a:pt x="458" y="398"/>
                      <a:pt x="458" y="399"/>
                      <a:pt x="458" y="398"/>
                    </a:cubicBezTo>
                    <a:cubicBezTo>
                      <a:pt x="458" y="399"/>
                      <a:pt x="457" y="399"/>
                      <a:pt x="458" y="399"/>
                    </a:cubicBezTo>
                    <a:cubicBezTo>
                      <a:pt x="458" y="399"/>
                      <a:pt x="459" y="400"/>
                      <a:pt x="459" y="399"/>
                    </a:cubicBezTo>
                    <a:cubicBezTo>
                      <a:pt x="459" y="399"/>
                      <a:pt x="459" y="399"/>
                      <a:pt x="460" y="399"/>
                    </a:cubicBezTo>
                    <a:cubicBezTo>
                      <a:pt x="460" y="399"/>
                      <a:pt x="460" y="399"/>
                      <a:pt x="460" y="399"/>
                    </a:cubicBezTo>
                    <a:cubicBezTo>
                      <a:pt x="460" y="399"/>
                      <a:pt x="459" y="400"/>
                      <a:pt x="459" y="400"/>
                    </a:cubicBezTo>
                    <a:cubicBezTo>
                      <a:pt x="459" y="400"/>
                      <a:pt x="461" y="401"/>
                      <a:pt x="461" y="400"/>
                    </a:cubicBezTo>
                    <a:cubicBezTo>
                      <a:pt x="461" y="400"/>
                      <a:pt x="461" y="401"/>
                      <a:pt x="462" y="401"/>
                    </a:cubicBezTo>
                    <a:cubicBezTo>
                      <a:pt x="462" y="400"/>
                      <a:pt x="461" y="400"/>
                      <a:pt x="461" y="400"/>
                    </a:cubicBezTo>
                    <a:cubicBezTo>
                      <a:pt x="461" y="400"/>
                      <a:pt x="462" y="400"/>
                      <a:pt x="462" y="400"/>
                    </a:cubicBezTo>
                    <a:cubicBezTo>
                      <a:pt x="462" y="400"/>
                      <a:pt x="462" y="400"/>
                      <a:pt x="462" y="400"/>
                    </a:cubicBezTo>
                    <a:cubicBezTo>
                      <a:pt x="462" y="400"/>
                      <a:pt x="462" y="400"/>
                      <a:pt x="462" y="400"/>
                    </a:cubicBezTo>
                    <a:cubicBezTo>
                      <a:pt x="462" y="399"/>
                      <a:pt x="462" y="399"/>
                      <a:pt x="462" y="399"/>
                    </a:cubicBezTo>
                    <a:cubicBezTo>
                      <a:pt x="462" y="399"/>
                      <a:pt x="461" y="399"/>
                      <a:pt x="461" y="399"/>
                    </a:cubicBezTo>
                    <a:cubicBezTo>
                      <a:pt x="461" y="399"/>
                      <a:pt x="461" y="399"/>
                      <a:pt x="461" y="399"/>
                    </a:cubicBezTo>
                    <a:cubicBezTo>
                      <a:pt x="461" y="399"/>
                      <a:pt x="461" y="398"/>
                      <a:pt x="461" y="398"/>
                    </a:cubicBezTo>
                    <a:cubicBezTo>
                      <a:pt x="460" y="397"/>
                      <a:pt x="460" y="398"/>
                      <a:pt x="460" y="398"/>
                    </a:cubicBezTo>
                    <a:cubicBezTo>
                      <a:pt x="460" y="398"/>
                      <a:pt x="460" y="398"/>
                      <a:pt x="459" y="398"/>
                    </a:cubicBezTo>
                    <a:cubicBezTo>
                      <a:pt x="459" y="398"/>
                      <a:pt x="460" y="399"/>
                      <a:pt x="460" y="399"/>
                    </a:cubicBezTo>
                    <a:cubicBezTo>
                      <a:pt x="458" y="398"/>
                      <a:pt x="459" y="396"/>
                      <a:pt x="457" y="396"/>
                    </a:cubicBezTo>
                    <a:close/>
                    <a:moveTo>
                      <a:pt x="424" y="378"/>
                    </a:moveTo>
                    <a:cubicBezTo>
                      <a:pt x="424" y="378"/>
                      <a:pt x="425" y="378"/>
                      <a:pt x="425" y="378"/>
                    </a:cubicBezTo>
                    <a:cubicBezTo>
                      <a:pt x="425" y="378"/>
                      <a:pt x="424" y="378"/>
                      <a:pt x="424" y="378"/>
                    </a:cubicBezTo>
                    <a:cubicBezTo>
                      <a:pt x="425" y="378"/>
                      <a:pt x="425" y="378"/>
                      <a:pt x="425" y="378"/>
                    </a:cubicBezTo>
                    <a:cubicBezTo>
                      <a:pt x="425" y="378"/>
                      <a:pt x="424" y="378"/>
                      <a:pt x="425" y="379"/>
                    </a:cubicBezTo>
                    <a:cubicBezTo>
                      <a:pt x="425" y="379"/>
                      <a:pt x="425" y="379"/>
                      <a:pt x="425" y="379"/>
                    </a:cubicBezTo>
                    <a:cubicBezTo>
                      <a:pt x="425" y="379"/>
                      <a:pt x="425" y="379"/>
                      <a:pt x="425" y="379"/>
                    </a:cubicBezTo>
                    <a:cubicBezTo>
                      <a:pt x="426" y="380"/>
                      <a:pt x="426" y="380"/>
                      <a:pt x="426" y="380"/>
                    </a:cubicBezTo>
                    <a:cubicBezTo>
                      <a:pt x="426" y="380"/>
                      <a:pt x="427" y="380"/>
                      <a:pt x="427" y="379"/>
                    </a:cubicBezTo>
                    <a:cubicBezTo>
                      <a:pt x="427" y="379"/>
                      <a:pt x="427" y="380"/>
                      <a:pt x="427" y="379"/>
                    </a:cubicBezTo>
                    <a:cubicBezTo>
                      <a:pt x="427" y="379"/>
                      <a:pt x="427" y="379"/>
                      <a:pt x="427" y="379"/>
                    </a:cubicBezTo>
                    <a:cubicBezTo>
                      <a:pt x="427" y="379"/>
                      <a:pt x="426" y="378"/>
                      <a:pt x="426" y="378"/>
                    </a:cubicBezTo>
                    <a:cubicBezTo>
                      <a:pt x="425" y="378"/>
                      <a:pt x="424" y="377"/>
                      <a:pt x="423" y="377"/>
                    </a:cubicBezTo>
                    <a:cubicBezTo>
                      <a:pt x="423" y="377"/>
                      <a:pt x="422" y="377"/>
                      <a:pt x="423" y="378"/>
                    </a:cubicBezTo>
                    <a:cubicBezTo>
                      <a:pt x="423" y="378"/>
                      <a:pt x="423" y="377"/>
                      <a:pt x="423" y="377"/>
                    </a:cubicBezTo>
                    <a:cubicBezTo>
                      <a:pt x="424" y="377"/>
                      <a:pt x="424" y="377"/>
                      <a:pt x="424" y="378"/>
                    </a:cubicBezTo>
                    <a:close/>
                    <a:moveTo>
                      <a:pt x="404" y="354"/>
                    </a:moveTo>
                    <a:cubicBezTo>
                      <a:pt x="404" y="353"/>
                      <a:pt x="403" y="353"/>
                      <a:pt x="403" y="353"/>
                    </a:cubicBezTo>
                    <a:cubicBezTo>
                      <a:pt x="404" y="353"/>
                      <a:pt x="404" y="353"/>
                      <a:pt x="404" y="354"/>
                    </a:cubicBezTo>
                    <a:cubicBezTo>
                      <a:pt x="404" y="353"/>
                      <a:pt x="402" y="351"/>
                      <a:pt x="401" y="351"/>
                    </a:cubicBezTo>
                    <a:cubicBezTo>
                      <a:pt x="401" y="351"/>
                      <a:pt x="401" y="351"/>
                      <a:pt x="401" y="351"/>
                    </a:cubicBezTo>
                    <a:cubicBezTo>
                      <a:pt x="401" y="351"/>
                      <a:pt x="399" y="350"/>
                      <a:pt x="400" y="351"/>
                    </a:cubicBezTo>
                    <a:cubicBezTo>
                      <a:pt x="400" y="351"/>
                      <a:pt x="401" y="352"/>
                      <a:pt x="401" y="352"/>
                    </a:cubicBezTo>
                    <a:cubicBezTo>
                      <a:pt x="401" y="352"/>
                      <a:pt x="400" y="352"/>
                      <a:pt x="400" y="352"/>
                    </a:cubicBezTo>
                    <a:cubicBezTo>
                      <a:pt x="400" y="353"/>
                      <a:pt x="401" y="353"/>
                      <a:pt x="401" y="353"/>
                    </a:cubicBezTo>
                    <a:cubicBezTo>
                      <a:pt x="401" y="353"/>
                      <a:pt x="402" y="352"/>
                      <a:pt x="402" y="352"/>
                    </a:cubicBezTo>
                    <a:cubicBezTo>
                      <a:pt x="402" y="352"/>
                      <a:pt x="403" y="354"/>
                      <a:pt x="404" y="354"/>
                    </a:cubicBezTo>
                    <a:close/>
                    <a:moveTo>
                      <a:pt x="500" y="411"/>
                    </a:moveTo>
                    <a:cubicBezTo>
                      <a:pt x="501" y="411"/>
                      <a:pt x="502" y="410"/>
                      <a:pt x="501" y="410"/>
                    </a:cubicBezTo>
                    <a:cubicBezTo>
                      <a:pt x="499" y="409"/>
                      <a:pt x="499" y="410"/>
                      <a:pt x="500" y="411"/>
                    </a:cubicBezTo>
                    <a:close/>
                    <a:moveTo>
                      <a:pt x="494" y="413"/>
                    </a:moveTo>
                    <a:cubicBezTo>
                      <a:pt x="493" y="413"/>
                      <a:pt x="492" y="413"/>
                      <a:pt x="492" y="412"/>
                    </a:cubicBezTo>
                    <a:cubicBezTo>
                      <a:pt x="492" y="412"/>
                      <a:pt x="492" y="412"/>
                      <a:pt x="492" y="412"/>
                    </a:cubicBezTo>
                    <a:cubicBezTo>
                      <a:pt x="492" y="412"/>
                      <a:pt x="492" y="412"/>
                      <a:pt x="492" y="412"/>
                    </a:cubicBezTo>
                    <a:cubicBezTo>
                      <a:pt x="491" y="412"/>
                      <a:pt x="490" y="411"/>
                      <a:pt x="490" y="411"/>
                    </a:cubicBezTo>
                    <a:cubicBezTo>
                      <a:pt x="490" y="411"/>
                      <a:pt x="489" y="411"/>
                      <a:pt x="489" y="411"/>
                    </a:cubicBezTo>
                    <a:cubicBezTo>
                      <a:pt x="488" y="411"/>
                      <a:pt x="487" y="411"/>
                      <a:pt x="487" y="411"/>
                    </a:cubicBezTo>
                    <a:cubicBezTo>
                      <a:pt x="487" y="411"/>
                      <a:pt x="487" y="411"/>
                      <a:pt x="486" y="410"/>
                    </a:cubicBezTo>
                    <a:cubicBezTo>
                      <a:pt x="486" y="410"/>
                      <a:pt x="486" y="410"/>
                      <a:pt x="486" y="410"/>
                    </a:cubicBezTo>
                    <a:cubicBezTo>
                      <a:pt x="486" y="410"/>
                      <a:pt x="486" y="410"/>
                      <a:pt x="486" y="410"/>
                    </a:cubicBezTo>
                    <a:cubicBezTo>
                      <a:pt x="485" y="410"/>
                      <a:pt x="486" y="410"/>
                      <a:pt x="486" y="410"/>
                    </a:cubicBezTo>
                    <a:cubicBezTo>
                      <a:pt x="487" y="410"/>
                      <a:pt x="487" y="410"/>
                      <a:pt x="488" y="410"/>
                    </a:cubicBezTo>
                    <a:cubicBezTo>
                      <a:pt x="488" y="410"/>
                      <a:pt x="490" y="410"/>
                      <a:pt x="490" y="410"/>
                    </a:cubicBezTo>
                    <a:cubicBezTo>
                      <a:pt x="490" y="410"/>
                      <a:pt x="489" y="410"/>
                      <a:pt x="489" y="410"/>
                    </a:cubicBezTo>
                    <a:cubicBezTo>
                      <a:pt x="489" y="410"/>
                      <a:pt x="489" y="410"/>
                      <a:pt x="489" y="410"/>
                    </a:cubicBezTo>
                    <a:cubicBezTo>
                      <a:pt x="488" y="409"/>
                      <a:pt x="486" y="409"/>
                      <a:pt x="485" y="409"/>
                    </a:cubicBezTo>
                    <a:cubicBezTo>
                      <a:pt x="485" y="409"/>
                      <a:pt x="482" y="408"/>
                      <a:pt x="482" y="408"/>
                    </a:cubicBezTo>
                    <a:cubicBezTo>
                      <a:pt x="482" y="407"/>
                      <a:pt x="484" y="409"/>
                      <a:pt x="485" y="409"/>
                    </a:cubicBezTo>
                    <a:cubicBezTo>
                      <a:pt x="486" y="409"/>
                      <a:pt x="487" y="409"/>
                      <a:pt x="486" y="408"/>
                    </a:cubicBezTo>
                    <a:cubicBezTo>
                      <a:pt x="486" y="408"/>
                      <a:pt x="488" y="409"/>
                      <a:pt x="487" y="408"/>
                    </a:cubicBezTo>
                    <a:cubicBezTo>
                      <a:pt x="488" y="408"/>
                      <a:pt x="488" y="408"/>
                      <a:pt x="487" y="407"/>
                    </a:cubicBezTo>
                    <a:cubicBezTo>
                      <a:pt x="486" y="406"/>
                      <a:pt x="485" y="406"/>
                      <a:pt x="485" y="407"/>
                    </a:cubicBezTo>
                    <a:cubicBezTo>
                      <a:pt x="484" y="407"/>
                      <a:pt x="483" y="407"/>
                      <a:pt x="483" y="407"/>
                    </a:cubicBezTo>
                    <a:cubicBezTo>
                      <a:pt x="482" y="407"/>
                      <a:pt x="482" y="407"/>
                      <a:pt x="482" y="407"/>
                    </a:cubicBezTo>
                    <a:cubicBezTo>
                      <a:pt x="481" y="407"/>
                      <a:pt x="480" y="407"/>
                      <a:pt x="481" y="407"/>
                    </a:cubicBezTo>
                    <a:cubicBezTo>
                      <a:pt x="480" y="407"/>
                      <a:pt x="480" y="407"/>
                      <a:pt x="479" y="407"/>
                    </a:cubicBezTo>
                    <a:cubicBezTo>
                      <a:pt x="479" y="407"/>
                      <a:pt x="480" y="408"/>
                      <a:pt x="480" y="408"/>
                    </a:cubicBezTo>
                    <a:cubicBezTo>
                      <a:pt x="479" y="408"/>
                      <a:pt x="479" y="407"/>
                      <a:pt x="478" y="407"/>
                    </a:cubicBezTo>
                    <a:cubicBezTo>
                      <a:pt x="478" y="408"/>
                      <a:pt x="479" y="409"/>
                      <a:pt x="478" y="409"/>
                    </a:cubicBezTo>
                    <a:cubicBezTo>
                      <a:pt x="478" y="408"/>
                      <a:pt x="478" y="408"/>
                      <a:pt x="477" y="408"/>
                    </a:cubicBezTo>
                    <a:cubicBezTo>
                      <a:pt x="476" y="408"/>
                      <a:pt x="475" y="408"/>
                      <a:pt x="475" y="409"/>
                    </a:cubicBezTo>
                    <a:cubicBezTo>
                      <a:pt x="475" y="408"/>
                      <a:pt x="475" y="409"/>
                      <a:pt x="475" y="409"/>
                    </a:cubicBezTo>
                    <a:cubicBezTo>
                      <a:pt x="475" y="409"/>
                      <a:pt x="476" y="409"/>
                      <a:pt x="476" y="409"/>
                    </a:cubicBezTo>
                    <a:cubicBezTo>
                      <a:pt x="476" y="409"/>
                      <a:pt x="476" y="409"/>
                      <a:pt x="476" y="409"/>
                    </a:cubicBezTo>
                    <a:cubicBezTo>
                      <a:pt x="476" y="409"/>
                      <a:pt x="476" y="409"/>
                      <a:pt x="476" y="409"/>
                    </a:cubicBezTo>
                    <a:cubicBezTo>
                      <a:pt x="476" y="409"/>
                      <a:pt x="476" y="409"/>
                      <a:pt x="476" y="410"/>
                    </a:cubicBezTo>
                    <a:cubicBezTo>
                      <a:pt x="477" y="410"/>
                      <a:pt x="477" y="410"/>
                      <a:pt x="478" y="410"/>
                    </a:cubicBezTo>
                    <a:cubicBezTo>
                      <a:pt x="478" y="409"/>
                      <a:pt x="479" y="409"/>
                      <a:pt x="479" y="409"/>
                    </a:cubicBezTo>
                    <a:cubicBezTo>
                      <a:pt x="479" y="409"/>
                      <a:pt x="478" y="410"/>
                      <a:pt x="478" y="410"/>
                    </a:cubicBezTo>
                    <a:cubicBezTo>
                      <a:pt x="478" y="410"/>
                      <a:pt x="479" y="410"/>
                      <a:pt x="479" y="410"/>
                    </a:cubicBezTo>
                    <a:cubicBezTo>
                      <a:pt x="478" y="410"/>
                      <a:pt x="478" y="410"/>
                      <a:pt x="477" y="410"/>
                    </a:cubicBezTo>
                    <a:cubicBezTo>
                      <a:pt x="478" y="410"/>
                      <a:pt x="478" y="410"/>
                      <a:pt x="479" y="411"/>
                    </a:cubicBezTo>
                    <a:cubicBezTo>
                      <a:pt x="479" y="411"/>
                      <a:pt x="479" y="411"/>
                      <a:pt x="479" y="411"/>
                    </a:cubicBezTo>
                    <a:cubicBezTo>
                      <a:pt x="480" y="411"/>
                      <a:pt x="480" y="410"/>
                      <a:pt x="480" y="411"/>
                    </a:cubicBezTo>
                    <a:cubicBezTo>
                      <a:pt x="480" y="411"/>
                      <a:pt x="480" y="411"/>
                      <a:pt x="481" y="411"/>
                    </a:cubicBezTo>
                    <a:cubicBezTo>
                      <a:pt x="481" y="411"/>
                      <a:pt x="480" y="411"/>
                      <a:pt x="480" y="411"/>
                    </a:cubicBezTo>
                    <a:cubicBezTo>
                      <a:pt x="480" y="412"/>
                      <a:pt x="481" y="411"/>
                      <a:pt x="481" y="412"/>
                    </a:cubicBezTo>
                    <a:cubicBezTo>
                      <a:pt x="481" y="412"/>
                      <a:pt x="481" y="413"/>
                      <a:pt x="481" y="412"/>
                    </a:cubicBezTo>
                    <a:cubicBezTo>
                      <a:pt x="482" y="412"/>
                      <a:pt x="481" y="412"/>
                      <a:pt x="481" y="411"/>
                    </a:cubicBezTo>
                    <a:cubicBezTo>
                      <a:pt x="482" y="411"/>
                      <a:pt x="482" y="412"/>
                      <a:pt x="482" y="412"/>
                    </a:cubicBezTo>
                    <a:cubicBezTo>
                      <a:pt x="482" y="412"/>
                      <a:pt x="482" y="412"/>
                      <a:pt x="483" y="412"/>
                    </a:cubicBezTo>
                    <a:cubicBezTo>
                      <a:pt x="483" y="412"/>
                      <a:pt x="484" y="413"/>
                      <a:pt x="483" y="412"/>
                    </a:cubicBezTo>
                    <a:cubicBezTo>
                      <a:pt x="483" y="412"/>
                      <a:pt x="482" y="412"/>
                      <a:pt x="482" y="411"/>
                    </a:cubicBezTo>
                    <a:cubicBezTo>
                      <a:pt x="482" y="411"/>
                      <a:pt x="481" y="411"/>
                      <a:pt x="482" y="411"/>
                    </a:cubicBezTo>
                    <a:cubicBezTo>
                      <a:pt x="481" y="410"/>
                      <a:pt x="480" y="410"/>
                      <a:pt x="480" y="410"/>
                    </a:cubicBezTo>
                    <a:cubicBezTo>
                      <a:pt x="480" y="410"/>
                      <a:pt x="480" y="410"/>
                      <a:pt x="480" y="410"/>
                    </a:cubicBezTo>
                    <a:cubicBezTo>
                      <a:pt x="480" y="410"/>
                      <a:pt x="480" y="410"/>
                      <a:pt x="481" y="410"/>
                    </a:cubicBezTo>
                    <a:cubicBezTo>
                      <a:pt x="481" y="410"/>
                      <a:pt x="481" y="409"/>
                      <a:pt x="481" y="410"/>
                    </a:cubicBezTo>
                    <a:cubicBezTo>
                      <a:pt x="481" y="409"/>
                      <a:pt x="480" y="409"/>
                      <a:pt x="480" y="409"/>
                    </a:cubicBezTo>
                    <a:cubicBezTo>
                      <a:pt x="481" y="408"/>
                      <a:pt x="481" y="410"/>
                      <a:pt x="482" y="410"/>
                    </a:cubicBezTo>
                    <a:cubicBezTo>
                      <a:pt x="482" y="410"/>
                      <a:pt x="482" y="409"/>
                      <a:pt x="482" y="409"/>
                    </a:cubicBezTo>
                    <a:cubicBezTo>
                      <a:pt x="482" y="409"/>
                      <a:pt x="483" y="410"/>
                      <a:pt x="483" y="410"/>
                    </a:cubicBezTo>
                    <a:cubicBezTo>
                      <a:pt x="483" y="410"/>
                      <a:pt x="483" y="410"/>
                      <a:pt x="483" y="410"/>
                    </a:cubicBezTo>
                    <a:cubicBezTo>
                      <a:pt x="484" y="410"/>
                      <a:pt x="483" y="410"/>
                      <a:pt x="484" y="410"/>
                    </a:cubicBezTo>
                    <a:cubicBezTo>
                      <a:pt x="484" y="410"/>
                      <a:pt x="484" y="409"/>
                      <a:pt x="485" y="409"/>
                    </a:cubicBezTo>
                    <a:cubicBezTo>
                      <a:pt x="484" y="409"/>
                      <a:pt x="485" y="411"/>
                      <a:pt x="484" y="411"/>
                    </a:cubicBezTo>
                    <a:cubicBezTo>
                      <a:pt x="485" y="411"/>
                      <a:pt x="485" y="411"/>
                      <a:pt x="486" y="411"/>
                    </a:cubicBezTo>
                    <a:cubicBezTo>
                      <a:pt x="486" y="411"/>
                      <a:pt x="486" y="411"/>
                      <a:pt x="486" y="411"/>
                    </a:cubicBezTo>
                    <a:cubicBezTo>
                      <a:pt x="486" y="411"/>
                      <a:pt x="485" y="411"/>
                      <a:pt x="485" y="411"/>
                    </a:cubicBezTo>
                    <a:cubicBezTo>
                      <a:pt x="485" y="412"/>
                      <a:pt x="486" y="413"/>
                      <a:pt x="487" y="412"/>
                    </a:cubicBezTo>
                    <a:cubicBezTo>
                      <a:pt x="486" y="412"/>
                      <a:pt x="486" y="412"/>
                      <a:pt x="486" y="412"/>
                    </a:cubicBezTo>
                    <a:cubicBezTo>
                      <a:pt x="487" y="412"/>
                      <a:pt x="486" y="412"/>
                      <a:pt x="486" y="412"/>
                    </a:cubicBezTo>
                    <a:cubicBezTo>
                      <a:pt x="486" y="412"/>
                      <a:pt x="486" y="412"/>
                      <a:pt x="487" y="412"/>
                    </a:cubicBezTo>
                    <a:cubicBezTo>
                      <a:pt x="487" y="412"/>
                      <a:pt x="487" y="412"/>
                      <a:pt x="488" y="412"/>
                    </a:cubicBezTo>
                    <a:cubicBezTo>
                      <a:pt x="488" y="412"/>
                      <a:pt x="488" y="412"/>
                      <a:pt x="487" y="411"/>
                    </a:cubicBezTo>
                    <a:cubicBezTo>
                      <a:pt x="488" y="412"/>
                      <a:pt x="488" y="412"/>
                      <a:pt x="488" y="412"/>
                    </a:cubicBezTo>
                    <a:cubicBezTo>
                      <a:pt x="489" y="412"/>
                      <a:pt x="489" y="412"/>
                      <a:pt x="489" y="412"/>
                    </a:cubicBezTo>
                    <a:cubicBezTo>
                      <a:pt x="490" y="412"/>
                      <a:pt x="490" y="412"/>
                      <a:pt x="490" y="412"/>
                    </a:cubicBezTo>
                    <a:cubicBezTo>
                      <a:pt x="490" y="412"/>
                      <a:pt x="491" y="412"/>
                      <a:pt x="491" y="413"/>
                    </a:cubicBezTo>
                    <a:cubicBezTo>
                      <a:pt x="491" y="413"/>
                      <a:pt x="491" y="413"/>
                      <a:pt x="491" y="413"/>
                    </a:cubicBezTo>
                    <a:cubicBezTo>
                      <a:pt x="492" y="414"/>
                      <a:pt x="492" y="413"/>
                      <a:pt x="492" y="413"/>
                    </a:cubicBezTo>
                    <a:cubicBezTo>
                      <a:pt x="492" y="414"/>
                      <a:pt x="493" y="414"/>
                      <a:pt x="493" y="415"/>
                    </a:cubicBezTo>
                    <a:cubicBezTo>
                      <a:pt x="494" y="415"/>
                      <a:pt x="494" y="414"/>
                      <a:pt x="494" y="414"/>
                    </a:cubicBezTo>
                    <a:cubicBezTo>
                      <a:pt x="493" y="414"/>
                      <a:pt x="494" y="414"/>
                      <a:pt x="494" y="413"/>
                    </a:cubicBezTo>
                    <a:close/>
                    <a:moveTo>
                      <a:pt x="475" y="408"/>
                    </a:moveTo>
                    <a:cubicBezTo>
                      <a:pt x="475" y="408"/>
                      <a:pt x="476" y="407"/>
                      <a:pt x="476" y="407"/>
                    </a:cubicBezTo>
                    <a:cubicBezTo>
                      <a:pt x="476" y="407"/>
                      <a:pt x="477" y="407"/>
                      <a:pt x="477" y="407"/>
                    </a:cubicBezTo>
                    <a:cubicBezTo>
                      <a:pt x="477" y="407"/>
                      <a:pt x="478" y="407"/>
                      <a:pt x="478" y="407"/>
                    </a:cubicBezTo>
                    <a:cubicBezTo>
                      <a:pt x="478" y="407"/>
                      <a:pt x="480" y="407"/>
                      <a:pt x="479" y="407"/>
                    </a:cubicBezTo>
                    <a:cubicBezTo>
                      <a:pt x="479" y="407"/>
                      <a:pt x="480" y="407"/>
                      <a:pt x="480" y="407"/>
                    </a:cubicBezTo>
                    <a:cubicBezTo>
                      <a:pt x="480" y="406"/>
                      <a:pt x="479" y="406"/>
                      <a:pt x="479" y="406"/>
                    </a:cubicBezTo>
                    <a:cubicBezTo>
                      <a:pt x="478" y="406"/>
                      <a:pt x="478" y="406"/>
                      <a:pt x="478" y="406"/>
                    </a:cubicBezTo>
                    <a:cubicBezTo>
                      <a:pt x="478" y="406"/>
                      <a:pt x="478" y="407"/>
                      <a:pt x="478" y="407"/>
                    </a:cubicBezTo>
                    <a:cubicBezTo>
                      <a:pt x="477" y="407"/>
                      <a:pt x="478" y="406"/>
                      <a:pt x="477" y="406"/>
                    </a:cubicBezTo>
                    <a:cubicBezTo>
                      <a:pt x="477" y="406"/>
                      <a:pt x="477" y="406"/>
                      <a:pt x="476" y="406"/>
                    </a:cubicBezTo>
                    <a:cubicBezTo>
                      <a:pt x="476" y="406"/>
                      <a:pt x="475" y="406"/>
                      <a:pt x="475" y="406"/>
                    </a:cubicBezTo>
                    <a:cubicBezTo>
                      <a:pt x="475" y="406"/>
                      <a:pt x="476" y="406"/>
                      <a:pt x="476" y="406"/>
                    </a:cubicBezTo>
                    <a:cubicBezTo>
                      <a:pt x="476" y="406"/>
                      <a:pt x="476" y="406"/>
                      <a:pt x="476" y="407"/>
                    </a:cubicBezTo>
                    <a:cubicBezTo>
                      <a:pt x="475" y="407"/>
                      <a:pt x="475" y="406"/>
                      <a:pt x="474" y="406"/>
                    </a:cubicBezTo>
                    <a:cubicBezTo>
                      <a:pt x="474" y="406"/>
                      <a:pt x="475" y="407"/>
                      <a:pt x="475" y="407"/>
                    </a:cubicBezTo>
                    <a:cubicBezTo>
                      <a:pt x="475" y="407"/>
                      <a:pt x="474" y="407"/>
                      <a:pt x="474" y="407"/>
                    </a:cubicBezTo>
                    <a:cubicBezTo>
                      <a:pt x="475" y="407"/>
                      <a:pt x="475" y="407"/>
                      <a:pt x="475" y="408"/>
                    </a:cubicBezTo>
                    <a:close/>
                    <a:moveTo>
                      <a:pt x="472" y="408"/>
                    </a:moveTo>
                    <a:cubicBezTo>
                      <a:pt x="472" y="407"/>
                      <a:pt x="471" y="408"/>
                      <a:pt x="471" y="408"/>
                    </a:cubicBezTo>
                    <a:cubicBezTo>
                      <a:pt x="470" y="408"/>
                      <a:pt x="470" y="407"/>
                      <a:pt x="470" y="407"/>
                    </a:cubicBezTo>
                    <a:cubicBezTo>
                      <a:pt x="470" y="407"/>
                      <a:pt x="470" y="407"/>
                      <a:pt x="470" y="408"/>
                    </a:cubicBezTo>
                    <a:cubicBezTo>
                      <a:pt x="469" y="408"/>
                      <a:pt x="468" y="407"/>
                      <a:pt x="468" y="407"/>
                    </a:cubicBezTo>
                    <a:cubicBezTo>
                      <a:pt x="468" y="407"/>
                      <a:pt x="470" y="408"/>
                      <a:pt x="470" y="407"/>
                    </a:cubicBezTo>
                    <a:cubicBezTo>
                      <a:pt x="470" y="406"/>
                      <a:pt x="471" y="406"/>
                      <a:pt x="471" y="406"/>
                    </a:cubicBezTo>
                    <a:cubicBezTo>
                      <a:pt x="471" y="406"/>
                      <a:pt x="468" y="407"/>
                      <a:pt x="469" y="407"/>
                    </a:cubicBezTo>
                    <a:cubicBezTo>
                      <a:pt x="469" y="407"/>
                      <a:pt x="468" y="407"/>
                      <a:pt x="467" y="407"/>
                    </a:cubicBezTo>
                    <a:cubicBezTo>
                      <a:pt x="467" y="407"/>
                      <a:pt x="467" y="407"/>
                      <a:pt x="467" y="407"/>
                    </a:cubicBezTo>
                    <a:cubicBezTo>
                      <a:pt x="467" y="407"/>
                      <a:pt x="466" y="406"/>
                      <a:pt x="466" y="407"/>
                    </a:cubicBezTo>
                    <a:cubicBezTo>
                      <a:pt x="466" y="407"/>
                      <a:pt x="466" y="407"/>
                      <a:pt x="467" y="407"/>
                    </a:cubicBezTo>
                    <a:cubicBezTo>
                      <a:pt x="465" y="407"/>
                      <a:pt x="466" y="408"/>
                      <a:pt x="467" y="408"/>
                    </a:cubicBezTo>
                    <a:cubicBezTo>
                      <a:pt x="467" y="408"/>
                      <a:pt x="468" y="408"/>
                      <a:pt x="468" y="408"/>
                    </a:cubicBezTo>
                    <a:cubicBezTo>
                      <a:pt x="468" y="407"/>
                      <a:pt x="469" y="408"/>
                      <a:pt x="469" y="408"/>
                    </a:cubicBezTo>
                    <a:cubicBezTo>
                      <a:pt x="469" y="408"/>
                      <a:pt x="470" y="408"/>
                      <a:pt x="469" y="408"/>
                    </a:cubicBezTo>
                    <a:cubicBezTo>
                      <a:pt x="470" y="408"/>
                      <a:pt x="470" y="408"/>
                      <a:pt x="470" y="408"/>
                    </a:cubicBezTo>
                    <a:cubicBezTo>
                      <a:pt x="470" y="408"/>
                      <a:pt x="470" y="410"/>
                      <a:pt x="471" y="409"/>
                    </a:cubicBezTo>
                    <a:cubicBezTo>
                      <a:pt x="471" y="409"/>
                      <a:pt x="471" y="409"/>
                      <a:pt x="470" y="409"/>
                    </a:cubicBezTo>
                    <a:cubicBezTo>
                      <a:pt x="471" y="409"/>
                      <a:pt x="471" y="409"/>
                      <a:pt x="471" y="409"/>
                    </a:cubicBezTo>
                    <a:cubicBezTo>
                      <a:pt x="471" y="409"/>
                      <a:pt x="472" y="409"/>
                      <a:pt x="472" y="409"/>
                    </a:cubicBezTo>
                    <a:cubicBezTo>
                      <a:pt x="472" y="409"/>
                      <a:pt x="471" y="409"/>
                      <a:pt x="471" y="408"/>
                    </a:cubicBezTo>
                    <a:cubicBezTo>
                      <a:pt x="471" y="408"/>
                      <a:pt x="472" y="409"/>
                      <a:pt x="471" y="408"/>
                    </a:cubicBezTo>
                    <a:cubicBezTo>
                      <a:pt x="471" y="408"/>
                      <a:pt x="472" y="409"/>
                      <a:pt x="472" y="409"/>
                    </a:cubicBezTo>
                    <a:cubicBezTo>
                      <a:pt x="473" y="408"/>
                      <a:pt x="472" y="408"/>
                      <a:pt x="472" y="408"/>
                    </a:cubicBezTo>
                    <a:cubicBezTo>
                      <a:pt x="472" y="408"/>
                      <a:pt x="472" y="408"/>
                      <a:pt x="472" y="408"/>
                    </a:cubicBezTo>
                    <a:close/>
                    <a:moveTo>
                      <a:pt x="36" y="98"/>
                    </a:moveTo>
                    <a:cubicBezTo>
                      <a:pt x="36" y="98"/>
                      <a:pt x="36" y="98"/>
                      <a:pt x="36" y="98"/>
                    </a:cubicBezTo>
                    <a:cubicBezTo>
                      <a:pt x="36" y="98"/>
                      <a:pt x="35" y="98"/>
                      <a:pt x="36" y="98"/>
                    </a:cubicBezTo>
                    <a:close/>
                    <a:moveTo>
                      <a:pt x="497" y="410"/>
                    </a:moveTo>
                    <a:cubicBezTo>
                      <a:pt x="497" y="410"/>
                      <a:pt x="498" y="410"/>
                      <a:pt x="498" y="410"/>
                    </a:cubicBezTo>
                    <a:cubicBezTo>
                      <a:pt x="499" y="409"/>
                      <a:pt x="498" y="408"/>
                      <a:pt x="497" y="407"/>
                    </a:cubicBezTo>
                    <a:cubicBezTo>
                      <a:pt x="496" y="406"/>
                      <a:pt x="494" y="406"/>
                      <a:pt x="493" y="406"/>
                    </a:cubicBezTo>
                    <a:cubicBezTo>
                      <a:pt x="493" y="406"/>
                      <a:pt x="492" y="407"/>
                      <a:pt x="492" y="406"/>
                    </a:cubicBezTo>
                    <a:cubicBezTo>
                      <a:pt x="492" y="406"/>
                      <a:pt x="491" y="406"/>
                      <a:pt x="491" y="406"/>
                    </a:cubicBezTo>
                    <a:cubicBezTo>
                      <a:pt x="490" y="406"/>
                      <a:pt x="489" y="406"/>
                      <a:pt x="489" y="406"/>
                    </a:cubicBezTo>
                    <a:cubicBezTo>
                      <a:pt x="488" y="406"/>
                      <a:pt x="487" y="406"/>
                      <a:pt x="487" y="407"/>
                    </a:cubicBezTo>
                    <a:cubicBezTo>
                      <a:pt x="487" y="407"/>
                      <a:pt x="488" y="407"/>
                      <a:pt x="489" y="407"/>
                    </a:cubicBezTo>
                    <a:cubicBezTo>
                      <a:pt x="489" y="407"/>
                      <a:pt x="489" y="408"/>
                      <a:pt x="489" y="408"/>
                    </a:cubicBezTo>
                    <a:cubicBezTo>
                      <a:pt x="489" y="409"/>
                      <a:pt x="490" y="409"/>
                      <a:pt x="490" y="409"/>
                    </a:cubicBezTo>
                    <a:cubicBezTo>
                      <a:pt x="490" y="409"/>
                      <a:pt x="490" y="409"/>
                      <a:pt x="491" y="410"/>
                    </a:cubicBezTo>
                    <a:cubicBezTo>
                      <a:pt x="491" y="410"/>
                      <a:pt x="491" y="410"/>
                      <a:pt x="492" y="409"/>
                    </a:cubicBezTo>
                    <a:cubicBezTo>
                      <a:pt x="492" y="409"/>
                      <a:pt x="493" y="409"/>
                      <a:pt x="494" y="410"/>
                    </a:cubicBezTo>
                    <a:cubicBezTo>
                      <a:pt x="493" y="410"/>
                      <a:pt x="493" y="409"/>
                      <a:pt x="493" y="410"/>
                    </a:cubicBezTo>
                    <a:cubicBezTo>
                      <a:pt x="493" y="410"/>
                      <a:pt x="494" y="410"/>
                      <a:pt x="494" y="410"/>
                    </a:cubicBezTo>
                    <a:cubicBezTo>
                      <a:pt x="495" y="410"/>
                      <a:pt x="494" y="409"/>
                      <a:pt x="495" y="409"/>
                    </a:cubicBezTo>
                    <a:cubicBezTo>
                      <a:pt x="495" y="409"/>
                      <a:pt x="496" y="409"/>
                      <a:pt x="496" y="409"/>
                    </a:cubicBezTo>
                    <a:cubicBezTo>
                      <a:pt x="496" y="410"/>
                      <a:pt x="496" y="410"/>
                      <a:pt x="497" y="410"/>
                    </a:cubicBezTo>
                    <a:close/>
                    <a:moveTo>
                      <a:pt x="387" y="293"/>
                    </a:moveTo>
                    <a:cubicBezTo>
                      <a:pt x="388" y="293"/>
                      <a:pt x="388" y="294"/>
                      <a:pt x="389" y="294"/>
                    </a:cubicBezTo>
                    <a:cubicBezTo>
                      <a:pt x="389" y="293"/>
                      <a:pt x="388" y="293"/>
                      <a:pt x="388" y="293"/>
                    </a:cubicBezTo>
                    <a:cubicBezTo>
                      <a:pt x="389" y="293"/>
                      <a:pt x="389" y="293"/>
                      <a:pt x="389" y="293"/>
                    </a:cubicBezTo>
                    <a:cubicBezTo>
                      <a:pt x="389" y="293"/>
                      <a:pt x="387" y="292"/>
                      <a:pt x="387" y="292"/>
                    </a:cubicBezTo>
                    <a:cubicBezTo>
                      <a:pt x="387" y="292"/>
                      <a:pt x="388" y="292"/>
                      <a:pt x="388" y="292"/>
                    </a:cubicBezTo>
                    <a:cubicBezTo>
                      <a:pt x="387" y="292"/>
                      <a:pt x="387" y="292"/>
                      <a:pt x="387" y="293"/>
                    </a:cubicBezTo>
                    <a:close/>
                    <a:moveTo>
                      <a:pt x="456" y="404"/>
                    </a:moveTo>
                    <a:cubicBezTo>
                      <a:pt x="456" y="404"/>
                      <a:pt x="456" y="403"/>
                      <a:pt x="455" y="403"/>
                    </a:cubicBezTo>
                    <a:cubicBezTo>
                      <a:pt x="455" y="403"/>
                      <a:pt x="455" y="404"/>
                      <a:pt x="455" y="404"/>
                    </a:cubicBezTo>
                    <a:cubicBezTo>
                      <a:pt x="455" y="404"/>
                      <a:pt x="455" y="404"/>
                      <a:pt x="455" y="404"/>
                    </a:cubicBezTo>
                    <a:cubicBezTo>
                      <a:pt x="456" y="404"/>
                      <a:pt x="456" y="404"/>
                      <a:pt x="456" y="404"/>
                    </a:cubicBezTo>
                    <a:cubicBezTo>
                      <a:pt x="456" y="404"/>
                      <a:pt x="456" y="404"/>
                      <a:pt x="457" y="405"/>
                    </a:cubicBezTo>
                    <a:cubicBezTo>
                      <a:pt x="457" y="405"/>
                      <a:pt x="456" y="404"/>
                      <a:pt x="456" y="404"/>
                    </a:cubicBezTo>
                    <a:close/>
                    <a:moveTo>
                      <a:pt x="395" y="309"/>
                    </a:moveTo>
                    <a:cubicBezTo>
                      <a:pt x="396" y="308"/>
                      <a:pt x="394" y="306"/>
                      <a:pt x="394" y="307"/>
                    </a:cubicBezTo>
                    <a:cubicBezTo>
                      <a:pt x="393" y="308"/>
                      <a:pt x="395" y="309"/>
                      <a:pt x="395" y="309"/>
                    </a:cubicBezTo>
                    <a:close/>
                    <a:moveTo>
                      <a:pt x="398" y="336"/>
                    </a:moveTo>
                    <a:cubicBezTo>
                      <a:pt x="399" y="335"/>
                      <a:pt x="397" y="334"/>
                      <a:pt x="396" y="334"/>
                    </a:cubicBezTo>
                    <a:cubicBezTo>
                      <a:pt x="396" y="334"/>
                      <a:pt x="396" y="334"/>
                      <a:pt x="397" y="334"/>
                    </a:cubicBezTo>
                    <a:cubicBezTo>
                      <a:pt x="396" y="334"/>
                      <a:pt x="394" y="334"/>
                      <a:pt x="395" y="335"/>
                    </a:cubicBezTo>
                    <a:cubicBezTo>
                      <a:pt x="396" y="335"/>
                      <a:pt x="396" y="336"/>
                      <a:pt x="397" y="336"/>
                    </a:cubicBezTo>
                    <a:cubicBezTo>
                      <a:pt x="397" y="336"/>
                      <a:pt x="397" y="337"/>
                      <a:pt x="397" y="337"/>
                    </a:cubicBezTo>
                    <a:cubicBezTo>
                      <a:pt x="397" y="337"/>
                      <a:pt x="398" y="337"/>
                      <a:pt x="398" y="338"/>
                    </a:cubicBezTo>
                    <a:cubicBezTo>
                      <a:pt x="398" y="338"/>
                      <a:pt x="399" y="338"/>
                      <a:pt x="399" y="338"/>
                    </a:cubicBezTo>
                    <a:cubicBezTo>
                      <a:pt x="399" y="337"/>
                      <a:pt x="400" y="337"/>
                      <a:pt x="399" y="337"/>
                    </a:cubicBezTo>
                    <a:cubicBezTo>
                      <a:pt x="399" y="336"/>
                      <a:pt x="399" y="336"/>
                      <a:pt x="399" y="335"/>
                    </a:cubicBezTo>
                    <a:cubicBezTo>
                      <a:pt x="399" y="335"/>
                      <a:pt x="399" y="336"/>
                      <a:pt x="398" y="336"/>
                    </a:cubicBezTo>
                    <a:close/>
                    <a:moveTo>
                      <a:pt x="398" y="307"/>
                    </a:moveTo>
                    <a:cubicBezTo>
                      <a:pt x="397" y="306"/>
                      <a:pt x="397" y="306"/>
                      <a:pt x="397" y="306"/>
                    </a:cubicBezTo>
                    <a:cubicBezTo>
                      <a:pt x="396" y="306"/>
                      <a:pt x="396" y="306"/>
                      <a:pt x="396" y="307"/>
                    </a:cubicBezTo>
                    <a:cubicBezTo>
                      <a:pt x="396" y="307"/>
                      <a:pt x="396" y="307"/>
                      <a:pt x="396" y="307"/>
                    </a:cubicBezTo>
                    <a:cubicBezTo>
                      <a:pt x="397" y="308"/>
                      <a:pt x="396" y="308"/>
                      <a:pt x="397" y="308"/>
                    </a:cubicBezTo>
                    <a:cubicBezTo>
                      <a:pt x="397" y="309"/>
                      <a:pt x="398" y="309"/>
                      <a:pt x="398" y="309"/>
                    </a:cubicBezTo>
                    <a:cubicBezTo>
                      <a:pt x="398" y="309"/>
                      <a:pt x="397" y="308"/>
                      <a:pt x="397" y="308"/>
                    </a:cubicBezTo>
                    <a:cubicBezTo>
                      <a:pt x="398" y="308"/>
                      <a:pt x="398" y="307"/>
                      <a:pt x="398" y="307"/>
                    </a:cubicBezTo>
                    <a:close/>
                    <a:moveTo>
                      <a:pt x="421" y="374"/>
                    </a:moveTo>
                    <a:cubicBezTo>
                      <a:pt x="421" y="373"/>
                      <a:pt x="420" y="373"/>
                      <a:pt x="419" y="373"/>
                    </a:cubicBezTo>
                    <a:cubicBezTo>
                      <a:pt x="420" y="373"/>
                      <a:pt x="420" y="373"/>
                      <a:pt x="420" y="374"/>
                    </a:cubicBezTo>
                    <a:cubicBezTo>
                      <a:pt x="421" y="374"/>
                      <a:pt x="421" y="374"/>
                      <a:pt x="421" y="374"/>
                    </a:cubicBezTo>
                    <a:cubicBezTo>
                      <a:pt x="422" y="375"/>
                      <a:pt x="423" y="375"/>
                      <a:pt x="423" y="375"/>
                    </a:cubicBezTo>
                    <a:cubicBezTo>
                      <a:pt x="424" y="375"/>
                      <a:pt x="424" y="375"/>
                      <a:pt x="424" y="375"/>
                    </a:cubicBezTo>
                    <a:cubicBezTo>
                      <a:pt x="423" y="374"/>
                      <a:pt x="423" y="375"/>
                      <a:pt x="423" y="374"/>
                    </a:cubicBezTo>
                    <a:cubicBezTo>
                      <a:pt x="423" y="375"/>
                      <a:pt x="423" y="374"/>
                      <a:pt x="423" y="374"/>
                    </a:cubicBezTo>
                    <a:cubicBezTo>
                      <a:pt x="423" y="374"/>
                      <a:pt x="421" y="374"/>
                      <a:pt x="421" y="374"/>
                    </a:cubicBezTo>
                    <a:close/>
                    <a:moveTo>
                      <a:pt x="499" y="415"/>
                    </a:moveTo>
                    <a:cubicBezTo>
                      <a:pt x="499" y="415"/>
                      <a:pt x="499" y="413"/>
                      <a:pt x="498" y="413"/>
                    </a:cubicBezTo>
                    <a:cubicBezTo>
                      <a:pt x="498" y="414"/>
                      <a:pt x="499" y="414"/>
                      <a:pt x="499" y="414"/>
                    </a:cubicBezTo>
                    <a:cubicBezTo>
                      <a:pt x="498" y="414"/>
                      <a:pt x="498" y="414"/>
                      <a:pt x="498" y="414"/>
                    </a:cubicBezTo>
                    <a:cubicBezTo>
                      <a:pt x="497" y="414"/>
                      <a:pt x="497" y="415"/>
                      <a:pt x="498" y="415"/>
                    </a:cubicBezTo>
                    <a:cubicBezTo>
                      <a:pt x="498" y="415"/>
                      <a:pt x="499" y="415"/>
                      <a:pt x="500" y="415"/>
                    </a:cubicBezTo>
                    <a:cubicBezTo>
                      <a:pt x="500" y="416"/>
                      <a:pt x="500" y="415"/>
                      <a:pt x="500" y="415"/>
                    </a:cubicBezTo>
                    <a:cubicBezTo>
                      <a:pt x="500" y="415"/>
                      <a:pt x="500" y="415"/>
                      <a:pt x="499" y="415"/>
                    </a:cubicBezTo>
                    <a:close/>
                    <a:moveTo>
                      <a:pt x="388" y="299"/>
                    </a:moveTo>
                    <a:cubicBezTo>
                      <a:pt x="389" y="299"/>
                      <a:pt x="388" y="299"/>
                      <a:pt x="387" y="299"/>
                    </a:cubicBezTo>
                    <a:cubicBezTo>
                      <a:pt x="387" y="299"/>
                      <a:pt x="387" y="298"/>
                      <a:pt x="386" y="298"/>
                    </a:cubicBezTo>
                    <a:cubicBezTo>
                      <a:pt x="386" y="298"/>
                      <a:pt x="386" y="299"/>
                      <a:pt x="386" y="299"/>
                    </a:cubicBezTo>
                    <a:cubicBezTo>
                      <a:pt x="387" y="299"/>
                      <a:pt x="387" y="299"/>
                      <a:pt x="388" y="299"/>
                    </a:cubicBezTo>
                    <a:close/>
                    <a:moveTo>
                      <a:pt x="415" y="373"/>
                    </a:moveTo>
                    <a:cubicBezTo>
                      <a:pt x="414" y="373"/>
                      <a:pt x="415" y="375"/>
                      <a:pt x="415" y="375"/>
                    </a:cubicBezTo>
                    <a:cubicBezTo>
                      <a:pt x="416" y="375"/>
                      <a:pt x="416" y="373"/>
                      <a:pt x="415" y="373"/>
                    </a:cubicBezTo>
                    <a:close/>
                    <a:moveTo>
                      <a:pt x="501" y="416"/>
                    </a:moveTo>
                    <a:cubicBezTo>
                      <a:pt x="502" y="416"/>
                      <a:pt x="502" y="417"/>
                      <a:pt x="502" y="417"/>
                    </a:cubicBezTo>
                    <a:cubicBezTo>
                      <a:pt x="503" y="417"/>
                      <a:pt x="502" y="416"/>
                      <a:pt x="502" y="416"/>
                    </a:cubicBezTo>
                    <a:cubicBezTo>
                      <a:pt x="502" y="415"/>
                      <a:pt x="501" y="416"/>
                      <a:pt x="501" y="416"/>
                    </a:cubicBezTo>
                    <a:close/>
                    <a:moveTo>
                      <a:pt x="451" y="400"/>
                    </a:moveTo>
                    <a:cubicBezTo>
                      <a:pt x="451" y="401"/>
                      <a:pt x="450" y="400"/>
                      <a:pt x="450" y="400"/>
                    </a:cubicBezTo>
                    <a:cubicBezTo>
                      <a:pt x="450" y="400"/>
                      <a:pt x="450" y="400"/>
                      <a:pt x="450" y="400"/>
                    </a:cubicBezTo>
                    <a:cubicBezTo>
                      <a:pt x="450" y="401"/>
                      <a:pt x="450" y="401"/>
                      <a:pt x="451" y="401"/>
                    </a:cubicBezTo>
                    <a:cubicBezTo>
                      <a:pt x="451" y="400"/>
                      <a:pt x="451" y="401"/>
                      <a:pt x="451" y="401"/>
                    </a:cubicBezTo>
                    <a:cubicBezTo>
                      <a:pt x="451" y="401"/>
                      <a:pt x="451" y="400"/>
                      <a:pt x="451" y="400"/>
                    </a:cubicBezTo>
                    <a:cubicBezTo>
                      <a:pt x="451" y="400"/>
                      <a:pt x="452" y="401"/>
                      <a:pt x="452" y="400"/>
                    </a:cubicBezTo>
                    <a:cubicBezTo>
                      <a:pt x="452" y="400"/>
                      <a:pt x="451" y="400"/>
                      <a:pt x="451" y="400"/>
                    </a:cubicBezTo>
                    <a:close/>
                    <a:moveTo>
                      <a:pt x="389" y="301"/>
                    </a:moveTo>
                    <a:cubicBezTo>
                      <a:pt x="388" y="301"/>
                      <a:pt x="389" y="301"/>
                      <a:pt x="389" y="301"/>
                    </a:cubicBezTo>
                    <a:cubicBezTo>
                      <a:pt x="390" y="301"/>
                      <a:pt x="390" y="301"/>
                      <a:pt x="391" y="301"/>
                    </a:cubicBezTo>
                    <a:cubicBezTo>
                      <a:pt x="391" y="301"/>
                      <a:pt x="392" y="301"/>
                      <a:pt x="391" y="301"/>
                    </a:cubicBezTo>
                    <a:cubicBezTo>
                      <a:pt x="391" y="301"/>
                      <a:pt x="392" y="301"/>
                      <a:pt x="392" y="300"/>
                    </a:cubicBezTo>
                    <a:cubicBezTo>
                      <a:pt x="392" y="300"/>
                      <a:pt x="391" y="300"/>
                      <a:pt x="390" y="300"/>
                    </a:cubicBezTo>
                    <a:cubicBezTo>
                      <a:pt x="389" y="299"/>
                      <a:pt x="389" y="300"/>
                      <a:pt x="389" y="301"/>
                    </a:cubicBezTo>
                    <a:close/>
                    <a:moveTo>
                      <a:pt x="399" y="345"/>
                    </a:moveTo>
                    <a:cubicBezTo>
                      <a:pt x="400" y="345"/>
                      <a:pt x="399" y="345"/>
                      <a:pt x="399" y="344"/>
                    </a:cubicBezTo>
                    <a:cubicBezTo>
                      <a:pt x="398" y="344"/>
                      <a:pt x="399" y="344"/>
                      <a:pt x="398" y="344"/>
                    </a:cubicBezTo>
                    <a:cubicBezTo>
                      <a:pt x="398" y="344"/>
                      <a:pt x="398" y="344"/>
                      <a:pt x="398" y="345"/>
                    </a:cubicBezTo>
                    <a:cubicBezTo>
                      <a:pt x="398" y="345"/>
                      <a:pt x="397" y="345"/>
                      <a:pt x="398" y="345"/>
                    </a:cubicBezTo>
                    <a:cubicBezTo>
                      <a:pt x="398" y="345"/>
                      <a:pt x="398" y="345"/>
                      <a:pt x="397" y="346"/>
                    </a:cubicBezTo>
                    <a:cubicBezTo>
                      <a:pt x="397" y="345"/>
                      <a:pt x="397" y="345"/>
                      <a:pt x="397" y="345"/>
                    </a:cubicBezTo>
                    <a:cubicBezTo>
                      <a:pt x="397" y="346"/>
                      <a:pt x="397" y="346"/>
                      <a:pt x="397" y="346"/>
                    </a:cubicBezTo>
                    <a:cubicBezTo>
                      <a:pt x="397" y="346"/>
                      <a:pt x="398" y="347"/>
                      <a:pt x="398" y="347"/>
                    </a:cubicBezTo>
                    <a:cubicBezTo>
                      <a:pt x="399" y="347"/>
                      <a:pt x="399" y="346"/>
                      <a:pt x="399" y="345"/>
                    </a:cubicBezTo>
                    <a:cubicBezTo>
                      <a:pt x="399" y="346"/>
                      <a:pt x="399" y="346"/>
                      <a:pt x="399" y="346"/>
                    </a:cubicBezTo>
                    <a:cubicBezTo>
                      <a:pt x="399" y="346"/>
                      <a:pt x="399" y="346"/>
                      <a:pt x="399" y="345"/>
                    </a:cubicBezTo>
                    <a:cubicBezTo>
                      <a:pt x="399" y="345"/>
                      <a:pt x="399" y="345"/>
                      <a:pt x="399" y="345"/>
                    </a:cubicBezTo>
                    <a:close/>
                    <a:moveTo>
                      <a:pt x="497" y="416"/>
                    </a:moveTo>
                    <a:cubicBezTo>
                      <a:pt x="497" y="416"/>
                      <a:pt x="496" y="416"/>
                      <a:pt x="496" y="416"/>
                    </a:cubicBezTo>
                    <a:cubicBezTo>
                      <a:pt x="496" y="416"/>
                      <a:pt x="497" y="416"/>
                      <a:pt x="497" y="416"/>
                    </a:cubicBezTo>
                    <a:cubicBezTo>
                      <a:pt x="498" y="416"/>
                      <a:pt x="499" y="417"/>
                      <a:pt x="499" y="416"/>
                    </a:cubicBezTo>
                    <a:cubicBezTo>
                      <a:pt x="498" y="416"/>
                      <a:pt x="498" y="416"/>
                      <a:pt x="498" y="416"/>
                    </a:cubicBezTo>
                    <a:cubicBezTo>
                      <a:pt x="498" y="416"/>
                      <a:pt x="497" y="416"/>
                      <a:pt x="497" y="416"/>
                    </a:cubicBezTo>
                    <a:close/>
                    <a:moveTo>
                      <a:pt x="413" y="364"/>
                    </a:moveTo>
                    <a:cubicBezTo>
                      <a:pt x="414" y="364"/>
                      <a:pt x="413" y="363"/>
                      <a:pt x="413" y="363"/>
                    </a:cubicBezTo>
                    <a:cubicBezTo>
                      <a:pt x="413" y="363"/>
                      <a:pt x="413" y="364"/>
                      <a:pt x="413" y="364"/>
                    </a:cubicBezTo>
                    <a:cubicBezTo>
                      <a:pt x="413" y="364"/>
                      <a:pt x="413" y="363"/>
                      <a:pt x="412" y="363"/>
                    </a:cubicBezTo>
                    <a:cubicBezTo>
                      <a:pt x="412" y="363"/>
                      <a:pt x="413" y="363"/>
                      <a:pt x="413" y="363"/>
                    </a:cubicBezTo>
                    <a:cubicBezTo>
                      <a:pt x="412" y="363"/>
                      <a:pt x="412" y="362"/>
                      <a:pt x="411" y="362"/>
                    </a:cubicBezTo>
                    <a:cubicBezTo>
                      <a:pt x="411" y="362"/>
                      <a:pt x="411" y="362"/>
                      <a:pt x="411" y="362"/>
                    </a:cubicBezTo>
                    <a:cubicBezTo>
                      <a:pt x="411" y="362"/>
                      <a:pt x="411" y="362"/>
                      <a:pt x="411" y="362"/>
                    </a:cubicBezTo>
                    <a:cubicBezTo>
                      <a:pt x="411" y="362"/>
                      <a:pt x="411" y="362"/>
                      <a:pt x="411" y="363"/>
                    </a:cubicBezTo>
                    <a:cubicBezTo>
                      <a:pt x="410" y="362"/>
                      <a:pt x="411" y="363"/>
                      <a:pt x="411" y="363"/>
                    </a:cubicBezTo>
                    <a:cubicBezTo>
                      <a:pt x="411" y="363"/>
                      <a:pt x="411" y="363"/>
                      <a:pt x="412" y="363"/>
                    </a:cubicBezTo>
                    <a:cubicBezTo>
                      <a:pt x="411" y="363"/>
                      <a:pt x="411" y="363"/>
                      <a:pt x="411" y="363"/>
                    </a:cubicBezTo>
                    <a:cubicBezTo>
                      <a:pt x="411" y="364"/>
                      <a:pt x="413" y="364"/>
                      <a:pt x="413" y="364"/>
                    </a:cubicBezTo>
                    <a:close/>
                    <a:moveTo>
                      <a:pt x="395" y="307"/>
                    </a:moveTo>
                    <a:cubicBezTo>
                      <a:pt x="396" y="306"/>
                      <a:pt x="395" y="306"/>
                      <a:pt x="394" y="306"/>
                    </a:cubicBezTo>
                    <a:cubicBezTo>
                      <a:pt x="393" y="305"/>
                      <a:pt x="392" y="307"/>
                      <a:pt x="393" y="307"/>
                    </a:cubicBezTo>
                    <a:cubicBezTo>
                      <a:pt x="393" y="307"/>
                      <a:pt x="394" y="307"/>
                      <a:pt x="394" y="307"/>
                    </a:cubicBezTo>
                    <a:cubicBezTo>
                      <a:pt x="394" y="307"/>
                      <a:pt x="395" y="307"/>
                      <a:pt x="395" y="307"/>
                    </a:cubicBezTo>
                    <a:close/>
                    <a:moveTo>
                      <a:pt x="385" y="298"/>
                    </a:moveTo>
                    <a:cubicBezTo>
                      <a:pt x="385" y="298"/>
                      <a:pt x="386" y="298"/>
                      <a:pt x="386" y="298"/>
                    </a:cubicBezTo>
                    <a:cubicBezTo>
                      <a:pt x="387" y="297"/>
                      <a:pt x="385" y="297"/>
                      <a:pt x="385" y="297"/>
                    </a:cubicBezTo>
                    <a:cubicBezTo>
                      <a:pt x="384" y="297"/>
                      <a:pt x="385" y="298"/>
                      <a:pt x="385" y="298"/>
                    </a:cubicBezTo>
                    <a:close/>
                    <a:moveTo>
                      <a:pt x="443" y="397"/>
                    </a:moveTo>
                    <a:cubicBezTo>
                      <a:pt x="442" y="397"/>
                      <a:pt x="442" y="397"/>
                      <a:pt x="442" y="397"/>
                    </a:cubicBezTo>
                    <a:cubicBezTo>
                      <a:pt x="441" y="397"/>
                      <a:pt x="441" y="397"/>
                      <a:pt x="441" y="398"/>
                    </a:cubicBezTo>
                    <a:cubicBezTo>
                      <a:pt x="441" y="398"/>
                      <a:pt x="442" y="397"/>
                      <a:pt x="442" y="398"/>
                    </a:cubicBezTo>
                    <a:cubicBezTo>
                      <a:pt x="442" y="398"/>
                      <a:pt x="443" y="398"/>
                      <a:pt x="443" y="398"/>
                    </a:cubicBezTo>
                    <a:cubicBezTo>
                      <a:pt x="443" y="398"/>
                      <a:pt x="443" y="398"/>
                      <a:pt x="443" y="398"/>
                    </a:cubicBezTo>
                    <a:cubicBezTo>
                      <a:pt x="443" y="398"/>
                      <a:pt x="443" y="398"/>
                      <a:pt x="443" y="398"/>
                    </a:cubicBezTo>
                    <a:cubicBezTo>
                      <a:pt x="443" y="397"/>
                      <a:pt x="443" y="398"/>
                      <a:pt x="443" y="397"/>
                    </a:cubicBezTo>
                    <a:close/>
                    <a:moveTo>
                      <a:pt x="0" y="106"/>
                    </a:moveTo>
                    <a:cubicBezTo>
                      <a:pt x="0" y="106"/>
                      <a:pt x="0" y="106"/>
                      <a:pt x="1" y="106"/>
                    </a:cubicBezTo>
                    <a:cubicBezTo>
                      <a:pt x="1" y="106"/>
                      <a:pt x="2" y="106"/>
                      <a:pt x="2" y="105"/>
                    </a:cubicBezTo>
                    <a:cubicBezTo>
                      <a:pt x="2" y="105"/>
                      <a:pt x="0" y="104"/>
                      <a:pt x="0" y="106"/>
                    </a:cubicBezTo>
                    <a:close/>
                    <a:moveTo>
                      <a:pt x="503" y="409"/>
                    </a:moveTo>
                    <a:cubicBezTo>
                      <a:pt x="502" y="409"/>
                      <a:pt x="502" y="410"/>
                      <a:pt x="503" y="410"/>
                    </a:cubicBezTo>
                    <a:cubicBezTo>
                      <a:pt x="504" y="410"/>
                      <a:pt x="504" y="409"/>
                      <a:pt x="503" y="409"/>
                    </a:cubicBezTo>
                    <a:close/>
                    <a:moveTo>
                      <a:pt x="434" y="391"/>
                    </a:moveTo>
                    <a:cubicBezTo>
                      <a:pt x="434" y="391"/>
                      <a:pt x="435" y="392"/>
                      <a:pt x="434" y="392"/>
                    </a:cubicBezTo>
                    <a:cubicBezTo>
                      <a:pt x="434" y="392"/>
                      <a:pt x="435" y="392"/>
                      <a:pt x="435" y="392"/>
                    </a:cubicBezTo>
                    <a:cubicBezTo>
                      <a:pt x="435" y="392"/>
                      <a:pt x="435" y="392"/>
                      <a:pt x="435" y="393"/>
                    </a:cubicBezTo>
                    <a:cubicBezTo>
                      <a:pt x="435" y="392"/>
                      <a:pt x="435" y="392"/>
                      <a:pt x="435" y="392"/>
                    </a:cubicBezTo>
                    <a:cubicBezTo>
                      <a:pt x="436" y="392"/>
                      <a:pt x="436" y="392"/>
                      <a:pt x="436" y="392"/>
                    </a:cubicBezTo>
                    <a:cubicBezTo>
                      <a:pt x="435" y="391"/>
                      <a:pt x="435" y="391"/>
                      <a:pt x="434" y="391"/>
                    </a:cubicBezTo>
                    <a:close/>
                    <a:moveTo>
                      <a:pt x="395" y="333"/>
                    </a:moveTo>
                    <a:cubicBezTo>
                      <a:pt x="395" y="333"/>
                      <a:pt x="394" y="334"/>
                      <a:pt x="395" y="334"/>
                    </a:cubicBezTo>
                    <a:cubicBezTo>
                      <a:pt x="395" y="334"/>
                      <a:pt x="395" y="334"/>
                      <a:pt x="396" y="333"/>
                    </a:cubicBezTo>
                    <a:cubicBezTo>
                      <a:pt x="396" y="333"/>
                      <a:pt x="396" y="333"/>
                      <a:pt x="396" y="333"/>
                    </a:cubicBezTo>
                    <a:cubicBezTo>
                      <a:pt x="396" y="334"/>
                      <a:pt x="397" y="334"/>
                      <a:pt x="397" y="334"/>
                    </a:cubicBezTo>
                    <a:cubicBezTo>
                      <a:pt x="398" y="334"/>
                      <a:pt x="399" y="334"/>
                      <a:pt x="398" y="333"/>
                    </a:cubicBezTo>
                    <a:cubicBezTo>
                      <a:pt x="398" y="333"/>
                      <a:pt x="397" y="330"/>
                      <a:pt x="397" y="332"/>
                    </a:cubicBezTo>
                    <a:cubicBezTo>
                      <a:pt x="397" y="332"/>
                      <a:pt x="397" y="332"/>
                      <a:pt x="397" y="332"/>
                    </a:cubicBezTo>
                    <a:cubicBezTo>
                      <a:pt x="396" y="332"/>
                      <a:pt x="397" y="332"/>
                      <a:pt x="397" y="333"/>
                    </a:cubicBezTo>
                    <a:cubicBezTo>
                      <a:pt x="396" y="333"/>
                      <a:pt x="397" y="333"/>
                      <a:pt x="397" y="333"/>
                    </a:cubicBezTo>
                    <a:cubicBezTo>
                      <a:pt x="397" y="333"/>
                      <a:pt x="396" y="333"/>
                      <a:pt x="396" y="333"/>
                    </a:cubicBezTo>
                    <a:cubicBezTo>
                      <a:pt x="395" y="333"/>
                      <a:pt x="395" y="333"/>
                      <a:pt x="395" y="333"/>
                    </a:cubicBezTo>
                    <a:close/>
                    <a:moveTo>
                      <a:pt x="398" y="323"/>
                    </a:moveTo>
                    <a:cubicBezTo>
                      <a:pt x="397" y="323"/>
                      <a:pt x="397" y="323"/>
                      <a:pt x="397" y="323"/>
                    </a:cubicBezTo>
                    <a:cubicBezTo>
                      <a:pt x="397" y="324"/>
                      <a:pt x="397" y="324"/>
                      <a:pt x="397" y="324"/>
                    </a:cubicBezTo>
                    <a:cubicBezTo>
                      <a:pt x="397" y="325"/>
                      <a:pt x="399" y="323"/>
                      <a:pt x="398" y="323"/>
                    </a:cubicBezTo>
                    <a:close/>
                    <a:moveTo>
                      <a:pt x="394" y="330"/>
                    </a:moveTo>
                    <a:cubicBezTo>
                      <a:pt x="394" y="330"/>
                      <a:pt x="393" y="331"/>
                      <a:pt x="393" y="331"/>
                    </a:cubicBezTo>
                    <a:cubicBezTo>
                      <a:pt x="393" y="331"/>
                      <a:pt x="394" y="331"/>
                      <a:pt x="394" y="332"/>
                    </a:cubicBezTo>
                    <a:cubicBezTo>
                      <a:pt x="395" y="332"/>
                      <a:pt x="396" y="331"/>
                      <a:pt x="395" y="331"/>
                    </a:cubicBezTo>
                    <a:cubicBezTo>
                      <a:pt x="395" y="331"/>
                      <a:pt x="394" y="330"/>
                      <a:pt x="394" y="330"/>
                    </a:cubicBezTo>
                    <a:close/>
                    <a:moveTo>
                      <a:pt x="386" y="295"/>
                    </a:moveTo>
                    <a:cubicBezTo>
                      <a:pt x="386" y="296"/>
                      <a:pt x="385" y="295"/>
                      <a:pt x="385" y="295"/>
                    </a:cubicBezTo>
                    <a:cubicBezTo>
                      <a:pt x="384" y="296"/>
                      <a:pt x="387" y="296"/>
                      <a:pt x="386" y="296"/>
                    </a:cubicBezTo>
                    <a:cubicBezTo>
                      <a:pt x="386" y="296"/>
                      <a:pt x="387" y="295"/>
                      <a:pt x="387" y="295"/>
                    </a:cubicBezTo>
                    <a:cubicBezTo>
                      <a:pt x="387" y="295"/>
                      <a:pt x="386" y="294"/>
                      <a:pt x="386" y="295"/>
                    </a:cubicBezTo>
                    <a:close/>
                    <a:moveTo>
                      <a:pt x="424" y="373"/>
                    </a:moveTo>
                    <a:cubicBezTo>
                      <a:pt x="424" y="373"/>
                      <a:pt x="424" y="373"/>
                      <a:pt x="423" y="373"/>
                    </a:cubicBezTo>
                    <a:cubicBezTo>
                      <a:pt x="423" y="372"/>
                      <a:pt x="423" y="372"/>
                      <a:pt x="422" y="371"/>
                    </a:cubicBezTo>
                    <a:cubicBezTo>
                      <a:pt x="422" y="371"/>
                      <a:pt x="422" y="371"/>
                      <a:pt x="422" y="371"/>
                    </a:cubicBezTo>
                    <a:cubicBezTo>
                      <a:pt x="422" y="371"/>
                      <a:pt x="422" y="371"/>
                      <a:pt x="422" y="372"/>
                    </a:cubicBezTo>
                    <a:cubicBezTo>
                      <a:pt x="422" y="372"/>
                      <a:pt x="422" y="372"/>
                      <a:pt x="422" y="372"/>
                    </a:cubicBezTo>
                    <a:cubicBezTo>
                      <a:pt x="422" y="372"/>
                      <a:pt x="422" y="372"/>
                      <a:pt x="422" y="372"/>
                    </a:cubicBezTo>
                    <a:cubicBezTo>
                      <a:pt x="422" y="372"/>
                      <a:pt x="422" y="372"/>
                      <a:pt x="422" y="372"/>
                    </a:cubicBezTo>
                    <a:cubicBezTo>
                      <a:pt x="422" y="372"/>
                      <a:pt x="422" y="372"/>
                      <a:pt x="422" y="372"/>
                    </a:cubicBezTo>
                    <a:cubicBezTo>
                      <a:pt x="421" y="373"/>
                      <a:pt x="423" y="373"/>
                      <a:pt x="423" y="373"/>
                    </a:cubicBezTo>
                    <a:cubicBezTo>
                      <a:pt x="423" y="373"/>
                      <a:pt x="425" y="374"/>
                      <a:pt x="424" y="373"/>
                    </a:cubicBezTo>
                    <a:close/>
                    <a:moveTo>
                      <a:pt x="391" y="299"/>
                    </a:moveTo>
                    <a:cubicBezTo>
                      <a:pt x="391" y="299"/>
                      <a:pt x="392" y="299"/>
                      <a:pt x="392" y="300"/>
                    </a:cubicBezTo>
                    <a:cubicBezTo>
                      <a:pt x="392" y="300"/>
                      <a:pt x="392" y="300"/>
                      <a:pt x="392" y="300"/>
                    </a:cubicBezTo>
                    <a:cubicBezTo>
                      <a:pt x="392" y="300"/>
                      <a:pt x="393" y="301"/>
                      <a:pt x="393" y="301"/>
                    </a:cubicBezTo>
                    <a:cubicBezTo>
                      <a:pt x="394" y="300"/>
                      <a:pt x="392" y="299"/>
                      <a:pt x="392" y="299"/>
                    </a:cubicBezTo>
                    <a:cubicBezTo>
                      <a:pt x="392" y="299"/>
                      <a:pt x="391" y="298"/>
                      <a:pt x="391" y="299"/>
                    </a:cubicBezTo>
                    <a:close/>
                    <a:moveTo>
                      <a:pt x="430" y="383"/>
                    </a:moveTo>
                    <a:cubicBezTo>
                      <a:pt x="430" y="383"/>
                      <a:pt x="431" y="383"/>
                      <a:pt x="431" y="383"/>
                    </a:cubicBezTo>
                    <a:cubicBezTo>
                      <a:pt x="431" y="382"/>
                      <a:pt x="430" y="382"/>
                      <a:pt x="430" y="382"/>
                    </a:cubicBezTo>
                    <a:cubicBezTo>
                      <a:pt x="430" y="381"/>
                      <a:pt x="430" y="380"/>
                      <a:pt x="430" y="380"/>
                    </a:cubicBezTo>
                    <a:cubicBezTo>
                      <a:pt x="429" y="380"/>
                      <a:pt x="428" y="381"/>
                      <a:pt x="428" y="382"/>
                    </a:cubicBezTo>
                    <a:cubicBezTo>
                      <a:pt x="428" y="383"/>
                      <a:pt x="429" y="382"/>
                      <a:pt x="429" y="382"/>
                    </a:cubicBezTo>
                    <a:cubicBezTo>
                      <a:pt x="429" y="382"/>
                      <a:pt x="428" y="383"/>
                      <a:pt x="429" y="382"/>
                    </a:cubicBezTo>
                    <a:cubicBezTo>
                      <a:pt x="429" y="383"/>
                      <a:pt x="429" y="383"/>
                      <a:pt x="430" y="383"/>
                    </a:cubicBezTo>
                    <a:close/>
                    <a:moveTo>
                      <a:pt x="415" y="370"/>
                    </a:moveTo>
                    <a:cubicBezTo>
                      <a:pt x="415" y="369"/>
                      <a:pt x="415" y="369"/>
                      <a:pt x="415" y="368"/>
                    </a:cubicBezTo>
                    <a:cubicBezTo>
                      <a:pt x="415" y="369"/>
                      <a:pt x="416" y="369"/>
                      <a:pt x="415" y="368"/>
                    </a:cubicBezTo>
                    <a:cubicBezTo>
                      <a:pt x="416" y="368"/>
                      <a:pt x="417" y="370"/>
                      <a:pt x="417" y="369"/>
                    </a:cubicBezTo>
                    <a:cubicBezTo>
                      <a:pt x="417" y="369"/>
                      <a:pt x="416" y="368"/>
                      <a:pt x="416" y="368"/>
                    </a:cubicBezTo>
                    <a:cubicBezTo>
                      <a:pt x="417" y="368"/>
                      <a:pt x="417" y="368"/>
                      <a:pt x="416" y="368"/>
                    </a:cubicBezTo>
                    <a:cubicBezTo>
                      <a:pt x="416" y="367"/>
                      <a:pt x="414" y="367"/>
                      <a:pt x="414" y="368"/>
                    </a:cubicBezTo>
                    <a:cubicBezTo>
                      <a:pt x="414" y="368"/>
                      <a:pt x="414" y="368"/>
                      <a:pt x="414" y="368"/>
                    </a:cubicBezTo>
                    <a:cubicBezTo>
                      <a:pt x="414" y="368"/>
                      <a:pt x="413" y="368"/>
                      <a:pt x="414" y="369"/>
                    </a:cubicBezTo>
                    <a:cubicBezTo>
                      <a:pt x="414" y="369"/>
                      <a:pt x="414" y="369"/>
                      <a:pt x="415" y="369"/>
                    </a:cubicBezTo>
                    <a:cubicBezTo>
                      <a:pt x="415" y="369"/>
                      <a:pt x="413" y="370"/>
                      <a:pt x="414" y="370"/>
                    </a:cubicBezTo>
                    <a:cubicBezTo>
                      <a:pt x="414" y="370"/>
                      <a:pt x="415" y="370"/>
                      <a:pt x="415" y="370"/>
                    </a:cubicBezTo>
                    <a:close/>
                    <a:moveTo>
                      <a:pt x="393" y="298"/>
                    </a:moveTo>
                    <a:cubicBezTo>
                      <a:pt x="393" y="297"/>
                      <a:pt x="393" y="296"/>
                      <a:pt x="392" y="296"/>
                    </a:cubicBezTo>
                    <a:cubicBezTo>
                      <a:pt x="391" y="296"/>
                      <a:pt x="392" y="297"/>
                      <a:pt x="392" y="297"/>
                    </a:cubicBezTo>
                    <a:cubicBezTo>
                      <a:pt x="392" y="298"/>
                      <a:pt x="393" y="298"/>
                      <a:pt x="393" y="298"/>
                    </a:cubicBezTo>
                    <a:cubicBezTo>
                      <a:pt x="393" y="298"/>
                      <a:pt x="394" y="298"/>
                      <a:pt x="394" y="298"/>
                    </a:cubicBezTo>
                    <a:cubicBezTo>
                      <a:pt x="394" y="298"/>
                      <a:pt x="394" y="297"/>
                      <a:pt x="393" y="298"/>
                    </a:cubicBezTo>
                    <a:close/>
                    <a:moveTo>
                      <a:pt x="418" y="365"/>
                    </a:moveTo>
                    <a:cubicBezTo>
                      <a:pt x="418" y="365"/>
                      <a:pt x="417" y="364"/>
                      <a:pt x="418" y="364"/>
                    </a:cubicBezTo>
                    <a:cubicBezTo>
                      <a:pt x="419" y="364"/>
                      <a:pt x="420" y="364"/>
                      <a:pt x="420" y="364"/>
                    </a:cubicBezTo>
                    <a:cubicBezTo>
                      <a:pt x="420" y="364"/>
                      <a:pt x="421" y="365"/>
                      <a:pt x="421" y="365"/>
                    </a:cubicBezTo>
                    <a:cubicBezTo>
                      <a:pt x="421" y="364"/>
                      <a:pt x="420" y="364"/>
                      <a:pt x="420" y="363"/>
                    </a:cubicBezTo>
                    <a:cubicBezTo>
                      <a:pt x="420" y="363"/>
                      <a:pt x="421" y="364"/>
                      <a:pt x="421" y="363"/>
                    </a:cubicBezTo>
                    <a:cubicBezTo>
                      <a:pt x="421" y="363"/>
                      <a:pt x="421" y="363"/>
                      <a:pt x="420" y="363"/>
                    </a:cubicBezTo>
                    <a:cubicBezTo>
                      <a:pt x="420" y="362"/>
                      <a:pt x="420" y="362"/>
                      <a:pt x="420" y="362"/>
                    </a:cubicBezTo>
                    <a:cubicBezTo>
                      <a:pt x="420" y="361"/>
                      <a:pt x="422" y="362"/>
                      <a:pt x="422" y="362"/>
                    </a:cubicBezTo>
                    <a:cubicBezTo>
                      <a:pt x="422" y="362"/>
                      <a:pt x="422" y="362"/>
                      <a:pt x="422" y="362"/>
                    </a:cubicBezTo>
                    <a:cubicBezTo>
                      <a:pt x="422" y="361"/>
                      <a:pt x="420" y="361"/>
                      <a:pt x="420" y="360"/>
                    </a:cubicBezTo>
                    <a:cubicBezTo>
                      <a:pt x="420" y="360"/>
                      <a:pt x="421" y="360"/>
                      <a:pt x="420" y="359"/>
                    </a:cubicBezTo>
                    <a:cubicBezTo>
                      <a:pt x="421" y="359"/>
                      <a:pt x="419" y="360"/>
                      <a:pt x="419" y="360"/>
                    </a:cubicBezTo>
                    <a:cubicBezTo>
                      <a:pt x="419" y="361"/>
                      <a:pt x="420" y="361"/>
                      <a:pt x="420" y="361"/>
                    </a:cubicBezTo>
                    <a:cubicBezTo>
                      <a:pt x="420" y="362"/>
                      <a:pt x="420" y="363"/>
                      <a:pt x="420" y="363"/>
                    </a:cubicBezTo>
                    <a:cubicBezTo>
                      <a:pt x="420" y="364"/>
                      <a:pt x="419" y="363"/>
                      <a:pt x="418" y="363"/>
                    </a:cubicBezTo>
                    <a:cubicBezTo>
                      <a:pt x="417" y="363"/>
                      <a:pt x="418" y="362"/>
                      <a:pt x="417" y="362"/>
                    </a:cubicBezTo>
                    <a:cubicBezTo>
                      <a:pt x="417" y="362"/>
                      <a:pt x="417" y="362"/>
                      <a:pt x="417" y="362"/>
                    </a:cubicBezTo>
                    <a:cubicBezTo>
                      <a:pt x="417" y="362"/>
                      <a:pt x="417" y="362"/>
                      <a:pt x="416" y="362"/>
                    </a:cubicBezTo>
                    <a:cubicBezTo>
                      <a:pt x="416" y="361"/>
                      <a:pt x="416" y="361"/>
                      <a:pt x="415" y="360"/>
                    </a:cubicBezTo>
                    <a:cubicBezTo>
                      <a:pt x="415" y="360"/>
                      <a:pt x="415" y="359"/>
                      <a:pt x="415" y="360"/>
                    </a:cubicBezTo>
                    <a:cubicBezTo>
                      <a:pt x="416" y="360"/>
                      <a:pt x="416" y="361"/>
                      <a:pt x="417" y="361"/>
                    </a:cubicBezTo>
                    <a:cubicBezTo>
                      <a:pt x="417" y="361"/>
                      <a:pt x="416" y="360"/>
                      <a:pt x="416" y="360"/>
                    </a:cubicBezTo>
                    <a:cubicBezTo>
                      <a:pt x="416" y="360"/>
                      <a:pt x="418" y="360"/>
                      <a:pt x="418" y="360"/>
                    </a:cubicBezTo>
                    <a:cubicBezTo>
                      <a:pt x="418" y="360"/>
                      <a:pt x="418" y="360"/>
                      <a:pt x="417" y="360"/>
                    </a:cubicBezTo>
                    <a:cubicBezTo>
                      <a:pt x="417" y="360"/>
                      <a:pt x="417" y="359"/>
                      <a:pt x="417" y="360"/>
                    </a:cubicBezTo>
                    <a:cubicBezTo>
                      <a:pt x="416" y="360"/>
                      <a:pt x="416" y="359"/>
                      <a:pt x="416" y="359"/>
                    </a:cubicBezTo>
                    <a:cubicBezTo>
                      <a:pt x="416" y="358"/>
                      <a:pt x="415" y="359"/>
                      <a:pt x="415" y="359"/>
                    </a:cubicBezTo>
                    <a:cubicBezTo>
                      <a:pt x="415" y="360"/>
                      <a:pt x="414" y="359"/>
                      <a:pt x="414" y="359"/>
                    </a:cubicBezTo>
                    <a:cubicBezTo>
                      <a:pt x="414" y="358"/>
                      <a:pt x="414" y="357"/>
                      <a:pt x="414" y="357"/>
                    </a:cubicBezTo>
                    <a:cubicBezTo>
                      <a:pt x="413" y="357"/>
                      <a:pt x="414" y="359"/>
                      <a:pt x="413" y="359"/>
                    </a:cubicBezTo>
                    <a:cubicBezTo>
                      <a:pt x="413" y="358"/>
                      <a:pt x="413" y="358"/>
                      <a:pt x="412" y="358"/>
                    </a:cubicBezTo>
                    <a:cubicBezTo>
                      <a:pt x="412" y="358"/>
                      <a:pt x="412" y="358"/>
                      <a:pt x="412" y="358"/>
                    </a:cubicBezTo>
                    <a:cubicBezTo>
                      <a:pt x="412" y="358"/>
                      <a:pt x="412" y="357"/>
                      <a:pt x="412" y="357"/>
                    </a:cubicBezTo>
                    <a:cubicBezTo>
                      <a:pt x="412" y="357"/>
                      <a:pt x="412" y="357"/>
                      <a:pt x="411" y="357"/>
                    </a:cubicBezTo>
                    <a:cubicBezTo>
                      <a:pt x="411" y="357"/>
                      <a:pt x="411" y="357"/>
                      <a:pt x="411" y="357"/>
                    </a:cubicBezTo>
                    <a:cubicBezTo>
                      <a:pt x="411" y="357"/>
                      <a:pt x="411" y="357"/>
                      <a:pt x="411" y="357"/>
                    </a:cubicBezTo>
                    <a:cubicBezTo>
                      <a:pt x="411" y="357"/>
                      <a:pt x="410" y="357"/>
                      <a:pt x="410" y="356"/>
                    </a:cubicBezTo>
                    <a:cubicBezTo>
                      <a:pt x="410" y="356"/>
                      <a:pt x="410" y="356"/>
                      <a:pt x="410" y="356"/>
                    </a:cubicBezTo>
                    <a:cubicBezTo>
                      <a:pt x="411" y="356"/>
                      <a:pt x="411" y="356"/>
                      <a:pt x="411" y="356"/>
                    </a:cubicBezTo>
                    <a:cubicBezTo>
                      <a:pt x="411" y="356"/>
                      <a:pt x="411" y="356"/>
                      <a:pt x="411" y="356"/>
                    </a:cubicBezTo>
                    <a:cubicBezTo>
                      <a:pt x="411" y="356"/>
                      <a:pt x="412" y="356"/>
                      <a:pt x="412" y="356"/>
                    </a:cubicBezTo>
                    <a:cubicBezTo>
                      <a:pt x="412" y="356"/>
                      <a:pt x="413" y="356"/>
                      <a:pt x="413" y="356"/>
                    </a:cubicBezTo>
                    <a:cubicBezTo>
                      <a:pt x="413" y="356"/>
                      <a:pt x="413" y="356"/>
                      <a:pt x="413" y="356"/>
                    </a:cubicBezTo>
                    <a:cubicBezTo>
                      <a:pt x="413" y="357"/>
                      <a:pt x="414" y="357"/>
                      <a:pt x="414" y="357"/>
                    </a:cubicBezTo>
                    <a:cubicBezTo>
                      <a:pt x="415" y="358"/>
                      <a:pt x="414" y="357"/>
                      <a:pt x="415" y="357"/>
                    </a:cubicBezTo>
                    <a:cubicBezTo>
                      <a:pt x="415" y="357"/>
                      <a:pt x="417" y="358"/>
                      <a:pt x="417" y="358"/>
                    </a:cubicBezTo>
                    <a:cubicBezTo>
                      <a:pt x="417" y="357"/>
                      <a:pt x="416" y="357"/>
                      <a:pt x="416" y="357"/>
                    </a:cubicBezTo>
                    <a:cubicBezTo>
                      <a:pt x="416" y="357"/>
                      <a:pt x="416" y="357"/>
                      <a:pt x="416" y="357"/>
                    </a:cubicBezTo>
                    <a:cubicBezTo>
                      <a:pt x="415" y="357"/>
                      <a:pt x="415" y="357"/>
                      <a:pt x="414" y="357"/>
                    </a:cubicBezTo>
                    <a:cubicBezTo>
                      <a:pt x="414" y="357"/>
                      <a:pt x="414" y="356"/>
                      <a:pt x="413" y="356"/>
                    </a:cubicBezTo>
                    <a:cubicBezTo>
                      <a:pt x="413" y="355"/>
                      <a:pt x="411" y="355"/>
                      <a:pt x="411" y="354"/>
                    </a:cubicBezTo>
                    <a:cubicBezTo>
                      <a:pt x="412" y="353"/>
                      <a:pt x="413" y="355"/>
                      <a:pt x="413" y="355"/>
                    </a:cubicBezTo>
                    <a:cubicBezTo>
                      <a:pt x="414" y="355"/>
                      <a:pt x="415" y="355"/>
                      <a:pt x="416" y="355"/>
                    </a:cubicBezTo>
                    <a:cubicBezTo>
                      <a:pt x="416" y="355"/>
                      <a:pt x="416" y="355"/>
                      <a:pt x="415" y="355"/>
                    </a:cubicBezTo>
                    <a:cubicBezTo>
                      <a:pt x="414" y="355"/>
                      <a:pt x="415" y="354"/>
                      <a:pt x="415" y="354"/>
                    </a:cubicBezTo>
                    <a:cubicBezTo>
                      <a:pt x="415" y="354"/>
                      <a:pt x="415" y="353"/>
                      <a:pt x="415" y="353"/>
                    </a:cubicBezTo>
                    <a:cubicBezTo>
                      <a:pt x="415" y="353"/>
                      <a:pt x="414" y="354"/>
                      <a:pt x="414" y="354"/>
                    </a:cubicBezTo>
                    <a:cubicBezTo>
                      <a:pt x="414" y="354"/>
                      <a:pt x="414" y="354"/>
                      <a:pt x="413" y="354"/>
                    </a:cubicBezTo>
                    <a:cubicBezTo>
                      <a:pt x="413" y="354"/>
                      <a:pt x="412" y="354"/>
                      <a:pt x="412" y="354"/>
                    </a:cubicBezTo>
                    <a:cubicBezTo>
                      <a:pt x="412" y="353"/>
                      <a:pt x="410" y="353"/>
                      <a:pt x="411" y="352"/>
                    </a:cubicBezTo>
                    <a:cubicBezTo>
                      <a:pt x="411" y="352"/>
                      <a:pt x="411" y="352"/>
                      <a:pt x="412" y="352"/>
                    </a:cubicBezTo>
                    <a:cubicBezTo>
                      <a:pt x="412" y="352"/>
                      <a:pt x="413" y="352"/>
                      <a:pt x="413" y="352"/>
                    </a:cubicBezTo>
                    <a:cubicBezTo>
                      <a:pt x="413" y="352"/>
                      <a:pt x="411" y="352"/>
                      <a:pt x="411" y="352"/>
                    </a:cubicBezTo>
                    <a:cubicBezTo>
                      <a:pt x="411" y="352"/>
                      <a:pt x="410" y="351"/>
                      <a:pt x="410" y="351"/>
                    </a:cubicBezTo>
                    <a:cubicBezTo>
                      <a:pt x="410" y="350"/>
                      <a:pt x="411" y="350"/>
                      <a:pt x="411" y="350"/>
                    </a:cubicBezTo>
                    <a:cubicBezTo>
                      <a:pt x="411" y="350"/>
                      <a:pt x="412" y="350"/>
                      <a:pt x="412" y="350"/>
                    </a:cubicBezTo>
                    <a:cubicBezTo>
                      <a:pt x="412" y="350"/>
                      <a:pt x="412" y="350"/>
                      <a:pt x="413" y="351"/>
                    </a:cubicBezTo>
                    <a:cubicBezTo>
                      <a:pt x="413" y="349"/>
                      <a:pt x="413" y="350"/>
                      <a:pt x="414" y="351"/>
                    </a:cubicBezTo>
                    <a:cubicBezTo>
                      <a:pt x="414" y="351"/>
                      <a:pt x="414" y="351"/>
                      <a:pt x="415" y="351"/>
                    </a:cubicBezTo>
                    <a:cubicBezTo>
                      <a:pt x="415" y="352"/>
                      <a:pt x="416" y="352"/>
                      <a:pt x="416" y="352"/>
                    </a:cubicBezTo>
                    <a:cubicBezTo>
                      <a:pt x="416" y="351"/>
                      <a:pt x="414" y="351"/>
                      <a:pt x="414" y="351"/>
                    </a:cubicBezTo>
                    <a:cubicBezTo>
                      <a:pt x="414" y="350"/>
                      <a:pt x="414" y="350"/>
                      <a:pt x="413" y="349"/>
                    </a:cubicBezTo>
                    <a:cubicBezTo>
                      <a:pt x="413" y="349"/>
                      <a:pt x="412" y="350"/>
                      <a:pt x="411" y="349"/>
                    </a:cubicBezTo>
                    <a:cubicBezTo>
                      <a:pt x="411" y="349"/>
                      <a:pt x="410" y="347"/>
                      <a:pt x="411" y="347"/>
                    </a:cubicBezTo>
                    <a:cubicBezTo>
                      <a:pt x="411" y="347"/>
                      <a:pt x="412" y="348"/>
                      <a:pt x="413" y="348"/>
                    </a:cubicBezTo>
                    <a:cubicBezTo>
                      <a:pt x="412" y="347"/>
                      <a:pt x="412" y="347"/>
                      <a:pt x="412" y="347"/>
                    </a:cubicBezTo>
                    <a:cubicBezTo>
                      <a:pt x="411" y="347"/>
                      <a:pt x="411" y="346"/>
                      <a:pt x="411" y="345"/>
                    </a:cubicBezTo>
                    <a:cubicBezTo>
                      <a:pt x="410" y="345"/>
                      <a:pt x="410" y="345"/>
                      <a:pt x="410" y="344"/>
                    </a:cubicBezTo>
                    <a:cubicBezTo>
                      <a:pt x="411" y="344"/>
                      <a:pt x="411" y="345"/>
                      <a:pt x="412" y="345"/>
                    </a:cubicBezTo>
                    <a:cubicBezTo>
                      <a:pt x="411" y="344"/>
                      <a:pt x="409" y="344"/>
                      <a:pt x="410" y="345"/>
                    </a:cubicBezTo>
                    <a:cubicBezTo>
                      <a:pt x="410" y="345"/>
                      <a:pt x="410" y="346"/>
                      <a:pt x="410" y="346"/>
                    </a:cubicBezTo>
                    <a:cubicBezTo>
                      <a:pt x="410" y="347"/>
                      <a:pt x="409" y="346"/>
                      <a:pt x="409" y="346"/>
                    </a:cubicBezTo>
                    <a:cubicBezTo>
                      <a:pt x="409" y="346"/>
                      <a:pt x="410" y="347"/>
                      <a:pt x="410" y="347"/>
                    </a:cubicBezTo>
                    <a:cubicBezTo>
                      <a:pt x="410" y="347"/>
                      <a:pt x="410" y="348"/>
                      <a:pt x="410" y="348"/>
                    </a:cubicBezTo>
                    <a:cubicBezTo>
                      <a:pt x="410" y="348"/>
                      <a:pt x="411" y="350"/>
                      <a:pt x="410" y="350"/>
                    </a:cubicBezTo>
                    <a:cubicBezTo>
                      <a:pt x="410" y="349"/>
                      <a:pt x="408" y="348"/>
                      <a:pt x="408" y="348"/>
                    </a:cubicBezTo>
                    <a:cubicBezTo>
                      <a:pt x="408" y="347"/>
                      <a:pt x="407" y="346"/>
                      <a:pt x="408" y="346"/>
                    </a:cubicBezTo>
                    <a:cubicBezTo>
                      <a:pt x="407" y="346"/>
                      <a:pt x="407" y="345"/>
                      <a:pt x="407" y="345"/>
                    </a:cubicBezTo>
                    <a:cubicBezTo>
                      <a:pt x="407" y="345"/>
                      <a:pt x="407" y="345"/>
                      <a:pt x="406" y="345"/>
                    </a:cubicBezTo>
                    <a:cubicBezTo>
                      <a:pt x="406" y="344"/>
                      <a:pt x="406" y="344"/>
                      <a:pt x="406" y="344"/>
                    </a:cubicBezTo>
                    <a:cubicBezTo>
                      <a:pt x="406" y="344"/>
                      <a:pt x="406" y="343"/>
                      <a:pt x="406" y="343"/>
                    </a:cubicBezTo>
                    <a:cubicBezTo>
                      <a:pt x="406" y="343"/>
                      <a:pt x="405" y="342"/>
                      <a:pt x="405" y="341"/>
                    </a:cubicBezTo>
                    <a:cubicBezTo>
                      <a:pt x="405" y="341"/>
                      <a:pt x="405" y="341"/>
                      <a:pt x="405" y="341"/>
                    </a:cubicBezTo>
                    <a:cubicBezTo>
                      <a:pt x="406" y="341"/>
                      <a:pt x="406" y="341"/>
                      <a:pt x="406" y="341"/>
                    </a:cubicBezTo>
                    <a:cubicBezTo>
                      <a:pt x="407" y="341"/>
                      <a:pt x="407" y="341"/>
                      <a:pt x="408" y="341"/>
                    </a:cubicBezTo>
                    <a:cubicBezTo>
                      <a:pt x="408" y="341"/>
                      <a:pt x="407" y="341"/>
                      <a:pt x="407" y="341"/>
                    </a:cubicBezTo>
                    <a:cubicBezTo>
                      <a:pt x="406" y="341"/>
                      <a:pt x="406" y="341"/>
                      <a:pt x="406" y="341"/>
                    </a:cubicBezTo>
                    <a:cubicBezTo>
                      <a:pt x="406" y="341"/>
                      <a:pt x="406" y="341"/>
                      <a:pt x="406" y="341"/>
                    </a:cubicBezTo>
                    <a:cubicBezTo>
                      <a:pt x="405" y="340"/>
                      <a:pt x="404" y="340"/>
                      <a:pt x="405" y="339"/>
                    </a:cubicBezTo>
                    <a:cubicBezTo>
                      <a:pt x="405" y="339"/>
                      <a:pt x="405" y="339"/>
                      <a:pt x="405" y="339"/>
                    </a:cubicBezTo>
                    <a:cubicBezTo>
                      <a:pt x="405" y="339"/>
                      <a:pt x="405" y="339"/>
                      <a:pt x="406" y="339"/>
                    </a:cubicBezTo>
                    <a:cubicBezTo>
                      <a:pt x="406" y="338"/>
                      <a:pt x="406" y="339"/>
                      <a:pt x="407" y="339"/>
                    </a:cubicBezTo>
                    <a:cubicBezTo>
                      <a:pt x="407" y="339"/>
                      <a:pt x="408" y="340"/>
                      <a:pt x="408" y="340"/>
                    </a:cubicBezTo>
                    <a:cubicBezTo>
                      <a:pt x="408" y="340"/>
                      <a:pt x="408" y="339"/>
                      <a:pt x="408" y="339"/>
                    </a:cubicBezTo>
                    <a:cubicBezTo>
                      <a:pt x="406" y="338"/>
                      <a:pt x="408" y="338"/>
                      <a:pt x="408" y="338"/>
                    </a:cubicBezTo>
                    <a:cubicBezTo>
                      <a:pt x="408" y="338"/>
                      <a:pt x="403" y="337"/>
                      <a:pt x="406" y="337"/>
                    </a:cubicBezTo>
                    <a:cubicBezTo>
                      <a:pt x="405" y="337"/>
                      <a:pt x="405" y="337"/>
                      <a:pt x="404" y="337"/>
                    </a:cubicBezTo>
                    <a:cubicBezTo>
                      <a:pt x="404" y="337"/>
                      <a:pt x="404" y="336"/>
                      <a:pt x="404" y="336"/>
                    </a:cubicBezTo>
                    <a:cubicBezTo>
                      <a:pt x="403" y="336"/>
                      <a:pt x="403" y="335"/>
                      <a:pt x="402" y="335"/>
                    </a:cubicBezTo>
                    <a:cubicBezTo>
                      <a:pt x="402" y="335"/>
                      <a:pt x="402" y="335"/>
                      <a:pt x="402" y="335"/>
                    </a:cubicBezTo>
                    <a:cubicBezTo>
                      <a:pt x="401" y="334"/>
                      <a:pt x="402" y="334"/>
                      <a:pt x="401" y="334"/>
                    </a:cubicBezTo>
                    <a:cubicBezTo>
                      <a:pt x="401" y="333"/>
                      <a:pt x="401" y="335"/>
                      <a:pt x="400" y="334"/>
                    </a:cubicBezTo>
                    <a:cubicBezTo>
                      <a:pt x="399" y="333"/>
                      <a:pt x="400" y="333"/>
                      <a:pt x="400" y="333"/>
                    </a:cubicBezTo>
                    <a:cubicBezTo>
                      <a:pt x="401" y="333"/>
                      <a:pt x="402" y="333"/>
                      <a:pt x="402" y="334"/>
                    </a:cubicBezTo>
                    <a:cubicBezTo>
                      <a:pt x="403" y="334"/>
                      <a:pt x="404" y="336"/>
                      <a:pt x="405" y="336"/>
                    </a:cubicBezTo>
                    <a:cubicBezTo>
                      <a:pt x="404" y="336"/>
                      <a:pt x="404" y="335"/>
                      <a:pt x="403" y="334"/>
                    </a:cubicBezTo>
                    <a:cubicBezTo>
                      <a:pt x="403" y="334"/>
                      <a:pt x="402" y="333"/>
                      <a:pt x="403" y="333"/>
                    </a:cubicBezTo>
                    <a:cubicBezTo>
                      <a:pt x="404" y="333"/>
                      <a:pt x="404" y="333"/>
                      <a:pt x="404" y="333"/>
                    </a:cubicBezTo>
                    <a:cubicBezTo>
                      <a:pt x="405" y="333"/>
                      <a:pt x="405" y="334"/>
                      <a:pt x="405" y="334"/>
                    </a:cubicBezTo>
                    <a:cubicBezTo>
                      <a:pt x="406" y="334"/>
                      <a:pt x="406" y="334"/>
                      <a:pt x="406" y="334"/>
                    </a:cubicBezTo>
                    <a:cubicBezTo>
                      <a:pt x="407" y="334"/>
                      <a:pt x="406" y="334"/>
                      <a:pt x="407" y="334"/>
                    </a:cubicBezTo>
                    <a:cubicBezTo>
                      <a:pt x="407" y="334"/>
                      <a:pt x="407" y="334"/>
                      <a:pt x="407" y="334"/>
                    </a:cubicBezTo>
                    <a:cubicBezTo>
                      <a:pt x="408" y="334"/>
                      <a:pt x="407" y="334"/>
                      <a:pt x="407" y="335"/>
                    </a:cubicBezTo>
                    <a:cubicBezTo>
                      <a:pt x="407" y="334"/>
                      <a:pt x="409" y="334"/>
                      <a:pt x="409" y="335"/>
                    </a:cubicBezTo>
                    <a:cubicBezTo>
                      <a:pt x="409" y="335"/>
                      <a:pt x="410" y="336"/>
                      <a:pt x="410" y="336"/>
                    </a:cubicBezTo>
                    <a:cubicBezTo>
                      <a:pt x="410" y="335"/>
                      <a:pt x="411" y="335"/>
                      <a:pt x="412" y="336"/>
                    </a:cubicBezTo>
                    <a:cubicBezTo>
                      <a:pt x="411" y="335"/>
                      <a:pt x="412" y="335"/>
                      <a:pt x="412" y="334"/>
                    </a:cubicBezTo>
                    <a:cubicBezTo>
                      <a:pt x="412" y="335"/>
                      <a:pt x="411" y="335"/>
                      <a:pt x="411" y="335"/>
                    </a:cubicBezTo>
                    <a:cubicBezTo>
                      <a:pt x="410" y="335"/>
                      <a:pt x="409" y="334"/>
                      <a:pt x="408" y="333"/>
                    </a:cubicBezTo>
                    <a:cubicBezTo>
                      <a:pt x="407" y="332"/>
                      <a:pt x="408" y="332"/>
                      <a:pt x="409" y="333"/>
                    </a:cubicBezTo>
                    <a:cubicBezTo>
                      <a:pt x="409" y="333"/>
                      <a:pt x="410" y="333"/>
                      <a:pt x="410" y="333"/>
                    </a:cubicBezTo>
                    <a:cubicBezTo>
                      <a:pt x="411" y="333"/>
                      <a:pt x="411" y="333"/>
                      <a:pt x="412" y="333"/>
                    </a:cubicBezTo>
                    <a:cubicBezTo>
                      <a:pt x="411" y="333"/>
                      <a:pt x="410" y="333"/>
                      <a:pt x="409" y="333"/>
                    </a:cubicBezTo>
                    <a:cubicBezTo>
                      <a:pt x="409" y="333"/>
                      <a:pt x="409" y="332"/>
                      <a:pt x="409" y="332"/>
                    </a:cubicBezTo>
                    <a:cubicBezTo>
                      <a:pt x="409" y="332"/>
                      <a:pt x="409" y="332"/>
                      <a:pt x="408" y="332"/>
                    </a:cubicBezTo>
                    <a:cubicBezTo>
                      <a:pt x="408" y="332"/>
                      <a:pt x="408" y="332"/>
                      <a:pt x="408" y="331"/>
                    </a:cubicBezTo>
                    <a:cubicBezTo>
                      <a:pt x="408" y="331"/>
                      <a:pt x="407" y="331"/>
                      <a:pt x="407" y="331"/>
                    </a:cubicBezTo>
                    <a:cubicBezTo>
                      <a:pt x="406" y="331"/>
                      <a:pt x="406" y="330"/>
                      <a:pt x="406" y="330"/>
                    </a:cubicBezTo>
                    <a:cubicBezTo>
                      <a:pt x="406" y="330"/>
                      <a:pt x="406" y="329"/>
                      <a:pt x="406" y="329"/>
                    </a:cubicBezTo>
                    <a:cubicBezTo>
                      <a:pt x="406" y="329"/>
                      <a:pt x="406" y="329"/>
                      <a:pt x="406" y="329"/>
                    </a:cubicBezTo>
                    <a:cubicBezTo>
                      <a:pt x="406" y="328"/>
                      <a:pt x="405" y="329"/>
                      <a:pt x="405" y="328"/>
                    </a:cubicBezTo>
                    <a:cubicBezTo>
                      <a:pt x="405" y="329"/>
                      <a:pt x="406" y="329"/>
                      <a:pt x="406" y="330"/>
                    </a:cubicBezTo>
                    <a:cubicBezTo>
                      <a:pt x="406" y="330"/>
                      <a:pt x="406" y="330"/>
                      <a:pt x="406" y="331"/>
                    </a:cubicBezTo>
                    <a:cubicBezTo>
                      <a:pt x="406" y="331"/>
                      <a:pt x="406" y="331"/>
                      <a:pt x="405" y="331"/>
                    </a:cubicBezTo>
                    <a:cubicBezTo>
                      <a:pt x="404" y="332"/>
                      <a:pt x="404" y="331"/>
                      <a:pt x="403" y="331"/>
                    </a:cubicBezTo>
                    <a:cubicBezTo>
                      <a:pt x="403" y="331"/>
                      <a:pt x="401" y="331"/>
                      <a:pt x="401" y="331"/>
                    </a:cubicBezTo>
                    <a:cubicBezTo>
                      <a:pt x="401" y="331"/>
                      <a:pt x="401" y="331"/>
                      <a:pt x="401" y="331"/>
                    </a:cubicBezTo>
                    <a:cubicBezTo>
                      <a:pt x="401" y="330"/>
                      <a:pt x="400" y="331"/>
                      <a:pt x="400" y="331"/>
                    </a:cubicBezTo>
                    <a:cubicBezTo>
                      <a:pt x="399" y="331"/>
                      <a:pt x="398" y="331"/>
                      <a:pt x="398" y="331"/>
                    </a:cubicBezTo>
                    <a:cubicBezTo>
                      <a:pt x="398" y="330"/>
                      <a:pt x="397" y="330"/>
                      <a:pt x="398" y="330"/>
                    </a:cubicBezTo>
                    <a:cubicBezTo>
                      <a:pt x="398" y="330"/>
                      <a:pt x="399" y="330"/>
                      <a:pt x="399" y="330"/>
                    </a:cubicBezTo>
                    <a:cubicBezTo>
                      <a:pt x="399" y="330"/>
                      <a:pt x="398" y="329"/>
                      <a:pt x="398" y="329"/>
                    </a:cubicBezTo>
                    <a:cubicBezTo>
                      <a:pt x="398" y="328"/>
                      <a:pt x="399" y="329"/>
                      <a:pt x="399" y="329"/>
                    </a:cubicBezTo>
                    <a:cubicBezTo>
                      <a:pt x="399" y="328"/>
                      <a:pt x="400" y="329"/>
                      <a:pt x="400" y="329"/>
                    </a:cubicBezTo>
                    <a:cubicBezTo>
                      <a:pt x="401" y="330"/>
                      <a:pt x="399" y="330"/>
                      <a:pt x="400" y="330"/>
                    </a:cubicBezTo>
                    <a:cubicBezTo>
                      <a:pt x="400" y="330"/>
                      <a:pt x="401" y="330"/>
                      <a:pt x="401" y="330"/>
                    </a:cubicBezTo>
                    <a:cubicBezTo>
                      <a:pt x="401" y="330"/>
                      <a:pt x="402" y="331"/>
                      <a:pt x="403" y="331"/>
                    </a:cubicBezTo>
                    <a:cubicBezTo>
                      <a:pt x="402" y="331"/>
                      <a:pt x="402" y="330"/>
                      <a:pt x="401" y="330"/>
                    </a:cubicBezTo>
                    <a:cubicBezTo>
                      <a:pt x="401" y="330"/>
                      <a:pt x="402" y="330"/>
                      <a:pt x="402" y="330"/>
                    </a:cubicBezTo>
                    <a:cubicBezTo>
                      <a:pt x="402" y="330"/>
                      <a:pt x="401" y="330"/>
                      <a:pt x="401" y="329"/>
                    </a:cubicBezTo>
                    <a:cubicBezTo>
                      <a:pt x="401" y="329"/>
                      <a:pt x="403" y="329"/>
                      <a:pt x="403" y="329"/>
                    </a:cubicBezTo>
                    <a:cubicBezTo>
                      <a:pt x="402" y="329"/>
                      <a:pt x="402" y="329"/>
                      <a:pt x="402" y="328"/>
                    </a:cubicBezTo>
                    <a:cubicBezTo>
                      <a:pt x="402" y="329"/>
                      <a:pt x="402" y="329"/>
                      <a:pt x="401" y="329"/>
                    </a:cubicBezTo>
                    <a:cubicBezTo>
                      <a:pt x="401" y="329"/>
                      <a:pt x="401" y="329"/>
                      <a:pt x="400" y="328"/>
                    </a:cubicBezTo>
                    <a:cubicBezTo>
                      <a:pt x="400" y="328"/>
                      <a:pt x="399" y="328"/>
                      <a:pt x="399" y="328"/>
                    </a:cubicBezTo>
                    <a:cubicBezTo>
                      <a:pt x="399" y="328"/>
                      <a:pt x="399" y="328"/>
                      <a:pt x="399" y="327"/>
                    </a:cubicBezTo>
                    <a:cubicBezTo>
                      <a:pt x="399" y="327"/>
                      <a:pt x="399" y="327"/>
                      <a:pt x="399" y="327"/>
                    </a:cubicBezTo>
                    <a:cubicBezTo>
                      <a:pt x="399" y="328"/>
                      <a:pt x="398" y="327"/>
                      <a:pt x="398" y="327"/>
                    </a:cubicBezTo>
                    <a:cubicBezTo>
                      <a:pt x="399" y="326"/>
                      <a:pt x="398" y="325"/>
                      <a:pt x="399" y="325"/>
                    </a:cubicBezTo>
                    <a:cubicBezTo>
                      <a:pt x="399" y="325"/>
                      <a:pt x="400" y="325"/>
                      <a:pt x="400" y="325"/>
                    </a:cubicBezTo>
                    <a:cubicBezTo>
                      <a:pt x="400" y="325"/>
                      <a:pt x="400" y="325"/>
                      <a:pt x="400" y="325"/>
                    </a:cubicBezTo>
                    <a:cubicBezTo>
                      <a:pt x="400" y="325"/>
                      <a:pt x="401" y="326"/>
                      <a:pt x="401" y="326"/>
                    </a:cubicBezTo>
                    <a:cubicBezTo>
                      <a:pt x="401" y="326"/>
                      <a:pt x="400" y="325"/>
                      <a:pt x="401" y="325"/>
                    </a:cubicBezTo>
                    <a:cubicBezTo>
                      <a:pt x="401" y="324"/>
                      <a:pt x="402" y="325"/>
                      <a:pt x="402" y="325"/>
                    </a:cubicBezTo>
                    <a:cubicBezTo>
                      <a:pt x="402" y="325"/>
                      <a:pt x="402" y="325"/>
                      <a:pt x="402" y="325"/>
                    </a:cubicBezTo>
                    <a:cubicBezTo>
                      <a:pt x="401" y="324"/>
                      <a:pt x="401" y="325"/>
                      <a:pt x="401" y="324"/>
                    </a:cubicBezTo>
                    <a:cubicBezTo>
                      <a:pt x="401" y="324"/>
                      <a:pt x="401" y="323"/>
                      <a:pt x="401" y="323"/>
                    </a:cubicBezTo>
                    <a:cubicBezTo>
                      <a:pt x="401" y="322"/>
                      <a:pt x="400" y="322"/>
                      <a:pt x="400" y="322"/>
                    </a:cubicBezTo>
                    <a:cubicBezTo>
                      <a:pt x="399" y="322"/>
                      <a:pt x="398" y="322"/>
                      <a:pt x="398" y="321"/>
                    </a:cubicBezTo>
                    <a:cubicBezTo>
                      <a:pt x="398" y="321"/>
                      <a:pt x="399" y="321"/>
                      <a:pt x="398" y="321"/>
                    </a:cubicBezTo>
                    <a:cubicBezTo>
                      <a:pt x="398" y="321"/>
                      <a:pt x="398" y="321"/>
                      <a:pt x="398" y="321"/>
                    </a:cubicBezTo>
                    <a:cubicBezTo>
                      <a:pt x="397" y="321"/>
                      <a:pt x="397" y="320"/>
                      <a:pt x="397" y="320"/>
                    </a:cubicBezTo>
                    <a:cubicBezTo>
                      <a:pt x="396" y="320"/>
                      <a:pt x="395" y="320"/>
                      <a:pt x="394" y="320"/>
                    </a:cubicBezTo>
                    <a:cubicBezTo>
                      <a:pt x="394" y="320"/>
                      <a:pt x="396" y="320"/>
                      <a:pt x="395" y="320"/>
                    </a:cubicBezTo>
                    <a:cubicBezTo>
                      <a:pt x="395" y="321"/>
                      <a:pt x="395" y="320"/>
                      <a:pt x="394" y="320"/>
                    </a:cubicBezTo>
                    <a:cubicBezTo>
                      <a:pt x="394" y="320"/>
                      <a:pt x="394" y="321"/>
                      <a:pt x="394" y="321"/>
                    </a:cubicBezTo>
                    <a:cubicBezTo>
                      <a:pt x="395" y="321"/>
                      <a:pt x="395" y="321"/>
                      <a:pt x="396" y="321"/>
                    </a:cubicBezTo>
                    <a:cubicBezTo>
                      <a:pt x="397" y="321"/>
                      <a:pt x="396" y="322"/>
                      <a:pt x="395" y="321"/>
                    </a:cubicBezTo>
                    <a:cubicBezTo>
                      <a:pt x="395" y="321"/>
                      <a:pt x="394" y="321"/>
                      <a:pt x="393" y="321"/>
                    </a:cubicBezTo>
                    <a:cubicBezTo>
                      <a:pt x="393" y="320"/>
                      <a:pt x="392" y="320"/>
                      <a:pt x="392" y="321"/>
                    </a:cubicBezTo>
                    <a:cubicBezTo>
                      <a:pt x="392" y="320"/>
                      <a:pt x="390" y="320"/>
                      <a:pt x="390" y="319"/>
                    </a:cubicBezTo>
                    <a:cubicBezTo>
                      <a:pt x="390" y="318"/>
                      <a:pt x="390" y="318"/>
                      <a:pt x="390" y="318"/>
                    </a:cubicBezTo>
                    <a:cubicBezTo>
                      <a:pt x="390" y="317"/>
                      <a:pt x="390" y="317"/>
                      <a:pt x="390" y="317"/>
                    </a:cubicBezTo>
                    <a:cubicBezTo>
                      <a:pt x="390" y="317"/>
                      <a:pt x="390" y="318"/>
                      <a:pt x="389" y="317"/>
                    </a:cubicBezTo>
                    <a:cubicBezTo>
                      <a:pt x="389" y="318"/>
                      <a:pt x="389" y="319"/>
                      <a:pt x="388" y="318"/>
                    </a:cubicBezTo>
                    <a:cubicBezTo>
                      <a:pt x="388" y="319"/>
                      <a:pt x="386" y="319"/>
                      <a:pt x="386" y="319"/>
                    </a:cubicBezTo>
                    <a:cubicBezTo>
                      <a:pt x="385" y="320"/>
                      <a:pt x="385" y="321"/>
                      <a:pt x="386" y="320"/>
                    </a:cubicBezTo>
                    <a:cubicBezTo>
                      <a:pt x="386" y="320"/>
                      <a:pt x="386" y="319"/>
                      <a:pt x="386" y="319"/>
                    </a:cubicBezTo>
                    <a:cubicBezTo>
                      <a:pt x="386" y="319"/>
                      <a:pt x="387" y="319"/>
                      <a:pt x="387" y="320"/>
                    </a:cubicBezTo>
                    <a:cubicBezTo>
                      <a:pt x="387" y="320"/>
                      <a:pt x="387" y="320"/>
                      <a:pt x="387" y="320"/>
                    </a:cubicBezTo>
                    <a:cubicBezTo>
                      <a:pt x="387" y="320"/>
                      <a:pt x="388" y="320"/>
                      <a:pt x="388" y="320"/>
                    </a:cubicBezTo>
                    <a:cubicBezTo>
                      <a:pt x="388" y="320"/>
                      <a:pt x="388" y="321"/>
                      <a:pt x="388" y="321"/>
                    </a:cubicBezTo>
                    <a:cubicBezTo>
                      <a:pt x="388" y="321"/>
                      <a:pt x="388" y="321"/>
                      <a:pt x="388" y="321"/>
                    </a:cubicBezTo>
                    <a:cubicBezTo>
                      <a:pt x="389" y="321"/>
                      <a:pt x="388" y="322"/>
                      <a:pt x="388" y="322"/>
                    </a:cubicBezTo>
                    <a:cubicBezTo>
                      <a:pt x="387" y="322"/>
                      <a:pt x="387" y="322"/>
                      <a:pt x="386" y="321"/>
                    </a:cubicBezTo>
                    <a:cubicBezTo>
                      <a:pt x="386" y="321"/>
                      <a:pt x="385" y="320"/>
                      <a:pt x="384" y="319"/>
                    </a:cubicBezTo>
                    <a:cubicBezTo>
                      <a:pt x="384" y="319"/>
                      <a:pt x="384" y="318"/>
                      <a:pt x="384" y="318"/>
                    </a:cubicBezTo>
                    <a:cubicBezTo>
                      <a:pt x="385" y="318"/>
                      <a:pt x="385" y="318"/>
                      <a:pt x="385" y="318"/>
                    </a:cubicBezTo>
                    <a:cubicBezTo>
                      <a:pt x="385" y="318"/>
                      <a:pt x="385" y="318"/>
                      <a:pt x="385" y="317"/>
                    </a:cubicBezTo>
                    <a:cubicBezTo>
                      <a:pt x="385" y="318"/>
                      <a:pt x="386" y="317"/>
                      <a:pt x="386" y="317"/>
                    </a:cubicBezTo>
                    <a:cubicBezTo>
                      <a:pt x="386" y="317"/>
                      <a:pt x="386" y="317"/>
                      <a:pt x="386" y="316"/>
                    </a:cubicBezTo>
                    <a:cubicBezTo>
                      <a:pt x="386" y="316"/>
                      <a:pt x="387" y="316"/>
                      <a:pt x="387" y="316"/>
                    </a:cubicBezTo>
                    <a:cubicBezTo>
                      <a:pt x="387" y="316"/>
                      <a:pt x="387" y="315"/>
                      <a:pt x="387" y="315"/>
                    </a:cubicBezTo>
                    <a:cubicBezTo>
                      <a:pt x="387" y="315"/>
                      <a:pt x="388" y="316"/>
                      <a:pt x="389" y="316"/>
                    </a:cubicBezTo>
                    <a:cubicBezTo>
                      <a:pt x="388" y="315"/>
                      <a:pt x="387" y="315"/>
                      <a:pt x="388" y="315"/>
                    </a:cubicBezTo>
                    <a:cubicBezTo>
                      <a:pt x="387" y="314"/>
                      <a:pt x="388" y="314"/>
                      <a:pt x="388" y="314"/>
                    </a:cubicBezTo>
                    <a:cubicBezTo>
                      <a:pt x="389" y="314"/>
                      <a:pt x="389" y="315"/>
                      <a:pt x="389" y="315"/>
                    </a:cubicBezTo>
                    <a:cubicBezTo>
                      <a:pt x="389" y="314"/>
                      <a:pt x="389" y="314"/>
                      <a:pt x="389" y="314"/>
                    </a:cubicBezTo>
                    <a:cubicBezTo>
                      <a:pt x="389" y="313"/>
                      <a:pt x="390" y="314"/>
                      <a:pt x="390" y="314"/>
                    </a:cubicBezTo>
                    <a:cubicBezTo>
                      <a:pt x="390" y="313"/>
                      <a:pt x="390" y="314"/>
                      <a:pt x="390" y="313"/>
                    </a:cubicBezTo>
                    <a:cubicBezTo>
                      <a:pt x="389" y="313"/>
                      <a:pt x="390" y="312"/>
                      <a:pt x="390" y="312"/>
                    </a:cubicBezTo>
                    <a:cubicBezTo>
                      <a:pt x="390" y="312"/>
                      <a:pt x="389" y="311"/>
                      <a:pt x="389" y="311"/>
                    </a:cubicBezTo>
                    <a:cubicBezTo>
                      <a:pt x="389" y="311"/>
                      <a:pt x="389" y="311"/>
                      <a:pt x="389" y="312"/>
                    </a:cubicBezTo>
                    <a:cubicBezTo>
                      <a:pt x="389" y="312"/>
                      <a:pt x="389" y="312"/>
                      <a:pt x="389" y="312"/>
                    </a:cubicBezTo>
                    <a:cubicBezTo>
                      <a:pt x="388" y="313"/>
                      <a:pt x="388" y="313"/>
                      <a:pt x="388" y="313"/>
                    </a:cubicBezTo>
                    <a:cubicBezTo>
                      <a:pt x="387" y="313"/>
                      <a:pt x="386" y="312"/>
                      <a:pt x="387" y="312"/>
                    </a:cubicBezTo>
                    <a:cubicBezTo>
                      <a:pt x="387" y="312"/>
                      <a:pt x="388" y="312"/>
                      <a:pt x="389" y="312"/>
                    </a:cubicBezTo>
                    <a:cubicBezTo>
                      <a:pt x="388" y="312"/>
                      <a:pt x="387" y="312"/>
                      <a:pt x="387" y="312"/>
                    </a:cubicBezTo>
                    <a:cubicBezTo>
                      <a:pt x="387" y="311"/>
                      <a:pt x="386" y="311"/>
                      <a:pt x="386" y="311"/>
                    </a:cubicBezTo>
                    <a:cubicBezTo>
                      <a:pt x="386" y="310"/>
                      <a:pt x="388" y="311"/>
                      <a:pt x="388" y="311"/>
                    </a:cubicBezTo>
                    <a:cubicBezTo>
                      <a:pt x="388" y="311"/>
                      <a:pt x="387" y="311"/>
                      <a:pt x="387" y="310"/>
                    </a:cubicBezTo>
                    <a:cubicBezTo>
                      <a:pt x="387" y="310"/>
                      <a:pt x="388" y="311"/>
                      <a:pt x="388" y="310"/>
                    </a:cubicBezTo>
                    <a:cubicBezTo>
                      <a:pt x="388" y="310"/>
                      <a:pt x="388" y="310"/>
                      <a:pt x="388" y="310"/>
                    </a:cubicBezTo>
                    <a:cubicBezTo>
                      <a:pt x="388" y="310"/>
                      <a:pt x="389" y="310"/>
                      <a:pt x="389" y="310"/>
                    </a:cubicBezTo>
                    <a:cubicBezTo>
                      <a:pt x="389" y="310"/>
                      <a:pt x="389" y="311"/>
                      <a:pt x="389" y="311"/>
                    </a:cubicBezTo>
                    <a:cubicBezTo>
                      <a:pt x="390" y="310"/>
                      <a:pt x="389" y="310"/>
                      <a:pt x="390" y="310"/>
                    </a:cubicBezTo>
                    <a:cubicBezTo>
                      <a:pt x="390" y="310"/>
                      <a:pt x="390" y="310"/>
                      <a:pt x="390" y="310"/>
                    </a:cubicBezTo>
                    <a:cubicBezTo>
                      <a:pt x="390" y="310"/>
                      <a:pt x="391" y="310"/>
                      <a:pt x="391" y="310"/>
                    </a:cubicBezTo>
                    <a:cubicBezTo>
                      <a:pt x="391" y="311"/>
                      <a:pt x="391" y="311"/>
                      <a:pt x="391" y="311"/>
                    </a:cubicBezTo>
                    <a:cubicBezTo>
                      <a:pt x="391" y="311"/>
                      <a:pt x="392" y="311"/>
                      <a:pt x="392" y="311"/>
                    </a:cubicBezTo>
                    <a:cubicBezTo>
                      <a:pt x="392" y="311"/>
                      <a:pt x="392" y="312"/>
                      <a:pt x="392" y="312"/>
                    </a:cubicBezTo>
                    <a:cubicBezTo>
                      <a:pt x="392" y="312"/>
                      <a:pt x="392" y="311"/>
                      <a:pt x="392" y="311"/>
                    </a:cubicBezTo>
                    <a:cubicBezTo>
                      <a:pt x="392" y="311"/>
                      <a:pt x="391" y="310"/>
                      <a:pt x="392" y="310"/>
                    </a:cubicBezTo>
                    <a:cubicBezTo>
                      <a:pt x="391" y="310"/>
                      <a:pt x="391" y="310"/>
                      <a:pt x="392" y="310"/>
                    </a:cubicBezTo>
                    <a:cubicBezTo>
                      <a:pt x="392" y="309"/>
                      <a:pt x="392" y="310"/>
                      <a:pt x="393" y="310"/>
                    </a:cubicBezTo>
                    <a:cubicBezTo>
                      <a:pt x="393" y="310"/>
                      <a:pt x="393" y="309"/>
                      <a:pt x="394" y="310"/>
                    </a:cubicBezTo>
                    <a:cubicBezTo>
                      <a:pt x="395" y="310"/>
                      <a:pt x="394" y="310"/>
                      <a:pt x="394" y="311"/>
                    </a:cubicBezTo>
                    <a:cubicBezTo>
                      <a:pt x="394" y="311"/>
                      <a:pt x="395" y="311"/>
                      <a:pt x="395" y="311"/>
                    </a:cubicBezTo>
                    <a:cubicBezTo>
                      <a:pt x="395" y="311"/>
                      <a:pt x="395" y="311"/>
                      <a:pt x="395" y="311"/>
                    </a:cubicBezTo>
                    <a:cubicBezTo>
                      <a:pt x="395" y="312"/>
                      <a:pt x="395" y="312"/>
                      <a:pt x="395" y="312"/>
                    </a:cubicBezTo>
                    <a:cubicBezTo>
                      <a:pt x="395" y="312"/>
                      <a:pt x="396" y="313"/>
                      <a:pt x="395" y="313"/>
                    </a:cubicBezTo>
                    <a:cubicBezTo>
                      <a:pt x="396" y="313"/>
                      <a:pt x="395" y="312"/>
                      <a:pt x="396" y="312"/>
                    </a:cubicBezTo>
                    <a:cubicBezTo>
                      <a:pt x="396" y="311"/>
                      <a:pt x="397" y="312"/>
                      <a:pt x="397" y="313"/>
                    </a:cubicBezTo>
                    <a:cubicBezTo>
                      <a:pt x="397" y="314"/>
                      <a:pt x="396" y="314"/>
                      <a:pt x="395" y="314"/>
                    </a:cubicBezTo>
                    <a:cubicBezTo>
                      <a:pt x="394" y="314"/>
                      <a:pt x="393" y="314"/>
                      <a:pt x="393" y="314"/>
                    </a:cubicBezTo>
                    <a:cubicBezTo>
                      <a:pt x="393" y="314"/>
                      <a:pt x="394" y="314"/>
                      <a:pt x="394" y="315"/>
                    </a:cubicBezTo>
                    <a:cubicBezTo>
                      <a:pt x="395" y="315"/>
                      <a:pt x="395" y="315"/>
                      <a:pt x="395" y="314"/>
                    </a:cubicBezTo>
                    <a:cubicBezTo>
                      <a:pt x="396" y="314"/>
                      <a:pt x="396" y="314"/>
                      <a:pt x="397" y="314"/>
                    </a:cubicBezTo>
                    <a:cubicBezTo>
                      <a:pt x="397" y="314"/>
                      <a:pt x="397" y="315"/>
                      <a:pt x="397" y="315"/>
                    </a:cubicBezTo>
                    <a:cubicBezTo>
                      <a:pt x="397" y="314"/>
                      <a:pt x="398" y="316"/>
                      <a:pt x="399" y="315"/>
                    </a:cubicBezTo>
                    <a:cubicBezTo>
                      <a:pt x="399" y="315"/>
                      <a:pt x="396" y="314"/>
                      <a:pt x="397" y="314"/>
                    </a:cubicBezTo>
                    <a:cubicBezTo>
                      <a:pt x="398" y="313"/>
                      <a:pt x="399" y="315"/>
                      <a:pt x="399" y="315"/>
                    </a:cubicBezTo>
                    <a:cubicBezTo>
                      <a:pt x="400" y="316"/>
                      <a:pt x="398" y="318"/>
                      <a:pt x="399" y="318"/>
                    </a:cubicBezTo>
                    <a:cubicBezTo>
                      <a:pt x="400" y="319"/>
                      <a:pt x="400" y="317"/>
                      <a:pt x="401" y="318"/>
                    </a:cubicBezTo>
                    <a:cubicBezTo>
                      <a:pt x="401" y="317"/>
                      <a:pt x="400" y="317"/>
                      <a:pt x="400" y="316"/>
                    </a:cubicBezTo>
                    <a:cubicBezTo>
                      <a:pt x="401" y="316"/>
                      <a:pt x="401" y="315"/>
                      <a:pt x="401" y="315"/>
                    </a:cubicBezTo>
                    <a:cubicBezTo>
                      <a:pt x="401" y="315"/>
                      <a:pt x="402" y="315"/>
                      <a:pt x="402" y="315"/>
                    </a:cubicBezTo>
                    <a:cubicBezTo>
                      <a:pt x="400" y="315"/>
                      <a:pt x="401" y="313"/>
                      <a:pt x="402" y="312"/>
                    </a:cubicBezTo>
                    <a:cubicBezTo>
                      <a:pt x="402" y="312"/>
                      <a:pt x="401" y="312"/>
                      <a:pt x="401" y="312"/>
                    </a:cubicBezTo>
                    <a:cubicBezTo>
                      <a:pt x="401" y="313"/>
                      <a:pt x="401" y="314"/>
                      <a:pt x="400" y="314"/>
                    </a:cubicBezTo>
                    <a:cubicBezTo>
                      <a:pt x="400" y="314"/>
                      <a:pt x="401" y="316"/>
                      <a:pt x="400" y="315"/>
                    </a:cubicBezTo>
                    <a:cubicBezTo>
                      <a:pt x="400" y="315"/>
                      <a:pt x="400" y="315"/>
                      <a:pt x="400" y="314"/>
                    </a:cubicBezTo>
                    <a:cubicBezTo>
                      <a:pt x="400" y="314"/>
                      <a:pt x="400" y="314"/>
                      <a:pt x="400" y="314"/>
                    </a:cubicBezTo>
                    <a:cubicBezTo>
                      <a:pt x="400" y="313"/>
                      <a:pt x="398" y="310"/>
                      <a:pt x="400" y="310"/>
                    </a:cubicBezTo>
                    <a:cubicBezTo>
                      <a:pt x="399" y="310"/>
                      <a:pt x="400" y="309"/>
                      <a:pt x="400" y="309"/>
                    </a:cubicBezTo>
                    <a:cubicBezTo>
                      <a:pt x="400" y="308"/>
                      <a:pt x="402" y="309"/>
                      <a:pt x="402" y="308"/>
                    </a:cubicBezTo>
                    <a:cubicBezTo>
                      <a:pt x="402" y="308"/>
                      <a:pt x="400" y="308"/>
                      <a:pt x="400" y="308"/>
                    </a:cubicBezTo>
                    <a:cubicBezTo>
                      <a:pt x="400" y="308"/>
                      <a:pt x="399" y="310"/>
                      <a:pt x="399" y="309"/>
                    </a:cubicBezTo>
                    <a:cubicBezTo>
                      <a:pt x="398" y="309"/>
                      <a:pt x="398" y="308"/>
                      <a:pt x="398" y="307"/>
                    </a:cubicBezTo>
                    <a:cubicBezTo>
                      <a:pt x="398" y="306"/>
                      <a:pt x="398" y="305"/>
                      <a:pt x="399" y="306"/>
                    </a:cubicBezTo>
                    <a:cubicBezTo>
                      <a:pt x="399" y="305"/>
                      <a:pt x="399" y="305"/>
                      <a:pt x="399" y="305"/>
                    </a:cubicBezTo>
                    <a:cubicBezTo>
                      <a:pt x="399" y="305"/>
                      <a:pt x="399" y="304"/>
                      <a:pt x="400" y="304"/>
                    </a:cubicBezTo>
                    <a:cubicBezTo>
                      <a:pt x="400" y="304"/>
                      <a:pt x="401" y="305"/>
                      <a:pt x="401" y="305"/>
                    </a:cubicBezTo>
                    <a:cubicBezTo>
                      <a:pt x="401" y="305"/>
                      <a:pt x="403" y="307"/>
                      <a:pt x="404" y="306"/>
                    </a:cubicBezTo>
                    <a:cubicBezTo>
                      <a:pt x="404" y="305"/>
                      <a:pt x="403" y="305"/>
                      <a:pt x="403" y="305"/>
                    </a:cubicBezTo>
                    <a:cubicBezTo>
                      <a:pt x="402" y="306"/>
                      <a:pt x="401" y="305"/>
                      <a:pt x="400" y="304"/>
                    </a:cubicBezTo>
                    <a:cubicBezTo>
                      <a:pt x="400" y="304"/>
                      <a:pt x="399" y="303"/>
                      <a:pt x="399" y="304"/>
                    </a:cubicBezTo>
                    <a:cubicBezTo>
                      <a:pt x="398" y="304"/>
                      <a:pt x="397" y="304"/>
                      <a:pt x="397" y="304"/>
                    </a:cubicBezTo>
                    <a:cubicBezTo>
                      <a:pt x="397" y="303"/>
                      <a:pt x="399" y="303"/>
                      <a:pt x="398" y="303"/>
                    </a:cubicBezTo>
                    <a:cubicBezTo>
                      <a:pt x="398" y="302"/>
                      <a:pt x="397" y="302"/>
                      <a:pt x="397" y="301"/>
                    </a:cubicBezTo>
                    <a:cubicBezTo>
                      <a:pt x="397" y="300"/>
                      <a:pt x="398" y="301"/>
                      <a:pt x="398" y="301"/>
                    </a:cubicBezTo>
                    <a:cubicBezTo>
                      <a:pt x="399" y="301"/>
                      <a:pt x="399" y="300"/>
                      <a:pt x="400" y="300"/>
                    </a:cubicBezTo>
                    <a:cubicBezTo>
                      <a:pt x="400" y="299"/>
                      <a:pt x="400" y="299"/>
                      <a:pt x="400" y="299"/>
                    </a:cubicBezTo>
                    <a:cubicBezTo>
                      <a:pt x="401" y="299"/>
                      <a:pt x="401" y="299"/>
                      <a:pt x="401" y="299"/>
                    </a:cubicBezTo>
                    <a:cubicBezTo>
                      <a:pt x="401" y="299"/>
                      <a:pt x="402" y="298"/>
                      <a:pt x="402" y="298"/>
                    </a:cubicBezTo>
                    <a:cubicBezTo>
                      <a:pt x="402" y="298"/>
                      <a:pt x="401" y="298"/>
                      <a:pt x="401" y="297"/>
                    </a:cubicBezTo>
                    <a:cubicBezTo>
                      <a:pt x="401" y="297"/>
                      <a:pt x="401" y="296"/>
                      <a:pt x="401" y="296"/>
                    </a:cubicBezTo>
                    <a:cubicBezTo>
                      <a:pt x="401" y="296"/>
                      <a:pt x="402" y="296"/>
                      <a:pt x="402" y="295"/>
                    </a:cubicBezTo>
                    <a:cubicBezTo>
                      <a:pt x="401" y="295"/>
                      <a:pt x="401" y="295"/>
                      <a:pt x="401" y="294"/>
                    </a:cubicBezTo>
                    <a:cubicBezTo>
                      <a:pt x="401" y="294"/>
                      <a:pt x="401" y="296"/>
                      <a:pt x="401" y="296"/>
                    </a:cubicBezTo>
                    <a:cubicBezTo>
                      <a:pt x="400" y="296"/>
                      <a:pt x="400" y="295"/>
                      <a:pt x="400" y="295"/>
                    </a:cubicBezTo>
                    <a:cubicBezTo>
                      <a:pt x="399" y="295"/>
                      <a:pt x="398" y="294"/>
                      <a:pt x="398" y="294"/>
                    </a:cubicBezTo>
                    <a:cubicBezTo>
                      <a:pt x="398" y="293"/>
                      <a:pt x="397" y="293"/>
                      <a:pt x="396" y="293"/>
                    </a:cubicBezTo>
                    <a:cubicBezTo>
                      <a:pt x="396" y="293"/>
                      <a:pt x="395" y="293"/>
                      <a:pt x="396" y="293"/>
                    </a:cubicBezTo>
                    <a:cubicBezTo>
                      <a:pt x="396" y="292"/>
                      <a:pt x="396" y="292"/>
                      <a:pt x="396" y="292"/>
                    </a:cubicBezTo>
                    <a:cubicBezTo>
                      <a:pt x="395" y="292"/>
                      <a:pt x="396" y="292"/>
                      <a:pt x="395" y="292"/>
                    </a:cubicBezTo>
                    <a:cubicBezTo>
                      <a:pt x="395" y="292"/>
                      <a:pt x="395" y="292"/>
                      <a:pt x="395" y="292"/>
                    </a:cubicBezTo>
                    <a:cubicBezTo>
                      <a:pt x="394" y="292"/>
                      <a:pt x="394" y="291"/>
                      <a:pt x="395" y="292"/>
                    </a:cubicBezTo>
                    <a:cubicBezTo>
                      <a:pt x="394" y="290"/>
                      <a:pt x="395" y="291"/>
                      <a:pt x="395" y="291"/>
                    </a:cubicBezTo>
                    <a:cubicBezTo>
                      <a:pt x="395" y="291"/>
                      <a:pt x="394" y="290"/>
                      <a:pt x="395" y="289"/>
                    </a:cubicBezTo>
                    <a:cubicBezTo>
                      <a:pt x="395" y="289"/>
                      <a:pt x="395" y="288"/>
                      <a:pt x="395" y="288"/>
                    </a:cubicBezTo>
                    <a:cubicBezTo>
                      <a:pt x="395" y="288"/>
                      <a:pt x="395" y="288"/>
                      <a:pt x="396" y="288"/>
                    </a:cubicBezTo>
                    <a:cubicBezTo>
                      <a:pt x="396" y="288"/>
                      <a:pt x="396" y="288"/>
                      <a:pt x="397" y="288"/>
                    </a:cubicBezTo>
                    <a:cubicBezTo>
                      <a:pt x="396" y="288"/>
                      <a:pt x="396" y="287"/>
                      <a:pt x="396" y="287"/>
                    </a:cubicBezTo>
                    <a:cubicBezTo>
                      <a:pt x="396" y="287"/>
                      <a:pt x="396" y="287"/>
                      <a:pt x="396" y="288"/>
                    </a:cubicBezTo>
                    <a:cubicBezTo>
                      <a:pt x="395" y="288"/>
                      <a:pt x="395" y="287"/>
                      <a:pt x="395" y="287"/>
                    </a:cubicBezTo>
                    <a:cubicBezTo>
                      <a:pt x="394" y="287"/>
                      <a:pt x="395" y="287"/>
                      <a:pt x="395" y="286"/>
                    </a:cubicBezTo>
                    <a:cubicBezTo>
                      <a:pt x="395" y="286"/>
                      <a:pt x="395" y="286"/>
                      <a:pt x="395" y="286"/>
                    </a:cubicBezTo>
                    <a:cubicBezTo>
                      <a:pt x="395" y="286"/>
                      <a:pt x="394" y="286"/>
                      <a:pt x="394" y="286"/>
                    </a:cubicBezTo>
                    <a:cubicBezTo>
                      <a:pt x="394" y="286"/>
                      <a:pt x="393" y="285"/>
                      <a:pt x="393" y="285"/>
                    </a:cubicBezTo>
                    <a:cubicBezTo>
                      <a:pt x="393" y="284"/>
                      <a:pt x="392" y="283"/>
                      <a:pt x="393" y="282"/>
                    </a:cubicBezTo>
                    <a:cubicBezTo>
                      <a:pt x="394" y="281"/>
                      <a:pt x="393" y="281"/>
                      <a:pt x="393" y="280"/>
                    </a:cubicBezTo>
                    <a:cubicBezTo>
                      <a:pt x="393" y="279"/>
                      <a:pt x="394" y="280"/>
                      <a:pt x="394" y="280"/>
                    </a:cubicBezTo>
                    <a:cubicBezTo>
                      <a:pt x="394" y="279"/>
                      <a:pt x="394" y="278"/>
                      <a:pt x="393" y="278"/>
                    </a:cubicBezTo>
                    <a:cubicBezTo>
                      <a:pt x="392" y="277"/>
                      <a:pt x="392" y="277"/>
                      <a:pt x="392" y="276"/>
                    </a:cubicBezTo>
                    <a:cubicBezTo>
                      <a:pt x="392" y="276"/>
                      <a:pt x="392" y="276"/>
                      <a:pt x="392" y="275"/>
                    </a:cubicBezTo>
                    <a:cubicBezTo>
                      <a:pt x="391" y="275"/>
                      <a:pt x="391" y="274"/>
                      <a:pt x="392" y="274"/>
                    </a:cubicBezTo>
                    <a:cubicBezTo>
                      <a:pt x="392" y="274"/>
                      <a:pt x="394" y="275"/>
                      <a:pt x="394" y="275"/>
                    </a:cubicBezTo>
                    <a:cubicBezTo>
                      <a:pt x="394" y="274"/>
                      <a:pt x="393" y="274"/>
                      <a:pt x="393" y="274"/>
                    </a:cubicBezTo>
                    <a:cubicBezTo>
                      <a:pt x="392" y="274"/>
                      <a:pt x="392" y="273"/>
                      <a:pt x="391" y="273"/>
                    </a:cubicBezTo>
                    <a:cubicBezTo>
                      <a:pt x="391" y="272"/>
                      <a:pt x="390" y="271"/>
                      <a:pt x="391" y="271"/>
                    </a:cubicBezTo>
                    <a:cubicBezTo>
                      <a:pt x="392" y="271"/>
                      <a:pt x="392" y="270"/>
                      <a:pt x="393" y="271"/>
                    </a:cubicBezTo>
                    <a:cubicBezTo>
                      <a:pt x="393" y="271"/>
                      <a:pt x="393" y="271"/>
                      <a:pt x="393" y="272"/>
                    </a:cubicBezTo>
                    <a:cubicBezTo>
                      <a:pt x="393" y="272"/>
                      <a:pt x="394" y="274"/>
                      <a:pt x="395" y="274"/>
                    </a:cubicBezTo>
                    <a:cubicBezTo>
                      <a:pt x="395" y="273"/>
                      <a:pt x="394" y="273"/>
                      <a:pt x="394" y="272"/>
                    </a:cubicBezTo>
                    <a:cubicBezTo>
                      <a:pt x="394" y="272"/>
                      <a:pt x="394" y="272"/>
                      <a:pt x="394" y="272"/>
                    </a:cubicBezTo>
                    <a:cubicBezTo>
                      <a:pt x="393" y="272"/>
                      <a:pt x="394" y="271"/>
                      <a:pt x="394" y="271"/>
                    </a:cubicBezTo>
                    <a:cubicBezTo>
                      <a:pt x="394" y="271"/>
                      <a:pt x="392" y="270"/>
                      <a:pt x="393" y="270"/>
                    </a:cubicBezTo>
                    <a:cubicBezTo>
                      <a:pt x="393" y="270"/>
                      <a:pt x="393" y="268"/>
                      <a:pt x="392" y="268"/>
                    </a:cubicBezTo>
                    <a:cubicBezTo>
                      <a:pt x="391" y="268"/>
                      <a:pt x="392" y="269"/>
                      <a:pt x="391" y="269"/>
                    </a:cubicBezTo>
                    <a:cubicBezTo>
                      <a:pt x="391" y="269"/>
                      <a:pt x="390" y="269"/>
                      <a:pt x="390" y="268"/>
                    </a:cubicBezTo>
                    <a:cubicBezTo>
                      <a:pt x="389" y="268"/>
                      <a:pt x="389" y="268"/>
                      <a:pt x="388" y="268"/>
                    </a:cubicBezTo>
                    <a:cubicBezTo>
                      <a:pt x="388" y="267"/>
                      <a:pt x="389" y="266"/>
                      <a:pt x="389" y="266"/>
                    </a:cubicBezTo>
                    <a:cubicBezTo>
                      <a:pt x="390" y="265"/>
                      <a:pt x="390" y="266"/>
                      <a:pt x="390" y="266"/>
                    </a:cubicBezTo>
                    <a:cubicBezTo>
                      <a:pt x="391" y="266"/>
                      <a:pt x="392" y="265"/>
                      <a:pt x="392" y="265"/>
                    </a:cubicBezTo>
                    <a:cubicBezTo>
                      <a:pt x="392" y="264"/>
                      <a:pt x="392" y="264"/>
                      <a:pt x="392" y="263"/>
                    </a:cubicBezTo>
                    <a:cubicBezTo>
                      <a:pt x="392" y="263"/>
                      <a:pt x="392" y="263"/>
                      <a:pt x="392" y="263"/>
                    </a:cubicBezTo>
                    <a:cubicBezTo>
                      <a:pt x="392" y="263"/>
                      <a:pt x="392" y="262"/>
                      <a:pt x="392" y="262"/>
                    </a:cubicBezTo>
                    <a:cubicBezTo>
                      <a:pt x="391" y="262"/>
                      <a:pt x="391" y="261"/>
                      <a:pt x="391" y="262"/>
                    </a:cubicBezTo>
                    <a:cubicBezTo>
                      <a:pt x="391" y="262"/>
                      <a:pt x="391" y="263"/>
                      <a:pt x="392" y="263"/>
                    </a:cubicBezTo>
                    <a:cubicBezTo>
                      <a:pt x="392" y="264"/>
                      <a:pt x="392" y="264"/>
                      <a:pt x="392" y="265"/>
                    </a:cubicBezTo>
                    <a:cubicBezTo>
                      <a:pt x="391" y="265"/>
                      <a:pt x="390" y="265"/>
                      <a:pt x="390" y="265"/>
                    </a:cubicBezTo>
                    <a:cubicBezTo>
                      <a:pt x="389" y="265"/>
                      <a:pt x="388" y="264"/>
                      <a:pt x="387" y="263"/>
                    </a:cubicBezTo>
                    <a:cubicBezTo>
                      <a:pt x="387" y="263"/>
                      <a:pt x="386" y="263"/>
                      <a:pt x="385" y="263"/>
                    </a:cubicBezTo>
                    <a:cubicBezTo>
                      <a:pt x="385" y="263"/>
                      <a:pt x="385" y="264"/>
                      <a:pt x="385" y="264"/>
                    </a:cubicBezTo>
                    <a:cubicBezTo>
                      <a:pt x="385" y="264"/>
                      <a:pt x="386" y="265"/>
                      <a:pt x="386" y="265"/>
                    </a:cubicBezTo>
                    <a:cubicBezTo>
                      <a:pt x="386" y="265"/>
                      <a:pt x="386" y="266"/>
                      <a:pt x="385" y="266"/>
                    </a:cubicBezTo>
                    <a:cubicBezTo>
                      <a:pt x="385" y="266"/>
                      <a:pt x="385" y="266"/>
                      <a:pt x="385" y="266"/>
                    </a:cubicBezTo>
                    <a:cubicBezTo>
                      <a:pt x="385" y="266"/>
                      <a:pt x="383" y="266"/>
                      <a:pt x="383" y="266"/>
                    </a:cubicBezTo>
                    <a:cubicBezTo>
                      <a:pt x="383" y="266"/>
                      <a:pt x="383" y="266"/>
                      <a:pt x="382" y="266"/>
                    </a:cubicBezTo>
                    <a:cubicBezTo>
                      <a:pt x="382" y="266"/>
                      <a:pt x="382" y="266"/>
                      <a:pt x="381" y="266"/>
                    </a:cubicBezTo>
                    <a:cubicBezTo>
                      <a:pt x="381" y="266"/>
                      <a:pt x="380" y="266"/>
                      <a:pt x="380" y="265"/>
                    </a:cubicBezTo>
                    <a:cubicBezTo>
                      <a:pt x="380" y="265"/>
                      <a:pt x="380" y="264"/>
                      <a:pt x="380" y="264"/>
                    </a:cubicBezTo>
                    <a:cubicBezTo>
                      <a:pt x="381" y="264"/>
                      <a:pt x="381" y="264"/>
                      <a:pt x="381" y="263"/>
                    </a:cubicBezTo>
                    <a:cubicBezTo>
                      <a:pt x="381" y="264"/>
                      <a:pt x="381" y="264"/>
                      <a:pt x="380" y="264"/>
                    </a:cubicBezTo>
                    <a:cubicBezTo>
                      <a:pt x="380" y="264"/>
                      <a:pt x="379" y="264"/>
                      <a:pt x="379" y="264"/>
                    </a:cubicBezTo>
                    <a:cubicBezTo>
                      <a:pt x="378" y="263"/>
                      <a:pt x="378" y="263"/>
                      <a:pt x="378" y="262"/>
                    </a:cubicBezTo>
                    <a:cubicBezTo>
                      <a:pt x="378" y="261"/>
                      <a:pt x="377" y="261"/>
                      <a:pt x="377" y="260"/>
                    </a:cubicBezTo>
                    <a:cubicBezTo>
                      <a:pt x="376" y="260"/>
                      <a:pt x="374" y="257"/>
                      <a:pt x="375" y="257"/>
                    </a:cubicBezTo>
                    <a:cubicBezTo>
                      <a:pt x="376" y="256"/>
                      <a:pt x="375" y="256"/>
                      <a:pt x="375" y="256"/>
                    </a:cubicBezTo>
                    <a:cubicBezTo>
                      <a:pt x="375" y="255"/>
                      <a:pt x="375" y="255"/>
                      <a:pt x="375" y="254"/>
                    </a:cubicBezTo>
                    <a:cubicBezTo>
                      <a:pt x="375" y="254"/>
                      <a:pt x="375" y="254"/>
                      <a:pt x="375" y="254"/>
                    </a:cubicBezTo>
                    <a:cubicBezTo>
                      <a:pt x="375" y="253"/>
                      <a:pt x="375" y="253"/>
                      <a:pt x="375" y="253"/>
                    </a:cubicBezTo>
                    <a:cubicBezTo>
                      <a:pt x="375" y="252"/>
                      <a:pt x="375" y="252"/>
                      <a:pt x="375" y="251"/>
                    </a:cubicBezTo>
                    <a:cubicBezTo>
                      <a:pt x="374" y="251"/>
                      <a:pt x="374" y="250"/>
                      <a:pt x="374" y="250"/>
                    </a:cubicBezTo>
                    <a:cubicBezTo>
                      <a:pt x="374" y="249"/>
                      <a:pt x="374" y="249"/>
                      <a:pt x="374" y="248"/>
                    </a:cubicBezTo>
                    <a:cubicBezTo>
                      <a:pt x="374" y="248"/>
                      <a:pt x="374" y="248"/>
                      <a:pt x="374" y="248"/>
                    </a:cubicBezTo>
                    <a:cubicBezTo>
                      <a:pt x="374" y="247"/>
                      <a:pt x="374" y="247"/>
                      <a:pt x="374" y="247"/>
                    </a:cubicBezTo>
                    <a:cubicBezTo>
                      <a:pt x="373" y="246"/>
                      <a:pt x="374" y="246"/>
                      <a:pt x="374" y="246"/>
                    </a:cubicBezTo>
                    <a:cubicBezTo>
                      <a:pt x="375" y="246"/>
                      <a:pt x="375" y="245"/>
                      <a:pt x="375" y="245"/>
                    </a:cubicBezTo>
                    <a:cubicBezTo>
                      <a:pt x="375" y="244"/>
                      <a:pt x="376" y="246"/>
                      <a:pt x="376" y="246"/>
                    </a:cubicBezTo>
                    <a:cubicBezTo>
                      <a:pt x="376" y="245"/>
                      <a:pt x="376" y="244"/>
                      <a:pt x="375" y="244"/>
                    </a:cubicBezTo>
                    <a:cubicBezTo>
                      <a:pt x="375" y="243"/>
                      <a:pt x="376" y="242"/>
                      <a:pt x="376" y="242"/>
                    </a:cubicBezTo>
                    <a:cubicBezTo>
                      <a:pt x="376" y="242"/>
                      <a:pt x="376" y="241"/>
                      <a:pt x="376" y="241"/>
                    </a:cubicBezTo>
                    <a:cubicBezTo>
                      <a:pt x="376" y="240"/>
                      <a:pt x="375" y="240"/>
                      <a:pt x="375" y="240"/>
                    </a:cubicBezTo>
                    <a:cubicBezTo>
                      <a:pt x="375" y="240"/>
                      <a:pt x="375" y="238"/>
                      <a:pt x="375" y="238"/>
                    </a:cubicBezTo>
                    <a:cubicBezTo>
                      <a:pt x="375" y="238"/>
                      <a:pt x="375" y="238"/>
                      <a:pt x="375" y="238"/>
                    </a:cubicBezTo>
                    <a:cubicBezTo>
                      <a:pt x="374" y="237"/>
                      <a:pt x="373" y="236"/>
                      <a:pt x="373" y="235"/>
                    </a:cubicBezTo>
                    <a:cubicBezTo>
                      <a:pt x="372" y="234"/>
                      <a:pt x="372" y="233"/>
                      <a:pt x="371" y="232"/>
                    </a:cubicBezTo>
                    <a:cubicBezTo>
                      <a:pt x="371" y="233"/>
                      <a:pt x="371" y="233"/>
                      <a:pt x="372" y="233"/>
                    </a:cubicBezTo>
                    <a:cubicBezTo>
                      <a:pt x="371" y="232"/>
                      <a:pt x="370" y="231"/>
                      <a:pt x="369" y="229"/>
                    </a:cubicBezTo>
                    <a:cubicBezTo>
                      <a:pt x="369" y="228"/>
                      <a:pt x="369" y="226"/>
                      <a:pt x="368" y="224"/>
                    </a:cubicBezTo>
                    <a:cubicBezTo>
                      <a:pt x="368" y="224"/>
                      <a:pt x="367" y="223"/>
                      <a:pt x="367" y="223"/>
                    </a:cubicBezTo>
                    <a:cubicBezTo>
                      <a:pt x="366" y="222"/>
                      <a:pt x="366" y="222"/>
                      <a:pt x="366" y="221"/>
                    </a:cubicBezTo>
                    <a:cubicBezTo>
                      <a:pt x="365" y="221"/>
                      <a:pt x="365" y="220"/>
                      <a:pt x="365" y="220"/>
                    </a:cubicBezTo>
                    <a:cubicBezTo>
                      <a:pt x="366" y="219"/>
                      <a:pt x="365" y="218"/>
                      <a:pt x="365" y="218"/>
                    </a:cubicBezTo>
                    <a:cubicBezTo>
                      <a:pt x="364" y="218"/>
                      <a:pt x="364" y="215"/>
                      <a:pt x="364" y="216"/>
                    </a:cubicBezTo>
                    <a:cubicBezTo>
                      <a:pt x="365" y="216"/>
                      <a:pt x="365" y="216"/>
                      <a:pt x="366" y="216"/>
                    </a:cubicBezTo>
                    <a:cubicBezTo>
                      <a:pt x="366" y="216"/>
                      <a:pt x="366" y="216"/>
                      <a:pt x="366" y="216"/>
                    </a:cubicBezTo>
                    <a:cubicBezTo>
                      <a:pt x="366" y="217"/>
                      <a:pt x="367" y="216"/>
                      <a:pt x="367" y="216"/>
                    </a:cubicBezTo>
                    <a:cubicBezTo>
                      <a:pt x="369" y="216"/>
                      <a:pt x="368" y="215"/>
                      <a:pt x="368" y="214"/>
                    </a:cubicBezTo>
                    <a:cubicBezTo>
                      <a:pt x="368" y="213"/>
                      <a:pt x="368" y="212"/>
                      <a:pt x="367" y="212"/>
                    </a:cubicBezTo>
                    <a:cubicBezTo>
                      <a:pt x="366" y="211"/>
                      <a:pt x="368" y="211"/>
                      <a:pt x="367" y="211"/>
                    </a:cubicBezTo>
                    <a:cubicBezTo>
                      <a:pt x="367" y="211"/>
                      <a:pt x="367" y="210"/>
                      <a:pt x="367" y="210"/>
                    </a:cubicBezTo>
                    <a:cubicBezTo>
                      <a:pt x="367" y="210"/>
                      <a:pt x="367" y="210"/>
                      <a:pt x="368" y="211"/>
                    </a:cubicBezTo>
                    <a:cubicBezTo>
                      <a:pt x="368" y="211"/>
                      <a:pt x="369" y="211"/>
                      <a:pt x="368" y="210"/>
                    </a:cubicBezTo>
                    <a:cubicBezTo>
                      <a:pt x="368" y="210"/>
                      <a:pt x="368" y="209"/>
                      <a:pt x="368" y="209"/>
                    </a:cubicBezTo>
                    <a:cubicBezTo>
                      <a:pt x="369" y="208"/>
                      <a:pt x="368" y="205"/>
                      <a:pt x="368" y="205"/>
                    </a:cubicBezTo>
                    <a:cubicBezTo>
                      <a:pt x="368" y="204"/>
                      <a:pt x="368" y="203"/>
                      <a:pt x="368" y="203"/>
                    </a:cubicBezTo>
                    <a:cubicBezTo>
                      <a:pt x="368" y="202"/>
                      <a:pt x="369" y="201"/>
                      <a:pt x="369" y="201"/>
                    </a:cubicBezTo>
                    <a:cubicBezTo>
                      <a:pt x="369" y="200"/>
                      <a:pt x="369" y="199"/>
                      <a:pt x="368" y="199"/>
                    </a:cubicBezTo>
                    <a:cubicBezTo>
                      <a:pt x="368" y="198"/>
                      <a:pt x="368" y="198"/>
                      <a:pt x="369" y="197"/>
                    </a:cubicBezTo>
                    <a:cubicBezTo>
                      <a:pt x="369" y="197"/>
                      <a:pt x="369" y="196"/>
                      <a:pt x="369" y="196"/>
                    </a:cubicBezTo>
                    <a:cubicBezTo>
                      <a:pt x="369" y="195"/>
                      <a:pt x="369" y="194"/>
                      <a:pt x="370" y="194"/>
                    </a:cubicBezTo>
                    <a:cubicBezTo>
                      <a:pt x="371" y="193"/>
                      <a:pt x="370" y="192"/>
                      <a:pt x="370" y="192"/>
                    </a:cubicBezTo>
                    <a:cubicBezTo>
                      <a:pt x="370" y="191"/>
                      <a:pt x="370" y="190"/>
                      <a:pt x="370" y="189"/>
                    </a:cubicBezTo>
                    <a:cubicBezTo>
                      <a:pt x="371" y="189"/>
                      <a:pt x="370" y="188"/>
                      <a:pt x="370" y="187"/>
                    </a:cubicBezTo>
                    <a:cubicBezTo>
                      <a:pt x="370" y="187"/>
                      <a:pt x="370" y="186"/>
                      <a:pt x="370" y="186"/>
                    </a:cubicBezTo>
                    <a:cubicBezTo>
                      <a:pt x="370" y="186"/>
                      <a:pt x="370" y="185"/>
                      <a:pt x="370" y="185"/>
                    </a:cubicBezTo>
                    <a:cubicBezTo>
                      <a:pt x="370" y="185"/>
                      <a:pt x="370" y="185"/>
                      <a:pt x="370" y="185"/>
                    </a:cubicBezTo>
                    <a:cubicBezTo>
                      <a:pt x="370" y="184"/>
                      <a:pt x="369" y="183"/>
                      <a:pt x="370" y="182"/>
                    </a:cubicBezTo>
                    <a:cubicBezTo>
                      <a:pt x="370" y="181"/>
                      <a:pt x="370" y="181"/>
                      <a:pt x="370" y="180"/>
                    </a:cubicBezTo>
                    <a:cubicBezTo>
                      <a:pt x="370" y="180"/>
                      <a:pt x="370" y="179"/>
                      <a:pt x="370" y="178"/>
                    </a:cubicBezTo>
                    <a:cubicBezTo>
                      <a:pt x="371" y="178"/>
                      <a:pt x="371" y="178"/>
                      <a:pt x="371" y="177"/>
                    </a:cubicBezTo>
                    <a:cubicBezTo>
                      <a:pt x="371" y="176"/>
                      <a:pt x="371" y="176"/>
                      <a:pt x="371" y="176"/>
                    </a:cubicBezTo>
                    <a:cubicBezTo>
                      <a:pt x="371" y="175"/>
                      <a:pt x="370" y="175"/>
                      <a:pt x="370" y="174"/>
                    </a:cubicBezTo>
                    <a:cubicBezTo>
                      <a:pt x="370" y="174"/>
                      <a:pt x="370" y="174"/>
                      <a:pt x="370" y="173"/>
                    </a:cubicBezTo>
                    <a:cubicBezTo>
                      <a:pt x="370" y="173"/>
                      <a:pt x="369" y="172"/>
                      <a:pt x="369" y="172"/>
                    </a:cubicBezTo>
                    <a:cubicBezTo>
                      <a:pt x="369" y="172"/>
                      <a:pt x="369" y="171"/>
                      <a:pt x="369" y="171"/>
                    </a:cubicBezTo>
                    <a:cubicBezTo>
                      <a:pt x="369" y="171"/>
                      <a:pt x="369" y="170"/>
                      <a:pt x="370" y="170"/>
                    </a:cubicBezTo>
                    <a:cubicBezTo>
                      <a:pt x="371" y="171"/>
                      <a:pt x="370" y="168"/>
                      <a:pt x="370" y="168"/>
                    </a:cubicBezTo>
                    <a:cubicBezTo>
                      <a:pt x="370" y="168"/>
                      <a:pt x="370" y="167"/>
                      <a:pt x="370" y="167"/>
                    </a:cubicBezTo>
                    <a:cubicBezTo>
                      <a:pt x="370" y="167"/>
                      <a:pt x="370" y="167"/>
                      <a:pt x="370" y="167"/>
                    </a:cubicBezTo>
                    <a:cubicBezTo>
                      <a:pt x="370" y="167"/>
                      <a:pt x="370" y="167"/>
                      <a:pt x="370" y="166"/>
                    </a:cubicBezTo>
                    <a:cubicBezTo>
                      <a:pt x="370" y="166"/>
                      <a:pt x="370" y="165"/>
                      <a:pt x="370" y="165"/>
                    </a:cubicBezTo>
                    <a:cubicBezTo>
                      <a:pt x="370" y="164"/>
                      <a:pt x="370" y="164"/>
                      <a:pt x="370" y="163"/>
                    </a:cubicBezTo>
                    <a:cubicBezTo>
                      <a:pt x="370" y="163"/>
                      <a:pt x="369" y="162"/>
                      <a:pt x="369" y="162"/>
                    </a:cubicBezTo>
                    <a:cubicBezTo>
                      <a:pt x="369" y="162"/>
                      <a:pt x="368" y="161"/>
                      <a:pt x="368" y="161"/>
                    </a:cubicBezTo>
                    <a:cubicBezTo>
                      <a:pt x="368" y="161"/>
                      <a:pt x="368" y="160"/>
                      <a:pt x="368" y="159"/>
                    </a:cubicBezTo>
                    <a:cubicBezTo>
                      <a:pt x="368" y="159"/>
                      <a:pt x="368" y="158"/>
                      <a:pt x="368" y="158"/>
                    </a:cubicBezTo>
                    <a:cubicBezTo>
                      <a:pt x="368" y="157"/>
                      <a:pt x="367" y="157"/>
                      <a:pt x="367" y="157"/>
                    </a:cubicBezTo>
                    <a:cubicBezTo>
                      <a:pt x="367" y="156"/>
                      <a:pt x="367" y="155"/>
                      <a:pt x="366" y="155"/>
                    </a:cubicBezTo>
                    <a:cubicBezTo>
                      <a:pt x="366" y="154"/>
                      <a:pt x="366" y="154"/>
                      <a:pt x="366" y="153"/>
                    </a:cubicBezTo>
                    <a:cubicBezTo>
                      <a:pt x="365" y="152"/>
                      <a:pt x="365" y="152"/>
                      <a:pt x="365" y="151"/>
                    </a:cubicBezTo>
                    <a:cubicBezTo>
                      <a:pt x="364" y="150"/>
                      <a:pt x="364" y="148"/>
                      <a:pt x="364" y="147"/>
                    </a:cubicBezTo>
                    <a:cubicBezTo>
                      <a:pt x="363" y="146"/>
                      <a:pt x="363" y="145"/>
                      <a:pt x="362" y="143"/>
                    </a:cubicBezTo>
                    <a:cubicBezTo>
                      <a:pt x="362" y="143"/>
                      <a:pt x="362" y="140"/>
                      <a:pt x="362" y="140"/>
                    </a:cubicBezTo>
                    <a:cubicBezTo>
                      <a:pt x="362" y="140"/>
                      <a:pt x="363" y="140"/>
                      <a:pt x="363" y="140"/>
                    </a:cubicBezTo>
                    <a:cubicBezTo>
                      <a:pt x="364" y="140"/>
                      <a:pt x="364" y="139"/>
                      <a:pt x="364" y="139"/>
                    </a:cubicBezTo>
                    <a:cubicBezTo>
                      <a:pt x="364" y="140"/>
                      <a:pt x="364" y="138"/>
                      <a:pt x="364" y="138"/>
                    </a:cubicBezTo>
                    <a:cubicBezTo>
                      <a:pt x="364" y="138"/>
                      <a:pt x="364" y="137"/>
                      <a:pt x="364" y="137"/>
                    </a:cubicBezTo>
                    <a:cubicBezTo>
                      <a:pt x="364" y="137"/>
                      <a:pt x="364" y="136"/>
                      <a:pt x="364" y="136"/>
                    </a:cubicBezTo>
                    <a:cubicBezTo>
                      <a:pt x="364" y="136"/>
                      <a:pt x="365" y="136"/>
                      <a:pt x="365" y="136"/>
                    </a:cubicBezTo>
                    <a:cubicBezTo>
                      <a:pt x="365" y="135"/>
                      <a:pt x="364" y="135"/>
                      <a:pt x="364" y="134"/>
                    </a:cubicBezTo>
                    <a:cubicBezTo>
                      <a:pt x="364" y="134"/>
                      <a:pt x="364" y="133"/>
                      <a:pt x="364" y="132"/>
                    </a:cubicBezTo>
                    <a:cubicBezTo>
                      <a:pt x="363" y="132"/>
                      <a:pt x="363" y="131"/>
                      <a:pt x="363" y="130"/>
                    </a:cubicBezTo>
                    <a:cubicBezTo>
                      <a:pt x="363" y="129"/>
                      <a:pt x="362" y="129"/>
                      <a:pt x="361" y="128"/>
                    </a:cubicBezTo>
                    <a:cubicBezTo>
                      <a:pt x="361" y="128"/>
                      <a:pt x="361" y="127"/>
                      <a:pt x="361" y="126"/>
                    </a:cubicBezTo>
                    <a:cubicBezTo>
                      <a:pt x="360" y="124"/>
                      <a:pt x="361" y="125"/>
                      <a:pt x="361" y="124"/>
                    </a:cubicBezTo>
                    <a:cubicBezTo>
                      <a:pt x="361" y="123"/>
                      <a:pt x="362" y="123"/>
                      <a:pt x="362" y="122"/>
                    </a:cubicBezTo>
                    <a:cubicBezTo>
                      <a:pt x="362" y="122"/>
                      <a:pt x="361" y="121"/>
                      <a:pt x="362" y="121"/>
                    </a:cubicBezTo>
                    <a:cubicBezTo>
                      <a:pt x="362" y="121"/>
                      <a:pt x="362" y="121"/>
                      <a:pt x="362" y="120"/>
                    </a:cubicBezTo>
                    <a:cubicBezTo>
                      <a:pt x="362" y="120"/>
                      <a:pt x="362" y="120"/>
                      <a:pt x="362" y="120"/>
                    </a:cubicBezTo>
                    <a:cubicBezTo>
                      <a:pt x="362" y="119"/>
                      <a:pt x="362" y="118"/>
                      <a:pt x="362" y="118"/>
                    </a:cubicBezTo>
                    <a:cubicBezTo>
                      <a:pt x="362" y="116"/>
                      <a:pt x="362" y="115"/>
                      <a:pt x="362" y="114"/>
                    </a:cubicBezTo>
                    <a:cubicBezTo>
                      <a:pt x="362" y="114"/>
                      <a:pt x="362" y="112"/>
                      <a:pt x="362" y="111"/>
                    </a:cubicBezTo>
                    <a:cubicBezTo>
                      <a:pt x="362" y="111"/>
                      <a:pt x="363" y="111"/>
                      <a:pt x="363" y="111"/>
                    </a:cubicBezTo>
                    <a:cubicBezTo>
                      <a:pt x="363" y="111"/>
                      <a:pt x="363" y="110"/>
                      <a:pt x="363" y="110"/>
                    </a:cubicBezTo>
                    <a:cubicBezTo>
                      <a:pt x="363" y="109"/>
                      <a:pt x="362" y="109"/>
                      <a:pt x="362" y="108"/>
                    </a:cubicBezTo>
                    <a:cubicBezTo>
                      <a:pt x="362" y="108"/>
                      <a:pt x="362" y="107"/>
                      <a:pt x="362" y="107"/>
                    </a:cubicBezTo>
                    <a:cubicBezTo>
                      <a:pt x="362" y="106"/>
                      <a:pt x="362" y="106"/>
                      <a:pt x="362" y="105"/>
                    </a:cubicBezTo>
                    <a:cubicBezTo>
                      <a:pt x="362" y="106"/>
                      <a:pt x="362" y="105"/>
                      <a:pt x="363" y="105"/>
                    </a:cubicBezTo>
                    <a:cubicBezTo>
                      <a:pt x="363" y="104"/>
                      <a:pt x="362" y="103"/>
                      <a:pt x="363" y="102"/>
                    </a:cubicBezTo>
                    <a:cubicBezTo>
                      <a:pt x="363" y="100"/>
                      <a:pt x="363" y="99"/>
                      <a:pt x="363" y="98"/>
                    </a:cubicBezTo>
                    <a:cubicBezTo>
                      <a:pt x="363" y="97"/>
                      <a:pt x="363" y="97"/>
                      <a:pt x="363" y="96"/>
                    </a:cubicBezTo>
                    <a:cubicBezTo>
                      <a:pt x="363" y="96"/>
                      <a:pt x="363" y="96"/>
                      <a:pt x="363" y="96"/>
                    </a:cubicBezTo>
                    <a:cubicBezTo>
                      <a:pt x="363" y="95"/>
                      <a:pt x="363" y="94"/>
                      <a:pt x="363" y="93"/>
                    </a:cubicBezTo>
                    <a:cubicBezTo>
                      <a:pt x="362" y="92"/>
                      <a:pt x="362" y="92"/>
                      <a:pt x="362" y="91"/>
                    </a:cubicBezTo>
                    <a:cubicBezTo>
                      <a:pt x="361" y="91"/>
                      <a:pt x="361" y="90"/>
                      <a:pt x="362" y="90"/>
                    </a:cubicBezTo>
                    <a:cubicBezTo>
                      <a:pt x="362" y="89"/>
                      <a:pt x="362" y="89"/>
                      <a:pt x="362" y="88"/>
                    </a:cubicBezTo>
                    <a:cubicBezTo>
                      <a:pt x="362" y="87"/>
                      <a:pt x="362" y="88"/>
                      <a:pt x="362" y="87"/>
                    </a:cubicBezTo>
                    <a:cubicBezTo>
                      <a:pt x="363" y="87"/>
                      <a:pt x="363" y="86"/>
                      <a:pt x="363" y="86"/>
                    </a:cubicBezTo>
                    <a:cubicBezTo>
                      <a:pt x="363" y="86"/>
                      <a:pt x="363" y="86"/>
                      <a:pt x="363" y="86"/>
                    </a:cubicBezTo>
                    <a:cubicBezTo>
                      <a:pt x="363" y="85"/>
                      <a:pt x="363" y="84"/>
                      <a:pt x="363" y="84"/>
                    </a:cubicBezTo>
                    <a:cubicBezTo>
                      <a:pt x="362" y="83"/>
                      <a:pt x="362" y="83"/>
                      <a:pt x="362" y="82"/>
                    </a:cubicBezTo>
                    <a:cubicBezTo>
                      <a:pt x="362" y="82"/>
                      <a:pt x="362" y="81"/>
                      <a:pt x="362" y="81"/>
                    </a:cubicBezTo>
                    <a:cubicBezTo>
                      <a:pt x="361" y="80"/>
                      <a:pt x="361" y="80"/>
                      <a:pt x="361" y="79"/>
                    </a:cubicBezTo>
                    <a:cubicBezTo>
                      <a:pt x="361" y="79"/>
                      <a:pt x="361" y="78"/>
                      <a:pt x="361" y="77"/>
                    </a:cubicBezTo>
                    <a:cubicBezTo>
                      <a:pt x="360" y="77"/>
                      <a:pt x="361" y="76"/>
                      <a:pt x="361" y="76"/>
                    </a:cubicBezTo>
                    <a:cubicBezTo>
                      <a:pt x="361" y="75"/>
                      <a:pt x="361" y="75"/>
                      <a:pt x="361" y="74"/>
                    </a:cubicBezTo>
                    <a:cubicBezTo>
                      <a:pt x="361" y="73"/>
                      <a:pt x="360" y="72"/>
                      <a:pt x="360" y="70"/>
                    </a:cubicBezTo>
                    <a:cubicBezTo>
                      <a:pt x="360" y="70"/>
                      <a:pt x="360" y="69"/>
                      <a:pt x="360" y="69"/>
                    </a:cubicBezTo>
                    <a:cubicBezTo>
                      <a:pt x="360" y="68"/>
                      <a:pt x="361" y="68"/>
                      <a:pt x="361" y="67"/>
                    </a:cubicBezTo>
                    <a:cubicBezTo>
                      <a:pt x="361" y="67"/>
                      <a:pt x="361" y="66"/>
                      <a:pt x="360" y="65"/>
                    </a:cubicBezTo>
                    <a:cubicBezTo>
                      <a:pt x="360" y="65"/>
                      <a:pt x="360" y="65"/>
                      <a:pt x="360" y="65"/>
                    </a:cubicBezTo>
                    <a:cubicBezTo>
                      <a:pt x="359" y="66"/>
                      <a:pt x="359" y="65"/>
                      <a:pt x="359" y="65"/>
                    </a:cubicBezTo>
                    <a:cubicBezTo>
                      <a:pt x="358" y="65"/>
                      <a:pt x="359" y="65"/>
                      <a:pt x="359" y="65"/>
                    </a:cubicBezTo>
                    <a:cubicBezTo>
                      <a:pt x="359" y="64"/>
                      <a:pt x="359" y="64"/>
                      <a:pt x="358" y="63"/>
                    </a:cubicBezTo>
                    <a:cubicBezTo>
                      <a:pt x="358" y="63"/>
                      <a:pt x="359" y="62"/>
                      <a:pt x="359" y="62"/>
                    </a:cubicBezTo>
                    <a:cubicBezTo>
                      <a:pt x="359" y="61"/>
                      <a:pt x="358" y="61"/>
                      <a:pt x="359" y="61"/>
                    </a:cubicBezTo>
                    <a:cubicBezTo>
                      <a:pt x="359" y="60"/>
                      <a:pt x="359" y="61"/>
                      <a:pt x="360" y="61"/>
                    </a:cubicBezTo>
                    <a:cubicBezTo>
                      <a:pt x="361" y="60"/>
                      <a:pt x="361" y="59"/>
                      <a:pt x="361" y="58"/>
                    </a:cubicBezTo>
                    <a:cubicBezTo>
                      <a:pt x="360" y="58"/>
                      <a:pt x="361" y="57"/>
                      <a:pt x="361" y="57"/>
                    </a:cubicBezTo>
                    <a:cubicBezTo>
                      <a:pt x="361" y="56"/>
                      <a:pt x="361" y="55"/>
                      <a:pt x="361" y="54"/>
                    </a:cubicBezTo>
                    <a:cubicBezTo>
                      <a:pt x="360" y="53"/>
                      <a:pt x="360" y="52"/>
                      <a:pt x="360" y="51"/>
                    </a:cubicBezTo>
                    <a:cubicBezTo>
                      <a:pt x="360" y="50"/>
                      <a:pt x="361" y="49"/>
                      <a:pt x="361" y="49"/>
                    </a:cubicBezTo>
                    <a:cubicBezTo>
                      <a:pt x="361" y="48"/>
                      <a:pt x="360" y="48"/>
                      <a:pt x="361" y="47"/>
                    </a:cubicBezTo>
                    <a:cubicBezTo>
                      <a:pt x="361" y="47"/>
                      <a:pt x="360" y="46"/>
                      <a:pt x="361" y="45"/>
                    </a:cubicBezTo>
                    <a:cubicBezTo>
                      <a:pt x="361" y="44"/>
                      <a:pt x="361" y="44"/>
                      <a:pt x="361" y="44"/>
                    </a:cubicBezTo>
                    <a:cubicBezTo>
                      <a:pt x="361" y="43"/>
                      <a:pt x="361" y="43"/>
                      <a:pt x="361" y="43"/>
                    </a:cubicBezTo>
                    <a:cubicBezTo>
                      <a:pt x="361" y="42"/>
                      <a:pt x="361" y="41"/>
                      <a:pt x="360" y="40"/>
                    </a:cubicBezTo>
                    <a:cubicBezTo>
                      <a:pt x="360" y="39"/>
                      <a:pt x="360" y="39"/>
                      <a:pt x="360" y="38"/>
                    </a:cubicBezTo>
                    <a:cubicBezTo>
                      <a:pt x="359" y="38"/>
                      <a:pt x="360" y="38"/>
                      <a:pt x="360" y="37"/>
                    </a:cubicBezTo>
                    <a:cubicBezTo>
                      <a:pt x="359" y="37"/>
                      <a:pt x="359" y="36"/>
                      <a:pt x="359" y="36"/>
                    </a:cubicBezTo>
                    <a:cubicBezTo>
                      <a:pt x="359" y="36"/>
                      <a:pt x="359" y="35"/>
                      <a:pt x="359" y="34"/>
                    </a:cubicBezTo>
                    <a:cubicBezTo>
                      <a:pt x="359" y="34"/>
                      <a:pt x="359" y="34"/>
                      <a:pt x="358" y="33"/>
                    </a:cubicBezTo>
                    <a:cubicBezTo>
                      <a:pt x="358" y="33"/>
                      <a:pt x="359" y="32"/>
                      <a:pt x="359" y="32"/>
                    </a:cubicBezTo>
                    <a:cubicBezTo>
                      <a:pt x="358" y="31"/>
                      <a:pt x="358" y="31"/>
                      <a:pt x="359" y="31"/>
                    </a:cubicBezTo>
                    <a:cubicBezTo>
                      <a:pt x="359" y="30"/>
                      <a:pt x="359" y="30"/>
                      <a:pt x="358" y="29"/>
                    </a:cubicBezTo>
                    <a:cubicBezTo>
                      <a:pt x="358" y="29"/>
                      <a:pt x="358" y="28"/>
                      <a:pt x="358" y="28"/>
                    </a:cubicBezTo>
                    <a:cubicBezTo>
                      <a:pt x="358" y="27"/>
                      <a:pt x="358" y="26"/>
                      <a:pt x="358" y="26"/>
                    </a:cubicBezTo>
                    <a:cubicBezTo>
                      <a:pt x="358" y="24"/>
                      <a:pt x="358" y="23"/>
                      <a:pt x="357" y="23"/>
                    </a:cubicBezTo>
                    <a:cubicBezTo>
                      <a:pt x="358" y="22"/>
                      <a:pt x="357" y="21"/>
                      <a:pt x="357" y="20"/>
                    </a:cubicBezTo>
                    <a:cubicBezTo>
                      <a:pt x="356" y="19"/>
                      <a:pt x="356" y="18"/>
                      <a:pt x="356" y="17"/>
                    </a:cubicBezTo>
                    <a:cubicBezTo>
                      <a:pt x="355" y="16"/>
                      <a:pt x="355" y="15"/>
                      <a:pt x="355" y="15"/>
                    </a:cubicBezTo>
                    <a:cubicBezTo>
                      <a:pt x="355" y="14"/>
                      <a:pt x="355" y="14"/>
                      <a:pt x="355" y="14"/>
                    </a:cubicBezTo>
                    <a:cubicBezTo>
                      <a:pt x="355" y="13"/>
                      <a:pt x="355" y="13"/>
                      <a:pt x="355" y="12"/>
                    </a:cubicBezTo>
                    <a:cubicBezTo>
                      <a:pt x="355" y="11"/>
                      <a:pt x="355" y="10"/>
                      <a:pt x="354" y="9"/>
                    </a:cubicBezTo>
                    <a:cubicBezTo>
                      <a:pt x="354" y="8"/>
                      <a:pt x="356" y="9"/>
                      <a:pt x="357" y="8"/>
                    </a:cubicBezTo>
                    <a:cubicBezTo>
                      <a:pt x="358" y="8"/>
                      <a:pt x="359" y="7"/>
                      <a:pt x="359" y="5"/>
                    </a:cubicBezTo>
                    <a:cubicBezTo>
                      <a:pt x="359" y="5"/>
                      <a:pt x="359" y="4"/>
                      <a:pt x="359" y="3"/>
                    </a:cubicBezTo>
                    <a:cubicBezTo>
                      <a:pt x="359" y="3"/>
                      <a:pt x="358" y="2"/>
                      <a:pt x="358" y="2"/>
                    </a:cubicBezTo>
                    <a:cubicBezTo>
                      <a:pt x="358" y="1"/>
                      <a:pt x="359" y="1"/>
                      <a:pt x="360" y="1"/>
                    </a:cubicBezTo>
                    <a:cubicBezTo>
                      <a:pt x="360" y="1"/>
                      <a:pt x="361" y="0"/>
                      <a:pt x="361" y="0"/>
                    </a:cubicBezTo>
                    <a:cubicBezTo>
                      <a:pt x="362" y="1"/>
                      <a:pt x="362" y="1"/>
                      <a:pt x="363" y="2"/>
                    </a:cubicBezTo>
                    <a:cubicBezTo>
                      <a:pt x="363" y="2"/>
                      <a:pt x="363" y="3"/>
                      <a:pt x="363" y="3"/>
                    </a:cubicBezTo>
                    <a:cubicBezTo>
                      <a:pt x="364" y="4"/>
                      <a:pt x="363" y="4"/>
                      <a:pt x="364" y="5"/>
                    </a:cubicBezTo>
                    <a:cubicBezTo>
                      <a:pt x="364" y="5"/>
                      <a:pt x="364" y="5"/>
                      <a:pt x="364" y="5"/>
                    </a:cubicBezTo>
                    <a:cubicBezTo>
                      <a:pt x="364" y="5"/>
                      <a:pt x="365" y="5"/>
                      <a:pt x="365" y="5"/>
                    </a:cubicBezTo>
                    <a:cubicBezTo>
                      <a:pt x="365" y="5"/>
                      <a:pt x="366" y="5"/>
                      <a:pt x="366" y="6"/>
                    </a:cubicBezTo>
                    <a:cubicBezTo>
                      <a:pt x="366" y="6"/>
                      <a:pt x="365" y="6"/>
                      <a:pt x="366" y="7"/>
                    </a:cubicBezTo>
                    <a:cubicBezTo>
                      <a:pt x="366" y="8"/>
                      <a:pt x="366" y="9"/>
                      <a:pt x="367" y="9"/>
                    </a:cubicBezTo>
                    <a:cubicBezTo>
                      <a:pt x="367" y="11"/>
                      <a:pt x="367" y="12"/>
                      <a:pt x="368" y="14"/>
                    </a:cubicBezTo>
                    <a:cubicBezTo>
                      <a:pt x="368" y="14"/>
                      <a:pt x="368" y="15"/>
                      <a:pt x="368" y="15"/>
                    </a:cubicBezTo>
                    <a:cubicBezTo>
                      <a:pt x="368" y="16"/>
                      <a:pt x="369" y="17"/>
                      <a:pt x="369" y="17"/>
                    </a:cubicBezTo>
                    <a:cubicBezTo>
                      <a:pt x="370" y="17"/>
                      <a:pt x="370" y="18"/>
                      <a:pt x="371" y="18"/>
                    </a:cubicBezTo>
                    <a:cubicBezTo>
                      <a:pt x="372" y="19"/>
                      <a:pt x="372" y="19"/>
                      <a:pt x="372" y="20"/>
                    </a:cubicBezTo>
                    <a:cubicBezTo>
                      <a:pt x="373" y="20"/>
                      <a:pt x="374" y="20"/>
                      <a:pt x="374" y="21"/>
                    </a:cubicBezTo>
                    <a:cubicBezTo>
                      <a:pt x="374" y="21"/>
                      <a:pt x="373" y="22"/>
                      <a:pt x="373" y="22"/>
                    </a:cubicBezTo>
                    <a:cubicBezTo>
                      <a:pt x="372" y="23"/>
                      <a:pt x="372" y="24"/>
                      <a:pt x="372" y="24"/>
                    </a:cubicBezTo>
                    <a:cubicBezTo>
                      <a:pt x="372" y="25"/>
                      <a:pt x="373" y="25"/>
                      <a:pt x="373" y="25"/>
                    </a:cubicBezTo>
                    <a:cubicBezTo>
                      <a:pt x="374" y="26"/>
                      <a:pt x="373" y="26"/>
                      <a:pt x="373" y="27"/>
                    </a:cubicBezTo>
                    <a:cubicBezTo>
                      <a:pt x="373" y="28"/>
                      <a:pt x="373" y="28"/>
                      <a:pt x="372" y="28"/>
                    </a:cubicBezTo>
                    <a:cubicBezTo>
                      <a:pt x="372" y="28"/>
                      <a:pt x="371" y="28"/>
                      <a:pt x="371" y="28"/>
                    </a:cubicBezTo>
                    <a:cubicBezTo>
                      <a:pt x="372" y="29"/>
                      <a:pt x="372" y="28"/>
                      <a:pt x="372" y="29"/>
                    </a:cubicBezTo>
                    <a:cubicBezTo>
                      <a:pt x="372" y="29"/>
                      <a:pt x="373" y="31"/>
                      <a:pt x="373" y="31"/>
                    </a:cubicBezTo>
                    <a:cubicBezTo>
                      <a:pt x="372" y="31"/>
                      <a:pt x="372" y="32"/>
                      <a:pt x="373" y="33"/>
                    </a:cubicBezTo>
                    <a:cubicBezTo>
                      <a:pt x="373" y="33"/>
                      <a:pt x="376" y="34"/>
                      <a:pt x="375" y="35"/>
                    </a:cubicBezTo>
                    <a:cubicBezTo>
                      <a:pt x="374" y="35"/>
                      <a:pt x="374" y="36"/>
                      <a:pt x="374" y="36"/>
                    </a:cubicBezTo>
                    <a:cubicBezTo>
                      <a:pt x="375" y="37"/>
                      <a:pt x="375" y="37"/>
                      <a:pt x="376" y="37"/>
                    </a:cubicBezTo>
                    <a:cubicBezTo>
                      <a:pt x="376" y="37"/>
                      <a:pt x="377" y="38"/>
                      <a:pt x="377" y="39"/>
                    </a:cubicBezTo>
                    <a:cubicBezTo>
                      <a:pt x="377" y="39"/>
                      <a:pt x="378" y="40"/>
                      <a:pt x="378" y="41"/>
                    </a:cubicBezTo>
                    <a:cubicBezTo>
                      <a:pt x="378" y="41"/>
                      <a:pt x="379" y="42"/>
                      <a:pt x="379" y="42"/>
                    </a:cubicBezTo>
                    <a:cubicBezTo>
                      <a:pt x="379" y="43"/>
                      <a:pt x="379" y="44"/>
                      <a:pt x="380" y="45"/>
                    </a:cubicBezTo>
                    <a:cubicBezTo>
                      <a:pt x="380" y="47"/>
                      <a:pt x="380" y="48"/>
                      <a:pt x="381" y="49"/>
                    </a:cubicBezTo>
                    <a:cubicBezTo>
                      <a:pt x="382" y="50"/>
                      <a:pt x="382" y="50"/>
                      <a:pt x="382" y="51"/>
                    </a:cubicBezTo>
                    <a:cubicBezTo>
                      <a:pt x="382" y="52"/>
                      <a:pt x="382" y="52"/>
                      <a:pt x="382" y="53"/>
                    </a:cubicBezTo>
                    <a:cubicBezTo>
                      <a:pt x="383" y="54"/>
                      <a:pt x="383" y="54"/>
                      <a:pt x="383" y="55"/>
                    </a:cubicBezTo>
                    <a:cubicBezTo>
                      <a:pt x="384" y="55"/>
                      <a:pt x="383" y="56"/>
                      <a:pt x="383" y="57"/>
                    </a:cubicBezTo>
                    <a:cubicBezTo>
                      <a:pt x="383" y="58"/>
                      <a:pt x="385" y="59"/>
                      <a:pt x="386" y="59"/>
                    </a:cubicBezTo>
                    <a:cubicBezTo>
                      <a:pt x="387" y="59"/>
                      <a:pt x="388" y="58"/>
                      <a:pt x="389" y="58"/>
                    </a:cubicBezTo>
                    <a:cubicBezTo>
                      <a:pt x="389" y="58"/>
                      <a:pt x="390" y="58"/>
                      <a:pt x="390" y="58"/>
                    </a:cubicBezTo>
                    <a:cubicBezTo>
                      <a:pt x="391" y="58"/>
                      <a:pt x="392" y="60"/>
                      <a:pt x="392" y="60"/>
                    </a:cubicBezTo>
                    <a:cubicBezTo>
                      <a:pt x="392" y="61"/>
                      <a:pt x="392" y="62"/>
                      <a:pt x="392" y="63"/>
                    </a:cubicBezTo>
                    <a:cubicBezTo>
                      <a:pt x="391" y="64"/>
                      <a:pt x="391" y="65"/>
                      <a:pt x="391" y="66"/>
                    </a:cubicBezTo>
                    <a:cubicBezTo>
                      <a:pt x="391" y="66"/>
                      <a:pt x="391" y="67"/>
                      <a:pt x="391" y="68"/>
                    </a:cubicBezTo>
                    <a:cubicBezTo>
                      <a:pt x="391" y="69"/>
                      <a:pt x="391" y="70"/>
                      <a:pt x="390" y="71"/>
                    </a:cubicBezTo>
                    <a:cubicBezTo>
                      <a:pt x="390" y="71"/>
                      <a:pt x="390" y="72"/>
                      <a:pt x="389" y="72"/>
                    </a:cubicBezTo>
                    <a:cubicBezTo>
                      <a:pt x="388" y="72"/>
                      <a:pt x="388" y="73"/>
                      <a:pt x="387" y="73"/>
                    </a:cubicBezTo>
                    <a:cubicBezTo>
                      <a:pt x="386" y="73"/>
                      <a:pt x="385" y="74"/>
                      <a:pt x="385" y="74"/>
                    </a:cubicBezTo>
                    <a:cubicBezTo>
                      <a:pt x="384" y="75"/>
                      <a:pt x="383" y="75"/>
                      <a:pt x="382" y="75"/>
                    </a:cubicBezTo>
                    <a:cubicBezTo>
                      <a:pt x="382" y="76"/>
                      <a:pt x="382" y="76"/>
                      <a:pt x="382" y="76"/>
                    </a:cubicBezTo>
                    <a:cubicBezTo>
                      <a:pt x="381" y="76"/>
                      <a:pt x="381" y="77"/>
                      <a:pt x="381" y="77"/>
                    </a:cubicBezTo>
                    <a:cubicBezTo>
                      <a:pt x="381" y="78"/>
                      <a:pt x="381" y="77"/>
                      <a:pt x="380" y="78"/>
                    </a:cubicBezTo>
                    <a:cubicBezTo>
                      <a:pt x="380" y="78"/>
                      <a:pt x="380" y="79"/>
                      <a:pt x="380" y="80"/>
                    </a:cubicBezTo>
                    <a:cubicBezTo>
                      <a:pt x="380" y="80"/>
                      <a:pt x="380" y="81"/>
                      <a:pt x="381" y="81"/>
                    </a:cubicBezTo>
                    <a:cubicBezTo>
                      <a:pt x="381" y="81"/>
                      <a:pt x="382" y="82"/>
                      <a:pt x="382" y="82"/>
                    </a:cubicBezTo>
                    <a:cubicBezTo>
                      <a:pt x="382" y="82"/>
                      <a:pt x="383" y="83"/>
                      <a:pt x="382" y="83"/>
                    </a:cubicBezTo>
                    <a:cubicBezTo>
                      <a:pt x="382" y="84"/>
                      <a:pt x="382" y="84"/>
                      <a:pt x="381" y="84"/>
                    </a:cubicBezTo>
                    <a:cubicBezTo>
                      <a:pt x="381" y="85"/>
                      <a:pt x="381" y="86"/>
                      <a:pt x="381" y="87"/>
                    </a:cubicBezTo>
                    <a:cubicBezTo>
                      <a:pt x="381" y="88"/>
                      <a:pt x="381" y="88"/>
                      <a:pt x="381" y="88"/>
                    </a:cubicBezTo>
                    <a:cubicBezTo>
                      <a:pt x="382" y="89"/>
                      <a:pt x="382" y="90"/>
                      <a:pt x="383" y="91"/>
                    </a:cubicBezTo>
                    <a:cubicBezTo>
                      <a:pt x="383" y="91"/>
                      <a:pt x="383" y="92"/>
                      <a:pt x="383" y="93"/>
                    </a:cubicBezTo>
                    <a:cubicBezTo>
                      <a:pt x="383" y="93"/>
                      <a:pt x="384" y="94"/>
                      <a:pt x="384" y="95"/>
                    </a:cubicBezTo>
                    <a:cubicBezTo>
                      <a:pt x="384" y="95"/>
                      <a:pt x="383" y="96"/>
                      <a:pt x="383" y="96"/>
                    </a:cubicBezTo>
                    <a:cubicBezTo>
                      <a:pt x="382" y="97"/>
                      <a:pt x="383" y="98"/>
                      <a:pt x="383" y="99"/>
                    </a:cubicBezTo>
                    <a:cubicBezTo>
                      <a:pt x="383" y="99"/>
                      <a:pt x="383" y="100"/>
                      <a:pt x="384" y="100"/>
                    </a:cubicBezTo>
                    <a:cubicBezTo>
                      <a:pt x="384" y="101"/>
                      <a:pt x="385" y="101"/>
                      <a:pt x="385" y="102"/>
                    </a:cubicBezTo>
                    <a:cubicBezTo>
                      <a:pt x="386" y="102"/>
                      <a:pt x="386" y="103"/>
                      <a:pt x="386" y="103"/>
                    </a:cubicBezTo>
                    <a:cubicBezTo>
                      <a:pt x="386" y="103"/>
                      <a:pt x="386" y="104"/>
                      <a:pt x="386" y="104"/>
                    </a:cubicBezTo>
                    <a:cubicBezTo>
                      <a:pt x="386" y="105"/>
                      <a:pt x="385" y="105"/>
                      <a:pt x="385" y="105"/>
                    </a:cubicBezTo>
                    <a:cubicBezTo>
                      <a:pt x="384" y="105"/>
                      <a:pt x="384" y="105"/>
                      <a:pt x="384" y="106"/>
                    </a:cubicBezTo>
                    <a:cubicBezTo>
                      <a:pt x="384" y="106"/>
                      <a:pt x="383" y="105"/>
                      <a:pt x="382" y="105"/>
                    </a:cubicBezTo>
                    <a:cubicBezTo>
                      <a:pt x="381" y="105"/>
                      <a:pt x="382" y="106"/>
                      <a:pt x="382" y="107"/>
                    </a:cubicBezTo>
                    <a:cubicBezTo>
                      <a:pt x="382" y="108"/>
                      <a:pt x="381" y="108"/>
                      <a:pt x="381" y="109"/>
                    </a:cubicBezTo>
                    <a:cubicBezTo>
                      <a:pt x="380" y="109"/>
                      <a:pt x="381" y="110"/>
                      <a:pt x="381" y="111"/>
                    </a:cubicBezTo>
                    <a:cubicBezTo>
                      <a:pt x="380" y="111"/>
                      <a:pt x="380" y="112"/>
                      <a:pt x="380" y="112"/>
                    </a:cubicBezTo>
                    <a:cubicBezTo>
                      <a:pt x="380" y="113"/>
                      <a:pt x="380" y="114"/>
                      <a:pt x="380" y="114"/>
                    </a:cubicBezTo>
                    <a:cubicBezTo>
                      <a:pt x="380" y="115"/>
                      <a:pt x="379" y="115"/>
                      <a:pt x="379" y="115"/>
                    </a:cubicBezTo>
                    <a:cubicBezTo>
                      <a:pt x="379" y="116"/>
                      <a:pt x="379" y="116"/>
                      <a:pt x="379" y="117"/>
                    </a:cubicBezTo>
                    <a:cubicBezTo>
                      <a:pt x="378" y="117"/>
                      <a:pt x="378" y="117"/>
                      <a:pt x="378" y="117"/>
                    </a:cubicBezTo>
                    <a:cubicBezTo>
                      <a:pt x="378" y="117"/>
                      <a:pt x="378" y="118"/>
                      <a:pt x="378" y="118"/>
                    </a:cubicBezTo>
                    <a:cubicBezTo>
                      <a:pt x="377" y="118"/>
                      <a:pt x="377" y="119"/>
                      <a:pt x="377" y="119"/>
                    </a:cubicBezTo>
                    <a:cubicBezTo>
                      <a:pt x="376" y="120"/>
                      <a:pt x="377" y="120"/>
                      <a:pt x="377" y="121"/>
                    </a:cubicBezTo>
                    <a:cubicBezTo>
                      <a:pt x="377" y="121"/>
                      <a:pt x="376" y="122"/>
                      <a:pt x="376" y="122"/>
                    </a:cubicBezTo>
                    <a:cubicBezTo>
                      <a:pt x="376" y="123"/>
                      <a:pt x="377" y="124"/>
                      <a:pt x="377" y="125"/>
                    </a:cubicBezTo>
                    <a:cubicBezTo>
                      <a:pt x="376" y="125"/>
                      <a:pt x="377" y="126"/>
                      <a:pt x="377" y="127"/>
                    </a:cubicBezTo>
                    <a:cubicBezTo>
                      <a:pt x="377" y="127"/>
                      <a:pt x="376" y="127"/>
                      <a:pt x="376" y="127"/>
                    </a:cubicBezTo>
                    <a:cubicBezTo>
                      <a:pt x="376" y="128"/>
                      <a:pt x="375" y="128"/>
                      <a:pt x="375" y="128"/>
                    </a:cubicBezTo>
                    <a:cubicBezTo>
                      <a:pt x="375" y="128"/>
                      <a:pt x="376" y="129"/>
                      <a:pt x="375" y="129"/>
                    </a:cubicBezTo>
                    <a:cubicBezTo>
                      <a:pt x="375" y="129"/>
                      <a:pt x="375" y="129"/>
                      <a:pt x="375" y="129"/>
                    </a:cubicBezTo>
                    <a:cubicBezTo>
                      <a:pt x="375" y="130"/>
                      <a:pt x="376" y="131"/>
                      <a:pt x="376" y="131"/>
                    </a:cubicBezTo>
                    <a:cubicBezTo>
                      <a:pt x="376" y="132"/>
                      <a:pt x="376" y="133"/>
                      <a:pt x="377" y="133"/>
                    </a:cubicBezTo>
                    <a:cubicBezTo>
                      <a:pt x="377" y="134"/>
                      <a:pt x="377" y="135"/>
                      <a:pt x="377" y="135"/>
                    </a:cubicBezTo>
                    <a:cubicBezTo>
                      <a:pt x="378" y="136"/>
                      <a:pt x="378" y="137"/>
                      <a:pt x="377" y="138"/>
                    </a:cubicBezTo>
                    <a:cubicBezTo>
                      <a:pt x="377" y="138"/>
                      <a:pt x="378" y="138"/>
                      <a:pt x="379" y="138"/>
                    </a:cubicBezTo>
                    <a:cubicBezTo>
                      <a:pt x="379" y="139"/>
                      <a:pt x="379" y="139"/>
                      <a:pt x="379" y="140"/>
                    </a:cubicBezTo>
                    <a:cubicBezTo>
                      <a:pt x="379" y="140"/>
                      <a:pt x="379" y="141"/>
                      <a:pt x="378" y="141"/>
                    </a:cubicBezTo>
                    <a:cubicBezTo>
                      <a:pt x="378" y="141"/>
                      <a:pt x="376" y="141"/>
                      <a:pt x="376" y="141"/>
                    </a:cubicBezTo>
                    <a:cubicBezTo>
                      <a:pt x="377" y="142"/>
                      <a:pt x="377" y="142"/>
                      <a:pt x="376" y="142"/>
                    </a:cubicBezTo>
                    <a:cubicBezTo>
                      <a:pt x="376" y="143"/>
                      <a:pt x="376" y="143"/>
                      <a:pt x="376" y="144"/>
                    </a:cubicBezTo>
                    <a:cubicBezTo>
                      <a:pt x="376" y="144"/>
                      <a:pt x="376" y="145"/>
                      <a:pt x="376" y="145"/>
                    </a:cubicBezTo>
                    <a:cubicBezTo>
                      <a:pt x="376" y="146"/>
                      <a:pt x="376" y="146"/>
                      <a:pt x="376" y="147"/>
                    </a:cubicBezTo>
                    <a:cubicBezTo>
                      <a:pt x="376" y="147"/>
                      <a:pt x="377" y="148"/>
                      <a:pt x="377" y="148"/>
                    </a:cubicBezTo>
                    <a:cubicBezTo>
                      <a:pt x="376" y="148"/>
                      <a:pt x="376" y="149"/>
                      <a:pt x="376" y="149"/>
                    </a:cubicBezTo>
                    <a:cubicBezTo>
                      <a:pt x="376" y="149"/>
                      <a:pt x="376" y="150"/>
                      <a:pt x="376" y="150"/>
                    </a:cubicBezTo>
                    <a:cubicBezTo>
                      <a:pt x="376" y="150"/>
                      <a:pt x="376" y="149"/>
                      <a:pt x="375" y="149"/>
                    </a:cubicBezTo>
                    <a:cubicBezTo>
                      <a:pt x="375" y="149"/>
                      <a:pt x="375" y="150"/>
                      <a:pt x="375" y="152"/>
                    </a:cubicBezTo>
                    <a:cubicBezTo>
                      <a:pt x="375" y="153"/>
                      <a:pt x="375" y="154"/>
                      <a:pt x="375" y="154"/>
                    </a:cubicBezTo>
                    <a:cubicBezTo>
                      <a:pt x="376" y="155"/>
                      <a:pt x="376" y="155"/>
                      <a:pt x="377" y="156"/>
                    </a:cubicBezTo>
                    <a:cubicBezTo>
                      <a:pt x="377" y="156"/>
                      <a:pt x="377" y="158"/>
                      <a:pt x="378" y="158"/>
                    </a:cubicBezTo>
                    <a:cubicBezTo>
                      <a:pt x="379" y="158"/>
                      <a:pt x="380" y="158"/>
                      <a:pt x="380" y="159"/>
                    </a:cubicBezTo>
                    <a:cubicBezTo>
                      <a:pt x="379" y="160"/>
                      <a:pt x="379" y="159"/>
                      <a:pt x="379" y="159"/>
                    </a:cubicBezTo>
                    <a:cubicBezTo>
                      <a:pt x="378" y="159"/>
                      <a:pt x="379" y="160"/>
                      <a:pt x="379" y="161"/>
                    </a:cubicBezTo>
                    <a:cubicBezTo>
                      <a:pt x="379" y="161"/>
                      <a:pt x="380" y="162"/>
                      <a:pt x="380" y="162"/>
                    </a:cubicBezTo>
                    <a:cubicBezTo>
                      <a:pt x="381" y="163"/>
                      <a:pt x="381" y="163"/>
                      <a:pt x="381" y="163"/>
                    </a:cubicBezTo>
                    <a:cubicBezTo>
                      <a:pt x="381" y="164"/>
                      <a:pt x="382" y="164"/>
                      <a:pt x="382" y="165"/>
                    </a:cubicBezTo>
                    <a:cubicBezTo>
                      <a:pt x="382" y="165"/>
                      <a:pt x="382" y="165"/>
                      <a:pt x="382" y="165"/>
                    </a:cubicBezTo>
                    <a:cubicBezTo>
                      <a:pt x="382" y="165"/>
                      <a:pt x="382" y="165"/>
                      <a:pt x="382" y="166"/>
                    </a:cubicBezTo>
                    <a:cubicBezTo>
                      <a:pt x="382" y="166"/>
                      <a:pt x="382" y="167"/>
                      <a:pt x="383" y="168"/>
                    </a:cubicBezTo>
                    <a:cubicBezTo>
                      <a:pt x="383" y="168"/>
                      <a:pt x="384" y="168"/>
                      <a:pt x="384" y="169"/>
                    </a:cubicBezTo>
                    <a:cubicBezTo>
                      <a:pt x="384" y="169"/>
                      <a:pt x="384" y="169"/>
                      <a:pt x="384" y="170"/>
                    </a:cubicBezTo>
                    <a:cubicBezTo>
                      <a:pt x="384" y="170"/>
                      <a:pt x="384" y="170"/>
                      <a:pt x="384" y="170"/>
                    </a:cubicBezTo>
                    <a:cubicBezTo>
                      <a:pt x="384" y="171"/>
                      <a:pt x="384" y="171"/>
                      <a:pt x="384" y="171"/>
                    </a:cubicBezTo>
                    <a:cubicBezTo>
                      <a:pt x="384" y="171"/>
                      <a:pt x="384" y="171"/>
                      <a:pt x="384" y="172"/>
                    </a:cubicBezTo>
                    <a:cubicBezTo>
                      <a:pt x="384" y="172"/>
                      <a:pt x="385" y="173"/>
                      <a:pt x="385" y="173"/>
                    </a:cubicBezTo>
                    <a:cubicBezTo>
                      <a:pt x="386" y="173"/>
                      <a:pt x="386" y="172"/>
                      <a:pt x="386" y="173"/>
                    </a:cubicBezTo>
                    <a:cubicBezTo>
                      <a:pt x="387" y="173"/>
                      <a:pt x="388" y="173"/>
                      <a:pt x="388" y="174"/>
                    </a:cubicBezTo>
                    <a:cubicBezTo>
                      <a:pt x="388" y="175"/>
                      <a:pt x="387" y="175"/>
                      <a:pt x="387" y="176"/>
                    </a:cubicBezTo>
                    <a:cubicBezTo>
                      <a:pt x="387" y="176"/>
                      <a:pt x="387" y="177"/>
                      <a:pt x="388" y="177"/>
                    </a:cubicBezTo>
                    <a:cubicBezTo>
                      <a:pt x="388" y="177"/>
                      <a:pt x="388" y="178"/>
                      <a:pt x="388" y="178"/>
                    </a:cubicBezTo>
                    <a:cubicBezTo>
                      <a:pt x="388" y="178"/>
                      <a:pt x="388" y="178"/>
                      <a:pt x="388" y="179"/>
                    </a:cubicBezTo>
                    <a:cubicBezTo>
                      <a:pt x="388" y="179"/>
                      <a:pt x="388" y="179"/>
                      <a:pt x="388" y="179"/>
                    </a:cubicBezTo>
                    <a:cubicBezTo>
                      <a:pt x="388" y="179"/>
                      <a:pt x="388" y="180"/>
                      <a:pt x="388" y="180"/>
                    </a:cubicBezTo>
                    <a:cubicBezTo>
                      <a:pt x="388" y="180"/>
                      <a:pt x="388" y="180"/>
                      <a:pt x="389" y="181"/>
                    </a:cubicBezTo>
                    <a:cubicBezTo>
                      <a:pt x="389" y="181"/>
                      <a:pt x="389" y="182"/>
                      <a:pt x="389" y="182"/>
                    </a:cubicBezTo>
                    <a:cubicBezTo>
                      <a:pt x="389" y="183"/>
                      <a:pt x="389" y="183"/>
                      <a:pt x="390" y="183"/>
                    </a:cubicBezTo>
                    <a:cubicBezTo>
                      <a:pt x="390" y="185"/>
                      <a:pt x="387" y="183"/>
                      <a:pt x="388" y="185"/>
                    </a:cubicBezTo>
                    <a:cubicBezTo>
                      <a:pt x="388" y="185"/>
                      <a:pt x="388" y="185"/>
                      <a:pt x="388" y="186"/>
                    </a:cubicBezTo>
                    <a:cubicBezTo>
                      <a:pt x="388" y="186"/>
                      <a:pt x="387" y="187"/>
                      <a:pt x="387" y="187"/>
                    </a:cubicBezTo>
                    <a:cubicBezTo>
                      <a:pt x="387" y="188"/>
                      <a:pt x="387" y="189"/>
                      <a:pt x="387" y="189"/>
                    </a:cubicBezTo>
                    <a:cubicBezTo>
                      <a:pt x="387" y="189"/>
                      <a:pt x="387" y="189"/>
                      <a:pt x="387" y="189"/>
                    </a:cubicBezTo>
                    <a:cubicBezTo>
                      <a:pt x="387" y="189"/>
                      <a:pt x="387" y="190"/>
                      <a:pt x="387" y="190"/>
                    </a:cubicBezTo>
                    <a:cubicBezTo>
                      <a:pt x="387" y="191"/>
                      <a:pt x="387" y="192"/>
                      <a:pt x="387" y="193"/>
                    </a:cubicBezTo>
                    <a:cubicBezTo>
                      <a:pt x="387" y="193"/>
                      <a:pt x="388" y="194"/>
                      <a:pt x="387" y="194"/>
                    </a:cubicBezTo>
                    <a:cubicBezTo>
                      <a:pt x="387" y="194"/>
                      <a:pt x="385" y="195"/>
                      <a:pt x="386" y="195"/>
                    </a:cubicBezTo>
                    <a:cubicBezTo>
                      <a:pt x="387" y="195"/>
                      <a:pt x="388" y="195"/>
                      <a:pt x="387" y="196"/>
                    </a:cubicBezTo>
                    <a:cubicBezTo>
                      <a:pt x="387" y="196"/>
                      <a:pt x="388" y="197"/>
                      <a:pt x="388" y="198"/>
                    </a:cubicBezTo>
                    <a:cubicBezTo>
                      <a:pt x="388" y="199"/>
                      <a:pt x="389" y="199"/>
                      <a:pt x="389" y="200"/>
                    </a:cubicBezTo>
                    <a:cubicBezTo>
                      <a:pt x="390" y="201"/>
                      <a:pt x="389" y="201"/>
                      <a:pt x="389" y="201"/>
                    </a:cubicBezTo>
                    <a:cubicBezTo>
                      <a:pt x="389" y="202"/>
                      <a:pt x="390" y="202"/>
                      <a:pt x="390" y="202"/>
                    </a:cubicBezTo>
                    <a:cubicBezTo>
                      <a:pt x="390" y="202"/>
                      <a:pt x="390" y="203"/>
                      <a:pt x="390" y="203"/>
                    </a:cubicBezTo>
                    <a:cubicBezTo>
                      <a:pt x="390" y="203"/>
                      <a:pt x="390" y="204"/>
                      <a:pt x="390" y="205"/>
                    </a:cubicBezTo>
                    <a:cubicBezTo>
                      <a:pt x="389" y="205"/>
                      <a:pt x="389" y="204"/>
                      <a:pt x="389" y="205"/>
                    </a:cubicBezTo>
                    <a:cubicBezTo>
                      <a:pt x="388" y="205"/>
                      <a:pt x="388" y="206"/>
                      <a:pt x="388" y="207"/>
                    </a:cubicBezTo>
                    <a:cubicBezTo>
                      <a:pt x="389" y="209"/>
                      <a:pt x="386" y="207"/>
                      <a:pt x="386" y="208"/>
                    </a:cubicBezTo>
                    <a:cubicBezTo>
                      <a:pt x="387" y="209"/>
                      <a:pt x="386" y="208"/>
                      <a:pt x="385" y="208"/>
                    </a:cubicBezTo>
                    <a:cubicBezTo>
                      <a:pt x="385" y="209"/>
                      <a:pt x="386" y="210"/>
                      <a:pt x="386" y="211"/>
                    </a:cubicBezTo>
                    <a:cubicBezTo>
                      <a:pt x="386" y="211"/>
                      <a:pt x="385" y="210"/>
                      <a:pt x="385" y="211"/>
                    </a:cubicBezTo>
                    <a:cubicBezTo>
                      <a:pt x="385" y="211"/>
                      <a:pt x="385" y="212"/>
                      <a:pt x="385" y="212"/>
                    </a:cubicBezTo>
                    <a:cubicBezTo>
                      <a:pt x="385" y="212"/>
                      <a:pt x="387" y="214"/>
                      <a:pt x="386" y="214"/>
                    </a:cubicBezTo>
                    <a:cubicBezTo>
                      <a:pt x="386" y="214"/>
                      <a:pt x="386" y="214"/>
                      <a:pt x="386" y="214"/>
                    </a:cubicBezTo>
                    <a:cubicBezTo>
                      <a:pt x="386" y="214"/>
                      <a:pt x="386" y="215"/>
                      <a:pt x="387" y="215"/>
                    </a:cubicBezTo>
                    <a:cubicBezTo>
                      <a:pt x="387" y="215"/>
                      <a:pt x="387" y="215"/>
                      <a:pt x="387" y="216"/>
                    </a:cubicBezTo>
                    <a:cubicBezTo>
                      <a:pt x="387" y="216"/>
                      <a:pt x="387" y="217"/>
                      <a:pt x="387" y="217"/>
                    </a:cubicBezTo>
                    <a:cubicBezTo>
                      <a:pt x="387" y="218"/>
                      <a:pt x="388" y="218"/>
                      <a:pt x="388" y="219"/>
                    </a:cubicBezTo>
                    <a:cubicBezTo>
                      <a:pt x="388" y="219"/>
                      <a:pt x="388" y="220"/>
                      <a:pt x="388" y="220"/>
                    </a:cubicBezTo>
                    <a:cubicBezTo>
                      <a:pt x="388" y="221"/>
                      <a:pt x="388" y="221"/>
                      <a:pt x="388" y="222"/>
                    </a:cubicBezTo>
                    <a:cubicBezTo>
                      <a:pt x="389" y="223"/>
                      <a:pt x="389" y="223"/>
                      <a:pt x="390" y="224"/>
                    </a:cubicBezTo>
                    <a:cubicBezTo>
                      <a:pt x="390" y="224"/>
                      <a:pt x="391" y="225"/>
                      <a:pt x="391" y="226"/>
                    </a:cubicBezTo>
                    <a:cubicBezTo>
                      <a:pt x="391" y="227"/>
                      <a:pt x="392" y="229"/>
                      <a:pt x="393" y="230"/>
                    </a:cubicBezTo>
                    <a:cubicBezTo>
                      <a:pt x="393" y="230"/>
                      <a:pt x="394" y="230"/>
                      <a:pt x="394" y="231"/>
                    </a:cubicBezTo>
                    <a:cubicBezTo>
                      <a:pt x="394" y="231"/>
                      <a:pt x="394" y="232"/>
                      <a:pt x="394" y="232"/>
                    </a:cubicBezTo>
                    <a:cubicBezTo>
                      <a:pt x="394" y="233"/>
                      <a:pt x="394" y="233"/>
                      <a:pt x="393" y="233"/>
                    </a:cubicBezTo>
                    <a:cubicBezTo>
                      <a:pt x="393" y="233"/>
                      <a:pt x="392" y="234"/>
                      <a:pt x="392" y="234"/>
                    </a:cubicBezTo>
                    <a:cubicBezTo>
                      <a:pt x="390" y="235"/>
                      <a:pt x="390" y="236"/>
                      <a:pt x="391" y="237"/>
                    </a:cubicBezTo>
                    <a:cubicBezTo>
                      <a:pt x="391" y="238"/>
                      <a:pt x="392" y="239"/>
                      <a:pt x="392" y="239"/>
                    </a:cubicBezTo>
                    <a:cubicBezTo>
                      <a:pt x="392" y="240"/>
                      <a:pt x="392" y="240"/>
                      <a:pt x="392" y="240"/>
                    </a:cubicBezTo>
                    <a:cubicBezTo>
                      <a:pt x="392" y="241"/>
                      <a:pt x="391" y="242"/>
                      <a:pt x="392" y="242"/>
                    </a:cubicBezTo>
                    <a:cubicBezTo>
                      <a:pt x="392" y="242"/>
                      <a:pt x="392" y="243"/>
                      <a:pt x="391" y="243"/>
                    </a:cubicBezTo>
                    <a:cubicBezTo>
                      <a:pt x="391" y="243"/>
                      <a:pt x="391" y="242"/>
                      <a:pt x="390" y="242"/>
                    </a:cubicBezTo>
                    <a:cubicBezTo>
                      <a:pt x="390" y="242"/>
                      <a:pt x="390" y="243"/>
                      <a:pt x="390" y="243"/>
                    </a:cubicBezTo>
                    <a:cubicBezTo>
                      <a:pt x="391" y="244"/>
                      <a:pt x="391" y="244"/>
                      <a:pt x="391" y="245"/>
                    </a:cubicBezTo>
                    <a:cubicBezTo>
                      <a:pt x="391" y="245"/>
                      <a:pt x="392" y="245"/>
                      <a:pt x="392" y="246"/>
                    </a:cubicBezTo>
                    <a:cubicBezTo>
                      <a:pt x="392" y="246"/>
                      <a:pt x="392" y="246"/>
                      <a:pt x="392" y="247"/>
                    </a:cubicBezTo>
                    <a:cubicBezTo>
                      <a:pt x="392" y="247"/>
                      <a:pt x="392" y="248"/>
                      <a:pt x="392" y="248"/>
                    </a:cubicBezTo>
                    <a:cubicBezTo>
                      <a:pt x="392" y="248"/>
                      <a:pt x="391" y="247"/>
                      <a:pt x="391" y="248"/>
                    </a:cubicBezTo>
                    <a:cubicBezTo>
                      <a:pt x="391" y="248"/>
                      <a:pt x="391" y="249"/>
                      <a:pt x="392" y="249"/>
                    </a:cubicBezTo>
                    <a:cubicBezTo>
                      <a:pt x="392" y="250"/>
                      <a:pt x="392" y="250"/>
                      <a:pt x="392" y="250"/>
                    </a:cubicBezTo>
                    <a:cubicBezTo>
                      <a:pt x="393" y="250"/>
                      <a:pt x="392" y="249"/>
                      <a:pt x="393" y="250"/>
                    </a:cubicBezTo>
                    <a:cubicBezTo>
                      <a:pt x="393" y="250"/>
                      <a:pt x="393" y="251"/>
                      <a:pt x="393" y="251"/>
                    </a:cubicBezTo>
                    <a:cubicBezTo>
                      <a:pt x="393" y="251"/>
                      <a:pt x="392" y="251"/>
                      <a:pt x="392" y="252"/>
                    </a:cubicBezTo>
                    <a:cubicBezTo>
                      <a:pt x="392" y="252"/>
                      <a:pt x="393" y="253"/>
                      <a:pt x="393" y="254"/>
                    </a:cubicBezTo>
                    <a:cubicBezTo>
                      <a:pt x="392" y="255"/>
                      <a:pt x="392" y="254"/>
                      <a:pt x="393" y="255"/>
                    </a:cubicBezTo>
                    <a:cubicBezTo>
                      <a:pt x="393" y="257"/>
                      <a:pt x="395" y="258"/>
                      <a:pt x="394" y="259"/>
                    </a:cubicBezTo>
                    <a:cubicBezTo>
                      <a:pt x="394" y="260"/>
                      <a:pt x="395" y="260"/>
                      <a:pt x="395" y="261"/>
                    </a:cubicBezTo>
                    <a:cubicBezTo>
                      <a:pt x="395" y="262"/>
                      <a:pt x="395" y="262"/>
                      <a:pt x="396" y="263"/>
                    </a:cubicBezTo>
                    <a:cubicBezTo>
                      <a:pt x="396" y="264"/>
                      <a:pt x="397" y="264"/>
                      <a:pt x="396" y="264"/>
                    </a:cubicBezTo>
                    <a:cubicBezTo>
                      <a:pt x="396" y="265"/>
                      <a:pt x="396" y="265"/>
                      <a:pt x="397" y="265"/>
                    </a:cubicBezTo>
                    <a:cubicBezTo>
                      <a:pt x="397" y="267"/>
                      <a:pt x="398" y="268"/>
                      <a:pt x="399" y="269"/>
                    </a:cubicBezTo>
                    <a:cubicBezTo>
                      <a:pt x="399" y="269"/>
                      <a:pt x="399" y="270"/>
                      <a:pt x="399" y="270"/>
                    </a:cubicBezTo>
                    <a:cubicBezTo>
                      <a:pt x="398" y="270"/>
                      <a:pt x="398" y="270"/>
                      <a:pt x="398" y="270"/>
                    </a:cubicBezTo>
                    <a:cubicBezTo>
                      <a:pt x="398" y="270"/>
                      <a:pt x="398" y="270"/>
                      <a:pt x="398" y="270"/>
                    </a:cubicBezTo>
                    <a:cubicBezTo>
                      <a:pt x="397" y="270"/>
                      <a:pt x="397" y="270"/>
                      <a:pt x="397" y="271"/>
                    </a:cubicBezTo>
                    <a:cubicBezTo>
                      <a:pt x="397" y="271"/>
                      <a:pt x="397" y="271"/>
                      <a:pt x="397" y="272"/>
                    </a:cubicBezTo>
                    <a:cubicBezTo>
                      <a:pt x="397" y="272"/>
                      <a:pt x="397" y="272"/>
                      <a:pt x="397" y="272"/>
                    </a:cubicBezTo>
                    <a:cubicBezTo>
                      <a:pt x="398" y="272"/>
                      <a:pt x="398" y="273"/>
                      <a:pt x="398" y="274"/>
                    </a:cubicBezTo>
                    <a:cubicBezTo>
                      <a:pt x="398" y="274"/>
                      <a:pt x="398" y="274"/>
                      <a:pt x="398" y="275"/>
                    </a:cubicBezTo>
                    <a:cubicBezTo>
                      <a:pt x="398" y="275"/>
                      <a:pt x="398" y="276"/>
                      <a:pt x="399" y="276"/>
                    </a:cubicBezTo>
                    <a:cubicBezTo>
                      <a:pt x="399" y="277"/>
                      <a:pt x="399" y="278"/>
                      <a:pt x="399" y="279"/>
                    </a:cubicBezTo>
                    <a:cubicBezTo>
                      <a:pt x="400" y="281"/>
                      <a:pt x="402" y="280"/>
                      <a:pt x="403" y="281"/>
                    </a:cubicBezTo>
                    <a:cubicBezTo>
                      <a:pt x="404" y="281"/>
                      <a:pt x="404" y="282"/>
                      <a:pt x="404" y="282"/>
                    </a:cubicBezTo>
                    <a:cubicBezTo>
                      <a:pt x="404" y="283"/>
                      <a:pt x="403" y="283"/>
                      <a:pt x="403" y="283"/>
                    </a:cubicBezTo>
                    <a:cubicBezTo>
                      <a:pt x="402" y="284"/>
                      <a:pt x="404" y="284"/>
                      <a:pt x="404" y="285"/>
                    </a:cubicBezTo>
                    <a:cubicBezTo>
                      <a:pt x="404" y="285"/>
                      <a:pt x="406" y="286"/>
                      <a:pt x="406" y="287"/>
                    </a:cubicBezTo>
                    <a:cubicBezTo>
                      <a:pt x="406" y="287"/>
                      <a:pt x="406" y="287"/>
                      <a:pt x="405" y="287"/>
                    </a:cubicBezTo>
                    <a:cubicBezTo>
                      <a:pt x="405" y="288"/>
                      <a:pt x="406" y="288"/>
                      <a:pt x="406" y="288"/>
                    </a:cubicBezTo>
                    <a:cubicBezTo>
                      <a:pt x="406" y="289"/>
                      <a:pt x="407" y="289"/>
                      <a:pt x="407" y="289"/>
                    </a:cubicBezTo>
                    <a:cubicBezTo>
                      <a:pt x="408" y="290"/>
                      <a:pt x="408" y="290"/>
                      <a:pt x="407" y="291"/>
                    </a:cubicBezTo>
                    <a:cubicBezTo>
                      <a:pt x="407" y="291"/>
                      <a:pt x="406" y="291"/>
                      <a:pt x="407" y="292"/>
                    </a:cubicBezTo>
                    <a:cubicBezTo>
                      <a:pt x="407" y="292"/>
                      <a:pt x="407" y="292"/>
                      <a:pt x="407" y="292"/>
                    </a:cubicBezTo>
                    <a:cubicBezTo>
                      <a:pt x="408" y="293"/>
                      <a:pt x="407" y="293"/>
                      <a:pt x="408" y="293"/>
                    </a:cubicBezTo>
                    <a:cubicBezTo>
                      <a:pt x="408" y="294"/>
                      <a:pt x="408" y="294"/>
                      <a:pt x="408" y="294"/>
                    </a:cubicBezTo>
                    <a:cubicBezTo>
                      <a:pt x="407" y="295"/>
                      <a:pt x="409" y="294"/>
                      <a:pt x="409" y="294"/>
                    </a:cubicBezTo>
                    <a:cubicBezTo>
                      <a:pt x="409" y="294"/>
                      <a:pt x="410" y="295"/>
                      <a:pt x="411" y="295"/>
                    </a:cubicBezTo>
                    <a:cubicBezTo>
                      <a:pt x="412" y="295"/>
                      <a:pt x="412" y="295"/>
                      <a:pt x="413" y="295"/>
                    </a:cubicBezTo>
                    <a:cubicBezTo>
                      <a:pt x="414" y="295"/>
                      <a:pt x="414" y="295"/>
                      <a:pt x="414" y="296"/>
                    </a:cubicBezTo>
                    <a:cubicBezTo>
                      <a:pt x="415" y="296"/>
                      <a:pt x="415" y="296"/>
                      <a:pt x="415" y="296"/>
                    </a:cubicBezTo>
                    <a:cubicBezTo>
                      <a:pt x="415" y="297"/>
                      <a:pt x="415" y="296"/>
                      <a:pt x="414" y="297"/>
                    </a:cubicBezTo>
                    <a:cubicBezTo>
                      <a:pt x="414" y="297"/>
                      <a:pt x="416" y="299"/>
                      <a:pt x="414" y="299"/>
                    </a:cubicBezTo>
                    <a:cubicBezTo>
                      <a:pt x="413" y="299"/>
                      <a:pt x="413" y="298"/>
                      <a:pt x="412" y="298"/>
                    </a:cubicBezTo>
                    <a:cubicBezTo>
                      <a:pt x="412" y="298"/>
                      <a:pt x="411" y="299"/>
                      <a:pt x="411" y="299"/>
                    </a:cubicBezTo>
                    <a:cubicBezTo>
                      <a:pt x="411" y="299"/>
                      <a:pt x="410" y="298"/>
                      <a:pt x="410" y="298"/>
                    </a:cubicBezTo>
                    <a:cubicBezTo>
                      <a:pt x="409" y="299"/>
                      <a:pt x="409" y="299"/>
                      <a:pt x="409" y="299"/>
                    </a:cubicBezTo>
                    <a:cubicBezTo>
                      <a:pt x="408" y="299"/>
                      <a:pt x="408" y="298"/>
                      <a:pt x="407" y="299"/>
                    </a:cubicBezTo>
                    <a:cubicBezTo>
                      <a:pt x="407" y="300"/>
                      <a:pt x="409" y="300"/>
                      <a:pt x="410" y="300"/>
                    </a:cubicBezTo>
                    <a:cubicBezTo>
                      <a:pt x="410" y="300"/>
                      <a:pt x="410" y="300"/>
                      <a:pt x="411" y="300"/>
                    </a:cubicBezTo>
                    <a:cubicBezTo>
                      <a:pt x="411" y="300"/>
                      <a:pt x="411" y="301"/>
                      <a:pt x="412" y="301"/>
                    </a:cubicBezTo>
                    <a:cubicBezTo>
                      <a:pt x="413" y="301"/>
                      <a:pt x="413" y="301"/>
                      <a:pt x="414" y="302"/>
                    </a:cubicBezTo>
                    <a:cubicBezTo>
                      <a:pt x="414" y="302"/>
                      <a:pt x="414" y="303"/>
                      <a:pt x="415" y="303"/>
                    </a:cubicBezTo>
                    <a:cubicBezTo>
                      <a:pt x="416" y="303"/>
                      <a:pt x="417" y="304"/>
                      <a:pt x="416" y="305"/>
                    </a:cubicBezTo>
                    <a:cubicBezTo>
                      <a:pt x="416" y="305"/>
                      <a:pt x="415" y="305"/>
                      <a:pt x="415" y="306"/>
                    </a:cubicBezTo>
                    <a:cubicBezTo>
                      <a:pt x="415" y="306"/>
                      <a:pt x="416" y="306"/>
                      <a:pt x="416" y="307"/>
                    </a:cubicBezTo>
                    <a:cubicBezTo>
                      <a:pt x="415" y="307"/>
                      <a:pt x="413" y="306"/>
                      <a:pt x="414" y="307"/>
                    </a:cubicBezTo>
                    <a:cubicBezTo>
                      <a:pt x="414" y="308"/>
                      <a:pt x="414" y="308"/>
                      <a:pt x="414" y="309"/>
                    </a:cubicBezTo>
                    <a:cubicBezTo>
                      <a:pt x="414" y="309"/>
                      <a:pt x="415" y="309"/>
                      <a:pt x="415" y="310"/>
                    </a:cubicBezTo>
                    <a:cubicBezTo>
                      <a:pt x="415" y="310"/>
                      <a:pt x="416" y="310"/>
                      <a:pt x="416" y="311"/>
                    </a:cubicBezTo>
                    <a:cubicBezTo>
                      <a:pt x="417" y="311"/>
                      <a:pt x="416" y="312"/>
                      <a:pt x="416" y="313"/>
                    </a:cubicBezTo>
                    <a:cubicBezTo>
                      <a:pt x="416" y="313"/>
                      <a:pt x="416" y="313"/>
                      <a:pt x="415" y="313"/>
                    </a:cubicBezTo>
                    <a:cubicBezTo>
                      <a:pt x="415" y="313"/>
                      <a:pt x="416" y="314"/>
                      <a:pt x="416" y="314"/>
                    </a:cubicBezTo>
                    <a:cubicBezTo>
                      <a:pt x="416" y="314"/>
                      <a:pt x="417" y="315"/>
                      <a:pt x="417" y="315"/>
                    </a:cubicBezTo>
                    <a:cubicBezTo>
                      <a:pt x="417" y="316"/>
                      <a:pt x="418" y="316"/>
                      <a:pt x="418" y="317"/>
                    </a:cubicBezTo>
                    <a:cubicBezTo>
                      <a:pt x="419" y="318"/>
                      <a:pt x="419" y="318"/>
                      <a:pt x="419" y="319"/>
                    </a:cubicBezTo>
                    <a:cubicBezTo>
                      <a:pt x="419" y="319"/>
                      <a:pt x="419" y="320"/>
                      <a:pt x="418" y="320"/>
                    </a:cubicBezTo>
                    <a:cubicBezTo>
                      <a:pt x="418" y="321"/>
                      <a:pt x="418" y="320"/>
                      <a:pt x="418" y="321"/>
                    </a:cubicBezTo>
                    <a:cubicBezTo>
                      <a:pt x="418" y="321"/>
                      <a:pt x="418" y="322"/>
                      <a:pt x="418" y="322"/>
                    </a:cubicBezTo>
                    <a:cubicBezTo>
                      <a:pt x="419" y="323"/>
                      <a:pt x="418" y="323"/>
                      <a:pt x="418" y="323"/>
                    </a:cubicBezTo>
                    <a:cubicBezTo>
                      <a:pt x="418" y="324"/>
                      <a:pt x="419" y="324"/>
                      <a:pt x="420" y="324"/>
                    </a:cubicBezTo>
                    <a:cubicBezTo>
                      <a:pt x="420" y="325"/>
                      <a:pt x="419" y="325"/>
                      <a:pt x="419" y="325"/>
                    </a:cubicBezTo>
                    <a:cubicBezTo>
                      <a:pt x="418" y="325"/>
                      <a:pt x="418" y="325"/>
                      <a:pt x="419" y="325"/>
                    </a:cubicBezTo>
                    <a:cubicBezTo>
                      <a:pt x="419" y="325"/>
                      <a:pt x="419" y="326"/>
                      <a:pt x="418" y="326"/>
                    </a:cubicBezTo>
                    <a:cubicBezTo>
                      <a:pt x="418" y="326"/>
                      <a:pt x="418" y="327"/>
                      <a:pt x="418" y="327"/>
                    </a:cubicBezTo>
                    <a:cubicBezTo>
                      <a:pt x="418" y="327"/>
                      <a:pt x="417" y="327"/>
                      <a:pt x="417" y="327"/>
                    </a:cubicBezTo>
                    <a:cubicBezTo>
                      <a:pt x="416" y="328"/>
                      <a:pt x="418" y="328"/>
                      <a:pt x="418" y="329"/>
                    </a:cubicBezTo>
                    <a:cubicBezTo>
                      <a:pt x="418" y="330"/>
                      <a:pt x="416" y="332"/>
                      <a:pt x="418" y="333"/>
                    </a:cubicBezTo>
                    <a:cubicBezTo>
                      <a:pt x="419" y="333"/>
                      <a:pt x="419" y="334"/>
                      <a:pt x="420" y="334"/>
                    </a:cubicBezTo>
                    <a:cubicBezTo>
                      <a:pt x="420" y="335"/>
                      <a:pt x="421" y="336"/>
                      <a:pt x="421" y="337"/>
                    </a:cubicBezTo>
                    <a:cubicBezTo>
                      <a:pt x="421" y="337"/>
                      <a:pt x="421" y="337"/>
                      <a:pt x="421" y="337"/>
                    </a:cubicBezTo>
                    <a:cubicBezTo>
                      <a:pt x="421" y="338"/>
                      <a:pt x="420" y="338"/>
                      <a:pt x="420" y="338"/>
                    </a:cubicBezTo>
                    <a:cubicBezTo>
                      <a:pt x="419" y="338"/>
                      <a:pt x="420" y="339"/>
                      <a:pt x="420" y="340"/>
                    </a:cubicBezTo>
                    <a:cubicBezTo>
                      <a:pt x="421" y="340"/>
                      <a:pt x="421" y="341"/>
                      <a:pt x="421" y="342"/>
                    </a:cubicBezTo>
                    <a:cubicBezTo>
                      <a:pt x="420" y="343"/>
                      <a:pt x="420" y="343"/>
                      <a:pt x="419" y="343"/>
                    </a:cubicBezTo>
                    <a:cubicBezTo>
                      <a:pt x="418" y="344"/>
                      <a:pt x="418" y="345"/>
                      <a:pt x="418" y="346"/>
                    </a:cubicBezTo>
                    <a:cubicBezTo>
                      <a:pt x="418" y="347"/>
                      <a:pt x="418" y="347"/>
                      <a:pt x="419" y="347"/>
                    </a:cubicBezTo>
                    <a:cubicBezTo>
                      <a:pt x="419" y="347"/>
                      <a:pt x="419" y="347"/>
                      <a:pt x="418" y="347"/>
                    </a:cubicBezTo>
                    <a:cubicBezTo>
                      <a:pt x="418" y="347"/>
                      <a:pt x="418" y="347"/>
                      <a:pt x="417" y="347"/>
                    </a:cubicBezTo>
                    <a:cubicBezTo>
                      <a:pt x="417" y="347"/>
                      <a:pt x="416" y="347"/>
                      <a:pt x="416" y="348"/>
                    </a:cubicBezTo>
                    <a:cubicBezTo>
                      <a:pt x="417" y="348"/>
                      <a:pt x="416" y="349"/>
                      <a:pt x="416" y="350"/>
                    </a:cubicBezTo>
                    <a:cubicBezTo>
                      <a:pt x="416" y="350"/>
                      <a:pt x="417" y="350"/>
                      <a:pt x="417" y="350"/>
                    </a:cubicBezTo>
                    <a:cubicBezTo>
                      <a:pt x="417" y="351"/>
                      <a:pt x="417" y="351"/>
                      <a:pt x="417" y="351"/>
                    </a:cubicBezTo>
                    <a:cubicBezTo>
                      <a:pt x="417" y="352"/>
                      <a:pt x="418" y="352"/>
                      <a:pt x="418" y="352"/>
                    </a:cubicBezTo>
                    <a:cubicBezTo>
                      <a:pt x="418" y="353"/>
                      <a:pt x="418" y="353"/>
                      <a:pt x="418" y="353"/>
                    </a:cubicBezTo>
                    <a:cubicBezTo>
                      <a:pt x="418" y="354"/>
                      <a:pt x="419" y="354"/>
                      <a:pt x="419" y="355"/>
                    </a:cubicBezTo>
                    <a:cubicBezTo>
                      <a:pt x="419" y="356"/>
                      <a:pt x="419" y="356"/>
                      <a:pt x="420" y="356"/>
                    </a:cubicBezTo>
                    <a:cubicBezTo>
                      <a:pt x="421" y="357"/>
                      <a:pt x="421" y="357"/>
                      <a:pt x="422" y="357"/>
                    </a:cubicBezTo>
                    <a:cubicBezTo>
                      <a:pt x="423" y="358"/>
                      <a:pt x="423" y="360"/>
                      <a:pt x="424" y="361"/>
                    </a:cubicBezTo>
                    <a:cubicBezTo>
                      <a:pt x="425" y="362"/>
                      <a:pt x="426" y="364"/>
                      <a:pt x="427" y="363"/>
                    </a:cubicBezTo>
                    <a:cubicBezTo>
                      <a:pt x="427" y="362"/>
                      <a:pt x="427" y="362"/>
                      <a:pt x="428" y="361"/>
                    </a:cubicBezTo>
                    <a:cubicBezTo>
                      <a:pt x="429" y="361"/>
                      <a:pt x="429" y="362"/>
                      <a:pt x="430" y="362"/>
                    </a:cubicBezTo>
                    <a:cubicBezTo>
                      <a:pt x="430" y="362"/>
                      <a:pt x="430" y="361"/>
                      <a:pt x="430" y="361"/>
                    </a:cubicBezTo>
                    <a:cubicBezTo>
                      <a:pt x="431" y="361"/>
                      <a:pt x="431" y="361"/>
                      <a:pt x="432" y="361"/>
                    </a:cubicBezTo>
                    <a:cubicBezTo>
                      <a:pt x="432" y="362"/>
                      <a:pt x="432" y="362"/>
                      <a:pt x="432" y="362"/>
                    </a:cubicBezTo>
                    <a:cubicBezTo>
                      <a:pt x="433" y="363"/>
                      <a:pt x="434" y="363"/>
                      <a:pt x="434" y="364"/>
                    </a:cubicBezTo>
                    <a:cubicBezTo>
                      <a:pt x="434" y="364"/>
                      <a:pt x="434" y="365"/>
                      <a:pt x="434" y="365"/>
                    </a:cubicBezTo>
                    <a:cubicBezTo>
                      <a:pt x="434" y="366"/>
                      <a:pt x="434" y="366"/>
                      <a:pt x="434" y="366"/>
                    </a:cubicBezTo>
                    <a:cubicBezTo>
                      <a:pt x="434" y="367"/>
                      <a:pt x="436" y="367"/>
                      <a:pt x="436" y="368"/>
                    </a:cubicBezTo>
                    <a:cubicBezTo>
                      <a:pt x="435" y="369"/>
                      <a:pt x="436" y="370"/>
                      <a:pt x="436" y="370"/>
                    </a:cubicBezTo>
                    <a:cubicBezTo>
                      <a:pt x="436" y="371"/>
                      <a:pt x="436" y="371"/>
                      <a:pt x="436" y="371"/>
                    </a:cubicBezTo>
                    <a:cubicBezTo>
                      <a:pt x="436" y="372"/>
                      <a:pt x="437" y="371"/>
                      <a:pt x="437" y="372"/>
                    </a:cubicBezTo>
                    <a:cubicBezTo>
                      <a:pt x="438" y="372"/>
                      <a:pt x="438" y="373"/>
                      <a:pt x="439" y="373"/>
                    </a:cubicBezTo>
                    <a:cubicBezTo>
                      <a:pt x="440" y="373"/>
                      <a:pt x="441" y="374"/>
                      <a:pt x="442" y="375"/>
                    </a:cubicBezTo>
                    <a:cubicBezTo>
                      <a:pt x="442" y="376"/>
                      <a:pt x="443" y="376"/>
                      <a:pt x="443" y="376"/>
                    </a:cubicBezTo>
                    <a:cubicBezTo>
                      <a:pt x="445" y="376"/>
                      <a:pt x="446" y="376"/>
                      <a:pt x="447" y="376"/>
                    </a:cubicBezTo>
                    <a:cubicBezTo>
                      <a:pt x="450" y="376"/>
                      <a:pt x="453" y="376"/>
                      <a:pt x="455" y="376"/>
                    </a:cubicBezTo>
                    <a:cubicBezTo>
                      <a:pt x="457" y="376"/>
                      <a:pt x="458" y="376"/>
                      <a:pt x="459" y="376"/>
                    </a:cubicBezTo>
                    <a:cubicBezTo>
                      <a:pt x="460" y="376"/>
                      <a:pt x="461" y="377"/>
                      <a:pt x="462" y="377"/>
                    </a:cubicBezTo>
                    <a:cubicBezTo>
                      <a:pt x="464" y="377"/>
                      <a:pt x="465" y="377"/>
                      <a:pt x="466" y="377"/>
                    </a:cubicBezTo>
                    <a:cubicBezTo>
                      <a:pt x="467" y="378"/>
                      <a:pt x="468" y="378"/>
                      <a:pt x="469" y="379"/>
                    </a:cubicBezTo>
                    <a:cubicBezTo>
                      <a:pt x="470" y="379"/>
                      <a:pt x="473" y="379"/>
                      <a:pt x="473" y="380"/>
                    </a:cubicBezTo>
                    <a:cubicBezTo>
                      <a:pt x="473" y="380"/>
                      <a:pt x="473" y="379"/>
                      <a:pt x="472" y="379"/>
                    </a:cubicBezTo>
                    <a:cubicBezTo>
                      <a:pt x="471" y="379"/>
                      <a:pt x="471" y="379"/>
                      <a:pt x="470" y="379"/>
                    </a:cubicBezTo>
                    <a:cubicBezTo>
                      <a:pt x="469" y="379"/>
                      <a:pt x="468" y="378"/>
                      <a:pt x="466" y="378"/>
                    </a:cubicBezTo>
                    <a:cubicBezTo>
                      <a:pt x="466" y="378"/>
                      <a:pt x="465" y="378"/>
                      <a:pt x="464" y="379"/>
                    </a:cubicBezTo>
                    <a:cubicBezTo>
                      <a:pt x="464" y="379"/>
                      <a:pt x="464" y="379"/>
                      <a:pt x="464" y="380"/>
                    </a:cubicBezTo>
                    <a:cubicBezTo>
                      <a:pt x="464" y="380"/>
                      <a:pt x="464" y="380"/>
                      <a:pt x="464" y="380"/>
                    </a:cubicBezTo>
                    <a:cubicBezTo>
                      <a:pt x="464" y="380"/>
                      <a:pt x="464" y="381"/>
                      <a:pt x="464" y="381"/>
                    </a:cubicBezTo>
                    <a:cubicBezTo>
                      <a:pt x="463" y="382"/>
                      <a:pt x="463" y="381"/>
                      <a:pt x="462" y="381"/>
                    </a:cubicBezTo>
                    <a:cubicBezTo>
                      <a:pt x="461" y="381"/>
                      <a:pt x="461" y="382"/>
                      <a:pt x="460" y="382"/>
                    </a:cubicBezTo>
                    <a:cubicBezTo>
                      <a:pt x="459" y="382"/>
                      <a:pt x="460" y="383"/>
                      <a:pt x="459" y="383"/>
                    </a:cubicBezTo>
                    <a:cubicBezTo>
                      <a:pt x="459" y="383"/>
                      <a:pt x="458" y="383"/>
                      <a:pt x="458" y="383"/>
                    </a:cubicBezTo>
                    <a:cubicBezTo>
                      <a:pt x="457" y="383"/>
                      <a:pt x="458" y="383"/>
                      <a:pt x="457" y="383"/>
                    </a:cubicBezTo>
                    <a:cubicBezTo>
                      <a:pt x="457" y="382"/>
                      <a:pt x="457" y="383"/>
                      <a:pt x="457" y="383"/>
                    </a:cubicBezTo>
                    <a:cubicBezTo>
                      <a:pt x="456" y="384"/>
                      <a:pt x="455" y="383"/>
                      <a:pt x="455" y="383"/>
                    </a:cubicBezTo>
                    <a:cubicBezTo>
                      <a:pt x="455" y="384"/>
                      <a:pt x="456" y="384"/>
                      <a:pt x="456" y="384"/>
                    </a:cubicBezTo>
                    <a:cubicBezTo>
                      <a:pt x="456" y="384"/>
                      <a:pt x="456" y="385"/>
                      <a:pt x="456" y="385"/>
                    </a:cubicBezTo>
                    <a:cubicBezTo>
                      <a:pt x="456" y="385"/>
                      <a:pt x="456" y="385"/>
                      <a:pt x="456" y="385"/>
                    </a:cubicBezTo>
                    <a:cubicBezTo>
                      <a:pt x="456" y="386"/>
                      <a:pt x="456" y="385"/>
                      <a:pt x="457" y="386"/>
                    </a:cubicBezTo>
                    <a:cubicBezTo>
                      <a:pt x="457" y="386"/>
                      <a:pt x="457" y="386"/>
                      <a:pt x="457" y="387"/>
                    </a:cubicBezTo>
                    <a:cubicBezTo>
                      <a:pt x="456" y="387"/>
                      <a:pt x="457" y="387"/>
                      <a:pt x="457" y="388"/>
                    </a:cubicBezTo>
                    <a:cubicBezTo>
                      <a:pt x="457" y="389"/>
                      <a:pt x="457" y="390"/>
                      <a:pt x="457" y="391"/>
                    </a:cubicBezTo>
                    <a:cubicBezTo>
                      <a:pt x="458" y="392"/>
                      <a:pt x="459" y="392"/>
                      <a:pt x="459" y="393"/>
                    </a:cubicBezTo>
                    <a:cubicBezTo>
                      <a:pt x="459" y="394"/>
                      <a:pt x="459" y="394"/>
                      <a:pt x="459" y="395"/>
                    </a:cubicBezTo>
                    <a:cubicBezTo>
                      <a:pt x="459" y="395"/>
                      <a:pt x="459" y="395"/>
                      <a:pt x="458" y="395"/>
                    </a:cubicBezTo>
                    <a:cubicBezTo>
                      <a:pt x="457" y="396"/>
                      <a:pt x="456" y="395"/>
                      <a:pt x="455" y="395"/>
                    </a:cubicBezTo>
                    <a:cubicBezTo>
                      <a:pt x="454" y="395"/>
                      <a:pt x="453" y="395"/>
                      <a:pt x="452" y="394"/>
                    </a:cubicBezTo>
                    <a:cubicBezTo>
                      <a:pt x="452" y="394"/>
                      <a:pt x="452" y="393"/>
                      <a:pt x="451" y="394"/>
                    </a:cubicBezTo>
                    <a:cubicBezTo>
                      <a:pt x="451" y="394"/>
                      <a:pt x="451" y="393"/>
                      <a:pt x="450" y="393"/>
                    </a:cubicBezTo>
                    <a:cubicBezTo>
                      <a:pt x="451" y="394"/>
                      <a:pt x="448" y="393"/>
                      <a:pt x="448" y="392"/>
                    </a:cubicBezTo>
                    <a:cubicBezTo>
                      <a:pt x="448" y="392"/>
                      <a:pt x="447" y="392"/>
                      <a:pt x="446" y="392"/>
                    </a:cubicBezTo>
                    <a:cubicBezTo>
                      <a:pt x="447" y="392"/>
                      <a:pt x="447" y="392"/>
                      <a:pt x="447" y="392"/>
                    </a:cubicBezTo>
                    <a:cubicBezTo>
                      <a:pt x="446" y="392"/>
                      <a:pt x="445" y="392"/>
                      <a:pt x="444" y="392"/>
                    </a:cubicBezTo>
                    <a:cubicBezTo>
                      <a:pt x="444" y="391"/>
                      <a:pt x="443" y="391"/>
                      <a:pt x="443" y="391"/>
                    </a:cubicBezTo>
                    <a:cubicBezTo>
                      <a:pt x="443" y="391"/>
                      <a:pt x="443" y="391"/>
                      <a:pt x="443" y="391"/>
                    </a:cubicBezTo>
                    <a:cubicBezTo>
                      <a:pt x="443" y="391"/>
                      <a:pt x="442" y="390"/>
                      <a:pt x="442" y="390"/>
                    </a:cubicBezTo>
                    <a:cubicBezTo>
                      <a:pt x="442" y="390"/>
                      <a:pt x="441" y="390"/>
                      <a:pt x="441" y="390"/>
                    </a:cubicBezTo>
                    <a:cubicBezTo>
                      <a:pt x="440" y="389"/>
                      <a:pt x="438" y="389"/>
                      <a:pt x="437" y="388"/>
                    </a:cubicBezTo>
                    <a:cubicBezTo>
                      <a:pt x="438" y="388"/>
                      <a:pt x="438" y="388"/>
                      <a:pt x="439" y="388"/>
                    </a:cubicBezTo>
                    <a:cubicBezTo>
                      <a:pt x="439" y="388"/>
                      <a:pt x="439" y="388"/>
                      <a:pt x="440" y="388"/>
                    </a:cubicBezTo>
                    <a:cubicBezTo>
                      <a:pt x="441" y="388"/>
                      <a:pt x="441" y="388"/>
                      <a:pt x="441" y="389"/>
                    </a:cubicBezTo>
                    <a:cubicBezTo>
                      <a:pt x="442" y="389"/>
                      <a:pt x="442" y="389"/>
                      <a:pt x="443" y="389"/>
                    </a:cubicBezTo>
                    <a:cubicBezTo>
                      <a:pt x="442" y="389"/>
                      <a:pt x="443" y="389"/>
                      <a:pt x="442" y="389"/>
                    </a:cubicBezTo>
                    <a:cubicBezTo>
                      <a:pt x="442" y="389"/>
                      <a:pt x="442" y="388"/>
                      <a:pt x="441" y="388"/>
                    </a:cubicBezTo>
                    <a:cubicBezTo>
                      <a:pt x="442" y="388"/>
                      <a:pt x="442" y="388"/>
                      <a:pt x="442" y="388"/>
                    </a:cubicBezTo>
                    <a:cubicBezTo>
                      <a:pt x="442" y="388"/>
                      <a:pt x="442" y="388"/>
                      <a:pt x="441" y="388"/>
                    </a:cubicBezTo>
                    <a:cubicBezTo>
                      <a:pt x="442" y="388"/>
                      <a:pt x="442" y="388"/>
                      <a:pt x="442" y="388"/>
                    </a:cubicBezTo>
                    <a:cubicBezTo>
                      <a:pt x="442" y="388"/>
                      <a:pt x="442" y="388"/>
                      <a:pt x="441" y="387"/>
                    </a:cubicBezTo>
                    <a:cubicBezTo>
                      <a:pt x="441" y="388"/>
                      <a:pt x="440" y="388"/>
                      <a:pt x="440" y="387"/>
                    </a:cubicBezTo>
                    <a:cubicBezTo>
                      <a:pt x="440" y="387"/>
                      <a:pt x="439" y="386"/>
                      <a:pt x="439" y="386"/>
                    </a:cubicBezTo>
                    <a:cubicBezTo>
                      <a:pt x="438" y="385"/>
                      <a:pt x="439" y="385"/>
                      <a:pt x="438" y="385"/>
                    </a:cubicBezTo>
                    <a:cubicBezTo>
                      <a:pt x="438" y="385"/>
                      <a:pt x="438" y="384"/>
                      <a:pt x="438" y="384"/>
                    </a:cubicBezTo>
                    <a:cubicBezTo>
                      <a:pt x="439" y="384"/>
                      <a:pt x="439" y="384"/>
                      <a:pt x="439" y="384"/>
                    </a:cubicBezTo>
                    <a:cubicBezTo>
                      <a:pt x="439" y="384"/>
                      <a:pt x="440" y="383"/>
                      <a:pt x="440" y="383"/>
                    </a:cubicBezTo>
                    <a:cubicBezTo>
                      <a:pt x="440" y="383"/>
                      <a:pt x="440" y="384"/>
                      <a:pt x="441" y="384"/>
                    </a:cubicBezTo>
                    <a:cubicBezTo>
                      <a:pt x="441" y="384"/>
                      <a:pt x="440" y="384"/>
                      <a:pt x="440" y="384"/>
                    </a:cubicBezTo>
                    <a:cubicBezTo>
                      <a:pt x="440" y="386"/>
                      <a:pt x="441" y="384"/>
                      <a:pt x="441" y="384"/>
                    </a:cubicBezTo>
                    <a:cubicBezTo>
                      <a:pt x="441" y="385"/>
                      <a:pt x="441" y="385"/>
                      <a:pt x="442" y="384"/>
                    </a:cubicBezTo>
                    <a:cubicBezTo>
                      <a:pt x="442" y="384"/>
                      <a:pt x="442" y="384"/>
                      <a:pt x="442" y="385"/>
                    </a:cubicBezTo>
                    <a:cubicBezTo>
                      <a:pt x="443" y="385"/>
                      <a:pt x="443" y="385"/>
                      <a:pt x="443" y="384"/>
                    </a:cubicBezTo>
                    <a:cubicBezTo>
                      <a:pt x="442" y="384"/>
                      <a:pt x="443" y="384"/>
                      <a:pt x="443" y="384"/>
                    </a:cubicBezTo>
                    <a:cubicBezTo>
                      <a:pt x="443" y="384"/>
                      <a:pt x="443" y="383"/>
                      <a:pt x="443" y="383"/>
                    </a:cubicBezTo>
                    <a:cubicBezTo>
                      <a:pt x="443" y="383"/>
                      <a:pt x="443" y="383"/>
                      <a:pt x="444" y="383"/>
                    </a:cubicBezTo>
                    <a:cubicBezTo>
                      <a:pt x="444" y="383"/>
                      <a:pt x="444" y="383"/>
                      <a:pt x="444" y="383"/>
                    </a:cubicBezTo>
                    <a:cubicBezTo>
                      <a:pt x="444" y="382"/>
                      <a:pt x="445" y="383"/>
                      <a:pt x="445" y="383"/>
                    </a:cubicBezTo>
                    <a:cubicBezTo>
                      <a:pt x="445" y="383"/>
                      <a:pt x="445" y="382"/>
                      <a:pt x="445" y="382"/>
                    </a:cubicBezTo>
                    <a:cubicBezTo>
                      <a:pt x="446" y="383"/>
                      <a:pt x="446" y="383"/>
                      <a:pt x="446" y="383"/>
                    </a:cubicBezTo>
                    <a:cubicBezTo>
                      <a:pt x="447" y="383"/>
                      <a:pt x="447" y="383"/>
                      <a:pt x="448" y="383"/>
                    </a:cubicBezTo>
                    <a:cubicBezTo>
                      <a:pt x="448" y="383"/>
                      <a:pt x="449" y="382"/>
                      <a:pt x="449" y="382"/>
                    </a:cubicBezTo>
                    <a:cubicBezTo>
                      <a:pt x="449" y="382"/>
                      <a:pt x="448" y="382"/>
                      <a:pt x="448" y="382"/>
                    </a:cubicBezTo>
                    <a:cubicBezTo>
                      <a:pt x="447" y="382"/>
                      <a:pt x="446" y="381"/>
                      <a:pt x="445" y="382"/>
                    </a:cubicBezTo>
                    <a:cubicBezTo>
                      <a:pt x="444" y="382"/>
                      <a:pt x="444" y="381"/>
                      <a:pt x="444" y="381"/>
                    </a:cubicBezTo>
                    <a:cubicBezTo>
                      <a:pt x="443" y="381"/>
                      <a:pt x="443" y="381"/>
                      <a:pt x="443" y="381"/>
                    </a:cubicBezTo>
                    <a:cubicBezTo>
                      <a:pt x="442" y="381"/>
                      <a:pt x="442" y="381"/>
                      <a:pt x="442" y="381"/>
                    </a:cubicBezTo>
                    <a:cubicBezTo>
                      <a:pt x="441" y="382"/>
                      <a:pt x="442" y="382"/>
                      <a:pt x="441" y="382"/>
                    </a:cubicBezTo>
                    <a:cubicBezTo>
                      <a:pt x="442" y="382"/>
                      <a:pt x="442" y="383"/>
                      <a:pt x="441" y="383"/>
                    </a:cubicBezTo>
                    <a:cubicBezTo>
                      <a:pt x="441" y="382"/>
                      <a:pt x="440" y="382"/>
                      <a:pt x="440" y="382"/>
                    </a:cubicBezTo>
                    <a:cubicBezTo>
                      <a:pt x="440" y="381"/>
                      <a:pt x="442" y="381"/>
                      <a:pt x="441" y="381"/>
                    </a:cubicBezTo>
                    <a:cubicBezTo>
                      <a:pt x="440" y="381"/>
                      <a:pt x="440" y="382"/>
                      <a:pt x="440" y="382"/>
                    </a:cubicBezTo>
                    <a:cubicBezTo>
                      <a:pt x="439" y="382"/>
                      <a:pt x="438" y="381"/>
                      <a:pt x="438" y="381"/>
                    </a:cubicBezTo>
                    <a:cubicBezTo>
                      <a:pt x="437" y="381"/>
                      <a:pt x="437" y="382"/>
                      <a:pt x="437" y="382"/>
                    </a:cubicBezTo>
                    <a:cubicBezTo>
                      <a:pt x="437" y="382"/>
                      <a:pt x="437" y="383"/>
                      <a:pt x="437" y="383"/>
                    </a:cubicBezTo>
                    <a:cubicBezTo>
                      <a:pt x="438" y="383"/>
                      <a:pt x="438" y="383"/>
                      <a:pt x="438" y="382"/>
                    </a:cubicBezTo>
                    <a:cubicBezTo>
                      <a:pt x="438" y="382"/>
                      <a:pt x="439" y="382"/>
                      <a:pt x="439" y="383"/>
                    </a:cubicBezTo>
                    <a:cubicBezTo>
                      <a:pt x="440" y="383"/>
                      <a:pt x="439" y="384"/>
                      <a:pt x="439" y="384"/>
                    </a:cubicBezTo>
                    <a:cubicBezTo>
                      <a:pt x="439" y="384"/>
                      <a:pt x="437" y="384"/>
                      <a:pt x="438" y="385"/>
                    </a:cubicBezTo>
                    <a:cubicBezTo>
                      <a:pt x="438" y="385"/>
                      <a:pt x="438" y="385"/>
                      <a:pt x="439" y="386"/>
                    </a:cubicBezTo>
                    <a:cubicBezTo>
                      <a:pt x="439" y="386"/>
                      <a:pt x="439" y="386"/>
                      <a:pt x="439" y="387"/>
                    </a:cubicBezTo>
                    <a:cubicBezTo>
                      <a:pt x="439" y="387"/>
                      <a:pt x="439" y="387"/>
                      <a:pt x="439" y="387"/>
                    </a:cubicBezTo>
                    <a:cubicBezTo>
                      <a:pt x="439" y="387"/>
                      <a:pt x="438" y="387"/>
                      <a:pt x="438" y="387"/>
                    </a:cubicBezTo>
                    <a:cubicBezTo>
                      <a:pt x="438" y="387"/>
                      <a:pt x="438" y="387"/>
                      <a:pt x="437" y="387"/>
                    </a:cubicBezTo>
                    <a:cubicBezTo>
                      <a:pt x="437" y="386"/>
                      <a:pt x="438" y="387"/>
                      <a:pt x="438" y="387"/>
                    </a:cubicBezTo>
                    <a:cubicBezTo>
                      <a:pt x="437" y="388"/>
                      <a:pt x="435" y="386"/>
                      <a:pt x="435" y="386"/>
                    </a:cubicBezTo>
                    <a:cubicBezTo>
                      <a:pt x="435" y="386"/>
                      <a:pt x="436" y="386"/>
                      <a:pt x="436" y="386"/>
                    </a:cubicBezTo>
                    <a:cubicBezTo>
                      <a:pt x="435" y="386"/>
                      <a:pt x="436" y="386"/>
                      <a:pt x="436" y="386"/>
                    </a:cubicBezTo>
                    <a:cubicBezTo>
                      <a:pt x="436" y="386"/>
                      <a:pt x="436" y="385"/>
                      <a:pt x="437" y="385"/>
                    </a:cubicBezTo>
                    <a:cubicBezTo>
                      <a:pt x="436" y="385"/>
                      <a:pt x="436" y="385"/>
                      <a:pt x="436" y="385"/>
                    </a:cubicBezTo>
                    <a:cubicBezTo>
                      <a:pt x="436" y="385"/>
                      <a:pt x="436" y="385"/>
                      <a:pt x="435" y="385"/>
                    </a:cubicBezTo>
                    <a:cubicBezTo>
                      <a:pt x="435" y="385"/>
                      <a:pt x="435" y="385"/>
                      <a:pt x="435" y="385"/>
                    </a:cubicBezTo>
                    <a:cubicBezTo>
                      <a:pt x="435" y="385"/>
                      <a:pt x="433" y="384"/>
                      <a:pt x="433" y="384"/>
                    </a:cubicBezTo>
                    <a:cubicBezTo>
                      <a:pt x="433" y="384"/>
                      <a:pt x="434" y="384"/>
                      <a:pt x="434" y="384"/>
                    </a:cubicBezTo>
                    <a:cubicBezTo>
                      <a:pt x="435" y="384"/>
                      <a:pt x="435" y="384"/>
                      <a:pt x="436" y="384"/>
                    </a:cubicBezTo>
                    <a:cubicBezTo>
                      <a:pt x="435" y="384"/>
                      <a:pt x="435" y="384"/>
                      <a:pt x="435" y="383"/>
                    </a:cubicBezTo>
                    <a:cubicBezTo>
                      <a:pt x="435" y="384"/>
                      <a:pt x="435" y="383"/>
                      <a:pt x="435" y="383"/>
                    </a:cubicBezTo>
                    <a:cubicBezTo>
                      <a:pt x="436" y="382"/>
                      <a:pt x="435" y="382"/>
                      <a:pt x="435" y="382"/>
                    </a:cubicBezTo>
                    <a:cubicBezTo>
                      <a:pt x="435" y="381"/>
                      <a:pt x="436" y="382"/>
                      <a:pt x="436" y="382"/>
                    </a:cubicBezTo>
                    <a:cubicBezTo>
                      <a:pt x="436" y="382"/>
                      <a:pt x="435" y="382"/>
                      <a:pt x="435" y="381"/>
                    </a:cubicBezTo>
                    <a:cubicBezTo>
                      <a:pt x="436" y="381"/>
                      <a:pt x="437" y="381"/>
                      <a:pt x="437" y="381"/>
                    </a:cubicBezTo>
                    <a:cubicBezTo>
                      <a:pt x="437" y="381"/>
                      <a:pt x="436" y="381"/>
                      <a:pt x="436" y="381"/>
                    </a:cubicBezTo>
                    <a:cubicBezTo>
                      <a:pt x="435" y="381"/>
                      <a:pt x="435" y="381"/>
                      <a:pt x="435" y="381"/>
                    </a:cubicBezTo>
                    <a:cubicBezTo>
                      <a:pt x="434" y="381"/>
                      <a:pt x="434" y="380"/>
                      <a:pt x="434" y="380"/>
                    </a:cubicBezTo>
                    <a:cubicBezTo>
                      <a:pt x="434" y="380"/>
                      <a:pt x="434" y="381"/>
                      <a:pt x="434" y="381"/>
                    </a:cubicBezTo>
                    <a:cubicBezTo>
                      <a:pt x="434" y="381"/>
                      <a:pt x="435" y="381"/>
                      <a:pt x="435" y="382"/>
                    </a:cubicBezTo>
                    <a:cubicBezTo>
                      <a:pt x="435" y="382"/>
                      <a:pt x="435" y="383"/>
                      <a:pt x="434" y="383"/>
                    </a:cubicBezTo>
                    <a:cubicBezTo>
                      <a:pt x="434" y="383"/>
                      <a:pt x="434" y="382"/>
                      <a:pt x="434" y="382"/>
                    </a:cubicBezTo>
                    <a:cubicBezTo>
                      <a:pt x="434" y="382"/>
                      <a:pt x="433" y="382"/>
                      <a:pt x="433" y="382"/>
                    </a:cubicBezTo>
                    <a:cubicBezTo>
                      <a:pt x="433" y="382"/>
                      <a:pt x="434" y="382"/>
                      <a:pt x="433" y="382"/>
                    </a:cubicBezTo>
                    <a:cubicBezTo>
                      <a:pt x="433" y="383"/>
                      <a:pt x="433" y="382"/>
                      <a:pt x="433" y="383"/>
                    </a:cubicBezTo>
                    <a:cubicBezTo>
                      <a:pt x="433" y="383"/>
                      <a:pt x="433" y="383"/>
                      <a:pt x="433" y="383"/>
                    </a:cubicBezTo>
                    <a:cubicBezTo>
                      <a:pt x="433" y="383"/>
                      <a:pt x="432" y="383"/>
                      <a:pt x="432" y="384"/>
                    </a:cubicBezTo>
                    <a:cubicBezTo>
                      <a:pt x="432" y="384"/>
                      <a:pt x="432" y="383"/>
                      <a:pt x="431" y="383"/>
                    </a:cubicBezTo>
                    <a:cubicBezTo>
                      <a:pt x="431" y="383"/>
                      <a:pt x="432" y="383"/>
                      <a:pt x="432" y="383"/>
                    </a:cubicBezTo>
                    <a:cubicBezTo>
                      <a:pt x="432" y="383"/>
                      <a:pt x="430" y="383"/>
                      <a:pt x="431" y="382"/>
                    </a:cubicBezTo>
                    <a:cubicBezTo>
                      <a:pt x="431" y="382"/>
                      <a:pt x="432" y="382"/>
                      <a:pt x="432" y="382"/>
                    </a:cubicBezTo>
                    <a:cubicBezTo>
                      <a:pt x="432" y="381"/>
                      <a:pt x="431" y="381"/>
                      <a:pt x="431" y="381"/>
                    </a:cubicBezTo>
                    <a:cubicBezTo>
                      <a:pt x="431" y="381"/>
                      <a:pt x="432" y="380"/>
                      <a:pt x="431" y="380"/>
                    </a:cubicBezTo>
                    <a:cubicBezTo>
                      <a:pt x="431" y="380"/>
                      <a:pt x="430" y="380"/>
                      <a:pt x="430" y="380"/>
                    </a:cubicBezTo>
                    <a:cubicBezTo>
                      <a:pt x="430" y="380"/>
                      <a:pt x="430" y="380"/>
                      <a:pt x="430" y="380"/>
                    </a:cubicBezTo>
                    <a:cubicBezTo>
                      <a:pt x="430" y="380"/>
                      <a:pt x="430" y="380"/>
                      <a:pt x="430" y="380"/>
                    </a:cubicBezTo>
                    <a:cubicBezTo>
                      <a:pt x="431" y="379"/>
                      <a:pt x="430" y="379"/>
                      <a:pt x="430" y="379"/>
                    </a:cubicBezTo>
                    <a:cubicBezTo>
                      <a:pt x="430" y="379"/>
                      <a:pt x="430" y="379"/>
                      <a:pt x="430" y="379"/>
                    </a:cubicBezTo>
                    <a:cubicBezTo>
                      <a:pt x="430" y="379"/>
                      <a:pt x="430" y="379"/>
                      <a:pt x="430" y="378"/>
                    </a:cubicBezTo>
                    <a:cubicBezTo>
                      <a:pt x="430" y="378"/>
                      <a:pt x="429" y="378"/>
                      <a:pt x="429" y="378"/>
                    </a:cubicBezTo>
                    <a:cubicBezTo>
                      <a:pt x="429" y="377"/>
                      <a:pt x="428" y="377"/>
                      <a:pt x="428" y="377"/>
                    </a:cubicBezTo>
                    <a:cubicBezTo>
                      <a:pt x="427" y="376"/>
                      <a:pt x="428" y="376"/>
                      <a:pt x="428" y="376"/>
                    </a:cubicBezTo>
                    <a:cubicBezTo>
                      <a:pt x="428" y="377"/>
                      <a:pt x="429" y="377"/>
                      <a:pt x="429" y="377"/>
                    </a:cubicBezTo>
                    <a:cubicBezTo>
                      <a:pt x="429" y="377"/>
                      <a:pt x="429" y="377"/>
                      <a:pt x="429" y="377"/>
                    </a:cubicBezTo>
                    <a:cubicBezTo>
                      <a:pt x="430" y="378"/>
                      <a:pt x="430" y="378"/>
                      <a:pt x="430" y="378"/>
                    </a:cubicBezTo>
                    <a:cubicBezTo>
                      <a:pt x="431" y="378"/>
                      <a:pt x="430" y="377"/>
                      <a:pt x="430" y="377"/>
                    </a:cubicBezTo>
                    <a:cubicBezTo>
                      <a:pt x="431" y="377"/>
                      <a:pt x="431" y="378"/>
                      <a:pt x="432" y="378"/>
                    </a:cubicBezTo>
                    <a:cubicBezTo>
                      <a:pt x="433" y="378"/>
                      <a:pt x="432" y="377"/>
                      <a:pt x="432" y="377"/>
                    </a:cubicBezTo>
                    <a:cubicBezTo>
                      <a:pt x="433" y="377"/>
                      <a:pt x="433" y="376"/>
                      <a:pt x="434" y="377"/>
                    </a:cubicBezTo>
                    <a:cubicBezTo>
                      <a:pt x="434" y="377"/>
                      <a:pt x="433" y="378"/>
                      <a:pt x="434" y="378"/>
                    </a:cubicBezTo>
                    <a:cubicBezTo>
                      <a:pt x="434" y="378"/>
                      <a:pt x="434" y="378"/>
                      <a:pt x="434" y="378"/>
                    </a:cubicBezTo>
                    <a:cubicBezTo>
                      <a:pt x="435" y="378"/>
                      <a:pt x="435" y="378"/>
                      <a:pt x="435" y="378"/>
                    </a:cubicBezTo>
                    <a:cubicBezTo>
                      <a:pt x="436" y="379"/>
                      <a:pt x="436" y="377"/>
                      <a:pt x="436" y="377"/>
                    </a:cubicBezTo>
                    <a:cubicBezTo>
                      <a:pt x="436" y="376"/>
                      <a:pt x="435" y="376"/>
                      <a:pt x="435" y="377"/>
                    </a:cubicBezTo>
                    <a:cubicBezTo>
                      <a:pt x="435" y="377"/>
                      <a:pt x="436" y="378"/>
                      <a:pt x="435" y="378"/>
                    </a:cubicBezTo>
                    <a:cubicBezTo>
                      <a:pt x="435" y="378"/>
                      <a:pt x="434" y="377"/>
                      <a:pt x="434" y="376"/>
                    </a:cubicBezTo>
                    <a:cubicBezTo>
                      <a:pt x="434" y="376"/>
                      <a:pt x="434" y="376"/>
                      <a:pt x="434" y="376"/>
                    </a:cubicBezTo>
                    <a:cubicBezTo>
                      <a:pt x="434" y="375"/>
                      <a:pt x="434" y="375"/>
                      <a:pt x="436" y="376"/>
                    </a:cubicBezTo>
                    <a:cubicBezTo>
                      <a:pt x="436" y="376"/>
                      <a:pt x="436" y="376"/>
                      <a:pt x="436" y="376"/>
                    </a:cubicBezTo>
                    <a:cubicBezTo>
                      <a:pt x="436" y="377"/>
                      <a:pt x="437" y="377"/>
                      <a:pt x="437" y="377"/>
                    </a:cubicBezTo>
                    <a:cubicBezTo>
                      <a:pt x="438" y="377"/>
                      <a:pt x="438" y="378"/>
                      <a:pt x="438" y="378"/>
                    </a:cubicBezTo>
                    <a:cubicBezTo>
                      <a:pt x="438" y="378"/>
                      <a:pt x="439" y="379"/>
                      <a:pt x="438" y="379"/>
                    </a:cubicBezTo>
                    <a:cubicBezTo>
                      <a:pt x="438" y="379"/>
                      <a:pt x="438" y="379"/>
                      <a:pt x="438" y="379"/>
                    </a:cubicBezTo>
                    <a:cubicBezTo>
                      <a:pt x="438" y="379"/>
                      <a:pt x="438" y="379"/>
                      <a:pt x="438" y="380"/>
                    </a:cubicBezTo>
                    <a:cubicBezTo>
                      <a:pt x="437" y="380"/>
                      <a:pt x="437" y="380"/>
                      <a:pt x="437" y="380"/>
                    </a:cubicBezTo>
                    <a:cubicBezTo>
                      <a:pt x="437" y="380"/>
                      <a:pt x="437" y="380"/>
                      <a:pt x="436" y="380"/>
                    </a:cubicBezTo>
                    <a:cubicBezTo>
                      <a:pt x="436" y="381"/>
                      <a:pt x="440" y="380"/>
                      <a:pt x="440" y="380"/>
                    </a:cubicBezTo>
                    <a:cubicBezTo>
                      <a:pt x="440" y="380"/>
                      <a:pt x="438" y="381"/>
                      <a:pt x="439" y="380"/>
                    </a:cubicBezTo>
                    <a:cubicBezTo>
                      <a:pt x="439" y="379"/>
                      <a:pt x="439" y="378"/>
                      <a:pt x="438" y="378"/>
                    </a:cubicBezTo>
                    <a:cubicBezTo>
                      <a:pt x="438" y="377"/>
                      <a:pt x="437" y="377"/>
                      <a:pt x="436" y="376"/>
                    </a:cubicBezTo>
                    <a:cubicBezTo>
                      <a:pt x="436" y="376"/>
                      <a:pt x="436" y="376"/>
                      <a:pt x="436" y="375"/>
                    </a:cubicBezTo>
                    <a:cubicBezTo>
                      <a:pt x="436" y="375"/>
                      <a:pt x="436" y="375"/>
                      <a:pt x="437" y="375"/>
                    </a:cubicBezTo>
                    <a:cubicBezTo>
                      <a:pt x="437" y="375"/>
                      <a:pt x="436" y="375"/>
                      <a:pt x="437" y="375"/>
                    </a:cubicBezTo>
                    <a:cubicBezTo>
                      <a:pt x="437" y="375"/>
                      <a:pt x="438" y="375"/>
                      <a:pt x="437" y="375"/>
                    </a:cubicBezTo>
                    <a:cubicBezTo>
                      <a:pt x="437" y="375"/>
                      <a:pt x="437" y="375"/>
                      <a:pt x="437" y="374"/>
                    </a:cubicBezTo>
                    <a:cubicBezTo>
                      <a:pt x="437" y="374"/>
                      <a:pt x="437" y="374"/>
                      <a:pt x="436" y="373"/>
                    </a:cubicBezTo>
                    <a:cubicBezTo>
                      <a:pt x="436" y="373"/>
                      <a:pt x="435" y="372"/>
                      <a:pt x="434" y="372"/>
                    </a:cubicBezTo>
                    <a:cubicBezTo>
                      <a:pt x="433" y="371"/>
                      <a:pt x="432" y="371"/>
                      <a:pt x="431" y="371"/>
                    </a:cubicBezTo>
                    <a:cubicBezTo>
                      <a:pt x="431" y="370"/>
                      <a:pt x="430" y="371"/>
                      <a:pt x="430" y="370"/>
                    </a:cubicBezTo>
                    <a:cubicBezTo>
                      <a:pt x="430" y="370"/>
                      <a:pt x="428" y="370"/>
                      <a:pt x="428" y="370"/>
                    </a:cubicBezTo>
                    <a:cubicBezTo>
                      <a:pt x="428" y="371"/>
                      <a:pt x="430" y="370"/>
                      <a:pt x="430" y="370"/>
                    </a:cubicBezTo>
                    <a:cubicBezTo>
                      <a:pt x="431" y="371"/>
                      <a:pt x="430" y="371"/>
                      <a:pt x="430" y="372"/>
                    </a:cubicBezTo>
                    <a:cubicBezTo>
                      <a:pt x="430" y="372"/>
                      <a:pt x="431" y="371"/>
                      <a:pt x="431" y="371"/>
                    </a:cubicBezTo>
                    <a:cubicBezTo>
                      <a:pt x="432" y="371"/>
                      <a:pt x="432" y="371"/>
                      <a:pt x="432" y="371"/>
                    </a:cubicBezTo>
                    <a:cubicBezTo>
                      <a:pt x="432" y="372"/>
                      <a:pt x="433" y="371"/>
                      <a:pt x="433" y="372"/>
                    </a:cubicBezTo>
                    <a:cubicBezTo>
                      <a:pt x="434" y="372"/>
                      <a:pt x="434" y="373"/>
                      <a:pt x="435" y="373"/>
                    </a:cubicBezTo>
                    <a:cubicBezTo>
                      <a:pt x="435" y="373"/>
                      <a:pt x="436" y="373"/>
                      <a:pt x="436" y="374"/>
                    </a:cubicBezTo>
                    <a:cubicBezTo>
                      <a:pt x="435" y="374"/>
                      <a:pt x="435" y="374"/>
                      <a:pt x="434" y="374"/>
                    </a:cubicBezTo>
                    <a:cubicBezTo>
                      <a:pt x="434" y="374"/>
                      <a:pt x="434" y="374"/>
                      <a:pt x="434" y="373"/>
                    </a:cubicBezTo>
                    <a:cubicBezTo>
                      <a:pt x="433" y="373"/>
                      <a:pt x="433" y="373"/>
                      <a:pt x="433" y="373"/>
                    </a:cubicBezTo>
                    <a:cubicBezTo>
                      <a:pt x="432" y="373"/>
                      <a:pt x="432" y="373"/>
                      <a:pt x="432" y="373"/>
                    </a:cubicBezTo>
                    <a:cubicBezTo>
                      <a:pt x="431" y="373"/>
                      <a:pt x="431" y="373"/>
                      <a:pt x="430" y="373"/>
                    </a:cubicBezTo>
                    <a:cubicBezTo>
                      <a:pt x="430" y="373"/>
                      <a:pt x="429" y="371"/>
                      <a:pt x="429" y="372"/>
                    </a:cubicBezTo>
                    <a:cubicBezTo>
                      <a:pt x="429" y="372"/>
                      <a:pt x="430" y="373"/>
                      <a:pt x="430" y="373"/>
                    </a:cubicBezTo>
                    <a:cubicBezTo>
                      <a:pt x="431" y="373"/>
                      <a:pt x="432" y="373"/>
                      <a:pt x="432" y="374"/>
                    </a:cubicBezTo>
                    <a:cubicBezTo>
                      <a:pt x="432" y="374"/>
                      <a:pt x="431" y="373"/>
                      <a:pt x="431" y="373"/>
                    </a:cubicBezTo>
                    <a:cubicBezTo>
                      <a:pt x="431" y="373"/>
                      <a:pt x="433" y="373"/>
                      <a:pt x="432" y="374"/>
                    </a:cubicBezTo>
                    <a:cubicBezTo>
                      <a:pt x="432" y="374"/>
                      <a:pt x="431" y="374"/>
                      <a:pt x="431" y="375"/>
                    </a:cubicBezTo>
                    <a:cubicBezTo>
                      <a:pt x="431" y="374"/>
                      <a:pt x="432" y="375"/>
                      <a:pt x="432" y="374"/>
                    </a:cubicBezTo>
                    <a:cubicBezTo>
                      <a:pt x="432" y="374"/>
                      <a:pt x="433" y="374"/>
                      <a:pt x="433" y="374"/>
                    </a:cubicBezTo>
                    <a:cubicBezTo>
                      <a:pt x="433" y="375"/>
                      <a:pt x="432" y="375"/>
                      <a:pt x="432" y="375"/>
                    </a:cubicBezTo>
                    <a:cubicBezTo>
                      <a:pt x="432" y="375"/>
                      <a:pt x="432" y="376"/>
                      <a:pt x="432" y="376"/>
                    </a:cubicBezTo>
                    <a:cubicBezTo>
                      <a:pt x="433" y="377"/>
                      <a:pt x="431" y="376"/>
                      <a:pt x="431" y="376"/>
                    </a:cubicBezTo>
                    <a:cubicBezTo>
                      <a:pt x="430" y="375"/>
                      <a:pt x="430" y="373"/>
                      <a:pt x="428" y="372"/>
                    </a:cubicBezTo>
                    <a:cubicBezTo>
                      <a:pt x="429" y="373"/>
                      <a:pt x="429" y="373"/>
                      <a:pt x="429" y="373"/>
                    </a:cubicBezTo>
                    <a:cubicBezTo>
                      <a:pt x="430" y="374"/>
                      <a:pt x="430" y="374"/>
                      <a:pt x="430" y="375"/>
                    </a:cubicBezTo>
                    <a:cubicBezTo>
                      <a:pt x="431" y="375"/>
                      <a:pt x="432" y="377"/>
                      <a:pt x="432" y="377"/>
                    </a:cubicBezTo>
                    <a:cubicBezTo>
                      <a:pt x="432" y="378"/>
                      <a:pt x="429" y="377"/>
                      <a:pt x="429" y="376"/>
                    </a:cubicBezTo>
                    <a:cubicBezTo>
                      <a:pt x="429" y="376"/>
                      <a:pt x="427" y="374"/>
                      <a:pt x="427" y="374"/>
                    </a:cubicBezTo>
                    <a:cubicBezTo>
                      <a:pt x="427" y="374"/>
                      <a:pt x="428" y="375"/>
                      <a:pt x="429" y="375"/>
                    </a:cubicBezTo>
                    <a:cubicBezTo>
                      <a:pt x="429" y="375"/>
                      <a:pt x="430" y="376"/>
                      <a:pt x="430" y="376"/>
                    </a:cubicBezTo>
                    <a:cubicBezTo>
                      <a:pt x="430" y="376"/>
                      <a:pt x="429" y="375"/>
                      <a:pt x="429" y="375"/>
                    </a:cubicBezTo>
                    <a:cubicBezTo>
                      <a:pt x="429" y="374"/>
                      <a:pt x="428" y="374"/>
                      <a:pt x="427" y="373"/>
                    </a:cubicBezTo>
                    <a:cubicBezTo>
                      <a:pt x="427" y="373"/>
                      <a:pt x="428" y="373"/>
                      <a:pt x="428" y="373"/>
                    </a:cubicBezTo>
                    <a:cubicBezTo>
                      <a:pt x="428" y="372"/>
                      <a:pt x="427" y="373"/>
                      <a:pt x="427" y="372"/>
                    </a:cubicBezTo>
                    <a:cubicBezTo>
                      <a:pt x="427" y="373"/>
                      <a:pt x="427" y="373"/>
                      <a:pt x="426" y="372"/>
                    </a:cubicBezTo>
                    <a:cubicBezTo>
                      <a:pt x="426" y="372"/>
                      <a:pt x="426" y="373"/>
                      <a:pt x="426" y="373"/>
                    </a:cubicBezTo>
                    <a:cubicBezTo>
                      <a:pt x="426" y="373"/>
                      <a:pt x="425" y="373"/>
                      <a:pt x="425" y="372"/>
                    </a:cubicBezTo>
                    <a:cubicBezTo>
                      <a:pt x="426" y="372"/>
                      <a:pt x="425" y="372"/>
                      <a:pt x="424" y="372"/>
                    </a:cubicBezTo>
                    <a:cubicBezTo>
                      <a:pt x="424" y="372"/>
                      <a:pt x="424" y="372"/>
                      <a:pt x="424" y="371"/>
                    </a:cubicBezTo>
                    <a:cubicBezTo>
                      <a:pt x="423" y="371"/>
                      <a:pt x="423" y="370"/>
                      <a:pt x="423" y="370"/>
                    </a:cubicBezTo>
                    <a:cubicBezTo>
                      <a:pt x="422" y="369"/>
                      <a:pt x="423" y="369"/>
                      <a:pt x="423" y="369"/>
                    </a:cubicBezTo>
                    <a:cubicBezTo>
                      <a:pt x="424" y="370"/>
                      <a:pt x="425" y="370"/>
                      <a:pt x="425" y="371"/>
                    </a:cubicBezTo>
                    <a:cubicBezTo>
                      <a:pt x="425" y="371"/>
                      <a:pt x="426" y="372"/>
                      <a:pt x="426" y="372"/>
                    </a:cubicBezTo>
                    <a:cubicBezTo>
                      <a:pt x="426" y="371"/>
                      <a:pt x="426" y="371"/>
                      <a:pt x="425" y="371"/>
                    </a:cubicBezTo>
                    <a:cubicBezTo>
                      <a:pt x="425" y="371"/>
                      <a:pt x="425" y="370"/>
                      <a:pt x="425" y="370"/>
                    </a:cubicBezTo>
                    <a:cubicBezTo>
                      <a:pt x="425" y="370"/>
                      <a:pt x="425" y="370"/>
                      <a:pt x="425" y="370"/>
                    </a:cubicBezTo>
                    <a:cubicBezTo>
                      <a:pt x="424" y="370"/>
                      <a:pt x="424" y="369"/>
                      <a:pt x="424" y="369"/>
                    </a:cubicBezTo>
                    <a:cubicBezTo>
                      <a:pt x="424" y="368"/>
                      <a:pt x="423" y="368"/>
                      <a:pt x="423" y="368"/>
                    </a:cubicBezTo>
                    <a:cubicBezTo>
                      <a:pt x="423" y="367"/>
                      <a:pt x="424" y="368"/>
                      <a:pt x="424" y="368"/>
                    </a:cubicBezTo>
                    <a:cubicBezTo>
                      <a:pt x="424" y="368"/>
                      <a:pt x="423" y="367"/>
                      <a:pt x="423" y="367"/>
                    </a:cubicBezTo>
                    <a:cubicBezTo>
                      <a:pt x="423" y="367"/>
                      <a:pt x="423" y="367"/>
                      <a:pt x="423" y="367"/>
                    </a:cubicBezTo>
                    <a:cubicBezTo>
                      <a:pt x="423" y="367"/>
                      <a:pt x="423" y="367"/>
                      <a:pt x="422" y="367"/>
                    </a:cubicBezTo>
                    <a:cubicBezTo>
                      <a:pt x="423" y="367"/>
                      <a:pt x="422" y="368"/>
                      <a:pt x="422" y="368"/>
                    </a:cubicBezTo>
                    <a:cubicBezTo>
                      <a:pt x="421" y="368"/>
                      <a:pt x="421" y="367"/>
                      <a:pt x="420" y="366"/>
                    </a:cubicBezTo>
                    <a:cubicBezTo>
                      <a:pt x="420" y="367"/>
                      <a:pt x="421" y="368"/>
                      <a:pt x="420" y="367"/>
                    </a:cubicBezTo>
                    <a:cubicBezTo>
                      <a:pt x="420" y="367"/>
                      <a:pt x="419" y="367"/>
                      <a:pt x="419" y="366"/>
                    </a:cubicBezTo>
                    <a:cubicBezTo>
                      <a:pt x="419" y="366"/>
                      <a:pt x="419" y="365"/>
                      <a:pt x="419" y="365"/>
                    </a:cubicBezTo>
                    <a:cubicBezTo>
                      <a:pt x="419" y="365"/>
                      <a:pt x="418" y="366"/>
                      <a:pt x="418" y="365"/>
                    </a:cubicBezTo>
                    <a:close/>
                    <a:moveTo>
                      <a:pt x="448" y="386"/>
                    </a:moveTo>
                    <a:cubicBezTo>
                      <a:pt x="447" y="387"/>
                      <a:pt x="448" y="388"/>
                      <a:pt x="447" y="388"/>
                    </a:cubicBezTo>
                    <a:cubicBezTo>
                      <a:pt x="446" y="388"/>
                      <a:pt x="445" y="387"/>
                      <a:pt x="444" y="387"/>
                    </a:cubicBezTo>
                    <a:cubicBezTo>
                      <a:pt x="445" y="387"/>
                      <a:pt x="445" y="387"/>
                      <a:pt x="445" y="387"/>
                    </a:cubicBezTo>
                    <a:cubicBezTo>
                      <a:pt x="444" y="387"/>
                      <a:pt x="443" y="386"/>
                      <a:pt x="443" y="387"/>
                    </a:cubicBezTo>
                    <a:cubicBezTo>
                      <a:pt x="443" y="387"/>
                      <a:pt x="444" y="387"/>
                      <a:pt x="444" y="387"/>
                    </a:cubicBezTo>
                    <a:cubicBezTo>
                      <a:pt x="445" y="387"/>
                      <a:pt x="445" y="388"/>
                      <a:pt x="446" y="388"/>
                    </a:cubicBezTo>
                    <a:cubicBezTo>
                      <a:pt x="446" y="388"/>
                      <a:pt x="447" y="388"/>
                      <a:pt x="446" y="388"/>
                    </a:cubicBezTo>
                    <a:cubicBezTo>
                      <a:pt x="446" y="388"/>
                      <a:pt x="445" y="388"/>
                      <a:pt x="445" y="388"/>
                    </a:cubicBezTo>
                    <a:cubicBezTo>
                      <a:pt x="445" y="388"/>
                      <a:pt x="445" y="388"/>
                      <a:pt x="445" y="389"/>
                    </a:cubicBezTo>
                    <a:cubicBezTo>
                      <a:pt x="446" y="389"/>
                      <a:pt x="444" y="388"/>
                      <a:pt x="444" y="388"/>
                    </a:cubicBezTo>
                    <a:cubicBezTo>
                      <a:pt x="444" y="388"/>
                      <a:pt x="444" y="388"/>
                      <a:pt x="444" y="389"/>
                    </a:cubicBezTo>
                    <a:cubicBezTo>
                      <a:pt x="444" y="389"/>
                      <a:pt x="444" y="389"/>
                      <a:pt x="444" y="388"/>
                    </a:cubicBezTo>
                    <a:cubicBezTo>
                      <a:pt x="444" y="389"/>
                      <a:pt x="445" y="389"/>
                      <a:pt x="445" y="389"/>
                    </a:cubicBezTo>
                    <a:cubicBezTo>
                      <a:pt x="445" y="389"/>
                      <a:pt x="444" y="389"/>
                      <a:pt x="444" y="389"/>
                    </a:cubicBezTo>
                    <a:cubicBezTo>
                      <a:pt x="445" y="390"/>
                      <a:pt x="444" y="390"/>
                      <a:pt x="443" y="390"/>
                    </a:cubicBezTo>
                    <a:cubicBezTo>
                      <a:pt x="443" y="390"/>
                      <a:pt x="445" y="391"/>
                      <a:pt x="445" y="391"/>
                    </a:cubicBezTo>
                    <a:cubicBezTo>
                      <a:pt x="445" y="390"/>
                      <a:pt x="445" y="391"/>
                      <a:pt x="446" y="391"/>
                    </a:cubicBezTo>
                    <a:cubicBezTo>
                      <a:pt x="445" y="391"/>
                      <a:pt x="445" y="390"/>
                      <a:pt x="445" y="390"/>
                    </a:cubicBezTo>
                    <a:cubicBezTo>
                      <a:pt x="446" y="390"/>
                      <a:pt x="445" y="390"/>
                      <a:pt x="445" y="389"/>
                    </a:cubicBezTo>
                    <a:cubicBezTo>
                      <a:pt x="446" y="389"/>
                      <a:pt x="446" y="389"/>
                      <a:pt x="447" y="389"/>
                    </a:cubicBezTo>
                    <a:cubicBezTo>
                      <a:pt x="447" y="389"/>
                      <a:pt x="448" y="389"/>
                      <a:pt x="448" y="390"/>
                    </a:cubicBezTo>
                    <a:cubicBezTo>
                      <a:pt x="448" y="390"/>
                      <a:pt x="448" y="390"/>
                      <a:pt x="448" y="390"/>
                    </a:cubicBezTo>
                    <a:cubicBezTo>
                      <a:pt x="448" y="391"/>
                      <a:pt x="448" y="391"/>
                      <a:pt x="447" y="391"/>
                    </a:cubicBezTo>
                    <a:cubicBezTo>
                      <a:pt x="448" y="391"/>
                      <a:pt x="448" y="391"/>
                      <a:pt x="449" y="391"/>
                    </a:cubicBezTo>
                    <a:cubicBezTo>
                      <a:pt x="449" y="390"/>
                      <a:pt x="449" y="390"/>
                      <a:pt x="448" y="389"/>
                    </a:cubicBezTo>
                    <a:cubicBezTo>
                      <a:pt x="448" y="388"/>
                      <a:pt x="449" y="389"/>
                      <a:pt x="450" y="389"/>
                    </a:cubicBezTo>
                    <a:cubicBezTo>
                      <a:pt x="450" y="390"/>
                      <a:pt x="452" y="391"/>
                      <a:pt x="450" y="391"/>
                    </a:cubicBezTo>
                    <a:cubicBezTo>
                      <a:pt x="449" y="392"/>
                      <a:pt x="451" y="392"/>
                      <a:pt x="451" y="392"/>
                    </a:cubicBezTo>
                    <a:cubicBezTo>
                      <a:pt x="452" y="391"/>
                      <a:pt x="450" y="390"/>
                      <a:pt x="450" y="389"/>
                    </a:cubicBezTo>
                    <a:cubicBezTo>
                      <a:pt x="450" y="388"/>
                      <a:pt x="451" y="389"/>
                      <a:pt x="451" y="388"/>
                    </a:cubicBezTo>
                    <a:cubicBezTo>
                      <a:pt x="451" y="388"/>
                      <a:pt x="451" y="388"/>
                      <a:pt x="451" y="388"/>
                    </a:cubicBezTo>
                    <a:cubicBezTo>
                      <a:pt x="452" y="388"/>
                      <a:pt x="453" y="388"/>
                      <a:pt x="453" y="387"/>
                    </a:cubicBezTo>
                    <a:cubicBezTo>
                      <a:pt x="453" y="387"/>
                      <a:pt x="453" y="386"/>
                      <a:pt x="453" y="386"/>
                    </a:cubicBezTo>
                    <a:cubicBezTo>
                      <a:pt x="453" y="385"/>
                      <a:pt x="453" y="385"/>
                      <a:pt x="453" y="385"/>
                    </a:cubicBezTo>
                    <a:cubicBezTo>
                      <a:pt x="452" y="384"/>
                      <a:pt x="451" y="384"/>
                      <a:pt x="450" y="384"/>
                    </a:cubicBezTo>
                    <a:cubicBezTo>
                      <a:pt x="451" y="385"/>
                      <a:pt x="448" y="385"/>
                      <a:pt x="448" y="386"/>
                    </a:cubicBezTo>
                    <a:close/>
                    <a:moveTo>
                      <a:pt x="474" y="404"/>
                    </a:moveTo>
                    <a:cubicBezTo>
                      <a:pt x="475" y="404"/>
                      <a:pt x="475" y="405"/>
                      <a:pt x="475" y="405"/>
                    </a:cubicBezTo>
                    <a:cubicBezTo>
                      <a:pt x="475" y="405"/>
                      <a:pt x="475" y="404"/>
                      <a:pt x="475" y="404"/>
                    </a:cubicBezTo>
                    <a:cubicBezTo>
                      <a:pt x="475" y="404"/>
                      <a:pt x="475" y="405"/>
                      <a:pt x="475" y="405"/>
                    </a:cubicBezTo>
                    <a:cubicBezTo>
                      <a:pt x="475" y="405"/>
                      <a:pt x="475" y="404"/>
                      <a:pt x="475" y="404"/>
                    </a:cubicBezTo>
                    <a:cubicBezTo>
                      <a:pt x="476" y="404"/>
                      <a:pt x="475" y="405"/>
                      <a:pt x="476" y="405"/>
                    </a:cubicBezTo>
                    <a:cubicBezTo>
                      <a:pt x="476" y="406"/>
                      <a:pt x="477" y="406"/>
                      <a:pt x="477" y="406"/>
                    </a:cubicBezTo>
                    <a:cubicBezTo>
                      <a:pt x="479" y="406"/>
                      <a:pt x="480" y="406"/>
                      <a:pt x="481" y="407"/>
                    </a:cubicBezTo>
                    <a:cubicBezTo>
                      <a:pt x="482" y="407"/>
                      <a:pt x="484" y="406"/>
                      <a:pt x="483" y="406"/>
                    </a:cubicBezTo>
                    <a:cubicBezTo>
                      <a:pt x="483" y="406"/>
                      <a:pt x="481" y="405"/>
                      <a:pt x="481" y="405"/>
                    </a:cubicBezTo>
                    <a:cubicBezTo>
                      <a:pt x="482" y="405"/>
                      <a:pt x="483" y="406"/>
                      <a:pt x="484" y="406"/>
                    </a:cubicBezTo>
                    <a:cubicBezTo>
                      <a:pt x="485" y="406"/>
                      <a:pt x="484" y="406"/>
                      <a:pt x="484" y="405"/>
                    </a:cubicBezTo>
                    <a:cubicBezTo>
                      <a:pt x="484" y="405"/>
                      <a:pt x="484" y="405"/>
                      <a:pt x="483" y="405"/>
                    </a:cubicBezTo>
                    <a:cubicBezTo>
                      <a:pt x="483" y="405"/>
                      <a:pt x="484" y="405"/>
                      <a:pt x="484" y="405"/>
                    </a:cubicBezTo>
                    <a:cubicBezTo>
                      <a:pt x="482" y="401"/>
                      <a:pt x="480" y="397"/>
                      <a:pt x="478" y="393"/>
                    </a:cubicBezTo>
                    <a:cubicBezTo>
                      <a:pt x="477" y="391"/>
                      <a:pt x="476" y="389"/>
                      <a:pt x="475" y="387"/>
                    </a:cubicBezTo>
                    <a:cubicBezTo>
                      <a:pt x="475" y="386"/>
                      <a:pt x="474" y="385"/>
                      <a:pt x="474" y="384"/>
                    </a:cubicBezTo>
                    <a:cubicBezTo>
                      <a:pt x="473" y="383"/>
                      <a:pt x="473" y="383"/>
                      <a:pt x="472" y="382"/>
                    </a:cubicBezTo>
                    <a:cubicBezTo>
                      <a:pt x="472" y="382"/>
                      <a:pt x="471" y="381"/>
                      <a:pt x="471" y="382"/>
                    </a:cubicBezTo>
                    <a:cubicBezTo>
                      <a:pt x="471" y="382"/>
                      <a:pt x="470" y="382"/>
                      <a:pt x="470" y="383"/>
                    </a:cubicBezTo>
                    <a:cubicBezTo>
                      <a:pt x="469" y="383"/>
                      <a:pt x="469" y="383"/>
                      <a:pt x="468" y="382"/>
                    </a:cubicBezTo>
                    <a:cubicBezTo>
                      <a:pt x="467" y="382"/>
                      <a:pt x="467" y="382"/>
                      <a:pt x="466" y="381"/>
                    </a:cubicBezTo>
                    <a:cubicBezTo>
                      <a:pt x="466" y="381"/>
                      <a:pt x="465" y="381"/>
                      <a:pt x="465" y="381"/>
                    </a:cubicBezTo>
                    <a:cubicBezTo>
                      <a:pt x="464" y="381"/>
                      <a:pt x="464" y="381"/>
                      <a:pt x="464" y="382"/>
                    </a:cubicBezTo>
                    <a:cubicBezTo>
                      <a:pt x="465" y="382"/>
                      <a:pt x="465" y="383"/>
                      <a:pt x="464" y="384"/>
                    </a:cubicBezTo>
                    <a:cubicBezTo>
                      <a:pt x="464" y="384"/>
                      <a:pt x="464" y="384"/>
                      <a:pt x="464" y="384"/>
                    </a:cubicBezTo>
                    <a:cubicBezTo>
                      <a:pt x="463" y="384"/>
                      <a:pt x="463" y="384"/>
                      <a:pt x="463" y="384"/>
                    </a:cubicBezTo>
                    <a:cubicBezTo>
                      <a:pt x="462" y="385"/>
                      <a:pt x="462" y="384"/>
                      <a:pt x="461" y="384"/>
                    </a:cubicBezTo>
                    <a:cubicBezTo>
                      <a:pt x="461" y="383"/>
                      <a:pt x="460" y="383"/>
                      <a:pt x="460" y="383"/>
                    </a:cubicBezTo>
                    <a:cubicBezTo>
                      <a:pt x="460" y="383"/>
                      <a:pt x="459" y="383"/>
                      <a:pt x="459" y="384"/>
                    </a:cubicBezTo>
                    <a:cubicBezTo>
                      <a:pt x="459" y="384"/>
                      <a:pt x="460" y="384"/>
                      <a:pt x="460" y="384"/>
                    </a:cubicBezTo>
                    <a:cubicBezTo>
                      <a:pt x="460" y="384"/>
                      <a:pt x="460" y="385"/>
                      <a:pt x="460" y="385"/>
                    </a:cubicBezTo>
                    <a:cubicBezTo>
                      <a:pt x="461" y="385"/>
                      <a:pt x="461" y="385"/>
                      <a:pt x="461" y="385"/>
                    </a:cubicBezTo>
                    <a:cubicBezTo>
                      <a:pt x="461" y="385"/>
                      <a:pt x="462" y="385"/>
                      <a:pt x="462" y="386"/>
                    </a:cubicBezTo>
                    <a:cubicBezTo>
                      <a:pt x="462" y="386"/>
                      <a:pt x="462" y="387"/>
                      <a:pt x="461" y="387"/>
                    </a:cubicBezTo>
                    <a:cubicBezTo>
                      <a:pt x="461" y="387"/>
                      <a:pt x="460" y="386"/>
                      <a:pt x="460" y="386"/>
                    </a:cubicBezTo>
                    <a:cubicBezTo>
                      <a:pt x="459" y="386"/>
                      <a:pt x="461" y="389"/>
                      <a:pt x="461" y="390"/>
                    </a:cubicBezTo>
                    <a:cubicBezTo>
                      <a:pt x="462" y="390"/>
                      <a:pt x="462" y="390"/>
                      <a:pt x="463" y="391"/>
                    </a:cubicBezTo>
                    <a:cubicBezTo>
                      <a:pt x="463" y="391"/>
                      <a:pt x="464" y="391"/>
                      <a:pt x="464" y="391"/>
                    </a:cubicBezTo>
                    <a:cubicBezTo>
                      <a:pt x="465" y="391"/>
                      <a:pt x="465" y="390"/>
                      <a:pt x="466" y="390"/>
                    </a:cubicBezTo>
                    <a:cubicBezTo>
                      <a:pt x="467" y="390"/>
                      <a:pt x="468" y="390"/>
                      <a:pt x="468" y="390"/>
                    </a:cubicBezTo>
                    <a:cubicBezTo>
                      <a:pt x="470" y="390"/>
                      <a:pt x="471" y="390"/>
                      <a:pt x="471" y="391"/>
                    </a:cubicBezTo>
                    <a:cubicBezTo>
                      <a:pt x="472" y="392"/>
                      <a:pt x="468" y="393"/>
                      <a:pt x="468" y="393"/>
                    </a:cubicBezTo>
                    <a:cubicBezTo>
                      <a:pt x="467" y="393"/>
                      <a:pt x="466" y="394"/>
                      <a:pt x="466" y="395"/>
                    </a:cubicBezTo>
                    <a:cubicBezTo>
                      <a:pt x="467" y="396"/>
                      <a:pt x="467" y="396"/>
                      <a:pt x="468" y="397"/>
                    </a:cubicBezTo>
                    <a:cubicBezTo>
                      <a:pt x="468" y="397"/>
                      <a:pt x="468" y="398"/>
                      <a:pt x="469" y="398"/>
                    </a:cubicBezTo>
                    <a:cubicBezTo>
                      <a:pt x="471" y="399"/>
                      <a:pt x="472" y="399"/>
                      <a:pt x="474" y="399"/>
                    </a:cubicBezTo>
                    <a:cubicBezTo>
                      <a:pt x="475" y="400"/>
                      <a:pt x="476" y="400"/>
                      <a:pt x="478" y="401"/>
                    </a:cubicBezTo>
                    <a:cubicBezTo>
                      <a:pt x="478" y="401"/>
                      <a:pt x="479" y="401"/>
                      <a:pt x="479" y="401"/>
                    </a:cubicBezTo>
                    <a:cubicBezTo>
                      <a:pt x="479" y="401"/>
                      <a:pt x="479" y="402"/>
                      <a:pt x="479" y="402"/>
                    </a:cubicBezTo>
                    <a:cubicBezTo>
                      <a:pt x="479" y="402"/>
                      <a:pt x="478" y="401"/>
                      <a:pt x="478" y="402"/>
                    </a:cubicBezTo>
                    <a:cubicBezTo>
                      <a:pt x="478" y="402"/>
                      <a:pt x="479" y="403"/>
                      <a:pt x="478" y="403"/>
                    </a:cubicBezTo>
                    <a:cubicBezTo>
                      <a:pt x="478" y="403"/>
                      <a:pt x="478" y="402"/>
                      <a:pt x="477" y="402"/>
                    </a:cubicBezTo>
                    <a:cubicBezTo>
                      <a:pt x="477" y="403"/>
                      <a:pt x="477" y="403"/>
                      <a:pt x="477" y="404"/>
                    </a:cubicBezTo>
                    <a:cubicBezTo>
                      <a:pt x="476" y="403"/>
                      <a:pt x="477" y="403"/>
                      <a:pt x="477" y="402"/>
                    </a:cubicBezTo>
                    <a:cubicBezTo>
                      <a:pt x="478" y="401"/>
                      <a:pt x="477" y="401"/>
                      <a:pt x="476" y="401"/>
                    </a:cubicBezTo>
                    <a:cubicBezTo>
                      <a:pt x="476" y="401"/>
                      <a:pt x="474" y="400"/>
                      <a:pt x="474" y="400"/>
                    </a:cubicBezTo>
                    <a:cubicBezTo>
                      <a:pt x="474" y="401"/>
                      <a:pt x="475" y="401"/>
                      <a:pt x="475" y="401"/>
                    </a:cubicBezTo>
                    <a:cubicBezTo>
                      <a:pt x="475" y="401"/>
                      <a:pt x="472" y="400"/>
                      <a:pt x="472" y="400"/>
                    </a:cubicBezTo>
                    <a:cubicBezTo>
                      <a:pt x="471" y="400"/>
                      <a:pt x="472" y="401"/>
                      <a:pt x="472" y="401"/>
                    </a:cubicBezTo>
                    <a:cubicBezTo>
                      <a:pt x="473" y="401"/>
                      <a:pt x="473" y="401"/>
                      <a:pt x="473" y="402"/>
                    </a:cubicBezTo>
                    <a:cubicBezTo>
                      <a:pt x="473" y="402"/>
                      <a:pt x="473" y="402"/>
                      <a:pt x="474" y="403"/>
                    </a:cubicBezTo>
                    <a:cubicBezTo>
                      <a:pt x="473" y="403"/>
                      <a:pt x="473" y="402"/>
                      <a:pt x="473" y="402"/>
                    </a:cubicBezTo>
                    <a:cubicBezTo>
                      <a:pt x="472" y="402"/>
                      <a:pt x="472" y="402"/>
                      <a:pt x="472" y="402"/>
                    </a:cubicBezTo>
                    <a:cubicBezTo>
                      <a:pt x="472" y="402"/>
                      <a:pt x="472" y="402"/>
                      <a:pt x="472" y="402"/>
                    </a:cubicBezTo>
                    <a:cubicBezTo>
                      <a:pt x="472" y="401"/>
                      <a:pt x="471" y="401"/>
                      <a:pt x="471" y="401"/>
                    </a:cubicBezTo>
                    <a:cubicBezTo>
                      <a:pt x="471" y="400"/>
                      <a:pt x="470" y="400"/>
                      <a:pt x="470" y="400"/>
                    </a:cubicBezTo>
                    <a:cubicBezTo>
                      <a:pt x="469" y="399"/>
                      <a:pt x="469" y="400"/>
                      <a:pt x="469" y="400"/>
                    </a:cubicBezTo>
                    <a:cubicBezTo>
                      <a:pt x="469" y="401"/>
                      <a:pt x="470" y="400"/>
                      <a:pt x="470" y="401"/>
                    </a:cubicBezTo>
                    <a:cubicBezTo>
                      <a:pt x="470" y="401"/>
                      <a:pt x="469" y="401"/>
                      <a:pt x="470" y="401"/>
                    </a:cubicBezTo>
                    <a:cubicBezTo>
                      <a:pt x="469" y="401"/>
                      <a:pt x="469" y="401"/>
                      <a:pt x="468" y="400"/>
                    </a:cubicBezTo>
                    <a:cubicBezTo>
                      <a:pt x="467" y="400"/>
                      <a:pt x="467" y="400"/>
                      <a:pt x="466" y="400"/>
                    </a:cubicBezTo>
                    <a:cubicBezTo>
                      <a:pt x="465" y="399"/>
                      <a:pt x="463" y="398"/>
                      <a:pt x="462" y="398"/>
                    </a:cubicBezTo>
                    <a:cubicBezTo>
                      <a:pt x="462" y="398"/>
                      <a:pt x="463" y="399"/>
                      <a:pt x="463" y="399"/>
                    </a:cubicBezTo>
                    <a:cubicBezTo>
                      <a:pt x="463" y="399"/>
                      <a:pt x="463" y="399"/>
                      <a:pt x="462" y="399"/>
                    </a:cubicBezTo>
                    <a:cubicBezTo>
                      <a:pt x="463" y="400"/>
                      <a:pt x="465" y="399"/>
                      <a:pt x="466" y="400"/>
                    </a:cubicBezTo>
                    <a:cubicBezTo>
                      <a:pt x="466" y="400"/>
                      <a:pt x="467" y="401"/>
                      <a:pt x="468" y="401"/>
                    </a:cubicBezTo>
                    <a:cubicBezTo>
                      <a:pt x="468" y="402"/>
                      <a:pt x="469" y="402"/>
                      <a:pt x="470" y="402"/>
                    </a:cubicBezTo>
                    <a:cubicBezTo>
                      <a:pt x="470" y="402"/>
                      <a:pt x="469" y="402"/>
                      <a:pt x="469" y="402"/>
                    </a:cubicBezTo>
                    <a:cubicBezTo>
                      <a:pt x="469" y="402"/>
                      <a:pt x="469" y="402"/>
                      <a:pt x="470" y="403"/>
                    </a:cubicBezTo>
                    <a:cubicBezTo>
                      <a:pt x="469" y="403"/>
                      <a:pt x="469" y="402"/>
                      <a:pt x="468" y="402"/>
                    </a:cubicBezTo>
                    <a:cubicBezTo>
                      <a:pt x="468" y="402"/>
                      <a:pt x="467" y="402"/>
                      <a:pt x="467" y="401"/>
                    </a:cubicBezTo>
                    <a:cubicBezTo>
                      <a:pt x="466" y="401"/>
                      <a:pt x="466" y="401"/>
                      <a:pt x="466" y="401"/>
                    </a:cubicBezTo>
                    <a:cubicBezTo>
                      <a:pt x="465" y="402"/>
                      <a:pt x="466" y="402"/>
                      <a:pt x="466" y="403"/>
                    </a:cubicBezTo>
                    <a:cubicBezTo>
                      <a:pt x="466" y="403"/>
                      <a:pt x="467" y="403"/>
                      <a:pt x="467" y="403"/>
                    </a:cubicBezTo>
                    <a:cubicBezTo>
                      <a:pt x="466" y="403"/>
                      <a:pt x="466" y="403"/>
                      <a:pt x="466" y="403"/>
                    </a:cubicBezTo>
                    <a:cubicBezTo>
                      <a:pt x="466" y="403"/>
                      <a:pt x="466" y="403"/>
                      <a:pt x="466" y="403"/>
                    </a:cubicBezTo>
                    <a:cubicBezTo>
                      <a:pt x="465" y="403"/>
                      <a:pt x="465" y="402"/>
                      <a:pt x="465" y="401"/>
                    </a:cubicBezTo>
                    <a:cubicBezTo>
                      <a:pt x="465" y="401"/>
                      <a:pt x="465" y="401"/>
                      <a:pt x="465" y="401"/>
                    </a:cubicBezTo>
                    <a:cubicBezTo>
                      <a:pt x="466" y="400"/>
                      <a:pt x="463" y="400"/>
                      <a:pt x="463" y="400"/>
                    </a:cubicBezTo>
                    <a:cubicBezTo>
                      <a:pt x="463" y="401"/>
                      <a:pt x="463" y="401"/>
                      <a:pt x="463" y="402"/>
                    </a:cubicBezTo>
                    <a:cubicBezTo>
                      <a:pt x="463" y="401"/>
                      <a:pt x="462" y="401"/>
                      <a:pt x="462" y="401"/>
                    </a:cubicBezTo>
                    <a:cubicBezTo>
                      <a:pt x="462" y="402"/>
                      <a:pt x="462" y="402"/>
                      <a:pt x="462" y="402"/>
                    </a:cubicBezTo>
                    <a:cubicBezTo>
                      <a:pt x="462" y="402"/>
                      <a:pt x="461" y="401"/>
                      <a:pt x="460" y="401"/>
                    </a:cubicBezTo>
                    <a:cubicBezTo>
                      <a:pt x="458" y="400"/>
                      <a:pt x="460" y="402"/>
                      <a:pt x="460" y="401"/>
                    </a:cubicBezTo>
                    <a:cubicBezTo>
                      <a:pt x="460" y="402"/>
                      <a:pt x="459" y="401"/>
                      <a:pt x="458" y="401"/>
                    </a:cubicBezTo>
                    <a:cubicBezTo>
                      <a:pt x="458" y="401"/>
                      <a:pt x="459" y="401"/>
                      <a:pt x="459" y="401"/>
                    </a:cubicBezTo>
                    <a:cubicBezTo>
                      <a:pt x="459" y="401"/>
                      <a:pt x="458" y="401"/>
                      <a:pt x="458" y="401"/>
                    </a:cubicBezTo>
                    <a:cubicBezTo>
                      <a:pt x="458" y="401"/>
                      <a:pt x="459" y="402"/>
                      <a:pt x="459" y="402"/>
                    </a:cubicBezTo>
                    <a:cubicBezTo>
                      <a:pt x="459" y="402"/>
                      <a:pt x="459" y="402"/>
                      <a:pt x="459" y="402"/>
                    </a:cubicBezTo>
                    <a:cubicBezTo>
                      <a:pt x="458" y="402"/>
                      <a:pt x="457" y="401"/>
                      <a:pt x="456" y="401"/>
                    </a:cubicBezTo>
                    <a:cubicBezTo>
                      <a:pt x="456" y="401"/>
                      <a:pt x="456" y="401"/>
                      <a:pt x="456" y="401"/>
                    </a:cubicBezTo>
                    <a:cubicBezTo>
                      <a:pt x="456" y="402"/>
                      <a:pt x="457" y="402"/>
                      <a:pt x="457" y="402"/>
                    </a:cubicBezTo>
                    <a:cubicBezTo>
                      <a:pt x="458" y="402"/>
                      <a:pt x="458" y="402"/>
                      <a:pt x="459" y="402"/>
                    </a:cubicBezTo>
                    <a:cubicBezTo>
                      <a:pt x="458" y="403"/>
                      <a:pt x="458" y="402"/>
                      <a:pt x="457" y="402"/>
                    </a:cubicBezTo>
                    <a:cubicBezTo>
                      <a:pt x="457" y="402"/>
                      <a:pt x="458" y="403"/>
                      <a:pt x="458" y="403"/>
                    </a:cubicBezTo>
                    <a:cubicBezTo>
                      <a:pt x="457" y="403"/>
                      <a:pt x="457" y="402"/>
                      <a:pt x="456" y="402"/>
                    </a:cubicBezTo>
                    <a:cubicBezTo>
                      <a:pt x="456" y="402"/>
                      <a:pt x="455" y="401"/>
                      <a:pt x="455" y="402"/>
                    </a:cubicBezTo>
                    <a:cubicBezTo>
                      <a:pt x="455" y="402"/>
                      <a:pt x="455" y="402"/>
                      <a:pt x="456" y="402"/>
                    </a:cubicBezTo>
                    <a:cubicBezTo>
                      <a:pt x="455" y="402"/>
                      <a:pt x="455" y="402"/>
                      <a:pt x="455" y="402"/>
                    </a:cubicBezTo>
                    <a:cubicBezTo>
                      <a:pt x="455" y="402"/>
                      <a:pt x="455" y="402"/>
                      <a:pt x="455" y="403"/>
                    </a:cubicBezTo>
                    <a:cubicBezTo>
                      <a:pt x="455" y="403"/>
                      <a:pt x="456" y="403"/>
                      <a:pt x="456" y="403"/>
                    </a:cubicBezTo>
                    <a:cubicBezTo>
                      <a:pt x="456" y="403"/>
                      <a:pt x="456" y="403"/>
                      <a:pt x="456" y="403"/>
                    </a:cubicBezTo>
                    <a:cubicBezTo>
                      <a:pt x="456" y="403"/>
                      <a:pt x="456" y="404"/>
                      <a:pt x="456" y="404"/>
                    </a:cubicBezTo>
                    <a:cubicBezTo>
                      <a:pt x="457" y="404"/>
                      <a:pt x="458" y="404"/>
                      <a:pt x="457" y="403"/>
                    </a:cubicBezTo>
                    <a:cubicBezTo>
                      <a:pt x="457" y="403"/>
                      <a:pt x="458" y="403"/>
                      <a:pt x="458" y="403"/>
                    </a:cubicBezTo>
                    <a:cubicBezTo>
                      <a:pt x="458" y="403"/>
                      <a:pt x="458" y="403"/>
                      <a:pt x="458" y="403"/>
                    </a:cubicBezTo>
                    <a:cubicBezTo>
                      <a:pt x="458" y="403"/>
                      <a:pt x="459" y="404"/>
                      <a:pt x="459" y="403"/>
                    </a:cubicBezTo>
                    <a:cubicBezTo>
                      <a:pt x="459" y="403"/>
                      <a:pt x="459" y="403"/>
                      <a:pt x="459" y="403"/>
                    </a:cubicBezTo>
                    <a:cubicBezTo>
                      <a:pt x="459" y="403"/>
                      <a:pt x="459" y="404"/>
                      <a:pt x="459" y="404"/>
                    </a:cubicBezTo>
                    <a:cubicBezTo>
                      <a:pt x="460" y="404"/>
                      <a:pt x="459" y="403"/>
                      <a:pt x="460" y="403"/>
                    </a:cubicBezTo>
                    <a:cubicBezTo>
                      <a:pt x="460" y="403"/>
                      <a:pt x="460" y="404"/>
                      <a:pt x="460" y="404"/>
                    </a:cubicBezTo>
                    <a:cubicBezTo>
                      <a:pt x="460" y="404"/>
                      <a:pt x="460" y="403"/>
                      <a:pt x="461" y="404"/>
                    </a:cubicBezTo>
                    <a:cubicBezTo>
                      <a:pt x="460" y="403"/>
                      <a:pt x="461" y="403"/>
                      <a:pt x="461" y="403"/>
                    </a:cubicBezTo>
                    <a:cubicBezTo>
                      <a:pt x="461" y="403"/>
                      <a:pt x="460" y="403"/>
                      <a:pt x="460" y="403"/>
                    </a:cubicBezTo>
                    <a:cubicBezTo>
                      <a:pt x="460" y="403"/>
                      <a:pt x="461" y="403"/>
                      <a:pt x="461" y="403"/>
                    </a:cubicBezTo>
                    <a:cubicBezTo>
                      <a:pt x="461" y="403"/>
                      <a:pt x="460" y="403"/>
                      <a:pt x="460" y="402"/>
                    </a:cubicBezTo>
                    <a:cubicBezTo>
                      <a:pt x="461" y="402"/>
                      <a:pt x="461" y="403"/>
                      <a:pt x="461" y="403"/>
                    </a:cubicBezTo>
                    <a:cubicBezTo>
                      <a:pt x="461" y="403"/>
                      <a:pt x="461" y="402"/>
                      <a:pt x="461" y="402"/>
                    </a:cubicBezTo>
                    <a:cubicBezTo>
                      <a:pt x="462" y="402"/>
                      <a:pt x="461" y="403"/>
                      <a:pt x="462" y="403"/>
                    </a:cubicBezTo>
                    <a:cubicBezTo>
                      <a:pt x="462" y="403"/>
                      <a:pt x="462" y="403"/>
                      <a:pt x="462" y="403"/>
                    </a:cubicBezTo>
                    <a:cubicBezTo>
                      <a:pt x="462" y="404"/>
                      <a:pt x="461" y="404"/>
                      <a:pt x="462" y="404"/>
                    </a:cubicBezTo>
                    <a:cubicBezTo>
                      <a:pt x="462" y="404"/>
                      <a:pt x="463" y="404"/>
                      <a:pt x="463" y="404"/>
                    </a:cubicBezTo>
                    <a:cubicBezTo>
                      <a:pt x="463" y="403"/>
                      <a:pt x="464" y="404"/>
                      <a:pt x="463" y="403"/>
                    </a:cubicBezTo>
                    <a:cubicBezTo>
                      <a:pt x="464" y="403"/>
                      <a:pt x="464" y="404"/>
                      <a:pt x="464" y="405"/>
                    </a:cubicBezTo>
                    <a:cubicBezTo>
                      <a:pt x="464" y="405"/>
                      <a:pt x="465" y="404"/>
                      <a:pt x="465" y="404"/>
                    </a:cubicBezTo>
                    <a:cubicBezTo>
                      <a:pt x="465" y="404"/>
                      <a:pt x="466" y="404"/>
                      <a:pt x="466" y="404"/>
                    </a:cubicBezTo>
                    <a:cubicBezTo>
                      <a:pt x="466" y="404"/>
                      <a:pt x="465" y="404"/>
                      <a:pt x="465" y="405"/>
                    </a:cubicBezTo>
                    <a:cubicBezTo>
                      <a:pt x="466" y="405"/>
                      <a:pt x="466" y="404"/>
                      <a:pt x="467" y="404"/>
                    </a:cubicBezTo>
                    <a:cubicBezTo>
                      <a:pt x="468" y="404"/>
                      <a:pt x="467" y="404"/>
                      <a:pt x="467" y="404"/>
                    </a:cubicBezTo>
                    <a:cubicBezTo>
                      <a:pt x="467" y="403"/>
                      <a:pt x="468" y="403"/>
                      <a:pt x="468" y="404"/>
                    </a:cubicBezTo>
                    <a:cubicBezTo>
                      <a:pt x="468" y="404"/>
                      <a:pt x="467" y="405"/>
                      <a:pt x="467" y="405"/>
                    </a:cubicBezTo>
                    <a:cubicBezTo>
                      <a:pt x="466" y="405"/>
                      <a:pt x="466" y="406"/>
                      <a:pt x="467" y="405"/>
                    </a:cubicBezTo>
                    <a:cubicBezTo>
                      <a:pt x="467" y="405"/>
                      <a:pt x="468" y="405"/>
                      <a:pt x="468" y="405"/>
                    </a:cubicBezTo>
                    <a:cubicBezTo>
                      <a:pt x="468" y="405"/>
                      <a:pt x="470" y="405"/>
                      <a:pt x="470" y="405"/>
                    </a:cubicBezTo>
                    <a:cubicBezTo>
                      <a:pt x="470" y="405"/>
                      <a:pt x="470" y="404"/>
                      <a:pt x="470" y="404"/>
                    </a:cubicBezTo>
                    <a:cubicBezTo>
                      <a:pt x="471" y="404"/>
                      <a:pt x="470" y="405"/>
                      <a:pt x="470" y="405"/>
                    </a:cubicBezTo>
                    <a:cubicBezTo>
                      <a:pt x="470" y="405"/>
                      <a:pt x="471" y="406"/>
                      <a:pt x="471" y="406"/>
                    </a:cubicBezTo>
                    <a:cubicBezTo>
                      <a:pt x="471" y="406"/>
                      <a:pt x="472" y="406"/>
                      <a:pt x="472" y="405"/>
                    </a:cubicBezTo>
                    <a:cubicBezTo>
                      <a:pt x="472" y="405"/>
                      <a:pt x="472" y="405"/>
                      <a:pt x="472" y="405"/>
                    </a:cubicBezTo>
                    <a:cubicBezTo>
                      <a:pt x="472" y="405"/>
                      <a:pt x="472" y="405"/>
                      <a:pt x="472" y="405"/>
                    </a:cubicBezTo>
                    <a:cubicBezTo>
                      <a:pt x="472" y="405"/>
                      <a:pt x="473" y="406"/>
                      <a:pt x="473" y="405"/>
                    </a:cubicBezTo>
                    <a:cubicBezTo>
                      <a:pt x="473" y="405"/>
                      <a:pt x="473" y="405"/>
                      <a:pt x="473" y="405"/>
                    </a:cubicBezTo>
                    <a:cubicBezTo>
                      <a:pt x="473" y="405"/>
                      <a:pt x="472" y="404"/>
                      <a:pt x="473" y="404"/>
                    </a:cubicBezTo>
                    <a:cubicBezTo>
                      <a:pt x="473" y="404"/>
                      <a:pt x="473" y="405"/>
                      <a:pt x="474" y="405"/>
                    </a:cubicBezTo>
                    <a:cubicBezTo>
                      <a:pt x="475" y="406"/>
                      <a:pt x="475" y="404"/>
                      <a:pt x="474" y="404"/>
                    </a:cubicBezTo>
                    <a:close/>
                    <a:moveTo>
                      <a:pt x="465" y="406"/>
                    </a:moveTo>
                    <a:cubicBezTo>
                      <a:pt x="465" y="406"/>
                      <a:pt x="465" y="406"/>
                      <a:pt x="464" y="406"/>
                    </a:cubicBezTo>
                    <a:cubicBezTo>
                      <a:pt x="464" y="406"/>
                      <a:pt x="463" y="405"/>
                      <a:pt x="462" y="405"/>
                    </a:cubicBezTo>
                    <a:cubicBezTo>
                      <a:pt x="461" y="405"/>
                      <a:pt x="462" y="406"/>
                      <a:pt x="462" y="406"/>
                    </a:cubicBezTo>
                    <a:cubicBezTo>
                      <a:pt x="463" y="407"/>
                      <a:pt x="462" y="406"/>
                      <a:pt x="462" y="406"/>
                    </a:cubicBezTo>
                    <a:cubicBezTo>
                      <a:pt x="463" y="406"/>
                      <a:pt x="463" y="407"/>
                      <a:pt x="463" y="407"/>
                    </a:cubicBezTo>
                    <a:cubicBezTo>
                      <a:pt x="463" y="406"/>
                      <a:pt x="463" y="406"/>
                      <a:pt x="463" y="406"/>
                    </a:cubicBezTo>
                    <a:cubicBezTo>
                      <a:pt x="463" y="406"/>
                      <a:pt x="463" y="406"/>
                      <a:pt x="464" y="406"/>
                    </a:cubicBezTo>
                    <a:cubicBezTo>
                      <a:pt x="464" y="406"/>
                      <a:pt x="464" y="406"/>
                      <a:pt x="465" y="406"/>
                    </a:cubicBezTo>
                    <a:cubicBezTo>
                      <a:pt x="465" y="406"/>
                      <a:pt x="464" y="406"/>
                      <a:pt x="464" y="406"/>
                    </a:cubicBezTo>
                    <a:cubicBezTo>
                      <a:pt x="465" y="406"/>
                      <a:pt x="466" y="407"/>
                      <a:pt x="466" y="406"/>
                    </a:cubicBezTo>
                    <a:cubicBezTo>
                      <a:pt x="466" y="406"/>
                      <a:pt x="466" y="406"/>
                      <a:pt x="465" y="40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6" name="Chad">
                <a:extLst>
                  <a:ext uri="{FF2B5EF4-FFF2-40B4-BE49-F238E27FC236}">
                    <a16:creationId xmlns:a16="http://schemas.microsoft.com/office/drawing/2014/main" id="{58D76235-2637-9505-7512-8D5D3014A424}"/>
                  </a:ext>
                </a:extLst>
              </p:cNvPr>
              <p:cNvSpPr>
                <a:spLocks/>
              </p:cNvSpPr>
              <p:nvPr/>
            </p:nvSpPr>
            <p:spPr bwMode="auto">
              <a:xfrm>
                <a:off x="6157361" y="3129857"/>
                <a:ext cx="357760" cy="623385"/>
              </a:xfrm>
              <a:custGeom>
                <a:avLst/>
                <a:gdLst/>
                <a:ahLst/>
                <a:cxnLst>
                  <a:cxn ang="0">
                    <a:pos x="100" y="57"/>
                  </a:cxn>
                  <a:cxn ang="0">
                    <a:pos x="97" y="42"/>
                  </a:cxn>
                  <a:cxn ang="0">
                    <a:pos x="32" y="5"/>
                  </a:cxn>
                  <a:cxn ang="0">
                    <a:pos x="18" y="3"/>
                  </a:cxn>
                  <a:cxn ang="0">
                    <a:pos x="14" y="8"/>
                  </a:cxn>
                  <a:cxn ang="0">
                    <a:pos x="16" y="20"/>
                  </a:cxn>
                  <a:cxn ang="0">
                    <a:pos x="19" y="26"/>
                  </a:cxn>
                  <a:cxn ang="0">
                    <a:pos x="21" y="32"/>
                  </a:cxn>
                  <a:cxn ang="0">
                    <a:pos x="22" y="38"/>
                  </a:cxn>
                  <a:cxn ang="0">
                    <a:pos x="19" y="68"/>
                  </a:cxn>
                  <a:cxn ang="0">
                    <a:pos x="15" y="77"/>
                  </a:cxn>
                  <a:cxn ang="0">
                    <a:pos x="3" y="95"/>
                  </a:cxn>
                  <a:cxn ang="0">
                    <a:pos x="0" y="99"/>
                  </a:cxn>
                  <a:cxn ang="0">
                    <a:pos x="3" y="110"/>
                  </a:cxn>
                  <a:cxn ang="0">
                    <a:pos x="10" y="118"/>
                  </a:cxn>
                  <a:cxn ang="0">
                    <a:pos x="13" y="122"/>
                  </a:cxn>
                  <a:cxn ang="0">
                    <a:pos x="15" y="130"/>
                  </a:cxn>
                  <a:cxn ang="0">
                    <a:pos x="15" y="138"/>
                  </a:cxn>
                  <a:cxn ang="0">
                    <a:pos x="17" y="143"/>
                  </a:cxn>
                  <a:cxn ang="0">
                    <a:pos x="20" y="149"/>
                  </a:cxn>
                  <a:cxn ang="0">
                    <a:pos x="14" y="149"/>
                  </a:cxn>
                  <a:cxn ang="0">
                    <a:pos x="7" y="149"/>
                  </a:cxn>
                  <a:cxn ang="0">
                    <a:pos x="7" y="154"/>
                  </a:cxn>
                  <a:cxn ang="0">
                    <a:pos x="13" y="161"/>
                  </a:cxn>
                  <a:cxn ang="0">
                    <a:pos x="18" y="168"/>
                  </a:cxn>
                  <a:cxn ang="0">
                    <a:pos x="21" y="174"/>
                  </a:cxn>
                  <a:cxn ang="0">
                    <a:pos x="22" y="176"/>
                  </a:cxn>
                  <a:cxn ang="0">
                    <a:pos x="28" y="174"/>
                  </a:cxn>
                  <a:cxn ang="0">
                    <a:pos x="30" y="173"/>
                  </a:cxn>
                  <a:cxn ang="0">
                    <a:pos x="32" y="175"/>
                  </a:cxn>
                  <a:cxn ang="0">
                    <a:pos x="34" y="174"/>
                  </a:cxn>
                  <a:cxn ang="0">
                    <a:pos x="36" y="173"/>
                  </a:cxn>
                  <a:cxn ang="0">
                    <a:pos x="39" y="171"/>
                  </a:cxn>
                  <a:cxn ang="0">
                    <a:pos x="42" y="171"/>
                  </a:cxn>
                  <a:cxn ang="0">
                    <a:pos x="50" y="170"/>
                  </a:cxn>
                  <a:cxn ang="0">
                    <a:pos x="53" y="166"/>
                  </a:cxn>
                  <a:cxn ang="0">
                    <a:pos x="56" y="159"/>
                  </a:cxn>
                  <a:cxn ang="0">
                    <a:pos x="62" y="159"/>
                  </a:cxn>
                  <a:cxn ang="0">
                    <a:pos x="64" y="158"/>
                  </a:cxn>
                  <a:cxn ang="0">
                    <a:pos x="68" y="157"/>
                  </a:cxn>
                  <a:cxn ang="0">
                    <a:pos x="69" y="156"/>
                  </a:cxn>
                  <a:cxn ang="0">
                    <a:pos x="73" y="152"/>
                  </a:cxn>
                  <a:cxn ang="0">
                    <a:pos x="78" y="146"/>
                  </a:cxn>
                  <a:cxn ang="0">
                    <a:pos x="82" y="140"/>
                  </a:cxn>
                  <a:cxn ang="0">
                    <a:pos x="86" y="138"/>
                  </a:cxn>
                  <a:cxn ang="0">
                    <a:pos x="90" y="138"/>
                  </a:cxn>
                  <a:cxn ang="0">
                    <a:pos x="90" y="133"/>
                  </a:cxn>
                  <a:cxn ang="0">
                    <a:pos x="88" y="126"/>
                  </a:cxn>
                  <a:cxn ang="0">
                    <a:pos x="86" y="121"/>
                  </a:cxn>
                  <a:cxn ang="0">
                    <a:pos x="83" y="119"/>
                  </a:cxn>
                  <a:cxn ang="0">
                    <a:pos x="84" y="112"/>
                  </a:cxn>
                  <a:cxn ang="0">
                    <a:pos x="83" y="108"/>
                  </a:cxn>
                  <a:cxn ang="0">
                    <a:pos x="83" y="106"/>
                  </a:cxn>
                  <a:cxn ang="0">
                    <a:pos x="87" y="102"/>
                  </a:cxn>
                  <a:cxn ang="0">
                    <a:pos x="86" y="100"/>
                  </a:cxn>
                  <a:cxn ang="0">
                    <a:pos x="88" y="97"/>
                  </a:cxn>
                  <a:cxn ang="0">
                    <a:pos x="89" y="94"/>
                  </a:cxn>
                  <a:cxn ang="0">
                    <a:pos x="92" y="86"/>
                  </a:cxn>
                  <a:cxn ang="0">
                    <a:pos x="100" y="85"/>
                  </a:cxn>
                </a:cxnLst>
                <a:rect l="0" t="0" r="r" b="b"/>
                <a:pathLst>
                  <a:path w="101" h="176">
                    <a:moveTo>
                      <a:pt x="101" y="83"/>
                    </a:moveTo>
                    <a:cubicBezTo>
                      <a:pt x="101" y="81"/>
                      <a:pt x="101" y="79"/>
                      <a:pt x="101" y="77"/>
                    </a:cubicBezTo>
                    <a:cubicBezTo>
                      <a:pt x="101" y="69"/>
                      <a:pt x="100" y="66"/>
                      <a:pt x="100" y="57"/>
                    </a:cubicBezTo>
                    <a:cubicBezTo>
                      <a:pt x="100" y="55"/>
                      <a:pt x="100" y="48"/>
                      <a:pt x="100" y="46"/>
                    </a:cubicBezTo>
                    <a:cubicBezTo>
                      <a:pt x="100" y="45"/>
                      <a:pt x="100" y="44"/>
                      <a:pt x="100" y="44"/>
                    </a:cubicBezTo>
                    <a:cubicBezTo>
                      <a:pt x="99" y="43"/>
                      <a:pt x="98" y="43"/>
                      <a:pt x="97" y="42"/>
                    </a:cubicBezTo>
                    <a:cubicBezTo>
                      <a:pt x="94" y="40"/>
                      <a:pt x="90" y="38"/>
                      <a:pt x="87" y="36"/>
                    </a:cubicBezTo>
                    <a:cubicBezTo>
                      <a:pt x="73" y="28"/>
                      <a:pt x="67" y="24"/>
                      <a:pt x="53" y="16"/>
                    </a:cubicBezTo>
                    <a:cubicBezTo>
                      <a:pt x="49" y="14"/>
                      <a:pt x="36" y="7"/>
                      <a:pt x="32" y="5"/>
                    </a:cubicBezTo>
                    <a:cubicBezTo>
                      <a:pt x="31" y="4"/>
                      <a:pt x="29" y="3"/>
                      <a:pt x="27" y="2"/>
                    </a:cubicBezTo>
                    <a:cubicBezTo>
                      <a:pt x="26" y="2"/>
                      <a:pt x="24" y="0"/>
                      <a:pt x="23" y="1"/>
                    </a:cubicBezTo>
                    <a:cubicBezTo>
                      <a:pt x="21" y="1"/>
                      <a:pt x="20" y="2"/>
                      <a:pt x="18" y="3"/>
                    </a:cubicBezTo>
                    <a:cubicBezTo>
                      <a:pt x="18" y="4"/>
                      <a:pt x="17" y="4"/>
                      <a:pt x="16" y="4"/>
                    </a:cubicBezTo>
                    <a:cubicBezTo>
                      <a:pt x="15" y="5"/>
                      <a:pt x="15" y="5"/>
                      <a:pt x="14" y="5"/>
                    </a:cubicBezTo>
                    <a:cubicBezTo>
                      <a:pt x="14" y="6"/>
                      <a:pt x="14" y="7"/>
                      <a:pt x="14" y="8"/>
                    </a:cubicBezTo>
                    <a:cubicBezTo>
                      <a:pt x="14" y="9"/>
                      <a:pt x="15" y="10"/>
                      <a:pt x="15" y="11"/>
                    </a:cubicBezTo>
                    <a:cubicBezTo>
                      <a:pt x="15" y="13"/>
                      <a:pt x="16" y="15"/>
                      <a:pt x="16" y="17"/>
                    </a:cubicBezTo>
                    <a:cubicBezTo>
                      <a:pt x="16" y="18"/>
                      <a:pt x="16" y="19"/>
                      <a:pt x="16" y="20"/>
                    </a:cubicBezTo>
                    <a:cubicBezTo>
                      <a:pt x="16" y="21"/>
                      <a:pt x="16" y="21"/>
                      <a:pt x="16" y="22"/>
                    </a:cubicBezTo>
                    <a:cubicBezTo>
                      <a:pt x="16" y="23"/>
                      <a:pt x="17" y="23"/>
                      <a:pt x="17" y="24"/>
                    </a:cubicBezTo>
                    <a:cubicBezTo>
                      <a:pt x="18" y="24"/>
                      <a:pt x="18" y="25"/>
                      <a:pt x="19" y="26"/>
                    </a:cubicBezTo>
                    <a:cubicBezTo>
                      <a:pt x="19" y="26"/>
                      <a:pt x="20" y="27"/>
                      <a:pt x="20" y="28"/>
                    </a:cubicBezTo>
                    <a:cubicBezTo>
                      <a:pt x="19" y="29"/>
                      <a:pt x="19" y="29"/>
                      <a:pt x="19" y="30"/>
                    </a:cubicBezTo>
                    <a:cubicBezTo>
                      <a:pt x="20" y="31"/>
                      <a:pt x="21" y="31"/>
                      <a:pt x="21" y="32"/>
                    </a:cubicBezTo>
                    <a:cubicBezTo>
                      <a:pt x="22" y="32"/>
                      <a:pt x="22" y="33"/>
                      <a:pt x="23" y="34"/>
                    </a:cubicBezTo>
                    <a:cubicBezTo>
                      <a:pt x="23" y="34"/>
                      <a:pt x="24" y="35"/>
                      <a:pt x="23" y="35"/>
                    </a:cubicBezTo>
                    <a:cubicBezTo>
                      <a:pt x="23" y="36"/>
                      <a:pt x="22" y="37"/>
                      <a:pt x="22" y="38"/>
                    </a:cubicBezTo>
                    <a:cubicBezTo>
                      <a:pt x="21" y="39"/>
                      <a:pt x="21" y="41"/>
                      <a:pt x="21" y="43"/>
                    </a:cubicBezTo>
                    <a:cubicBezTo>
                      <a:pt x="21" y="47"/>
                      <a:pt x="20" y="51"/>
                      <a:pt x="20" y="55"/>
                    </a:cubicBezTo>
                    <a:cubicBezTo>
                      <a:pt x="20" y="59"/>
                      <a:pt x="20" y="63"/>
                      <a:pt x="19" y="68"/>
                    </a:cubicBezTo>
                    <a:cubicBezTo>
                      <a:pt x="19" y="69"/>
                      <a:pt x="19" y="70"/>
                      <a:pt x="19" y="71"/>
                    </a:cubicBezTo>
                    <a:cubicBezTo>
                      <a:pt x="19" y="72"/>
                      <a:pt x="19" y="73"/>
                      <a:pt x="19" y="73"/>
                    </a:cubicBezTo>
                    <a:cubicBezTo>
                      <a:pt x="17" y="74"/>
                      <a:pt x="16" y="76"/>
                      <a:pt x="15" y="77"/>
                    </a:cubicBezTo>
                    <a:cubicBezTo>
                      <a:pt x="13" y="80"/>
                      <a:pt x="10" y="83"/>
                      <a:pt x="8" y="86"/>
                    </a:cubicBezTo>
                    <a:cubicBezTo>
                      <a:pt x="7" y="88"/>
                      <a:pt x="6" y="89"/>
                      <a:pt x="5" y="91"/>
                    </a:cubicBezTo>
                    <a:cubicBezTo>
                      <a:pt x="4" y="92"/>
                      <a:pt x="3" y="94"/>
                      <a:pt x="3" y="95"/>
                    </a:cubicBezTo>
                    <a:cubicBezTo>
                      <a:pt x="3" y="96"/>
                      <a:pt x="3" y="96"/>
                      <a:pt x="2" y="97"/>
                    </a:cubicBezTo>
                    <a:cubicBezTo>
                      <a:pt x="2" y="97"/>
                      <a:pt x="2" y="97"/>
                      <a:pt x="2" y="98"/>
                    </a:cubicBezTo>
                    <a:cubicBezTo>
                      <a:pt x="2" y="99"/>
                      <a:pt x="1" y="99"/>
                      <a:pt x="0" y="99"/>
                    </a:cubicBezTo>
                    <a:cubicBezTo>
                      <a:pt x="0" y="99"/>
                      <a:pt x="0" y="100"/>
                      <a:pt x="0" y="100"/>
                    </a:cubicBezTo>
                    <a:cubicBezTo>
                      <a:pt x="0" y="102"/>
                      <a:pt x="1" y="104"/>
                      <a:pt x="1" y="106"/>
                    </a:cubicBezTo>
                    <a:cubicBezTo>
                      <a:pt x="1" y="107"/>
                      <a:pt x="2" y="109"/>
                      <a:pt x="3" y="110"/>
                    </a:cubicBezTo>
                    <a:cubicBezTo>
                      <a:pt x="4" y="111"/>
                      <a:pt x="5" y="113"/>
                      <a:pt x="6" y="114"/>
                    </a:cubicBezTo>
                    <a:cubicBezTo>
                      <a:pt x="7" y="115"/>
                      <a:pt x="8" y="114"/>
                      <a:pt x="9" y="115"/>
                    </a:cubicBezTo>
                    <a:cubicBezTo>
                      <a:pt x="10" y="115"/>
                      <a:pt x="10" y="117"/>
                      <a:pt x="10" y="118"/>
                    </a:cubicBezTo>
                    <a:cubicBezTo>
                      <a:pt x="11" y="119"/>
                      <a:pt x="12" y="118"/>
                      <a:pt x="12" y="119"/>
                    </a:cubicBezTo>
                    <a:cubicBezTo>
                      <a:pt x="12" y="119"/>
                      <a:pt x="13" y="119"/>
                      <a:pt x="13" y="120"/>
                    </a:cubicBezTo>
                    <a:cubicBezTo>
                      <a:pt x="13" y="120"/>
                      <a:pt x="13" y="121"/>
                      <a:pt x="13" y="122"/>
                    </a:cubicBezTo>
                    <a:cubicBezTo>
                      <a:pt x="14" y="123"/>
                      <a:pt x="13" y="125"/>
                      <a:pt x="15" y="125"/>
                    </a:cubicBezTo>
                    <a:cubicBezTo>
                      <a:pt x="16" y="125"/>
                      <a:pt x="15" y="128"/>
                      <a:pt x="15" y="128"/>
                    </a:cubicBezTo>
                    <a:cubicBezTo>
                      <a:pt x="16" y="129"/>
                      <a:pt x="15" y="129"/>
                      <a:pt x="15" y="130"/>
                    </a:cubicBezTo>
                    <a:cubicBezTo>
                      <a:pt x="16" y="131"/>
                      <a:pt x="16" y="131"/>
                      <a:pt x="16" y="132"/>
                    </a:cubicBezTo>
                    <a:cubicBezTo>
                      <a:pt x="15" y="133"/>
                      <a:pt x="15" y="134"/>
                      <a:pt x="15" y="135"/>
                    </a:cubicBezTo>
                    <a:cubicBezTo>
                      <a:pt x="15" y="136"/>
                      <a:pt x="15" y="137"/>
                      <a:pt x="15" y="138"/>
                    </a:cubicBezTo>
                    <a:cubicBezTo>
                      <a:pt x="15" y="138"/>
                      <a:pt x="15" y="139"/>
                      <a:pt x="16" y="140"/>
                    </a:cubicBezTo>
                    <a:cubicBezTo>
                      <a:pt x="16" y="141"/>
                      <a:pt x="16" y="141"/>
                      <a:pt x="16" y="142"/>
                    </a:cubicBezTo>
                    <a:cubicBezTo>
                      <a:pt x="16" y="143"/>
                      <a:pt x="17" y="143"/>
                      <a:pt x="17" y="143"/>
                    </a:cubicBezTo>
                    <a:cubicBezTo>
                      <a:pt x="17" y="144"/>
                      <a:pt x="17" y="145"/>
                      <a:pt x="18" y="145"/>
                    </a:cubicBezTo>
                    <a:cubicBezTo>
                      <a:pt x="19" y="146"/>
                      <a:pt x="20" y="147"/>
                      <a:pt x="21" y="148"/>
                    </a:cubicBezTo>
                    <a:cubicBezTo>
                      <a:pt x="22" y="149"/>
                      <a:pt x="21" y="149"/>
                      <a:pt x="20" y="149"/>
                    </a:cubicBezTo>
                    <a:cubicBezTo>
                      <a:pt x="19" y="149"/>
                      <a:pt x="19" y="149"/>
                      <a:pt x="18" y="149"/>
                    </a:cubicBezTo>
                    <a:cubicBezTo>
                      <a:pt x="17" y="149"/>
                      <a:pt x="16" y="148"/>
                      <a:pt x="16" y="149"/>
                    </a:cubicBezTo>
                    <a:cubicBezTo>
                      <a:pt x="15" y="149"/>
                      <a:pt x="14" y="149"/>
                      <a:pt x="14" y="149"/>
                    </a:cubicBezTo>
                    <a:cubicBezTo>
                      <a:pt x="13" y="149"/>
                      <a:pt x="12" y="149"/>
                      <a:pt x="11" y="149"/>
                    </a:cubicBezTo>
                    <a:cubicBezTo>
                      <a:pt x="11" y="149"/>
                      <a:pt x="10" y="148"/>
                      <a:pt x="9" y="148"/>
                    </a:cubicBezTo>
                    <a:cubicBezTo>
                      <a:pt x="8" y="148"/>
                      <a:pt x="7" y="148"/>
                      <a:pt x="7" y="149"/>
                    </a:cubicBezTo>
                    <a:cubicBezTo>
                      <a:pt x="6" y="150"/>
                      <a:pt x="5" y="151"/>
                      <a:pt x="5" y="152"/>
                    </a:cubicBezTo>
                    <a:cubicBezTo>
                      <a:pt x="5" y="152"/>
                      <a:pt x="5" y="153"/>
                      <a:pt x="5" y="153"/>
                    </a:cubicBezTo>
                    <a:cubicBezTo>
                      <a:pt x="6" y="153"/>
                      <a:pt x="6" y="154"/>
                      <a:pt x="7" y="154"/>
                    </a:cubicBezTo>
                    <a:cubicBezTo>
                      <a:pt x="8" y="156"/>
                      <a:pt x="9" y="157"/>
                      <a:pt x="10" y="159"/>
                    </a:cubicBezTo>
                    <a:cubicBezTo>
                      <a:pt x="10" y="159"/>
                      <a:pt x="11" y="160"/>
                      <a:pt x="11" y="160"/>
                    </a:cubicBezTo>
                    <a:cubicBezTo>
                      <a:pt x="12" y="160"/>
                      <a:pt x="13" y="161"/>
                      <a:pt x="13" y="161"/>
                    </a:cubicBezTo>
                    <a:cubicBezTo>
                      <a:pt x="14" y="161"/>
                      <a:pt x="14" y="162"/>
                      <a:pt x="14" y="163"/>
                    </a:cubicBezTo>
                    <a:cubicBezTo>
                      <a:pt x="14" y="163"/>
                      <a:pt x="15" y="163"/>
                      <a:pt x="16" y="163"/>
                    </a:cubicBezTo>
                    <a:cubicBezTo>
                      <a:pt x="17" y="165"/>
                      <a:pt x="17" y="166"/>
                      <a:pt x="18" y="168"/>
                    </a:cubicBezTo>
                    <a:cubicBezTo>
                      <a:pt x="18" y="169"/>
                      <a:pt x="19" y="170"/>
                      <a:pt x="19" y="170"/>
                    </a:cubicBezTo>
                    <a:cubicBezTo>
                      <a:pt x="19" y="171"/>
                      <a:pt x="19" y="172"/>
                      <a:pt x="19" y="172"/>
                    </a:cubicBezTo>
                    <a:cubicBezTo>
                      <a:pt x="20" y="173"/>
                      <a:pt x="21" y="173"/>
                      <a:pt x="21" y="174"/>
                    </a:cubicBezTo>
                    <a:cubicBezTo>
                      <a:pt x="21" y="174"/>
                      <a:pt x="20" y="175"/>
                      <a:pt x="20" y="176"/>
                    </a:cubicBezTo>
                    <a:cubicBezTo>
                      <a:pt x="20" y="176"/>
                      <a:pt x="21" y="175"/>
                      <a:pt x="21" y="176"/>
                    </a:cubicBezTo>
                    <a:cubicBezTo>
                      <a:pt x="22" y="176"/>
                      <a:pt x="22" y="176"/>
                      <a:pt x="22" y="176"/>
                    </a:cubicBezTo>
                    <a:cubicBezTo>
                      <a:pt x="23" y="176"/>
                      <a:pt x="24" y="176"/>
                      <a:pt x="25" y="175"/>
                    </a:cubicBezTo>
                    <a:cubicBezTo>
                      <a:pt x="25" y="175"/>
                      <a:pt x="26" y="175"/>
                      <a:pt x="27" y="174"/>
                    </a:cubicBezTo>
                    <a:cubicBezTo>
                      <a:pt x="27" y="174"/>
                      <a:pt x="28" y="174"/>
                      <a:pt x="28" y="174"/>
                    </a:cubicBezTo>
                    <a:cubicBezTo>
                      <a:pt x="28" y="173"/>
                      <a:pt x="28" y="173"/>
                      <a:pt x="29" y="173"/>
                    </a:cubicBezTo>
                    <a:cubicBezTo>
                      <a:pt x="29" y="173"/>
                      <a:pt x="30" y="171"/>
                      <a:pt x="30" y="172"/>
                    </a:cubicBezTo>
                    <a:cubicBezTo>
                      <a:pt x="30" y="172"/>
                      <a:pt x="30" y="172"/>
                      <a:pt x="30" y="173"/>
                    </a:cubicBezTo>
                    <a:cubicBezTo>
                      <a:pt x="30" y="173"/>
                      <a:pt x="31" y="173"/>
                      <a:pt x="31" y="173"/>
                    </a:cubicBezTo>
                    <a:cubicBezTo>
                      <a:pt x="31" y="174"/>
                      <a:pt x="31" y="174"/>
                      <a:pt x="31" y="174"/>
                    </a:cubicBezTo>
                    <a:cubicBezTo>
                      <a:pt x="31" y="174"/>
                      <a:pt x="31" y="174"/>
                      <a:pt x="32" y="175"/>
                    </a:cubicBezTo>
                    <a:cubicBezTo>
                      <a:pt x="32" y="175"/>
                      <a:pt x="32" y="176"/>
                      <a:pt x="33" y="175"/>
                    </a:cubicBezTo>
                    <a:cubicBezTo>
                      <a:pt x="33" y="175"/>
                      <a:pt x="33" y="174"/>
                      <a:pt x="34" y="174"/>
                    </a:cubicBezTo>
                    <a:cubicBezTo>
                      <a:pt x="34" y="174"/>
                      <a:pt x="34" y="174"/>
                      <a:pt x="34" y="174"/>
                    </a:cubicBezTo>
                    <a:cubicBezTo>
                      <a:pt x="35" y="174"/>
                      <a:pt x="35" y="174"/>
                      <a:pt x="35" y="174"/>
                    </a:cubicBezTo>
                    <a:cubicBezTo>
                      <a:pt x="35" y="174"/>
                      <a:pt x="35" y="173"/>
                      <a:pt x="35" y="174"/>
                    </a:cubicBezTo>
                    <a:cubicBezTo>
                      <a:pt x="36" y="174"/>
                      <a:pt x="36" y="174"/>
                      <a:pt x="36" y="173"/>
                    </a:cubicBezTo>
                    <a:cubicBezTo>
                      <a:pt x="36" y="173"/>
                      <a:pt x="36" y="173"/>
                      <a:pt x="37" y="172"/>
                    </a:cubicBezTo>
                    <a:cubicBezTo>
                      <a:pt x="37" y="172"/>
                      <a:pt x="38" y="172"/>
                      <a:pt x="38" y="172"/>
                    </a:cubicBezTo>
                    <a:cubicBezTo>
                      <a:pt x="39" y="171"/>
                      <a:pt x="39" y="172"/>
                      <a:pt x="39" y="171"/>
                    </a:cubicBezTo>
                    <a:cubicBezTo>
                      <a:pt x="39" y="171"/>
                      <a:pt x="40" y="171"/>
                      <a:pt x="40" y="171"/>
                    </a:cubicBezTo>
                    <a:cubicBezTo>
                      <a:pt x="40" y="171"/>
                      <a:pt x="40" y="171"/>
                      <a:pt x="40" y="171"/>
                    </a:cubicBezTo>
                    <a:cubicBezTo>
                      <a:pt x="41" y="170"/>
                      <a:pt x="42" y="171"/>
                      <a:pt x="42" y="171"/>
                    </a:cubicBezTo>
                    <a:cubicBezTo>
                      <a:pt x="43" y="171"/>
                      <a:pt x="44" y="170"/>
                      <a:pt x="45" y="170"/>
                    </a:cubicBezTo>
                    <a:cubicBezTo>
                      <a:pt x="46" y="170"/>
                      <a:pt x="47" y="170"/>
                      <a:pt x="47" y="170"/>
                    </a:cubicBezTo>
                    <a:cubicBezTo>
                      <a:pt x="48" y="170"/>
                      <a:pt x="49" y="170"/>
                      <a:pt x="50" y="170"/>
                    </a:cubicBezTo>
                    <a:cubicBezTo>
                      <a:pt x="50" y="170"/>
                      <a:pt x="50" y="169"/>
                      <a:pt x="50" y="168"/>
                    </a:cubicBezTo>
                    <a:cubicBezTo>
                      <a:pt x="51" y="168"/>
                      <a:pt x="51" y="168"/>
                      <a:pt x="52" y="167"/>
                    </a:cubicBezTo>
                    <a:cubicBezTo>
                      <a:pt x="52" y="167"/>
                      <a:pt x="53" y="166"/>
                      <a:pt x="53" y="166"/>
                    </a:cubicBezTo>
                    <a:cubicBezTo>
                      <a:pt x="54" y="165"/>
                      <a:pt x="55" y="163"/>
                      <a:pt x="54" y="162"/>
                    </a:cubicBezTo>
                    <a:cubicBezTo>
                      <a:pt x="54" y="162"/>
                      <a:pt x="52" y="161"/>
                      <a:pt x="53" y="160"/>
                    </a:cubicBezTo>
                    <a:cubicBezTo>
                      <a:pt x="54" y="160"/>
                      <a:pt x="55" y="159"/>
                      <a:pt x="56" y="159"/>
                    </a:cubicBezTo>
                    <a:cubicBezTo>
                      <a:pt x="56" y="159"/>
                      <a:pt x="57" y="159"/>
                      <a:pt x="58" y="159"/>
                    </a:cubicBezTo>
                    <a:cubicBezTo>
                      <a:pt x="59" y="159"/>
                      <a:pt x="59" y="159"/>
                      <a:pt x="60" y="159"/>
                    </a:cubicBezTo>
                    <a:cubicBezTo>
                      <a:pt x="61" y="159"/>
                      <a:pt x="62" y="159"/>
                      <a:pt x="62" y="159"/>
                    </a:cubicBezTo>
                    <a:cubicBezTo>
                      <a:pt x="62" y="159"/>
                      <a:pt x="63" y="158"/>
                      <a:pt x="63" y="158"/>
                    </a:cubicBezTo>
                    <a:cubicBezTo>
                      <a:pt x="63" y="158"/>
                      <a:pt x="64" y="158"/>
                      <a:pt x="64" y="158"/>
                    </a:cubicBezTo>
                    <a:cubicBezTo>
                      <a:pt x="64" y="158"/>
                      <a:pt x="64" y="158"/>
                      <a:pt x="64" y="158"/>
                    </a:cubicBezTo>
                    <a:cubicBezTo>
                      <a:pt x="65" y="158"/>
                      <a:pt x="65" y="158"/>
                      <a:pt x="66" y="158"/>
                    </a:cubicBezTo>
                    <a:cubicBezTo>
                      <a:pt x="67" y="158"/>
                      <a:pt x="67" y="158"/>
                      <a:pt x="68" y="158"/>
                    </a:cubicBezTo>
                    <a:cubicBezTo>
                      <a:pt x="68" y="157"/>
                      <a:pt x="68" y="157"/>
                      <a:pt x="68" y="157"/>
                    </a:cubicBezTo>
                    <a:cubicBezTo>
                      <a:pt x="68" y="157"/>
                      <a:pt x="68" y="157"/>
                      <a:pt x="68" y="157"/>
                    </a:cubicBezTo>
                    <a:cubicBezTo>
                      <a:pt x="68" y="156"/>
                      <a:pt x="68" y="156"/>
                      <a:pt x="68" y="156"/>
                    </a:cubicBezTo>
                    <a:cubicBezTo>
                      <a:pt x="69" y="156"/>
                      <a:pt x="69" y="156"/>
                      <a:pt x="69" y="156"/>
                    </a:cubicBezTo>
                    <a:cubicBezTo>
                      <a:pt x="70" y="155"/>
                      <a:pt x="70" y="156"/>
                      <a:pt x="71" y="155"/>
                    </a:cubicBezTo>
                    <a:cubicBezTo>
                      <a:pt x="71" y="155"/>
                      <a:pt x="71" y="154"/>
                      <a:pt x="72" y="154"/>
                    </a:cubicBezTo>
                    <a:cubicBezTo>
                      <a:pt x="72" y="153"/>
                      <a:pt x="73" y="153"/>
                      <a:pt x="73" y="152"/>
                    </a:cubicBezTo>
                    <a:cubicBezTo>
                      <a:pt x="73" y="151"/>
                      <a:pt x="74" y="151"/>
                      <a:pt x="74" y="150"/>
                    </a:cubicBezTo>
                    <a:cubicBezTo>
                      <a:pt x="74" y="150"/>
                      <a:pt x="75" y="148"/>
                      <a:pt x="76" y="149"/>
                    </a:cubicBezTo>
                    <a:cubicBezTo>
                      <a:pt x="77" y="149"/>
                      <a:pt x="77" y="146"/>
                      <a:pt x="78" y="146"/>
                    </a:cubicBezTo>
                    <a:cubicBezTo>
                      <a:pt x="80" y="146"/>
                      <a:pt x="80" y="144"/>
                      <a:pt x="80" y="143"/>
                    </a:cubicBezTo>
                    <a:cubicBezTo>
                      <a:pt x="79" y="142"/>
                      <a:pt x="79" y="141"/>
                      <a:pt x="80" y="141"/>
                    </a:cubicBezTo>
                    <a:cubicBezTo>
                      <a:pt x="81" y="141"/>
                      <a:pt x="81" y="141"/>
                      <a:pt x="82" y="140"/>
                    </a:cubicBezTo>
                    <a:cubicBezTo>
                      <a:pt x="83" y="140"/>
                      <a:pt x="82" y="140"/>
                      <a:pt x="83" y="139"/>
                    </a:cubicBezTo>
                    <a:cubicBezTo>
                      <a:pt x="83" y="139"/>
                      <a:pt x="84" y="140"/>
                      <a:pt x="84" y="139"/>
                    </a:cubicBezTo>
                    <a:cubicBezTo>
                      <a:pt x="85" y="138"/>
                      <a:pt x="85" y="138"/>
                      <a:pt x="86" y="138"/>
                    </a:cubicBezTo>
                    <a:cubicBezTo>
                      <a:pt x="86" y="138"/>
                      <a:pt x="86" y="138"/>
                      <a:pt x="87" y="137"/>
                    </a:cubicBezTo>
                    <a:cubicBezTo>
                      <a:pt x="87" y="137"/>
                      <a:pt x="87" y="138"/>
                      <a:pt x="87" y="138"/>
                    </a:cubicBezTo>
                    <a:cubicBezTo>
                      <a:pt x="88" y="138"/>
                      <a:pt x="89" y="138"/>
                      <a:pt x="90" y="138"/>
                    </a:cubicBezTo>
                    <a:cubicBezTo>
                      <a:pt x="90" y="138"/>
                      <a:pt x="91" y="138"/>
                      <a:pt x="91" y="138"/>
                    </a:cubicBezTo>
                    <a:cubicBezTo>
                      <a:pt x="91" y="136"/>
                      <a:pt x="92" y="135"/>
                      <a:pt x="91" y="133"/>
                    </a:cubicBezTo>
                    <a:cubicBezTo>
                      <a:pt x="91" y="133"/>
                      <a:pt x="91" y="133"/>
                      <a:pt x="90" y="133"/>
                    </a:cubicBezTo>
                    <a:cubicBezTo>
                      <a:pt x="90" y="133"/>
                      <a:pt x="90" y="132"/>
                      <a:pt x="89" y="132"/>
                    </a:cubicBezTo>
                    <a:cubicBezTo>
                      <a:pt x="88" y="131"/>
                      <a:pt x="88" y="130"/>
                      <a:pt x="88" y="128"/>
                    </a:cubicBezTo>
                    <a:cubicBezTo>
                      <a:pt x="88" y="127"/>
                      <a:pt x="88" y="127"/>
                      <a:pt x="88" y="126"/>
                    </a:cubicBezTo>
                    <a:cubicBezTo>
                      <a:pt x="88" y="125"/>
                      <a:pt x="87" y="126"/>
                      <a:pt x="87" y="126"/>
                    </a:cubicBezTo>
                    <a:cubicBezTo>
                      <a:pt x="87" y="125"/>
                      <a:pt x="87" y="124"/>
                      <a:pt x="86" y="123"/>
                    </a:cubicBezTo>
                    <a:cubicBezTo>
                      <a:pt x="86" y="122"/>
                      <a:pt x="86" y="122"/>
                      <a:pt x="86" y="121"/>
                    </a:cubicBezTo>
                    <a:cubicBezTo>
                      <a:pt x="86" y="121"/>
                      <a:pt x="86" y="120"/>
                      <a:pt x="87" y="120"/>
                    </a:cubicBezTo>
                    <a:cubicBezTo>
                      <a:pt x="87" y="119"/>
                      <a:pt x="85" y="119"/>
                      <a:pt x="85" y="119"/>
                    </a:cubicBezTo>
                    <a:cubicBezTo>
                      <a:pt x="84" y="118"/>
                      <a:pt x="84" y="119"/>
                      <a:pt x="83" y="119"/>
                    </a:cubicBezTo>
                    <a:cubicBezTo>
                      <a:pt x="82" y="120"/>
                      <a:pt x="80" y="119"/>
                      <a:pt x="81" y="117"/>
                    </a:cubicBezTo>
                    <a:cubicBezTo>
                      <a:pt x="81" y="116"/>
                      <a:pt x="81" y="115"/>
                      <a:pt x="82" y="114"/>
                    </a:cubicBezTo>
                    <a:cubicBezTo>
                      <a:pt x="83" y="113"/>
                      <a:pt x="84" y="113"/>
                      <a:pt x="84" y="112"/>
                    </a:cubicBezTo>
                    <a:cubicBezTo>
                      <a:pt x="85" y="112"/>
                      <a:pt x="85" y="112"/>
                      <a:pt x="85" y="111"/>
                    </a:cubicBezTo>
                    <a:cubicBezTo>
                      <a:pt x="84" y="110"/>
                      <a:pt x="84" y="110"/>
                      <a:pt x="84" y="109"/>
                    </a:cubicBezTo>
                    <a:cubicBezTo>
                      <a:pt x="84" y="109"/>
                      <a:pt x="84" y="109"/>
                      <a:pt x="83" y="108"/>
                    </a:cubicBezTo>
                    <a:cubicBezTo>
                      <a:pt x="83" y="108"/>
                      <a:pt x="83" y="108"/>
                      <a:pt x="83" y="107"/>
                    </a:cubicBezTo>
                    <a:cubicBezTo>
                      <a:pt x="83" y="107"/>
                      <a:pt x="83" y="107"/>
                      <a:pt x="83" y="107"/>
                    </a:cubicBezTo>
                    <a:cubicBezTo>
                      <a:pt x="83" y="106"/>
                      <a:pt x="83" y="106"/>
                      <a:pt x="83" y="106"/>
                    </a:cubicBezTo>
                    <a:cubicBezTo>
                      <a:pt x="84" y="105"/>
                      <a:pt x="84" y="105"/>
                      <a:pt x="85" y="104"/>
                    </a:cubicBezTo>
                    <a:cubicBezTo>
                      <a:pt x="86" y="104"/>
                      <a:pt x="86" y="103"/>
                      <a:pt x="87" y="103"/>
                    </a:cubicBezTo>
                    <a:cubicBezTo>
                      <a:pt x="87" y="103"/>
                      <a:pt x="88" y="103"/>
                      <a:pt x="87" y="102"/>
                    </a:cubicBezTo>
                    <a:cubicBezTo>
                      <a:pt x="87" y="102"/>
                      <a:pt x="86" y="102"/>
                      <a:pt x="86" y="101"/>
                    </a:cubicBezTo>
                    <a:cubicBezTo>
                      <a:pt x="86" y="101"/>
                      <a:pt x="86" y="101"/>
                      <a:pt x="86" y="101"/>
                    </a:cubicBezTo>
                    <a:cubicBezTo>
                      <a:pt x="86" y="100"/>
                      <a:pt x="86" y="100"/>
                      <a:pt x="86" y="100"/>
                    </a:cubicBezTo>
                    <a:cubicBezTo>
                      <a:pt x="86" y="99"/>
                      <a:pt x="86" y="99"/>
                      <a:pt x="86" y="99"/>
                    </a:cubicBezTo>
                    <a:cubicBezTo>
                      <a:pt x="85" y="98"/>
                      <a:pt x="86" y="98"/>
                      <a:pt x="87" y="97"/>
                    </a:cubicBezTo>
                    <a:cubicBezTo>
                      <a:pt x="87" y="97"/>
                      <a:pt x="88" y="97"/>
                      <a:pt x="88" y="97"/>
                    </a:cubicBezTo>
                    <a:cubicBezTo>
                      <a:pt x="89" y="96"/>
                      <a:pt x="88" y="96"/>
                      <a:pt x="88" y="95"/>
                    </a:cubicBezTo>
                    <a:cubicBezTo>
                      <a:pt x="88" y="95"/>
                      <a:pt x="89" y="95"/>
                      <a:pt x="89" y="95"/>
                    </a:cubicBezTo>
                    <a:cubicBezTo>
                      <a:pt x="89" y="94"/>
                      <a:pt x="89" y="94"/>
                      <a:pt x="89" y="94"/>
                    </a:cubicBezTo>
                    <a:cubicBezTo>
                      <a:pt x="89" y="93"/>
                      <a:pt x="90" y="93"/>
                      <a:pt x="91" y="92"/>
                    </a:cubicBezTo>
                    <a:cubicBezTo>
                      <a:pt x="92" y="92"/>
                      <a:pt x="91" y="89"/>
                      <a:pt x="91" y="88"/>
                    </a:cubicBezTo>
                    <a:cubicBezTo>
                      <a:pt x="90" y="87"/>
                      <a:pt x="91" y="86"/>
                      <a:pt x="92" y="86"/>
                    </a:cubicBezTo>
                    <a:cubicBezTo>
                      <a:pt x="93" y="85"/>
                      <a:pt x="94" y="86"/>
                      <a:pt x="95" y="86"/>
                    </a:cubicBezTo>
                    <a:cubicBezTo>
                      <a:pt x="96" y="86"/>
                      <a:pt x="97" y="85"/>
                      <a:pt x="97" y="85"/>
                    </a:cubicBezTo>
                    <a:cubicBezTo>
                      <a:pt x="98" y="85"/>
                      <a:pt x="99" y="85"/>
                      <a:pt x="100" y="85"/>
                    </a:cubicBezTo>
                    <a:cubicBezTo>
                      <a:pt x="100" y="86"/>
                      <a:pt x="101" y="86"/>
                      <a:pt x="101" y="85"/>
                    </a:cubicBezTo>
                    <a:cubicBezTo>
                      <a:pt x="101" y="85"/>
                      <a:pt x="101" y="84"/>
                      <a:pt x="101" y="8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7" name="Central African Republic">
                <a:extLst>
                  <a:ext uri="{FF2B5EF4-FFF2-40B4-BE49-F238E27FC236}">
                    <a16:creationId xmlns:a16="http://schemas.microsoft.com/office/drawing/2014/main" id="{CAA40927-C650-45A1-275C-49F1C70C7C57}"/>
                  </a:ext>
                </a:extLst>
              </p:cNvPr>
              <p:cNvSpPr>
                <a:spLocks/>
              </p:cNvSpPr>
              <p:nvPr/>
            </p:nvSpPr>
            <p:spPr bwMode="auto">
              <a:xfrm>
                <a:off x="6189705" y="3615037"/>
                <a:ext cx="448916" cy="344038"/>
              </a:xfrm>
              <a:custGeom>
                <a:avLst/>
                <a:gdLst/>
                <a:ahLst/>
                <a:cxnLst>
                  <a:cxn ang="0">
                    <a:pos x="124" y="59"/>
                  </a:cxn>
                  <a:cxn ang="0">
                    <a:pos x="120" y="56"/>
                  </a:cxn>
                  <a:cxn ang="0">
                    <a:pos x="117" y="54"/>
                  </a:cxn>
                  <a:cxn ang="0">
                    <a:pos x="115" y="51"/>
                  </a:cxn>
                  <a:cxn ang="0">
                    <a:pos x="113" y="45"/>
                  </a:cxn>
                  <a:cxn ang="0">
                    <a:pos x="107" y="41"/>
                  </a:cxn>
                  <a:cxn ang="0">
                    <a:pos x="105" y="36"/>
                  </a:cxn>
                  <a:cxn ang="0">
                    <a:pos x="100" y="31"/>
                  </a:cxn>
                  <a:cxn ang="0">
                    <a:pos x="95" y="26"/>
                  </a:cxn>
                  <a:cxn ang="0">
                    <a:pos x="89" y="23"/>
                  </a:cxn>
                  <a:cxn ang="0">
                    <a:pos x="89" y="16"/>
                  </a:cxn>
                  <a:cxn ang="0">
                    <a:pos x="83" y="4"/>
                  </a:cxn>
                  <a:cxn ang="0">
                    <a:pos x="77" y="1"/>
                  </a:cxn>
                  <a:cxn ang="0">
                    <a:pos x="72" y="4"/>
                  </a:cxn>
                  <a:cxn ang="0">
                    <a:pos x="69" y="9"/>
                  </a:cxn>
                  <a:cxn ang="0">
                    <a:pos x="65" y="14"/>
                  </a:cxn>
                  <a:cxn ang="0">
                    <a:pos x="61" y="18"/>
                  </a:cxn>
                  <a:cxn ang="0">
                    <a:pos x="56" y="21"/>
                  </a:cxn>
                  <a:cxn ang="0">
                    <a:pos x="50" y="22"/>
                  </a:cxn>
                  <a:cxn ang="0">
                    <a:pos x="44" y="25"/>
                  </a:cxn>
                  <a:cxn ang="0">
                    <a:pos x="42" y="31"/>
                  </a:cxn>
                  <a:cxn ang="0">
                    <a:pos x="30" y="34"/>
                  </a:cxn>
                  <a:cxn ang="0">
                    <a:pos x="27" y="36"/>
                  </a:cxn>
                  <a:cxn ang="0">
                    <a:pos x="24" y="38"/>
                  </a:cxn>
                  <a:cxn ang="0">
                    <a:pos x="20" y="36"/>
                  </a:cxn>
                  <a:cxn ang="0">
                    <a:pos x="15" y="39"/>
                  </a:cxn>
                  <a:cxn ang="0">
                    <a:pos x="10" y="40"/>
                  </a:cxn>
                  <a:cxn ang="0">
                    <a:pos x="7" y="46"/>
                  </a:cxn>
                  <a:cxn ang="0">
                    <a:pos x="1" y="54"/>
                  </a:cxn>
                  <a:cxn ang="0">
                    <a:pos x="2" y="59"/>
                  </a:cxn>
                  <a:cxn ang="0">
                    <a:pos x="3" y="66"/>
                  </a:cxn>
                  <a:cxn ang="0">
                    <a:pos x="5" y="72"/>
                  </a:cxn>
                  <a:cxn ang="0">
                    <a:pos x="7" y="78"/>
                  </a:cxn>
                  <a:cxn ang="0">
                    <a:pos x="16" y="88"/>
                  </a:cxn>
                  <a:cxn ang="0">
                    <a:pos x="17" y="94"/>
                  </a:cxn>
                  <a:cxn ang="0">
                    <a:pos x="21" y="87"/>
                  </a:cxn>
                  <a:cxn ang="0">
                    <a:pos x="24" y="82"/>
                  </a:cxn>
                  <a:cxn ang="0">
                    <a:pos x="28" y="81"/>
                  </a:cxn>
                  <a:cxn ang="0">
                    <a:pos x="32" y="81"/>
                  </a:cxn>
                  <a:cxn ang="0">
                    <a:pos x="36" y="82"/>
                  </a:cxn>
                  <a:cxn ang="0">
                    <a:pos x="39" y="82"/>
                  </a:cxn>
                  <a:cxn ang="0">
                    <a:pos x="41" y="75"/>
                  </a:cxn>
                  <a:cxn ang="0">
                    <a:pos x="46" y="67"/>
                  </a:cxn>
                  <a:cxn ang="0">
                    <a:pos x="50" y="65"/>
                  </a:cxn>
                  <a:cxn ang="0">
                    <a:pos x="57" y="68"/>
                  </a:cxn>
                  <a:cxn ang="0">
                    <a:pos x="62" y="73"/>
                  </a:cxn>
                  <a:cxn ang="0">
                    <a:pos x="67" y="74"/>
                  </a:cxn>
                  <a:cxn ang="0">
                    <a:pos x="73" y="75"/>
                  </a:cxn>
                  <a:cxn ang="0">
                    <a:pos x="80" y="72"/>
                  </a:cxn>
                  <a:cxn ang="0">
                    <a:pos x="83" y="68"/>
                  </a:cxn>
                  <a:cxn ang="0">
                    <a:pos x="89" y="70"/>
                  </a:cxn>
                  <a:cxn ang="0">
                    <a:pos x="94" y="67"/>
                  </a:cxn>
                  <a:cxn ang="0">
                    <a:pos x="96" y="66"/>
                  </a:cxn>
                  <a:cxn ang="0">
                    <a:pos x="100" y="67"/>
                  </a:cxn>
                  <a:cxn ang="0">
                    <a:pos x="106" y="64"/>
                  </a:cxn>
                  <a:cxn ang="0">
                    <a:pos x="110" y="64"/>
                  </a:cxn>
                  <a:cxn ang="0">
                    <a:pos x="113" y="64"/>
                  </a:cxn>
                  <a:cxn ang="0">
                    <a:pos x="117" y="66"/>
                  </a:cxn>
                  <a:cxn ang="0">
                    <a:pos x="122" y="64"/>
                  </a:cxn>
                  <a:cxn ang="0">
                    <a:pos x="126" y="64"/>
                  </a:cxn>
                </a:cxnLst>
                <a:rect l="0" t="0" r="r" b="b"/>
                <a:pathLst>
                  <a:path w="127" h="97">
                    <a:moveTo>
                      <a:pt x="126" y="64"/>
                    </a:moveTo>
                    <a:cubicBezTo>
                      <a:pt x="125" y="64"/>
                      <a:pt x="125" y="63"/>
                      <a:pt x="125" y="62"/>
                    </a:cubicBezTo>
                    <a:cubicBezTo>
                      <a:pt x="125" y="62"/>
                      <a:pt x="125" y="60"/>
                      <a:pt x="125" y="60"/>
                    </a:cubicBezTo>
                    <a:cubicBezTo>
                      <a:pt x="124" y="60"/>
                      <a:pt x="124" y="59"/>
                      <a:pt x="124" y="59"/>
                    </a:cubicBezTo>
                    <a:cubicBezTo>
                      <a:pt x="124" y="59"/>
                      <a:pt x="124" y="58"/>
                      <a:pt x="124" y="58"/>
                    </a:cubicBezTo>
                    <a:cubicBezTo>
                      <a:pt x="123" y="58"/>
                      <a:pt x="123" y="58"/>
                      <a:pt x="123" y="58"/>
                    </a:cubicBezTo>
                    <a:cubicBezTo>
                      <a:pt x="122" y="57"/>
                      <a:pt x="122" y="57"/>
                      <a:pt x="122" y="57"/>
                    </a:cubicBezTo>
                    <a:cubicBezTo>
                      <a:pt x="121" y="57"/>
                      <a:pt x="121" y="56"/>
                      <a:pt x="120" y="56"/>
                    </a:cubicBezTo>
                    <a:cubicBezTo>
                      <a:pt x="120" y="55"/>
                      <a:pt x="119" y="56"/>
                      <a:pt x="118" y="55"/>
                    </a:cubicBezTo>
                    <a:cubicBezTo>
                      <a:pt x="118" y="55"/>
                      <a:pt x="118" y="55"/>
                      <a:pt x="117" y="54"/>
                    </a:cubicBezTo>
                    <a:cubicBezTo>
                      <a:pt x="117" y="54"/>
                      <a:pt x="117" y="54"/>
                      <a:pt x="117" y="54"/>
                    </a:cubicBezTo>
                    <a:cubicBezTo>
                      <a:pt x="117" y="54"/>
                      <a:pt x="117" y="54"/>
                      <a:pt x="117" y="54"/>
                    </a:cubicBezTo>
                    <a:cubicBezTo>
                      <a:pt x="118" y="53"/>
                      <a:pt x="117" y="53"/>
                      <a:pt x="117" y="53"/>
                    </a:cubicBezTo>
                    <a:cubicBezTo>
                      <a:pt x="117" y="53"/>
                      <a:pt x="117" y="52"/>
                      <a:pt x="117" y="52"/>
                    </a:cubicBezTo>
                    <a:cubicBezTo>
                      <a:pt x="117" y="52"/>
                      <a:pt x="116" y="52"/>
                      <a:pt x="116" y="52"/>
                    </a:cubicBezTo>
                    <a:cubicBezTo>
                      <a:pt x="116" y="51"/>
                      <a:pt x="115" y="51"/>
                      <a:pt x="115" y="51"/>
                    </a:cubicBezTo>
                    <a:cubicBezTo>
                      <a:pt x="115" y="50"/>
                      <a:pt x="116" y="49"/>
                      <a:pt x="116" y="48"/>
                    </a:cubicBezTo>
                    <a:cubicBezTo>
                      <a:pt x="116" y="48"/>
                      <a:pt x="115" y="48"/>
                      <a:pt x="115" y="47"/>
                    </a:cubicBezTo>
                    <a:cubicBezTo>
                      <a:pt x="114" y="47"/>
                      <a:pt x="114" y="47"/>
                      <a:pt x="114" y="46"/>
                    </a:cubicBezTo>
                    <a:cubicBezTo>
                      <a:pt x="113" y="46"/>
                      <a:pt x="113" y="45"/>
                      <a:pt x="113" y="45"/>
                    </a:cubicBezTo>
                    <a:cubicBezTo>
                      <a:pt x="113" y="44"/>
                      <a:pt x="113" y="45"/>
                      <a:pt x="112" y="44"/>
                    </a:cubicBezTo>
                    <a:cubicBezTo>
                      <a:pt x="112" y="44"/>
                      <a:pt x="111" y="43"/>
                      <a:pt x="110" y="43"/>
                    </a:cubicBezTo>
                    <a:cubicBezTo>
                      <a:pt x="110" y="42"/>
                      <a:pt x="109" y="42"/>
                      <a:pt x="109" y="42"/>
                    </a:cubicBezTo>
                    <a:cubicBezTo>
                      <a:pt x="108" y="42"/>
                      <a:pt x="108" y="41"/>
                      <a:pt x="107" y="41"/>
                    </a:cubicBezTo>
                    <a:cubicBezTo>
                      <a:pt x="107" y="41"/>
                      <a:pt x="106" y="41"/>
                      <a:pt x="106" y="40"/>
                    </a:cubicBezTo>
                    <a:cubicBezTo>
                      <a:pt x="106" y="40"/>
                      <a:pt x="105" y="39"/>
                      <a:pt x="105" y="39"/>
                    </a:cubicBezTo>
                    <a:cubicBezTo>
                      <a:pt x="104" y="38"/>
                      <a:pt x="105" y="38"/>
                      <a:pt x="105" y="37"/>
                    </a:cubicBezTo>
                    <a:cubicBezTo>
                      <a:pt x="106" y="37"/>
                      <a:pt x="105" y="37"/>
                      <a:pt x="105" y="36"/>
                    </a:cubicBezTo>
                    <a:cubicBezTo>
                      <a:pt x="105" y="36"/>
                      <a:pt x="105" y="35"/>
                      <a:pt x="105" y="35"/>
                    </a:cubicBezTo>
                    <a:cubicBezTo>
                      <a:pt x="104" y="34"/>
                      <a:pt x="103" y="35"/>
                      <a:pt x="103" y="34"/>
                    </a:cubicBezTo>
                    <a:cubicBezTo>
                      <a:pt x="102" y="33"/>
                      <a:pt x="102" y="33"/>
                      <a:pt x="102" y="32"/>
                    </a:cubicBezTo>
                    <a:cubicBezTo>
                      <a:pt x="101" y="31"/>
                      <a:pt x="101" y="31"/>
                      <a:pt x="100" y="31"/>
                    </a:cubicBezTo>
                    <a:cubicBezTo>
                      <a:pt x="99" y="31"/>
                      <a:pt x="99" y="31"/>
                      <a:pt x="98" y="31"/>
                    </a:cubicBezTo>
                    <a:cubicBezTo>
                      <a:pt x="97" y="31"/>
                      <a:pt x="97" y="30"/>
                      <a:pt x="97" y="30"/>
                    </a:cubicBezTo>
                    <a:cubicBezTo>
                      <a:pt x="95" y="31"/>
                      <a:pt x="94" y="30"/>
                      <a:pt x="94" y="28"/>
                    </a:cubicBezTo>
                    <a:cubicBezTo>
                      <a:pt x="95" y="28"/>
                      <a:pt x="96" y="26"/>
                      <a:pt x="95" y="26"/>
                    </a:cubicBezTo>
                    <a:cubicBezTo>
                      <a:pt x="94" y="26"/>
                      <a:pt x="92" y="25"/>
                      <a:pt x="91" y="26"/>
                    </a:cubicBezTo>
                    <a:cubicBezTo>
                      <a:pt x="90" y="26"/>
                      <a:pt x="89" y="25"/>
                      <a:pt x="89" y="25"/>
                    </a:cubicBezTo>
                    <a:cubicBezTo>
                      <a:pt x="88" y="26"/>
                      <a:pt x="88" y="25"/>
                      <a:pt x="88" y="25"/>
                    </a:cubicBezTo>
                    <a:cubicBezTo>
                      <a:pt x="88" y="24"/>
                      <a:pt x="89" y="24"/>
                      <a:pt x="89" y="23"/>
                    </a:cubicBezTo>
                    <a:cubicBezTo>
                      <a:pt x="89" y="22"/>
                      <a:pt x="89" y="22"/>
                      <a:pt x="88" y="23"/>
                    </a:cubicBezTo>
                    <a:cubicBezTo>
                      <a:pt x="88" y="23"/>
                      <a:pt x="87" y="21"/>
                      <a:pt x="88" y="20"/>
                    </a:cubicBezTo>
                    <a:cubicBezTo>
                      <a:pt x="89" y="20"/>
                      <a:pt x="89" y="20"/>
                      <a:pt x="89" y="19"/>
                    </a:cubicBezTo>
                    <a:cubicBezTo>
                      <a:pt x="90" y="18"/>
                      <a:pt x="89" y="17"/>
                      <a:pt x="89" y="16"/>
                    </a:cubicBezTo>
                    <a:cubicBezTo>
                      <a:pt x="89" y="15"/>
                      <a:pt x="90" y="15"/>
                      <a:pt x="90" y="14"/>
                    </a:cubicBezTo>
                    <a:cubicBezTo>
                      <a:pt x="90" y="13"/>
                      <a:pt x="90" y="13"/>
                      <a:pt x="89" y="12"/>
                    </a:cubicBezTo>
                    <a:cubicBezTo>
                      <a:pt x="88" y="10"/>
                      <a:pt x="87" y="8"/>
                      <a:pt x="86" y="7"/>
                    </a:cubicBezTo>
                    <a:cubicBezTo>
                      <a:pt x="85" y="5"/>
                      <a:pt x="84" y="5"/>
                      <a:pt x="83" y="4"/>
                    </a:cubicBezTo>
                    <a:cubicBezTo>
                      <a:pt x="83" y="3"/>
                      <a:pt x="82" y="2"/>
                      <a:pt x="82" y="1"/>
                    </a:cubicBezTo>
                    <a:cubicBezTo>
                      <a:pt x="82" y="1"/>
                      <a:pt x="81" y="1"/>
                      <a:pt x="80" y="1"/>
                    </a:cubicBezTo>
                    <a:cubicBezTo>
                      <a:pt x="79" y="1"/>
                      <a:pt x="79" y="1"/>
                      <a:pt x="78" y="0"/>
                    </a:cubicBezTo>
                    <a:cubicBezTo>
                      <a:pt x="78" y="0"/>
                      <a:pt x="77" y="1"/>
                      <a:pt x="77" y="1"/>
                    </a:cubicBezTo>
                    <a:cubicBezTo>
                      <a:pt x="76" y="1"/>
                      <a:pt x="76" y="1"/>
                      <a:pt x="75" y="2"/>
                    </a:cubicBezTo>
                    <a:cubicBezTo>
                      <a:pt x="75" y="2"/>
                      <a:pt x="75" y="2"/>
                      <a:pt x="74" y="2"/>
                    </a:cubicBezTo>
                    <a:cubicBezTo>
                      <a:pt x="74" y="2"/>
                      <a:pt x="74" y="3"/>
                      <a:pt x="73" y="3"/>
                    </a:cubicBezTo>
                    <a:cubicBezTo>
                      <a:pt x="73" y="4"/>
                      <a:pt x="72" y="4"/>
                      <a:pt x="72" y="4"/>
                    </a:cubicBezTo>
                    <a:cubicBezTo>
                      <a:pt x="72" y="4"/>
                      <a:pt x="71" y="4"/>
                      <a:pt x="71" y="4"/>
                    </a:cubicBezTo>
                    <a:cubicBezTo>
                      <a:pt x="70" y="5"/>
                      <a:pt x="71" y="5"/>
                      <a:pt x="71" y="6"/>
                    </a:cubicBezTo>
                    <a:cubicBezTo>
                      <a:pt x="71" y="7"/>
                      <a:pt x="71" y="8"/>
                      <a:pt x="70" y="8"/>
                    </a:cubicBezTo>
                    <a:cubicBezTo>
                      <a:pt x="70" y="9"/>
                      <a:pt x="69" y="9"/>
                      <a:pt x="69" y="9"/>
                    </a:cubicBezTo>
                    <a:cubicBezTo>
                      <a:pt x="68" y="10"/>
                      <a:pt x="68" y="10"/>
                      <a:pt x="68" y="11"/>
                    </a:cubicBezTo>
                    <a:cubicBezTo>
                      <a:pt x="68" y="11"/>
                      <a:pt x="67" y="12"/>
                      <a:pt x="67" y="12"/>
                    </a:cubicBezTo>
                    <a:cubicBezTo>
                      <a:pt x="66" y="11"/>
                      <a:pt x="66" y="12"/>
                      <a:pt x="66" y="12"/>
                    </a:cubicBezTo>
                    <a:cubicBezTo>
                      <a:pt x="65" y="13"/>
                      <a:pt x="65" y="14"/>
                      <a:pt x="65" y="14"/>
                    </a:cubicBezTo>
                    <a:cubicBezTo>
                      <a:pt x="64" y="14"/>
                      <a:pt x="64" y="14"/>
                      <a:pt x="64" y="15"/>
                    </a:cubicBezTo>
                    <a:cubicBezTo>
                      <a:pt x="63" y="16"/>
                      <a:pt x="63" y="17"/>
                      <a:pt x="62" y="18"/>
                    </a:cubicBezTo>
                    <a:cubicBezTo>
                      <a:pt x="62" y="18"/>
                      <a:pt x="62" y="18"/>
                      <a:pt x="61" y="18"/>
                    </a:cubicBezTo>
                    <a:cubicBezTo>
                      <a:pt x="61" y="18"/>
                      <a:pt x="61" y="18"/>
                      <a:pt x="61" y="18"/>
                    </a:cubicBezTo>
                    <a:cubicBezTo>
                      <a:pt x="60" y="19"/>
                      <a:pt x="61" y="19"/>
                      <a:pt x="60" y="19"/>
                    </a:cubicBezTo>
                    <a:cubicBezTo>
                      <a:pt x="59" y="19"/>
                      <a:pt x="59" y="19"/>
                      <a:pt x="59" y="20"/>
                    </a:cubicBezTo>
                    <a:cubicBezTo>
                      <a:pt x="59" y="21"/>
                      <a:pt x="58" y="21"/>
                      <a:pt x="57" y="21"/>
                    </a:cubicBezTo>
                    <a:cubicBezTo>
                      <a:pt x="57" y="21"/>
                      <a:pt x="56" y="21"/>
                      <a:pt x="56" y="21"/>
                    </a:cubicBezTo>
                    <a:cubicBezTo>
                      <a:pt x="55" y="21"/>
                      <a:pt x="55" y="20"/>
                      <a:pt x="54" y="21"/>
                    </a:cubicBezTo>
                    <a:cubicBezTo>
                      <a:pt x="54" y="21"/>
                      <a:pt x="53" y="22"/>
                      <a:pt x="53" y="22"/>
                    </a:cubicBezTo>
                    <a:cubicBezTo>
                      <a:pt x="53" y="22"/>
                      <a:pt x="52" y="22"/>
                      <a:pt x="51" y="22"/>
                    </a:cubicBezTo>
                    <a:cubicBezTo>
                      <a:pt x="51" y="22"/>
                      <a:pt x="50" y="22"/>
                      <a:pt x="50" y="22"/>
                    </a:cubicBezTo>
                    <a:cubicBezTo>
                      <a:pt x="49" y="22"/>
                      <a:pt x="49" y="22"/>
                      <a:pt x="48" y="22"/>
                    </a:cubicBezTo>
                    <a:cubicBezTo>
                      <a:pt x="47" y="22"/>
                      <a:pt x="46" y="22"/>
                      <a:pt x="45" y="22"/>
                    </a:cubicBezTo>
                    <a:cubicBezTo>
                      <a:pt x="44" y="23"/>
                      <a:pt x="43" y="23"/>
                      <a:pt x="43" y="24"/>
                    </a:cubicBezTo>
                    <a:cubicBezTo>
                      <a:pt x="43" y="24"/>
                      <a:pt x="44" y="25"/>
                      <a:pt x="44" y="25"/>
                    </a:cubicBezTo>
                    <a:cubicBezTo>
                      <a:pt x="44" y="25"/>
                      <a:pt x="45" y="25"/>
                      <a:pt x="45" y="25"/>
                    </a:cubicBezTo>
                    <a:cubicBezTo>
                      <a:pt x="46" y="26"/>
                      <a:pt x="45" y="27"/>
                      <a:pt x="45" y="27"/>
                    </a:cubicBezTo>
                    <a:cubicBezTo>
                      <a:pt x="44" y="28"/>
                      <a:pt x="44" y="29"/>
                      <a:pt x="43" y="30"/>
                    </a:cubicBezTo>
                    <a:cubicBezTo>
                      <a:pt x="43" y="30"/>
                      <a:pt x="42" y="30"/>
                      <a:pt x="42" y="31"/>
                    </a:cubicBezTo>
                    <a:cubicBezTo>
                      <a:pt x="41" y="32"/>
                      <a:pt x="41" y="33"/>
                      <a:pt x="40" y="33"/>
                    </a:cubicBezTo>
                    <a:cubicBezTo>
                      <a:pt x="38" y="33"/>
                      <a:pt x="36" y="33"/>
                      <a:pt x="34" y="34"/>
                    </a:cubicBezTo>
                    <a:cubicBezTo>
                      <a:pt x="33" y="34"/>
                      <a:pt x="33" y="33"/>
                      <a:pt x="32" y="33"/>
                    </a:cubicBezTo>
                    <a:cubicBezTo>
                      <a:pt x="31" y="34"/>
                      <a:pt x="31" y="34"/>
                      <a:pt x="30" y="34"/>
                    </a:cubicBezTo>
                    <a:cubicBezTo>
                      <a:pt x="30" y="34"/>
                      <a:pt x="30" y="34"/>
                      <a:pt x="30" y="35"/>
                    </a:cubicBezTo>
                    <a:cubicBezTo>
                      <a:pt x="30" y="35"/>
                      <a:pt x="30" y="35"/>
                      <a:pt x="29" y="35"/>
                    </a:cubicBezTo>
                    <a:cubicBezTo>
                      <a:pt x="29" y="35"/>
                      <a:pt x="28" y="35"/>
                      <a:pt x="28" y="35"/>
                    </a:cubicBezTo>
                    <a:cubicBezTo>
                      <a:pt x="28" y="35"/>
                      <a:pt x="27" y="36"/>
                      <a:pt x="27" y="36"/>
                    </a:cubicBezTo>
                    <a:cubicBezTo>
                      <a:pt x="27" y="37"/>
                      <a:pt x="27" y="37"/>
                      <a:pt x="26" y="37"/>
                    </a:cubicBezTo>
                    <a:cubicBezTo>
                      <a:pt x="26" y="37"/>
                      <a:pt x="26" y="36"/>
                      <a:pt x="26" y="37"/>
                    </a:cubicBezTo>
                    <a:cubicBezTo>
                      <a:pt x="26" y="37"/>
                      <a:pt x="25" y="37"/>
                      <a:pt x="25" y="37"/>
                    </a:cubicBezTo>
                    <a:cubicBezTo>
                      <a:pt x="24" y="37"/>
                      <a:pt x="24" y="38"/>
                      <a:pt x="24" y="38"/>
                    </a:cubicBezTo>
                    <a:cubicBezTo>
                      <a:pt x="23" y="38"/>
                      <a:pt x="22" y="37"/>
                      <a:pt x="22" y="37"/>
                    </a:cubicBezTo>
                    <a:cubicBezTo>
                      <a:pt x="22" y="36"/>
                      <a:pt x="21" y="36"/>
                      <a:pt x="21" y="35"/>
                    </a:cubicBezTo>
                    <a:cubicBezTo>
                      <a:pt x="21" y="35"/>
                      <a:pt x="21" y="34"/>
                      <a:pt x="20" y="35"/>
                    </a:cubicBezTo>
                    <a:cubicBezTo>
                      <a:pt x="20" y="35"/>
                      <a:pt x="20" y="35"/>
                      <a:pt x="20" y="36"/>
                    </a:cubicBezTo>
                    <a:cubicBezTo>
                      <a:pt x="20" y="36"/>
                      <a:pt x="20" y="35"/>
                      <a:pt x="20" y="36"/>
                    </a:cubicBezTo>
                    <a:cubicBezTo>
                      <a:pt x="19" y="36"/>
                      <a:pt x="20" y="37"/>
                      <a:pt x="19" y="37"/>
                    </a:cubicBezTo>
                    <a:cubicBezTo>
                      <a:pt x="19" y="37"/>
                      <a:pt x="18" y="38"/>
                      <a:pt x="17" y="38"/>
                    </a:cubicBezTo>
                    <a:cubicBezTo>
                      <a:pt x="16" y="38"/>
                      <a:pt x="16" y="38"/>
                      <a:pt x="15" y="39"/>
                    </a:cubicBezTo>
                    <a:cubicBezTo>
                      <a:pt x="15" y="39"/>
                      <a:pt x="14" y="39"/>
                      <a:pt x="14" y="39"/>
                    </a:cubicBezTo>
                    <a:cubicBezTo>
                      <a:pt x="13" y="39"/>
                      <a:pt x="13" y="39"/>
                      <a:pt x="12" y="39"/>
                    </a:cubicBezTo>
                    <a:cubicBezTo>
                      <a:pt x="12" y="39"/>
                      <a:pt x="11" y="38"/>
                      <a:pt x="11" y="39"/>
                    </a:cubicBezTo>
                    <a:cubicBezTo>
                      <a:pt x="10" y="39"/>
                      <a:pt x="10" y="39"/>
                      <a:pt x="10" y="40"/>
                    </a:cubicBezTo>
                    <a:cubicBezTo>
                      <a:pt x="10" y="40"/>
                      <a:pt x="8" y="42"/>
                      <a:pt x="8" y="42"/>
                    </a:cubicBezTo>
                    <a:cubicBezTo>
                      <a:pt x="8" y="42"/>
                      <a:pt x="8" y="43"/>
                      <a:pt x="8" y="43"/>
                    </a:cubicBezTo>
                    <a:cubicBezTo>
                      <a:pt x="8" y="44"/>
                      <a:pt x="7" y="44"/>
                      <a:pt x="7" y="44"/>
                    </a:cubicBezTo>
                    <a:cubicBezTo>
                      <a:pt x="7" y="45"/>
                      <a:pt x="7" y="46"/>
                      <a:pt x="7" y="46"/>
                    </a:cubicBezTo>
                    <a:cubicBezTo>
                      <a:pt x="6" y="47"/>
                      <a:pt x="6" y="47"/>
                      <a:pt x="5" y="48"/>
                    </a:cubicBezTo>
                    <a:cubicBezTo>
                      <a:pt x="5" y="48"/>
                      <a:pt x="5" y="49"/>
                      <a:pt x="4" y="50"/>
                    </a:cubicBezTo>
                    <a:cubicBezTo>
                      <a:pt x="4" y="51"/>
                      <a:pt x="4" y="52"/>
                      <a:pt x="3" y="53"/>
                    </a:cubicBezTo>
                    <a:cubicBezTo>
                      <a:pt x="2" y="53"/>
                      <a:pt x="1" y="53"/>
                      <a:pt x="1" y="54"/>
                    </a:cubicBezTo>
                    <a:cubicBezTo>
                      <a:pt x="0" y="55"/>
                      <a:pt x="0" y="56"/>
                      <a:pt x="2" y="56"/>
                    </a:cubicBezTo>
                    <a:cubicBezTo>
                      <a:pt x="2" y="56"/>
                      <a:pt x="2" y="56"/>
                      <a:pt x="2" y="56"/>
                    </a:cubicBezTo>
                    <a:cubicBezTo>
                      <a:pt x="2" y="56"/>
                      <a:pt x="2" y="57"/>
                      <a:pt x="2" y="57"/>
                    </a:cubicBezTo>
                    <a:cubicBezTo>
                      <a:pt x="2" y="58"/>
                      <a:pt x="2" y="58"/>
                      <a:pt x="2" y="59"/>
                    </a:cubicBezTo>
                    <a:cubicBezTo>
                      <a:pt x="2" y="60"/>
                      <a:pt x="2" y="61"/>
                      <a:pt x="2" y="62"/>
                    </a:cubicBezTo>
                    <a:cubicBezTo>
                      <a:pt x="2" y="62"/>
                      <a:pt x="1" y="63"/>
                      <a:pt x="2" y="63"/>
                    </a:cubicBezTo>
                    <a:cubicBezTo>
                      <a:pt x="2" y="64"/>
                      <a:pt x="2" y="64"/>
                      <a:pt x="3" y="64"/>
                    </a:cubicBezTo>
                    <a:cubicBezTo>
                      <a:pt x="3" y="65"/>
                      <a:pt x="3" y="66"/>
                      <a:pt x="3" y="66"/>
                    </a:cubicBezTo>
                    <a:cubicBezTo>
                      <a:pt x="3" y="67"/>
                      <a:pt x="3" y="67"/>
                      <a:pt x="3" y="68"/>
                    </a:cubicBezTo>
                    <a:cubicBezTo>
                      <a:pt x="3" y="68"/>
                      <a:pt x="3" y="68"/>
                      <a:pt x="3" y="69"/>
                    </a:cubicBezTo>
                    <a:cubicBezTo>
                      <a:pt x="3" y="69"/>
                      <a:pt x="3" y="70"/>
                      <a:pt x="4" y="71"/>
                    </a:cubicBezTo>
                    <a:cubicBezTo>
                      <a:pt x="4" y="71"/>
                      <a:pt x="5" y="72"/>
                      <a:pt x="5" y="72"/>
                    </a:cubicBezTo>
                    <a:cubicBezTo>
                      <a:pt x="6" y="73"/>
                      <a:pt x="6" y="73"/>
                      <a:pt x="7" y="74"/>
                    </a:cubicBezTo>
                    <a:cubicBezTo>
                      <a:pt x="7" y="75"/>
                      <a:pt x="7" y="75"/>
                      <a:pt x="7" y="76"/>
                    </a:cubicBezTo>
                    <a:cubicBezTo>
                      <a:pt x="7" y="77"/>
                      <a:pt x="8" y="77"/>
                      <a:pt x="7" y="77"/>
                    </a:cubicBezTo>
                    <a:cubicBezTo>
                      <a:pt x="6" y="77"/>
                      <a:pt x="6" y="77"/>
                      <a:pt x="7" y="78"/>
                    </a:cubicBezTo>
                    <a:cubicBezTo>
                      <a:pt x="8" y="80"/>
                      <a:pt x="9" y="81"/>
                      <a:pt x="10" y="83"/>
                    </a:cubicBezTo>
                    <a:cubicBezTo>
                      <a:pt x="11" y="84"/>
                      <a:pt x="12" y="86"/>
                      <a:pt x="14" y="87"/>
                    </a:cubicBezTo>
                    <a:cubicBezTo>
                      <a:pt x="14" y="87"/>
                      <a:pt x="15" y="87"/>
                      <a:pt x="15" y="87"/>
                    </a:cubicBezTo>
                    <a:cubicBezTo>
                      <a:pt x="15" y="88"/>
                      <a:pt x="16" y="89"/>
                      <a:pt x="16" y="88"/>
                    </a:cubicBezTo>
                    <a:cubicBezTo>
                      <a:pt x="16" y="88"/>
                      <a:pt x="17" y="89"/>
                      <a:pt x="17" y="90"/>
                    </a:cubicBezTo>
                    <a:cubicBezTo>
                      <a:pt x="17" y="90"/>
                      <a:pt x="16" y="90"/>
                      <a:pt x="16" y="91"/>
                    </a:cubicBezTo>
                    <a:cubicBezTo>
                      <a:pt x="16" y="91"/>
                      <a:pt x="17" y="92"/>
                      <a:pt x="17" y="92"/>
                    </a:cubicBezTo>
                    <a:cubicBezTo>
                      <a:pt x="17" y="92"/>
                      <a:pt x="16" y="93"/>
                      <a:pt x="17" y="94"/>
                    </a:cubicBezTo>
                    <a:cubicBezTo>
                      <a:pt x="17" y="95"/>
                      <a:pt x="17" y="96"/>
                      <a:pt x="18" y="97"/>
                    </a:cubicBezTo>
                    <a:cubicBezTo>
                      <a:pt x="19" y="95"/>
                      <a:pt x="20" y="92"/>
                      <a:pt x="20" y="90"/>
                    </a:cubicBezTo>
                    <a:cubicBezTo>
                      <a:pt x="21" y="90"/>
                      <a:pt x="20" y="89"/>
                      <a:pt x="20" y="89"/>
                    </a:cubicBezTo>
                    <a:cubicBezTo>
                      <a:pt x="20" y="88"/>
                      <a:pt x="21" y="88"/>
                      <a:pt x="21" y="87"/>
                    </a:cubicBezTo>
                    <a:cubicBezTo>
                      <a:pt x="21" y="87"/>
                      <a:pt x="20" y="87"/>
                      <a:pt x="21" y="86"/>
                    </a:cubicBezTo>
                    <a:cubicBezTo>
                      <a:pt x="21" y="86"/>
                      <a:pt x="21" y="85"/>
                      <a:pt x="21" y="85"/>
                    </a:cubicBezTo>
                    <a:cubicBezTo>
                      <a:pt x="21" y="84"/>
                      <a:pt x="21" y="83"/>
                      <a:pt x="22" y="82"/>
                    </a:cubicBezTo>
                    <a:cubicBezTo>
                      <a:pt x="23" y="82"/>
                      <a:pt x="24" y="83"/>
                      <a:pt x="24" y="82"/>
                    </a:cubicBezTo>
                    <a:cubicBezTo>
                      <a:pt x="24" y="82"/>
                      <a:pt x="25" y="82"/>
                      <a:pt x="25" y="82"/>
                    </a:cubicBezTo>
                    <a:cubicBezTo>
                      <a:pt x="26" y="82"/>
                      <a:pt x="26" y="82"/>
                      <a:pt x="26" y="82"/>
                    </a:cubicBezTo>
                    <a:cubicBezTo>
                      <a:pt x="26" y="82"/>
                      <a:pt x="27" y="82"/>
                      <a:pt x="27" y="82"/>
                    </a:cubicBezTo>
                    <a:cubicBezTo>
                      <a:pt x="28" y="82"/>
                      <a:pt x="28" y="81"/>
                      <a:pt x="28" y="81"/>
                    </a:cubicBezTo>
                    <a:cubicBezTo>
                      <a:pt x="29" y="81"/>
                      <a:pt x="29" y="82"/>
                      <a:pt x="29" y="81"/>
                    </a:cubicBezTo>
                    <a:cubicBezTo>
                      <a:pt x="30" y="81"/>
                      <a:pt x="30" y="81"/>
                      <a:pt x="30" y="81"/>
                    </a:cubicBezTo>
                    <a:cubicBezTo>
                      <a:pt x="30" y="81"/>
                      <a:pt x="31" y="81"/>
                      <a:pt x="31" y="81"/>
                    </a:cubicBezTo>
                    <a:cubicBezTo>
                      <a:pt x="31" y="81"/>
                      <a:pt x="32" y="81"/>
                      <a:pt x="32" y="81"/>
                    </a:cubicBezTo>
                    <a:cubicBezTo>
                      <a:pt x="33" y="81"/>
                      <a:pt x="33" y="82"/>
                      <a:pt x="34" y="82"/>
                    </a:cubicBezTo>
                    <a:cubicBezTo>
                      <a:pt x="34" y="82"/>
                      <a:pt x="34" y="82"/>
                      <a:pt x="34" y="82"/>
                    </a:cubicBezTo>
                    <a:cubicBezTo>
                      <a:pt x="34" y="82"/>
                      <a:pt x="34" y="82"/>
                      <a:pt x="35" y="82"/>
                    </a:cubicBezTo>
                    <a:cubicBezTo>
                      <a:pt x="35" y="83"/>
                      <a:pt x="35" y="82"/>
                      <a:pt x="36" y="82"/>
                    </a:cubicBezTo>
                    <a:cubicBezTo>
                      <a:pt x="37" y="82"/>
                      <a:pt x="37" y="83"/>
                      <a:pt x="37" y="83"/>
                    </a:cubicBezTo>
                    <a:cubicBezTo>
                      <a:pt x="38" y="83"/>
                      <a:pt x="37" y="82"/>
                      <a:pt x="38" y="82"/>
                    </a:cubicBezTo>
                    <a:cubicBezTo>
                      <a:pt x="38" y="82"/>
                      <a:pt x="38" y="82"/>
                      <a:pt x="39" y="82"/>
                    </a:cubicBezTo>
                    <a:cubicBezTo>
                      <a:pt x="39" y="82"/>
                      <a:pt x="39" y="82"/>
                      <a:pt x="39" y="82"/>
                    </a:cubicBezTo>
                    <a:cubicBezTo>
                      <a:pt x="40" y="81"/>
                      <a:pt x="40" y="81"/>
                      <a:pt x="40" y="82"/>
                    </a:cubicBezTo>
                    <a:cubicBezTo>
                      <a:pt x="40" y="82"/>
                      <a:pt x="40" y="83"/>
                      <a:pt x="41" y="83"/>
                    </a:cubicBezTo>
                    <a:cubicBezTo>
                      <a:pt x="41" y="82"/>
                      <a:pt x="41" y="80"/>
                      <a:pt x="41" y="79"/>
                    </a:cubicBezTo>
                    <a:cubicBezTo>
                      <a:pt x="41" y="78"/>
                      <a:pt x="42" y="77"/>
                      <a:pt x="41" y="75"/>
                    </a:cubicBezTo>
                    <a:cubicBezTo>
                      <a:pt x="41" y="75"/>
                      <a:pt x="40" y="74"/>
                      <a:pt x="41" y="73"/>
                    </a:cubicBezTo>
                    <a:cubicBezTo>
                      <a:pt x="42" y="73"/>
                      <a:pt x="42" y="73"/>
                      <a:pt x="43" y="72"/>
                    </a:cubicBezTo>
                    <a:cubicBezTo>
                      <a:pt x="43" y="71"/>
                      <a:pt x="44" y="70"/>
                      <a:pt x="44" y="69"/>
                    </a:cubicBezTo>
                    <a:cubicBezTo>
                      <a:pt x="45" y="69"/>
                      <a:pt x="45" y="68"/>
                      <a:pt x="46" y="67"/>
                    </a:cubicBezTo>
                    <a:cubicBezTo>
                      <a:pt x="46" y="67"/>
                      <a:pt x="47" y="67"/>
                      <a:pt x="47" y="67"/>
                    </a:cubicBezTo>
                    <a:cubicBezTo>
                      <a:pt x="47" y="66"/>
                      <a:pt x="48" y="66"/>
                      <a:pt x="48" y="66"/>
                    </a:cubicBezTo>
                    <a:cubicBezTo>
                      <a:pt x="48" y="65"/>
                      <a:pt x="48" y="65"/>
                      <a:pt x="49" y="65"/>
                    </a:cubicBezTo>
                    <a:cubicBezTo>
                      <a:pt x="49" y="65"/>
                      <a:pt x="50" y="65"/>
                      <a:pt x="50" y="65"/>
                    </a:cubicBezTo>
                    <a:cubicBezTo>
                      <a:pt x="51" y="65"/>
                      <a:pt x="52" y="65"/>
                      <a:pt x="52" y="65"/>
                    </a:cubicBezTo>
                    <a:cubicBezTo>
                      <a:pt x="53" y="65"/>
                      <a:pt x="53" y="66"/>
                      <a:pt x="53" y="66"/>
                    </a:cubicBezTo>
                    <a:cubicBezTo>
                      <a:pt x="54" y="67"/>
                      <a:pt x="54" y="67"/>
                      <a:pt x="55" y="67"/>
                    </a:cubicBezTo>
                    <a:cubicBezTo>
                      <a:pt x="56" y="67"/>
                      <a:pt x="56" y="68"/>
                      <a:pt x="57" y="68"/>
                    </a:cubicBezTo>
                    <a:cubicBezTo>
                      <a:pt x="57" y="69"/>
                      <a:pt x="58" y="69"/>
                      <a:pt x="58" y="70"/>
                    </a:cubicBezTo>
                    <a:cubicBezTo>
                      <a:pt x="59" y="70"/>
                      <a:pt x="59" y="71"/>
                      <a:pt x="59" y="71"/>
                    </a:cubicBezTo>
                    <a:cubicBezTo>
                      <a:pt x="59" y="72"/>
                      <a:pt x="60" y="72"/>
                      <a:pt x="60" y="73"/>
                    </a:cubicBezTo>
                    <a:cubicBezTo>
                      <a:pt x="60" y="73"/>
                      <a:pt x="62" y="73"/>
                      <a:pt x="62" y="73"/>
                    </a:cubicBezTo>
                    <a:cubicBezTo>
                      <a:pt x="63" y="73"/>
                      <a:pt x="63" y="72"/>
                      <a:pt x="63" y="72"/>
                    </a:cubicBezTo>
                    <a:cubicBezTo>
                      <a:pt x="63" y="72"/>
                      <a:pt x="64" y="73"/>
                      <a:pt x="64" y="73"/>
                    </a:cubicBezTo>
                    <a:cubicBezTo>
                      <a:pt x="65" y="73"/>
                      <a:pt x="65" y="74"/>
                      <a:pt x="66" y="74"/>
                    </a:cubicBezTo>
                    <a:cubicBezTo>
                      <a:pt x="66" y="74"/>
                      <a:pt x="66" y="74"/>
                      <a:pt x="67" y="74"/>
                    </a:cubicBezTo>
                    <a:cubicBezTo>
                      <a:pt x="67" y="74"/>
                      <a:pt x="67" y="74"/>
                      <a:pt x="68" y="74"/>
                    </a:cubicBezTo>
                    <a:cubicBezTo>
                      <a:pt x="68" y="74"/>
                      <a:pt x="68" y="74"/>
                      <a:pt x="69" y="74"/>
                    </a:cubicBezTo>
                    <a:cubicBezTo>
                      <a:pt x="70" y="75"/>
                      <a:pt x="70" y="74"/>
                      <a:pt x="71" y="74"/>
                    </a:cubicBezTo>
                    <a:cubicBezTo>
                      <a:pt x="72" y="74"/>
                      <a:pt x="72" y="75"/>
                      <a:pt x="73" y="75"/>
                    </a:cubicBezTo>
                    <a:cubicBezTo>
                      <a:pt x="75" y="75"/>
                      <a:pt x="76" y="76"/>
                      <a:pt x="78" y="76"/>
                    </a:cubicBezTo>
                    <a:cubicBezTo>
                      <a:pt x="78" y="76"/>
                      <a:pt x="79" y="75"/>
                      <a:pt x="79" y="74"/>
                    </a:cubicBezTo>
                    <a:cubicBezTo>
                      <a:pt x="79" y="74"/>
                      <a:pt x="80" y="74"/>
                      <a:pt x="80" y="73"/>
                    </a:cubicBezTo>
                    <a:cubicBezTo>
                      <a:pt x="80" y="73"/>
                      <a:pt x="79" y="72"/>
                      <a:pt x="80" y="72"/>
                    </a:cubicBezTo>
                    <a:cubicBezTo>
                      <a:pt x="80" y="72"/>
                      <a:pt x="80" y="72"/>
                      <a:pt x="80" y="72"/>
                    </a:cubicBezTo>
                    <a:cubicBezTo>
                      <a:pt x="81" y="72"/>
                      <a:pt x="81" y="71"/>
                      <a:pt x="81" y="70"/>
                    </a:cubicBezTo>
                    <a:cubicBezTo>
                      <a:pt x="81" y="69"/>
                      <a:pt x="82" y="70"/>
                      <a:pt x="82" y="69"/>
                    </a:cubicBezTo>
                    <a:cubicBezTo>
                      <a:pt x="82" y="68"/>
                      <a:pt x="83" y="68"/>
                      <a:pt x="83" y="68"/>
                    </a:cubicBezTo>
                    <a:cubicBezTo>
                      <a:pt x="84" y="69"/>
                      <a:pt x="84" y="69"/>
                      <a:pt x="84" y="69"/>
                    </a:cubicBezTo>
                    <a:cubicBezTo>
                      <a:pt x="84" y="70"/>
                      <a:pt x="85" y="69"/>
                      <a:pt x="85" y="69"/>
                    </a:cubicBezTo>
                    <a:cubicBezTo>
                      <a:pt x="86" y="69"/>
                      <a:pt x="87" y="72"/>
                      <a:pt x="88" y="70"/>
                    </a:cubicBezTo>
                    <a:cubicBezTo>
                      <a:pt x="88" y="70"/>
                      <a:pt x="89" y="70"/>
                      <a:pt x="89" y="70"/>
                    </a:cubicBezTo>
                    <a:cubicBezTo>
                      <a:pt x="89" y="69"/>
                      <a:pt x="90" y="69"/>
                      <a:pt x="91" y="69"/>
                    </a:cubicBezTo>
                    <a:cubicBezTo>
                      <a:pt x="91" y="68"/>
                      <a:pt x="93" y="68"/>
                      <a:pt x="93" y="68"/>
                    </a:cubicBezTo>
                    <a:cubicBezTo>
                      <a:pt x="93" y="68"/>
                      <a:pt x="93" y="68"/>
                      <a:pt x="93" y="68"/>
                    </a:cubicBezTo>
                    <a:cubicBezTo>
                      <a:pt x="94" y="68"/>
                      <a:pt x="94" y="67"/>
                      <a:pt x="94" y="67"/>
                    </a:cubicBezTo>
                    <a:cubicBezTo>
                      <a:pt x="94" y="67"/>
                      <a:pt x="94" y="67"/>
                      <a:pt x="95" y="67"/>
                    </a:cubicBezTo>
                    <a:cubicBezTo>
                      <a:pt x="95" y="67"/>
                      <a:pt x="95" y="67"/>
                      <a:pt x="95" y="67"/>
                    </a:cubicBezTo>
                    <a:cubicBezTo>
                      <a:pt x="95" y="67"/>
                      <a:pt x="96" y="67"/>
                      <a:pt x="96" y="67"/>
                    </a:cubicBezTo>
                    <a:cubicBezTo>
                      <a:pt x="96" y="67"/>
                      <a:pt x="96" y="66"/>
                      <a:pt x="96" y="66"/>
                    </a:cubicBezTo>
                    <a:cubicBezTo>
                      <a:pt x="96" y="66"/>
                      <a:pt x="97" y="66"/>
                      <a:pt x="97" y="66"/>
                    </a:cubicBezTo>
                    <a:cubicBezTo>
                      <a:pt x="96" y="65"/>
                      <a:pt x="97" y="65"/>
                      <a:pt x="97" y="66"/>
                    </a:cubicBezTo>
                    <a:cubicBezTo>
                      <a:pt x="98" y="65"/>
                      <a:pt x="99" y="66"/>
                      <a:pt x="99" y="66"/>
                    </a:cubicBezTo>
                    <a:cubicBezTo>
                      <a:pt x="99" y="66"/>
                      <a:pt x="99" y="67"/>
                      <a:pt x="100" y="67"/>
                    </a:cubicBezTo>
                    <a:cubicBezTo>
                      <a:pt x="101" y="67"/>
                      <a:pt x="102" y="66"/>
                      <a:pt x="103" y="67"/>
                    </a:cubicBezTo>
                    <a:cubicBezTo>
                      <a:pt x="104" y="67"/>
                      <a:pt x="104" y="66"/>
                      <a:pt x="104" y="66"/>
                    </a:cubicBezTo>
                    <a:cubicBezTo>
                      <a:pt x="104" y="66"/>
                      <a:pt x="105" y="66"/>
                      <a:pt x="105" y="66"/>
                    </a:cubicBezTo>
                    <a:cubicBezTo>
                      <a:pt x="106" y="66"/>
                      <a:pt x="106" y="66"/>
                      <a:pt x="106" y="64"/>
                    </a:cubicBezTo>
                    <a:cubicBezTo>
                      <a:pt x="106" y="64"/>
                      <a:pt x="106" y="63"/>
                      <a:pt x="107" y="63"/>
                    </a:cubicBezTo>
                    <a:cubicBezTo>
                      <a:pt x="107" y="63"/>
                      <a:pt x="108" y="63"/>
                      <a:pt x="108" y="62"/>
                    </a:cubicBezTo>
                    <a:cubicBezTo>
                      <a:pt x="108" y="62"/>
                      <a:pt x="109" y="63"/>
                      <a:pt x="109" y="63"/>
                    </a:cubicBezTo>
                    <a:cubicBezTo>
                      <a:pt x="109" y="63"/>
                      <a:pt x="110" y="64"/>
                      <a:pt x="110" y="64"/>
                    </a:cubicBezTo>
                    <a:cubicBezTo>
                      <a:pt x="110" y="64"/>
                      <a:pt x="110" y="63"/>
                      <a:pt x="110" y="63"/>
                    </a:cubicBezTo>
                    <a:cubicBezTo>
                      <a:pt x="111" y="63"/>
                      <a:pt x="111" y="64"/>
                      <a:pt x="111" y="64"/>
                    </a:cubicBezTo>
                    <a:cubicBezTo>
                      <a:pt x="111" y="64"/>
                      <a:pt x="111" y="64"/>
                      <a:pt x="112" y="64"/>
                    </a:cubicBezTo>
                    <a:cubicBezTo>
                      <a:pt x="112" y="63"/>
                      <a:pt x="113" y="64"/>
                      <a:pt x="113" y="64"/>
                    </a:cubicBezTo>
                    <a:cubicBezTo>
                      <a:pt x="114" y="64"/>
                      <a:pt x="114" y="63"/>
                      <a:pt x="115" y="64"/>
                    </a:cubicBezTo>
                    <a:cubicBezTo>
                      <a:pt x="115" y="64"/>
                      <a:pt x="115" y="65"/>
                      <a:pt x="115" y="65"/>
                    </a:cubicBezTo>
                    <a:cubicBezTo>
                      <a:pt x="116" y="65"/>
                      <a:pt x="116" y="65"/>
                      <a:pt x="116" y="65"/>
                    </a:cubicBezTo>
                    <a:cubicBezTo>
                      <a:pt x="117" y="65"/>
                      <a:pt x="117" y="66"/>
                      <a:pt x="117" y="66"/>
                    </a:cubicBezTo>
                    <a:cubicBezTo>
                      <a:pt x="118" y="66"/>
                      <a:pt x="118" y="66"/>
                      <a:pt x="118" y="65"/>
                    </a:cubicBezTo>
                    <a:cubicBezTo>
                      <a:pt x="119" y="65"/>
                      <a:pt x="119" y="65"/>
                      <a:pt x="120" y="65"/>
                    </a:cubicBezTo>
                    <a:cubicBezTo>
                      <a:pt x="120" y="65"/>
                      <a:pt x="120" y="66"/>
                      <a:pt x="121" y="66"/>
                    </a:cubicBezTo>
                    <a:cubicBezTo>
                      <a:pt x="121" y="66"/>
                      <a:pt x="122" y="65"/>
                      <a:pt x="122" y="64"/>
                    </a:cubicBezTo>
                    <a:cubicBezTo>
                      <a:pt x="123" y="64"/>
                      <a:pt x="124" y="65"/>
                      <a:pt x="125" y="65"/>
                    </a:cubicBezTo>
                    <a:cubicBezTo>
                      <a:pt x="126" y="65"/>
                      <a:pt x="126" y="65"/>
                      <a:pt x="126" y="65"/>
                    </a:cubicBezTo>
                    <a:cubicBezTo>
                      <a:pt x="127" y="66"/>
                      <a:pt x="126" y="66"/>
                      <a:pt x="127" y="66"/>
                    </a:cubicBezTo>
                    <a:cubicBezTo>
                      <a:pt x="127" y="65"/>
                      <a:pt x="126" y="65"/>
                      <a:pt x="126" y="64"/>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8" name="Cayman Islands (UK automomous region))">
                <a:extLst>
                  <a:ext uri="{FF2B5EF4-FFF2-40B4-BE49-F238E27FC236}">
                    <a16:creationId xmlns:a16="http://schemas.microsoft.com/office/drawing/2014/main" id="{5D7A4B16-57F3-A208-8C7C-8CD24C588908}"/>
                  </a:ext>
                </a:extLst>
              </p:cNvPr>
              <p:cNvSpPr>
                <a:spLocks noEditPoints="1"/>
              </p:cNvSpPr>
              <p:nvPr/>
            </p:nvSpPr>
            <p:spPr bwMode="auto">
              <a:xfrm>
                <a:off x="2949283" y="3274920"/>
                <a:ext cx="49989" cy="21564"/>
              </a:xfrm>
              <a:custGeom>
                <a:avLst/>
                <a:gdLst/>
                <a:ahLst/>
                <a:cxnLst>
                  <a:cxn ang="0">
                    <a:pos x="3" y="5"/>
                  </a:cxn>
                  <a:cxn ang="0">
                    <a:pos x="1" y="5"/>
                  </a:cxn>
                  <a:cxn ang="0">
                    <a:pos x="0" y="5"/>
                  </a:cxn>
                  <a:cxn ang="0">
                    <a:pos x="0" y="5"/>
                  </a:cxn>
                  <a:cxn ang="0">
                    <a:pos x="0" y="4"/>
                  </a:cxn>
                  <a:cxn ang="0">
                    <a:pos x="0" y="4"/>
                  </a:cxn>
                  <a:cxn ang="0">
                    <a:pos x="1" y="5"/>
                  </a:cxn>
                  <a:cxn ang="0">
                    <a:pos x="2" y="5"/>
                  </a:cxn>
                  <a:cxn ang="0">
                    <a:pos x="3" y="5"/>
                  </a:cxn>
                  <a:cxn ang="0">
                    <a:pos x="13" y="1"/>
                  </a:cxn>
                  <a:cxn ang="0">
                    <a:pos x="14" y="1"/>
                  </a:cxn>
                  <a:cxn ang="0">
                    <a:pos x="14" y="1"/>
                  </a:cxn>
                  <a:cxn ang="0">
                    <a:pos x="13" y="1"/>
                  </a:cxn>
                </a:cxnLst>
                <a:rect l="0" t="0" r="r" b="b"/>
                <a:pathLst>
                  <a:path w="14" h="6">
                    <a:moveTo>
                      <a:pt x="3" y="5"/>
                    </a:moveTo>
                    <a:cubicBezTo>
                      <a:pt x="2" y="5"/>
                      <a:pt x="2" y="5"/>
                      <a:pt x="1" y="5"/>
                    </a:cubicBezTo>
                    <a:cubicBezTo>
                      <a:pt x="1" y="5"/>
                      <a:pt x="1" y="5"/>
                      <a:pt x="0" y="5"/>
                    </a:cubicBezTo>
                    <a:cubicBezTo>
                      <a:pt x="0" y="6"/>
                      <a:pt x="0" y="5"/>
                      <a:pt x="0" y="5"/>
                    </a:cubicBezTo>
                    <a:cubicBezTo>
                      <a:pt x="0" y="5"/>
                      <a:pt x="0" y="4"/>
                      <a:pt x="0" y="4"/>
                    </a:cubicBezTo>
                    <a:cubicBezTo>
                      <a:pt x="0" y="4"/>
                      <a:pt x="0" y="4"/>
                      <a:pt x="0" y="4"/>
                    </a:cubicBezTo>
                    <a:cubicBezTo>
                      <a:pt x="0" y="5"/>
                      <a:pt x="0" y="5"/>
                      <a:pt x="1" y="5"/>
                    </a:cubicBezTo>
                    <a:cubicBezTo>
                      <a:pt x="1" y="5"/>
                      <a:pt x="1" y="4"/>
                      <a:pt x="2" y="5"/>
                    </a:cubicBezTo>
                    <a:cubicBezTo>
                      <a:pt x="2" y="5"/>
                      <a:pt x="3" y="4"/>
                      <a:pt x="3" y="5"/>
                    </a:cubicBezTo>
                    <a:close/>
                    <a:moveTo>
                      <a:pt x="13" y="1"/>
                    </a:moveTo>
                    <a:cubicBezTo>
                      <a:pt x="13" y="1"/>
                      <a:pt x="13" y="1"/>
                      <a:pt x="14" y="1"/>
                    </a:cubicBezTo>
                    <a:cubicBezTo>
                      <a:pt x="14" y="1"/>
                      <a:pt x="14" y="1"/>
                      <a:pt x="14" y="1"/>
                    </a:cubicBezTo>
                    <a:cubicBezTo>
                      <a:pt x="14" y="0"/>
                      <a:pt x="13" y="1"/>
                      <a:pt x="13"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59" name="Canada">
                <a:extLst>
                  <a:ext uri="{FF2B5EF4-FFF2-40B4-BE49-F238E27FC236}">
                    <a16:creationId xmlns:a16="http://schemas.microsoft.com/office/drawing/2014/main" id="{2E9852F3-8530-FCAA-972D-6D59C5F8F73F}"/>
                  </a:ext>
                </a:extLst>
              </p:cNvPr>
              <p:cNvSpPr>
                <a:spLocks noEditPoints="1"/>
              </p:cNvSpPr>
              <p:nvPr/>
            </p:nvSpPr>
            <p:spPr bwMode="auto">
              <a:xfrm>
                <a:off x="1883846" y="1016621"/>
                <a:ext cx="2698392" cy="1396734"/>
              </a:xfrm>
              <a:custGeom>
                <a:avLst/>
                <a:gdLst/>
                <a:ahLst/>
                <a:cxnLst>
                  <a:cxn ang="0">
                    <a:pos x="593" y="26"/>
                  </a:cxn>
                  <a:cxn ang="0">
                    <a:pos x="482" y="38"/>
                  </a:cxn>
                  <a:cxn ang="0">
                    <a:pos x="713" y="15"/>
                  </a:cxn>
                  <a:cxn ang="0">
                    <a:pos x="610" y="45"/>
                  </a:cxn>
                  <a:cxn ang="0">
                    <a:pos x="581" y="38"/>
                  </a:cxn>
                  <a:cxn ang="0">
                    <a:pos x="620" y="16"/>
                  </a:cxn>
                  <a:cxn ang="0">
                    <a:pos x="676" y="3"/>
                  </a:cxn>
                  <a:cxn ang="0">
                    <a:pos x="368" y="42"/>
                  </a:cxn>
                  <a:cxn ang="0">
                    <a:pos x="466" y="54"/>
                  </a:cxn>
                  <a:cxn ang="0">
                    <a:pos x="582" y="64"/>
                  </a:cxn>
                  <a:cxn ang="0">
                    <a:pos x="369" y="55"/>
                  </a:cxn>
                  <a:cxn ang="0">
                    <a:pos x="404" y="56"/>
                  </a:cxn>
                  <a:cxn ang="0">
                    <a:pos x="509" y="317"/>
                  </a:cxn>
                  <a:cxn ang="0">
                    <a:pos x="554" y="357"/>
                  </a:cxn>
                  <a:cxn ang="0">
                    <a:pos x="512" y="357"/>
                  </a:cxn>
                  <a:cxn ang="0">
                    <a:pos x="380" y="358"/>
                  </a:cxn>
                  <a:cxn ang="0">
                    <a:pos x="303" y="324"/>
                  </a:cxn>
                  <a:cxn ang="0">
                    <a:pos x="24" y="293"/>
                  </a:cxn>
                  <a:cxn ang="0">
                    <a:pos x="46" y="250"/>
                  </a:cxn>
                  <a:cxn ang="0">
                    <a:pos x="162" y="111"/>
                  </a:cxn>
                  <a:cxn ang="0">
                    <a:pos x="184" y="112"/>
                  </a:cxn>
                  <a:cxn ang="0">
                    <a:pos x="307" y="127"/>
                  </a:cxn>
                  <a:cxn ang="0">
                    <a:pos x="378" y="127"/>
                  </a:cxn>
                  <a:cxn ang="0">
                    <a:pos x="436" y="116"/>
                  </a:cxn>
                  <a:cxn ang="0">
                    <a:pos x="463" y="99"/>
                  </a:cxn>
                  <a:cxn ang="0">
                    <a:pos x="504" y="115"/>
                  </a:cxn>
                  <a:cxn ang="0">
                    <a:pos x="453" y="150"/>
                  </a:cxn>
                  <a:cxn ang="0">
                    <a:pos x="392" y="181"/>
                  </a:cxn>
                  <a:cxn ang="0">
                    <a:pos x="425" y="299"/>
                  </a:cxn>
                  <a:cxn ang="0">
                    <a:pos x="495" y="195"/>
                  </a:cxn>
                  <a:cxn ang="0">
                    <a:pos x="557" y="214"/>
                  </a:cxn>
                  <a:cxn ang="0">
                    <a:pos x="600" y="215"/>
                  </a:cxn>
                  <a:cxn ang="0">
                    <a:pos x="608" y="252"/>
                  </a:cxn>
                  <a:cxn ang="0">
                    <a:pos x="629" y="275"/>
                  </a:cxn>
                  <a:cxn ang="0">
                    <a:pos x="247" y="140"/>
                  </a:cxn>
                  <a:cxn ang="0">
                    <a:pos x="224" y="185"/>
                  </a:cxn>
                  <a:cxn ang="0">
                    <a:pos x="276" y="300"/>
                  </a:cxn>
                  <a:cxn ang="0">
                    <a:pos x="434" y="91"/>
                  </a:cxn>
                  <a:cxn ang="0">
                    <a:pos x="498" y="61"/>
                  </a:cxn>
                  <a:cxn ang="0">
                    <a:pos x="368" y="89"/>
                  </a:cxn>
                  <a:cxn ang="0">
                    <a:pos x="304" y="104"/>
                  </a:cxn>
                  <a:cxn ang="0">
                    <a:pos x="422" y="119"/>
                  </a:cxn>
                  <a:cxn ang="0">
                    <a:pos x="645" y="146"/>
                  </a:cxn>
                  <a:cxn ang="0">
                    <a:pos x="604" y="145"/>
                  </a:cxn>
                  <a:cxn ang="0">
                    <a:pos x="610" y="174"/>
                  </a:cxn>
                  <a:cxn ang="0">
                    <a:pos x="563" y="172"/>
                  </a:cxn>
                  <a:cxn ang="0">
                    <a:pos x="530" y="152"/>
                  </a:cxn>
                  <a:cxn ang="0">
                    <a:pos x="575" y="117"/>
                  </a:cxn>
                  <a:cxn ang="0">
                    <a:pos x="488" y="101"/>
                  </a:cxn>
                  <a:cxn ang="0">
                    <a:pos x="540" y="77"/>
                  </a:cxn>
                  <a:cxn ang="0">
                    <a:pos x="598" y="93"/>
                  </a:cxn>
                  <a:cxn ang="0">
                    <a:pos x="618" y="113"/>
                  </a:cxn>
                  <a:cxn ang="0">
                    <a:pos x="647" y="135"/>
                  </a:cxn>
                  <a:cxn ang="0">
                    <a:pos x="487" y="167"/>
                  </a:cxn>
                  <a:cxn ang="0">
                    <a:pos x="316" y="70"/>
                  </a:cxn>
                  <a:cxn ang="0">
                    <a:pos x="451" y="242"/>
                  </a:cxn>
                  <a:cxn ang="0">
                    <a:pos x="633" y="313"/>
                  </a:cxn>
                  <a:cxn ang="0">
                    <a:pos x="598" y="316"/>
                  </a:cxn>
                  <a:cxn ang="0">
                    <a:pos x="632" y="341"/>
                  </a:cxn>
                  <a:cxn ang="0">
                    <a:pos x="558" y="335"/>
                  </a:cxn>
                  <a:cxn ang="0">
                    <a:pos x="569" y="350"/>
                  </a:cxn>
                  <a:cxn ang="0">
                    <a:pos x="29" y="277"/>
                  </a:cxn>
                  <a:cxn ang="0">
                    <a:pos x="18" y="308"/>
                  </a:cxn>
                </a:cxnLst>
                <a:rect l="0" t="0" r="r" b="b"/>
                <a:pathLst>
                  <a:path w="762" h="394">
                    <a:moveTo>
                      <a:pt x="402" y="39"/>
                    </a:moveTo>
                    <a:cubicBezTo>
                      <a:pt x="401" y="39"/>
                      <a:pt x="404" y="38"/>
                      <a:pt x="404" y="38"/>
                    </a:cubicBezTo>
                    <a:cubicBezTo>
                      <a:pt x="404" y="38"/>
                      <a:pt x="405" y="38"/>
                      <a:pt x="405" y="38"/>
                    </a:cubicBezTo>
                    <a:cubicBezTo>
                      <a:pt x="406" y="38"/>
                      <a:pt x="408" y="38"/>
                      <a:pt x="409" y="37"/>
                    </a:cubicBezTo>
                    <a:cubicBezTo>
                      <a:pt x="410" y="37"/>
                      <a:pt x="411" y="37"/>
                      <a:pt x="412" y="37"/>
                    </a:cubicBezTo>
                    <a:cubicBezTo>
                      <a:pt x="413" y="37"/>
                      <a:pt x="414" y="37"/>
                      <a:pt x="415" y="37"/>
                    </a:cubicBezTo>
                    <a:cubicBezTo>
                      <a:pt x="415" y="37"/>
                      <a:pt x="417" y="37"/>
                      <a:pt x="417" y="37"/>
                    </a:cubicBezTo>
                    <a:cubicBezTo>
                      <a:pt x="418" y="37"/>
                      <a:pt x="419" y="36"/>
                      <a:pt x="420" y="37"/>
                    </a:cubicBezTo>
                    <a:cubicBezTo>
                      <a:pt x="420" y="37"/>
                      <a:pt x="421" y="37"/>
                      <a:pt x="421" y="37"/>
                    </a:cubicBezTo>
                    <a:cubicBezTo>
                      <a:pt x="421" y="37"/>
                      <a:pt x="422" y="36"/>
                      <a:pt x="422" y="36"/>
                    </a:cubicBezTo>
                    <a:cubicBezTo>
                      <a:pt x="423" y="36"/>
                      <a:pt x="424" y="36"/>
                      <a:pt x="425" y="36"/>
                    </a:cubicBezTo>
                    <a:cubicBezTo>
                      <a:pt x="426" y="36"/>
                      <a:pt x="427" y="36"/>
                      <a:pt x="428" y="37"/>
                    </a:cubicBezTo>
                    <a:cubicBezTo>
                      <a:pt x="429" y="37"/>
                      <a:pt x="428" y="37"/>
                      <a:pt x="427" y="37"/>
                    </a:cubicBezTo>
                    <a:cubicBezTo>
                      <a:pt x="425" y="38"/>
                      <a:pt x="423" y="38"/>
                      <a:pt x="421" y="38"/>
                    </a:cubicBezTo>
                    <a:cubicBezTo>
                      <a:pt x="420" y="38"/>
                      <a:pt x="419" y="38"/>
                      <a:pt x="418" y="38"/>
                    </a:cubicBezTo>
                    <a:cubicBezTo>
                      <a:pt x="418" y="38"/>
                      <a:pt x="417" y="39"/>
                      <a:pt x="418" y="39"/>
                    </a:cubicBezTo>
                    <a:cubicBezTo>
                      <a:pt x="418" y="39"/>
                      <a:pt x="419" y="39"/>
                      <a:pt x="420" y="39"/>
                    </a:cubicBezTo>
                    <a:cubicBezTo>
                      <a:pt x="420" y="39"/>
                      <a:pt x="421" y="39"/>
                      <a:pt x="422" y="39"/>
                    </a:cubicBezTo>
                    <a:cubicBezTo>
                      <a:pt x="422" y="39"/>
                      <a:pt x="420" y="40"/>
                      <a:pt x="420" y="40"/>
                    </a:cubicBezTo>
                    <a:cubicBezTo>
                      <a:pt x="420" y="40"/>
                      <a:pt x="420" y="40"/>
                      <a:pt x="419" y="41"/>
                    </a:cubicBezTo>
                    <a:cubicBezTo>
                      <a:pt x="419" y="41"/>
                      <a:pt x="419" y="41"/>
                      <a:pt x="419" y="41"/>
                    </a:cubicBezTo>
                    <a:cubicBezTo>
                      <a:pt x="418" y="41"/>
                      <a:pt x="417" y="41"/>
                      <a:pt x="417" y="41"/>
                    </a:cubicBezTo>
                    <a:cubicBezTo>
                      <a:pt x="414" y="42"/>
                      <a:pt x="412" y="42"/>
                      <a:pt x="410" y="42"/>
                    </a:cubicBezTo>
                    <a:cubicBezTo>
                      <a:pt x="408" y="42"/>
                      <a:pt x="406" y="43"/>
                      <a:pt x="404" y="43"/>
                    </a:cubicBezTo>
                    <a:cubicBezTo>
                      <a:pt x="403" y="43"/>
                      <a:pt x="401" y="43"/>
                      <a:pt x="402" y="42"/>
                    </a:cubicBezTo>
                    <a:cubicBezTo>
                      <a:pt x="401" y="41"/>
                      <a:pt x="401" y="42"/>
                      <a:pt x="400" y="42"/>
                    </a:cubicBezTo>
                    <a:cubicBezTo>
                      <a:pt x="400" y="41"/>
                      <a:pt x="400" y="41"/>
                      <a:pt x="400" y="41"/>
                    </a:cubicBezTo>
                    <a:cubicBezTo>
                      <a:pt x="400" y="41"/>
                      <a:pt x="400" y="41"/>
                      <a:pt x="399" y="41"/>
                    </a:cubicBezTo>
                    <a:cubicBezTo>
                      <a:pt x="400" y="41"/>
                      <a:pt x="400" y="41"/>
                      <a:pt x="400" y="40"/>
                    </a:cubicBezTo>
                    <a:cubicBezTo>
                      <a:pt x="401" y="40"/>
                      <a:pt x="401" y="40"/>
                      <a:pt x="401" y="40"/>
                    </a:cubicBezTo>
                    <a:cubicBezTo>
                      <a:pt x="401" y="40"/>
                      <a:pt x="401" y="39"/>
                      <a:pt x="402" y="39"/>
                    </a:cubicBezTo>
                    <a:close/>
                    <a:moveTo>
                      <a:pt x="411" y="35"/>
                    </a:moveTo>
                    <a:cubicBezTo>
                      <a:pt x="412" y="35"/>
                      <a:pt x="414" y="34"/>
                      <a:pt x="416" y="34"/>
                    </a:cubicBezTo>
                    <a:cubicBezTo>
                      <a:pt x="416" y="34"/>
                      <a:pt x="417" y="34"/>
                      <a:pt x="417" y="35"/>
                    </a:cubicBezTo>
                    <a:cubicBezTo>
                      <a:pt x="417" y="35"/>
                      <a:pt x="419" y="35"/>
                      <a:pt x="419" y="35"/>
                    </a:cubicBezTo>
                    <a:cubicBezTo>
                      <a:pt x="419" y="35"/>
                      <a:pt x="421" y="35"/>
                      <a:pt x="421" y="35"/>
                    </a:cubicBezTo>
                    <a:cubicBezTo>
                      <a:pt x="422" y="34"/>
                      <a:pt x="423" y="34"/>
                      <a:pt x="424" y="35"/>
                    </a:cubicBezTo>
                    <a:cubicBezTo>
                      <a:pt x="424" y="35"/>
                      <a:pt x="425" y="35"/>
                      <a:pt x="425" y="35"/>
                    </a:cubicBezTo>
                    <a:cubicBezTo>
                      <a:pt x="426" y="35"/>
                      <a:pt x="426" y="35"/>
                      <a:pt x="427" y="35"/>
                    </a:cubicBezTo>
                    <a:cubicBezTo>
                      <a:pt x="428" y="35"/>
                      <a:pt x="429" y="35"/>
                      <a:pt x="430" y="35"/>
                    </a:cubicBezTo>
                    <a:cubicBezTo>
                      <a:pt x="431" y="35"/>
                      <a:pt x="432" y="35"/>
                      <a:pt x="433" y="34"/>
                    </a:cubicBezTo>
                    <a:cubicBezTo>
                      <a:pt x="434" y="34"/>
                      <a:pt x="434" y="34"/>
                      <a:pt x="435" y="34"/>
                    </a:cubicBezTo>
                    <a:cubicBezTo>
                      <a:pt x="435" y="34"/>
                      <a:pt x="436" y="33"/>
                      <a:pt x="435" y="33"/>
                    </a:cubicBezTo>
                    <a:cubicBezTo>
                      <a:pt x="437" y="33"/>
                      <a:pt x="433" y="32"/>
                      <a:pt x="434" y="32"/>
                    </a:cubicBezTo>
                    <a:cubicBezTo>
                      <a:pt x="433" y="32"/>
                      <a:pt x="432" y="31"/>
                      <a:pt x="431" y="31"/>
                    </a:cubicBezTo>
                    <a:cubicBezTo>
                      <a:pt x="430" y="31"/>
                      <a:pt x="429" y="31"/>
                      <a:pt x="428" y="31"/>
                    </a:cubicBezTo>
                    <a:cubicBezTo>
                      <a:pt x="427" y="32"/>
                      <a:pt x="426" y="32"/>
                      <a:pt x="425" y="32"/>
                    </a:cubicBezTo>
                    <a:cubicBezTo>
                      <a:pt x="424" y="32"/>
                      <a:pt x="424" y="32"/>
                      <a:pt x="424" y="33"/>
                    </a:cubicBezTo>
                    <a:cubicBezTo>
                      <a:pt x="421" y="33"/>
                      <a:pt x="417" y="33"/>
                      <a:pt x="414" y="33"/>
                    </a:cubicBezTo>
                    <a:cubicBezTo>
                      <a:pt x="413" y="34"/>
                      <a:pt x="411" y="34"/>
                      <a:pt x="409" y="34"/>
                    </a:cubicBezTo>
                    <a:cubicBezTo>
                      <a:pt x="407" y="35"/>
                      <a:pt x="410" y="35"/>
                      <a:pt x="411" y="35"/>
                    </a:cubicBezTo>
                    <a:close/>
                    <a:moveTo>
                      <a:pt x="529" y="23"/>
                    </a:moveTo>
                    <a:cubicBezTo>
                      <a:pt x="530" y="23"/>
                      <a:pt x="531" y="23"/>
                      <a:pt x="530" y="24"/>
                    </a:cubicBezTo>
                    <a:cubicBezTo>
                      <a:pt x="530" y="24"/>
                      <a:pt x="531" y="24"/>
                      <a:pt x="531" y="24"/>
                    </a:cubicBezTo>
                    <a:cubicBezTo>
                      <a:pt x="531" y="25"/>
                      <a:pt x="532" y="24"/>
                      <a:pt x="533" y="24"/>
                    </a:cubicBezTo>
                    <a:cubicBezTo>
                      <a:pt x="534" y="24"/>
                      <a:pt x="535" y="24"/>
                      <a:pt x="536" y="24"/>
                    </a:cubicBezTo>
                    <a:cubicBezTo>
                      <a:pt x="537" y="24"/>
                      <a:pt x="538" y="24"/>
                      <a:pt x="539" y="24"/>
                    </a:cubicBezTo>
                    <a:cubicBezTo>
                      <a:pt x="540" y="24"/>
                      <a:pt x="542" y="23"/>
                      <a:pt x="542" y="23"/>
                    </a:cubicBezTo>
                    <a:cubicBezTo>
                      <a:pt x="542" y="24"/>
                      <a:pt x="540" y="24"/>
                      <a:pt x="540" y="24"/>
                    </a:cubicBezTo>
                    <a:cubicBezTo>
                      <a:pt x="539" y="25"/>
                      <a:pt x="538" y="25"/>
                      <a:pt x="536" y="25"/>
                    </a:cubicBezTo>
                    <a:cubicBezTo>
                      <a:pt x="534" y="25"/>
                      <a:pt x="532" y="25"/>
                      <a:pt x="530" y="26"/>
                    </a:cubicBezTo>
                    <a:cubicBezTo>
                      <a:pt x="530" y="26"/>
                      <a:pt x="529" y="26"/>
                      <a:pt x="529" y="26"/>
                    </a:cubicBezTo>
                    <a:cubicBezTo>
                      <a:pt x="530" y="26"/>
                      <a:pt x="530" y="26"/>
                      <a:pt x="531" y="26"/>
                    </a:cubicBezTo>
                    <a:cubicBezTo>
                      <a:pt x="531" y="26"/>
                      <a:pt x="532" y="26"/>
                      <a:pt x="532" y="26"/>
                    </a:cubicBezTo>
                    <a:cubicBezTo>
                      <a:pt x="532" y="26"/>
                      <a:pt x="532" y="26"/>
                      <a:pt x="532" y="27"/>
                    </a:cubicBezTo>
                    <a:cubicBezTo>
                      <a:pt x="532" y="27"/>
                      <a:pt x="532" y="27"/>
                      <a:pt x="532" y="27"/>
                    </a:cubicBezTo>
                    <a:cubicBezTo>
                      <a:pt x="532" y="27"/>
                      <a:pt x="531" y="27"/>
                      <a:pt x="531" y="27"/>
                    </a:cubicBezTo>
                    <a:cubicBezTo>
                      <a:pt x="532" y="27"/>
                      <a:pt x="532" y="27"/>
                      <a:pt x="531" y="27"/>
                    </a:cubicBezTo>
                    <a:cubicBezTo>
                      <a:pt x="532" y="27"/>
                      <a:pt x="533" y="27"/>
                      <a:pt x="534" y="27"/>
                    </a:cubicBezTo>
                    <a:cubicBezTo>
                      <a:pt x="535" y="27"/>
                      <a:pt x="536" y="27"/>
                      <a:pt x="537" y="26"/>
                    </a:cubicBezTo>
                    <a:cubicBezTo>
                      <a:pt x="537" y="26"/>
                      <a:pt x="537" y="26"/>
                      <a:pt x="537" y="26"/>
                    </a:cubicBezTo>
                    <a:cubicBezTo>
                      <a:pt x="537" y="26"/>
                      <a:pt x="538" y="26"/>
                      <a:pt x="538" y="26"/>
                    </a:cubicBezTo>
                    <a:cubicBezTo>
                      <a:pt x="539" y="26"/>
                      <a:pt x="540" y="26"/>
                      <a:pt x="541" y="26"/>
                    </a:cubicBezTo>
                    <a:cubicBezTo>
                      <a:pt x="539" y="27"/>
                      <a:pt x="538" y="27"/>
                      <a:pt x="537" y="27"/>
                    </a:cubicBezTo>
                    <a:cubicBezTo>
                      <a:pt x="539" y="27"/>
                      <a:pt x="540" y="27"/>
                      <a:pt x="541" y="27"/>
                    </a:cubicBezTo>
                    <a:cubicBezTo>
                      <a:pt x="542" y="26"/>
                      <a:pt x="543" y="27"/>
                      <a:pt x="543" y="26"/>
                    </a:cubicBezTo>
                    <a:cubicBezTo>
                      <a:pt x="543" y="26"/>
                      <a:pt x="545" y="26"/>
                      <a:pt x="545" y="26"/>
                    </a:cubicBezTo>
                    <a:cubicBezTo>
                      <a:pt x="545" y="26"/>
                      <a:pt x="543" y="27"/>
                      <a:pt x="543" y="27"/>
                    </a:cubicBezTo>
                    <a:cubicBezTo>
                      <a:pt x="544" y="27"/>
                      <a:pt x="545" y="27"/>
                      <a:pt x="546" y="26"/>
                    </a:cubicBezTo>
                    <a:cubicBezTo>
                      <a:pt x="546" y="26"/>
                      <a:pt x="546" y="26"/>
                      <a:pt x="546" y="26"/>
                    </a:cubicBezTo>
                    <a:cubicBezTo>
                      <a:pt x="547" y="26"/>
                      <a:pt x="546" y="26"/>
                      <a:pt x="546" y="26"/>
                    </a:cubicBezTo>
                    <a:cubicBezTo>
                      <a:pt x="548" y="27"/>
                      <a:pt x="550" y="25"/>
                      <a:pt x="551" y="26"/>
                    </a:cubicBezTo>
                    <a:cubicBezTo>
                      <a:pt x="550" y="26"/>
                      <a:pt x="549" y="26"/>
                      <a:pt x="548" y="26"/>
                    </a:cubicBezTo>
                    <a:cubicBezTo>
                      <a:pt x="550" y="27"/>
                      <a:pt x="551" y="27"/>
                      <a:pt x="553" y="27"/>
                    </a:cubicBezTo>
                    <a:cubicBezTo>
                      <a:pt x="554" y="27"/>
                      <a:pt x="556" y="26"/>
                      <a:pt x="557" y="26"/>
                    </a:cubicBezTo>
                    <a:cubicBezTo>
                      <a:pt x="556" y="27"/>
                      <a:pt x="555" y="27"/>
                      <a:pt x="554" y="27"/>
                    </a:cubicBezTo>
                    <a:cubicBezTo>
                      <a:pt x="553" y="27"/>
                      <a:pt x="552" y="27"/>
                      <a:pt x="551" y="27"/>
                    </a:cubicBezTo>
                    <a:cubicBezTo>
                      <a:pt x="550" y="27"/>
                      <a:pt x="550" y="27"/>
                      <a:pt x="549" y="27"/>
                    </a:cubicBezTo>
                    <a:cubicBezTo>
                      <a:pt x="548" y="27"/>
                      <a:pt x="547" y="27"/>
                      <a:pt x="546" y="27"/>
                    </a:cubicBezTo>
                    <a:cubicBezTo>
                      <a:pt x="549" y="28"/>
                      <a:pt x="551" y="28"/>
                      <a:pt x="554" y="28"/>
                    </a:cubicBezTo>
                    <a:cubicBezTo>
                      <a:pt x="555" y="27"/>
                      <a:pt x="556" y="27"/>
                      <a:pt x="558" y="27"/>
                    </a:cubicBezTo>
                    <a:cubicBezTo>
                      <a:pt x="558" y="27"/>
                      <a:pt x="559" y="27"/>
                      <a:pt x="560" y="27"/>
                    </a:cubicBezTo>
                    <a:cubicBezTo>
                      <a:pt x="559" y="28"/>
                      <a:pt x="557" y="28"/>
                      <a:pt x="556" y="28"/>
                    </a:cubicBezTo>
                    <a:cubicBezTo>
                      <a:pt x="554" y="28"/>
                      <a:pt x="553" y="28"/>
                      <a:pt x="551" y="28"/>
                    </a:cubicBezTo>
                    <a:cubicBezTo>
                      <a:pt x="549" y="28"/>
                      <a:pt x="548" y="28"/>
                      <a:pt x="546" y="28"/>
                    </a:cubicBezTo>
                    <a:cubicBezTo>
                      <a:pt x="545" y="28"/>
                      <a:pt x="545" y="28"/>
                      <a:pt x="544" y="28"/>
                    </a:cubicBezTo>
                    <a:cubicBezTo>
                      <a:pt x="543" y="28"/>
                      <a:pt x="542" y="28"/>
                      <a:pt x="541" y="28"/>
                    </a:cubicBezTo>
                    <a:cubicBezTo>
                      <a:pt x="540" y="28"/>
                      <a:pt x="539" y="29"/>
                      <a:pt x="537" y="29"/>
                    </a:cubicBezTo>
                    <a:cubicBezTo>
                      <a:pt x="536" y="29"/>
                      <a:pt x="535" y="29"/>
                      <a:pt x="534" y="29"/>
                    </a:cubicBezTo>
                    <a:cubicBezTo>
                      <a:pt x="533" y="30"/>
                      <a:pt x="534" y="30"/>
                      <a:pt x="534" y="30"/>
                    </a:cubicBezTo>
                    <a:cubicBezTo>
                      <a:pt x="534" y="30"/>
                      <a:pt x="534" y="31"/>
                      <a:pt x="535" y="31"/>
                    </a:cubicBezTo>
                    <a:cubicBezTo>
                      <a:pt x="536" y="31"/>
                      <a:pt x="538" y="31"/>
                      <a:pt x="539" y="31"/>
                    </a:cubicBezTo>
                    <a:cubicBezTo>
                      <a:pt x="538" y="32"/>
                      <a:pt x="537" y="31"/>
                      <a:pt x="537" y="31"/>
                    </a:cubicBezTo>
                    <a:cubicBezTo>
                      <a:pt x="536" y="31"/>
                      <a:pt x="535" y="31"/>
                      <a:pt x="534" y="31"/>
                    </a:cubicBezTo>
                    <a:cubicBezTo>
                      <a:pt x="534" y="32"/>
                      <a:pt x="536" y="32"/>
                      <a:pt x="536" y="32"/>
                    </a:cubicBezTo>
                    <a:cubicBezTo>
                      <a:pt x="536" y="32"/>
                      <a:pt x="535" y="32"/>
                      <a:pt x="535" y="32"/>
                    </a:cubicBezTo>
                    <a:cubicBezTo>
                      <a:pt x="535" y="33"/>
                      <a:pt x="536" y="33"/>
                      <a:pt x="536" y="33"/>
                    </a:cubicBezTo>
                    <a:cubicBezTo>
                      <a:pt x="537" y="32"/>
                      <a:pt x="538" y="32"/>
                      <a:pt x="539" y="32"/>
                    </a:cubicBezTo>
                    <a:cubicBezTo>
                      <a:pt x="540" y="32"/>
                      <a:pt x="541" y="33"/>
                      <a:pt x="542" y="33"/>
                    </a:cubicBezTo>
                    <a:cubicBezTo>
                      <a:pt x="543" y="33"/>
                      <a:pt x="544" y="33"/>
                      <a:pt x="545" y="33"/>
                    </a:cubicBezTo>
                    <a:cubicBezTo>
                      <a:pt x="545" y="33"/>
                      <a:pt x="545" y="33"/>
                      <a:pt x="544" y="33"/>
                    </a:cubicBezTo>
                    <a:cubicBezTo>
                      <a:pt x="544" y="33"/>
                      <a:pt x="543" y="33"/>
                      <a:pt x="543" y="33"/>
                    </a:cubicBezTo>
                    <a:cubicBezTo>
                      <a:pt x="542" y="33"/>
                      <a:pt x="541" y="33"/>
                      <a:pt x="539" y="33"/>
                    </a:cubicBezTo>
                    <a:cubicBezTo>
                      <a:pt x="540" y="33"/>
                      <a:pt x="538" y="33"/>
                      <a:pt x="538" y="33"/>
                    </a:cubicBezTo>
                    <a:cubicBezTo>
                      <a:pt x="538" y="33"/>
                      <a:pt x="537" y="33"/>
                      <a:pt x="537" y="33"/>
                    </a:cubicBezTo>
                    <a:cubicBezTo>
                      <a:pt x="535" y="34"/>
                      <a:pt x="537" y="34"/>
                      <a:pt x="537" y="34"/>
                    </a:cubicBezTo>
                    <a:cubicBezTo>
                      <a:pt x="537" y="35"/>
                      <a:pt x="539" y="35"/>
                      <a:pt x="540" y="35"/>
                    </a:cubicBezTo>
                    <a:cubicBezTo>
                      <a:pt x="539" y="35"/>
                      <a:pt x="539" y="35"/>
                      <a:pt x="538" y="35"/>
                    </a:cubicBezTo>
                    <a:cubicBezTo>
                      <a:pt x="539" y="35"/>
                      <a:pt x="539" y="35"/>
                      <a:pt x="539" y="35"/>
                    </a:cubicBezTo>
                    <a:cubicBezTo>
                      <a:pt x="539" y="36"/>
                      <a:pt x="540" y="35"/>
                      <a:pt x="541" y="35"/>
                    </a:cubicBezTo>
                    <a:cubicBezTo>
                      <a:pt x="541" y="35"/>
                      <a:pt x="542" y="36"/>
                      <a:pt x="542" y="36"/>
                    </a:cubicBezTo>
                    <a:cubicBezTo>
                      <a:pt x="543" y="36"/>
                      <a:pt x="543" y="36"/>
                      <a:pt x="544" y="36"/>
                    </a:cubicBezTo>
                    <a:cubicBezTo>
                      <a:pt x="545" y="36"/>
                      <a:pt x="546" y="36"/>
                      <a:pt x="547" y="36"/>
                    </a:cubicBezTo>
                    <a:cubicBezTo>
                      <a:pt x="548" y="36"/>
                      <a:pt x="548" y="36"/>
                      <a:pt x="548" y="36"/>
                    </a:cubicBezTo>
                    <a:cubicBezTo>
                      <a:pt x="549" y="36"/>
                      <a:pt x="549" y="36"/>
                      <a:pt x="550" y="36"/>
                    </a:cubicBezTo>
                    <a:cubicBezTo>
                      <a:pt x="550" y="36"/>
                      <a:pt x="550" y="36"/>
                      <a:pt x="550" y="35"/>
                    </a:cubicBezTo>
                    <a:cubicBezTo>
                      <a:pt x="550" y="35"/>
                      <a:pt x="550" y="35"/>
                      <a:pt x="551" y="35"/>
                    </a:cubicBezTo>
                    <a:cubicBezTo>
                      <a:pt x="550" y="35"/>
                      <a:pt x="549" y="35"/>
                      <a:pt x="549" y="35"/>
                    </a:cubicBezTo>
                    <a:cubicBezTo>
                      <a:pt x="549" y="34"/>
                      <a:pt x="550" y="35"/>
                      <a:pt x="551" y="35"/>
                    </a:cubicBezTo>
                    <a:cubicBezTo>
                      <a:pt x="551" y="35"/>
                      <a:pt x="553" y="34"/>
                      <a:pt x="553" y="35"/>
                    </a:cubicBezTo>
                    <a:cubicBezTo>
                      <a:pt x="553" y="35"/>
                      <a:pt x="552" y="35"/>
                      <a:pt x="553" y="36"/>
                    </a:cubicBezTo>
                    <a:cubicBezTo>
                      <a:pt x="553" y="36"/>
                      <a:pt x="554" y="35"/>
                      <a:pt x="554" y="36"/>
                    </a:cubicBezTo>
                    <a:cubicBezTo>
                      <a:pt x="554" y="36"/>
                      <a:pt x="554" y="36"/>
                      <a:pt x="555" y="36"/>
                    </a:cubicBezTo>
                    <a:cubicBezTo>
                      <a:pt x="555" y="36"/>
                      <a:pt x="555" y="36"/>
                      <a:pt x="555" y="35"/>
                    </a:cubicBezTo>
                    <a:cubicBezTo>
                      <a:pt x="555" y="34"/>
                      <a:pt x="555" y="34"/>
                      <a:pt x="554" y="34"/>
                    </a:cubicBezTo>
                    <a:cubicBezTo>
                      <a:pt x="555" y="33"/>
                      <a:pt x="555" y="33"/>
                      <a:pt x="555" y="33"/>
                    </a:cubicBezTo>
                    <a:cubicBezTo>
                      <a:pt x="556" y="32"/>
                      <a:pt x="557" y="32"/>
                      <a:pt x="556" y="33"/>
                    </a:cubicBezTo>
                    <a:cubicBezTo>
                      <a:pt x="556" y="34"/>
                      <a:pt x="557" y="34"/>
                      <a:pt x="557" y="35"/>
                    </a:cubicBezTo>
                    <a:cubicBezTo>
                      <a:pt x="557" y="36"/>
                      <a:pt x="558" y="36"/>
                      <a:pt x="559" y="36"/>
                    </a:cubicBezTo>
                    <a:cubicBezTo>
                      <a:pt x="560" y="36"/>
                      <a:pt x="561" y="35"/>
                      <a:pt x="561" y="35"/>
                    </a:cubicBezTo>
                    <a:cubicBezTo>
                      <a:pt x="562" y="35"/>
                      <a:pt x="562" y="35"/>
                      <a:pt x="563" y="34"/>
                    </a:cubicBezTo>
                    <a:cubicBezTo>
                      <a:pt x="564" y="34"/>
                      <a:pt x="563" y="33"/>
                      <a:pt x="564" y="32"/>
                    </a:cubicBezTo>
                    <a:cubicBezTo>
                      <a:pt x="565" y="32"/>
                      <a:pt x="565" y="33"/>
                      <a:pt x="566" y="34"/>
                    </a:cubicBezTo>
                    <a:cubicBezTo>
                      <a:pt x="566" y="34"/>
                      <a:pt x="568" y="33"/>
                      <a:pt x="569" y="32"/>
                    </a:cubicBezTo>
                    <a:cubicBezTo>
                      <a:pt x="569" y="32"/>
                      <a:pt x="567" y="32"/>
                      <a:pt x="567" y="32"/>
                    </a:cubicBezTo>
                    <a:cubicBezTo>
                      <a:pt x="568" y="32"/>
                      <a:pt x="568" y="32"/>
                      <a:pt x="569" y="31"/>
                    </a:cubicBezTo>
                    <a:cubicBezTo>
                      <a:pt x="569" y="31"/>
                      <a:pt x="570" y="30"/>
                      <a:pt x="570" y="30"/>
                    </a:cubicBezTo>
                    <a:cubicBezTo>
                      <a:pt x="571" y="30"/>
                      <a:pt x="572" y="29"/>
                      <a:pt x="572" y="29"/>
                    </a:cubicBezTo>
                    <a:cubicBezTo>
                      <a:pt x="573" y="29"/>
                      <a:pt x="574" y="29"/>
                      <a:pt x="575" y="29"/>
                    </a:cubicBezTo>
                    <a:cubicBezTo>
                      <a:pt x="574" y="29"/>
                      <a:pt x="573" y="29"/>
                      <a:pt x="572" y="30"/>
                    </a:cubicBezTo>
                    <a:cubicBezTo>
                      <a:pt x="572" y="30"/>
                      <a:pt x="571" y="30"/>
                      <a:pt x="571" y="31"/>
                    </a:cubicBezTo>
                    <a:cubicBezTo>
                      <a:pt x="570" y="31"/>
                      <a:pt x="570" y="32"/>
                      <a:pt x="571" y="32"/>
                    </a:cubicBezTo>
                    <a:cubicBezTo>
                      <a:pt x="571" y="32"/>
                      <a:pt x="572" y="32"/>
                      <a:pt x="573" y="32"/>
                    </a:cubicBezTo>
                    <a:cubicBezTo>
                      <a:pt x="574" y="31"/>
                      <a:pt x="575" y="31"/>
                      <a:pt x="576" y="31"/>
                    </a:cubicBezTo>
                    <a:cubicBezTo>
                      <a:pt x="577" y="30"/>
                      <a:pt x="578" y="30"/>
                      <a:pt x="578" y="30"/>
                    </a:cubicBezTo>
                    <a:cubicBezTo>
                      <a:pt x="579" y="29"/>
                      <a:pt x="579" y="29"/>
                      <a:pt x="579" y="29"/>
                    </a:cubicBezTo>
                    <a:cubicBezTo>
                      <a:pt x="579" y="30"/>
                      <a:pt x="581" y="29"/>
                      <a:pt x="581" y="29"/>
                    </a:cubicBezTo>
                    <a:cubicBezTo>
                      <a:pt x="583" y="28"/>
                      <a:pt x="586" y="28"/>
                      <a:pt x="588" y="28"/>
                    </a:cubicBezTo>
                    <a:cubicBezTo>
                      <a:pt x="589" y="28"/>
                      <a:pt x="590" y="28"/>
                      <a:pt x="591" y="28"/>
                    </a:cubicBezTo>
                    <a:cubicBezTo>
                      <a:pt x="592" y="28"/>
                      <a:pt x="593" y="28"/>
                      <a:pt x="594" y="27"/>
                    </a:cubicBezTo>
                    <a:cubicBezTo>
                      <a:pt x="595" y="27"/>
                      <a:pt x="593" y="26"/>
                      <a:pt x="593" y="26"/>
                    </a:cubicBezTo>
                    <a:cubicBezTo>
                      <a:pt x="593" y="26"/>
                      <a:pt x="593" y="25"/>
                      <a:pt x="593" y="25"/>
                    </a:cubicBezTo>
                    <a:cubicBezTo>
                      <a:pt x="591" y="24"/>
                      <a:pt x="590" y="27"/>
                      <a:pt x="588" y="26"/>
                    </a:cubicBezTo>
                    <a:cubicBezTo>
                      <a:pt x="588" y="26"/>
                      <a:pt x="589" y="26"/>
                      <a:pt x="589" y="25"/>
                    </a:cubicBezTo>
                    <a:cubicBezTo>
                      <a:pt x="589" y="25"/>
                      <a:pt x="590" y="25"/>
                      <a:pt x="590" y="25"/>
                    </a:cubicBezTo>
                    <a:cubicBezTo>
                      <a:pt x="589" y="24"/>
                      <a:pt x="587" y="24"/>
                      <a:pt x="586" y="25"/>
                    </a:cubicBezTo>
                    <a:cubicBezTo>
                      <a:pt x="586" y="25"/>
                      <a:pt x="585" y="25"/>
                      <a:pt x="585" y="25"/>
                    </a:cubicBezTo>
                    <a:cubicBezTo>
                      <a:pt x="585" y="25"/>
                      <a:pt x="585" y="25"/>
                      <a:pt x="585" y="25"/>
                    </a:cubicBezTo>
                    <a:cubicBezTo>
                      <a:pt x="584" y="25"/>
                      <a:pt x="583" y="25"/>
                      <a:pt x="582" y="25"/>
                    </a:cubicBezTo>
                    <a:cubicBezTo>
                      <a:pt x="582" y="25"/>
                      <a:pt x="580" y="25"/>
                      <a:pt x="582" y="25"/>
                    </a:cubicBezTo>
                    <a:cubicBezTo>
                      <a:pt x="583" y="24"/>
                      <a:pt x="584" y="24"/>
                      <a:pt x="585" y="24"/>
                    </a:cubicBezTo>
                    <a:cubicBezTo>
                      <a:pt x="585" y="24"/>
                      <a:pt x="588" y="23"/>
                      <a:pt x="588" y="22"/>
                    </a:cubicBezTo>
                    <a:cubicBezTo>
                      <a:pt x="588" y="22"/>
                      <a:pt x="584" y="23"/>
                      <a:pt x="584" y="23"/>
                    </a:cubicBezTo>
                    <a:cubicBezTo>
                      <a:pt x="584" y="23"/>
                      <a:pt x="585" y="23"/>
                      <a:pt x="585" y="23"/>
                    </a:cubicBezTo>
                    <a:cubicBezTo>
                      <a:pt x="586" y="23"/>
                      <a:pt x="586" y="22"/>
                      <a:pt x="586" y="22"/>
                    </a:cubicBezTo>
                    <a:cubicBezTo>
                      <a:pt x="587" y="22"/>
                      <a:pt x="588" y="22"/>
                      <a:pt x="588" y="22"/>
                    </a:cubicBezTo>
                    <a:cubicBezTo>
                      <a:pt x="588" y="22"/>
                      <a:pt x="587" y="22"/>
                      <a:pt x="587" y="21"/>
                    </a:cubicBezTo>
                    <a:cubicBezTo>
                      <a:pt x="587" y="21"/>
                      <a:pt x="586" y="21"/>
                      <a:pt x="586" y="21"/>
                    </a:cubicBezTo>
                    <a:cubicBezTo>
                      <a:pt x="585" y="21"/>
                      <a:pt x="585" y="21"/>
                      <a:pt x="584" y="21"/>
                    </a:cubicBezTo>
                    <a:cubicBezTo>
                      <a:pt x="584" y="21"/>
                      <a:pt x="584" y="21"/>
                      <a:pt x="583" y="21"/>
                    </a:cubicBezTo>
                    <a:cubicBezTo>
                      <a:pt x="584" y="20"/>
                      <a:pt x="585" y="21"/>
                      <a:pt x="586" y="20"/>
                    </a:cubicBezTo>
                    <a:cubicBezTo>
                      <a:pt x="587" y="20"/>
                      <a:pt x="588" y="19"/>
                      <a:pt x="588" y="19"/>
                    </a:cubicBezTo>
                    <a:cubicBezTo>
                      <a:pt x="586" y="18"/>
                      <a:pt x="583" y="18"/>
                      <a:pt x="581" y="20"/>
                    </a:cubicBezTo>
                    <a:cubicBezTo>
                      <a:pt x="581" y="20"/>
                      <a:pt x="582" y="20"/>
                      <a:pt x="583" y="20"/>
                    </a:cubicBezTo>
                    <a:cubicBezTo>
                      <a:pt x="582" y="20"/>
                      <a:pt x="582" y="20"/>
                      <a:pt x="582" y="20"/>
                    </a:cubicBezTo>
                    <a:cubicBezTo>
                      <a:pt x="582" y="21"/>
                      <a:pt x="583" y="21"/>
                      <a:pt x="582" y="21"/>
                    </a:cubicBezTo>
                    <a:cubicBezTo>
                      <a:pt x="582" y="21"/>
                      <a:pt x="581" y="21"/>
                      <a:pt x="581" y="21"/>
                    </a:cubicBezTo>
                    <a:cubicBezTo>
                      <a:pt x="580" y="21"/>
                      <a:pt x="580" y="21"/>
                      <a:pt x="579" y="21"/>
                    </a:cubicBezTo>
                    <a:cubicBezTo>
                      <a:pt x="579" y="21"/>
                      <a:pt x="577" y="20"/>
                      <a:pt x="578" y="19"/>
                    </a:cubicBezTo>
                    <a:cubicBezTo>
                      <a:pt x="578" y="19"/>
                      <a:pt x="578" y="19"/>
                      <a:pt x="579" y="19"/>
                    </a:cubicBezTo>
                    <a:cubicBezTo>
                      <a:pt x="579" y="19"/>
                      <a:pt x="579" y="19"/>
                      <a:pt x="580" y="19"/>
                    </a:cubicBezTo>
                    <a:cubicBezTo>
                      <a:pt x="579" y="19"/>
                      <a:pt x="579" y="19"/>
                      <a:pt x="579" y="19"/>
                    </a:cubicBezTo>
                    <a:cubicBezTo>
                      <a:pt x="579" y="18"/>
                      <a:pt x="580" y="19"/>
                      <a:pt x="581" y="18"/>
                    </a:cubicBezTo>
                    <a:cubicBezTo>
                      <a:pt x="579" y="18"/>
                      <a:pt x="579" y="18"/>
                      <a:pt x="577" y="18"/>
                    </a:cubicBezTo>
                    <a:cubicBezTo>
                      <a:pt x="577" y="18"/>
                      <a:pt x="577" y="18"/>
                      <a:pt x="577" y="18"/>
                    </a:cubicBezTo>
                    <a:cubicBezTo>
                      <a:pt x="577" y="18"/>
                      <a:pt x="577" y="18"/>
                      <a:pt x="577" y="18"/>
                    </a:cubicBezTo>
                    <a:cubicBezTo>
                      <a:pt x="576" y="18"/>
                      <a:pt x="576" y="18"/>
                      <a:pt x="576" y="18"/>
                    </a:cubicBezTo>
                    <a:cubicBezTo>
                      <a:pt x="574" y="18"/>
                      <a:pt x="573" y="18"/>
                      <a:pt x="572" y="17"/>
                    </a:cubicBezTo>
                    <a:cubicBezTo>
                      <a:pt x="572" y="17"/>
                      <a:pt x="574" y="17"/>
                      <a:pt x="573" y="16"/>
                    </a:cubicBezTo>
                    <a:cubicBezTo>
                      <a:pt x="572" y="16"/>
                      <a:pt x="572" y="16"/>
                      <a:pt x="572" y="16"/>
                    </a:cubicBezTo>
                    <a:cubicBezTo>
                      <a:pt x="571" y="16"/>
                      <a:pt x="571" y="16"/>
                      <a:pt x="572" y="16"/>
                    </a:cubicBezTo>
                    <a:cubicBezTo>
                      <a:pt x="572" y="16"/>
                      <a:pt x="570" y="15"/>
                      <a:pt x="571" y="15"/>
                    </a:cubicBezTo>
                    <a:cubicBezTo>
                      <a:pt x="571" y="14"/>
                      <a:pt x="570" y="14"/>
                      <a:pt x="570" y="14"/>
                    </a:cubicBezTo>
                    <a:cubicBezTo>
                      <a:pt x="570" y="14"/>
                      <a:pt x="571" y="14"/>
                      <a:pt x="571" y="13"/>
                    </a:cubicBezTo>
                    <a:cubicBezTo>
                      <a:pt x="571" y="13"/>
                      <a:pt x="570" y="12"/>
                      <a:pt x="568" y="12"/>
                    </a:cubicBezTo>
                    <a:cubicBezTo>
                      <a:pt x="566" y="12"/>
                      <a:pt x="564" y="11"/>
                      <a:pt x="563" y="12"/>
                    </a:cubicBezTo>
                    <a:cubicBezTo>
                      <a:pt x="563" y="12"/>
                      <a:pt x="563" y="12"/>
                      <a:pt x="563" y="12"/>
                    </a:cubicBezTo>
                    <a:cubicBezTo>
                      <a:pt x="563" y="12"/>
                      <a:pt x="562" y="12"/>
                      <a:pt x="562" y="12"/>
                    </a:cubicBezTo>
                    <a:cubicBezTo>
                      <a:pt x="562" y="12"/>
                      <a:pt x="561" y="12"/>
                      <a:pt x="560" y="12"/>
                    </a:cubicBezTo>
                    <a:cubicBezTo>
                      <a:pt x="559" y="12"/>
                      <a:pt x="558" y="12"/>
                      <a:pt x="557" y="13"/>
                    </a:cubicBezTo>
                    <a:cubicBezTo>
                      <a:pt x="558" y="13"/>
                      <a:pt x="559" y="13"/>
                      <a:pt x="560" y="13"/>
                    </a:cubicBezTo>
                    <a:cubicBezTo>
                      <a:pt x="561" y="13"/>
                      <a:pt x="561" y="13"/>
                      <a:pt x="562" y="13"/>
                    </a:cubicBezTo>
                    <a:cubicBezTo>
                      <a:pt x="562" y="13"/>
                      <a:pt x="564" y="13"/>
                      <a:pt x="563" y="13"/>
                    </a:cubicBezTo>
                    <a:cubicBezTo>
                      <a:pt x="563" y="13"/>
                      <a:pt x="564" y="13"/>
                      <a:pt x="564" y="13"/>
                    </a:cubicBezTo>
                    <a:cubicBezTo>
                      <a:pt x="564" y="13"/>
                      <a:pt x="563" y="14"/>
                      <a:pt x="563" y="14"/>
                    </a:cubicBezTo>
                    <a:cubicBezTo>
                      <a:pt x="562" y="14"/>
                      <a:pt x="561" y="14"/>
                      <a:pt x="560" y="14"/>
                    </a:cubicBezTo>
                    <a:cubicBezTo>
                      <a:pt x="559" y="14"/>
                      <a:pt x="559" y="14"/>
                      <a:pt x="558" y="14"/>
                    </a:cubicBezTo>
                    <a:cubicBezTo>
                      <a:pt x="557" y="14"/>
                      <a:pt x="556" y="13"/>
                      <a:pt x="556" y="14"/>
                    </a:cubicBezTo>
                    <a:cubicBezTo>
                      <a:pt x="556" y="14"/>
                      <a:pt x="557" y="14"/>
                      <a:pt x="558" y="14"/>
                    </a:cubicBezTo>
                    <a:cubicBezTo>
                      <a:pt x="557" y="14"/>
                      <a:pt x="557" y="14"/>
                      <a:pt x="557" y="14"/>
                    </a:cubicBezTo>
                    <a:cubicBezTo>
                      <a:pt x="558" y="14"/>
                      <a:pt x="556" y="14"/>
                      <a:pt x="556" y="14"/>
                    </a:cubicBezTo>
                    <a:cubicBezTo>
                      <a:pt x="556" y="14"/>
                      <a:pt x="556" y="14"/>
                      <a:pt x="555" y="14"/>
                    </a:cubicBezTo>
                    <a:cubicBezTo>
                      <a:pt x="555" y="14"/>
                      <a:pt x="554" y="15"/>
                      <a:pt x="554" y="14"/>
                    </a:cubicBezTo>
                    <a:cubicBezTo>
                      <a:pt x="554" y="14"/>
                      <a:pt x="554" y="14"/>
                      <a:pt x="554" y="14"/>
                    </a:cubicBezTo>
                    <a:cubicBezTo>
                      <a:pt x="553" y="14"/>
                      <a:pt x="552" y="14"/>
                      <a:pt x="550" y="14"/>
                    </a:cubicBezTo>
                    <a:cubicBezTo>
                      <a:pt x="550" y="14"/>
                      <a:pt x="549" y="14"/>
                      <a:pt x="549" y="15"/>
                    </a:cubicBezTo>
                    <a:cubicBezTo>
                      <a:pt x="548" y="15"/>
                      <a:pt x="547" y="15"/>
                      <a:pt x="547" y="15"/>
                    </a:cubicBezTo>
                    <a:cubicBezTo>
                      <a:pt x="547" y="15"/>
                      <a:pt x="548" y="15"/>
                      <a:pt x="549" y="15"/>
                    </a:cubicBezTo>
                    <a:cubicBezTo>
                      <a:pt x="548" y="15"/>
                      <a:pt x="546" y="15"/>
                      <a:pt x="546" y="16"/>
                    </a:cubicBezTo>
                    <a:cubicBezTo>
                      <a:pt x="547" y="16"/>
                      <a:pt x="548" y="15"/>
                      <a:pt x="550" y="16"/>
                    </a:cubicBezTo>
                    <a:cubicBezTo>
                      <a:pt x="549" y="16"/>
                      <a:pt x="549" y="16"/>
                      <a:pt x="548" y="16"/>
                    </a:cubicBezTo>
                    <a:cubicBezTo>
                      <a:pt x="549" y="16"/>
                      <a:pt x="550" y="16"/>
                      <a:pt x="550" y="16"/>
                    </a:cubicBezTo>
                    <a:cubicBezTo>
                      <a:pt x="551" y="16"/>
                      <a:pt x="551" y="16"/>
                      <a:pt x="551" y="16"/>
                    </a:cubicBezTo>
                    <a:cubicBezTo>
                      <a:pt x="552" y="16"/>
                      <a:pt x="552" y="16"/>
                      <a:pt x="552" y="16"/>
                    </a:cubicBezTo>
                    <a:cubicBezTo>
                      <a:pt x="552" y="16"/>
                      <a:pt x="553" y="16"/>
                      <a:pt x="553" y="16"/>
                    </a:cubicBezTo>
                    <a:cubicBezTo>
                      <a:pt x="552" y="17"/>
                      <a:pt x="551" y="16"/>
                      <a:pt x="550" y="17"/>
                    </a:cubicBezTo>
                    <a:cubicBezTo>
                      <a:pt x="550" y="17"/>
                      <a:pt x="550" y="17"/>
                      <a:pt x="549" y="17"/>
                    </a:cubicBezTo>
                    <a:cubicBezTo>
                      <a:pt x="549" y="17"/>
                      <a:pt x="549" y="17"/>
                      <a:pt x="549" y="17"/>
                    </a:cubicBezTo>
                    <a:cubicBezTo>
                      <a:pt x="551" y="18"/>
                      <a:pt x="552" y="17"/>
                      <a:pt x="553" y="18"/>
                    </a:cubicBezTo>
                    <a:cubicBezTo>
                      <a:pt x="553" y="18"/>
                      <a:pt x="552" y="18"/>
                      <a:pt x="551" y="18"/>
                    </a:cubicBezTo>
                    <a:cubicBezTo>
                      <a:pt x="551" y="18"/>
                      <a:pt x="550" y="18"/>
                      <a:pt x="549" y="18"/>
                    </a:cubicBezTo>
                    <a:cubicBezTo>
                      <a:pt x="548" y="18"/>
                      <a:pt x="547" y="17"/>
                      <a:pt x="546" y="17"/>
                    </a:cubicBezTo>
                    <a:cubicBezTo>
                      <a:pt x="545" y="17"/>
                      <a:pt x="544" y="17"/>
                      <a:pt x="543" y="17"/>
                    </a:cubicBezTo>
                    <a:cubicBezTo>
                      <a:pt x="542" y="17"/>
                      <a:pt x="542" y="17"/>
                      <a:pt x="541" y="17"/>
                    </a:cubicBezTo>
                    <a:cubicBezTo>
                      <a:pt x="541" y="17"/>
                      <a:pt x="540" y="17"/>
                      <a:pt x="540" y="18"/>
                    </a:cubicBezTo>
                    <a:cubicBezTo>
                      <a:pt x="540" y="18"/>
                      <a:pt x="539" y="18"/>
                      <a:pt x="539" y="18"/>
                    </a:cubicBezTo>
                    <a:cubicBezTo>
                      <a:pt x="540" y="18"/>
                      <a:pt x="541" y="19"/>
                      <a:pt x="541" y="19"/>
                    </a:cubicBezTo>
                    <a:cubicBezTo>
                      <a:pt x="541" y="19"/>
                      <a:pt x="540" y="19"/>
                      <a:pt x="539" y="19"/>
                    </a:cubicBezTo>
                    <a:cubicBezTo>
                      <a:pt x="539" y="19"/>
                      <a:pt x="538" y="19"/>
                      <a:pt x="537" y="19"/>
                    </a:cubicBezTo>
                    <a:cubicBezTo>
                      <a:pt x="536" y="19"/>
                      <a:pt x="536" y="19"/>
                      <a:pt x="535" y="19"/>
                    </a:cubicBezTo>
                    <a:cubicBezTo>
                      <a:pt x="535" y="19"/>
                      <a:pt x="534" y="19"/>
                      <a:pt x="534" y="19"/>
                    </a:cubicBezTo>
                    <a:cubicBezTo>
                      <a:pt x="534" y="19"/>
                      <a:pt x="534" y="19"/>
                      <a:pt x="535" y="19"/>
                    </a:cubicBezTo>
                    <a:cubicBezTo>
                      <a:pt x="534" y="19"/>
                      <a:pt x="534" y="19"/>
                      <a:pt x="534" y="20"/>
                    </a:cubicBezTo>
                    <a:cubicBezTo>
                      <a:pt x="535" y="20"/>
                      <a:pt x="536" y="20"/>
                      <a:pt x="538" y="20"/>
                    </a:cubicBezTo>
                    <a:cubicBezTo>
                      <a:pt x="539" y="20"/>
                      <a:pt x="540" y="20"/>
                      <a:pt x="541" y="20"/>
                    </a:cubicBezTo>
                    <a:cubicBezTo>
                      <a:pt x="540" y="21"/>
                      <a:pt x="539" y="20"/>
                      <a:pt x="538" y="20"/>
                    </a:cubicBezTo>
                    <a:cubicBezTo>
                      <a:pt x="539" y="21"/>
                      <a:pt x="541" y="21"/>
                      <a:pt x="543" y="20"/>
                    </a:cubicBezTo>
                    <a:cubicBezTo>
                      <a:pt x="545" y="20"/>
                      <a:pt x="546" y="20"/>
                      <a:pt x="547" y="20"/>
                    </a:cubicBezTo>
                    <a:cubicBezTo>
                      <a:pt x="546" y="21"/>
                      <a:pt x="544" y="20"/>
                      <a:pt x="542" y="21"/>
                    </a:cubicBezTo>
                    <a:cubicBezTo>
                      <a:pt x="542" y="21"/>
                      <a:pt x="544" y="22"/>
                      <a:pt x="544" y="22"/>
                    </a:cubicBezTo>
                    <a:cubicBezTo>
                      <a:pt x="543" y="22"/>
                      <a:pt x="543" y="22"/>
                      <a:pt x="542" y="22"/>
                    </a:cubicBezTo>
                    <a:cubicBezTo>
                      <a:pt x="542" y="21"/>
                      <a:pt x="541" y="21"/>
                      <a:pt x="540" y="21"/>
                    </a:cubicBezTo>
                    <a:cubicBezTo>
                      <a:pt x="539" y="21"/>
                      <a:pt x="537" y="22"/>
                      <a:pt x="535" y="21"/>
                    </a:cubicBezTo>
                    <a:cubicBezTo>
                      <a:pt x="534" y="21"/>
                      <a:pt x="532" y="20"/>
                      <a:pt x="531" y="21"/>
                    </a:cubicBezTo>
                    <a:cubicBezTo>
                      <a:pt x="529" y="21"/>
                      <a:pt x="532" y="21"/>
                      <a:pt x="532" y="21"/>
                    </a:cubicBezTo>
                    <a:cubicBezTo>
                      <a:pt x="532" y="21"/>
                      <a:pt x="530" y="21"/>
                      <a:pt x="530" y="22"/>
                    </a:cubicBezTo>
                    <a:cubicBezTo>
                      <a:pt x="530" y="22"/>
                      <a:pt x="532" y="22"/>
                      <a:pt x="532" y="22"/>
                    </a:cubicBezTo>
                    <a:cubicBezTo>
                      <a:pt x="532" y="22"/>
                      <a:pt x="531" y="22"/>
                      <a:pt x="531" y="23"/>
                    </a:cubicBezTo>
                    <a:cubicBezTo>
                      <a:pt x="531" y="22"/>
                      <a:pt x="530" y="22"/>
                      <a:pt x="530" y="22"/>
                    </a:cubicBezTo>
                    <a:cubicBezTo>
                      <a:pt x="530" y="22"/>
                      <a:pt x="529" y="22"/>
                      <a:pt x="529" y="23"/>
                    </a:cubicBezTo>
                    <a:cubicBezTo>
                      <a:pt x="529" y="23"/>
                      <a:pt x="530" y="23"/>
                      <a:pt x="530" y="23"/>
                    </a:cubicBezTo>
                    <a:cubicBezTo>
                      <a:pt x="530" y="23"/>
                      <a:pt x="530" y="23"/>
                      <a:pt x="529" y="23"/>
                    </a:cubicBezTo>
                    <a:close/>
                    <a:moveTo>
                      <a:pt x="502" y="37"/>
                    </a:moveTo>
                    <a:cubicBezTo>
                      <a:pt x="503" y="37"/>
                      <a:pt x="504" y="38"/>
                      <a:pt x="505" y="38"/>
                    </a:cubicBezTo>
                    <a:cubicBezTo>
                      <a:pt x="505" y="38"/>
                      <a:pt x="505" y="38"/>
                      <a:pt x="504" y="38"/>
                    </a:cubicBezTo>
                    <a:cubicBezTo>
                      <a:pt x="504" y="38"/>
                      <a:pt x="504" y="39"/>
                      <a:pt x="503" y="39"/>
                    </a:cubicBezTo>
                    <a:cubicBezTo>
                      <a:pt x="504" y="39"/>
                      <a:pt x="504" y="39"/>
                      <a:pt x="505" y="39"/>
                    </a:cubicBezTo>
                    <a:cubicBezTo>
                      <a:pt x="505" y="39"/>
                      <a:pt x="506" y="39"/>
                      <a:pt x="506" y="39"/>
                    </a:cubicBezTo>
                    <a:cubicBezTo>
                      <a:pt x="507" y="38"/>
                      <a:pt x="507" y="39"/>
                      <a:pt x="508" y="38"/>
                    </a:cubicBezTo>
                    <a:cubicBezTo>
                      <a:pt x="507" y="38"/>
                      <a:pt x="507" y="39"/>
                      <a:pt x="506" y="38"/>
                    </a:cubicBezTo>
                    <a:cubicBezTo>
                      <a:pt x="507" y="38"/>
                      <a:pt x="508" y="38"/>
                      <a:pt x="508" y="38"/>
                    </a:cubicBezTo>
                    <a:cubicBezTo>
                      <a:pt x="508" y="38"/>
                      <a:pt x="508" y="38"/>
                      <a:pt x="509" y="38"/>
                    </a:cubicBezTo>
                    <a:cubicBezTo>
                      <a:pt x="511" y="39"/>
                      <a:pt x="513" y="38"/>
                      <a:pt x="515" y="38"/>
                    </a:cubicBezTo>
                    <a:cubicBezTo>
                      <a:pt x="516" y="38"/>
                      <a:pt x="518" y="38"/>
                      <a:pt x="519" y="37"/>
                    </a:cubicBezTo>
                    <a:cubicBezTo>
                      <a:pt x="520" y="37"/>
                      <a:pt x="521" y="37"/>
                      <a:pt x="521" y="36"/>
                    </a:cubicBezTo>
                    <a:cubicBezTo>
                      <a:pt x="520" y="36"/>
                      <a:pt x="520" y="36"/>
                      <a:pt x="520" y="36"/>
                    </a:cubicBezTo>
                    <a:cubicBezTo>
                      <a:pt x="520" y="36"/>
                      <a:pt x="520" y="36"/>
                      <a:pt x="520" y="36"/>
                    </a:cubicBezTo>
                    <a:cubicBezTo>
                      <a:pt x="520" y="35"/>
                      <a:pt x="519" y="36"/>
                      <a:pt x="519" y="35"/>
                    </a:cubicBezTo>
                    <a:cubicBezTo>
                      <a:pt x="519" y="35"/>
                      <a:pt x="521" y="35"/>
                      <a:pt x="522" y="35"/>
                    </a:cubicBezTo>
                    <a:cubicBezTo>
                      <a:pt x="522" y="35"/>
                      <a:pt x="524" y="35"/>
                      <a:pt x="523" y="34"/>
                    </a:cubicBezTo>
                    <a:cubicBezTo>
                      <a:pt x="522" y="33"/>
                      <a:pt x="521" y="33"/>
                      <a:pt x="520" y="33"/>
                    </a:cubicBezTo>
                    <a:cubicBezTo>
                      <a:pt x="519" y="33"/>
                      <a:pt x="518" y="33"/>
                      <a:pt x="517" y="33"/>
                    </a:cubicBezTo>
                    <a:cubicBezTo>
                      <a:pt x="517" y="33"/>
                      <a:pt x="518" y="33"/>
                      <a:pt x="518" y="32"/>
                    </a:cubicBezTo>
                    <a:cubicBezTo>
                      <a:pt x="518" y="32"/>
                      <a:pt x="517" y="32"/>
                      <a:pt x="517" y="32"/>
                    </a:cubicBezTo>
                    <a:cubicBezTo>
                      <a:pt x="517" y="32"/>
                      <a:pt x="516" y="32"/>
                      <a:pt x="516" y="32"/>
                    </a:cubicBezTo>
                    <a:cubicBezTo>
                      <a:pt x="515" y="32"/>
                      <a:pt x="514" y="31"/>
                      <a:pt x="513" y="31"/>
                    </a:cubicBezTo>
                    <a:cubicBezTo>
                      <a:pt x="511" y="31"/>
                      <a:pt x="509" y="31"/>
                      <a:pt x="507" y="31"/>
                    </a:cubicBezTo>
                    <a:cubicBezTo>
                      <a:pt x="506" y="31"/>
                      <a:pt x="505" y="32"/>
                      <a:pt x="505" y="32"/>
                    </a:cubicBezTo>
                    <a:cubicBezTo>
                      <a:pt x="505" y="33"/>
                      <a:pt x="506" y="32"/>
                      <a:pt x="506" y="33"/>
                    </a:cubicBezTo>
                    <a:cubicBezTo>
                      <a:pt x="506" y="33"/>
                      <a:pt x="505" y="33"/>
                      <a:pt x="505" y="33"/>
                    </a:cubicBezTo>
                    <a:cubicBezTo>
                      <a:pt x="505" y="33"/>
                      <a:pt x="503" y="33"/>
                      <a:pt x="503" y="34"/>
                    </a:cubicBezTo>
                    <a:cubicBezTo>
                      <a:pt x="503" y="34"/>
                      <a:pt x="504" y="34"/>
                      <a:pt x="504" y="34"/>
                    </a:cubicBezTo>
                    <a:cubicBezTo>
                      <a:pt x="504" y="34"/>
                      <a:pt x="503" y="35"/>
                      <a:pt x="503" y="35"/>
                    </a:cubicBezTo>
                    <a:cubicBezTo>
                      <a:pt x="503" y="35"/>
                      <a:pt x="504" y="35"/>
                      <a:pt x="504" y="35"/>
                    </a:cubicBezTo>
                    <a:cubicBezTo>
                      <a:pt x="504" y="36"/>
                      <a:pt x="503" y="35"/>
                      <a:pt x="503" y="35"/>
                    </a:cubicBezTo>
                    <a:cubicBezTo>
                      <a:pt x="504" y="36"/>
                      <a:pt x="505" y="35"/>
                      <a:pt x="506" y="36"/>
                    </a:cubicBezTo>
                    <a:cubicBezTo>
                      <a:pt x="507" y="36"/>
                      <a:pt x="507" y="36"/>
                      <a:pt x="508" y="36"/>
                    </a:cubicBezTo>
                    <a:cubicBezTo>
                      <a:pt x="508" y="36"/>
                      <a:pt x="508" y="36"/>
                      <a:pt x="508" y="36"/>
                    </a:cubicBezTo>
                    <a:cubicBezTo>
                      <a:pt x="508" y="36"/>
                      <a:pt x="508" y="36"/>
                      <a:pt x="508" y="36"/>
                    </a:cubicBezTo>
                    <a:cubicBezTo>
                      <a:pt x="506" y="37"/>
                      <a:pt x="504" y="36"/>
                      <a:pt x="502" y="37"/>
                    </a:cubicBezTo>
                    <a:close/>
                    <a:moveTo>
                      <a:pt x="468" y="35"/>
                    </a:moveTo>
                    <a:cubicBezTo>
                      <a:pt x="469" y="35"/>
                      <a:pt x="470" y="35"/>
                      <a:pt x="472" y="34"/>
                    </a:cubicBezTo>
                    <a:cubicBezTo>
                      <a:pt x="472" y="34"/>
                      <a:pt x="474" y="34"/>
                      <a:pt x="475" y="34"/>
                    </a:cubicBezTo>
                    <a:cubicBezTo>
                      <a:pt x="475" y="34"/>
                      <a:pt x="473" y="35"/>
                      <a:pt x="473" y="35"/>
                    </a:cubicBezTo>
                    <a:cubicBezTo>
                      <a:pt x="474" y="36"/>
                      <a:pt x="475" y="35"/>
                      <a:pt x="476" y="35"/>
                    </a:cubicBezTo>
                    <a:cubicBezTo>
                      <a:pt x="477" y="35"/>
                      <a:pt x="479" y="35"/>
                      <a:pt x="480" y="35"/>
                    </a:cubicBezTo>
                    <a:cubicBezTo>
                      <a:pt x="481" y="35"/>
                      <a:pt x="481" y="36"/>
                      <a:pt x="482" y="36"/>
                    </a:cubicBezTo>
                    <a:cubicBezTo>
                      <a:pt x="482" y="36"/>
                      <a:pt x="483" y="36"/>
                      <a:pt x="483" y="36"/>
                    </a:cubicBezTo>
                    <a:cubicBezTo>
                      <a:pt x="483" y="36"/>
                      <a:pt x="483" y="36"/>
                      <a:pt x="483" y="36"/>
                    </a:cubicBezTo>
                    <a:cubicBezTo>
                      <a:pt x="483" y="36"/>
                      <a:pt x="483" y="37"/>
                      <a:pt x="484" y="37"/>
                    </a:cubicBezTo>
                    <a:cubicBezTo>
                      <a:pt x="483" y="37"/>
                      <a:pt x="483" y="37"/>
                      <a:pt x="482" y="37"/>
                    </a:cubicBezTo>
                    <a:cubicBezTo>
                      <a:pt x="482" y="38"/>
                      <a:pt x="483" y="38"/>
                      <a:pt x="482" y="38"/>
                    </a:cubicBezTo>
                    <a:cubicBezTo>
                      <a:pt x="483" y="39"/>
                      <a:pt x="484" y="39"/>
                      <a:pt x="486" y="39"/>
                    </a:cubicBezTo>
                    <a:cubicBezTo>
                      <a:pt x="487" y="39"/>
                      <a:pt x="489" y="39"/>
                      <a:pt x="491" y="39"/>
                    </a:cubicBezTo>
                    <a:cubicBezTo>
                      <a:pt x="492" y="38"/>
                      <a:pt x="492" y="38"/>
                      <a:pt x="493" y="38"/>
                    </a:cubicBezTo>
                    <a:cubicBezTo>
                      <a:pt x="494" y="37"/>
                      <a:pt x="494" y="37"/>
                      <a:pt x="495" y="37"/>
                    </a:cubicBezTo>
                    <a:cubicBezTo>
                      <a:pt x="494" y="37"/>
                      <a:pt x="494" y="36"/>
                      <a:pt x="493" y="36"/>
                    </a:cubicBezTo>
                    <a:cubicBezTo>
                      <a:pt x="493" y="35"/>
                      <a:pt x="494" y="35"/>
                      <a:pt x="493" y="35"/>
                    </a:cubicBezTo>
                    <a:cubicBezTo>
                      <a:pt x="493" y="35"/>
                      <a:pt x="493" y="35"/>
                      <a:pt x="492" y="35"/>
                    </a:cubicBezTo>
                    <a:cubicBezTo>
                      <a:pt x="492" y="35"/>
                      <a:pt x="494" y="34"/>
                      <a:pt x="493" y="34"/>
                    </a:cubicBezTo>
                    <a:cubicBezTo>
                      <a:pt x="494" y="33"/>
                      <a:pt x="495" y="33"/>
                      <a:pt x="496" y="33"/>
                    </a:cubicBezTo>
                    <a:cubicBezTo>
                      <a:pt x="496" y="33"/>
                      <a:pt x="497" y="33"/>
                      <a:pt x="497" y="33"/>
                    </a:cubicBezTo>
                    <a:cubicBezTo>
                      <a:pt x="497" y="32"/>
                      <a:pt x="496" y="33"/>
                      <a:pt x="496" y="32"/>
                    </a:cubicBezTo>
                    <a:cubicBezTo>
                      <a:pt x="495" y="32"/>
                      <a:pt x="495" y="33"/>
                      <a:pt x="494" y="32"/>
                    </a:cubicBezTo>
                    <a:cubicBezTo>
                      <a:pt x="494" y="32"/>
                      <a:pt x="496" y="32"/>
                      <a:pt x="496" y="32"/>
                    </a:cubicBezTo>
                    <a:cubicBezTo>
                      <a:pt x="496" y="31"/>
                      <a:pt x="494" y="31"/>
                      <a:pt x="495" y="31"/>
                    </a:cubicBezTo>
                    <a:cubicBezTo>
                      <a:pt x="494" y="31"/>
                      <a:pt x="493" y="31"/>
                      <a:pt x="492" y="31"/>
                    </a:cubicBezTo>
                    <a:cubicBezTo>
                      <a:pt x="492" y="31"/>
                      <a:pt x="490" y="31"/>
                      <a:pt x="490" y="31"/>
                    </a:cubicBezTo>
                    <a:cubicBezTo>
                      <a:pt x="490" y="31"/>
                      <a:pt x="490" y="31"/>
                      <a:pt x="489" y="31"/>
                    </a:cubicBezTo>
                    <a:cubicBezTo>
                      <a:pt x="490" y="31"/>
                      <a:pt x="492" y="30"/>
                      <a:pt x="492" y="30"/>
                    </a:cubicBezTo>
                    <a:cubicBezTo>
                      <a:pt x="492" y="29"/>
                      <a:pt x="491" y="30"/>
                      <a:pt x="491" y="30"/>
                    </a:cubicBezTo>
                    <a:cubicBezTo>
                      <a:pt x="490" y="29"/>
                      <a:pt x="490" y="29"/>
                      <a:pt x="490" y="29"/>
                    </a:cubicBezTo>
                    <a:cubicBezTo>
                      <a:pt x="489" y="28"/>
                      <a:pt x="487" y="29"/>
                      <a:pt x="486" y="29"/>
                    </a:cubicBezTo>
                    <a:cubicBezTo>
                      <a:pt x="485" y="29"/>
                      <a:pt x="484" y="29"/>
                      <a:pt x="484" y="30"/>
                    </a:cubicBezTo>
                    <a:cubicBezTo>
                      <a:pt x="483" y="30"/>
                      <a:pt x="481" y="31"/>
                      <a:pt x="482" y="30"/>
                    </a:cubicBezTo>
                    <a:cubicBezTo>
                      <a:pt x="482" y="30"/>
                      <a:pt x="482" y="30"/>
                      <a:pt x="482" y="30"/>
                    </a:cubicBezTo>
                    <a:cubicBezTo>
                      <a:pt x="482" y="30"/>
                      <a:pt x="482" y="30"/>
                      <a:pt x="481" y="30"/>
                    </a:cubicBezTo>
                    <a:cubicBezTo>
                      <a:pt x="482" y="30"/>
                      <a:pt x="484" y="29"/>
                      <a:pt x="484" y="29"/>
                    </a:cubicBezTo>
                    <a:cubicBezTo>
                      <a:pt x="483" y="28"/>
                      <a:pt x="483" y="28"/>
                      <a:pt x="484" y="28"/>
                    </a:cubicBezTo>
                    <a:cubicBezTo>
                      <a:pt x="483" y="27"/>
                      <a:pt x="483" y="27"/>
                      <a:pt x="482" y="27"/>
                    </a:cubicBezTo>
                    <a:cubicBezTo>
                      <a:pt x="481" y="27"/>
                      <a:pt x="481" y="27"/>
                      <a:pt x="480" y="27"/>
                    </a:cubicBezTo>
                    <a:cubicBezTo>
                      <a:pt x="479" y="26"/>
                      <a:pt x="477" y="26"/>
                      <a:pt x="476" y="27"/>
                    </a:cubicBezTo>
                    <a:cubicBezTo>
                      <a:pt x="475" y="27"/>
                      <a:pt x="473" y="27"/>
                      <a:pt x="472" y="27"/>
                    </a:cubicBezTo>
                    <a:cubicBezTo>
                      <a:pt x="471" y="27"/>
                      <a:pt x="470" y="27"/>
                      <a:pt x="469" y="27"/>
                    </a:cubicBezTo>
                    <a:cubicBezTo>
                      <a:pt x="468" y="27"/>
                      <a:pt x="467" y="28"/>
                      <a:pt x="466" y="28"/>
                    </a:cubicBezTo>
                    <a:cubicBezTo>
                      <a:pt x="466" y="28"/>
                      <a:pt x="465" y="29"/>
                      <a:pt x="465" y="29"/>
                    </a:cubicBezTo>
                    <a:cubicBezTo>
                      <a:pt x="466" y="30"/>
                      <a:pt x="467" y="29"/>
                      <a:pt x="467" y="29"/>
                    </a:cubicBezTo>
                    <a:cubicBezTo>
                      <a:pt x="468" y="29"/>
                      <a:pt x="469" y="29"/>
                      <a:pt x="470" y="29"/>
                    </a:cubicBezTo>
                    <a:cubicBezTo>
                      <a:pt x="470" y="29"/>
                      <a:pt x="466" y="31"/>
                      <a:pt x="466" y="31"/>
                    </a:cubicBezTo>
                    <a:cubicBezTo>
                      <a:pt x="466" y="31"/>
                      <a:pt x="469" y="30"/>
                      <a:pt x="469" y="30"/>
                    </a:cubicBezTo>
                    <a:cubicBezTo>
                      <a:pt x="470" y="30"/>
                      <a:pt x="471" y="30"/>
                      <a:pt x="472" y="30"/>
                    </a:cubicBezTo>
                    <a:cubicBezTo>
                      <a:pt x="472" y="30"/>
                      <a:pt x="473" y="29"/>
                      <a:pt x="474" y="30"/>
                    </a:cubicBezTo>
                    <a:cubicBezTo>
                      <a:pt x="473" y="30"/>
                      <a:pt x="475" y="30"/>
                      <a:pt x="474" y="30"/>
                    </a:cubicBezTo>
                    <a:cubicBezTo>
                      <a:pt x="473" y="30"/>
                      <a:pt x="470" y="31"/>
                      <a:pt x="470" y="31"/>
                    </a:cubicBezTo>
                    <a:cubicBezTo>
                      <a:pt x="471" y="31"/>
                      <a:pt x="471" y="31"/>
                      <a:pt x="472" y="31"/>
                    </a:cubicBezTo>
                    <a:cubicBezTo>
                      <a:pt x="472" y="31"/>
                      <a:pt x="473" y="31"/>
                      <a:pt x="474" y="31"/>
                    </a:cubicBezTo>
                    <a:cubicBezTo>
                      <a:pt x="473" y="31"/>
                      <a:pt x="473" y="31"/>
                      <a:pt x="472" y="31"/>
                    </a:cubicBezTo>
                    <a:cubicBezTo>
                      <a:pt x="473" y="31"/>
                      <a:pt x="474" y="31"/>
                      <a:pt x="474" y="31"/>
                    </a:cubicBezTo>
                    <a:cubicBezTo>
                      <a:pt x="474" y="31"/>
                      <a:pt x="475" y="31"/>
                      <a:pt x="475" y="31"/>
                    </a:cubicBezTo>
                    <a:cubicBezTo>
                      <a:pt x="475" y="32"/>
                      <a:pt x="474" y="32"/>
                      <a:pt x="474" y="32"/>
                    </a:cubicBezTo>
                    <a:cubicBezTo>
                      <a:pt x="473" y="32"/>
                      <a:pt x="471" y="32"/>
                      <a:pt x="470" y="32"/>
                    </a:cubicBezTo>
                    <a:cubicBezTo>
                      <a:pt x="471" y="33"/>
                      <a:pt x="472" y="32"/>
                      <a:pt x="473" y="32"/>
                    </a:cubicBezTo>
                    <a:cubicBezTo>
                      <a:pt x="473" y="33"/>
                      <a:pt x="471" y="33"/>
                      <a:pt x="471" y="33"/>
                    </a:cubicBezTo>
                    <a:cubicBezTo>
                      <a:pt x="470" y="33"/>
                      <a:pt x="468" y="33"/>
                      <a:pt x="467" y="33"/>
                    </a:cubicBezTo>
                    <a:cubicBezTo>
                      <a:pt x="466" y="33"/>
                      <a:pt x="461" y="32"/>
                      <a:pt x="462" y="34"/>
                    </a:cubicBezTo>
                    <a:cubicBezTo>
                      <a:pt x="463" y="37"/>
                      <a:pt x="466" y="35"/>
                      <a:pt x="468" y="35"/>
                    </a:cubicBezTo>
                    <a:close/>
                    <a:moveTo>
                      <a:pt x="445" y="44"/>
                    </a:moveTo>
                    <a:cubicBezTo>
                      <a:pt x="445" y="44"/>
                      <a:pt x="445" y="44"/>
                      <a:pt x="445" y="44"/>
                    </a:cubicBezTo>
                    <a:cubicBezTo>
                      <a:pt x="445" y="44"/>
                      <a:pt x="445" y="44"/>
                      <a:pt x="445" y="44"/>
                    </a:cubicBezTo>
                    <a:cubicBezTo>
                      <a:pt x="446" y="44"/>
                      <a:pt x="447" y="44"/>
                      <a:pt x="447" y="44"/>
                    </a:cubicBezTo>
                    <a:cubicBezTo>
                      <a:pt x="447" y="45"/>
                      <a:pt x="448" y="44"/>
                      <a:pt x="449" y="44"/>
                    </a:cubicBezTo>
                    <a:cubicBezTo>
                      <a:pt x="450" y="44"/>
                      <a:pt x="451" y="44"/>
                      <a:pt x="452" y="43"/>
                    </a:cubicBezTo>
                    <a:cubicBezTo>
                      <a:pt x="452" y="43"/>
                      <a:pt x="451" y="43"/>
                      <a:pt x="451" y="43"/>
                    </a:cubicBezTo>
                    <a:cubicBezTo>
                      <a:pt x="451" y="43"/>
                      <a:pt x="452" y="43"/>
                      <a:pt x="452" y="43"/>
                    </a:cubicBezTo>
                    <a:cubicBezTo>
                      <a:pt x="452" y="43"/>
                      <a:pt x="451" y="42"/>
                      <a:pt x="451" y="42"/>
                    </a:cubicBezTo>
                    <a:cubicBezTo>
                      <a:pt x="450" y="42"/>
                      <a:pt x="450" y="42"/>
                      <a:pt x="449" y="42"/>
                    </a:cubicBezTo>
                    <a:cubicBezTo>
                      <a:pt x="450" y="42"/>
                      <a:pt x="451" y="42"/>
                      <a:pt x="451" y="41"/>
                    </a:cubicBezTo>
                    <a:cubicBezTo>
                      <a:pt x="451" y="40"/>
                      <a:pt x="450" y="40"/>
                      <a:pt x="449" y="39"/>
                    </a:cubicBezTo>
                    <a:cubicBezTo>
                      <a:pt x="449" y="39"/>
                      <a:pt x="446" y="39"/>
                      <a:pt x="446" y="40"/>
                    </a:cubicBezTo>
                    <a:cubicBezTo>
                      <a:pt x="446" y="40"/>
                      <a:pt x="447" y="40"/>
                      <a:pt x="446" y="40"/>
                    </a:cubicBezTo>
                    <a:cubicBezTo>
                      <a:pt x="446" y="41"/>
                      <a:pt x="446" y="41"/>
                      <a:pt x="446" y="41"/>
                    </a:cubicBezTo>
                    <a:cubicBezTo>
                      <a:pt x="446" y="41"/>
                      <a:pt x="446" y="41"/>
                      <a:pt x="446" y="41"/>
                    </a:cubicBezTo>
                    <a:cubicBezTo>
                      <a:pt x="446" y="41"/>
                      <a:pt x="446" y="41"/>
                      <a:pt x="445" y="42"/>
                    </a:cubicBezTo>
                    <a:cubicBezTo>
                      <a:pt x="446" y="42"/>
                      <a:pt x="445" y="42"/>
                      <a:pt x="445" y="42"/>
                    </a:cubicBezTo>
                    <a:cubicBezTo>
                      <a:pt x="445" y="42"/>
                      <a:pt x="445" y="42"/>
                      <a:pt x="445" y="42"/>
                    </a:cubicBezTo>
                    <a:cubicBezTo>
                      <a:pt x="445" y="43"/>
                      <a:pt x="445" y="43"/>
                      <a:pt x="445" y="43"/>
                    </a:cubicBezTo>
                    <a:cubicBezTo>
                      <a:pt x="445" y="43"/>
                      <a:pt x="445" y="43"/>
                      <a:pt x="445" y="43"/>
                    </a:cubicBezTo>
                    <a:cubicBezTo>
                      <a:pt x="445" y="43"/>
                      <a:pt x="445" y="44"/>
                      <a:pt x="445" y="44"/>
                    </a:cubicBezTo>
                    <a:close/>
                    <a:moveTo>
                      <a:pt x="522" y="39"/>
                    </a:moveTo>
                    <a:cubicBezTo>
                      <a:pt x="521" y="39"/>
                      <a:pt x="521" y="39"/>
                      <a:pt x="520" y="39"/>
                    </a:cubicBezTo>
                    <a:cubicBezTo>
                      <a:pt x="519" y="39"/>
                      <a:pt x="518" y="39"/>
                      <a:pt x="516" y="39"/>
                    </a:cubicBezTo>
                    <a:cubicBezTo>
                      <a:pt x="516" y="39"/>
                      <a:pt x="514" y="40"/>
                      <a:pt x="513" y="39"/>
                    </a:cubicBezTo>
                    <a:cubicBezTo>
                      <a:pt x="514" y="39"/>
                      <a:pt x="513" y="39"/>
                      <a:pt x="513" y="39"/>
                    </a:cubicBezTo>
                    <a:cubicBezTo>
                      <a:pt x="512" y="39"/>
                      <a:pt x="511" y="39"/>
                      <a:pt x="510" y="39"/>
                    </a:cubicBezTo>
                    <a:cubicBezTo>
                      <a:pt x="509" y="39"/>
                      <a:pt x="508" y="40"/>
                      <a:pt x="507" y="40"/>
                    </a:cubicBezTo>
                    <a:cubicBezTo>
                      <a:pt x="506" y="41"/>
                      <a:pt x="506" y="41"/>
                      <a:pt x="507" y="42"/>
                    </a:cubicBezTo>
                    <a:cubicBezTo>
                      <a:pt x="508" y="42"/>
                      <a:pt x="509" y="42"/>
                      <a:pt x="510" y="42"/>
                    </a:cubicBezTo>
                    <a:cubicBezTo>
                      <a:pt x="512" y="42"/>
                      <a:pt x="513" y="42"/>
                      <a:pt x="514" y="42"/>
                    </a:cubicBezTo>
                    <a:cubicBezTo>
                      <a:pt x="515" y="42"/>
                      <a:pt x="517" y="41"/>
                      <a:pt x="518" y="42"/>
                    </a:cubicBezTo>
                    <a:cubicBezTo>
                      <a:pt x="518" y="42"/>
                      <a:pt x="519" y="42"/>
                      <a:pt x="520" y="42"/>
                    </a:cubicBezTo>
                    <a:cubicBezTo>
                      <a:pt x="520" y="42"/>
                      <a:pt x="521" y="42"/>
                      <a:pt x="520" y="42"/>
                    </a:cubicBezTo>
                    <a:cubicBezTo>
                      <a:pt x="521" y="42"/>
                      <a:pt x="522" y="42"/>
                      <a:pt x="523" y="41"/>
                    </a:cubicBezTo>
                    <a:cubicBezTo>
                      <a:pt x="523" y="41"/>
                      <a:pt x="524" y="41"/>
                      <a:pt x="525" y="40"/>
                    </a:cubicBezTo>
                    <a:cubicBezTo>
                      <a:pt x="525" y="40"/>
                      <a:pt x="527" y="40"/>
                      <a:pt x="527" y="40"/>
                    </a:cubicBezTo>
                    <a:cubicBezTo>
                      <a:pt x="527" y="39"/>
                      <a:pt x="524" y="39"/>
                      <a:pt x="523" y="39"/>
                    </a:cubicBezTo>
                    <a:cubicBezTo>
                      <a:pt x="523" y="39"/>
                      <a:pt x="522" y="39"/>
                      <a:pt x="522" y="39"/>
                    </a:cubicBezTo>
                    <a:close/>
                    <a:moveTo>
                      <a:pt x="372" y="42"/>
                    </a:moveTo>
                    <a:cubicBezTo>
                      <a:pt x="372" y="42"/>
                      <a:pt x="372" y="42"/>
                      <a:pt x="372" y="42"/>
                    </a:cubicBezTo>
                    <a:cubicBezTo>
                      <a:pt x="372" y="42"/>
                      <a:pt x="372" y="42"/>
                      <a:pt x="372" y="42"/>
                    </a:cubicBezTo>
                    <a:close/>
                    <a:moveTo>
                      <a:pt x="441" y="51"/>
                    </a:moveTo>
                    <a:cubicBezTo>
                      <a:pt x="441" y="51"/>
                      <a:pt x="442" y="51"/>
                      <a:pt x="443" y="51"/>
                    </a:cubicBezTo>
                    <a:cubicBezTo>
                      <a:pt x="444" y="51"/>
                      <a:pt x="445" y="51"/>
                      <a:pt x="446" y="51"/>
                    </a:cubicBezTo>
                    <a:cubicBezTo>
                      <a:pt x="448" y="51"/>
                      <a:pt x="450" y="51"/>
                      <a:pt x="451" y="50"/>
                    </a:cubicBezTo>
                    <a:cubicBezTo>
                      <a:pt x="450" y="50"/>
                      <a:pt x="450" y="50"/>
                      <a:pt x="449" y="50"/>
                    </a:cubicBezTo>
                    <a:cubicBezTo>
                      <a:pt x="449" y="50"/>
                      <a:pt x="448" y="49"/>
                      <a:pt x="449" y="49"/>
                    </a:cubicBezTo>
                    <a:cubicBezTo>
                      <a:pt x="448" y="49"/>
                      <a:pt x="448" y="48"/>
                      <a:pt x="447" y="49"/>
                    </a:cubicBezTo>
                    <a:cubicBezTo>
                      <a:pt x="447" y="49"/>
                      <a:pt x="446" y="49"/>
                      <a:pt x="446" y="49"/>
                    </a:cubicBezTo>
                    <a:cubicBezTo>
                      <a:pt x="446" y="49"/>
                      <a:pt x="448" y="48"/>
                      <a:pt x="446" y="48"/>
                    </a:cubicBezTo>
                    <a:cubicBezTo>
                      <a:pt x="445" y="48"/>
                      <a:pt x="444" y="48"/>
                      <a:pt x="443" y="49"/>
                    </a:cubicBezTo>
                    <a:cubicBezTo>
                      <a:pt x="443" y="49"/>
                      <a:pt x="443" y="49"/>
                      <a:pt x="442" y="49"/>
                    </a:cubicBezTo>
                    <a:cubicBezTo>
                      <a:pt x="442" y="49"/>
                      <a:pt x="442" y="49"/>
                      <a:pt x="442" y="49"/>
                    </a:cubicBezTo>
                    <a:cubicBezTo>
                      <a:pt x="442" y="49"/>
                      <a:pt x="442" y="49"/>
                      <a:pt x="441" y="50"/>
                    </a:cubicBezTo>
                    <a:cubicBezTo>
                      <a:pt x="442" y="50"/>
                      <a:pt x="442" y="50"/>
                      <a:pt x="442" y="50"/>
                    </a:cubicBezTo>
                    <a:cubicBezTo>
                      <a:pt x="442" y="50"/>
                      <a:pt x="441" y="50"/>
                      <a:pt x="441" y="50"/>
                    </a:cubicBezTo>
                    <a:cubicBezTo>
                      <a:pt x="441" y="50"/>
                      <a:pt x="441" y="50"/>
                      <a:pt x="442" y="50"/>
                    </a:cubicBezTo>
                    <a:cubicBezTo>
                      <a:pt x="442" y="51"/>
                      <a:pt x="441" y="51"/>
                      <a:pt x="441" y="51"/>
                    </a:cubicBezTo>
                    <a:close/>
                    <a:moveTo>
                      <a:pt x="677" y="21"/>
                    </a:moveTo>
                    <a:cubicBezTo>
                      <a:pt x="677" y="21"/>
                      <a:pt x="677" y="21"/>
                      <a:pt x="677" y="21"/>
                    </a:cubicBezTo>
                    <a:close/>
                    <a:moveTo>
                      <a:pt x="761" y="5"/>
                    </a:moveTo>
                    <a:cubicBezTo>
                      <a:pt x="761" y="6"/>
                      <a:pt x="759" y="6"/>
                      <a:pt x="758" y="6"/>
                    </a:cubicBezTo>
                    <a:cubicBezTo>
                      <a:pt x="757" y="6"/>
                      <a:pt x="756" y="6"/>
                      <a:pt x="754" y="6"/>
                    </a:cubicBezTo>
                    <a:cubicBezTo>
                      <a:pt x="755" y="6"/>
                      <a:pt x="755" y="7"/>
                      <a:pt x="755" y="7"/>
                    </a:cubicBezTo>
                    <a:cubicBezTo>
                      <a:pt x="754" y="7"/>
                      <a:pt x="753" y="7"/>
                      <a:pt x="751" y="7"/>
                    </a:cubicBezTo>
                    <a:cubicBezTo>
                      <a:pt x="750" y="7"/>
                      <a:pt x="749" y="8"/>
                      <a:pt x="747" y="8"/>
                    </a:cubicBezTo>
                    <a:cubicBezTo>
                      <a:pt x="746" y="8"/>
                      <a:pt x="744" y="8"/>
                      <a:pt x="743" y="8"/>
                    </a:cubicBezTo>
                    <a:cubicBezTo>
                      <a:pt x="742" y="9"/>
                      <a:pt x="742" y="9"/>
                      <a:pt x="741" y="9"/>
                    </a:cubicBezTo>
                    <a:cubicBezTo>
                      <a:pt x="740" y="9"/>
                      <a:pt x="739" y="9"/>
                      <a:pt x="739" y="9"/>
                    </a:cubicBezTo>
                    <a:cubicBezTo>
                      <a:pt x="739" y="9"/>
                      <a:pt x="739" y="9"/>
                      <a:pt x="739" y="9"/>
                    </a:cubicBezTo>
                    <a:cubicBezTo>
                      <a:pt x="738" y="10"/>
                      <a:pt x="736" y="9"/>
                      <a:pt x="734" y="9"/>
                    </a:cubicBezTo>
                    <a:cubicBezTo>
                      <a:pt x="732" y="9"/>
                      <a:pt x="730" y="9"/>
                      <a:pt x="728" y="9"/>
                    </a:cubicBezTo>
                    <a:cubicBezTo>
                      <a:pt x="729" y="10"/>
                      <a:pt x="730" y="9"/>
                      <a:pt x="732" y="9"/>
                    </a:cubicBezTo>
                    <a:cubicBezTo>
                      <a:pt x="730" y="10"/>
                      <a:pt x="728" y="10"/>
                      <a:pt x="726" y="10"/>
                    </a:cubicBezTo>
                    <a:cubicBezTo>
                      <a:pt x="724" y="10"/>
                      <a:pt x="722" y="10"/>
                      <a:pt x="720" y="10"/>
                    </a:cubicBezTo>
                    <a:cubicBezTo>
                      <a:pt x="718" y="10"/>
                      <a:pt x="716" y="10"/>
                      <a:pt x="714" y="10"/>
                    </a:cubicBezTo>
                    <a:cubicBezTo>
                      <a:pt x="713" y="10"/>
                      <a:pt x="712" y="10"/>
                      <a:pt x="711" y="10"/>
                    </a:cubicBezTo>
                    <a:cubicBezTo>
                      <a:pt x="711" y="10"/>
                      <a:pt x="709" y="9"/>
                      <a:pt x="709" y="9"/>
                    </a:cubicBezTo>
                    <a:cubicBezTo>
                      <a:pt x="710" y="10"/>
                      <a:pt x="712" y="10"/>
                      <a:pt x="713" y="10"/>
                    </a:cubicBezTo>
                    <a:cubicBezTo>
                      <a:pt x="712" y="11"/>
                      <a:pt x="711" y="10"/>
                      <a:pt x="710" y="10"/>
                    </a:cubicBezTo>
                    <a:cubicBezTo>
                      <a:pt x="711" y="11"/>
                      <a:pt x="712" y="11"/>
                      <a:pt x="713" y="11"/>
                    </a:cubicBezTo>
                    <a:cubicBezTo>
                      <a:pt x="714" y="11"/>
                      <a:pt x="715" y="11"/>
                      <a:pt x="716" y="10"/>
                    </a:cubicBezTo>
                    <a:cubicBezTo>
                      <a:pt x="717" y="10"/>
                      <a:pt x="718" y="10"/>
                      <a:pt x="720" y="10"/>
                    </a:cubicBezTo>
                    <a:cubicBezTo>
                      <a:pt x="721" y="10"/>
                      <a:pt x="722" y="10"/>
                      <a:pt x="723" y="11"/>
                    </a:cubicBezTo>
                    <a:cubicBezTo>
                      <a:pt x="721" y="11"/>
                      <a:pt x="720" y="11"/>
                      <a:pt x="719" y="11"/>
                    </a:cubicBezTo>
                    <a:cubicBezTo>
                      <a:pt x="717" y="11"/>
                      <a:pt x="715" y="12"/>
                      <a:pt x="714" y="12"/>
                    </a:cubicBezTo>
                    <a:cubicBezTo>
                      <a:pt x="712" y="12"/>
                      <a:pt x="710" y="12"/>
                      <a:pt x="709" y="12"/>
                    </a:cubicBezTo>
                    <a:cubicBezTo>
                      <a:pt x="708" y="12"/>
                      <a:pt x="707" y="12"/>
                      <a:pt x="706" y="12"/>
                    </a:cubicBezTo>
                    <a:cubicBezTo>
                      <a:pt x="706" y="12"/>
                      <a:pt x="705" y="12"/>
                      <a:pt x="704" y="13"/>
                    </a:cubicBezTo>
                    <a:cubicBezTo>
                      <a:pt x="704" y="13"/>
                      <a:pt x="704" y="13"/>
                      <a:pt x="705" y="13"/>
                    </a:cubicBezTo>
                    <a:cubicBezTo>
                      <a:pt x="703" y="13"/>
                      <a:pt x="701" y="13"/>
                      <a:pt x="699" y="13"/>
                    </a:cubicBezTo>
                    <a:cubicBezTo>
                      <a:pt x="700" y="13"/>
                      <a:pt x="701" y="13"/>
                      <a:pt x="702" y="13"/>
                    </a:cubicBezTo>
                    <a:cubicBezTo>
                      <a:pt x="701" y="13"/>
                      <a:pt x="700" y="13"/>
                      <a:pt x="700" y="14"/>
                    </a:cubicBezTo>
                    <a:cubicBezTo>
                      <a:pt x="701" y="14"/>
                      <a:pt x="702" y="13"/>
                      <a:pt x="703" y="13"/>
                    </a:cubicBezTo>
                    <a:cubicBezTo>
                      <a:pt x="704" y="13"/>
                      <a:pt x="706" y="13"/>
                      <a:pt x="707" y="13"/>
                    </a:cubicBezTo>
                    <a:cubicBezTo>
                      <a:pt x="710" y="12"/>
                      <a:pt x="713" y="12"/>
                      <a:pt x="715" y="12"/>
                    </a:cubicBezTo>
                    <a:cubicBezTo>
                      <a:pt x="721" y="12"/>
                      <a:pt x="727" y="11"/>
                      <a:pt x="732" y="11"/>
                    </a:cubicBezTo>
                    <a:cubicBezTo>
                      <a:pt x="733" y="11"/>
                      <a:pt x="734" y="10"/>
                      <a:pt x="735" y="10"/>
                    </a:cubicBezTo>
                    <a:cubicBezTo>
                      <a:pt x="736" y="10"/>
                      <a:pt x="735" y="11"/>
                      <a:pt x="735" y="11"/>
                    </a:cubicBezTo>
                    <a:cubicBezTo>
                      <a:pt x="732" y="12"/>
                      <a:pt x="730" y="12"/>
                      <a:pt x="727" y="13"/>
                    </a:cubicBezTo>
                    <a:cubicBezTo>
                      <a:pt x="726" y="13"/>
                      <a:pt x="725" y="13"/>
                      <a:pt x="724" y="13"/>
                    </a:cubicBezTo>
                    <a:cubicBezTo>
                      <a:pt x="722" y="13"/>
                      <a:pt x="721" y="14"/>
                      <a:pt x="720" y="14"/>
                    </a:cubicBezTo>
                    <a:cubicBezTo>
                      <a:pt x="718" y="14"/>
                      <a:pt x="717" y="14"/>
                      <a:pt x="716" y="15"/>
                    </a:cubicBezTo>
                    <a:cubicBezTo>
                      <a:pt x="715" y="15"/>
                      <a:pt x="713" y="14"/>
                      <a:pt x="713" y="15"/>
                    </a:cubicBezTo>
                    <a:cubicBezTo>
                      <a:pt x="713" y="15"/>
                      <a:pt x="713" y="15"/>
                      <a:pt x="713" y="15"/>
                    </a:cubicBezTo>
                    <a:cubicBezTo>
                      <a:pt x="712" y="15"/>
                      <a:pt x="712" y="15"/>
                      <a:pt x="712" y="15"/>
                    </a:cubicBezTo>
                    <a:cubicBezTo>
                      <a:pt x="711" y="15"/>
                      <a:pt x="710" y="16"/>
                      <a:pt x="709" y="16"/>
                    </a:cubicBezTo>
                    <a:cubicBezTo>
                      <a:pt x="707" y="16"/>
                      <a:pt x="705" y="17"/>
                      <a:pt x="702" y="17"/>
                    </a:cubicBezTo>
                    <a:cubicBezTo>
                      <a:pt x="699" y="18"/>
                      <a:pt x="695" y="20"/>
                      <a:pt x="692" y="19"/>
                    </a:cubicBezTo>
                    <a:cubicBezTo>
                      <a:pt x="692" y="19"/>
                      <a:pt x="693" y="19"/>
                      <a:pt x="692" y="18"/>
                    </a:cubicBezTo>
                    <a:cubicBezTo>
                      <a:pt x="692" y="18"/>
                      <a:pt x="691" y="17"/>
                      <a:pt x="690" y="18"/>
                    </a:cubicBezTo>
                    <a:cubicBezTo>
                      <a:pt x="691" y="18"/>
                      <a:pt x="691" y="18"/>
                      <a:pt x="692" y="19"/>
                    </a:cubicBezTo>
                    <a:cubicBezTo>
                      <a:pt x="692" y="19"/>
                      <a:pt x="691" y="19"/>
                      <a:pt x="691" y="19"/>
                    </a:cubicBezTo>
                    <a:cubicBezTo>
                      <a:pt x="691" y="19"/>
                      <a:pt x="694" y="20"/>
                      <a:pt x="692" y="20"/>
                    </a:cubicBezTo>
                    <a:cubicBezTo>
                      <a:pt x="692" y="20"/>
                      <a:pt x="691" y="20"/>
                      <a:pt x="690" y="20"/>
                    </a:cubicBezTo>
                    <a:cubicBezTo>
                      <a:pt x="689" y="20"/>
                      <a:pt x="688" y="20"/>
                      <a:pt x="687" y="20"/>
                    </a:cubicBezTo>
                    <a:cubicBezTo>
                      <a:pt x="685" y="20"/>
                      <a:pt x="684" y="21"/>
                      <a:pt x="682" y="21"/>
                    </a:cubicBezTo>
                    <a:cubicBezTo>
                      <a:pt x="681" y="21"/>
                      <a:pt x="681" y="21"/>
                      <a:pt x="681" y="21"/>
                    </a:cubicBezTo>
                    <a:cubicBezTo>
                      <a:pt x="681" y="20"/>
                      <a:pt x="680" y="20"/>
                      <a:pt x="680" y="20"/>
                    </a:cubicBezTo>
                    <a:cubicBezTo>
                      <a:pt x="680" y="20"/>
                      <a:pt x="678" y="20"/>
                      <a:pt x="678" y="20"/>
                    </a:cubicBezTo>
                    <a:cubicBezTo>
                      <a:pt x="679" y="20"/>
                      <a:pt x="679" y="20"/>
                      <a:pt x="680" y="21"/>
                    </a:cubicBezTo>
                    <a:cubicBezTo>
                      <a:pt x="679" y="21"/>
                      <a:pt x="678" y="21"/>
                      <a:pt x="677" y="21"/>
                    </a:cubicBezTo>
                    <a:cubicBezTo>
                      <a:pt x="677" y="21"/>
                      <a:pt x="677" y="21"/>
                      <a:pt x="677" y="21"/>
                    </a:cubicBezTo>
                    <a:cubicBezTo>
                      <a:pt x="677" y="21"/>
                      <a:pt x="677" y="21"/>
                      <a:pt x="677" y="21"/>
                    </a:cubicBezTo>
                    <a:cubicBezTo>
                      <a:pt x="678" y="22"/>
                      <a:pt x="681" y="21"/>
                      <a:pt x="682" y="21"/>
                    </a:cubicBezTo>
                    <a:cubicBezTo>
                      <a:pt x="684" y="21"/>
                      <a:pt x="686" y="21"/>
                      <a:pt x="688" y="21"/>
                    </a:cubicBezTo>
                    <a:cubicBezTo>
                      <a:pt x="688" y="21"/>
                      <a:pt x="689" y="21"/>
                      <a:pt x="688" y="21"/>
                    </a:cubicBezTo>
                    <a:cubicBezTo>
                      <a:pt x="688" y="21"/>
                      <a:pt x="687" y="21"/>
                      <a:pt x="687" y="22"/>
                    </a:cubicBezTo>
                    <a:cubicBezTo>
                      <a:pt x="686" y="22"/>
                      <a:pt x="685" y="22"/>
                      <a:pt x="684" y="22"/>
                    </a:cubicBezTo>
                    <a:cubicBezTo>
                      <a:pt x="683" y="22"/>
                      <a:pt x="682" y="22"/>
                      <a:pt x="681" y="22"/>
                    </a:cubicBezTo>
                    <a:cubicBezTo>
                      <a:pt x="682" y="23"/>
                      <a:pt x="683" y="22"/>
                      <a:pt x="684" y="23"/>
                    </a:cubicBezTo>
                    <a:cubicBezTo>
                      <a:pt x="683" y="23"/>
                      <a:pt x="681" y="24"/>
                      <a:pt x="679" y="24"/>
                    </a:cubicBezTo>
                    <a:cubicBezTo>
                      <a:pt x="679" y="24"/>
                      <a:pt x="678" y="24"/>
                      <a:pt x="678" y="24"/>
                    </a:cubicBezTo>
                    <a:cubicBezTo>
                      <a:pt x="676" y="24"/>
                      <a:pt x="675" y="24"/>
                      <a:pt x="674" y="24"/>
                    </a:cubicBezTo>
                    <a:cubicBezTo>
                      <a:pt x="673" y="24"/>
                      <a:pt x="671" y="24"/>
                      <a:pt x="671" y="24"/>
                    </a:cubicBezTo>
                    <a:cubicBezTo>
                      <a:pt x="671" y="24"/>
                      <a:pt x="671" y="23"/>
                      <a:pt x="671" y="23"/>
                    </a:cubicBezTo>
                    <a:cubicBezTo>
                      <a:pt x="671" y="23"/>
                      <a:pt x="671" y="23"/>
                      <a:pt x="672" y="23"/>
                    </a:cubicBezTo>
                    <a:cubicBezTo>
                      <a:pt x="670" y="23"/>
                      <a:pt x="668" y="23"/>
                      <a:pt x="666" y="23"/>
                    </a:cubicBezTo>
                    <a:cubicBezTo>
                      <a:pt x="667" y="23"/>
                      <a:pt x="667" y="23"/>
                      <a:pt x="667" y="23"/>
                    </a:cubicBezTo>
                    <a:cubicBezTo>
                      <a:pt x="665" y="22"/>
                      <a:pt x="663" y="23"/>
                      <a:pt x="660" y="23"/>
                    </a:cubicBezTo>
                    <a:cubicBezTo>
                      <a:pt x="661" y="23"/>
                      <a:pt x="661" y="23"/>
                      <a:pt x="661" y="23"/>
                    </a:cubicBezTo>
                    <a:cubicBezTo>
                      <a:pt x="662" y="23"/>
                      <a:pt x="663" y="23"/>
                      <a:pt x="663" y="23"/>
                    </a:cubicBezTo>
                    <a:cubicBezTo>
                      <a:pt x="664" y="23"/>
                      <a:pt x="665" y="23"/>
                      <a:pt x="666" y="23"/>
                    </a:cubicBezTo>
                    <a:cubicBezTo>
                      <a:pt x="667" y="23"/>
                      <a:pt x="668" y="23"/>
                      <a:pt x="669" y="23"/>
                    </a:cubicBezTo>
                    <a:cubicBezTo>
                      <a:pt x="668" y="24"/>
                      <a:pt x="669" y="24"/>
                      <a:pt x="669" y="25"/>
                    </a:cubicBezTo>
                    <a:cubicBezTo>
                      <a:pt x="668" y="25"/>
                      <a:pt x="668" y="25"/>
                      <a:pt x="668" y="25"/>
                    </a:cubicBezTo>
                    <a:cubicBezTo>
                      <a:pt x="667" y="25"/>
                      <a:pt x="667" y="26"/>
                      <a:pt x="666" y="26"/>
                    </a:cubicBezTo>
                    <a:cubicBezTo>
                      <a:pt x="666" y="26"/>
                      <a:pt x="665" y="26"/>
                      <a:pt x="664" y="25"/>
                    </a:cubicBezTo>
                    <a:cubicBezTo>
                      <a:pt x="663" y="25"/>
                      <a:pt x="663" y="26"/>
                      <a:pt x="661" y="26"/>
                    </a:cubicBezTo>
                    <a:cubicBezTo>
                      <a:pt x="660" y="26"/>
                      <a:pt x="659" y="26"/>
                      <a:pt x="658" y="26"/>
                    </a:cubicBezTo>
                    <a:cubicBezTo>
                      <a:pt x="657" y="26"/>
                      <a:pt x="657" y="25"/>
                      <a:pt x="657" y="25"/>
                    </a:cubicBezTo>
                    <a:cubicBezTo>
                      <a:pt x="656" y="25"/>
                      <a:pt x="656" y="26"/>
                      <a:pt x="656" y="26"/>
                    </a:cubicBezTo>
                    <a:cubicBezTo>
                      <a:pt x="657" y="26"/>
                      <a:pt x="654" y="26"/>
                      <a:pt x="654" y="26"/>
                    </a:cubicBezTo>
                    <a:cubicBezTo>
                      <a:pt x="653" y="26"/>
                      <a:pt x="653" y="26"/>
                      <a:pt x="652" y="26"/>
                    </a:cubicBezTo>
                    <a:cubicBezTo>
                      <a:pt x="652" y="26"/>
                      <a:pt x="651" y="26"/>
                      <a:pt x="651" y="26"/>
                    </a:cubicBezTo>
                    <a:cubicBezTo>
                      <a:pt x="650" y="26"/>
                      <a:pt x="650" y="26"/>
                      <a:pt x="649" y="26"/>
                    </a:cubicBezTo>
                    <a:cubicBezTo>
                      <a:pt x="648" y="25"/>
                      <a:pt x="647" y="25"/>
                      <a:pt x="647" y="25"/>
                    </a:cubicBezTo>
                    <a:cubicBezTo>
                      <a:pt x="646" y="25"/>
                      <a:pt x="643" y="25"/>
                      <a:pt x="643" y="25"/>
                    </a:cubicBezTo>
                    <a:cubicBezTo>
                      <a:pt x="643" y="26"/>
                      <a:pt x="648" y="26"/>
                      <a:pt x="649" y="26"/>
                    </a:cubicBezTo>
                    <a:cubicBezTo>
                      <a:pt x="648" y="26"/>
                      <a:pt x="649" y="26"/>
                      <a:pt x="650" y="27"/>
                    </a:cubicBezTo>
                    <a:cubicBezTo>
                      <a:pt x="648" y="27"/>
                      <a:pt x="647" y="27"/>
                      <a:pt x="645" y="27"/>
                    </a:cubicBezTo>
                    <a:cubicBezTo>
                      <a:pt x="645" y="27"/>
                      <a:pt x="642" y="26"/>
                      <a:pt x="643" y="26"/>
                    </a:cubicBezTo>
                    <a:cubicBezTo>
                      <a:pt x="643" y="26"/>
                      <a:pt x="640" y="26"/>
                      <a:pt x="642" y="27"/>
                    </a:cubicBezTo>
                    <a:cubicBezTo>
                      <a:pt x="641" y="27"/>
                      <a:pt x="640" y="27"/>
                      <a:pt x="640" y="27"/>
                    </a:cubicBezTo>
                    <a:cubicBezTo>
                      <a:pt x="639" y="27"/>
                      <a:pt x="637" y="26"/>
                      <a:pt x="637" y="27"/>
                    </a:cubicBezTo>
                    <a:cubicBezTo>
                      <a:pt x="638" y="27"/>
                      <a:pt x="639" y="27"/>
                      <a:pt x="640" y="27"/>
                    </a:cubicBezTo>
                    <a:cubicBezTo>
                      <a:pt x="640" y="27"/>
                      <a:pt x="639" y="27"/>
                      <a:pt x="639" y="27"/>
                    </a:cubicBezTo>
                    <a:cubicBezTo>
                      <a:pt x="641" y="27"/>
                      <a:pt x="642" y="27"/>
                      <a:pt x="644" y="27"/>
                    </a:cubicBezTo>
                    <a:cubicBezTo>
                      <a:pt x="646" y="27"/>
                      <a:pt x="647" y="28"/>
                      <a:pt x="649" y="28"/>
                    </a:cubicBezTo>
                    <a:cubicBezTo>
                      <a:pt x="650" y="28"/>
                      <a:pt x="652" y="27"/>
                      <a:pt x="653" y="27"/>
                    </a:cubicBezTo>
                    <a:cubicBezTo>
                      <a:pt x="654" y="28"/>
                      <a:pt x="656" y="27"/>
                      <a:pt x="657" y="28"/>
                    </a:cubicBezTo>
                    <a:cubicBezTo>
                      <a:pt x="656" y="28"/>
                      <a:pt x="656" y="28"/>
                      <a:pt x="655" y="28"/>
                    </a:cubicBezTo>
                    <a:cubicBezTo>
                      <a:pt x="655" y="28"/>
                      <a:pt x="655" y="28"/>
                      <a:pt x="656" y="28"/>
                    </a:cubicBezTo>
                    <a:cubicBezTo>
                      <a:pt x="655" y="28"/>
                      <a:pt x="657" y="29"/>
                      <a:pt x="656" y="29"/>
                    </a:cubicBezTo>
                    <a:cubicBezTo>
                      <a:pt x="655" y="29"/>
                      <a:pt x="654" y="29"/>
                      <a:pt x="653" y="29"/>
                    </a:cubicBezTo>
                    <a:cubicBezTo>
                      <a:pt x="652" y="29"/>
                      <a:pt x="651" y="29"/>
                      <a:pt x="650" y="29"/>
                    </a:cubicBezTo>
                    <a:cubicBezTo>
                      <a:pt x="649" y="29"/>
                      <a:pt x="648" y="29"/>
                      <a:pt x="648" y="29"/>
                    </a:cubicBezTo>
                    <a:cubicBezTo>
                      <a:pt x="648" y="28"/>
                      <a:pt x="648" y="28"/>
                      <a:pt x="648" y="28"/>
                    </a:cubicBezTo>
                    <a:cubicBezTo>
                      <a:pt x="648" y="28"/>
                      <a:pt x="642" y="28"/>
                      <a:pt x="641" y="28"/>
                    </a:cubicBezTo>
                    <a:cubicBezTo>
                      <a:pt x="640" y="28"/>
                      <a:pt x="639" y="28"/>
                      <a:pt x="637" y="28"/>
                    </a:cubicBezTo>
                    <a:cubicBezTo>
                      <a:pt x="636" y="28"/>
                      <a:pt x="635" y="28"/>
                      <a:pt x="634" y="28"/>
                    </a:cubicBezTo>
                    <a:cubicBezTo>
                      <a:pt x="635" y="28"/>
                      <a:pt x="635" y="28"/>
                      <a:pt x="636" y="28"/>
                    </a:cubicBezTo>
                    <a:cubicBezTo>
                      <a:pt x="637" y="28"/>
                      <a:pt x="639" y="28"/>
                      <a:pt x="640" y="28"/>
                    </a:cubicBezTo>
                    <a:cubicBezTo>
                      <a:pt x="642" y="28"/>
                      <a:pt x="644" y="28"/>
                      <a:pt x="646" y="28"/>
                    </a:cubicBezTo>
                    <a:cubicBezTo>
                      <a:pt x="646" y="29"/>
                      <a:pt x="644" y="29"/>
                      <a:pt x="644" y="29"/>
                    </a:cubicBezTo>
                    <a:cubicBezTo>
                      <a:pt x="643" y="29"/>
                      <a:pt x="641" y="29"/>
                      <a:pt x="640" y="29"/>
                    </a:cubicBezTo>
                    <a:cubicBezTo>
                      <a:pt x="639" y="29"/>
                      <a:pt x="638" y="29"/>
                      <a:pt x="637" y="29"/>
                    </a:cubicBezTo>
                    <a:cubicBezTo>
                      <a:pt x="636" y="29"/>
                      <a:pt x="636" y="29"/>
                      <a:pt x="635" y="29"/>
                    </a:cubicBezTo>
                    <a:cubicBezTo>
                      <a:pt x="633" y="29"/>
                      <a:pt x="631" y="29"/>
                      <a:pt x="629" y="29"/>
                    </a:cubicBezTo>
                    <a:cubicBezTo>
                      <a:pt x="630" y="29"/>
                      <a:pt x="632" y="29"/>
                      <a:pt x="633" y="29"/>
                    </a:cubicBezTo>
                    <a:cubicBezTo>
                      <a:pt x="634" y="29"/>
                      <a:pt x="635" y="29"/>
                      <a:pt x="635" y="29"/>
                    </a:cubicBezTo>
                    <a:cubicBezTo>
                      <a:pt x="635" y="29"/>
                      <a:pt x="630" y="31"/>
                      <a:pt x="630" y="31"/>
                    </a:cubicBezTo>
                    <a:cubicBezTo>
                      <a:pt x="630" y="31"/>
                      <a:pt x="633" y="30"/>
                      <a:pt x="633" y="30"/>
                    </a:cubicBezTo>
                    <a:cubicBezTo>
                      <a:pt x="635" y="30"/>
                      <a:pt x="636" y="30"/>
                      <a:pt x="638" y="29"/>
                    </a:cubicBezTo>
                    <a:cubicBezTo>
                      <a:pt x="640" y="29"/>
                      <a:pt x="641" y="29"/>
                      <a:pt x="643" y="29"/>
                    </a:cubicBezTo>
                    <a:cubicBezTo>
                      <a:pt x="644" y="29"/>
                      <a:pt x="646" y="29"/>
                      <a:pt x="647" y="30"/>
                    </a:cubicBezTo>
                    <a:cubicBezTo>
                      <a:pt x="646" y="30"/>
                      <a:pt x="643" y="29"/>
                      <a:pt x="642" y="31"/>
                    </a:cubicBezTo>
                    <a:cubicBezTo>
                      <a:pt x="643" y="31"/>
                      <a:pt x="644" y="30"/>
                      <a:pt x="645" y="30"/>
                    </a:cubicBezTo>
                    <a:cubicBezTo>
                      <a:pt x="646" y="30"/>
                      <a:pt x="647" y="30"/>
                      <a:pt x="648" y="30"/>
                    </a:cubicBezTo>
                    <a:cubicBezTo>
                      <a:pt x="649" y="30"/>
                      <a:pt x="649" y="30"/>
                      <a:pt x="650" y="30"/>
                    </a:cubicBezTo>
                    <a:cubicBezTo>
                      <a:pt x="651" y="30"/>
                      <a:pt x="651" y="30"/>
                      <a:pt x="651" y="31"/>
                    </a:cubicBezTo>
                    <a:cubicBezTo>
                      <a:pt x="651" y="31"/>
                      <a:pt x="652" y="31"/>
                      <a:pt x="652" y="31"/>
                    </a:cubicBezTo>
                    <a:cubicBezTo>
                      <a:pt x="652" y="31"/>
                      <a:pt x="651" y="31"/>
                      <a:pt x="651" y="31"/>
                    </a:cubicBezTo>
                    <a:cubicBezTo>
                      <a:pt x="651" y="31"/>
                      <a:pt x="651" y="31"/>
                      <a:pt x="652" y="31"/>
                    </a:cubicBezTo>
                    <a:cubicBezTo>
                      <a:pt x="651" y="31"/>
                      <a:pt x="651" y="31"/>
                      <a:pt x="651" y="32"/>
                    </a:cubicBezTo>
                    <a:cubicBezTo>
                      <a:pt x="651" y="32"/>
                      <a:pt x="650" y="32"/>
                      <a:pt x="650" y="32"/>
                    </a:cubicBezTo>
                    <a:cubicBezTo>
                      <a:pt x="650" y="32"/>
                      <a:pt x="651" y="32"/>
                      <a:pt x="651" y="33"/>
                    </a:cubicBezTo>
                    <a:cubicBezTo>
                      <a:pt x="650" y="32"/>
                      <a:pt x="648" y="33"/>
                      <a:pt x="647" y="33"/>
                    </a:cubicBezTo>
                    <a:cubicBezTo>
                      <a:pt x="646" y="33"/>
                      <a:pt x="645" y="33"/>
                      <a:pt x="644" y="33"/>
                    </a:cubicBezTo>
                    <a:cubicBezTo>
                      <a:pt x="642" y="33"/>
                      <a:pt x="639" y="32"/>
                      <a:pt x="637" y="33"/>
                    </a:cubicBezTo>
                    <a:cubicBezTo>
                      <a:pt x="638" y="34"/>
                      <a:pt x="640" y="33"/>
                      <a:pt x="641" y="33"/>
                    </a:cubicBezTo>
                    <a:cubicBezTo>
                      <a:pt x="642" y="34"/>
                      <a:pt x="643" y="34"/>
                      <a:pt x="644" y="34"/>
                    </a:cubicBezTo>
                    <a:cubicBezTo>
                      <a:pt x="644" y="34"/>
                      <a:pt x="645" y="34"/>
                      <a:pt x="646" y="34"/>
                    </a:cubicBezTo>
                    <a:cubicBezTo>
                      <a:pt x="646" y="35"/>
                      <a:pt x="645" y="35"/>
                      <a:pt x="645" y="35"/>
                    </a:cubicBezTo>
                    <a:cubicBezTo>
                      <a:pt x="644" y="35"/>
                      <a:pt x="643" y="35"/>
                      <a:pt x="643" y="35"/>
                    </a:cubicBezTo>
                    <a:cubicBezTo>
                      <a:pt x="641" y="36"/>
                      <a:pt x="640" y="35"/>
                      <a:pt x="639" y="35"/>
                    </a:cubicBezTo>
                    <a:cubicBezTo>
                      <a:pt x="638" y="35"/>
                      <a:pt x="637" y="35"/>
                      <a:pt x="636" y="35"/>
                    </a:cubicBezTo>
                    <a:cubicBezTo>
                      <a:pt x="635" y="35"/>
                      <a:pt x="634" y="35"/>
                      <a:pt x="633" y="36"/>
                    </a:cubicBezTo>
                    <a:cubicBezTo>
                      <a:pt x="634" y="36"/>
                      <a:pt x="636" y="36"/>
                      <a:pt x="637" y="36"/>
                    </a:cubicBezTo>
                    <a:cubicBezTo>
                      <a:pt x="638" y="37"/>
                      <a:pt x="639" y="36"/>
                      <a:pt x="641" y="36"/>
                    </a:cubicBezTo>
                    <a:cubicBezTo>
                      <a:pt x="640" y="37"/>
                      <a:pt x="638" y="37"/>
                      <a:pt x="637" y="38"/>
                    </a:cubicBezTo>
                    <a:cubicBezTo>
                      <a:pt x="637" y="38"/>
                      <a:pt x="636" y="37"/>
                      <a:pt x="636" y="37"/>
                    </a:cubicBezTo>
                    <a:cubicBezTo>
                      <a:pt x="635" y="37"/>
                      <a:pt x="635" y="37"/>
                      <a:pt x="634" y="37"/>
                    </a:cubicBezTo>
                    <a:cubicBezTo>
                      <a:pt x="633" y="38"/>
                      <a:pt x="632" y="38"/>
                      <a:pt x="631" y="38"/>
                    </a:cubicBezTo>
                    <a:cubicBezTo>
                      <a:pt x="630" y="38"/>
                      <a:pt x="629" y="38"/>
                      <a:pt x="628" y="38"/>
                    </a:cubicBezTo>
                    <a:cubicBezTo>
                      <a:pt x="627" y="38"/>
                      <a:pt x="626" y="38"/>
                      <a:pt x="625" y="38"/>
                    </a:cubicBezTo>
                    <a:cubicBezTo>
                      <a:pt x="625" y="38"/>
                      <a:pt x="624" y="38"/>
                      <a:pt x="624" y="37"/>
                    </a:cubicBezTo>
                    <a:cubicBezTo>
                      <a:pt x="624" y="37"/>
                      <a:pt x="623" y="37"/>
                      <a:pt x="623" y="37"/>
                    </a:cubicBezTo>
                    <a:cubicBezTo>
                      <a:pt x="623" y="38"/>
                      <a:pt x="622" y="38"/>
                      <a:pt x="622" y="38"/>
                    </a:cubicBezTo>
                    <a:cubicBezTo>
                      <a:pt x="621" y="38"/>
                      <a:pt x="622" y="38"/>
                      <a:pt x="622" y="38"/>
                    </a:cubicBezTo>
                    <a:cubicBezTo>
                      <a:pt x="622" y="39"/>
                      <a:pt x="623" y="38"/>
                      <a:pt x="623" y="39"/>
                    </a:cubicBezTo>
                    <a:cubicBezTo>
                      <a:pt x="623" y="39"/>
                      <a:pt x="622" y="39"/>
                      <a:pt x="622" y="39"/>
                    </a:cubicBezTo>
                    <a:cubicBezTo>
                      <a:pt x="622" y="40"/>
                      <a:pt x="621" y="40"/>
                      <a:pt x="621" y="40"/>
                    </a:cubicBezTo>
                    <a:cubicBezTo>
                      <a:pt x="621" y="40"/>
                      <a:pt x="623" y="40"/>
                      <a:pt x="623" y="40"/>
                    </a:cubicBezTo>
                    <a:cubicBezTo>
                      <a:pt x="623" y="41"/>
                      <a:pt x="621" y="41"/>
                      <a:pt x="621" y="41"/>
                    </a:cubicBezTo>
                    <a:cubicBezTo>
                      <a:pt x="621" y="41"/>
                      <a:pt x="620" y="41"/>
                      <a:pt x="620" y="41"/>
                    </a:cubicBezTo>
                    <a:cubicBezTo>
                      <a:pt x="620" y="42"/>
                      <a:pt x="619" y="42"/>
                      <a:pt x="619" y="42"/>
                    </a:cubicBezTo>
                    <a:cubicBezTo>
                      <a:pt x="618" y="42"/>
                      <a:pt x="617" y="42"/>
                      <a:pt x="616" y="42"/>
                    </a:cubicBezTo>
                    <a:cubicBezTo>
                      <a:pt x="615" y="43"/>
                      <a:pt x="614" y="43"/>
                      <a:pt x="613" y="43"/>
                    </a:cubicBezTo>
                    <a:cubicBezTo>
                      <a:pt x="614" y="43"/>
                      <a:pt x="614" y="43"/>
                      <a:pt x="614" y="42"/>
                    </a:cubicBezTo>
                    <a:cubicBezTo>
                      <a:pt x="614" y="42"/>
                      <a:pt x="613" y="43"/>
                      <a:pt x="612" y="43"/>
                    </a:cubicBezTo>
                    <a:cubicBezTo>
                      <a:pt x="611" y="43"/>
                      <a:pt x="611" y="43"/>
                      <a:pt x="610" y="43"/>
                    </a:cubicBezTo>
                    <a:cubicBezTo>
                      <a:pt x="609" y="43"/>
                      <a:pt x="608" y="43"/>
                      <a:pt x="608" y="43"/>
                    </a:cubicBezTo>
                    <a:cubicBezTo>
                      <a:pt x="607" y="43"/>
                      <a:pt x="606" y="43"/>
                      <a:pt x="605" y="43"/>
                    </a:cubicBezTo>
                    <a:cubicBezTo>
                      <a:pt x="604" y="43"/>
                      <a:pt x="602" y="43"/>
                      <a:pt x="601" y="43"/>
                    </a:cubicBezTo>
                    <a:cubicBezTo>
                      <a:pt x="601" y="42"/>
                      <a:pt x="600" y="42"/>
                      <a:pt x="600" y="42"/>
                    </a:cubicBezTo>
                    <a:cubicBezTo>
                      <a:pt x="600" y="42"/>
                      <a:pt x="599" y="42"/>
                      <a:pt x="599" y="42"/>
                    </a:cubicBezTo>
                    <a:cubicBezTo>
                      <a:pt x="599" y="42"/>
                      <a:pt x="599" y="42"/>
                      <a:pt x="599" y="42"/>
                    </a:cubicBezTo>
                    <a:cubicBezTo>
                      <a:pt x="599" y="41"/>
                      <a:pt x="598" y="41"/>
                      <a:pt x="598" y="41"/>
                    </a:cubicBezTo>
                    <a:cubicBezTo>
                      <a:pt x="598" y="41"/>
                      <a:pt x="598" y="41"/>
                      <a:pt x="598" y="41"/>
                    </a:cubicBezTo>
                    <a:cubicBezTo>
                      <a:pt x="598" y="41"/>
                      <a:pt x="598" y="41"/>
                      <a:pt x="598" y="41"/>
                    </a:cubicBezTo>
                    <a:cubicBezTo>
                      <a:pt x="598" y="41"/>
                      <a:pt x="598" y="40"/>
                      <a:pt x="598" y="40"/>
                    </a:cubicBezTo>
                    <a:cubicBezTo>
                      <a:pt x="597" y="40"/>
                      <a:pt x="598" y="40"/>
                      <a:pt x="598" y="40"/>
                    </a:cubicBezTo>
                    <a:cubicBezTo>
                      <a:pt x="597" y="40"/>
                      <a:pt x="596" y="40"/>
                      <a:pt x="597" y="40"/>
                    </a:cubicBezTo>
                    <a:cubicBezTo>
                      <a:pt x="597" y="41"/>
                      <a:pt x="598" y="41"/>
                      <a:pt x="597" y="41"/>
                    </a:cubicBezTo>
                    <a:cubicBezTo>
                      <a:pt x="595" y="42"/>
                      <a:pt x="598" y="42"/>
                      <a:pt x="599" y="42"/>
                    </a:cubicBezTo>
                    <a:cubicBezTo>
                      <a:pt x="599" y="43"/>
                      <a:pt x="597" y="43"/>
                      <a:pt x="597" y="43"/>
                    </a:cubicBezTo>
                    <a:cubicBezTo>
                      <a:pt x="596" y="43"/>
                      <a:pt x="595" y="43"/>
                      <a:pt x="594" y="43"/>
                    </a:cubicBezTo>
                    <a:cubicBezTo>
                      <a:pt x="593" y="43"/>
                      <a:pt x="593" y="43"/>
                      <a:pt x="592" y="43"/>
                    </a:cubicBezTo>
                    <a:cubicBezTo>
                      <a:pt x="593" y="43"/>
                      <a:pt x="594" y="43"/>
                      <a:pt x="593" y="44"/>
                    </a:cubicBezTo>
                    <a:cubicBezTo>
                      <a:pt x="592" y="44"/>
                      <a:pt x="595" y="44"/>
                      <a:pt x="595" y="44"/>
                    </a:cubicBezTo>
                    <a:cubicBezTo>
                      <a:pt x="598" y="43"/>
                      <a:pt x="601" y="43"/>
                      <a:pt x="604" y="44"/>
                    </a:cubicBezTo>
                    <a:cubicBezTo>
                      <a:pt x="603" y="44"/>
                      <a:pt x="602" y="44"/>
                      <a:pt x="601" y="45"/>
                    </a:cubicBezTo>
                    <a:cubicBezTo>
                      <a:pt x="603" y="45"/>
                      <a:pt x="604" y="44"/>
                      <a:pt x="606" y="44"/>
                    </a:cubicBezTo>
                    <a:cubicBezTo>
                      <a:pt x="607" y="43"/>
                      <a:pt x="609" y="43"/>
                      <a:pt x="611" y="44"/>
                    </a:cubicBezTo>
                    <a:cubicBezTo>
                      <a:pt x="610" y="44"/>
                      <a:pt x="610" y="45"/>
                      <a:pt x="610" y="45"/>
                    </a:cubicBezTo>
                    <a:cubicBezTo>
                      <a:pt x="610" y="45"/>
                      <a:pt x="609" y="45"/>
                      <a:pt x="609" y="45"/>
                    </a:cubicBezTo>
                    <a:cubicBezTo>
                      <a:pt x="609" y="45"/>
                      <a:pt x="606" y="46"/>
                      <a:pt x="606" y="46"/>
                    </a:cubicBezTo>
                    <a:cubicBezTo>
                      <a:pt x="606" y="46"/>
                      <a:pt x="609" y="46"/>
                      <a:pt x="609" y="46"/>
                    </a:cubicBezTo>
                    <a:cubicBezTo>
                      <a:pt x="609" y="46"/>
                      <a:pt x="609" y="46"/>
                      <a:pt x="608" y="47"/>
                    </a:cubicBezTo>
                    <a:cubicBezTo>
                      <a:pt x="609" y="47"/>
                      <a:pt x="609" y="47"/>
                      <a:pt x="609" y="47"/>
                    </a:cubicBezTo>
                    <a:cubicBezTo>
                      <a:pt x="610" y="47"/>
                      <a:pt x="610" y="47"/>
                      <a:pt x="610" y="46"/>
                    </a:cubicBezTo>
                    <a:cubicBezTo>
                      <a:pt x="610" y="46"/>
                      <a:pt x="611" y="46"/>
                      <a:pt x="611" y="46"/>
                    </a:cubicBezTo>
                    <a:cubicBezTo>
                      <a:pt x="612" y="46"/>
                      <a:pt x="612" y="46"/>
                      <a:pt x="612" y="46"/>
                    </a:cubicBezTo>
                    <a:cubicBezTo>
                      <a:pt x="613" y="46"/>
                      <a:pt x="614" y="45"/>
                      <a:pt x="615" y="45"/>
                    </a:cubicBezTo>
                    <a:cubicBezTo>
                      <a:pt x="615" y="45"/>
                      <a:pt x="616" y="46"/>
                      <a:pt x="616" y="46"/>
                    </a:cubicBezTo>
                    <a:cubicBezTo>
                      <a:pt x="616" y="46"/>
                      <a:pt x="615" y="47"/>
                      <a:pt x="615" y="47"/>
                    </a:cubicBezTo>
                    <a:cubicBezTo>
                      <a:pt x="616" y="47"/>
                      <a:pt x="615" y="48"/>
                      <a:pt x="614" y="48"/>
                    </a:cubicBezTo>
                    <a:cubicBezTo>
                      <a:pt x="614" y="48"/>
                      <a:pt x="614" y="48"/>
                      <a:pt x="614" y="48"/>
                    </a:cubicBezTo>
                    <a:cubicBezTo>
                      <a:pt x="614" y="48"/>
                      <a:pt x="613" y="48"/>
                      <a:pt x="613" y="48"/>
                    </a:cubicBezTo>
                    <a:cubicBezTo>
                      <a:pt x="612" y="49"/>
                      <a:pt x="612" y="49"/>
                      <a:pt x="611" y="49"/>
                    </a:cubicBezTo>
                    <a:cubicBezTo>
                      <a:pt x="610" y="49"/>
                      <a:pt x="609" y="50"/>
                      <a:pt x="608" y="50"/>
                    </a:cubicBezTo>
                    <a:cubicBezTo>
                      <a:pt x="607" y="50"/>
                      <a:pt x="607" y="49"/>
                      <a:pt x="608" y="49"/>
                    </a:cubicBezTo>
                    <a:cubicBezTo>
                      <a:pt x="607" y="49"/>
                      <a:pt x="605" y="50"/>
                      <a:pt x="604" y="50"/>
                    </a:cubicBezTo>
                    <a:cubicBezTo>
                      <a:pt x="603" y="50"/>
                      <a:pt x="602" y="51"/>
                      <a:pt x="602" y="51"/>
                    </a:cubicBezTo>
                    <a:cubicBezTo>
                      <a:pt x="601" y="51"/>
                      <a:pt x="600" y="51"/>
                      <a:pt x="599" y="51"/>
                    </a:cubicBezTo>
                    <a:cubicBezTo>
                      <a:pt x="598" y="51"/>
                      <a:pt x="597" y="52"/>
                      <a:pt x="595" y="52"/>
                    </a:cubicBezTo>
                    <a:cubicBezTo>
                      <a:pt x="595" y="52"/>
                      <a:pt x="594" y="52"/>
                      <a:pt x="593" y="52"/>
                    </a:cubicBezTo>
                    <a:cubicBezTo>
                      <a:pt x="592" y="52"/>
                      <a:pt x="591" y="52"/>
                      <a:pt x="591" y="52"/>
                    </a:cubicBezTo>
                    <a:cubicBezTo>
                      <a:pt x="590" y="52"/>
                      <a:pt x="589" y="53"/>
                      <a:pt x="588" y="53"/>
                    </a:cubicBezTo>
                    <a:cubicBezTo>
                      <a:pt x="589" y="52"/>
                      <a:pt x="589" y="52"/>
                      <a:pt x="590" y="52"/>
                    </a:cubicBezTo>
                    <a:cubicBezTo>
                      <a:pt x="589" y="52"/>
                      <a:pt x="589" y="52"/>
                      <a:pt x="589" y="52"/>
                    </a:cubicBezTo>
                    <a:cubicBezTo>
                      <a:pt x="590" y="52"/>
                      <a:pt x="593" y="51"/>
                      <a:pt x="593" y="50"/>
                    </a:cubicBezTo>
                    <a:cubicBezTo>
                      <a:pt x="593" y="50"/>
                      <a:pt x="591" y="50"/>
                      <a:pt x="591" y="50"/>
                    </a:cubicBezTo>
                    <a:cubicBezTo>
                      <a:pt x="591" y="49"/>
                      <a:pt x="591" y="49"/>
                      <a:pt x="591" y="49"/>
                    </a:cubicBezTo>
                    <a:cubicBezTo>
                      <a:pt x="591" y="49"/>
                      <a:pt x="590" y="49"/>
                      <a:pt x="590" y="50"/>
                    </a:cubicBezTo>
                    <a:cubicBezTo>
                      <a:pt x="590" y="50"/>
                      <a:pt x="589" y="50"/>
                      <a:pt x="588" y="50"/>
                    </a:cubicBezTo>
                    <a:cubicBezTo>
                      <a:pt x="587" y="50"/>
                      <a:pt x="586" y="50"/>
                      <a:pt x="585" y="49"/>
                    </a:cubicBezTo>
                    <a:cubicBezTo>
                      <a:pt x="586" y="49"/>
                      <a:pt x="587" y="49"/>
                      <a:pt x="586" y="49"/>
                    </a:cubicBezTo>
                    <a:cubicBezTo>
                      <a:pt x="587" y="48"/>
                      <a:pt x="588" y="49"/>
                      <a:pt x="589" y="48"/>
                    </a:cubicBezTo>
                    <a:cubicBezTo>
                      <a:pt x="588" y="48"/>
                      <a:pt x="586" y="49"/>
                      <a:pt x="585" y="48"/>
                    </a:cubicBezTo>
                    <a:cubicBezTo>
                      <a:pt x="584" y="48"/>
                      <a:pt x="585" y="47"/>
                      <a:pt x="584" y="47"/>
                    </a:cubicBezTo>
                    <a:cubicBezTo>
                      <a:pt x="584" y="47"/>
                      <a:pt x="584" y="48"/>
                      <a:pt x="584" y="48"/>
                    </a:cubicBezTo>
                    <a:cubicBezTo>
                      <a:pt x="584" y="49"/>
                      <a:pt x="585" y="49"/>
                      <a:pt x="586" y="49"/>
                    </a:cubicBezTo>
                    <a:cubicBezTo>
                      <a:pt x="585" y="49"/>
                      <a:pt x="585" y="49"/>
                      <a:pt x="585" y="50"/>
                    </a:cubicBezTo>
                    <a:cubicBezTo>
                      <a:pt x="584" y="50"/>
                      <a:pt x="584" y="50"/>
                      <a:pt x="583" y="50"/>
                    </a:cubicBezTo>
                    <a:cubicBezTo>
                      <a:pt x="582" y="51"/>
                      <a:pt x="582" y="50"/>
                      <a:pt x="581" y="50"/>
                    </a:cubicBezTo>
                    <a:cubicBezTo>
                      <a:pt x="580" y="51"/>
                      <a:pt x="580" y="51"/>
                      <a:pt x="579" y="50"/>
                    </a:cubicBezTo>
                    <a:cubicBezTo>
                      <a:pt x="578" y="50"/>
                      <a:pt x="579" y="50"/>
                      <a:pt x="579" y="49"/>
                    </a:cubicBezTo>
                    <a:cubicBezTo>
                      <a:pt x="579" y="48"/>
                      <a:pt x="579" y="49"/>
                      <a:pt x="579" y="48"/>
                    </a:cubicBezTo>
                    <a:cubicBezTo>
                      <a:pt x="579" y="48"/>
                      <a:pt x="579" y="48"/>
                      <a:pt x="579" y="47"/>
                    </a:cubicBezTo>
                    <a:cubicBezTo>
                      <a:pt x="579" y="47"/>
                      <a:pt x="578" y="48"/>
                      <a:pt x="578" y="48"/>
                    </a:cubicBezTo>
                    <a:cubicBezTo>
                      <a:pt x="578" y="48"/>
                      <a:pt x="578" y="49"/>
                      <a:pt x="578" y="49"/>
                    </a:cubicBezTo>
                    <a:cubicBezTo>
                      <a:pt x="578" y="49"/>
                      <a:pt x="578" y="50"/>
                      <a:pt x="578" y="50"/>
                    </a:cubicBezTo>
                    <a:cubicBezTo>
                      <a:pt x="577" y="50"/>
                      <a:pt x="578" y="50"/>
                      <a:pt x="577" y="50"/>
                    </a:cubicBezTo>
                    <a:cubicBezTo>
                      <a:pt x="577" y="50"/>
                      <a:pt x="576" y="50"/>
                      <a:pt x="576" y="50"/>
                    </a:cubicBezTo>
                    <a:cubicBezTo>
                      <a:pt x="575" y="50"/>
                      <a:pt x="575" y="50"/>
                      <a:pt x="574" y="50"/>
                    </a:cubicBezTo>
                    <a:cubicBezTo>
                      <a:pt x="574" y="50"/>
                      <a:pt x="574" y="50"/>
                      <a:pt x="574" y="50"/>
                    </a:cubicBezTo>
                    <a:cubicBezTo>
                      <a:pt x="573" y="49"/>
                      <a:pt x="573" y="49"/>
                      <a:pt x="573" y="49"/>
                    </a:cubicBezTo>
                    <a:cubicBezTo>
                      <a:pt x="574" y="48"/>
                      <a:pt x="573" y="48"/>
                      <a:pt x="572" y="48"/>
                    </a:cubicBezTo>
                    <a:cubicBezTo>
                      <a:pt x="573" y="49"/>
                      <a:pt x="572" y="49"/>
                      <a:pt x="572" y="49"/>
                    </a:cubicBezTo>
                    <a:cubicBezTo>
                      <a:pt x="571" y="50"/>
                      <a:pt x="571" y="50"/>
                      <a:pt x="570" y="50"/>
                    </a:cubicBezTo>
                    <a:cubicBezTo>
                      <a:pt x="570" y="50"/>
                      <a:pt x="569" y="50"/>
                      <a:pt x="569" y="50"/>
                    </a:cubicBezTo>
                    <a:cubicBezTo>
                      <a:pt x="568" y="50"/>
                      <a:pt x="568" y="50"/>
                      <a:pt x="568" y="49"/>
                    </a:cubicBezTo>
                    <a:cubicBezTo>
                      <a:pt x="568" y="48"/>
                      <a:pt x="566" y="49"/>
                      <a:pt x="566" y="50"/>
                    </a:cubicBezTo>
                    <a:cubicBezTo>
                      <a:pt x="566" y="51"/>
                      <a:pt x="569" y="51"/>
                      <a:pt x="569" y="51"/>
                    </a:cubicBezTo>
                    <a:cubicBezTo>
                      <a:pt x="569" y="51"/>
                      <a:pt x="565" y="51"/>
                      <a:pt x="565" y="51"/>
                    </a:cubicBezTo>
                    <a:cubicBezTo>
                      <a:pt x="563" y="51"/>
                      <a:pt x="561" y="51"/>
                      <a:pt x="559" y="51"/>
                    </a:cubicBezTo>
                    <a:cubicBezTo>
                      <a:pt x="559" y="51"/>
                      <a:pt x="556" y="51"/>
                      <a:pt x="557" y="50"/>
                    </a:cubicBezTo>
                    <a:cubicBezTo>
                      <a:pt x="557" y="50"/>
                      <a:pt x="558" y="50"/>
                      <a:pt x="558" y="50"/>
                    </a:cubicBezTo>
                    <a:cubicBezTo>
                      <a:pt x="560" y="49"/>
                      <a:pt x="558" y="48"/>
                      <a:pt x="557" y="49"/>
                    </a:cubicBezTo>
                    <a:cubicBezTo>
                      <a:pt x="558" y="49"/>
                      <a:pt x="558" y="49"/>
                      <a:pt x="558" y="49"/>
                    </a:cubicBezTo>
                    <a:cubicBezTo>
                      <a:pt x="557" y="50"/>
                      <a:pt x="556" y="50"/>
                      <a:pt x="555" y="50"/>
                    </a:cubicBezTo>
                    <a:cubicBezTo>
                      <a:pt x="554" y="51"/>
                      <a:pt x="553" y="51"/>
                      <a:pt x="552" y="50"/>
                    </a:cubicBezTo>
                    <a:cubicBezTo>
                      <a:pt x="553" y="50"/>
                      <a:pt x="551" y="50"/>
                      <a:pt x="551" y="50"/>
                    </a:cubicBezTo>
                    <a:cubicBezTo>
                      <a:pt x="551" y="50"/>
                      <a:pt x="552" y="49"/>
                      <a:pt x="551" y="49"/>
                    </a:cubicBezTo>
                    <a:cubicBezTo>
                      <a:pt x="551" y="49"/>
                      <a:pt x="551" y="49"/>
                      <a:pt x="552" y="49"/>
                    </a:cubicBezTo>
                    <a:cubicBezTo>
                      <a:pt x="551" y="48"/>
                      <a:pt x="550" y="49"/>
                      <a:pt x="551" y="50"/>
                    </a:cubicBezTo>
                    <a:cubicBezTo>
                      <a:pt x="550" y="50"/>
                      <a:pt x="549" y="50"/>
                      <a:pt x="550" y="50"/>
                    </a:cubicBezTo>
                    <a:cubicBezTo>
                      <a:pt x="550" y="50"/>
                      <a:pt x="549" y="50"/>
                      <a:pt x="550" y="51"/>
                    </a:cubicBezTo>
                    <a:cubicBezTo>
                      <a:pt x="550" y="51"/>
                      <a:pt x="547" y="51"/>
                      <a:pt x="548" y="50"/>
                    </a:cubicBezTo>
                    <a:cubicBezTo>
                      <a:pt x="547" y="50"/>
                      <a:pt x="546" y="51"/>
                      <a:pt x="546" y="51"/>
                    </a:cubicBezTo>
                    <a:cubicBezTo>
                      <a:pt x="545" y="51"/>
                      <a:pt x="544" y="51"/>
                      <a:pt x="544" y="50"/>
                    </a:cubicBezTo>
                    <a:cubicBezTo>
                      <a:pt x="544" y="50"/>
                      <a:pt x="545" y="50"/>
                      <a:pt x="544" y="50"/>
                    </a:cubicBezTo>
                    <a:cubicBezTo>
                      <a:pt x="545" y="50"/>
                      <a:pt x="545" y="50"/>
                      <a:pt x="545" y="49"/>
                    </a:cubicBezTo>
                    <a:cubicBezTo>
                      <a:pt x="545" y="49"/>
                      <a:pt x="545" y="48"/>
                      <a:pt x="546" y="48"/>
                    </a:cubicBezTo>
                    <a:cubicBezTo>
                      <a:pt x="546" y="48"/>
                      <a:pt x="546" y="48"/>
                      <a:pt x="546" y="48"/>
                    </a:cubicBezTo>
                    <a:cubicBezTo>
                      <a:pt x="547" y="47"/>
                      <a:pt x="547" y="47"/>
                      <a:pt x="547" y="47"/>
                    </a:cubicBezTo>
                    <a:cubicBezTo>
                      <a:pt x="547" y="47"/>
                      <a:pt x="546" y="47"/>
                      <a:pt x="545" y="48"/>
                    </a:cubicBezTo>
                    <a:cubicBezTo>
                      <a:pt x="545" y="48"/>
                      <a:pt x="545" y="48"/>
                      <a:pt x="545" y="48"/>
                    </a:cubicBezTo>
                    <a:cubicBezTo>
                      <a:pt x="545" y="49"/>
                      <a:pt x="545" y="49"/>
                      <a:pt x="544" y="49"/>
                    </a:cubicBezTo>
                    <a:cubicBezTo>
                      <a:pt x="546" y="49"/>
                      <a:pt x="542" y="51"/>
                      <a:pt x="542" y="50"/>
                    </a:cubicBezTo>
                    <a:cubicBezTo>
                      <a:pt x="542" y="50"/>
                      <a:pt x="544" y="49"/>
                      <a:pt x="544" y="49"/>
                    </a:cubicBezTo>
                    <a:cubicBezTo>
                      <a:pt x="544" y="49"/>
                      <a:pt x="542" y="50"/>
                      <a:pt x="542" y="50"/>
                    </a:cubicBezTo>
                    <a:cubicBezTo>
                      <a:pt x="542" y="50"/>
                      <a:pt x="540" y="51"/>
                      <a:pt x="540" y="50"/>
                    </a:cubicBezTo>
                    <a:cubicBezTo>
                      <a:pt x="539" y="50"/>
                      <a:pt x="539" y="50"/>
                      <a:pt x="538" y="50"/>
                    </a:cubicBezTo>
                    <a:cubicBezTo>
                      <a:pt x="538" y="50"/>
                      <a:pt x="539" y="49"/>
                      <a:pt x="539" y="49"/>
                    </a:cubicBezTo>
                    <a:cubicBezTo>
                      <a:pt x="539" y="49"/>
                      <a:pt x="538" y="49"/>
                      <a:pt x="537" y="49"/>
                    </a:cubicBezTo>
                    <a:cubicBezTo>
                      <a:pt x="538" y="49"/>
                      <a:pt x="539" y="48"/>
                      <a:pt x="539" y="48"/>
                    </a:cubicBezTo>
                    <a:cubicBezTo>
                      <a:pt x="540" y="48"/>
                      <a:pt x="540" y="48"/>
                      <a:pt x="540" y="48"/>
                    </a:cubicBezTo>
                    <a:cubicBezTo>
                      <a:pt x="540" y="48"/>
                      <a:pt x="540" y="48"/>
                      <a:pt x="541" y="48"/>
                    </a:cubicBezTo>
                    <a:cubicBezTo>
                      <a:pt x="540" y="47"/>
                      <a:pt x="542" y="46"/>
                      <a:pt x="542" y="46"/>
                    </a:cubicBezTo>
                    <a:cubicBezTo>
                      <a:pt x="543" y="46"/>
                      <a:pt x="544" y="46"/>
                      <a:pt x="545" y="46"/>
                    </a:cubicBezTo>
                    <a:cubicBezTo>
                      <a:pt x="547" y="45"/>
                      <a:pt x="549" y="45"/>
                      <a:pt x="551" y="45"/>
                    </a:cubicBezTo>
                    <a:cubicBezTo>
                      <a:pt x="550" y="45"/>
                      <a:pt x="550" y="45"/>
                      <a:pt x="550" y="45"/>
                    </a:cubicBezTo>
                    <a:cubicBezTo>
                      <a:pt x="550" y="45"/>
                      <a:pt x="551" y="44"/>
                      <a:pt x="551" y="44"/>
                    </a:cubicBezTo>
                    <a:cubicBezTo>
                      <a:pt x="552" y="44"/>
                      <a:pt x="553" y="44"/>
                      <a:pt x="552" y="44"/>
                    </a:cubicBezTo>
                    <a:cubicBezTo>
                      <a:pt x="553" y="45"/>
                      <a:pt x="554" y="44"/>
                      <a:pt x="555" y="44"/>
                    </a:cubicBezTo>
                    <a:cubicBezTo>
                      <a:pt x="555" y="44"/>
                      <a:pt x="556" y="44"/>
                      <a:pt x="556" y="44"/>
                    </a:cubicBezTo>
                    <a:cubicBezTo>
                      <a:pt x="556" y="45"/>
                      <a:pt x="557" y="45"/>
                      <a:pt x="557" y="44"/>
                    </a:cubicBezTo>
                    <a:cubicBezTo>
                      <a:pt x="557" y="44"/>
                      <a:pt x="559" y="44"/>
                      <a:pt x="559" y="44"/>
                    </a:cubicBezTo>
                    <a:cubicBezTo>
                      <a:pt x="559" y="44"/>
                      <a:pt x="559" y="44"/>
                      <a:pt x="560" y="44"/>
                    </a:cubicBezTo>
                    <a:cubicBezTo>
                      <a:pt x="560" y="44"/>
                      <a:pt x="561" y="44"/>
                      <a:pt x="561" y="44"/>
                    </a:cubicBezTo>
                    <a:cubicBezTo>
                      <a:pt x="561" y="44"/>
                      <a:pt x="562" y="44"/>
                      <a:pt x="563" y="44"/>
                    </a:cubicBezTo>
                    <a:cubicBezTo>
                      <a:pt x="562" y="44"/>
                      <a:pt x="561" y="44"/>
                      <a:pt x="559" y="44"/>
                    </a:cubicBezTo>
                    <a:cubicBezTo>
                      <a:pt x="560" y="43"/>
                      <a:pt x="561" y="44"/>
                      <a:pt x="562" y="43"/>
                    </a:cubicBezTo>
                    <a:cubicBezTo>
                      <a:pt x="561" y="43"/>
                      <a:pt x="560" y="43"/>
                      <a:pt x="560" y="43"/>
                    </a:cubicBezTo>
                    <a:cubicBezTo>
                      <a:pt x="561" y="42"/>
                      <a:pt x="562" y="43"/>
                      <a:pt x="563" y="42"/>
                    </a:cubicBezTo>
                    <a:cubicBezTo>
                      <a:pt x="561" y="42"/>
                      <a:pt x="560" y="43"/>
                      <a:pt x="558" y="42"/>
                    </a:cubicBezTo>
                    <a:cubicBezTo>
                      <a:pt x="558" y="42"/>
                      <a:pt x="558" y="42"/>
                      <a:pt x="558" y="42"/>
                    </a:cubicBezTo>
                    <a:cubicBezTo>
                      <a:pt x="559" y="42"/>
                      <a:pt x="559" y="42"/>
                      <a:pt x="560" y="41"/>
                    </a:cubicBezTo>
                    <a:cubicBezTo>
                      <a:pt x="559" y="41"/>
                      <a:pt x="559" y="41"/>
                      <a:pt x="559" y="41"/>
                    </a:cubicBezTo>
                    <a:cubicBezTo>
                      <a:pt x="559" y="41"/>
                      <a:pt x="557" y="40"/>
                      <a:pt x="558" y="40"/>
                    </a:cubicBezTo>
                    <a:cubicBezTo>
                      <a:pt x="558" y="40"/>
                      <a:pt x="559" y="39"/>
                      <a:pt x="559" y="39"/>
                    </a:cubicBezTo>
                    <a:cubicBezTo>
                      <a:pt x="559" y="39"/>
                      <a:pt x="560" y="39"/>
                      <a:pt x="560" y="38"/>
                    </a:cubicBezTo>
                    <a:cubicBezTo>
                      <a:pt x="560" y="38"/>
                      <a:pt x="560" y="39"/>
                      <a:pt x="560" y="39"/>
                    </a:cubicBezTo>
                    <a:cubicBezTo>
                      <a:pt x="561" y="39"/>
                      <a:pt x="562" y="39"/>
                      <a:pt x="562" y="38"/>
                    </a:cubicBezTo>
                    <a:cubicBezTo>
                      <a:pt x="564" y="38"/>
                      <a:pt x="566" y="38"/>
                      <a:pt x="568" y="38"/>
                    </a:cubicBezTo>
                    <a:cubicBezTo>
                      <a:pt x="569" y="38"/>
                      <a:pt x="570" y="38"/>
                      <a:pt x="571" y="39"/>
                    </a:cubicBezTo>
                    <a:cubicBezTo>
                      <a:pt x="571" y="39"/>
                      <a:pt x="571" y="39"/>
                      <a:pt x="572" y="40"/>
                    </a:cubicBezTo>
                    <a:cubicBezTo>
                      <a:pt x="572" y="40"/>
                      <a:pt x="572" y="41"/>
                      <a:pt x="571" y="41"/>
                    </a:cubicBezTo>
                    <a:cubicBezTo>
                      <a:pt x="571" y="41"/>
                      <a:pt x="571" y="41"/>
                      <a:pt x="571" y="42"/>
                    </a:cubicBezTo>
                    <a:cubicBezTo>
                      <a:pt x="571" y="42"/>
                      <a:pt x="571" y="42"/>
                      <a:pt x="570" y="42"/>
                    </a:cubicBezTo>
                    <a:cubicBezTo>
                      <a:pt x="571" y="42"/>
                      <a:pt x="572" y="42"/>
                      <a:pt x="573" y="42"/>
                    </a:cubicBezTo>
                    <a:cubicBezTo>
                      <a:pt x="573" y="42"/>
                      <a:pt x="572" y="42"/>
                      <a:pt x="572" y="42"/>
                    </a:cubicBezTo>
                    <a:cubicBezTo>
                      <a:pt x="573" y="43"/>
                      <a:pt x="574" y="42"/>
                      <a:pt x="575" y="42"/>
                    </a:cubicBezTo>
                    <a:cubicBezTo>
                      <a:pt x="576" y="43"/>
                      <a:pt x="577" y="43"/>
                      <a:pt x="577" y="43"/>
                    </a:cubicBezTo>
                    <a:cubicBezTo>
                      <a:pt x="578" y="43"/>
                      <a:pt x="577" y="42"/>
                      <a:pt x="578" y="42"/>
                    </a:cubicBezTo>
                    <a:cubicBezTo>
                      <a:pt x="578" y="42"/>
                      <a:pt x="579" y="42"/>
                      <a:pt x="579" y="42"/>
                    </a:cubicBezTo>
                    <a:cubicBezTo>
                      <a:pt x="580" y="42"/>
                      <a:pt x="581" y="42"/>
                      <a:pt x="582" y="42"/>
                    </a:cubicBezTo>
                    <a:cubicBezTo>
                      <a:pt x="583" y="42"/>
                      <a:pt x="584" y="43"/>
                      <a:pt x="585" y="42"/>
                    </a:cubicBezTo>
                    <a:cubicBezTo>
                      <a:pt x="584" y="42"/>
                      <a:pt x="584" y="42"/>
                      <a:pt x="583" y="42"/>
                    </a:cubicBezTo>
                    <a:cubicBezTo>
                      <a:pt x="583" y="42"/>
                      <a:pt x="584" y="42"/>
                      <a:pt x="584" y="42"/>
                    </a:cubicBezTo>
                    <a:cubicBezTo>
                      <a:pt x="586" y="41"/>
                      <a:pt x="587" y="41"/>
                      <a:pt x="589" y="40"/>
                    </a:cubicBezTo>
                    <a:cubicBezTo>
                      <a:pt x="591" y="40"/>
                      <a:pt x="592" y="39"/>
                      <a:pt x="594" y="39"/>
                    </a:cubicBezTo>
                    <a:cubicBezTo>
                      <a:pt x="595" y="38"/>
                      <a:pt x="596" y="38"/>
                      <a:pt x="596" y="37"/>
                    </a:cubicBezTo>
                    <a:cubicBezTo>
                      <a:pt x="597" y="37"/>
                      <a:pt x="598" y="37"/>
                      <a:pt x="598" y="37"/>
                    </a:cubicBezTo>
                    <a:cubicBezTo>
                      <a:pt x="597" y="37"/>
                      <a:pt x="596" y="37"/>
                      <a:pt x="595" y="37"/>
                    </a:cubicBezTo>
                    <a:cubicBezTo>
                      <a:pt x="595" y="37"/>
                      <a:pt x="595" y="38"/>
                      <a:pt x="594" y="38"/>
                    </a:cubicBezTo>
                    <a:cubicBezTo>
                      <a:pt x="594" y="38"/>
                      <a:pt x="593" y="38"/>
                      <a:pt x="592" y="39"/>
                    </a:cubicBezTo>
                    <a:cubicBezTo>
                      <a:pt x="591" y="39"/>
                      <a:pt x="589" y="40"/>
                      <a:pt x="587" y="40"/>
                    </a:cubicBezTo>
                    <a:cubicBezTo>
                      <a:pt x="587" y="41"/>
                      <a:pt x="586" y="41"/>
                      <a:pt x="585" y="41"/>
                    </a:cubicBezTo>
                    <a:cubicBezTo>
                      <a:pt x="584" y="41"/>
                      <a:pt x="584" y="41"/>
                      <a:pt x="584" y="41"/>
                    </a:cubicBezTo>
                    <a:cubicBezTo>
                      <a:pt x="584" y="41"/>
                      <a:pt x="583" y="42"/>
                      <a:pt x="583" y="41"/>
                    </a:cubicBezTo>
                    <a:cubicBezTo>
                      <a:pt x="582" y="41"/>
                      <a:pt x="580" y="41"/>
                      <a:pt x="579" y="41"/>
                    </a:cubicBezTo>
                    <a:cubicBezTo>
                      <a:pt x="579" y="41"/>
                      <a:pt x="577" y="41"/>
                      <a:pt x="578" y="41"/>
                    </a:cubicBezTo>
                    <a:cubicBezTo>
                      <a:pt x="578" y="41"/>
                      <a:pt x="579" y="40"/>
                      <a:pt x="580" y="40"/>
                    </a:cubicBezTo>
                    <a:cubicBezTo>
                      <a:pt x="580" y="40"/>
                      <a:pt x="579" y="40"/>
                      <a:pt x="579" y="40"/>
                    </a:cubicBezTo>
                    <a:cubicBezTo>
                      <a:pt x="578" y="40"/>
                      <a:pt x="577" y="40"/>
                      <a:pt x="576" y="40"/>
                    </a:cubicBezTo>
                    <a:cubicBezTo>
                      <a:pt x="576" y="40"/>
                      <a:pt x="577" y="40"/>
                      <a:pt x="576" y="39"/>
                    </a:cubicBezTo>
                    <a:cubicBezTo>
                      <a:pt x="577" y="39"/>
                      <a:pt x="579" y="39"/>
                      <a:pt x="580" y="39"/>
                    </a:cubicBezTo>
                    <a:cubicBezTo>
                      <a:pt x="579" y="39"/>
                      <a:pt x="577" y="39"/>
                      <a:pt x="577" y="39"/>
                    </a:cubicBezTo>
                    <a:cubicBezTo>
                      <a:pt x="577" y="38"/>
                      <a:pt x="580" y="38"/>
                      <a:pt x="581" y="38"/>
                    </a:cubicBezTo>
                    <a:cubicBezTo>
                      <a:pt x="581" y="38"/>
                      <a:pt x="580" y="38"/>
                      <a:pt x="580" y="39"/>
                    </a:cubicBezTo>
                    <a:cubicBezTo>
                      <a:pt x="581" y="39"/>
                      <a:pt x="581" y="38"/>
                      <a:pt x="582" y="38"/>
                    </a:cubicBezTo>
                    <a:cubicBezTo>
                      <a:pt x="583" y="38"/>
                      <a:pt x="583" y="38"/>
                      <a:pt x="584" y="38"/>
                    </a:cubicBezTo>
                    <a:cubicBezTo>
                      <a:pt x="583" y="38"/>
                      <a:pt x="582" y="38"/>
                      <a:pt x="581" y="38"/>
                    </a:cubicBezTo>
                    <a:cubicBezTo>
                      <a:pt x="580" y="38"/>
                      <a:pt x="580" y="38"/>
                      <a:pt x="579" y="38"/>
                    </a:cubicBezTo>
                    <a:cubicBezTo>
                      <a:pt x="578" y="38"/>
                      <a:pt x="577" y="38"/>
                      <a:pt x="577" y="38"/>
                    </a:cubicBezTo>
                    <a:cubicBezTo>
                      <a:pt x="577" y="38"/>
                      <a:pt x="577" y="38"/>
                      <a:pt x="577" y="38"/>
                    </a:cubicBezTo>
                    <a:cubicBezTo>
                      <a:pt x="577" y="38"/>
                      <a:pt x="576" y="38"/>
                      <a:pt x="576" y="38"/>
                    </a:cubicBezTo>
                    <a:cubicBezTo>
                      <a:pt x="576" y="37"/>
                      <a:pt x="581" y="37"/>
                      <a:pt x="581" y="37"/>
                    </a:cubicBezTo>
                    <a:cubicBezTo>
                      <a:pt x="582" y="37"/>
                      <a:pt x="583" y="37"/>
                      <a:pt x="584" y="37"/>
                    </a:cubicBezTo>
                    <a:cubicBezTo>
                      <a:pt x="584" y="37"/>
                      <a:pt x="585" y="37"/>
                      <a:pt x="586" y="37"/>
                    </a:cubicBezTo>
                    <a:cubicBezTo>
                      <a:pt x="585" y="36"/>
                      <a:pt x="583" y="38"/>
                      <a:pt x="581" y="36"/>
                    </a:cubicBezTo>
                    <a:cubicBezTo>
                      <a:pt x="582" y="36"/>
                      <a:pt x="582" y="36"/>
                      <a:pt x="582" y="36"/>
                    </a:cubicBezTo>
                    <a:cubicBezTo>
                      <a:pt x="583" y="36"/>
                      <a:pt x="582" y="36"/>
                      <a:pt x="583" y="36"/>
                    </a:cubicBezTo>
                    <a:cubicBezTo>
                      <a:pt x="583" y="36"/>
                      <a:pt x="584" y="36"/>
                      <a:pt x="584" y="36"/>
                    </a:cubicBezTo>
                    <a:cubicBezTo>
                      <a:pt x="586" y="36"/>
                      <a:pt x="587" y="36"/>
                      <a:pt x="589" y="36"/>
                    </a:cubicBezTo>
                    <a:cubicBezTo>
                      <a:pt x="588" y="36"/>
                      <a:pt x="586" y="35"/>
                      <a:pt x="585" y="36"/>
                    </a:cubicBezTo>
                    <a:cubicBezTo>
                      <a:pt x="585" y="36"/>
                      <a:pt x="583" y="36"/>
                      <a:pt x="583" y="36"/>
                    </a:cubicBezTo>
                    <a:cubicBezTo>
                      <a:pt x="584" y="35"/>
                      <a:pt x="585" y="35"/>
                      <a:pt x="585" y="35"/>
                    </a:cubicBezTo>
                    <a:cubicBezTo>
                      <a:pt x="586" y="35"/>
                      <a:pt x="587" y="35"/>
                      <a:pt x="587" y="34"/>
                    </a:cubicBezTo>
                    <a:cubicBezTo>
                      <a:pt x="587" y="34"/>
                      <a:pt x="585" y="35"/>
                      <a:pt x="586" y="34"/>
                    </a:cubicBezTo>
                    <a:cubicBezTo>
                      <a:pt x="587" y="33"/>
                      <a:pt x="588" y="33"/>
                      <a:pt x="589" y="33"/>
                    </a:cubicBezTo>
                    <a:cubicBezTo>
                      <a:pt x="587" y="32"/>
                      <a:pt x="586" y="34"/>
                      <a:pt x="584" y="35"/>
                    </a:cubicBezTo>
                    <a:cubicBezTo>
                      <a:pt x="582" y="35"/>
                      <a:pt x="581" y="36"/>
                      <a:pt x="579" y="36"/>
                    </a:cubicBezTo>
                    <a:cubicBezTo>
                      <a:pt x="579" y="36"/>
                      <a:pt x="578" y="36"/>
                      <a:pt x="578" y="36"/>
                    </a:cubicBezTo>
                    <a:cubicBezTo>
                      <a:pt x="577" y="36"/>
                      <a:pt x="576" y="37"/>
                      <a:pt x="576" y="37"/>
                    </a:cubicBezTo>
                    <a:cubicBezTo>
                      <a:pt x="576" y="37"/>
                      <a:pt x="573" y="37"/>
                      <a:pt x="574" y="36"/>
                    </a:cubicBezTo>
                    <a:cubicBezTo>
                      <a:pt x="576" y="35"/>
                      <a:pt x="578" y="36"/>
                      <a:pt x="579" y="34"/>
                    </a:cubicBezTo>
                    <a:cubicBezTo>
                      <a:pt x="579" y="34"/>
                      <a:pt x="578" y="35"/>
                      <a:pt x="577" y="35"/>
                    </a:cubicBezTo>
                    <a:cubicBezTo>
                      <a:pt x="576" y="35"/>
                      <a:pt x="576" y="36"/>
                      <a:pt x="575" y="36"/>
                    </a:cubicBezTo>
                    <a:cubicBezTo>
                      <a:pt x="575" y="36"/>
                      <a:pt x="574" y="35"/>
                      <a:pt x="574" y="36"/>
                    </a:cubicBezTo>
                    <a:cubicBezTo>
                      <a:pt x="571" y="36"/>
                      <a:pt x="569" y="37"/>
                      <a:pt x="567" y="36"/>
                    </a:cubicBezTo>
                    <a:cubicBezTo>
                      <a:pt x="568" y="36"/>
                      <a:pt x="569" y="36"/>
                      <a:pt x="570" y="36"/>
                    </a:cubicBezTo>
                    <a:cubicBezTo>
                      <a:pt x="570" y="36"/>
                      <a:pt x="568" y="36"/>
                      <a:pt x="568" y="35"/>
                    </a:cubicBezTo>
                    <a:cubicBezTo>
                      <a:pt x="568" y="35"/>
                      <a:pt x="569" y="34"/>
                      <a:pt x="569" y="34"/>
                    </a:cubicBezTo>
                    <a:cubicBezTo>
                      <a:pt x="570" y="34"/>
                      <a:pt x="570" y="34"/>
                      <a:pt x="571" y="33"/>
                    </a:cubicBezTo>
                    <a:cubicBezTo>
                      <a:pt x="572" y="33"/>
                      <a:pt x="573" y="33"/>
                      <a:pt x="574" y="33"/>
                    </a:cubicBezTo>
                    <a:cubicBezTo>
                      <a:pt x="574" y="33"/>
                      <a:pt x="575" y="33"/>
                      <a:pt x="575" y="33"/>
                    </a:cubicBezTo>
                    <a:cubicBezTo>
                      <a:pt x="575" y="33"/>
                      <a:pt x="574" y="33"/>
                      <a:pt x="574" y="33"/>
                    </a:cubicBezTo>
                    <a:cubicBezTo>
                      <a:pt x="574" y="32"/>
                      <a:pt x="575" y="32"/>
                      <a:pt x="576" y="32"/>
                    </a:cubicBezTo>
                    <a:cubicBezTo>
                      <a:pt x="577" y="31"/>
                      <a:pt x="578" y="31"/>
                      <a:pt x="579" y="31"/>
                    </a:cubicBezTo>
                    <a:cubicBezTo>
                      <a:pt x="581" y="31"/>
                      <a:pt x="583" y="31"/>
                      <a:pt x="585" y="31"/>
                    </a:cubicBezTo>
                    <a:cubicBezTo>
                      <a:pt x="586" y="30"/>
                      <a:pt x="588" y="30"/>
                      <a:pt x="590" y="30"/>
                    </a:cubicBezTo>
                    <a:cubicBezTo>
                      <a:pt x="592" y="30"/>
                      <a:pt x="593" y="30"/>
                      <a:pt x="595" y="30"/>
                    </a:cubicBezTo>
                    <a:cubicBezTo>
                      <a:pt x="597" y="31"/>
                      <a:pt x="598" y="31"/>
                      <a:pt x="600" y="32"/>
                    </a:cubicBezTo>
                    <a:cubicBezTo>
                      <a:pt x="600" y="32"/>
                      <a:pt x="601" y="32"/>
                      <a:pt x="601" y="32"/>
                    </a:cubicBezTo>
                    <a:cubicBezTo>
                      <a:pt x="602" y="32"/>
                      <a:pt x="601" y="32"/>
                      <a:pt x="602" y="32"/>
                    </a:cubicBezTo>
                    <a:cubicBezTo>
                      <a:pt x="602" y="33"/>
                      <a:pt x="603" y="33"/>
                      <a:pt x="604" y="33"/>
                    </a:cubicBezTo>
                    <a:cubicBezTo>
                      <a:pt x="604" y="32"/>
                      <a:pt x="602" y="32"/>
                      <a:pt x="603" y="32"/>
                    </a:cubicBezTo>
                    <a:cubicBezTo>
                      <a:pt x="604" y="32"/>
                      <a:pt x="605" y="32"/>
                      <a:pt x="605" y="31"/>
                    </a:cubicBezTo>
                    <a:cubicBezTo>
                      <a:pt x="604" y="31"/>
                      <a:pt x="603" y="32"/>
                      <a:pt x="602" y="31"/>
                    </a:cubicBezTo>
                    <a:cubicBezTo>
                      <a:pt x="601" y="31"/>
                      <a:pt x="601" y="31"/>
                      <a:pt x="600" y="31"/>
                    </a:cubicBezTo>
                    <a:cubicBezTo>
                      <a:pt x="600" y="31"/>
                      <a:pt x="600" y="31"/>
                      <a:pt x="600" y="31"/>
                    </a:cubicBezTo>
                    <a:cubicBezTo>
                      <a:pt x="602" y="30"/>
                      <a:pt x="603" y="31"/>
                      <a:pt x="605" y="31"/>
                    </a:cubicBezTo>
                    <a:cubicBezTo>
                      <a:pt x="606" y="31"/>
                      <a:pt x="608" y="30"/>
                      <a:pt x="609" y="30"/>
                    </a:cubicBezTo>
                    <a:cubicBezTo>
                      <a:pt x="609" y="30"/>
                      <a:pt x="609" y="30"/>
                      <a:pt x="609" y="31"/>
                    </a:cubicBezTo>
                    <a:cubicBezTo>
                      <a:pt x="609" y="31"/>
                      <a:pt x="611" y="30"/>
                      <a:pt x="610" y="30"/>
                    </a:cubicBezTo>
                    <a:cubicBezTo>
                      <a:pt x="611" y="29"/>
                      <a:pt x="612" y="29"/>
                      <a:pt x="613" y="29"/>
                    </a:cubicBezTo>
                    <a:cubicBezTo>
                      <a:pt x="612" y="29"/>
                      <a:pt x="610" y="29"/>
                      <a:pt x="609" y="29"/>
                    </a:cubicBezTo>
                    <a:cubicBezTo>
                      <a:pt x="608" y="30"/>
                      <a:pt x="607" y="30"/>
                      <a:pt x="605" y="30"/>
                    </a:cubicBezTo>
                    <a:cubicBezTo>
                      <a:pt x="603" y="30"/>
                      <a:pt x="602" y="30"/>
                      <a:pt x="601" y="30"/>
                    </a:cubicBezTo>
                    <a:cubicBezTo>
                      <a:pt x="599" y="30"/>
                      <a:pt x="598" y="30"/>
                      <a:pt x="597" y="30"/>
                    </a:cubicBezTo>
                    <a:cubicBezTo>
                      <a:pt x="596" y="30"/>
                      <a:pt x="593" y="30"/>
                      <a:pt x="593" y="29"/>
                    </a:cubicBezTo>
                    <a:cubicBezTo>
                      <a:pt x="592" y="29"/>
                      <a:pt x="594" y="28"/>
                      <a:pt x="594" y="28"/>
                    </a:cubicBezTo>
                    <a:cubicBezTo>
                      <a:pt x="595" y="28"/>
                      <a:pt x="597" y="28"/>
                      <a:pt x="598" y="29"/>
                    </a:cubicBezTo>
                    <a:cubicBezTo>
                      <a:pt x="597" y="29"/>
                      <a:pt x="598" y="29"/>
                      <a:pt x="599" y="29"/>
                    </a:cubicBezTo>
                    <a:cubicBezTo>
                      <a:pt x="599" y="29"/>
                      <a:pt x="601" y="29"/>
                      <a:pt x="601" y="29"/>
                    </a:cubicBezTo>
                    <a:cubicBezTo>
                      <a:pt x="601" y="29"/>
                      <a:pt x="601" y="29"/>
                      <a:pt x="600" y="29"/>
                    </a:cubicBezTo>
                    <a:cubicBezTo>
                      <a:pt x="600" y="29"/>
                      <a:pt x="600" y="29"/>
                      <a:pt x="599" y="29"/>
                    </a:cubicBezTo>
                    <a:cubicBezTo>
                      <a:pt x="599" y="28"/>
                      <a:pt x="598" y="28"/>
                      <a:pt x="598" y="28"/>
                    </a:cubicBezTo>
                    <a:cubicBezTo>
                      <a:pt x="598" y="28"/>
                      <a:pt x="598" y="28"/>
                      <a:pt x="598" y="28"/>
                    </a:cubicBezTo>
                    <a:cubicBezTo>
                      <a:pt x="598" y="28"/>
                      <a:pt x="598" y="28"/>
                      <a:pt x="598" y="28"/>
                    </a:cubicBezTo>
                    <a:cubicBezTo>
                      <a:pt x="599" y="28"/>
                      <a:pt x="599" y="28"/>
                      <a:pt x="599" y="28"/>
                    </a:cubicBezTo>
                    <a:cubicBezTo>
                      <a:pt x="598" y="27"/>
                      <a:pt x="598" y="28"/>
                      <a:pt x="597" y="28"/>
                    </a:cubicBezTo>
                    <a:cubicBezTo>
                      <a:pt x="597" y="28"/>
                      <a:pt x="597" y="27"/>
                      <a:pt x="597" y="27"/>
                    </a:cubicBezTo>
                    <a:cubicBezTo>
                      <a:pt x="598" y="27"/>
                      <a:pt x="598" y="26"/>
                      <a:pt x="597" y="26"/>
                    </a:cubicBezTo>
                    <a:cubicBezTo>
                      <a:pt x="597" y="26"/>
                      <a:pt x="597" y="26"/>
                      <a:pt x="596" y="26"/>
                    </a:cubicBezTo>
                    <a:cubicBezTo>
                      <a:pt x="596" y="25"/>
                      <a:pt x="596" y="25"/>
                      <a:pt x="596" y="25"/>
                    </a:cubicBezTo>
                    <a:cubicBezTo>
                      <a:pt x="596" y="24"/>
                      <a:pt x="592" y="24"/>
                      <a:pt x="591" y="24"/>
                    </a:cubicBezTo>
                    <a:cubicBezTo>
                      <a:pt x="591" y="24"/>
                      <a:pt x="590" y="24"/>
                      <a:pt x="589" y="24"/>
                    </a:cubicBezTo>
                    <a:cubicBezTo>
                      <a:pt x="589" y="23"/>
                      <a:pt x="590" y="23"/>
                      <a:pt x="590" y="23"/>
                    </a:cubicBezTo>
                    <a:cubicBezTo>
                      <a:pt x="590" y="22"/>
                      <a:pt x="592" y="22"/>
                      <a:pt x="593" y="22"/>
                    </a:cubicBezTo>
                    <a:cubicBezTo>
                      <a:pt x="593" y="22"/>
                      <a:pt x="594" y="22"/>
                      <a:pt x="594" y="22"/>
                    </a:cubicBezTo>
                    <a:cubicBezTo>
                      <a:pt x="595" y="22"/>
                      <a:pt x="596" y="22"/>
                      <a:pt x="596" y="22"/>
                    </a:cubicBezTo>
                    <a:cubicBezTo>
                      <a:pt x="597" y="22"/>
                      <a:pt x="597" y="23"/>
                      <a:pt x="598" y="22"/>
                    </a:cubicBezTo>
                    <a:cubicBezTo>
                      <a:pt x="597" y="22"/>
                      <a:pt x="595" y="22"/>
                      <a:pt x="594" y="22"/>
                    </a:cubicBezTo>
                    <a:cubicBezTo>
                      <a:pt x="593" y="22"/>
                      <a:pt x="591" y="22"/>
                      <a:pt x="592" y="21"/>
                    </a:cubicBezTo>
                    <a:cubicBezTo>
                      <a:pt x="592" y="20"/>
                      <a:pt x="594" y="20"/>
                      <a:pt x="594" y="19"/>
                    </a:cubicBezTo>
                    <a:cubicBezTo>
                      <a:pt x="596" y="19"/>
                      <a:pt x="598" y="19"/>
                      <a:pt x="599" y="19"/>
                    </a:cubicBezTo>
                    <a:cubicBezTo>
                      <a:pt x="601" y="20"/>
                      <a:pt x="603" y="20"/>
                      <a:pt x="605" y="20"/>
                    </a:cubicBezTo>
                    <a:cubicBezTo>
                      <a:pt x="606" y="20"/>
                      <a:pt x="607" y="20"/>
                      <a:pt x="607" y="20"/>
                    </a:cubicBezTo>
                    <a:cubicBezTo>
                      <a:pt x="609" y="20"/>
                      <a:pt x="610" y="20"/>
                      <a:pt x="611" y="20"/>
                    </a:cubicBezTo>
                    <a:cubicBezTo>
                      <a:pt x="612" y="21"/>
                      <a:pt x="612" y="21"/>
                      <a:pt x="613" y="21"/>
                    </a:cubicBezTo>
                    <a:cubicBezTo>
                      <a:pt x="614" y="22"/>
                      <a:pt x="615" y="22"/>
                      <a:pt x="616" y="22"/>
                    </a:cubicBezTo>
                    <a:cubicBezTo>
                      <a:pt x="616" y="23"/>
                      <a:pt x="616" y="23"/>
                      <a:pt x="616" y="23"/>
                    </a:cubicBezTo>
                    <a:cubicBezTo>
                      <a:pt x="616" y="24"/>
                      <a:pt x="617" y="24"/>
                      <a:pt x="618" y="24"/>
                    </a:cubicBezTo>
                    <a:cubicBezTo>
                      <a:pt x="617" y="24"/>
                      <a:pt x="617" y="24"/>
                      <a:pt x="617" y="25"/>
                    </a:cubicBezTo>
                    <a:cubicBezTo>
                      <a:pt x="617" y="25"/>
                      <a:pt x="616" y="24"/>
                      <a:pt x="616" y="25"/>
                    </a:cubicBezTo>
                    <a:cubicBezTo>
                      <a:pt x="616" y="25"/>
                      <a:pt x="618" y="25"/>
                      <a:pt x="618" y="24"/>
                    </a:cubicBezTo>
                    <a:cubicBezTo>
                      <a:pt x="620" y="24"/>
                      <a:pt x="621" y="25"/>
                      <a:pt x="623" y="25"/>
                    </a:cubicBezTo>
                    <a:cubicBezTo>
                      <a:pt x="624" y="25"/>
                      <a:pt x="624" y="25"/>
                      <a:pt x="625" y="24"/>
                    </a:cubicBezTo>
                    <a:cubicBezTo>
                      <a:pt x="627" y="24"/>
                      <a:pt x="628" y="24"/>
                      <a:pt x="629" y="24"/>
                    </a:cubicBezTo>
                    <a:cubicBezTo>
                      <a:pt x="627" y="24"/>
                      <a:pt x="625" y="24"/>
                      <a:pt x="623" y="24"/>
                    </a:cubicBezTo>
                    <a:cubicBezTo>
                      <a:pt x="623" y="24"/>
                      <a:pt x="622" y="24"/>
                      <a:pt x="621" y="24"/>
                    </a:cubicBezTo>
                    <a:cubicBezTo>
                      <a:pt x="620" y="24"/>
                      <a:pt x="620" y="24"/>
                      <a:pt x="619" y="24"/>
                    </a:cubicBezTo>
                    <a:cubicBezTo>
                      <a:pt x="619" y="24"/>
                      <a:pt x="619" y="24"/>
                      <a:pt x="619" y="24"/>
                    </a:cubicBezTo>
                    <a:cubicBezTo>
                      <a:pt x="619" y="24"/>
                      <a:pt x="619" y="23"/>
                      <a:pt x="619" y="23"/>
                    </a:cubicBezTo>
                    <a:cubicBezTo>
                      <a:pt x="619" y="23"/>
                      <a:pt x="619" y="23"/>
                      <a:pt x="619" y="23"/>
                    </a:cubicBezTo>
                    <a:cubicBezTo>
                      <a:pt x="620" y="23"/>
                      <a:pt x="619" y="23"/>
                      <a:pt x="620" y="22"/>
                    </a:cubicBezTo>
                    <a:cubicBezTo>
                      <a:pt x="620" y="22"/>
                      <a:pt x="621" y="22"/>
                      <a:pt x="622" y="22"/>
                    </a:cubicBezTo>
                    <a:cubicBezTo>
                      <a:pt x="620" y="22"/>
                      <a:pt x="619" y="22"/>
                      <a:pt x="617" y="21"/>
                    </a:cubicBezTo>
                    <a:cubicBezTo>
                      <a:pt x="617" y="21"/>
                      <a:pt x="616" y="21"/>
                      <a:pt x="616" y="20"/>
                    </a:cubicBezTo>
                    <a:cubicBezTo>
                      <a:pt x="615" y="20"/>
                      <a:pt x="615" y="20"/>
                      <a:pt x="615" y="20"/>
                    </a:cubicBezTo>
                    <a:cubicBezTo>
                      <a:pt x="615" y="19"/>
                      <a:pt x="615" y="20"/>
                      <a:pt x="614" y="19"/>
                    </a:cubicBezTo>
                    <a:cubicBezTo>
                      <a:pt x="615" y="19"/>
                      <a:pt x="617" y="19"/>
                      <a:pt x="618" y="19"/>
                    </a:cubicBezTo>
                    <a:cubicBezTo>
                      <a:pt x="620" y="19"/>
                      <a:pt x="621" y="19"/>
                      <a:pt x="623" y="19"/>
                    </a:cubicBezTo>
                    <a:cubicBezTo>
                      <a:pt x="626" y="19"/>
                      <a:pt x="629" y="18"/>
                      <a:pt x="632" y="18"/>
                    </a:cubicBezTo>
                    <a:cubicBezTo>
                      <a:pt x="633" y="18"/>
                      <a:pt x="633" y="18"/>
                      <a:pt x="633" y="18"/>
                    </a:cubicBezTo>
                    <a:cubicBezTo>
                      <a:pt x="634" y="18"/>
                      <a:pt x="635" y="18"/>
                      <a:pt x="635" y="18"/>
                    </a:cubicBezTo>
                    <a:cubicBezTo>
                      <a:pt x="637" y="18"/>
                      <a:pt x="638" y="18"/>
                      <a:pt x="640" y="18"/>
                    </a:cubicBezTo>
                    <a:cubicBezTo>
                      <a:pt x="642" y="18"/>
                      <a:pt x="643" y="18"/>
                      <a:pt x="645" y="17"/>
                    </a:cubicBezTo>
                    <a:cubicBezTo>
                      <a:pt x="646" y="17"/>
                      <a:pt x="647" y="18"/>
                      <a:pt x="648" y="17"/>
                    </a:cubicBezTo>
                    <a:cubicBezTo>
                      <a:pt x="646" y="17"/>
                      <a:pt x="644" y="17"/>
                      <a:pt x="642" y="17"/>
                    </a:cubicBezTo>
                    <a:cubicBezTo>
                      <a:pt x="640" y="17"/>
                      <a:pt x="638" y="18"/>
                      <a:pt x="637" y="17"/>
                    </a:cubicBezTo>
                    <a:cubicBezTo>
                      <a:pt x="638" y="17"/>
                      <a:pt x="640" y="17"/>
                      <a:pt x="642" y="16"/>
                    </a:cubicBezTo>
                    <a:cubicBezTo>
                      <a:pt x="644" y="16"/>
                      <a:pt x="646" y="16"/>
                      <a:pt x="648" y="16"/>
                    </a:cubicBezTo>
                    <a:cubicBezTo>
                      <a:pt x="650" y="16"/>
                      <a:pt x="652" y="16"/>
                      <a:pt x="654" y="16"/>
                    </a:cubicBezTo>
                    <a:cubicBezTo>
                      <a:pt x="655" y="16"/>
                      <a:pt x="656" y="15"/>
                      <a:pt x="657" y="15"/>
                    </a:cubicBezTo>
                    <a:cubicBezTo>
                      <a:pt x="658" y="16"/>
                      <a:pt x="659" y="16"/>
                      <a:pt x="660" y="15"/>
                    </a:cubicBezTo>
                    <a:cubicBezTo>
                      <a:pt x="659" y="15"/>
                      <a:pt x="657" y="15"/>
                      <a:pt x="656" y="15"/>
                    </a:cubicBezTo>
                    <a:cubicBezTo>
                      <a:pt x="655" y="15"/>
                      <a:pt x="654" y="15"/>
                      <a:pt x="652" y="15"/>
                    </a:cubicBezTo>
                    <a:cubicBezTo>
                      <a:pt x="651" y="15"/>
                      <a:pt x="649" y="15"/>
                      <a:pt x="648" y="15"/>
                    </a:cubicBezTo>
                    <a:cubicBezTo>
                      <a:pt x="648" y="15"/>
                      <a:pt x="645" y="15"/>
                      <a:pt x="645" y="15"/>
                    </a:cubicBezTo>
                    <a:cubicBezTo>
                      <a:pt x="645" y="15"/>
                      <a:pt x="645" y="15"/>
                      <a:pt x="645" y="15"/>
                    </a:cubicBezTo>
                    <a:cubicBezTo>
                      <a:pt x="646" y="15"/>
                      <a:pt x="646" y="15"/>
                      <a:pt x="646" y="14"/>
                    </a:cubicBezTo>
                    <a:cubicBezTo>
                      <a:pt x="646" y="14"/>
                      <a:pt x="647" y="14"/>
                      <a:pt x="647" y="14"/>
                    </a:cubicBezTo>
                    <a:cubicBezTo>
                      <a:pt x="648" y="14"/>
                      <a:pt x="649" y="14"/>
                      <a:pt x="649" y="14"/>
                    </a:cubicBezTo>
                    <a:cubicBezTo>
                      <a:pt x="649" y="14"/>
                      <a:pt x="651" y="13"/>
                      <a:pt x="650" y="13"/>
                    </a:cubicBezTo>
                    <a:cubicBezTo>
                      <a:pt x="651" y="13"/>
                      <a:pt x="651" y="13"/>
                      <a:pt x="652" y="13"/>
                    </a:cubicBezTo>
                    <a:cubicBezTo>
                      <a:pt x="653" y="13"/>
                      <a:pt x="653" y="13"/>
                      <a:pt x="654" y="12"/>
                    </a:cubicBezTo>
                    <a:cubicBezTo>
                      <a:pt x="654" y="12"/>
                      <a:pt x="653" y="12"/>
                      <a:pt x="653" y="12"/>
                    </a:cubicBezTo>
                    <a:cubicBezTo>
                      <a:pt x="656" y="12"/>
                      <a:pt x="659" y="12"/>
                      <a:pt x="661" y="11"/>
                    </a:cubicBezTo>
                    <a:cubicBezTo>
                      <a:pt x="660" y="11"/>
                      <a:pt x="659" y="11"/>
                      <a:pt x="658" y="12"/>
                    </a:cubicBezTo>
                    <a:cubicBezTo>
                      <a:pt x="656" y="12"/>
                      <a:pt x="655" y="12"/>
                      <a:pt x="654" y="12"/>
                    </a:cubicBezTo>
                    <a:cubicBezTo>
                      <a:pt x="654" y="12"/>
                      <a:pt x="654" y="12"/>
                      <a:pt x="655" y="12"/>
                    </a:cubicBezTo>
                    <a:cubicBezTo>
                      <a:pt x="653" y="12"/>
                      <a:pt x="652" y="13"/>
                      <a:pt x="651" y="13"/>
                    </a:cubicBezTo>
                    <a:cubicBezTo>
                      <a:pt x="651" y="13"/>
                      <a:pt x="648" y="13"/>
                      <a:pt x="648" y="13"/>
                    </a:cubicBezTo>
                    <a:cubicBezTo>
                      <a:pt x="648" y="14"/>
                      <a:pt x="647" y="14"/>
                      <a:pt x="646" y="13"/>
                    </a:cubicBezTo>
                    <a:cubicBezTo>
                      <a:pt x="646" y="13"/>
                      <a:pt x="645" y="13"/>
                      <a:pt x="644" y="13"/>
                    </a:cubicBezTo>
                    <a:cubicBezTo>
                      <a:pt x="645" y="13"/>
                      <a:pt x="645" y="13"/>
                      <a:pt x="646" y="14"/>
                    </a:cubicBezTo>
                    <a:cubicBezTo>
                      <a:pt x="645" y="14"/>
                      <a:pt x="644" y="14"/>
                      <a:pt x="644" y="14"/>
                    </a:cubicBezTo>
                    <a:cubicBezTo>
                      <a:pt x="644" y="14"/>
                      <a:pt x="644" y="14"/>
                      <a:pt x="644" y="14"/>
                    </a:cubicBezTo>
                    <a:cubicBezTo>
                      <a:pt x="644" y="15"/>
                      <a:pt x="643" y="15"/>
                      <a:pt x="642" y="15"/>
                    </a:cubicBezTo>
                    <a:cubicBezTo>
                      <a:pt x="641" y="16"/>
                      <a:pt x="640" y="16"/>
                      <a:pt x="639" y="16"/>
                    </a:cubicBezTo>
                    <a:cubicBezTo>
                      <a:pt x="636" y="16"/>
                      <a:pt x="634" y="16"/>
                      <a:pt x="631" y="17"/>
                    </a:cubicBezTo>
                    <a:cubicBezTo>
                      <a:pt x="629" y="17"/>
                      <a:pt x="626" y="17"/>
                      <a:pt x="624" y="17"/>
                    </a:cubicBezTo>
                    <a:cubicBezTo>
                      <a:pt x="623" y="17"/>
                      <a:pt x="621" y="18"/>
                      <a:pt x="620" y="18"/>
                    </a:cubicBezTo>
                    <a:cubicBezTo>
                      <a:pt x="620" y="18"/>
                      <a:pt x="617" y="18"/>
                      <a:pt x="617" y="18"/>
                    </a:cubicBezTo>
                    <a:cubicBezTo>
                      <a:pt x="617" y="17"/>
                      <a:pt x="620" y="17"/>
                      <a:pt x="621" y="17"/>
                    </a:cubicBezTo>
                    <a:cubicBezTo>
                      <a:pt x="623" y="16"/>
                      <a:pt x="625" y="16"/>
                      <a:pt x="628" y="16"/>
                    </a:cubicBezTo>
                    <a:cubicBezTo>
                      <a:pt x="626" y="15"/>
                      <a:pt x="624" y="16"/>
                      <a:pt x="622" y="16"/>
                    </a:cubicBezTo>
                    <a:cubicBezTo>
                      <a:pt x="621" y="16"/>
                      <a:pt x="620" y="16"/>
                      <a:pt x="619" y="16"/>
                    </a:cubicBezTo>
                    <a:cubicBezTo>
                      <a:pt x="618" y="17"/>
                      <a:pt x="617" y="17"/>
                      <a:pt x="616" y="16"/>
                    </a:cubicBezTo>
                    <a:cubicBezTo>
                      <a:pt x="616" y="16"/>
                      <a:pt x="617" y="16"/>
                      <a:pt x="617" y="16"/>
                    </a:cubicBezTo>
                    <a:cubicBezTo>
                      <a:pt x="618" y="16"/>
                      <a:pt x="619" y="16"/>
                      <a:pt x="620" y="16"/>
                    </a:cubicBezTo>
                    <a:cubicBezTo>
                      <a:pt x="619" y="15"/>
                      <a:pt x="618" y="16"/>
                      <a:pt x="618" y="16"/>
                    </a:cubicBezTo>
                    <a:cubicBezTo>
                      <a:pt x="617" y="16"/>
                      <a:pt x="616" y="16"/>
                      <a:pt x="615" y="16"/>
                    </a:cubicBezTo>
                    <a:cubicBezTo>
                      <a:pt x="615" y="16"/>
                      <a:pt x="614" y="17"/>
                      <a:pt x="613" y="17"/>
                    </a:cubicBezTo>
                    <a:cubicBezTo>
                      <a:pt x="612" y="18"/>
                      <a:pt x="611" y="18"/>
                      <a:pt x="610" y="18"/>
                    </a:cubicBezTo>
                    <a:cubicBezTo>
                      <a:pt x="607" y="18"/>
                      <a:pt x="603" y="18"/>
                      <a:pt x="601" y="18"/>
                    </a:cubicBezTo>
                    <a:cubicBezTo>
                      <a:pt x="601" y="17"/>
                      <a:pt x="602" y="17"/>
                      <a:pt x="603" y="17"/>
                    </a:cubicBezTo>
                    <a:cubicBezTo>
                      <a:pt x="601" y="17"/>
                      <a:pt x="598" y="19"/>
                      <a:pt x="596" y="17"/>
                    </a:cubicBezTo>
                    <a:cubicBezTo>
                      <a:pt x="598" y="16"/>
                      <a:pt x="600" y="16"/>
                      <a:pt x="602" y="15"/>
                    </a:cubicBezTo>
                    <a:cubicBezTo>
                      <a:pt x="605" y="15"/>
                      <a:pt x="608" y="14"/>
                      <a:pt x="610" y="14"/>
                    </a:cubicBezTo>
                    <a:cubicBezTo>
                      <a:pt x="613" y="14"/>
                      <a:pt x="616" y="14"/>
                      <a:pt x="619" y="14"/>
                    </a:cubicBezTo>
                    <a:cubicBezTo>
                      <a:pt x="622" y="13"/>
                      <a:pt x="625" y="14"/>
                      <a:pt x="627" y="13"/>
                    </a:cubicBezTo>
                    <a:cubicBezTo>
                      <a:pt x="624" y="13"/>
                      <a:pt x="622" y="13"/>
                      <a:pt x="619" y="13"/>
                    </a:cubicBezTo>
                    <a:cubicBezTo>
                      <a:pt x="616" y="14"/>
                      <a:pt x="613" y="14"/>
                      <a:pt x="610" y="14"/>
                    </a:cubicBezTo>
                    <a:cubicBezTo>
                      <a:pt x="607" y="14"/>
                      <a:pt x="604" y="14"/>
                      <a:pt x="601" y="15"/>
                    </a:cubicBezTo>
                    <a:cubicBezTo>
                      <a:pt x="600" y="15"/>
                      <a:pt x="598" y="16"/>
                      <a:pt x="597" y="16"/>
                    </a:cubicBezTo>
                    <a:cubicBezTo>
                      <a:pt x="596" y="16"/>
                      <a:pt x="594" y="17"/>
                      <a:pt x="593" y="17"/>
                    </a:cubicBezTo>
                    <a:cubicBezTo>
                      <a:pt x="590" y="17"/>
                      <a:pt x="587" y="16"/>
                      <a:pt x="584" y="16"/>
                    </a:cubicBezTo>
                    <a:cubicBezTo>
                      <a:pt x="584" y="16"/>
                      <a:pt x="582" y="15"/>
                      <a:pt x="584" y="15"/>
                    </a:cubicBezTo>
                    <a:cubicBezTo>
                      <a:pt x="585" y="14"/>
                      <a:pt x="586" y="15"/>
                      <a:pt x="588" y="14"/>
                    </a:cubicBezTo>
                    <a:cubicBezTo>
                      <a:pt x="591" y="14"/>
                      <a:pt x="594" y="15"/>
                      <a:pt x="597" y="14"/>
                    </a:cubicBezTo>
                    <a:cubicBezTo>
                      <a:pt x="600" y="14"/>
                      <a:pt x="603" y="14"/>
                      <a:pt x="606" y="14"/>
                    </a:cubicBezTo>
                    <a:cubicBezTo>
                      <a:pt x="605" y="14"/>
                      <a:pt x="606" y="13"/>
                      <a:pt x="606" y="13"/>
                    </a:cubicBezTo>
                    <a:cubicBezTo>
                      <a:pt x="607" y="13"/>
                      <a:pt x="608" y="13"/>
                      <a:pt x="609" y="13"/>
                    </a:cubicBezTo>
                    <a:cubicBezTo>
                      <a:pt x="610" y="13"/>
                      <a:pt x="611" y="13"/>
                      <a:pt x="611" y="13"/>
                    </a:cubicBezTo>
                    <a:cubicBezTo>
                      <a:pt x="612" y="13"/>
                      <a:pt x="613" y="13"/>
                      <a:pt x="614" y="12"/>
                    </a:cubicBezTo>
                    <a:cubicBezTo>
                      <a:pt x="610" y="12"/>
                      <a:pt x="606" y="13"/>
                      <a:pt x="602" y="14"/>
                    </a:cubicBezTo>
                    <a:cubicBezTo>
                      <a:pt x="597" y="14"/>
                      <a:pt x="593" y="14"/>
                      <a:pt x="589" y="14"/>
                    </a:cubicBezTo>
                    <a:cubicBezTo>
                      <a:pt x="586" y="14"/>
                      <a:pt x="584" y="14"/>
                      <a:pt x="582" y="14"/>
                    </a:cubicBezTo>
                    <a:cubicBezTo>
                      <a:pt x="582" y="14"/>
                      <a:pt x="579" y="14"/>
                      <a:pt x="580" y="13"/>
                    </a:cubicBezTo>
                    <a:cubicBezTo>
                      <a:pt x="581" y="13"/>
                      <a:pt x="582" y="13"/>
                      <a:pt x="583" y="13"/>
                    </a:cubicBezTo>
                    <a:cubicBezTo>
                      <a:pt x="584" y="13"/>
                      <a:pt x="585" y="13"/>
                      <a:pt x="585" y="13"/>
                    </a:cubicBezTo>
                    <a:cubicBezTo>
                      <a:pt x="587" y="13"/>
                      <a:pt x="588" y="13"/>
                      <a:pt x="589" y="13"/>
                    </a:cubicBezTo>
                    <a:cubicBezTo>
                      <a:pt x="588" y="12"/>
                      <a:pt x="585" y="13"/>
                      <a:pt x="584" y="12"/>
                    </a:cubicBezTo>
                    <a:cubicBezTo>
                      <a:pt x="585" y="12"/>
                      <a:pt x="586" y="12"/>
                      <a:pt x="587" y="12"/>
                    </a:cubicBezTo>
                    <a:cubicBezTo>
                      <a:pt x="589" y="11"/>
                      <a:pt x="590" y="11"/>
                      <a:pt x="592" y="11"/>
                    </a:cubicBezTo>
                    <a:cubicBezTo>
                      <a:pt x="591" y="11"/>
                      <a:pt x="592" y="11"/>
                      <a:pt x="593" y="11"/>
                    </a:cubicBezTo>
                    <a:cubicBezTo>
                      <a:pt x="593" y="11"/>
                      <a:pt x="594" y="11"/>
                      <a:pt x="594" y="11"/>
                    </a:cubicBezTo>
                    <a:cubicBezTo>
                      <a:pt x="595" y="11"/>
                      <a:pt x="597" y="10"/>
                      <a:pt x="598" y="11"/>
                    </a:cubicBezTo>
                    <a:cubicBezTo>
                      <a:pt x="597" y="11"/>
                      <a:pt x="599" y="11"/>
                      <a:pt x="599" y="11"/>
                    </a:cubicBezTo>
                    <a:cubicBezTo>
                      <a:pt x="600" y="11"/>
                      <a:pt x="601" y="11"/>
                      <a:pt x="601" y="11"/>
                    </a:cubicBezTo>
                    <a:cubicBezTo>
                      <a:pt x="601" y="10"/>
                      <a:pt x="600" y="11"/>
                      <a:pt x="600" y="11"/>
                    </a:cubicBezTo>
                    <a:cubicBezTo>
                      <a:pt x="599" y="11"/>
                      <a:pt x="598" y="10"/>
                      <a:pt x="597" y="10"/>
                    </a:cubicBezTo>
                    <a:cubicBezTo>
                      <a:pt x="595" y="10"/>
                      <a:pt x="593" y="10"/>
                      <a:pt x="591" y="11"/>
                    </a:cubicBezTo>
                    <a:cubicBezTo>
                      <a:pt x="589" y="11"/>
                      <a:pt x="587" y="11"/>
                      <a:pt x="585" y="11"/>
                    </a:cubicBezTo>
                    <a:cubicBezTo>
                      <a:pt x="584" y="11"/>
                      <a:pt x="583" y="12"/>
                      <a:pt x="583" y="12"/>
                    </a:cubicBezTo>
                    <a:cubicBezTo>
                      <a:pt x="582" y="12"/>
                      <a:pt x="580" y="12"/>
                      <a:pt x="581" y="12"/>
                    </a:cubicBezTo>
                    <a:cubicBezTo>
                      <a:pt x="581" y="11"/>
                      <a:pt x="580" y="12"/>
                      <a:pt x="580" y="11"/>
                    </a:cubicBezTo>
                    <a:cubicBezTo>
                      <a:pt x="581" y="11"/>
                      <a:pt x="583" y="11"/>
                      <a:pt x="584" y="10"/>
                    </a:cubicBezTo>
                    <a:cubicBezTo>
                      <a:pt x="585" y="10"/>
                      <a:pt x="586" y="10"/>
                      <a:pt x="587" y="10"/>
                    </a:cubicBezTo>
                    <a:cubicBezTo>
                      <a:pt x="587" y="10"/>
                      <a:pt x="588" y="10"/>
                      <a:pt x="589" y="10"/>
                    </a:cubicBezTo>
                    <a:cubicBezTo>
                      <a:pt x="588" y="10"/>
                      <a:pt x="587" y="10"/>
                      <a:pt x="586" y="10"/>
                    </a:cubicBezTo>
                    <a:cubicBezTo>
                      <a:pt x="587" y="10"/>
                      <a:pt x="585" y="9"/>
                      <a:pt x="585" y="10"/>
                    </a:cubicBezTo>
                    <a:cubicBezTo>
                      <a:pt x="585" y="10"/>
                      <a:pt x="583" y="10"/>
                      <a:pt x="583" y="10"/>
                    </a:cubicBezTo>
                    <a:cubicBezTo>
                      <a:pt x="581" y="10"/>
                      <a:pt x="579" y="11"/>
                      <a:pt x="577" y="11"/>
                    </a:cubicBezTo>
                    <a:cubicBezTo>
                      <a:pt x="577" y="11"/>
                      <a:pt x="578" y="10"/>
                      <a:pt x="578" y="10"/>
                    </a:cubicBezTo>
                    <a:cubicBezTo>
                      <a:pt x="577" y="10"/>
                      <a:pt x="576" y="10"/>
                      <a:pt x="575" y="10"/>
                    </a:cubicBezTo>
                    <a:cubicBezTo>
                      <a:pt x="575" y="10"/>
                      <a:pt x="576" y="10"/>
                      <a:pt x="576" y="10"/>
                    </a:cubicBezTo>
                    <a:cubicBezTo>
                      <a:pt x="576" y="9"/>
                      <a:pt x="577" y="9"/>
                      <a:pt x="578" y="9"/>
                    </a:cubicBezTo>
                    <a:cubicBezTo>
                      <a:pt x="579" y="9"/>
                      <a:pt x="581" y="9"/>
                      <a:pt x="582" y="9"/>
                    </a:cubicBezTo>
                    <a:cubicBezTo>
                      <a:pt x="581" y="9"/>
                      <a:pt x="582" y="9"/>
                      <a:pt x="582" y="9"/>
                    </a:cubicBezTo>
                    <a:cubicBezTo>
                      <a:pt x="583" y="8"/>
                      <a:pt x="584" y="9"/>
                      <a:pt x="585" y="8"/>
                    </a:cubicBezTo>
                    <a:cubicBezTo>
                      <a:pt x="586" y="8"/>
                      <a:pt x="587" y="8"/>
                      <a:pt x="587" y="8"/>
                    </a:cubicBezTo>
                    <a:cubicBezTo>
                      <a:pt x="588" y="8"/>
                      <a:pt x="588" y="8"/>
                      <a:pt x="589" y="8"/>
                    </a:cubicBezTo>
                    <a:cubicBezTo>
                      <a:pt x="589" y="8"/>
                      <a:pt x="590" y="8"/>
                      <a:pt x="589" y="8"/>
                    </a:cubicBezTo>
                    <a:cubicBezTo>
                      <a:pt x="590" y="8"/>
                      <a:pt x="591" y="8"/>
                      <a:pt x="591" y="8"/>
                    </a:cubicBezTo>
                    <a:cubicBezTo>
                      <a:pt x="590" y="8"/>
                      <a:pt x="592" y="9"/>
                      <a:pt x="592" y="9"/>
                    </a:cubicBezTo>
                    <a:cubicBezTo>
                      <a:pt x="593" y="8"/>
                      <a:pt x="594" y="8"/>
                      <a:pt x="594" y="8"/>
                    </a:cubicBezTo>
                    <a:cubicBezTo>
                      <a:pt x="594" y="8"/>
                      <a:pt x="593" y="8"/>
                      <a:pt x="593" y="8"/>
                    </a:cubicBezTo>
                    <a:cubicBezTo>
                      <a:pt x="593" y="8"/>
                      <a:pt x="594" y="8"/>
                      <a:pt x="595" y="8"/>
                    </a:cubicBezTo>
                    <a:cubicBezTo>
                      <a:pt x="595" y="8"/>
                      <a:pt x="596" y="8"/>
                      <a:pt x="596" y="7"/>
                    </a:cubicBezTo>
                    <a:cubicBezTo>
                      <a:pt x="598" y="7"/>
                      <a:pt x="599" y="7"/>
                      <a:pt x="601" y="7"/>
                    </a:cubicBezTo>
                    <a:cubicBezTo>
                      <a:pt x="602" y="7"/>
                      <a:pt x="603" y="7"/>
                      <a:pt x="604" y="7"/>
                    </a:cubicBezTo>
                    <a:cubicBezTo>
                      <a:pt x="604" y="7"/>
                      <a:pt x="605" y="7"/>
                      <a:pt x="606" y="7"/>
                    </a:cubicBezTo>
                    <a:cubicBezTo>
                      <a:pt x="606" y="7"/>
                      <a:pt x="607" y="7"/>
                      <a:pt x="607" y="7"/>
                    </a:cubicBezTo>
                    <a:cubicBezTo>
                      <a:pt x="607" y="7"/>
                      <a:pt x="606" y="7"/>
                      <a:pt x="606" y="8"/>
                    </a:cubicBezTo>
                    <a:cubicBezTo>
                      <a:pt x="606" y="8"/>
                      <a:pt x="608" y="8"/>
                      <a:pt x="608" y="8"/>
                    </a:cubicBezTo>
                    <a:cubicBezTo>
                      <a:pt x="608" y="8"/>
                      <a:pt x="607" y="8"/>
                      <a:pt x="607" y="8"/>
                    </a:cubicBezTo>
                    <a:cubicBezTo>
                      <a:pt x="607" y="7"/>
                      <a:pt x="608" y="8"/>
                      <a:pt x="609" y="7"/>
                    </a:cubicBezTo>
                    <a:cubicBezTo>
                      <a:pt x="608" y="7"/>
                      <a:pt x="608" y="7"/>
                      <a:pt x="608" y="7"/>
                    </a:cubicBezTo>
                    <a:cubicBezTo>
                      <a:pt x="609" y="6"/>
                      <a:pt x="611" y="7"/>
                      <a:pt x="612" y="7"/>
                    </a:cubicBezTo>
                    <a:cubicBezTo>
                      <a:pt x="613" y="7"/>
                      <a:pt x="614" y="7"/>
                      <a:pt x="614" y="8"/>
                    </a:cubicBezTo>
                    <a:cubicBezTo>
                      <a:pt x="615" y="8"/>
                      <a:pt x="616" y="9"/>
                      <a:pt x="616" y="8"/>
                    </a:cubicBezTo>
                    <a:cubicBezTo>
                      <a:pt x="616" y="8"/>
                      <a:pt x="615" y="8"/>
                      <a:pt x="615" y="7"/>
                    </a:cubicBezTo>
                    <a:cubicBezTo>
                      <a:pt x="616" y="7"/>
                      <a:pt x="617" y="7"/>
                      <a:pt x="618" y="7"/>
                    </a:cubicBezTo>
                    <a:cubicBezTo>
                      <a:pt x="618" y="7"/>
                      <a:pt x="619" y="8"/>
                      <a:pt x="620" y="8"/>
                    </a:cubicBezTo>
                    <a:cubicBezTo>
                      <a:pt x="619" y="8"/>
                      <a:pt x="619" y="7"/>
                      <a:pt x="620" y="7"/>
                    </a:cubicBezTo>
                    <a:cubicBezTo>
                      <a:pt x="620" y="8"/>
                      <a:pt x="620" y="8"/>
                      <a:pt x="621" y="8"/>
                    </a:cubicBezTo>
                    <a:cubicBezTo>
                      <a:pt x="620" y="8"/>
                      <a:pt x="621" y="8"/>
                      <a:pt x="621" y="7"/>
                    </a:cubicBezTo>
                    <a:cubicBezTo>
                      <a:pt x="620" y="7"/>
                      <a:pt x="619" y="7"/>
                      <a:pt x="618" y="7"/>
                    </a:cubicBezTo>
                    <a:cubicBezTo>
                      <a:pt x="617" y="7"/>
                      <a:pt x="616" y="7"/>
                      <a:pt x="614" y="7"/>
                    </a:cubicBezTo>
                    <a:cubicBezTo>
                      <a:pt x="614" y="7"/>
                      <a:pt x="613" y="7"/>
                      <a:pt x="612" y="7"/>
                    </a:cubicBezTo>
                    <a:cubicBezTo>
                      <a:pt x="611" y="7"/>
                      <a:pt x="610" y="6"/>
                      <a:pt x="611" y="6"/>
                    </a:cubicBezTo>
                    <a:cubicBezTo>
                      <a:pt x="612" y="6"/>
                      <a:pt x="613" y="6"/>
                      <a:pt x="614" y="6"/>
                    </a:cubicBezTo>
                    <a:cubicBezTo>
                      <a:pt x="616" y="6"/>
                      <a:pt x="618" y="6"/>
                      <a:pt x="620" y="5"/>
                    </a:cubicBezTo>
                    <a:cubicBezTo>
                      <a:pt x="620" y="5"/>
                      <a:pt x="620" y="5"/>
                      <a:pt x="620" y="5"/>
                    </a:cubicBezTo>
                    <a:cubicBezTo>
                      <a:pt x="620" y="5"/>
                      <a:pt x="620" y="5"/>
                      <a:pt x="620" y="5"/>
                    </a:cubicBezTo>
                    <a:cubicBezTo>
                      <a:pt x="620" y="5"/>
                      <a:pt x="620" y="5"/>
                      <a:pt x="620" y="5"/>
                    </a:cubicBezTo>
                    <a:cubicBezTo>
                      <a:pt x="620" y="5"/>
                      <a:pt x="620" y="5"/>
                      <a:pt x="620" y="5"/>
                    </a:cubicBezTo>
                    <a:cubicBezTo>
                      <a:pt x="620" y="4"/>
                      <a:pt x="619" y="5"/>
                      <a:pt x="618" y="4"/>
                    </a:cubicBezTo>
                    <a:cubicBezTo>
                      <a:pt x="619" y="4"/>
                      <a:pt x="621" y="4"/>
                      <a:pt x="622" y="4"/>
                    </a:cubicBezTo>
                    <a:cubicBezTo>
                      <a:pt x="623" y="4"/>
                      <a:pt x="625" y="4"/>
                      <a:pt x="626" y="4"/>
                    </a:cubicBezTo>
                    <a:cubicBezTo>
                      <a:pt x="625" y="5"/>
                      <a:pt x="624" y="4"/>
                      <a:pt x="624" y="4"/>
                    </a:cubicBezTo>
                    <a:cubicBezTo>
                      <a:pt x="625" y="5"/>
                      <a:pt x="626" y="5"/>
                      <a:pt x="628" y="5"/>
                    </a:cubicBezTo>
                    <a:cubicBezTo>
                      <a:pt x="628" y="5"/>
                      <a:pt x="631" y="5"/>
                      <a:pt x="631" y="6"/>
                    </a:cubicBezTo>
                    <a:cubicBezTo>
                      <a:pt x="631" y="6"/>
                      <a:pt x="631" y="6"/>
                      <a:pt x="631" y="6"/>
                    </a:cubicBezTo>
                    <a:cubicBezTo>
                      <a:pt x="631" y="6"/>
                      <a:pt x="632" y="6"/>
                      <a:pt x="632" y="6"/>
                    </a:cubicBezTo>
                    <a:cubicBezTo>
                      <a:pt x="633" y="7"/>
                      <a:pt x="631" y="7"/>
                      <a:pt x="631" y="7"/>
                    </a:cubicBezTo>
                    <a:cubicBezTo>
                      <a:pt x="632" y="7"/>
                      <a:pt x="633" y="7"/>
                      <a:pt x="635" y="7"/>
                    </a:cubicBezTo>
                    <a:cubicBezTo>
                      <a:pt x="635" y="7"/>
                      <a:pt x="636" y="7"/>
                      <a:pt x="636" y="7"/>
                    </a:cubicBezTo>
                    <a:cubicBezTo>
                      <a:pt x="637" y="7"/>
                      <a:pt x="637" y="7"/>
                      <a:pt x="638" y="7"/>
                    </a:cubicBezTo>
                    <a:cubicBezTo>
                      <a:pt x="638" y="6"/>
                      <a:pt x="636" y="7"/>
                      <a:pt x="636" y="7"/>
                    </a:cubicBezTo>
                    <a:cubicBezTo>
                      <a:pt x="635" y="7"/>
                      <a:pt x="635" y="7"/>
                      <a:pt x="635" y="7"/>
                    </a:cubicBezTo>
                    <a:cubicBezTo>
                      <a:pt x="634" y="7"/>
                      <a:pt x="634" y="6"/>
                      <a:pt x="634" y="6"/>
                    </a:cubicBezTo>
                    <a:cubicBezTo>
                      <a:pt x="634" y="6"/>
                      <a:pt x="633" y="6"/>
                      <a:pt x="633" y="6"/>
                    </a:cubicBezTo>
                    <a:cubicBezTo>
                      <a:pt x="633" y="5"/>
                      <a:pt x="634" y="5"/>
                      <a:pt x="634" y="5"/>
                    </a:cubicBezTo>
                    <a:cubicBezTo>
                      <a:pt x="635" y="5"/>
                      <a:pt x="636" y="6"/>
                      <a:pt x="637" y="6"/>
                    </a:cubicBezTo>
                    <a:cubicBezTo>
                      <a:pt x="640" y="6"/>
                      <a:pt x="642" y="7"/>
                      <a:pt x="645" y="7"/>
                    </a:cubicBezTo>
                    <a:cubicBezTo>
                      <a:pt x="646" y="7"/>
                      <a:pt x="647" y="7"/>
                      <a:pt x="648" y="8"/>
                    </a:cubicBezTo>
                    <a:cubicBezTo>
                      <a:pt x="649" y="8"/>
                      <a:pt x="650" y="9"/>
                      <a:pt x="651" y="9"/>
                    </a:cubicBezTo>
                    <a:cubicBezTo>
                      <a:pt x="651" y="8"/>
                      <a:pt x="650" y="8"/>
                      <a:pt x="649" y="7"/>
                    </a:cubicBezTo>
                    <a:cubicBezTo>
                      <a:pt x="649" y="7"/>
                      <a:pt x="649" y="7"/>
                      <a:pt x="650" y="7"/>
                    </a:cubicBezTo>
                    <a:cubicBezTo>
                      <a:pt x="649" y="7"/>
                      <a:pt x="648" y="7"/>
                      <a:pt x="647" y="7"/>
                    </a:cubicBezTo>
                    <a:cubicBezTo>
                      <a:pt x="646" y="7"/>
                      <a:pt x="645" y="7"/>
                      <a:pt x="644" y="7"/>
                    </a:cubicBezTo>
                    <a:cubicBezTo>
                      <a:pt x="644" y="6"/>
                      <a:pt x="645" y="6"/>
                      <a:pt x="645" y="6"/>
                    </a:cubicBezTo>
                    <a:cubicBezTo>
                      <a:pt x="643" y="6"/>
                      <a:pt x="642" y="6"/>
                      <a:pt x="640" y="6"/>
                    </a:cubicBezTo>
                    <a:cubicBezTo>
                      <a:pt x="639" y="6"/>
                      <a:pt x="638" y="5"/>
                      <a:pt x="636" y="5"/>
                    </a:cubicBezTo>
                    <a:cubicBezTo>
                      <a:pt x="636" y="5"/>
                      <a:pt x="637" y="4"/>
                      <a:pt x="637" y="4"/>
                    </a:cubicBezTo>
                    <a:cubicBezTo>
                      <a:pt x="638" y="4"/>
                      <a:pt x="639" y="4"/>
                      <a:pt x="640" y="4"/>
                    </a:cubicBezTo>
                    <a:cubicBezTo>
                      <a:pt x="641" y="4"/>
                      <a:pt x="643" y="4"/>
                      <a:pt x="644" y="4"/>
                    </a:cubicBezTo>
                    <a:cubicBezTo>
                      <a:pt x="643" y="4"/>
                      <a:pt x="642" y="4"/>
                      <a:pt x="641" y="4"/>
                    </a:cubicBezTo>
                    <a:cubicBezTo>
                      <a:pt x="639" y="3"/>
                      <a:pt x="641" y="3"/>
                      <a:pt x="642" y="3"/>
                    </a:cubicBezTo>
                    <a:cubicBezTo>
                      <a:pt x="643" y="3"/>
                      <a:pt x="644" y="3"/>
                      <a:pt x="645" y="3"/>
                    </a:cubicBezTo>
                    <a:cubicBezTo>
                      <a:pt x="647" y="3"/>
                      <a:pt x="648" y="4"/>
                      <a:pt x="650" y="4"/>
                    </a:cubicBezTo>
                    <a:cubicBezTo>
                      <a:pt x="649" y="3"/>
                      <a:pt x="648" y="3"/>
                      <a:pt x="647" y="2"/>
                    </a:cubicBezTo>
                    <a:cubicBezTo>
                      <a:pt x="646" y="2"/>
                      <a:pt x="648" y="2"/>
                      <a:pt x="648" y="2"/>
                    </a:cubicBezTo>
                    <a:cubicBezTo>
                      <a:pt x="649" y="2"/>
                      <a:pt x="650" y="2"/>
                      <a:pt x="651" y="2"/>
                    </a:cubicBezTo>
                    <a:cubicBezTo>
                      <a:pt x="652" y="2"/>
                      <a:pt x="652" y="2"/>
                      <a:pt x="653" y="2"/>
                    </a:cubicBezTo>
                    <a:cubicBezTo>
                      <a:pt x="653" y="2"/>
                      <a:pt x="653" y="2"/>
                      <a:pt x="654" y="3"/>
                    </a:cubicBezTo>
                    <a:cubicBezTo>
                      <a:pt x="654" y="3"/>
                      <a:pt x="654" y="3"/>
                      <a:pt x="654" y="3"/>
                    </a:cubicBezTo>
                    <a:cubicBezTo>
                      <a:pt x="654" y="3"/>
                      <a:pt x="655" y="3"/>
                      <a:pt x="655" y="3"/>
                    </a:cubicBezTo>
                    <a:cubicBezTo>
                      <a:pt x="655" y="3"/>
                      <a:pt x="655" y="3"/>
                      <a:pt x="655" y="3"/>
                    </a:cubicBezTo>
                    <a:cubicBezTo>
                      <a:pt x="656" y="2"/>
                      <a:pt x="657" y="3"/>
                      <a:pt x="658" y="3"/>
                    </a:cubicBezTo>
                    <a:cubicBezTo>
                      <a:pt x="660" y="3"/>
                      <a:pt x="661" y="3"/>
                      <a:pt x="663" y="3"/>
                    </a:cubicBezTo>
                    <a:cubicBezTo>
                      <a:pt x="662" y="3"/>
                      <a:pt x="660" y="3"/>
                      <a:pt x="659" y="3"/>
                    </a:cubicBezTo>
                    <a:cubicBezTo>
                      <a:pt x="658" y="3"/>
                      <a:pt x="657" y="3"/>
                      <a:pt x="656" y="2"/>
                    </a:cubicBezTo>
                    <a:cubicBezTo>
                      <a:pt x="656" y="2"/>
                      <a:pt x="656" y="2"/>
                      <a:pt x="656" y="2"/>
                    </a:cubicBezTo>
                    <a:cubicBezTo>
                      <a:pt x="656" y="2"/>
                      <a:pt x="657" y="2"/>
                      <a:pt x="658" y="2"/>
                    </a:cubicBezTo>
                    <a:cubicBezTo>
                      <a:pt x="656" y="2"/>
                      <a:pt x="655" y="2"/>
                      <a:pt x="654" y="2"/>
                    </a:cubicBezTo>
                    <a:cubicBezTo>
                      <a:pt x="655" y="1"/>
                      <a:pt x="656" y="1"/>
                      <a:pt x="657" y="1"/>
                    </a:cubicBezTo>
                    <a:cubicBezTo>
                      <a:pt x="659" y="1"/>
                      <a:pt x="660" y="1"/>
                      <a:pt x="661" y="1"/>
                    </a:cubicBezTo>
                    <a:cubicBezTo>
                      <a:pt x="661" y="1"/>
                      <a:pt x="662" y="1"/>
                      <a:pt x="662" y="1"/>
                    </a:cubicBezTo>
                    <a:cubicBezTo>
                      <a:pt x="662" y="2"/>
                      <a:pt x="662" y="2"/>
                      <a:pt x="663" y="1"/>
                    </a:cubicBezTo>
                    <a:cubicBezTo>
                      <a:pt x="663" y="1"/>
                      <a:pt x="664" y="1"/>
                      <a:pt x="665" y="1"/>
                    </a:cubicBezTo>
                    <a:cubicBezTo>
                      <a:pt x="665" y="1"/>
                      <a:pt x="665" y="2"/>
                      <a:pt x="664" y="2"/>
                    </a:cubicBezTo>
                    <a:cubicBezTo>
                      <a:pt x="665" y="2"/>
                      <a:pt x="666" y="2"/>
                      <a:pt x="667" y="2"/>
                    </a:cubicBezTo>
                    <a:cubicBezTo>
                      <a:pt x="666" y="2"/>
                      <a:pt x="667" y="2"/>
                      <a:pt x="668" y="2"/>
                    </a:cubicBezTo>
                    <a:cubicBezTo>
                      <a:pt x="667" y="1"/>
                      <a:pt x="668" y="1"/>
                      <a:pt x="668" y="1"/>
                    </a:cubicBezTo>
                    <a:cubicBezTo>
                      <a:pt x="669" y="1"/>
                      <a:pt x="669" y="2"/>
                      <a:pt x="670" y="2"/>
                    </a:cubicBezTo>
                    <a:cubicBezTo>
                      <a:pt x="670" y="2"/>
                      <a:pt x="672" y="2"/>
                      <a:pt x="672" y="2"/>
                    </a:cubicBezTo>
                    <a:cubicBezTo>
                      <a:pt x="672" y="2"/>
                      <a:pt x="673" y="3"/>
                      <a:pt x="674" y="3"/>
                    </a:cubicBezTo>
                    <a:cubicBezTo>
                      <a:pt x="675" y="3"/>
                      <a:pt x="676" y="3"/>
                      <a:pt x="676" y="3"/>
                    </a:cubicBezTo>
                    <a:cubicBezTo>
                      <a:pt x="676" y="4"/>
                      <a:pt x="673" y="3"/>
                      <a:pt x="673" y="4"/>
                    </a:cubicBezTo>
                    <a:cubicBezTo>
                      <a:pt x="674" y="4"/>
                      <a:pt x="675" y="4"/>
                      <a:pt x="676" y="4"/>
                    </a:cubicBezTo>
                    <a:cubicBezTo>
                      <a:pt x="677" y="4"/>
                      <a:pt x="678" y="4"/>
                      <a:pt x="680" y="3"/>
                    </a:cubicBezTo>
                    <a:cubicBezTo>
                      <a:pt x="679" y="3"/>
                      <a:pt x="675" y="3"/>
                      <a:pt x="675" y="3"/>
                    </a:cubicBezTo>
                    <a:cubicBezTo>
                      <a:pt x="675" y="2"/>
                      <a:pt x="677" y="2"/>
                      <a:pt x="677" y="2"/>
                    </a:cubicBezTo>
                    <a:cubicBezTo>
                      <a:pt x="676" y="2"/>
                      <a:pt x="675" y="2"/>
                      <a:pt x="674" y="2"/>
                    </a:cubicBezTo>
                    <a:cubicBezTo>
                      <a:pt x="673" y="1"/>
                      <a:pt x="672" y="1"/>
                      <a:pt x="671" y="1"/>
                    </a:cubicBezTo>
                    <a:cubicBezTo>
                      <a:pt x="671" y="1"/>
                      <a:pt x="672" y="1"/>
                      <a:pt x="672" y="1"/>
                    </a:cubicBezTo>
                    <a:cubicBezTo>
                      <a:pt x="672" y="1"/>
                      <a:pt x="673" y="1"/>
                      <a:pt x="673" y="1"/>
                    </a:cubicBezTo>
                    <a:cubicBezTo>
                      <a:pt x="674" y="1"/>
                      <a:pt x="675" y="1"/>
                      <a:pt x="675" y="1"/>
                    </a:cubicBezTo>
                    <a:cubicBezTo>
                      <a:pt x="676" y="1"/>
                      <a:pt x="678" y="1"/>
                      <a:pt x="679" y="0"/>
                    </a:cubicBezTo>
                    <a:cubicBezTo>
                      <a:pt x="680" y="0"/>
                      <a:pt x="680" y="0"/>
                      <a:pt x="681" y="0"/>
                    </a:cubicBezTo>
                    <a:cubicBezTo>
                      <a:pt x="682" y="1"/>
                      <a:pt x="682" y="1"/>
                      <a:pt x="683" y="1"/>
                    </a:cubicBezTo>
                    <a:cubicBezTo>
                      <a:pt x="685" y="1"/>
                      <a:pt x="686" y="0"/>
                      <a:pt x="687" y="0"/>
                    </a:cubicBezTo>
                    <a:cubicBezTo>
                      <a:pt x="688" y="0"/>
                      <a:pt x="689" y="0"/>
                      <a:pt x="690" y="1"/>
                    </a:cubicBezTo>
                    <a:cubicBezTo>
                      <a:pt x="690" y="1"/>
                      <a:pt x="691" y="1"/>
                      <a:pt x="691" y="1"/>
                    </a:cubicBezTo>
                    <a:cubicBezTo>
                      <a:pt x="691" y="2"/>
                      <a:pt x="691" y="2"/>
                      <a:pt x="692" y="2"/>
                    </a:cubicBezTo>
                    <a:cubicBezTo>
                      <a:pt x="693" y="2"/>
                      <a:pt x="694" y="2"/>
                      <a:pt x="695" y="3"/>
                    </a:cubicBezTo>
                    <a:cubicBezTo>
                      <a:pt x="696" y="3"/>
                      <a:pt x="697" y="3"/>
                      <a:pt x="698" y="3"/>
                    </a:cubicBezTo>
                    <a:cubicBezTo>
                      <a:pt x="697" y="2"/>
                      <a:pt x="696" y="2"/>
                      <a:pt x="694" y="2"/>
                    </a:cubicBezTo>
                    <a:cubicBezTo>
                      <a:pt x="694" y="2"/>
                      <a:pt x="694" y="2"/>
                      <a:pt x="694" y="2"/>
                    </a:cubicBezTo>
                    <a:cubicBezTo>
                      <a:pt x="694" y="2"/>
                      <a:pt x="694" y="2"/>
                      <a:pt x="693" y="1"/>
                    </a:cubicBezTo>
                    <a:cubicBezTo>
                      <a:pt x="693" y="1"/>
                      <a:pt x="693" y="1"/>
                      <a:pt x="693" y="1"/>
                    </a:cubicBezTo>
                    <a:cubicBezTo>
                      <a:pt x="693" y="1"/>
                      <a:pt x="694" y="1"/>
                      <a:pt x="695" y="1"/>
                    </a:cubicBezTo>
                    <a:cubicBezTo>
                      <a:pt x="696" y="1"/>
                      <a:pt x="696" y="1"/>
                      <a:pt x="697" y="1"/>
                    </a:cubicBezTo>
                    <a:cubicBezTo>
                      <a:pt x="697" y="1"/>
                      <a:pt x="699" y="0"/>
                      <a:pt x="698" y="0"/>
                    </a:cubicBezTo>
                    <a:cubicBezTo>
                      <a:pt x="700" y="0"/>
                      <a:pt x="703" y="0"/>
                      <a:pt x="706" y="0"/>
                    </a:cubicBezTo>
                    <a:cubicBezTo>
                      <a:pt x="706" y="0"/>
                      <a:pt x="704" y="0"/>
                      <a:pt x="704" y="1"/>
                    </a:cubicBezTo>
                    <a:cubicBezTo>
                      <a:pt x="704" y="1"/>
                      <a:pt x="708" y="2"/>
                      <a:pt x="709" y="1"/>
                    </a:cubicBezTo>
                    <a:cubicBezTo>
                      <a:pt x="708" y="1"/>
                      <a:pt x="707" y="1"/>
                      <a:pt x="706" y="1"/>
                    </a:cubicBezTo>
                    <a:cubicBezTo>
                      <a:pt x="707" y="0"/>
                      <a:pt x="710" y="0"/>
                      <a:pt x="711" y="0"/>
                    </a:cubicBezTo>
                    <a:cubicBezTo>
                      <a:pt x="713" y="0"/>
                      <a:pt x="715" y="0"/>
                      <a:pt x="717" y="0"/>
                    </a:cubicBezTo>
                    <a:cubicBezTo>
                      <a:pt x="717" y="0"/>
                      <a:pt x="717" y="0"/>
                      <a:pt x="716" y="0"/>
                    </a:cubicBezTo>
                    <a:cubicBezTo>
                      <a:pt x="717" y="1"/>
                      <a:pt x="717" y="1"/>
                      <a:pt x="718" y="1"/>
                    </a:cubicBezTo>
                    <a:cubicBezTo>
                      <a:pt x="717" y="1"/>
                      <a:pt x="717" y="1"/>
                      <a:pt x="716" y="1"/>
                    </a:cubicBezTo>
                    <a:cubicBezTo>
                      <a:pt x="717" y="1"/>
                      <a:pt x="718" y="1"/>
                      <a:pt x="719" y="1"/>
                    </a:cubicBezTo>
                    <a:cubicBezTo>
                      <a:pt x="719" y="1"/>
                      <a:pt x="721" y="0"/>
                      <a:pt x="720" y="1"/>
                    </a:cubicBezTo>
                    <a:cubicBezTo>
                      <a:pt x="722" y="1"/>
                      <a:pt x="723" y="0"/>
                      <a:pt x="725" y="1"/>
                    </a:cubicBezTo>
                    <a:cubicBezTo>
                      <a:pt x="725" y="1"/>
                      <a:pt x="725" y="1"/>
                      <a:pt x="725" y="1"/>
                    </a:cubicBezTo>
                    <a:cubicBezTo>
                      <a:pt x="725" y="1"/>
                      <a:pt x="726" y="1"/>
                      <a:pt x="726" y="1"/>
                    </a:cubicBezTo>
                    <a:cubicBezTo>
                      <a:pt x="727" y="1"/>
                      <a:pt x="728" y="1"/>
                      <a:pt x="728" y="1"/>
                    </a:cubicBezTo>
                    <a:cubicBezTo>
                      <a:pt x="729" y="1"/>
                      <a:pt x="730" y="1"/>
                      <a:pt x="730" y="1"/>
                    </a:cubicBezTo>
                    <a:cubicBezTo>
                      <a:pt x="730" y="1"/>
                      <a:pt x="732" y="1"/>
                      <a:pt x="731" y="1"/>
                    </a:cubicBezTo>
                    <a:cubicBezTo>
                      <a:pt x="732" y="1"/>
                      <a:pt x="733" y="1"/>
                      <a:pt x="733" y="1"/>
                    </a:cubicBezTo>
                    <a:cubicBezTo>
                      <a:pt x="734" y="1"/>
                      <a:pt x="735" y="1"/>
                      <a:pt x="735" y="1"/>
                    </a:cubicBezTo>
                    <a:cubicBezTo>
                      <a:pt x="734" y="1"/>
                      <a:pt x="733" y="2"/>
                      <a:pt x="731" y="2"/>
                    </a:cubicBezTo>
                    <a:cubicBezTo>
                      <a:pt x="730" y="2"/>
                      <a:pt x="729" y="2"/>
                      <a:pt x="727" y="2"/>
                    </a:cubicBezTo>
                    <a:cubicBezTo>
                      <a:pt x="726" y="2"/>
                      <a:pt x="725" y="3"/>
                      <a:pt x="723" y="3"/>
                    </a:cubicBezTo>
                    <a:cubicBezTo>
                      <a:pt x="722" y="3"/>
                      <a:pt x="721" y="3"/>
                      <a:pt x="719" y="3"/>
                    </a:cubicBezTo>
                    <a:cubicBezTo>
                      <a:pt x="721" y="3"/>
                      <a:pt x="724" y="3"/>
                      <a:pt x="726" y="3"/>
                    </a:cubicBezTo>
                    <a:cubicBezTo>
                      <a:pt x="727" y="3"/>
                      <a:pt x="728" y="3"/>
                      <a:pt x="729" y="3"/>
                    </a:cubicBezTo>
                    <a:cubicBezTo>
                      <a:pt x="730" y="3"/>
                      <a:pt x="731" y="3"/>
                      <a:pt x="732" y="3"/>
                    </a:cubicBezTo>
                    <a:cubicBezTo>
                      <a:pt x="732" y="2"/>
                      <a:pt x="739" y="2"/>
                      <a:pt x="739" y="2"/>
                    </a:cubicBezTo>
                    <a:cubicBezTo>
                      <a:pt x="739" y="2"/>
                      <a:pt x="739" y="2"/>
                      <a:pt x="739" y="2"/>
                    </a:cubicBezTo>
                    <a:cubicBezTo>
                      <a:pt x="739" y="2"/>
                      <a:pt x="740" y="2"/>
                      <a:pt x="741" y="2"/>
                    </a:cubicBezTo>
                    <a:cubicBezTo>
                      <a:pt x="740" y="2"/>
                      <a:pt x="740" y="2"/>
                      <a:pt x="740" y="2"/>
                    </a:cubicBezTo>
                    <a:cubicBezTo>
                      <a:pt x="740" y="2"/>
                      <a:pt x="741" y="2"/>
                      <a:pt x="742" y="2"/>
                    </a:cubicBezTo>
                    <a:cubicBezTo>
                      <a:pt x="741" y="2"/>
                      <a:pt x="741" y="2"/>
                      <a:pt x="741" y="2"/>
                    </a:cubicBezTo>
                    <a:cubicBezTo>
                      <a:pt x="742" y="1"/>
                      <a:pt x="743" y="1"/>
                      <a:pt x="744" y="1"/>
                    </a:cubicBezTo>
                    <a:cubicBezTo>
                      <a:pt x="744" y="2"/>
                      <a:pt x="744" y="2"/>
                      <a:pt x="743" y="2"/>
                    </a:cubicBezTo>
                    <a:cubicBezTo>
                      <a:pt x="743" y="2"/>
                      <a:pt x="744" y="2"/>
                      <a:pt x="744" y="2"/>
                    </a:cubicBezTo>
                    <a:cubicBezTo>
                      <a:pt x="744" y="2"/>
                      <a:pt x="744" y="2"/>
                      <a:pt x="744" y="2"/>
                    </a:cubicBezTo>
                    <a:cubicBezTo>
                      <a:pt x="745" y="3"/>
                      <a:pt x="746" y="2"/>
                      <a:pt x="747" y="2"/>
                    </a:cubicBezTo>
                    <a:cubicBezTo>
                      <a:pt x="748" y="2"/>
                      <a:pt x="751" y="2"/>
                      <a:pt x="751" y="2"/>
                    </a:cubicBezTo>
                    <a:cubicBezTo>
                      <a:pt x="751" y="3"/>
                      <a:pt x="748" y="3"/>
                      <a:pt x="748" y="3"/>
                    </a:cubicBezTo>
                    <a:cubicBezTo>
                      <a:pt x="749" y="3"/>
                      <a:pt x="750" y="3"/>
                      <a:pt x="751" y="3"/>
                    </a:cubicBezTo>
                    <a:cubicBezTo>
                      <a:pt x="751" y="3"/>
                      <a:pt x="750" y="3"/>
                      <a:pt x="750" y="3"/>
                    </a:cubicBezTo>
                    <a:cubicBezTo>
                      <a:pt x="751" y="4"/>
                      <a:pt x="751" y="3"/>
                      <a:pt x="752" y="4"/>
                    </a:cubicBezTo>
                    <a:cubicBezTo>
                      <a:pt x="751" y="4"/>
                      <a:pt x="750" y="4"/>
                      <a:pt x="749" y="4"/>
                    </a:cubicBezTo>
                    <a:cubicBezTo>
                      <a:pt x="750" y="4"/>
                      <a:pt x="750" y="4"/>
                      <a:pt x="751" y="4"/>
                    </a:cubicBezTo>
                    <a:cubicBezTo>
                      <a:pt x="752" y="4"/>
                      <a:pt x="752" y="4"/>
                      <a:pt x="753" y="4"/>
                    </a:cubicBezTo>
                    <a:cubicBezTo>
                      <a:pt x="753" y="4"/>
                      <a:pt x="754" y="4"/>
                      <a:pt x="754" y="4"/>
                    </a:cubicBezTo>
                    <a:cubicBezTo>
                      <a:pt x="755" y="4"/>
                      <a:pt x="755" y="4"/>
                      <a:pt x="756" y="4"/>
                    </a:cubicBezTo>
                    <a:cubicBezTo>
                      <a:pt x="756" y="4"/>
                      <a:pt x="755" y="4"/>
                      <a:pt x="755" y="4"/>
                    </a:cubicBezTo>
                    <a:cubicBezTo>
                      <a:pt x="756" y="4"/>
                      <a:pt x="762" y="3"/>
                      <a:pt x="761" y="5"/>
                    </a:cubicBezTo>
                    <a:close/>
                    <a:moveTo>
                      <a:pt x="582" y="39"/>
                    </a:moveTo>
                    <a:cubicBezTo>
                      <a:pt x="582" y="39"/>
                      <a:pt x="582" y="39"/>
                      <a:pt x="582" y="39"/>
                    </a:cubicBezTo>
                    <a:cubicBezTo>
                      <a:pt x="582" y="39"/>
                      <a:pt x="582" y="39"/>
                      <a:pt x="582" y="39"/>
                    </a:cubicBezTo>
                    <a:close/>
                    <a:moveTo>
                      <a:pt x="322" y="53"/>
                    </a:moveTo>
                    <a:cubicBezTo>
                      <a:pt x="322" y="53"/>
                      <a:pt x="321" y="53"/>
                      <a:pt x="321" y="53"/>
                    </a:cubicBezTo>
                    <a:cubicBezTo>
                      <a:pt x="321" y="53"/>
                      <a:pt x="322" y="53"/>
                      <a:pt x="322" y="53"/>
                    </a:cubicBezTo>
                    <a:cubicBezTo>
                      <a:pt x="321" y="53"/>
                      <a:pt x="320" y="53"/>
                      <a:pt x="320" y="54"/>
                    </a:cubicBezTo>
                    <a:cubicBezTo>
                      <a:pt x="320" y="54"/>
                      <a:pt x="320" y="54"/>
                      <a:pt x="320" y="54"/>
                    </a:cubicBezTo>
                    <a:cubicBezTo>
                      <a:pt x="320" y="54"/>
                      <a:pt x="319" y="54"/>
                      <a:pt x="319" y="54"/>
                    </a:cubicBezTo>
                    <a:cubicBezTo>
                      <a:pt x="320" y="55"/>
                      <a:pt x="322" y="54"/>
                      <a:pt x="324" y="53"/>
                    </a:cubicBezTo>
                    <a:cubicBezTo>
                      <a:pt x="324" y="53"/>
                      <a:pt x="327" y="54"/>
                      <a:pt x="327" y="54"/>
                    </a:cubicBezTo>
                    <a:cubicBezTo>
                      <a:pt x="328" y="55"/>
                      <a:pt x="329" y="54"/>
                      <a:pt x="330" y="54"/>
                    </a:cubicBezTo>
                    <a:cubicBezTo>
                      <a:pt x="330" y="54"/>
                      <a:pt x="330" y="54"/>
                      <a:pt x="329" y="54"/>
                    </a:cubicBezTo>
                    <a:cubicBezTo>
                      <a:pt x="330" y="54"/>
                      <a:pt x="331" y="53"/>
                      <a:pt x="331" y="53"/>
                    </a:cubicBezTo>
                    <a:cubicBezTo>
                      <a:pt x="332" y="52"/>
                      <a:pt x="333" y="52"/>
                      <a:pt x="334" y="53"/>
                    </a:cubicBezTo>
                    <a:cubicBezTo>
                      <a:pt x="334" y="53"/>
                      <a:pt x="333" y="53"/>
                      <a:pt x="333" y="53"/>
                    </a:cubicBezTo>
                    <a:cubicBezTo>
                      <a:pt x="333" y="53"/>
                      <a:pt x="333" y="53"/>
                      <a:pt x="334" y="53"/>
                    </a:cubicBezTo>
                    <a:cubicBezTo>
                      <a:pt x="333" y="53"/>
                      <a:pt x="332" y="53"/>
                      <a:pt x="332" y="54"/>
                    </a:cubicBezTo>
                    <a:cubicBezTo>
                      <a:pt x="332" y="54"/>
                      <a:pt x="333" y="54"/>
                      <a:pt x="334" y="54"/>
                    </a:cubicBezTo>
                    <a:cubicBezTo>
                      <a:pt x="333" y="54"/>
                      <a:pt x="334" y="54"/>
                      <a:pt x="333" y="54"/>
                    </a:cubicBezTo>
                    <a:cubicBezTo>
                      <a:pt x="333" y="54"/>
                      <a:pt x="333" y="54"/>
                      <a:pt x="332" y="54"/>
                    </a:cubicBezTo>
                    <a:cubicBezTo>
                      <a:pt x="332" y="55"/>
                      <a:pt x="331" y="55"/>
                      <a:pt x="331" y="55"/>
                    </a:cubicBezTo>
                    <a:cubicBezTo>
                      <a:pt x="332" y="56"/>
                      <a:pt x="334" y="54"/>
                      <a:pt x="334" y="55"/>
                    </a:cubicBezTo>
                    <a:cubicBezTo>
                      <a:pt x="334" y="55"/>
                      <a:pt x="334" y="55"/>
                      <a:pt x="334" y="55"/>
                    </a:cubicBezTo>
                    <a:cubicBezTo>
                      <a:pt x="335" y="55"/>
                      <a:pt x="337" y="55"/>
                      <a:pt x="338" y="54"/>
                    </a:cubicBezTo>
                    <a:cubicBezTo>
                      <a:pt x="338" y="54"/>
                      <a:pt x="338" y="54"/>
                      <a:pt x="338" y="54"/>
                    </a:cubicBezTo>
                    <a:cubicBezTo>
                      <a:pt x="339" y="54"/>
                      <a:pt x="341" y="54"/>
                      <a:pt x="339" y="53"/>
                    </a:cubicBezTo>
                    <a:cubicBezTo>
                      <a:pt x="340" y="53"/>
                      <a:pt x="340" y="53"/>
                      <a:pt x="341" y="53"/>
                    </a:cubicBezTo>
                    <a:cubicBezTo>
                      <a:pt x="341" y="53"/>
                      <a:pt x="341" y="53"/>
                      <a:pt x="340" y="53"/>
                    </a:cubicBezTo>
                    <a:cubicBezTo>
                      <a:pt x="341" y="52"/>
                      <a:pt x="341" y="53"/>
                      <a:pt x="342" y="52"/>
                    </a:cubicBezTo>
                    <a:cubicBezTo>
                      <a:pt x="342" y="52"/>
                      <a:pt x="342" y="52"/>
                      <a:pt x="342" y="52"/>
                    </a:cubicBezTo>
                    <a:cubicBezTo>
                      <a:pt x="342" y="51"/>
                      <a:pt x="343" y="51"/>
                      <a:pt x="343" y="51"/>
                    </a:cubicBezTo>
                    <a:cubicBezTo>
                      <a:pt x="343" y="51"/>
                      <a:pt x="344" y="51"/>
                      <a:pt x="344" y="51"/>
                    </a:cubicBezTo>
                    <a:cubicBezTo>
                      <a:pt x="344" y="51"/>
                      <a:pt x="343" y="51"/>
                      <a:pt x="343" y="52"/>
                    </a:cubicBezTo>
                    <a:cubicBezTo>
                      <a:pt x="344" y="52"/>
                      <a:pt x="343" y="52"/>
                      <a:pt x="343" y="53"/>
                    </a:cubicBezTo>
                    <a:cubicBezTo>
                      <a:pt x="343" y="53"/>
                      <a:pt x="345" y="53"/>
                      <a:pt x="345" y="53"/>
                    </a:cubicBezTo>
                    <a:cubicBezTo>
                      <a:pt x="346" y="52"/>
                      <a:pt x="346" y="52"/>
                      <a:pt x="347" y="52"/>
                    </a:cubicBezTo>
                    <a:cubicBezTo>
                      <a:pt x="348" y="51"/>
                      <a:pt x="348" y="51"/>
                      <a:pt x="349" y="51"/>
                    </a:cubicBezTo>
                    <a:cubicBezTo>
                      <a:pt x="350" y="51"/>
                      <a:pt x="351" y="51"/>
                      <a:pt x="351" y="50"/>
                    </a:cubicBezTo>
                    <a:cubicBezTo>
                      <a:pt x="351" y="50"/>
                      <a:pt x="350" y="50"/>
                      <a:pt x="349" y="50"/>
                    </a:cubicBezTo>
                    <a:cubicBezTo>
                      <a:pt x="350" y="49"/>
                      <a:pt x="351" y="49"/>
                      <a:pt x="351" y="49"/>
                    </a:cubicBezTo>
                    <a:cubicBezTo>
                      <a:pt x="351" y="49"/>
                      <a:pt x="352" y="50"/>
                      <a:pt x="352" y="50"/>
                    </a:cubicBezTo>
                    <a:cubicBezTo>
                      <a:pt x="352" y="50"/>
                      <a:pt x="353" y="49"/>
                      <a:pt x="354" y="49"/>
                    </a:cubicBezTo>
                    <a:cubicBezTo>
                      <a:pt x="354" y="49"/>
                      <a:pt x="355" y="49"/>
                      <a:pt x="355" y="48"/>
                    </a:cubicBezTo>
                    <a:cubicBezTo>
                      <a:pt x="355" y="48"/>
                      <a:pt x="355" y="48"/>
                      <a:pt x="355" y="48"/>
                    </a:cubicBezTo>
                    <a:cubicBezTo>
                      <a:pt x="355" y="48"/>
                      <a:pt x="356" y="48"/>
                      <a:pt x="356" y="48"/>
                    </a:cubicBezTo>
                    <a:cubicBezTo>
                      <a:pt x="357" y="48"/>
                      <a:pt x="358" y="47"/>
                      <a:pt x="359" y="47"/>
                    </a:cubicBezTo>
                    <a:cubicBezTo>
                      <a:pt x="359" y="47"/>
                      <a:pt x="360" y="47"/>
                      <a:pt x="361" y="47"/>
                    </a:cubicBezTo>
                    <a:cubicBezTo>
                      <a:pt x="361" y="47"/>
                      <a:pt x="360" y="48"/>
                      <a:pt x="360" y="48"/>
                    </a:cubicBezTo>
                    <a:cubicBezTo>
                      <a:pt x="358" y="48"/>
                      <a:pt x="356" y="49"/>
                      <a:pt x="354" y="50"/>
                    </a:cubicBezTo>
                    <a:cubicBezTo>
                      <a:pt x="355" y="50"/>
                      <a:pt x="355" y="51"/>
                      <a:pt x="355" y="51"/>
                    </a:cubicBezTo>
                    <a:cubicBezTo>
                      <a:pt x="355" y="51"/>
                      <a:pt x="355" y="51"/>
                      <a:pt x="356" y="51"/>
                    </a:cubicBezTo>
                    <a:cubicBezTo>
                      <a:pt x="355" y="51"/>
                      <a:pt x="355" y="51"/>
                      <a:pt x="355" y="51"/>
                    </a:cubicBezTo>
                    <a:cubicBezTo>
                      <a:pt x="356" y="52"/>
                      <a:pt x="358" y="51"/>
                      <a:pt x="359" y="51"/>
                    </a:cubicBezTo>
                    <a:cubicBezTo>
                      <a:pt x="359" y="51"/>
                      <a:pt x="360" y="51"/>
                      <a:pt x="361" y="51"/>
                    </a:cubicBezTo>
                    <a:cubicBezTo>
                      <a:pt x="361" y="50"/>
                      <a:pt x="362" y="50"/>
                      <a:pt x="362" y="50"/>
                    </a:cubicBezTo>
                    <a:cubicBezTo>
                      <a:pt x="362" y="49"/>
                      <a:pt x="365" y="49"/>
                      <a:pt x="366" y="49"/>
                    </a:cubicBezTo>
                    <a:cubicBezTo>
                      <a:pt x="367" y="49"/>
                      <a:pt x="368" y="49"/>
                      <a:pt x="369" y="49"/>
                    </a:cubicBezTo>
                    <a:cubicBezTo>
                      <a:pt x="369" y="48"/>
                      <a:pt x="370" y="48"/>
                      <a:pt x="371" y="48"/>
                    </a:cubicBezTo>
                    <a:cubicBezTo>
                      <a:pt x="371" y="48"/>
                      <a:pt x="371" y="48"/>
                      <a:pt x="372" y="48"/>
                    </a:cubicBezTo>
                    <a:cubicBezTo>
                      <a:pt x="372" y="48"/>
                      <a:pt x="372" y="48"/>
                      <a:pt x="372" y="47"/>
                    </a:cubicBezTo>
                    <a:cubicBezTo>
                      <a:pt x="372" y="47"/>
                      <a:pt x="373" y="47"/>
                      <a:pt x="372" y="47"/>
                    </a:cubicBezTo>
                    <a:cubicBezTo>
                      <a:pt x="372" y="47"/>
                      <a:pt x="371" y="46"/>
                      <a:pt x="372" y="46"/>
                    </a:cubicBezTo>
                    <a:cubicBezTo>
                      <a:pt x="372" y="46"/>
                      <a:pt x="373" y="46"/>
                      <a:pt x="373" y="46"/>
                    </a:cubicBezTo>
                    <a:cubicBezTo>
                      <a:pt x="374" y="46"/>
                      <a:pt x="374" y="46"/>
                      <a:pt x="375" y="46"/>
                    </a:cubicBezTo>
                    <a:cubicBezTo>
                      <a:pt x="376" y="46"/>
                      <a:pt x="376" y="46"/>
                      <a:pt x="375" y="45"/>
                    </a:cubicBezTo>
                    <a:cubicBezTo>
                      <a:pt x="375" y="45"/>
                      <a:pt x="374" y="45"/>
                      <a:pt x="374" y="45"/>
                    </a:cubicBezTo>
                    <a:cubicBezTo>
                      <a:pt x="374" y="45"/>
                      <a:pt x="375" y="44"/>
                      <a:pt x="374" y="44"/>
                    </a:cubicBezTo>
                    <a:cubicBezTo>
                      <a:pt x="375" y="44"/>
                      <a:pt x="376" y="44"/>
                      <a:pt x="377" y="44"/>
                    </a:cubicBezTo>
                    <a:cubicBezTo>
                      <a:pt x="378" y="44"/>
                      <a:pt x="378" y="44"/>
                      <a:pt x="379" y="44"/>
                    </a:cubicBezTo>
                    <a:cubicBezTo>
                      <a:pt x="380" y="43"/>
                      <a:pt x="381" y="43"/>
                      <a:pt x="383" y="43"/>
                    </a:cubicBezTo>
                    <a:cubicBezTo>
                      <a:pt x="383" y="43"/>
                      <a:pt x="383" y="43"/>
                      <a:pt x="383" y="43"/>
                    </a:cubicBezTo>
                    <a:cubicBezTo>
                      <a:pt x="383" y="42"/>
                      <a:pt x="380" y="42"/>
                      <a:pt x="380" y="42"/>
                    </a:cubicBezTo>
                    <a:cubicBezTo>
                      <a:pt x="380" y="42"/>
                      <a:pt x="380" y="41"/>
                      <a:pt x="381" y="41"/>
                    </a:cubicBezTo>
                    <a:cubicBezTo>
                      <a:pt x="380" y="41"/>
                      <a:pt x="379" y="41"/>
                      <a:pt x="379" y="41"/>
                    </a:cubicBezTo>
                    <a:cubicBezTo>
                      <a:pt x="378" y="41"/>
                      <a:pt x="377" y="41"/>
                      <a:pt x="376" y="41"/>
                    </a:cubicBezTo>
                    <a:cubicBezTo>
                      <a:pt x="376" y="41"/>
                      <a:pt x="376" y="41"/>
                      <a:pt x="377" y="41"/>
                    </a:cubicBezTo>
                    <a:cubicBezTo>
                      <a:pt x="375" y="42"/>
                      <a:pt x="374" y="41"/>
                      <a:pt x="373" y="42"/>
                    </a:cubicBezTo>
                    <a:cubicBezTo>
                      <a:pt x="374" y="42"/>
                      <a:pt x="374" y="42"/>
                      <a:pt x="374" y="42"/>
                    </a:cubicBezTo>
                    <a:cubicBezTo>
                      <a:pt x="374" y="42"/>
                      <a:pt x="375" y="42"/>
                      <a:pt x="376" y="42"/>
                    </a:cubicBezTo>
                    <a:cubicBezTo>
                      <a:pt x="375" y="43"/>
                      <a:pt x="374" y="43"/>
                      <a:pt x="374" y="43"/>
                    </a:cubicBezTo>
                    <a:cubicBezTo>
                      <a:pt x="373" y="43"/>
                      <a:pt x="372" y="42"/>
                      <a:pt x="372" y="43"/>
                    </a:cubicBezTo>
                    <a:cubicBezTo>
                      <a:pt x="372" y="43"/>
                      <a:pt x="373" y="43"/>
                      <a:pt x="372" y="43"/>
                    </a:cubicBezTo>
                    <a:cubicBezTo>
                      <a:pt x="372" y="43"/>
                      <a:pt x="371" y="43"/>
                      <a:pt x="371" y="43"/>
                    </a:cubicBezTo>
                    <a:cubicBezTo>
                      <a:pt x="369" y="43"/>
                      <a:pt x="368" y="43"/>
                      <a:pt x="367" y="42"/>
                    </a:cubicBezTo>
                    <a:cubicBezTo>
                      <a:pt x="368" y="42"/>
                      <a:pt x="368" y="42"/>
                      <a:pt x="368" y="42"/>
                    </a:cubicBezTo>
                    <a:cubicBezTo>
                      <a:pt x="367" y="42"/>
                      <a:pt x="366" y="42"/>
                      <a:pt x="366" y="43"/>
                    </a:cubicBezTo>
                    <a:cubicBezTo>
                      <a:pt x="365" y="43"/>
                      <a:pt x="364" y="42"/>
                      <a:pt x="363" y="42"/>
                    </a:cubicBezTo>
                    <a:cubicBezTo>
                      <a:pt x="362" y="42"/>
                      <a:pt x="360" y="43"/>
                      <a:pt x="359" y="43"/>
                    </a:cubicBezTo>
                    <a:cubicBezTo>
                      <a:pt x="358" y="43"/>
                      <a:pt x="357" y="43"/>
                      <a:pt x="356" y="44"/>
                    </a:cubicBezTo>
                    <a:cubicBezTo>
                      <a:pt x="355" y="44"/>
                      <a:pt x="354" y="44"/>
                      <a:pt x="352" y="45"/>
                    </a:cubicBezTo>
                    <a:cubicBezTo>
                      <a:pt x="351" y="45"/>
                      <a:pt x="350" y="45"/>
                      <a:pt x="349" y="45"/>
                    </a:cubicBezTo>
                    <a:cubicBezTo>
                      <a:pt x="348" y="45"/>
                      <a:pt x="347" y="46"/>
                      <a:pt x="346" y="46"/>
                    </a:cubicBezTo>
                    <a:cubicBezTo>
                      <a:pt x="346" y="46"/>
                      <a:pt x="345" y="46"/>
                      <a:pt x="345" y="47"/>
                    </a:cubicBezTo>
                    <a:cubicBezTo>
                      <a:pt x="345" y="47"/>
                      <a:pt x="345" y="47"/>
                      <a:pt x="344" y="47"/>
                    </a:cubicBezTo>
                    <a:cubicBezTo>
                      <a:pt x="343" y="47"/>
                      <a:pt x="342" y="47"/>
                      <a:pt x="341" y="48"/>
                    </a:cubicBezTo>
                    <a:cubicBezTo>
                      <a:pt x="340" y="48"/>
                      <a:pt x="338" y="48"/>
                      <a:pt x="337" y="48"/>
                    </a:cubicBezTo>
                    <a:cubicBezTo>
                      <a:pt x="336" y="49"/>
                      <a:pt x="335" y="49"/>
                      <a:pt x="334" y="49"/>
                    </a:cubicBezTo>
                    <a:cubicBezTo>
                      <a:pt x="333" y="50"/>
                      <a:pt x="332" y="50"/>
                      <a:pt x="331" y="50"/>
                    </a:cubicBezTo>
                    <a:cubicBezTo>
                      <a:pt x="330" y="50"/>
                      <a:pt x="330" y="50"/>
                      <a:pt x="329" y="50"/>
                    </a:cubicBezTo>
                    <a:cubicBezTo>
                      <a:pt x="329" y="50"/>
                      <a:pt x="328" y="50"/>
                      <a:pt x="328" y="50"/>
                    </a:cubicBezTo>
                    <a:cubicBezTo>
                      <a:pt x="326" y="50"/>
                      <a:pt x="325" y="51"/>
                      <a:pt x="324" y="51"/>
                    </a:cubicBezTo>
                    <a:cubicBezTo>
                      <a:pt x="324" y="51"/>
                      <a:pt x="323" y="51"/>
                      <a:pt x="323" y="51"/>
                    </a:cubicBezTo>
                    <a:cubicBezTo>
                      <a:pt x="323" y="52"/>
                      <a:pt x="322" y="52"/>
                      <a:pt x="321" y="52"/>
                    </a:cubicBezTo>
                    <a:cubicBezTo>
                      <a:pt x="320" y="52"/>
                      <a:pt x="319" y="53"/>
                      <a:pt x="318" y="53"/>
                    </a:cubicBezTo>
                    <a:cubicBezTo>
                      <a:pt x="319" y="53"/>
                      <a:pt x="321" y="52"/>
                      <a:pt x="322" y="53"/>
                    </a:cubicBezTo>
                    <a:close/>
                    <a:moveTo>
                      <a:pt x="454" y="51"/>
                    </a:moveTo>
                    <a:cubicBezTo>
                      <a:pt x="454" y="51"/>
                      <a:pt x="454" y="51"/>
                      <a:pt x="454" y="51"/>
                    </a:cubicBezTo>
                    <a:cubicBezTo>
                      <a:pt x="454" y="51"/>
                      <a:pt x="454" y="51"/>
                      <a:pt x="454" y="51"/>
                    </a:cubicBezTo>
                    <a:close/>
                    <a:moveTo>
                      <a:pt x="454" y="54"/>
                    </a:moveTo>
                    <a:cubicBezTo>
                      <a:pt x="455" y="54"/>
                      <a:pt x="456" y="53"/>
                      <a:pt x="457" y="54"/>
                    </a:cubicBezTo>
                    <a:cubicBezTo>
                      <a:pt x="457" y="54"/>
                      <a:pt x="454" y="54"/>
                      <a:pt x="454" y="55"/>
                    </a:cubicBezTo>
                    <a:cubicBezTo>
                      <a:pt x="454" y="55"/>
                      <a:pt x="455" y="55"/>
                      <a:pt x="454" y="56"/>
                    </a:cubicBezTo>
                    <a:cubicBezTo>
                      <a:pt x="455" y="56"/>
                      <a:pt x="456" y="55"/>
                      <a:pt x="457" y="55"/>
                    </a:cubicBezTo>
                    <a:cubicBezTo>
                      <a:pt x="457" y="56"/>
                      <a:pt x="456" y="56"/>
                      <a:pt x="455" y="56"/>
                    </a:cubicBezTo>
                    <a:cubicBezTo>
                      <a:pt x="455" y="56"/>
                      <a:pt x="454" y="56"/>
                      <a:pt x="453" y="56"/>
                    </a:cubicBezTo>
                    <a:cubicBezTo>
                      <a:pt x="453" y="56"/>
                      <a:pt x="454" y="55"/>
                      <a:pt x="454" y="55"/>
                    </a:cubicBezTo>
                    <a:cubicBezTo>
                      <a:pt x="453" y="55"/>
                      <a:pt x="452" y="54"/>
                      <a:pt x="451" y="55"/>
                    </a:cubicBezTo>
                    <a:cubicBezTo>
                      <a:pt x="451" y="55"/>
                      <a:pt x="450" y="55"/>
                      <a:pt x="449" y="55"/>
                    </a:cubicBezTo>
                    <a:cubicBezTo>
                      <a:pt x="449" y="55"/>
                      <a:pt x="447" y="56"/>
                      <a:pt x="448" y="56"/>
                    </a:cubicBezTo>
                    <a:cubicBezTo>
                      <a:pt x="449" y="56"/>
                      <a:pt x="449" y="56"/>
                      <a:pt x="449" y="56"/>
                    </a:cubicBezTo>
                    <a:cubicBezTo>
                      <a:pt x="449" y="56"/>
                      <a:pt x="449" y="56"/>
                      <a:pt x="448" y="56"/>
                    </a:cubicBezTo>
                    <a:cubicBezTo>
                      <a:pt x="448" y="56"/>
                      <a:pt x="449" y="56"/>
                      <a:pt x="449" y="56"/>
                    </a:cubicBezTo>
                    <a:cubicBezTo>
                      <a:pt x="449" y="56"/>
                      <a:pt x="449" y="56"/>
                      <a:pt x="449" y="56"/>
                    </a:cubicBezTo>
                    <a:cubicBezTo>
                      <a:pt x="448" y="57"/>
                      <a:pt x="447" y="56"/>
                      <a:pt x="446" y="56"/>
                    </a:cubicBezTo>
                    <a:cubicBezTo>
                      <a:pt x="446" y="56"/>
                      <a:pt x="445" y="56"/>
                      <a:pt x="445" y="57"/>
                    </a:cubicBezTo>
                    <a:cubicBezTo>
                      <a:pt x="445" y="57"/>
                      <a:pt x="444" y="57"/>
                      <a:pt x="444" y="57"/>
                    </a:cubicBezTo>
                    <a:cubicBezTo>
                      <a:pt x="444" y="57"/>
                      <a:pt x="443" y="57"/>
                      <a:pt x="443" y="57"/>
                    </a:cubicBezTo>
                    <a:cubicBezTo>
                      <a:pt x="442" y="57"/>
                      <a:pt x="443" y="57"/>
                      <a:pt x="443" y="57"/>
                    </a:cubicBezTo>
                    <a:cubicBezTo>
                      <a:pt x="443" y="57"/>
                      <a:pt x="443" y="58"/>
                      <a:pt x="442" y="58"/>
                    </a:cubicBezTo>
                    <a:cubicBezTo>
                      <a:pt x="443" y="58"/>
                      <a:pt x="443" y="58"/>
                      <a:pt x="443" y="58"/>
                    </a:cubicBezTo>
                    <a:cubicBezTo>
                      <a:pt x="443" y="58"/>
                      <a:pt x="443" y="58"/>
                      <a:pt x="443" y="58"/>
                    </a:cubicBezTo>
                    <a:cubicBezTo>
                      <a:pt x="443" y="58"/>
                      <a:pt x="444" y="58"/>
                      <a:pt x="445" y="58"/>
                    </a:cubicBezTo>
                    <a:cubicBezTo>
                      <a:pt x="446" y="58"/>
                      <a:pt x="447" y="58"/>
                      <a:pt x="447" y="58"/>
                    </a:cubicBezTo>
                    <a:cubicBezTo>
                      <a:pt x="449" y="58"/>
                      <a:pt x="450" y="57"/>
                      <a:pt x="452" y="57"/>
                    </a:cubicBezTo>
                    <a:cubicBezTo>
                      <a:pt x="451" y="58"/>
                      <a:pt x="453" y="57"/>
                      <a:pt x="453" y="57"/>
                    </a:cubicBezTo>
                    <a:cubicBezTo>
                      <a:pt x="453" y="57"/>
                      <a:pt x="454" y="57"/>
                      <a:pt x="455" y="57"/>
                    </a:cubicBezTo>
                    <a:cubicBezTo>
                      <a:pt x="456" y="57"/>
                      <a:pt x="457" y="57"/>
                      <a:pt x="458" y="57"/>
                    </a:cubicBezTo>
                    <a:cubicBezTo>
                      <a:pt x="460" y="57"/>
                      <a:pt x="463" y="56"/>
                      <a:pt x="465" y="56"/>
                    </a:cubicBezTo>
                    <a:cubicBezTo>
                      <a:pt x="465" y="56"/>
                      <a:pt x="464" y="56"/>
                      <a:pt x="464" y="57"/>
                    </a:cubicBezTo>
                    <a:cubicBezTo>
                      <a:pt x="465" y="57"/>
                      <a:pt x="466" y="56"/>
                      <a:pt x="467" y="56"/>
                    </a:cubicBezTo>
                    <a:cubicBezTo>
                      <a:pt x="468" y="56"/>
                      <a:pt x="469" y="56"/>
                      <a:pt x="469" y="56"/>
                    </a:cubicBezTo>
                    <a:cubicBezTo>
                      <a:pt x="468" y="57"/>
                      <a:pt x="467" y="56"/>
                      <a:pt x="466" y="57"/>
                    </a:cubicBezTo>
                    <a:cubicBezTo>
                      <a:pt x="464" y="57"/>
                      <a:pt x="463" y="57"/>
                      <a:pt x="462" y="57"/>
                    </a:cubicBezTo>
                    <a:cubicBezTo>
                      <a:pt x="462" y="57"/>
                      <a:pt x="463" y="57"/>
                      <a:pt x="463" y="57"/>
                    </a:cubicBezTo>
                    <a:cubicBezTo>
                      <a:pt x="462" y="58"/>
                      <a:pt x="461" y="57"/>
                      <a:pt x="460" y="58"/>
                    </a:cubicBezTo>
                    <a:cubicBezTo>
                      <a:pt x="461" y="58"/>
                      <a:pt x="461" y="58"/>
                      <a:pt x="461" y="58"/>
                    </a:cubicBezTo>
                    <a:cubicBezTo>
                      <a:pt x="460" y="58"/>
                      <a:pt x="459" y="58"/>
                      <a:pt x="458" y="58"/>
                    </a:cubicBezTo>
                    <a:cubicBezTo>
                      <a:pt x="459" y="58"/>
                      <a:pt x="460" y="58"/>
                      <a:pt x="460" y="58"/>
                    </a:cubicBezTo>
                    <a:cubicBezTo>
                      <a:pt x="459" y="58"/>
                      <a:pt x="458" y="58"/>
                      <a:pt x="458" y="58"/>
                    </a:cubicBezTo>
                    <a:cubicBezTo>
                      <a:pt x="458" y="58"/>
                      <a:pt x="459" y="58"/>
                      <a:pt x="459" y="58"/>
                    </a:cubicBezTo>
                    <a:cubicBezTo>
                      <a:pt x="458" y="59"/>
                      <a:pt x="456" y="58"/>
                      <a:pt x="455" y="59"/>
                    </a:cubicBezTo>
                    <a:cubicBezTo>
                      <a:pt x="455" y="59"/>
                      <a:pt x="455" y="59"/>
                      <a:pt x="455" y="59"/>
                    </a:cubicBezTo>
                    <a:cubicBezTo>
                      <a:pt x="456" y="59"/>
                      <a:pt x="456" y="59"/>
                      <a:pt x="456" y="59"/>
                    </a:cubicBezTo>
                    <a:cubicBezTo>
                      <a:pt x="455" y="59"/>
                      <a:pt x="454" y="59"/>
                      <a:pt x="454" y="59"/>
                    </a:cubicBezTo>
                    <a:cubicBezTo>
                      <a:pt x="454" y="59"/>
                      <a:pt x="454" y="59"/>
                      <a:pt x="455" y="59"/>
                    </a:cubicBezTo>
                    <a:cubicBezTo>
                      <a:pt x="454" y="59"/>
                      <a:pt x="454" y="59"/>
                      <a:pt x="453" y="59"/>
                    </a:cubicBezTo>
                    <a:cubicBezTo>
                      <a:pt x="454" y="59"/>
                      <a:pt x="454" y="60"/>
                      <a:pt x="455" y="60"/>
                    </a:cubicBezTo>
                    <a:cubicBezTo>
                      <a:pt x="455" y="60"/>
                      <a:pt x="456" y="60"/>
                      <a:pt x="456" y="60"/>
                    </a:cubicBezTo>
                    <a:cubicBezTo>
                      <a:pt x="456" y="60"/>
                      <a:pt x="455" y="60"/>
                      <a:pt x="455" y="60"/>
                    </a:cubicBezTo>
                    <a:cubicBezTo>
                      <a:pt x="456" y="60"/>
                      <a:pt x="456" y="60"/>
                      <a:pt x="457" y="60"/>
                    </a:cubicBezTo>
                    <a:cubicBezTo>
                      <a:pt x="456" y="61"/>
                      <a:pt x="454" y="60"/>
                      <a:pt x="453" y="61"/>
                    </a:cubicBezTo>
                    <a:cubicBezTo>
                      <a:pt x="454" y="61"/>
                      <a:pt x="452" y="62"/>
                      <a:pt x="453" y="62"/>
                    </a:cubicBezTo>
                    <a:cubicBezTo>
                      <a:pt x="454" y="63"/>
                      <a:pt x="456" y="62"/>
                      <a:pt x="457" y="63"/>
                    </a:cubicBezTo>
                    <a:cubicBezTo>
                      <a:pt x="457" y="62"/>
                      <a:pt x="458" y="62"/>
                      <a:pt x="458" y="62"/>
                    </a:cubicBezTo>
                    <a:cubicBezTo>
                      <a:pt x="458" y="62"/>
                      <a:pt x="459" y="62"/>
                      <a:pt x="459" y="62"/>
                    </a:cubicBezTo>
                    <a:cubicBezTo>
                      <a:pt x="460" y="61"/>
                      <a:pt x="460" y="61"/>
                      <a:pt x="461" y="61"/>
                    </a:cubicBezTo>
                    <a:cubicBezTo>
                      <a:pt x="460" y="62"/>
                      <a:pt x="459" y="62"/>
                      <a:pt x="458" y="62"/>
                    </a:cubicBezTo>
                    <a:cubicBezTo>
                      <a:pt x="459" y="63"/>
                      <a:pt x="460" y="62"/>
                      <a:pt x="461" y="62"/>
                    </a:cubicBezTo>
                    <a:cubicBezTo>
                      <a:pt x="461" y="62"/>
                      <a:pt x="462" y="62"/>
                      <a:pt x="463" y="62"/>
                    </a:cubicBezTo>
                    <a:cubicBezTo>
                      <a:pt x="462" y="62"/>
                      <a:pt x="462" y="62"/>
                      <a:pt x="463" y="62"/>
                    </a:cubicBezTo>
                    <a:cubicBezTo>
                      <a:pt x="462" y="62"/>
                      <a:pt x="464" y="62"/>
                      <a:pt x="464" y="62"/>
                    </a:cubicBezTo>
                    <a:cubicBezTo>
                      <a:pt x="464" y="62"/>
                      <a:pt x="465" y="62"/>
                      <a:pt x="465" y="62"/>
                    </a:cubicBezTo>
                    <a:cubicBezTo>
                      <a:pt x="466" y="62"/>
                      <a:pt x="467" y="62"/>
                      <a:pt x="468" y="62"/>
                    </a:cubicBezTo>
                    <a:cubicBezTo>
                      <a:pt x="468" y="62"/>
                      <a:pt x="469" y="62"/>
                      <a:pt x="469" y="61"/>
                    </a:cubicBezTo>
                    <a:cubicBezTo>
                      <a:pt x="469" y="61"/>
                      <a:pt x="469" y="61"/>
                      <a:pt x="469" y="61"/>
                    </a:cubicBezTo>
                    <a:cubicBezTo>
                      <a:pt x="468" y="61"/>
                      <a:pt x="470" y="61"/>
                      <a:pt x="470" y="60"/>
                    </a:cubicBezTo>
                    <a:cubicBezTo>
                      <a:pt x="469" y="61"/>
                      <a:pt x="469" y="61"/>
                      <a:pt x="469" y="61"/>
                    </a:cubicBezTo>
                    <a:cubicBezTo>
                      <a:pt x="469" y="61"/>
                      <a:pt x="470" y="61"/>
                      <a:pt x="470" y="61"/>
                    </a:cubicBezTo>
                    <a:cubicBezTo>
                      <a:pt x="471" y="61"/>
                      <a:pt x="472" y="61"/>
                      <a:pt x="472" y="61"/>
                    </a:cubicBezTo>
                    <a:cubicBezTo>
                      <a:pt x="472" y="61"/>
                      <a:pt x="471" y="61"/>
                      <a:pt x="472" y="61"/>
                    </a:cubicBezTo>
                    <a:cubicBezTo>
                      <a:pt x="472" y="61"/>
                      <a:pt x="471" y="61"/>
                      <a:pt x="471" y="61"/>
                    </a:cubicBezTo>
                    <a:cubicBezTo>
                      <a:pt x="472" y="60"/>
                      <a:pt x="471" y="60"/>
                      <a:pt x="471" y="60"/>
                    </a:cubicBezTo>
                    <a:cubicBezTo>
                      <a:pt x="471" y="60"/>
                      <a:pt x="471" y="60"/>
                      <a:pt x="471" y="60"/>
                    </a:cubicBezTo>
                    <a:cubicBezTo>
                      <a:pt x="471" y="60"/>
                      <a:pt x="471" y="60"/>
                      <a:pt x="472" y="59"/>
                    </a:cubicBezTo>
                    <a:cubicBezTo>
                      <a:pt x="471" y="59"/>
                      <a:pt x="470" y="60"/>
                      <a:pt x="470" y="60"/>
                    </a:cubicBezTo>
                    <a:cubicBezTo>
                      <a:pt x="470" y="60"/>
                      <a:pt x="470" y="60"/>
                      <a:pt x="471" y="59"/>
                    </a:cubicBezTo>
                    <a:cubicBezTo>
                      <a:pt x="470" y="59"/>
                      <a:pt x="470" y="59"/>
                      <a:pt x="470" y="59"/>
                    </a:cubicBezTo>
                    <a:cubicBezTo>
                      <a:pt x="471" y="59"/>
                      <a:pt x="471" y="59"/>
                      <a:pt x="472" y="59"/>
                    </a:cubicBezTo>
                    <a:cubicBezTo>
                      <a:pt x="472" y="59"/>
                      <a:pt x="472" y="59"/>
                      <a:pt x="472" y="59"/>
                    </a:cubicBezTo>
                    <a:cubicBezTo>
                      <a:pt x="472" y="58"/>
                      <a:pt x="473" y="59"/>
                      <a:pt x="473" y="59"/>
                    </a:cubicBezTo>
                    <a:cubicBezTo>
                      <a:pt x="473" y="59"/>
                      <a:pt x="473" y="59"/>
                      <a:pt x="472" y="58"/>
                    </a:cubicBezTo>
                    <a:cubicBezTo>
                      <a:pt x="472" y="58"/>
                      <a:pt x="473" y="58"/>
                      <a:pt x="472" y="58"/>
                    </a:cubicBezTo>
                    <a:cubicBezTo>
                      <a:pt x="473" y="58"/>
                      <a:pt x="474" y="58"/>
                      <a:pt x="474" y="58"/>
                    </a:cubicBezTo>
                    <a:cubicBezTo>
                      <a:pt x="474" y="58"/>
                      <a:pt x="475" y="58"/>
                      <a:pt x="474" y="58"/>
                    </a:cubicBezTo>
                    <a:cubicBezTo>
                      <a:pt x="475" y="57"/>
                      <a:pt x="476" y="57"/>
                      <a:pt x="476" y="58"/>
                    </a:cubicBezTo>
                    <a:cubicBezTo>
                      <a:pt x="476" y="58"/>
                      <a:pt x="475" y="58"/>
                      <a:pt x="475" y="59"/>
                    </a:cubicBezTo>
                    <a:cubicBezTo>
                      <a:pt x="476" y="59"/>
                      <a:pt x="476" y="59"/>
                      <a:pt x="476" y="59"/>
                    </a:cubicBezTo>
                    <a:cubicBezTo>
                      <a:pt x="476" y="58"/>
                      <a:pt x="478" y="57"/>
                      <a:pt x="478" y="57"/>
                    </a:cubicBezTo>
                    <a:cubicBezTo>
                      <a:pt x="479" y="56"/>
                      <a:pt x="479" y="56"/>
                      <a:pt x="478" y="56"/>
                    </a:cubicBezTo>
                    <a:cubicBezTo>
                      <a:pt x="477" y="56"/>
                      <a:pt x="477" y="56"/>
                      <a:pt x="476" y="56"/>
                    </a:cubicBezTo>
                    <a:cubicBezTo>
                      <a:pt x="477" y="55"/>
                      <a:pt x="478" y="56"/>
                      <a:pt x="479" y="55"/>
                    </a:cubicBezTo>
                    <a:cubicBezTo>
                      <a:pt x="480" y="55"/>
                      <a:pt x="480" y="54"/>
                      <a:pt x="480" y="54"/>
                    </a:cubicBezTo>
                    <a:cubicBezTo>
                      <a:pt x="481" y="54"/>
                      <a:pt x="481" y="53"/>
                      <a:pt x="482" y="53"/>
                    </a:cubicBezTo>
                    <a:cubicBezTo>
                      <a:pt x="483" y="53"/>
                      <a:pt x="484" y="53"/>
                      <a:pt x="483" y="52"/>
                    </a:cubicBezTo>
                    <a:cubicBezTo>
                      <a:pt x="483" y="51"/>
                      <a:pt x="485" y="50"/>
                      <a:pt x="485" y="50"/>
                    </a:cubicBezTo>
                    <a:cubicBezTo>
                      <a:pt x="485" y="49"/>
                      <a:pt x="482" y="49"/>
                      <a:pt x="482" y="49"/>
                    </a:cubicBezTo>
                    <a:cubicBezTo>
                      <a:pt x="482" y="49"/>
                      <a:pt x="483" y="49"/>
                      <a:pt x="483" y="49"/>
                    </a:cubicBezTo>
                    <a:cubicBezTo>
                      <a:pt x="483" y="49"/>
                      <a:pt x="482" y="49"/>
                      <a:pt x="483" y="48"/>
                    </a:cubicBezTo>
                    <a:cubicBezTo>
                      <a:pt x="482" y="48"/>
                      <a:pt x="481" y="48"/>
                      <a:pt x="480" y="48"/>
                    </a:cubicBezTo>
                    <a:cubicBezTo>
                      <a:pt x="481" y="49"/>
                      <a:pt x="481" y="48"/>
                      <a:pt x="482" y="48"/>
                    </a:cubicBezTo>
                    <a:cubicBezTo>
                      <a:pt x="481" y="48"/>
                      <a:pt x="480" y="49"/>
                      <a:pt x="480" y="49"/>
                    </a:cubicBezTo>
                    <a:cubicBezTo>
                      <a:pt x="480" y="49"/>
                      <a:pt x="479" y="49"/>
                      <a:pt x="479" y="49"/>
                    </a:cubicBezTo>
                    <a:cubicBezTo>
                      <a:pt x="478" y="49"/>
                      <a:pt x="478" y="49"/>
                      <a:pt x="477" y="49"/>
                    </a:cubicBezTo>
                    <a:cubicBezTo>
                      <a:pt x="478" y="49"/>
                      <a:pt x="478" y="50"/>
                      <a:pt x="477" y="50"/>
                    </a:cubicBezTo>
                    <a:cubicBezTo>
                      <a:pt x="477" y="50"/>
                      <a:pt x="477" y="50"/>
                      <a:pt x="477" y="50"/>
                    </a:cubicBezTo>
                    <a:cubicBezTo>
                      <a:pt x="476" y="50"/>
                      <a:pt x="476" y="50"/>
                      <a:pt x="475" y="50"/>
                    </a:cubicBezTo>
                    <a:cubicBezTo>
                      <a:pt x="475" y="50"/>
                      <a:pt x="475" y="50"/>
                      <a:pt x="475" y="50"/>
                    </a:cubicBezTo>
                    <a:cubicBezTo>
                      <a:pt x="475" y="50"/>
                      <a:pt x="476" y="50"/>
                      <a:pt x="476" y="50"/>
                    </a:cubicBezTo>
                    <a:cubicBezTo>
                      <a:pt x="476" y="49"/>
                      <a:pt x="476" y="50"/>
                      <a:pt x="475" y="49"/>
                    </a:cubicBezTo>
                    <a:cubicBezTo>
                      <a:pt x="475" y="49"/>
                      <a:pt x="474" y="49"/>
                      <a:pt x="474" y="49"/>
                    </a:cubicBezTo>
                    <a:cubicBezTo>
                      <a:pt x="474" y="49"/>
                      <a:pt x="475" y="49"/>
                      <a:pt x="475" y="49"/>
                    </a:cubicBezTo>
                    <a:cubicBezTo>
                      <a:pt x="475" y="48"/>
                      <a:pt x="473" y="49"/>
                      <a:pt x="473" y="49"/>
                    </a:cubicBezTo>
                    <a:cubicBezTo>
                      <a:pt x="472" y="49"/>
                      <a:pt x="471" y="48"/>
                      <a:pt x="471" y="48"/>
                    </a:cubicBezTo>
                    <a:cubicBezTo>
                      <a:pt x="469" y="48"/>
                      <a:pt x="468" y="49"/>
                      <a:pt x="466" y="49"/>
                    </a:cubicBezTo>
                    <a:cubicBezTo>
                      <a:pt x="466" y="49"/>
                      <a:pt x="465" y="49"/>
                      <a:pt x="464" y="50"/>
                    </a:cubicBezTo>
                    <a:cubicBezTo>
                      <a:pt x="464" y="50"/>
                      <a:pt x="465" y="50"/>
                      <a:pt x="465" y="51"/>
                    </a:cubicBezTo>
                    <a:cubicBezTo>
                      <a:pt x="465" y="51"/>
                      <a:pt x="468" y="51"/>
                      <a:pt x="468" y="51"/>
                    </a:cubicBezTo>
                    <a:cubicBezTo>
                      <a:pt x="468" y="51"/>
                      <a:pt x="468" y="51"/>
                      <a:pt x="468" y="51"/>
                    </a:cubicBezTo>
                    <a:cubicBezTo>
                      <a:pt x="468" y="51"/>
                      <a:pt x="469" y="51"/>
                      <a:pt x="469" y="51"/>
                    </a:cubicBezTo>
                    <a:cubicBezTo>
                      <a:pt x="469" y="51"/>
                      <a:pt x="469" y="51"/>
                      <a:pt x="468" y="51"/>
                    </a:cubicBezTo>
                    <a:cubicBezTo>
                      <a:pt x="469" y="51"/>
                      <a:pt x="469" y="51"/>
                      <a:pt x="469" y="51"/>
                    </a:cubicBezTo>
                    <a:cubicBezTo>
                      <a:pt x="469" y="52"/>
                      <a:pt x="468" y="51"/>
                      <a:pt x="467" y="51"/>
                    </a:cubicBezTo>
                    <a:cubicBezTo>
                      <a:pt x="467" y="51"/>
                      <a:pt x="468" y="51"/>
                      <a:pt x="468" y="51"/>
                    </a:cubicBezTo>
                    <a:cubicBezTo>
                      <a:pt x="467" y="52"/>
                      <a:pt x="466" y="51"/>
                      <a:pt x="465" y="52"/>
                    </a:cubicBezTo>
                    <a:cubicBezTo>
                      <a:pt x="464" y="52"/>
                      <a:pt x="466" y="52"/>
                      <a:pt x="466" y="52"/>
                    </a:cubicBezTo>
                    <a:cubicBezTo>
                      <a:pt x="466" y="52"/>
                      <a:pt x="467" y="52"/>
                      <a:pt x="467" y="52"/>
                    </a:cubicBezTo>
                    <a:cubicBezTo>
                      <a:pt x="468" y="52"/>
                      <a:pt x="468" y="52"/>
                      <a:pt x="468" y="52"/>
                    </a:cubicBezTo>
                    <a:cubicBezTo>
                      <a:pt x="469" y="52"/>
                      <a:pt x="470" y="52"/>
                      <a:pt x="471" y="52"/>
                    </a:cubicBezTo>
                    <a:cubicBezTo>
                      <a:pt x="469" y="53"/>
                      <a:pt x="467" y="53"/>
                      <a:pt x="465" y="53"/>
                    </a:cubicBezTo>
                    <a:cubicBezTo>
                      <a:pt x="466" y="53"/>
                      <a:pt x="465" y="53"/>
                      <a:pt x="465" y="53"/>
                    </a:cubicBezTo>
                    <a:cubicBezTo>
                      <a:pt x="465" y="53"/>
                      <a:pt x="466" y="53"/>
                      <a:pt x="466" y="53"/>
                    </a:cubicBezTo>
                    <a:cubicBezTo>
                      <a:pt x="466" y="54"/>
                      <a:pt x="465" y="54"/>
                      <a:pt x="465" y="54"/>
                    </a:cubicBezTo>
                    <a:cubicBezTo>
                      <a:pt x="466" y="54"/>
                      <a:pt x="465" y="54"/>
                      <a:pt x="466" y="54"/>
                    </a:cubicBezTo>
                    <a:cubicBezTo>
                      <a:pt x="466" y="54"/>
                      <a:pt x="466" y="54"/>
                      <a:pt x="465" y="54"/>
                    </a:cubicBezTo>
                    <a:cubicBezTo>
                      <a:pt x="466" y="54"/>
                      <a:pt x="468" y="54"/>
                      <a:pt x="469" y="54"/>
                    </a:cubicBezTo>
                    <a:cubicBezTo>
                      <a:pt x="468" y="54"/>
                      <a:pt x="467" y="54"/>
                      <a:pt x="466" y="54"/>
                    </a:cubicBezTo>
                    <a:cubicBezTo>
                      <a:pt x="466" y="55"/>
                      <a:pt x="465" y="55"/>
                      <a:pt x="464" y="55"/>
                    </a:cubicBezTo>
                    <a:cubicBezTo>
                      <a:pt x="464" y="55"/>
                      <a:pt x="464" y="55"/>
                      <a:pt x="464" y="54"/>
                    </a:cubicBezTo>
                    <a:cubicBezTo>
                      <a:pt x="464" y="54"/>
                      <a:pt x="464" y="55"/>
                      <a:pt x="463" y="54"/>
                    </a:cubicBezTo>
                    <a:cubicBezTo>
                      <a:pt x="464" y="54"/>
                      <a:pt x="464" y="54"/>
                      <a:pt x="464" y="54"/>
                    </a:cubicBezTo>
                    <a:cubicBezTo>
                      <a:pt x="464" y="54"/>
                      <a:pt x="464" y="54"/>
                      <a:pt x="464" y="53"/>
                    </a:cubicBezTo>
                    <a:cubicBezTo>
                      <a:pt x="463" y="53"/>
                      <a:pt x="463" y="53"/>
                      <a:pt x="462" y="53"/>
                    </a:cubicBezTo>
                    <a:cubicBezTo>
                      <a:pt x="463" y="53"/>
                      <a:pt x="463" y="53"/>
                      <a:pt x="464" y="53"/>
                    </a:cubicBezTo>
                    <a:cubicBezTo>
                      <a:pt x="463" y="53"/>
                      <a:pt x="462" y="53"/>
                      <a:pt x="462" y="53"/>
                    </a:cubicBezTo>
                    <a:cubicBezTo>
                      <a:pt x="462" y="53"/>
                      <a:pt x="463" y="53"/>
                      <a:pt x="462" y="52"/>
                    </a:cubicBezTo>
                    <a:cubicBezTo>
                      <a:pt x="462" y="52"/>
                      <a:pt x="461" y="52"/>
                      <a:pt x="461" y="52"/>
                    </a:cubicBezTo>
                    <a:cubicBezTo>
                      <a:pt x="461" y="51"/>
                      <a:pt x="462" y="51"/>
                      <a:pt x="462" y="51"/>
                    </a:cubicBezTo>
                    <a:cubicBezTo>
                      <a:pt x="461" y="51"/>
                      <a:pt x="461" y="50"/>
                      <a:pt x="460" y="50"/>
                    </a:cubicBezTo>
                    <a:cubicBezTo>
                      <a:pt x="460" y="50"/>
                      <a:pt x="459" y="50"/>
                      <a:pt x="459" y="50"/>
                    </a:cubicBezTo>
                    <a:cubicBezTo>
                      <a:pt x="458" y="50"/>
                      <a:pt x="458" y="50"/>
                      <a:pt x="457" y="50"/>
                    </a:cubicBezTo>
                    <a:cubicBezTo>
                      <a:pt x="457" y="50"/>
                      <a:pt x="456" y="50"/>
                      <a:pt x="457" y="51"/>
                    </a:cubicBezTo>
                    <a:cubicBezTo>
                      <a:pt x="456" y="51"/>
                      <a:pt x="456" y="51"/>
                      <a:pt x="456" y="51"/>
                    </a:cubicBezTo>
                    <a:cubicBezTo>
                      <a:pt x="455" y="51"/>
                      <a:pt x="455" y="51"/>
                      <a:pt x="454" y="51"/>
                    </a:cubicBezTo>
                    <a:cubicBezTo>
                      <a:pt x="455" y="51"/>
                      <a:pt x="455" y="51"/>
                      <a:pt x="455" y="51"/>
                    </a:cubicBezTo>
                    <a:cubicBezTo>
                      <a:pt x="455" y="51"/>
                      <a:pt x="454" y="52"/>
                      <a:pt x="454" y="52"/>
                    </a:cubicBezTo>
                    <a:cubicBezTo>
                      <a:pt x="454" y="52"/>
                      <a:pt x="455" y="52"/>
                      <a:pt x="456" y="52"/>
                    </a:cubicBezTo>
                    <a:cubicBezTo>
                      <a:pt x="457" y="52"/>
                      <a:pt x="458" y="52"/>
                      <a:pt x="459" y="52"/>
                    </a:cubicBezTo>
                    <a:cubicBezTo>
                      <a:pt x="458" y="52"/>
                      <a:pt x="456" y="52"/>
                      <a:pt x="455" y="53"/>
                    </a:cubicBezTo>
                    <a:cubicBezTo>
                      <a:pt x="455" y="53"/>
                      <a:pt x="453" y="53"/>
                      <a:pt x="454" y="54"/>
                    </a:cubicBezTo>
                    <a:close/>
                    <a:moveTo>
                      <a:pt x="496" y="46"/>
                    </a:moveTo>
                    <a:cubicBezTo>
                      <a:pt x="497" y="45"/>
                      <a:pt x="498" y="45"/>
                      <a:pt x="498" y="46"/>
                    </a:cubicBezTo>
                    <a:cubicBezTo>
                      <a:pt x="499" y="46"/>
                      <a:pt x="500" y="46"/>
                      <a:pt x="500" y="45"/>
                    </a:cubicBezTo>
                    <a:cubicBezTo>
                      <a:pt x="500" y="45"/>
                      <a:pt x="500" y="45"/>
                      <a:pt x="500" y="45"/>
                    </a:cubicBezTo>
                    <a:cubicBezTo>
                      <a:pt x="501" y="45"/>
                      <a:pt x="502" y="45"/>
                      <a:pt x="503" y="45"/>
                    </a:cubicBezTo>
                    <a:cubicBezTo>
                      <a:pt x="504" y="45"/>
                      <a:pt x="505" y="45"/>
                      <a:pt x="506" y="45"/>
                    </a:cubicBezTo>
                    <a:cubicBezTo>
                      <a:pt x="506" y="45"/>
                      <a:pt x="507" y="45"/>
                      <a:pt x="508" y="46"/>
                    </a:cubicBezTo>
                    <a:cubicBezTo>
                      <a:pt x="509" y="46"/>
                      <a:pt x="510" y="45"/>
                      <a:pt x="510" y="46"/>
                    </a:cubicBezTo>
                    <a:cubicBezTo>
                      <a:pt x="511" y="46"/>
                      <a:pt x="511" y="46"/>
                      <a:pt x="511" y="46"/>
                    </a:cubicBezTo>
                    <a:cubicBezTo>
                      <a:pt x="510" y="46"/>
                      <a:pt x="511" y="46"/>
                      <a:pt x="511" y="46"/>
                    </a:cubicBezTo>
                    <a:cubicBezTo>
                      <a:pt x="512" y="46"/>
                      <a:pt x="513" y="46"/>
                      <a:pt x="514" y="46"/>
                    </a:cubicBezTo>
                    <a:cubicBezTo>
                      <a:pt x="514" y="46"/>
                      <a:pt x="515" y="46"/>
                      <a:pt x="515" y="46"/>
                    </a:cubicBezTo>
                    <a:cubicBezTo>
                      <a:pt x="516" y="47"/>
                      <a:pt x="517" y="48"/>
                      <a:pt x="517" y="48"/>
                    </a:cubicBezTo>
                    <a:cubicBezTo>
                      <a:pt x="516" y="49"/>
                      <a:pt x="514" y="49"/>
                      <a:pt x="513" y="49"/>
                    </a:cubicBezTo>
                    <a:cubicBezTo>
                      <a:pt x="513" y="50"/>
                      <a:pt x="511" y="50"/>
                      <a:pt x="511" y="50"/>
                    </a:cubicBezTo>
                    <a:cubicBezTo>
                      <a:pt x="510" y="50"/>
                      <a:pt x="511" y="50"/>
                      <a:pt x="512" y="50"/>
                    </a:cubicBezTo>
                    <a:cubicBezTo>
                      <a:pt x="511" y="50"/>
                      <a:pt x="511" y="50"/>
                      <a:pt x="511" y="50"/>
                    </a:cubicBezTo>
                    <a:cubicBezTo>
                      <a:pt x="512" y="50"/>
                      <a:pt x="513" y="50"/>
                      <a:pt x="515" y="49"/>
                    </a:cubicBezTo>
                    <a:cubicBezTo>
                      <a:pt x="516" y="49"/>
                      <a:pt x="517" y="49"/>
                      <a:pt x="519" y="49"/>
                    </a:cubicBezTo>
                    <a:cubicBezTo>
                      <a:pt x="520" y="49"/>
                      <a:pt x="521" y="49"/>
                      <a:pt x="522" y="49"/>
                    </a:cubicBezTo>
                    <a:cubicBezTo>
                      <a:pt x="523" y="48"/>
                      <a:pt x="525" y="48"/>
                      <a:pt x="526" y="48"/>
                    </a:cubicBezTo>
                    <a:cubicBezTo>
                      <a:pt x="527" y="48"/>
                      <a:pt x="527" y="48"/>
                      <a:pt x="528" y="48"/>
                    </a:cubicBezTo>
                    <a:cubicBezTo>
                      <a:pt x="528" y="48"/>
                      <a:pt x="529" y="48"/>
                      <a:pt x="529" y="48"/>
                    </a:cubicBezTo>
                    <a:cubicBezTo>
                      <a:pt x="530" y="48"/>
                      <a:pt x="530" y="49"/>
                      <a:pt x="531" y="49"/>
                    </a:cubicBezTo>
                    <a:cubicBezTo>
                      <a:pt x="531" y="49"/>
                      <a:pt x="532" y="49"/>
                      <a:pt x="532" y="49"/>
                    </a:cubicBezTo>
                    <a:cubicBezTo>
                      <a:pt x="532" y="50"/>
                      <a:pt x="531" y="50"/>
                      <a:pt x="531" y="50"/>
                    </a:cubicBezTo>
                    <a:cubicBezTo>
                      <a:pt x="531" y="50"/>
                      <a:pt x="530" y="50"/>
                      <a:pt x="530" y="50"/>
                    </a:cubicBezTo>
                    <a:cubicBezTo>
                      <a:pt x="529" y="50"/>
                      <a:pt x="529" y="50"/>
                      <a:pt x="528" y="50"/>
                    </a:cubicBezTo>
                    <a:cubicBezTo>
                      <a:pt x="527" y="50"/>
                      <a:pt x="526" y="49"/>
                      <a:pt x="525" y="50"/>
                    </a:cubicBezTo>
                    <a:cubicBezTo>
                      <a:pt x="526" y="50"/>
                      <a:pt x="527" y="50"/>
                      <a:pt x="528" y="50"/>
                    </a:cubicBezTo>
                    <a:cubicBezTo>
                      <a:pt x="529" y="50"/>
                      <a:pt x="530" y="50"/>
                      <a:pt x="530" y="50"/>
                    </a:cubicBezTo>
                    <a:cubicBezTo>
                      <a:pt x="532" y="50"/>
                      <a:pt x="534" y="51"/>
                      <a:pt x="536" y="51"/>
                    </a:cubicBezTo>
                    <a:cubicBezTo>
                      <a:pt x="536" y="51"/>
                      <a:pt x="537" y="51"/>
                      <a:pt x="537" y="52"/>
                    </a:cubicBezTo>
                    <a:cubicBezTo>
                      <a:pt x="537" y="52"/>
                      <a:pt x="536" y="52"/>
                      <a:pt x="535" y="52"/>
                    </a:cubicBezTo>
                    <a:cubicBezTo>
                      <a:pt x="534" y="52"/>
                      <a:pt x="533" y="52"/>
                      <a:pt x="532" y="52"/>
                    </a:cubicBezTo>
                    <a:cubicBezTo>
                      <a:pt x="531" y="52"/>
                      <a:pt x="529" y="52"/>
                      <a:pt x="528" y="52"/>
                    </a:cubicBezTo>
                    <a:cubicBezTo>
                      <a:pt x="529" y="53"/>
                      <a:pt x="530" y="52"/>
                      <a:pt x="531" y="53"/>
                    </a:cubicBezTo>
                    <a:cubicBezTo>
                      <a:pt x="530" y="53"/>
                      <a:pt x="529" y="53"/>
                      <a:pt x="529" y="53"/>
                    </a:cubicBezTo>
                    <a:cubicBezTo>
                      <a:pt x="528" y="52"/>
                      <a:pt x="527" y="52"/>
                      <a:pt x="526" y="52"/>
                    </a:cubicBezTo>
                    <a:cubicBezTo>
                      <a:pt x="526" y="52"/>
                      <a:pt x="525" y="52"/>
                      <a:pt x="524" y="52"/>
                    </a:cubicBezTo>
                    <a:cubicBezTo>
                      <a:pt x="523" y="52"/>
                      <a:pt x="523" y="51"/>
                      <a:pt x="522" y="52"/>
                    </a:cubicBezTo>
                    <a:cubicBezTo>
                      <a:pt x="522" y="52"/>
                      <a:pt x="523" y="52"/>
                      <a:pt x="524" y="52"/>
                    </a:cubicBezTo>
                    <a:cubicBezTo>
                      <a:pt x="523" y="52"/>
                      <a:pt x="523" y="52"/>
                      <a:pt x="522" y="52"/>
                    </a:cubicBezTo>
                    <a:cubicBezTo>
                      <a:pt x="523" y="53"/>
                      <a:pt x="523" y="52"/>
                      <a:pt x="524" y="52"/>
                    </a:cubicBezTo>
                    <a:cubicBezTo>
                      <a:pt x="525" y="53"/>
                      <a:pt x="526" y="53"/>
                      <a:pt x="526" y="53"/>
                    </a:cubicBezTo>
                    <a:cubicBezTo>
                      <a:pt x="526" y="53"/>
                      <a:pt x="525" y="53"/>
                      <a:pt x="525" y="53"/>
                    </a:cubicBezTo>
                    <a:cubicBezTo>
                      <a:pt x="525" y="53"/>
                      <a:pt x="526" y="53"/>
                      <a:pt x="527" y="53"/>
                    </a:cubicBezTo>
                    <a:cubicBezTo>
                      <a:pt x="527" y="53"/>
                      <a:pt x="528" y="53"/>
                      <a:pt x="529" y="53"/>
                    </a:cubicBezTo>
                    <a:cubicBezTo>
                      <a:pt x="528" y="54"/>
                      <a:pt x="527" y="54"/>
                      <a:pt x="526" y="54"/>
                    </a:cubicBezTo>
                    <a:cubicBezTo>
                      <a:pt x="525" y="53"/>
                      <a:pt x="524" y="53"/>
                      <a:pt x="522" y="54"/>
                    </a:cubicBezTo>
                    <a:cubicBezTo>
                      <a:pt x="523" y="54"/>
                      <a:pt x="523" y="54"/>
                      <a:pt x="524" y="54"/>
                    </a:cubicBezTo>
                    <a:cubicBezTo>
                      <a:pt x="523" y="54"/>
                      <a:pt x="523" y="54"/>
                      <a:pt x="523" y="54"/>
                    </a:cubicBezTo>
                    <a:cubicBezTo>
                      <a:pt x="523" y="54"/>
                      <a:pt x="523" y="54"/>
                      <a:pt x="523" y="54"/>
                    </a:cubicBezTo>
                    <a:cubicBezTo>
                      <a:pt x="522" y="54"/>
                      <a:pt x="522" y="54"/>
                      <a:pt x="521" y="55"/>
                    </a:cubicBezTo>
                    <a:cubicBezTo>
                      <a:pt x="521" y="55"/>
                      <a:pt x="521" y="55"/>
                      <a:pt x="521" y="55"/>
                    </a:cubicBezTo>
                    <a:cubicBezTo>
                      <a:pt x="521" y="55"/>
                      <a:pt x="522" y="55"/>
                      <a:pt x="522" y="55"/>
                    </a:cubicBezTo>
                    <a:cubicBezTo>
                      <a:pt x="522" y="55"/>
                      <a:pt x="523" y="54"/>
                      <a:pt x="523" y="54"/>
                    </a:cubicBezTo>
                    <a:cubicBezTo>
                      <a:pt x="524" y="54"/>
                      <a:pt x="524" y="54"/>
                      <a:pt x="524" y="54"/>
                    </a:cubicBezTo>
                    <a:cubicBezTo>
                      <a:pt x="524" y="54"/>
                      <a:pt x="525" y="54"/>
                      <a:pt x="525" y="54"/>
                    </a:cubicBezTo>
                    <a:cubicBezTo>
                      <a:pt x="525" y="54"/>
                      <a:pt x="526" y="54"/>
                      <a:pt x="526" y="54"/>
                    </a:cubicBezTo>
                    <a:cubicBezTo>
                      <a:pt x="526" y="54"/>
                      <a:pt x="526" y="54"/>
                      <a:pt x="525" y="55"/>
                    </a:cubicBezTo>
                    <a:cubicBezTo>
                      <a:pt x="526" y="55"/>
                      <a:pt x="527" y="54"/>
                      <a:pt x="528" y="54"/>
                    </a:cubicBezTo>
                    <a:cubicBezTo>
                      <a:pt x="529" y="54"/>
                      <a:pt x="529" y="54"/>
                      <a:pt x="530" y="54"/>
                    </a:cubicBezTo>
                    <a:cubicBezTo>
                      <a:pt x="529" y="54"/>
                      <a:pt x="530" y="54"/>
                      <a:pt x="531" y="55"/>
                    </a:cubicBezTo>
                    <a:cubicBezTo>
                      <a:pt x="531" y="55"/>
                      <a:pt x="529" y="55"/>
                      <a:pt x="529" y="56"/>
                    </a:cubicBezTo>
                    <a:cubicBezTo>
                      <a:pt x="529" y="56"/>
                      <a:pt x="530" y="55"/>
                      <a:pt x="530" y="55"/>
                    </a:cubicBezTo>
                    <a:cubicBezTo>
                      <a:pt x="530" y="55"/>
                      <a:pt x="531" y="55"/>
                      <a:pt x="531" y="55"/>
                    </a:cubicBezTo>
                    <a:cubicBezTo>
                      <a:pt x="532" y="55"/>
                      <a:pt x="533" y="55"/>
                      <a:pt x="532" y="56"/>
                    </a:cubicBezTo>
                    <a:cubicBezTo>
                      <a:pt x="532" y="56"/>
                      <a:pt x="531" y="57"/>
                      <a:pt x="530" y="57"/>
                    </a:cubicBezTo>
                    <a:cubicBezTo>
                      <a:pt x="530" y="57"/>
                      <a:pt x="529" y="57"/>
                      <a:pt x="528" y="57"/>
                    </a:cubicBezTo>
                    <a:cubicBezTo>
                      <a:pt x="528" y="57"/>
                      <a:pt x="528" y="57"/>
                      <a:pt x="528" y="57"/>
                    </a:cubicBezTo>
                    <a:cubicBezTo>
                      <a:pt x="528" y="57"/>
                      <a:pt x="527" y="57"/>
                      <a:pt x="527" y="58"/>
                    </a:cubicBezTo>
                    <a:cubicBezTo>
                      <a:pt x="528" y="58"/>
                      <a:pt x="529" y="57"/>
                      <a:pt x="530" y="57"/>
                    </a:cubicBezTo>
                    <a:cubicBezTo>
                      <a:pt x="531" y="57"/>
                      <a:pt x="531" y="57"/>
                      <a:pt x="530" y="58"/>
                    </a:cubicBezTo>
                    <a:cubicBezTo>
                      <a:pt x="531" y="58"/>
                      <a:pt x="531" y="59"/>
                      <a:pt x="532" y="59"/>
                    </a:cubicBezTo>
                    <a:cubicBezTo>
                      <a:pt x="532" y="59"/>
                      <a:pt x="532" y="58"/>
                      <a:pt x="533" y="58"/>
                    </a:cubicBezTo>
                    <a:cubicBezTo>
                      <a:pt x="533" y="58"/>
                      <a:pt x="533" y="57"/>
                      <a:pt x="533" y="57"/>
                    </a:cubicBezTo>
                    <a:cubicBezTo>
                      <a:pt x="534" y="57"/>
                      <a:pt x="535" y="56"/>
                      <a:pt x="535" y="57"/>
                    </a:cubicBezTo>
                    <a:cubicBezTo>
                      <a:pt x="535" y="57"/>
                      <a:pt x="537" y="58"/>
                      <a:pt x="537" y="58"/>
                    </a:cubicBezTo>
                    <a:cubicBezTo>
                      <a:pt x="537" y="58"/>
                      <a:pt x="536" y="58"/>
                      <a:pt x="536" y="58"/>
                    </a:cubicBezTo>
                    <a:cubicBezTo>
                      <a:pt x="536" y="59"/>
                      <a:pt x="538" y="58"/>
                      <a:pt x="538" y="58"/>
                    </a:cubicBezTo>
                    <a:cubicBezTo>
                      <a:pt x="539" y="58"/>
                      <a:pt x="541" y="57"/>
                      <a:pt x="540" y="58"/>
                    </a:cubicBezTo>
                    <a:cubicBezTo>
                      <a:pt x="540" y="58"/>
                      <a:pt x="541" y="58"/>
                      <a:pt x="541" y="58"/>
                    </a:cubicBezTo>
                    <a:cubicBezTo>
                      <a:pt x="541" y="58"/>
                      <a:pt x="540" y="58"/>
                      <a:pt x="540" y="58"/>
                    </a:cubicBezTo>
                    <a:cubicBezTo>
                      <a:pt x="540" y="59"/>
                      <a:pt x="541" y="58"/>
                      <a:pt x="541" y="58"/>
                    </a:cubicBezTo>
                    <a:cubicBezTo>
                      <a:pt x="541" y="57"/>
                      <a:pt x="543" y="57"/>
                      <a:pt x="543" y="57"/>
                    </a:cubicBezTo>
                    <a:cubicBezTo>
                      <a:pt x="544" y="57"/>
                      <a:pt x="544" y="57"/>
                      <a:pt x="545" y="58"/>
                    </a:cubicBezTo>
                    <a:cubicBezTo>
                      <a:pt x="546" y="59"/>
                      <a:pt x="547" y="58"/>
                      <a:pt x="548" y="59"/>
                    </a:cubicBezTo>
                    <a:cubicBezTo>
                      <a:pt x="547" y="59"/>
                      <a:pt x="546" y="59"/>
                      <a:pt x="546" y="59"/>
                    </a:cubicBezTo>
                    <a:cubicBezTo>
                      <a:pt x="547" y="59"/>
                      <a:pt x="548" y="59"/>
                      <a:pt x="549" y="59"/>
                    </a:cubicBezTo>
                    <a:cubicBezTo>
                      <a:pt x="550" y="59"/>
                      <a:pt x="552" y="59"/>
                      <a:pt x="553" y="59"/>
                    </a:cubicBezTo>
                    <a:cubicBezTo>
                      <a:pt x="552" y="59"/>
                      <a:pt x="552" y="59"/>
                      <a:pt x="551" y="58"/>
                    </a:cubicBezTo>
                    <a:cubicBezTo>
                      <a:pt x="551" y="58"/>
                      <a:pt x="550" y="58"/>
                      <a:pt x="550" y="58"/>
                    </a:cubicBezTo>
                    <a:cubicBezTo>
                      <a:pt x="550" y="58"/>
                      <a:pt x="552" y="58"/>
                      <a:pt x="552" y="58"/>
                    </a:cubicBezTo>
                    <a:cubicBezTo>
                      <a:pt x="553" y="58"/>
                      <a:pt x="554" y="57"/>
                      <a:pt x="555" y="57"/>
                    </a:cubicBezTo>
                    <a:cubicBezTo>
                      <a:pt x="554" y="57"/>
                      <a:pt x="554" y="57"/>
                      <a:pt x="554" y="57"/>
                    </a:cubicBezTo>
                    <a:cubicBezTo>
                      <a:pt x="555" y="58"/>
                      <a:pt x="556" y="58"/>
                      <a:pt x="556" y="57"/>
                    </a:cubicBezTo>
                    <a:cubicBezTo>
                      <a:pt x="555" y="57"/>
                      <a:pt x="557" y="57"/>
                      <a:pt x="557" y="57"/>
                    </a:cubicBezTo>
                    <a:cubicBezTo>
                      <a:pt x="557" y="57"/>
                      <a:pt x="559" y="57"/>
                      <a:pt x="558" y="57"/>
                    </a:cubicBezTo>
                    <a:cubicBezTo>
                      <a:pt x="559" y="56"/>
                      <a:pt x="560" y="57"/>
                      <a:pt x="562" y="57"/>
                    </a:cubicBezTo>
                    <a:cubicBezTo>
                      <a:pt x="561" y="57"/>
                      <a:pt x="561" y="57"/>
                      <a:pt x="561" y="57"/>
                    </a:cubicBezTo>
                    <a:cubicBezTo>
                      <a:pt x="561" y="56"/>
                      <a:pt x="563" y="56"/>
                      <a:pt x="564" y="56"/>
                    </a:cubicBezTo>
                    <a:cubicBezTo>
                      <a:pt x="564" y="56"/>
                      <a:pt x="565" y="56"/>
                      <a:pt x="565" y="56"/>
                    </a:cubicBezTo>
                    <a:cubicBezTo>
                      <a:pt x="566" y="56"/>
                      <a:pt x="568" y="55"/>
                      <a:pt x="567" y="55"/>
                    </a:cubicBezTo>
                    <a:cubicBezTo>
                      <a:pt x="567" y="55"/>
                      <a:pt x="567" y="55"/>
                      <a:pt x="568" y="55"/>
                    </a:cubicBezTo>
                    <a:cubicBezTo>
                      <a:pt x="568" y="55"/>
                      <a:pt x="569" y="55"/>
                      <a:pt x="568" y="55"/>
                    </a:cubicBezTo>
                    <a:cubicBezTo>
                      <a:pt x="569" y="56"/>
                      <a:pt x="569" y="55"/>
                      <a:pt x="569" y="56"/>
                    </a:cubicBezTo>
                    <a:cubicBezTo>
                      <a:pt x="570" y="56"/>
                      <a:pt x="571" y="56"/>
                      <a:pt x="571" y="56"/>
                    </a:cubicBezTo>
                    <a:cubicBezTo>
                      <a:pt x="572" y="56"/>
                      <a:pt x="572" y="56"/>
                      <a:pt x="573" y="56"/>
                    </a:cubicBezTo>
                    <a:cubicBezTo>
                      <a:pt x="574" y="56"/>
                      <a:pt x="575" y="55"/>
                      <a:pt x="576" y="55"/>
                    </a:cubicBezTo>
                    <a:cubicBezTo>
                      <a:pt x="577" y="55"/>
                      <a:pt x="579" y="55"/>
                      <a:pt x="581" y="55"/>
                    </a:cubicBezTo>
                    <a:cubicBezTo>
                      <a:pt x="582" y="55"/>
                      <a:pt x="584" y="55"/>
                      <a:pt x="585" y="56"/>
                    </a:cubicBezTo>
                    <a:cubicBezTo>
                      <a:pt x="584" y="56"/>
                      <a:pt x="583" y="56"/>
                      <a:pt x="583" y="57"/>
                    </a:cubicBezTo>
                    <a:cubicBezTo>
                      <a:pt x="584" y="57"/>
                      <a:pt x="586" y="57"/>
                      <a:pt x="587" y="57"/>
                    </a:cubicBezTo>
                    <a:cubicBezTo>
                      <a:pt x="587" y="57"/>
                      <a:pt x="590" y="57"/>
                      <a:pt x="590" y="58"/>
                    </a:cubicBezTo>
                    <a:cubicBezTo>
                      <a:pt x="590" y="58"/>
                      <a:pt x="590" y="58"/>
                      <a:pt x="590" y="58"/>
                    </a:cubicBezTo>
                    <a:cubicBezTo>
                      <a:pt x="589" y="58"/>
                      <a:pt x="588" y="58"/>
                      <a:pt x="587" y="58"/>
                    </a:cubicBezTo>
                    <a:cubicBezTo>
                      <a:pt x="589" y="59"/>
                      <a:pt x="590" y="58"/>
                      <a:pt x="592" y="58"/>
                    </a:cubicBezTo>
                    <a:cubicBezTo>
                      <a:pt x="592" y="58"/>
                      <a:pt x="591" y="58"/>
                      <a:pt x="591" y="59"/>
                    </a:cubicBezTo>
                    <a:cubicBezTo>
                      <a:pt x="591" y="59"/>
                      <a:pt x="592" y="59"/>
                      <a:pt x="592" y="59"/>
                    </a:cubicBezTo>
                    <a:cubicBezTo>
                      <a:pt x="592" y="59"/>
                      <a:pt x="591" y="60"/>
                      <a:pt x="591" y="60"/>
                    </a:cubicBezTo>
                    <a:cubicBezTo>
                      <a:pt x="591" y="60"/>
                      <a:pt x="591" y="60"/>
                      <a:pt x="591" y="60"/>
                    </a:cubicBezTo>
                    <a:cubicBezTo>
                      <a:pt x="590" y="61"/>
                      <a:pt x="588" y="61"/>
                      <a:pt x="587" y="61"/>
                    </a:cubicBezTo>
                    <a:cubicBezTo>
                      <a:pt x="586" y="62"/>
                      <a:pt x="585" y="62"/>
                      <a:pt x="584" y="62"/>
                    </a:cubicBezTo>
                    <a:cubicBezTo>
                      <a:pt x="584" y="62"/>
                      <a:pt x="583" y="62"/>
                      <a:pt x="583" y="62"/>
                    </a:cubicBezTo>
                    <a:cubicBezTo>
                      <a:pt x="583" y="62"/>
                      <a:pt x="584" y="62"/>
                      <a:pt x="584" y="62"/>
                    </a:cubicBezTo>
                    <a:cubicBezTo>
                      <a:pt x="584" y="62"/>
                      <a:pt x="583" y="63"/>
                      <a:pt x="583" y="63"/>
                    </a:cubicBezTo>
                    <a:cubicBezTo>
                      <a:pt x="585" y="63"/>
                      <a:pt x="587" y="61"/>
                      <a:pt x="588" y="62"/>
                    </a:cubicBezTo>
                    <a:cubicBezTo>
                      <a:pt x="588" y="63"/>
                      <a:pt x="588" y="63"/>
                      <a:pt x="589" y="63"/>
                    </a:cubicBezTo>
                    <a:cubicBezTo>
                      <a:pt x="588" y="63"/>
                      <a:pt x="588" y="63"/>
                      <a:pt x="587" y="63"/>
                    </a:cubicBezTo>
                    <a:cubicBezTo>
                      <a:pt x="586" y="63"/>
                      <a:pt x="585" y="64"/>
                      <a:pt x="585" y="64"/>
                    </a:cubicBezTo>
                    <a:cubicBezTo>
                      <a:pt x="584" y="64"/>
                      <a:pt x="584" y="64"/>
                      <a:pt x="583" y="64"/>
                    </a:cubicBezTo>
                    <a:cubicBezTo>
                      <a:pt x="583" y="63"/>
                      <a:pt x="584" y="63"/>
                      <a:pt x="584" y="63"/>
                    </a:cubicBezTo>
                    <a:cubicBezTo>
                      <a:pt x="583" y="63"/>
                      <a:pt x="583" y="63"/>
                      <a:pt x="582" y="63"/>
                    </a:cubicBezTo>
                    <a:cubicBezTo>
                      <a:pt x="582" y="63"/>
                      <a:pt x="583" y="63"/>
                      <a:pt x="583" y="63"/>
                    </a:cubicBezTo>
                    <a:cubicBezTo>
                      <a:pt x="583" y="63"/>
                      <a:pt x="582" y="63"/>
                      <a:pt x="582" y="63"/>
                    </a:cubicBezTo>
                    <a:cubicBezTo>
                      <a:pt x="582" y="64"/>
                      <a:pt x="583" y="64"/>
                      <a:pt x="583" y="64"/>
                    </a:cubicBezTo>
                    <a:cubicBezTo>
                      <a:pt x="583" y="64"/>
                      <a:pt x="582" y="64"/>
                      <a:pt x="582" y="64"/>
                    </a:cubicBezTo>
                    <a:cubicBezTo>
                      <a:pt x="582" y="65"/>
                      <a:pt x="581" y="66"/>
                      <a:pt x="581" y="66"/>
                    </a:cubicBezTo>
                    <a:cubicBezTo>
                      <a:pt x="580" y="66"/>
                      <a:pt x="579" y="66"/>
                      <a:pt x="578" y="66"/>
                    </a:cubicBezTo>
                    <a:cubicBezTo>
                      <a:pt x="577" y="66"/>
                      <a:pt x="576" y="66"/>
                      <a:pt x="575" y="66"/>
                    </a:cubicBezTo>
                    <a:cubicBezTo>
                      <a:pt x="575" y="66"/>
                      <a:pt x="574" y="66"/>
                      <a:pt x="574" y="66"/>
                    </a:cubicBezTo>
                    <a:cubicBezTo>
                      <a:pt x="572" y="66"/>
                      <a:pt x="570" y="67"/>
                      <a:pt x="569" y="67"/>
                    </a:cubicBezTo>
                    <a:cubicBezTo>
                      <a:pt x="568" y="67"/>
                      <a:pt x="566" y="66"/>
                      <a:pt x="565" y="66"/>
                    </a:cubicBezTo>
                    <a:cubicBezTo>
                      <a:pt x="566" y="66"/>
                      <a:pt x="566" y="66"/>
                      <a:pt x="565" y="66"/>
                    </a:cubicBezTo>
                    <a:cubicBezTo>
                      <a:pt x="565" y="66"/>
                      <a:pt x="564" y="67"/>
                      <a:pt x="563" y="66"/>
                    </a:cubicBezTo>
                    <a:cubicBezTo>
                      <a:pt x="563" y="66"/>
                      <a:pt x="562" y="66"/>
                      <a:pt x="562" y="65"/>
                    </a:cubicBezTo>
                    <a:cubicBezTo>
                      <a:pt x="562" y="65"/>
                      <a:pt x="563" y="64"/>
                      <a:pt x="564" y="64"/>
                    </a:cubicBezTo>
                    <a:cubicBezTo>
                      <a:pt x="563" y="64"/>
                      <a:pt x="563" y="64"/>
                      <a:pt x="563" y="64"/>
                    </a:cubicBezTo>
                    <a:cubicBezTo>
                      <a:pt x="564" y="64"/>
                      <a:pt x="562" y="64"/>
                      <a:pt x="562" y="64"/>
                    </a:cubicBezTo>
                    <a:cubicBezTo>
                      <a:pt x="561" y="63"/>
                      <a:pt x="560" y="64"/>
                      <a:pt x="562" y="64"/>
                    </a:cubicBezTo>
                    <a:cubicBezTo>
                      <a:pt x="561" y="65"/>
                      <a:pt x="560" y="65"/>
                      <a:pt x="559" y="66"/>
                    </a:cubicBezTo>
                    <a:cubicBezTo>
                      <a:pt x="559" y="66"/>
                      <a:pt x="558" y="66"/>
                      <a:pt x="558" y="66"/>
                    </a:cubicBezTo>
                    <a:cubicBezTo>
                      <a:pt x="556" y="66"/>
                      <a:pt x="555" y="66"/>
                      <a:pt x="553" y="67"/>
                    </a:cubicBezTo>
                    <a:cubicBezTo>
                      <a:pt x="552" y="67"/>
                      <a:pt x="550" y="67"/>
                      <a:pt x="549" y="67"/>
                    </a:cubicBezTo>
                    <a:cubicBezTo>
                      <a:pt x="548" y="67"/>
                      <a:pt x="550" y="65"/>
                      <a:pt x="550" y="65"/>
                    </a:cubicBezTo>
                    <a:cubicBezTo>
                      <a:pt x="549" y="65"/>
                      <a:pt x="548" y="66"/>
                      <a:pt x="547" y="67"/>
                    </a:cubicBezTo>
                    <a:cubicBezTo>
                      <a:pt x="547" y="67"/>
                      <a:pt x="546" y="67"/>
                      <a:pt x="546" y="67"/>
                    </a:cubicBezTo>
                    <a:cubicBezTo>
                      <a:pt x="546" y="67"/>
                      <a:pt x="546" y="66"/>
                      <a:pt x="546" y="66"/>
                    </a:cubicBezTo>
                    <a:cubicBezTo>
                      <a:pt x="546" y="66"/>
                      <a:pt x="547" y="65"/>
                      <a:pt x="546" y="65"/>
                    </a:cubicBezTo>
                    <a:cubicBezTo>
                      <a:pt x="546" y="65"/>
                      <a:pt x="546" y="66"/>
                      <a:pt x="545" y="66"/>
                    </a:cubicBezTo>
                    <a:cubicBezTo>
                      <a:pt x="545" y="67"/>
                      <a:pt x="544" y="67"/>
                      <a:pt x="543" y="67"/>
                    </a:cubicBezTo>
                    <a:cubicBezTo>
                      <a:pt x="542" y="67"/>
                      <a:pt x="541" y="67"/>
                      <a:pt x="541" y="67"/>
                    </a:cubicBezTo>
                    <a:cubicBezTo>
                      <a:pt x="541" y="67"/>
                      <a:pt x="542" y="66"/>
                      <a:pt x="541" y="66"/>
                    </a:cubicBezTo>
                    <a:cubicBezTo>
                      <a:pt x="541" y="66"/>
                      <a:pt x="541" y="66"/>
                      <a:pt x="541" y="66"/>
                    </a:cubicBezTo>
                    <a:cubicBezTo>
                      <a:pt x="541" y="65"/>
                      <a:pt x="541" y="66"/>
                      <a:pt x="540" y="66"/>
                    </a:cubicBezTo>
                    <a:cubicBezTo>
                      <a:pt x="540" y="67"/>
                      <a:pt x="539" y="67"/>
                      <a:pt x="539" y="67"/>
                    </a:cubicBezTo>
                    <a:cubicBezTo>
                      <a:pt x="538" y="67"/>
                      <a:pt x="537" y="66"/>
                      <a:pt x="538" y="66"/>
                    </a:cubicBezTo>
                    <a:cubicBezTo>
                      <a:pt x="537" y="65"/>
                      <a:pt x="537" y="67"/>
                      <a:pt x="537" y="67"/>
                    </a:cubicBezTo>
                    <a:cubicBezTo>
                      <a:pt x="537" y="67"/>
                      <a:pt x="535" y="67"/>
                      <a:pt x="535" y="67"/>
                    </a:cubicBezTo>
                    <a:cubicBezTo>
                      <a:pt x="534" y="67"/>
                      <a:pt x="534" y="67"/>
                      <a:pt x="533" y="67"/>
                    </a:cubicBezTo>
                    <a:cubicBezTo>
                      <a:pt x="532" y="67"/>
                      <a:pt x="533" y="66"/>
                      <a:pt x="533" y="66"/>
                    </a:cubicBezTo>
                    <a:cubicBezTo>
                      <a:pt x="532" y="66"/>
                      <a:pt x="532" y="67"/>
                      <a:pt x="531" y="67"/>
                    </a:cubicBezTo>
                    <a:cubicBezTo>
                      <a:pt x="531" y="67"/>
                      <a:pt x="529" y="67"/>
                      <a:pt x="530" y="66"/>
                    </a:cubicBezTo>
                    <a:cubicBezTo>
                      <a:pt x="530" y="66"/>
                      <a:pt x="529" y="67"/>
                      <a:pt x="528" y="67"/>
                    </a:cubicBezTo>
                    <a:cubicBezTo>
                      <a:pt x="528" y="67"/>
                      <a:pt x="527" y="67"/>
                      <a:pt x="528" y="67"/>
                    </a:cubicBezTo>
                    <a:cubicBezTo>
                      <a:pt x="527" y="67"/>
                      <a:pt x="524" y="67"/>
                      <a:pt x="525" y="66"/>
                    </a:cubicBezTo>
                    <a:cubicBezTo>
                      <a:pt x="526" y="65"/>
                      <a:pt x="528" y="64"/>
                      <a:pt x="529" y="64"/>
                    </a:cubicBezTo>
                    <a:cubicBezTo>
                      <a:pt x="529" y="64"/>
                      <a:pt x="528" y="64"/>
                      <a:pt x="528" y="64"/>
                    </a:cubicBezTo>
                    <a:cubicBezTo>
                      <a:pt x="528" y="64"/>
                      <a:pt x="529" y="64"/>
                      <a:pt x="529" y="63"/>
                    </a:cubicBezTo>
                    <a:cubicBezTo>
                      <a:pt x="529" y="63"/>
                      <a:pt x="528" y="64"/>
                      <a:pt x="527" y="64"/>
                    </a:cubicBezTo>
                    <a:cubicBezTo>
                      <a:pt x="528" y="63"/>
                      <a:pt x="527" y="64"/>
                      <a:pt x="526" y="64"/>
                    </a:cubicBezTo>
                    <a:cubicBezTo>
                      <a:pt x="526" y="64"/>
                      <a:pt x="525" y="65"/>
                      <a:pt x="525" y="65"/>
                    </a:cubicBezTo>
                    <a:cubicBezTo>
                      <a:pt x="524" y="65"/>
                      <a:pt x="524" y="65"/>
                      <a:pt x="525" y="65"/>
                    </a:cubicBezTo>
                    <a:cubicBezTo>
                      <a:pt x="525" y="64"/>
                      <a:pt x="524" y="64"/>
                      <a:pt x="524" y="64"/>
                    </a:cubicBezTo>
                    <a:cubicBezTo>
                      <a:pt x="525" y="65"/>
                      <a:pt x="523" y="64"/>
                      <a:pt x="522" y="64"/>
                    </a:cubicBezTo>
                    <a:cubicBezTo>
                      <a:pt x="522" y="65"/>
                      <a:pt x="523" y="65"/>
                      <a:pt x="522" y="65"/>
                    </a:cubicBezTo>
                    <a:cubicBezTo>
                      <a:pt x="522" y="66"/>
                      <a:pt x="521" y="66"/>
                      <a:pt x="520" y="66"/>
                    </a:cubicBezTo>
                    <a:cubicBezTo>
                      <a:pt x="520" y="66"/>
                      <a:pt x="519" y="66"/>
                      <a:pt x="518" y="66"/>
                    </a:cubicBezTo>
                    <a:cubicBezTo>
                      <a:pt x="518" y="66"/>
                      <a:pt x="516" y="67"/>
                      <a:pt x="516" y="66"/>
                    </a:cubicBezTo>
                    <a:cubicBezTo>
                      <a:pt x="516" y="66"/>
                      <a:pt x="516" y="66"/>
                      <a:pt x="516" y="66"/>
                    </a:cubicBezTo>
                    <a:cubicBezTo>
                      <a:pt x="516" y="66"/>
                      <a:pt x="516" y="66"/>
                      <a:pt x="515" y="66"/>
                    </a:cubicBezTo>
                    <a:cubicBezTo>
                      <a:pt x="515" y="66"/>
                      <a:pt x="514" y="66"/>
                      <a:pt x="514" y="66"/>
                    </a:cubicBezTo>
                    <a:cubicBezTo>
                      <a:pt x="514" y="66"/>
                      <a:pt x="514" y="66"/>
                      <a:pt x="514" y="66"/>
                    </a:cubicBezTo>
                    <a:cubicBezTo>
                      <a:pt x="514" y="65"/>
                      <a:pt x="513" y="66"/>
                      <a:pt x="512" y="65"/>
                    </a:cubicBezTo>
                    <a:cubicBezTo>
                      <a:pt x="512" y="65"/>
                      <a:pt x="512" y="65"/>
                      <a:pt x="513" y="65"/>
                    </a:cubicBezTo>
                    <a:cubicBezTo>
                      <a:pt x="512" y="65"/>
                      <a:pt x="511" y="65"/>
                      <a:pt x="510" y="65"/>
                    </a:cubicBezTo>
                    <a:cubicBezTo>
                      <a:pt x="511" y="64"/>
                      <a:pt x="513" y="65"/>
                      <a:pt x="514" y="63"/>
                    </a:cubicBezTo>
                    <a:cubicBezTo>
                      <a:pt x="513" y="63"/>
                      <a:pt x="512" y="64"/>
                      <a:pt x="511" y="64"/>
                    </a:cubicBezTo>
                    <a:cubicBezTo>
                      <a:pt x="510" y="64"/>
                      <a:pt x="510" y="64"/>
                      <a:pt x="509" y="65"/>
                    </a:cubicBezTo>
                    <a:cubicBezTo>
                      <a:pt x="509" y="65"/>
                      <a:pt x="509" y="65"/>
                      <a:pt x="509" y="65"/>
                    </a:cubicBezTo>
                    <a:cubicBezTo>
                      <a:pt x="509" y="66"/>
                      <a:pt x="508" y="66"/>
                      <a:pt x="508" y="65"/>
                    </a:cubicBezTo>
                    <a:cubicBezTo>
                      <a:pt x="508" y="65"/>
                      <a:pt x="509" y="65"/>
                      <a:pt x="509" y="65"/>
                    </a:cubicBezTo>
                    <a:cubicBezTo>
                      <a:pt x="508" y="65"/>
                      <a:pt x="508" y="65"/>
                      <a:pt x="507" y="65"/>
                    </a:cubicBezTo>
                    <a:cubicBezTo>
                      <a:pt x="507" y="65"/>
                      <a:pt x="506" y="65"/>
                      <a:pt x="506" y="65"/>
                    </a:cubicBezTo>
                    <a:cubicBezTo>
                      <a:pt x="506" y="65"/>
                      <a:pt x="506" y="65"/>
                      <a:pt x="506" y="65"/>
                    </a:cubicBezTo>
                    <a:cubicBezTo>
                      <a:pt x="507" y="65"/>
                      <a:pt x="505" y="65"/>
                      <a:pt x="505" y="65"/>
                    </a:cubicBezTo>
                    <a:cubicBezTo>
                      <a:pt x="505" y="65"/>
                      <a:pt x="505" y="65"/>
                      <a:pt x="506" y="65"/>
                    </a:cubicBezTo>
                    <a:cubicBezTo>
                      <a:pt x="505" y="64"/>
                      <a:pt x="504" y="64"/>
                      <a:pt x="505" y="64"/>
                    </a:cubicBezTo>
                    <a:cubicBezTo>
                      <a:pt x="505" y="64"/>
                      <a:pt x="506" y="64"/>
                      <a:pt x="506" y="63"/>
                    </a:cubicBezTo>
                    <a:cubicBezTo>
                      <a:pt x="506" y="63"/>
                      <a:pt x="506" y="63"/>
                      <a:pt x="506" y="62"/>
                    </a:cubicBezTo>
                    <a:cubicBezTo>
                      <a:pt x="506" y="62"/>
                      <a:pt x="506" y="62"/>
                      <a:pt x="506" y="62"/>
                    </a:cubicBezTo>
                    <a:cubicBezTo>
                      <a:pt x="507" y="62"/>
                      <a:pt x="507" y="62"/>
                      <a:pt x="508" y="61"/>
                    </a:cubicBezTo>
                    <a:cubicBezTo>
                      <a:pt x="507" y="61"/>
                      <a:pt x="508" y="61"/>
                      <a:pt x="508" y="61"/>
                    </a:cubicBezTo>
                    <a:cubicBezTo>
                      <a:pt x="508" y="61"/>
                      <a:pt x="507" y="61"/>
                      <a:pt x="507" y="61"/>
                    </a:cubicBezTo>
                    <a:cubicBezTo>
                      <a:pt x="506" y="61"/>
                      <a:pt x="506" y="61"/>
                      <a:pt x="506" y="60"/>
                    </a:cubicBezTo>
                    <a:cubicBezTo>
                      <a:pt x="507" y="60"/>
                      <a:pt x="507" y="60"/>
                      <a:pt x="508" y="59"/>
                    </a:cubicBezTo>
                    <a:cubicBezTo>
                      <a:pt x="508" y="59"/>
                      <a:pt x="508" y="59"/>
                      <a:pt x="508" y="59"/>
                    </a:cubicBezTo>
                    <a:cubicBezTo>
                      <a:pt x="509" y="58"/>
                      <a:pt x="510" y="58"/>
                      <a:pt x="511" y="58"/>
                    </a:cubicBezTo>
                    <a:cubicBezTo>
                      <a:pt x="511" y="58"/>
                      <a:pt x="513" y="57"/>
                      <a:pt x="512" y="57"/>
                    </a:cubicBezTo>
                    <a:cubicBezTo>
                      <a:pt x="513" y="57"/>
                      <a:pt x="513" y="57"/>
                      <a:pt x="513" y="56"/>
                    </a:cubicBezTo>
                    <a:cubicBezTo>
                      <a:pt x="513" y="56"/>
                      <a:pt x="514" y="56"/>
                      <a:pt x="514" y="55"/>
                    </a:cubicBezTo>
                    <a:cubicBezTo>
                      <a:pt x="514" y="55"/>
                      <a:pt x="515" y="55"/>
                      <a:pt x="514" y="55"/>
                    </a:cubicBezTo>
                    <a:cubicBezTo>
                      <a:pt x="514" y="55"/>
                      <a:pt x="514" y="54"/>
                      <a:pt x="513" y="54"/>
                    </a:cubicBezTo>
                    <a:cubicBezTo>
                      <a:pt x="513" y="54"/>
                      <a:pt x="513" y="54"/>
                      <a:pt x="513" y="54"/>
                    </a:cubicBezTo>
                    <a:cubicBezTo>
                      <a:pt x="513" y="53"/>
                      <a:pt x="514" y="53"/>
                      <a:pt x="514" y="53"/>
                    </a:cubicBezTo>
                    <a:cubicBezTo>
                      <a:pt x="514" y="53"/>
                      <a:pt x="514" y="52"/>
                      <a:pt x="514" y="52"/>
                    </a:cubicBezTo>
                    <a:cubicBezTo>
                      <a:pt x="514" y="52"/>
                      <a:pt x="513" y="52"/>
                      <a:pt x="513" y="51"/>
                    </a:cubicBezTo>
                    <a:cubicBezTo>
                      <a:pt x="513" y="51"/>
                      <a:pt x="513" y="51"/>
                      <a:pt x="513" y="51"/>
                    </a:cubicBezTo>
                    <a:cubicBezTo>
                      <a:pt x="513" y="50"/>
                      <a:pt x="510" y="51"/>
                      <a:pt x="509" y="51"/>
                    </a:cubicBezTo>
                    <a:cubicBezTo>
                      <a:pt x="509" y="51"/>
                      <a:pt x="509" y="51"/>
                      <a:pt x="510" y="51"/>
                    </a:cubicBezTo>
                    <a:cubicBezTo>
                      <a:pt x="509" y="51"/>
                      <a:pt x="508" y="51"/>
                      <a:pt x="509" y="52"/>
                    </a:cubicBezTo>
                    <a:cubicBezTo>
                      <a:pt x="508" y="52"/>
                      <a:pt x="507" y="52"/>
                      <a:pt x="506" y="52"/>
                    </a:cubicBezTo>
                    <a:cubicBezTo>
                      <a:pt x="505" y="51"/>
                      <a:pt x="504" y="52"/>
                      <a:pt x="503" y="51"/>
                    </a:cubicBezTo>
                    <a:cubicBezTo>
                      <a:pt x="503" y="51"/>
                      <a:pt x="503" y="51"/>
                      <a:pt x="503" y="51"/>
                    </a:cubicBezTo>
                    <a:cubicBezTo>
                      <a:pt x="502" y="51"/>
                      <a:pt x="501" y="52"/>
                      <a:pt x="500" y="52"/>
                    </a:cubicBezTo>
                    <a:cubicBezTo>
                      <a:pt x="499" y="52"/>
                      <a:pt x="499" y="52"/>
                      <a:pt x="498" y="52"/>
                    </a:cubicBezTo>
                    <a:cubicBezTo>
                      <a:pt x="498" y="51"/>
                      <a:pt x="499" y="51"/>
                      <a:pt x="499" y="51"/>
                    </a:cubicBezTo>
                    <a:cubicBezTo>
                      <a:pt x="500" y="51"/>
                      <a:pt x="502" y="51"/>
                      <a:pt x="502" y="51"/>
                    </a:cubicBezTo>
                    <a:cubicBezTo>
                      <a:pt x="502" y="51"/>
                      <a:pt x="502" y="51"/>
                      <a:pt x="502" y="51"/>
                    </a:cubicBezTo>
                    <a:cubicBezTo>
                      <a:pt x="501" y="51"/>
                      <a:pt x="501" y="51"/>
                      <a:pt x="500" y="51"/>
                    </a:cubicBezTo>
                    <a:cubicBezTo>
                      <a:pt x="500" y="51"/>
                      <a:pt x="499" y="51"/>
                      <a:pt x="498" y="51"/>
                    </a:cubicBezTo>
                    <a:cubicBezTo>
                      <a:pt x="499" y="51"/>
                      <a:pt x="499" y="50"/>
                      <a:pt x="499" y="50"/>
                    </a:cubicBezTo>
                    <a:cubicBezTo>
                      <a:pt x="498" y="50"/>
                      <a:pt x="496" y="51"/>
                      <a:pt x="496" y="50"/>
                    </a:cubicBezTo>
                    <a:cubicBezTo>
                      <a:pt x="495" y="49"/>
                      <a:pt x="497" y="49"/>
                      <a:pt x="497" y="49"/>
                    </a:cubicBezTo>
                    <a:cubicBezTo>
                      <a:pt x="498" y="49"/>
                      <a:pt x="499" y="49"/>
                      <a:pt x="500" y="49"/>
                    </a:cubicBezTo>
                    <a:cubicBezTo>
                      <a:pt x="499" y="49"/>
                      <a:pt x="499" y="49"/>
                      <a:pt x="498" y="49"/>
                    </a:cubicBezTo>
                    <a:cubicBezTo>
                      <a:pt x="498" y="49"/>
                      <a:pt x="497" y="49"/>
                      <a:pt x="497" y="49"/>
                    </a:cubicBezTo>
                    <a:cubicBezTo>
                      <a:pt x="497" y="49"/>
                      <a:pt x="497" y="49"/>
                      <a:pt x="497" y="49"/>
                    </a:cubicBezTo>
                    <a:cubicBezTo>
                      <a:pt x="497" y="49"/>
                      <a:pt x="496" y="49"/>
                      <a:pt x="496" y="48"/>
                    </a:cubicBezTo>
                    <a:cubicBezTo>
                      <a:pt x="496" y="48"/>
                      <a:pt x="495" y="49"/>
                      <a:pt x="495" y="48"/>
                    </a:cubicBezTo>
                    <a:cubicBezTo>
                      <a:pt x="495" y="48"/>
                      <a:pt x="493" y="48"/>
                      <a:pt x="493" y="48"/>
                    </a:cubicBezTo>
                    <a:cubicBezTo>
                      <a:pt x="493" y="48"/>
                      <a:pt x="494" y="47"/>
                      <a:pt x="494" y="47"/>
                    </a:cubicBezTo>
                    <a:cubicBezTo>
                      <a:pt x="494" y="47"/>
                      <a:pt x="495" y="47"/>
                      <a:pt x="495" y="47"/>
                    </a:cubicBezTo>
                    <a:cubicBezTo>
                      <a:pt x="495" y="48"/>
                      <a:pt x="496" y="48"/>
                      <a:pt x="497" y="47"/>
                    </a:cubicBezTo>
                    <a:cubicBezTo>
                      <a:pt x="497" y="47"/>
                      <a:pt x="496" y="47"/>
                      <a:pt x="496" y="47"/>
                    </a:cubicBezTo>
                    <a:cubicBezTo>
                      <a:pt x="496" y="47"/>
                      <a:pt x="497" y="47"/>
                      <a:pt x="497" y="47"/>
                    </a:cubicBezTo>
                    <a:cubicBezTo>
                      <a:pt x="497" y="47"/>
                      <a:pt x="495" y="47"/>
                      <a:pt x="495" y="46"/>
                    </a:cubicBezTo>
                    <a:cubicBezTo>
                      <a:pt x="495" y="46"/>
                      <a:pt x="497" y="46"/>
                      <a:pt x="497" y="46"/>
                    </a:cubicBezTo>
                    <a:cubicBezTo>
                      <a:pt x="497" y="46"/>
                      <a:pt x="496" y="46"/>
                      <a:pt x="496" y="46"/>
                    </a:cubicBezTo>
                    <a:close/>
                    <a:moveTo>
                      <a:pt x="527" y="57"/>
                    </a:moveTo>
                    <a:cubicBezTo>
                      <a:pt x="527" y="57"/>
                      <a:pt x="527" y="57"/>
                      <a:pt x="528" y="57"/>
                    </a:cubicBezTo>
                    <a:cubicBezTo>
                      <a:pt x="527" y="57"/>
                      <a:pt x="527" y="57"/>
                      <a:pt x="527" y="57"/>
                    </a:cubicBezTo>
                    <a:close/>
                    <a:moveTo>
                      <a:pt x="389" y="54"/>
                    </a:moveTo>
                    <a:cubicBezTo>
                      <a:pt x="388" y="54"/>
                      <a:pt x="387" y="54"/>
                      <a:pt x="386" y="53"/>
                    </a:cubicBezTo>
                    <a:cubicBezTo>
                      <a:pt x="386" y="53"/>
                      <a:pt x="386" y="53"/>
                      <a:pt x="386" y="53"/>
                    </a:cubicBezTo>
                    <a:cubicBezTo>
                      <a:pt x="386" y="53"/>
                      <a:pt x="387" y="53"/>
                      <a:pt x="387" y="52"/>
                    </a:cubicBezTo>
                    <a:cubicBezTo>
                      <a:pt x="387" y="52"/>
                      <a:pt x="387" y="52"/>
                      <a:pt x="386" y="52"/>
                    </a:cubicBezTo>
                    <a:cubicBezTo>
                      <a:pt x="386" y="52"/>
                      <a:pt x="386" y="52"/>
                      <a:pt x="386" y="52"/>
                    </a:cubicBezTo>
                    <a:cubicBezTo>
                      <a:pt x="386" y="52"/>
                      <a:pt x="385" y="52"/>
                      <a:pt x="385" y="52"/>
                    </a:cubicBezTo>
                    <a:cubicBezTo>
                      <a:pt x="386" y="51"/>
                      <a:pt x="385" y="52"/>
                      <a:pt x="385" y="52"/>
                    </a:cubicBezTo>
                    <a:cubicBezTo>
                      <a:pt x="384" y="52"/>
                      <a:pt x="383" y="52"/>
                      <a:pt x="383" y="52"/>
                    </a:cubicBezTo>
                    <a:cubicBezTo>
                      <a:pt x="381" y="52"/>
                      <a:pt x="379" y="53"/>
                      <a:pt x="378" y="52"/>
                    </a:cubicBezTo>
                    <a:cubicBezTo>
                      <a:pt x="378" y="52"/>
                      <a:pt x="378" y="52"/>
                      <a:pt x="378" y="52"/>
                    </a:cubicBezTo>
                    <a:cubicBezTo>
                      <a:pt x="378" y="52"/>
                      <a:pt x="378" y="52"/>
                      <a:pt x="378" y="52"/>
                    </a:cubicBezTo>
                    <a:cubicBezTo>
                      <a:pt x="378" y="52"/>
                      <a:pt x="378" y="52"/>
                      <a:pt x="378" y="52"/>
                    </a:cubicBezTo>
                    <a:cubicBezTo>
                      <a:pt x="378" y="51"/>
                      <a:pt x="379" y="51"/>
                      <a:pt x="378" y="51"/>
                    </a:cubicBezTo>
                    <a:cubicBezTo>
                      <a:pt x="379" y="51"/>
                      <a:pt x="380" y="50"/>
                      <a:pt x="380" y="50"/>
                    </a:cubicBezTo>
                    <a:cubicBezTo>
                      <a:pt x="379" y="49"/>
                      <a:pt x="377" y="50"/>
                      <a:pt x="376" y="50"/>
                    </a:cubicBezTo>
                    <a:cubicBezTo>
                      <a:pt x="377" y="50"/>
                      <a:pt x="377" y="50"/>
                      <a:pt x="377" y="49"/>
                    </a:cubicBezTo>
                    <a:cubicBezTo>
                      <a:pt x="376" y="49"/>
                      <a:pt x="376" y="50"/>
                      <a:pt x="375" y="50"/>
                    </a:cubicBezTo>
                    <a:cubicBezTo>
                      <a:pt x="374" y="50"/>
                      <a:pt x="373" y="50"/>
                      <a:pt x="372" y="50"/>
                    </a:cubicBezTo>
                    <a:cubicBezTo>
                      <a:pt x="372" y="50"/>
                      <a:pt x="371" y="50"/>
                      <a:pt x="370" y="50"/>
                    </a:cubicBezTo>
                    <a:cubicBezTo>
                      <a:pt x="369" y="50"/>
                      <a:pt x="368" y="50"/>
                      <a:pt x="367" y="51"/>
                    </a:cubicBezTo>
                    <a:cubicBezTo>
                      <a:pt x="367" y="51"/>
                      <a:pt x="366" y="51"/>
                      <a:pt x="366" y="52"/>
                    </a:cubicBezTo>
                    <a:cubicBezTo>
                      <a:pt x="367" y="52"/>
                      <a:pt x="368" y="52"/>
                      <a:pt x="368" y="52"/>
                    </a:cubicBezTo>
                    <a:cubicBezTo>
                      <a:pt x="369" y="52"/>
                      <a:pt x="370" y="52"/>
                      <a:pt x="370" y="52"/>
                    </a:cubicBezTo>
                    <a:cubicBezTo>
                      <a:pt x="371" y="52"/>
                      <a:pt x="372" y="52"/>
                      <a:pt x="373" y="52"/>
                    </a:cubicBezTo>
                    <a:cubicBezTo>
                      <a:pt x="372" y="53"/>
                      <a:pt x="370" y="52"/>
                      <a:pt x="369" y="52"/>
                    </a:cubicBezTo>
                    <a:cubicBezTo>
                      <a:pt x="368" y="52"/>
                      <a:pt x="367" y="52"/>
                      <a:pt x="366" y="52"/>
                    </a:cubicBezTo>
                    <a:cubicBezTo>
                      <a:pt x="364" y="52"/>
                      <a:pt x="363" y="52"/>
                      <a:pt x="361" y="52"/>
                    </a:cubicBezTo>
                    <a:cubicBezTo>
                      <a:pt x="361" y="53"/>
                      <a:pt x="358" y="53"/>
                      <a:pt x="358" y="53"/>
                    </a:cubicBezTo>
                    <a:cubicBezTo>
                      <a:pt x="358" y="54"/>
                      <a:pt x="359" y="54"/>
                      <a:pt x="359" y="54"/>
                    </a:cubicBezTo>
                    <a:cubicBezTo>
                      <a:pt x="359" y="54"/>
                      <a:pt x="359" y="54"/>
                      <a:pt x="358" y="54"/>
                    </a:cubicBezTo>
                    <a:cubicBezTo>
                      <a:pt x="358" y="54"/>
                      <a:pt x="357" y="54"/>
                      <a:pt x="357" y="54"/>
                    </a:cubicBezTo>
                    <a:cubicBezTo>
                      <a:pt x="356" y="54"/>
                      <a:pt x="356" y="55"/>
                      <a:pt x="357" y="55"/>
                    </a:cubicBezTo>
                    <a:cubicBezTo>
                      <a:pt x="358" y="55"/>
                      <a:pt x="358" y="55"/>
                      <a:pt x="359" y="55"/>
                    </a:cubicBezTo>
                    <a:cubicBezTo>
                      <a:pt x="361" y="55"/>
                      <a:pt x="363" y="55"/>
                      <a:pt x="365" y="55"/>
                    </a:cubicBezTo>
                    <a:cubicBezTo>
                      <a:pt x="366" y="55"/>
                      <a:pt x="367" y="54"/>
                      <a:pt x="369" y="55"/>
                    </a:cubicBezTo>
                    <a:cubicBezTo>
                      <a:pt x="368" y="56"/>
                      <a:pt x="366" y="55"/>
                      <a:pt x="365" y="55"/>
                    </a:cubicBezTo>
                    <a:cubicBezTo>
                      <a:pt x="364" y="55"/>
                      <a:pt x="363" y="55"/>
                      <a:pt x="362" y="55"/>
                    </a:cubicBezTo>
                    <a:cubicBezTo>
                      <a:pt x="362" y="55"/>
                      <a:pt x="361" y="55"/>
                      <a:pt x="360" y="55"/>
                    </a:cubicBezTo>
                    <a:cubicBezTo>
                      <a:pt x="358" y="56"/>
                      <a:pt x="356" y="55"/>
                      <a:pt x="354" y="56"/>
                    </a:cubicBezTo>
                    <a:cubicBezTo>
                      <a:pt x="353" y="56"/>
                      <a:pt x="352" y="56"/>
                      <a:pt x="351" y="56"/>
                    </a:cubicBezTo>
                    <a:cubicBezTo>
                      <a:pt x="351" y="57"/>
                      <a:pt x="349" y="57"/>
                      <a:pt x="349" y="57"/>
                    </a:cubicBezTo>
                    <a:cubicBezTo>
                      <a:pt x="349" y="57"/>
                      <a:pt x="352" y="57"/>
                      <a:pt x="353" y="57"/>
                    </a:cubicBezTo>
                    <a:cubicBezTo>
                      <a:pt x="354" y="57"/>
                      <a:pt x="356" y="57"/>
                      <a:pt x="357" y="57"/>
                    </a:cubicBezTo>
                    <a:cubicBezTo>
                      <a:pt x="359" y="57"/>
                      <a:pt x="360" y="57"/>
                      <a:pt x="362" y="57"/>
                    </a:cubicBezTo>
                    <a:cubicBezTo>
                      <a:pt x="363" y="57"/>
                      <a:pt x="364" y="56"/>
                      <a:pt x="365" y="56"/>
                    </a:cubicBezTo>
                    <a:cubicBezTo>
                      <a:pt x="364" y="57"/>
                      <a:pt x="362" y="57"/>
                      <a:pt x="361" y="57"/>
                    </a:cubicBezTo>
                    <a:cubicBezTo>
                      <a:pt x="359" y="57"/>
                      <a:pt x="357" y="58"/>
                      <a:pt x="356" y="58"/>
                    </a:cubicBezTo>
                    <a:cubicBezTo>
                      <a:pt x="352" y="59"/>
                      <a:pt x="349" y="58"/>
                      <a:pt x="346" y="59"/>
                    </a:cubicBezTo>
                    <a:cubicBezTo>
                      <a:pt x="345" y="59"/>
                      <a:pt x="344" y="59"/>
                      <a:pt x="344" y="60"/>
                    </a:cubicBezTo>
                    <a:cubicBezTo>
                      <a:pt x="343" y="60"/>
                      <a:pt x="343" y="60"/>
                      <a:pt x="342" y="60"/>
                    </a:cubicBezTo>
                    <a:cubicBezTo>
                      <a:pt x="342" y="61"/>
                      <a:pt x="344" y="61"/>
                      <a:pt x="344" y="61"/>
                    </a:cubicBezTo>
                    <a:cubicBezTo>
                      <a:pt x="345" y="61"/>
                      <a:pt x="346" y="61"/>
                      <a:pt x="347" y="61"/>
                    </a:cubicBezTo>
                    <a:cubicBezTo>
                      <a:pt x="348" y="61"/>
                      <a:pt x="350" y="60"/>
                      <a:pt x="351" y="61"/>
                    </a:cubicBezTo>
                    <a:cubicBezTo>
                      <a:pt x="350" y="61"/>
                      <a:pt x="350" y="61"/>
                      <a:pt x="349" y="61"/>
                    </a:cubicBezTo>
                    <a:cubicBezTo>
                      <a:pt x="350" y="62"/>
                      <a:pt x="351" y="61"/>
                      <a:pt x="351" y="61"/>
                    </a:cubicBezTo>
                    <a:cubicBezTo>
                      <a:pt x="351" y="62"/>
                      <a:pt x="350" y="61"/>
                      <a:pt x="349" y="62"/>
                    </a:cubicBezTo>
                    <a:cubicBezTo>
                      <a:pt x="350" y="62"/>
                      <a:pt x="353" y="63"/>
                      <a:pt x="354" y="62"/>
                    </a:cubicBezTo>
                    <a:cubicBezTo>
                      <a:pt x="354" y="61"/>
                      <a:pt x="354" y="61"/>
                      <a:pt x="355" y="61"/>
                    </a:cubicBezTo>
                    <a:cubicBezTo>
                      <a:pt x="355" y="61"/>
                      <a:pt x="357" y="61"/>
                      <a:pt x="357" y="61"/>
                    </a:cubicBezTo>
                    <a:cubicBezTo>
                      <a:pt x="357" y="62"/>
                      <a:pt x="355" y="62"/>
                      <a:pt x="355" y="62"/>
                    </a:cubicBezTo>
                    <a:cubicBezTo>
                      <a:pt x="356" y="63"/>
                      <a:pt x="357" y="62"/>
                      <a:pt x="358" y="62"/>
                    </a:cubicBezTo>
                    <a:cubicBezTo>
                      <a:pt x="359" y="62"/>
                      <a:pt x="361" y="62"/>
                      <a:pt x="362" y="61"/>
                    </a:cubicBezTo>
                    <a:cubicBezTo>
                      <a:pt x="363" y="61"/>
                      <a:pt x="363" y="61"/>
                      <a:pt x="363" y="60"/>
                    </a:cubicBezTo>
                    <a:cubicBezTo>
                      <a:pt x="363" y="60"/>
                      <a:pt x="363" y="60"/>
                      <a:pt x="362" y="60"/>
                    </a:cubicBezTo>
                    <a:cubicBezTo>
                      <a:pt x="363" y="60"/>
                      <a:pt x="364" y="59"/>
                      <a:pt x="364" y="60"/>
                    </a:cubicBezTo>
                    <a:cubicBezTo>
                      <a:pt x="364" y="60"/>
                      <a:pt x="364" y="60"/>
                      <a:pt x="364" y="60"/>
                    </a:cubicBezTo>
                    <a:cubicBezTo>
                      <a:pt x="364" y="60"/>
                      <a:pt x="365" y="60"/>
                      <a:pt x="365" y="60"/>
                    </a:cubicBezTo>
                    <a:cubicBezTo>
                      <a:pt x="366" y="60"/>
                      <a:pt x="366" y="60"/>
                      <a:pt x="367" y="59"/>
                    </a:cubicBezTo>
                    <a:cubicBezTo>
                      <a:pt x="367" y="59"/>
                      <a:pt x="368" y="59"/>
                      <a:pt x="368" y="58"/>
                    </a:cubicBezTo>
                    <a:cubicBezTo>
                      <a:pt x="369" y="58"/>
                      <a:pt x="368" y="59"/>
                      <a:pt x="368" y="59"/>
                    </a:cubicBezTo>
                    <a:cubicBezTo>
                      <a:pt x="369" y="59"/>
                      <a:pt x="369" y="59"/>
                      <a:pt x="369" y="59"/>
                    </a:cubicBezTo>
                    <a:cubicBezTo>
                      <a:pt x="370" y="59"/>
                      <a:pt x="370" y="59"/>
                      <a:pt x="371" y="59"/>
                    </a:cubicBezTo>
                    <a:cubicBezTo>
                      <a:pt x="371" y="59"/>
                      <a:pt x="372" y="58"/>
                      <a:pt x="372" y="59"/>
                    </a:cubicBezTo>
                    <a:cubicBezTo>
                      <a:pt x="372" y="59"/>
                      <a:pt x="372" y="59"/>
                      <a:pt x="372" y="59"/>
                    </a:cubicBezTo>
                    <a:cubicBezTo>
                      <a:pt x="370" y="59"/>
                      <a:pt x="367" y="59"/>
                      <a:pt x="366" y="61"/>
                    </a:cubicBezTo>
                    <a:cubicBezTo>
                      <a:pt x="366" y="61"/>
                      <a:pt x="367" y="61"/>
                      <a:pt x="368" y="61"/>
                    </a:cubicBezTo>
                    <a:cubicBezTo>
                      <a:pt x="367" y="61"/>
                      <a:pt x="365" y="61"/>
                      <a:pt x="364" y="61"/>
                    </a:cubicBezTo>
                    <a:cubicBezTo>
                      <a:pt x="364" y="62"/>
                      <a:pt x="365" y="62"/>
                      <a:pt x="365" y="62"/>
                    </a:cubicBezTo>
                    <a:cubicBezTo>
                      <a:pt x="367" y="62"/>
                      <a:pt x="369" y="61"/>
                      <a:pt x="370" y="61"/>
                    </a:cubicBezTo>
                    <a:cubicBezTo>
                      <a:pt x="370" y="62"/>
                      <a:pt x="372" y="61"/>
                      <a:pt x="372" y="61"/>
                    </a:cubicBezTo>
                    <a:cubicBezTo>
                      <a:pt x="373" y="61"/>
                      <a:pt x="373" y="61"/>
                      <a:pt x="374" y="61"/>
                    </a:cubicBezTo>
                    <a:cubicBezTo>
                      <a:pt x="374" y="60"/>
                      <a:pt x="375" y="60"/>
                      <a:pt x="375" y="60"/>
                    </a:cubicBezTo>
                    <a:cubicBezTo>
                      <a:pt x="375" y="60"/>
                      <a:pt x="374" y="60"/>
                      <a:pt x="374" y="61"/>
                    </a:cubicBezTo>
                    <a:cubicBezTo>
                      <a:pt x="375" y="61"/>
                      <a:pt x="376" y="60"/>
                      <a:pt x="377" y="60"/>
                    </a:cubicBezTo>
                    <a:cubicBezTo>
                      <a:pt x="376" y="60"/>
                      <a:pt x="376" y="60"/>
                      <a:pt x="376" y="60"/>
                    </a:cubicBezTo>
                    <a:cubicBezTo>
                      <a:pt x="377" y="61"/>
                      <a:pt x="375" y="61"/>
                      <a:pt x="375" y="61"/>
                    </a:cubicBezTo>
                    <a:cubicBezTo>
                      <a:pt x="375" y="62"/>
                      <a:pt x="377" y="61"/>
                      <a:pt x="378" y="61"/>
                    </a:cubicBezTo>
                    <a:cubicBezTo>
                      <a:pt x="378" y="61"/>
                      <a:pt x="380" y="61"/>
                      <a:pt x="380" y="61"/>
                    </a:cubicBezTo>
                    <a:cubicBezTo>
                      <a:pt x="380" y="61"/>
                      <a:pt x="380" y="61"/>
                      <a:pt x="381" y="61"/>
                    </a:cubicBezTo>
                    <a:cubicBezTo>
                      <a:pt x="381" y="61"/>
                      <a:pt x="382" y="61"/>
                      <a:pt x="382" y="61"/>
                    </a:cubicBezTo>
                    <a:cubicBezTo>
                      <a:pt x="382" y="61"/>
                      <a:pt x="383" y="61"/>
                      <a:pt x="383" y="61"/>
                    </a:cubicBezTo>
                    <a:cubicBezTo>
                      <a:pt x="384" y="60"/>
                      <a:pt x="385" y="60"/>
                      <a:pt x="386" y="60"/>
                    </a:cubicBezTo>
                    <a:cubicBezTo>
                      <a:pt x="386" y="61"/>
                      <a:pt x="384" y="61"/>
                      <a:pt x="384" y="61"/>
                    </a:cubicBezTo>
                    <a:cubicBezTo>
                      <a:pt x="383" y="61"/>
                      <a:pt x="382" y="61"/>
                      <a:pt x="382" y="61"/>
                    </a:cubicBezTo>
                    <a:cubicBezTo>
                      <a:pt x="382" y="62"/>
                      <a:pt x="380" y="62"/>
                      <a:pt x="380" y="62"/>
                    </a:cubicBezTo>
                    <a:cubicBezTo>
                      <a:pt x="380" y="62"/>
                      <a:pt x="380" y="62"/>
                      <a:pt x="380" y="62"/>
                    </a:cubicBezTo>
                    <a:cubicBezTo>
                      <a:pt x="378" y="63"/>
                      <a:pt x="375" y="62"/>
                      <a:pt x="373" y="62"/>
                    </a:cubicBezTo>
                    <a:cubicBezTo>
                      <a:pt x="371" y="62"/>
                      <a:pt x="368" y="63"/>
                      <a:pt x="366" y="63"/>
                    </a:cubicBezTo>
                    <a:cubicBezTo>
                      <a:pt x="366" y="63"/>
                      <a:pt x="367" y="63"/>
                      <a:pt x="367" y="64"/>
                    </a:cubicBezTo>
                    <a:cubicBezTo>
                      <a:pt x="366" y="64"/>
                      <a:pt x="365" y="64"/>
                      <a:pt x="365" y="64"/>
                    </a:cubicBezTo>
                    <a:cubicBezTo>
                      <a:pt x="364" y="64"/>
                      <a:pt x="363" y="64"/>
                      <a:pt x="362" y="64"/>
                    </a:cubicBezTo>
                    <a:cubicBezTo>
                      <a:pt x="360" y="64"/>
                      <a:pt x="359" y="64"/>
                      <a:pt x="357" y="65"/>
                    </a:cubicBezTo>
                    <a:cubicBezTo>
                      <a:pt x="355" y="65"/>
                      <a:pt x="358" y="66"/>
                      <a:pt x="358" y="67"/>
                    </a:cubicBezTo>
                    <a:cubicBezTo>
                      <a:pt x="360" y="67"/>
                      <a:pt x="361" y="67"/>
                      <a:pt x="363" y="67"/>
                    </a:cubicBezTo>
                    <a:cubicBezTo>
                      <a:pt x="365" y="67"/>
                      <a:pt x="367" y="67"/>
                      <a:pt x="368" y="67"/>
                    </a:cubicBezTo>
                    <a:cubicBezTo>
                      <a:pt x="371" y="67"/>
                      <a:pt x="373" y="66"/>
                      <a:pt x="375" y="66"/>
                    </a:cubicBezTo>
                    <a:cubicBezTo>
                      <a:pt x="377" y="66"/>
                      <a:pt x="379" y="65"/>
                      <a:pt x="381" y="65"/>
                    </a:cubicBezTo>
                    <a:cubicBezTo>
                      <a:pt x="381" y="65"/>
                      <a:pt x="382" y="65"/>
                      <a:pt x="382" y="65"/>
                    </a:cubicBezTo>
                    <a:cubicBezTo>
                      <a:pt x="382" y="64"/>
                      <a:pt x="382" y="64"/>
                      <a:pt x="382" y="64"/>
                    </a:cubicBezTo>
                    <a:cubicBezTo>
                      <a:pt x="383" y="64"/>
                      <a:pt x="384" y="64"/>
                      <a:pt x="385" y="64"/>
                    </a:cubicBezTo>
                    <a:cubicBezTo>
                      <a:pt x="384" y="64"/>
                      <a:pt x="386" y="64"/>
                      <a:pt x="386" y="64"/>
                    </a:cubicBezTo>
                    <a:cubicBezTo>
                      <a:pt x="386" y="64"/>
                      <a:pt x="387" y="64"/>
                      <a:pt x="387" y="64"/>
                    </a:cubicBezTo>
                    <a:cubicBezTo>
                      <a:pt x="388" y="64"/>
                      <a:pt x="389" y="64"/>
                      <a:pt x="390" y="63"/>
                    </a:cubicBezTo>
                    <a:cubicBezTo>
                      <a:pt x="391" y="63"/>
                      <a:pt x="392" y="63"/>
                      <a:pt x="393" y="63"/>
                    </a:cubicBezTo>
                    <a:cubicBezTo>
                      <a:pt x="394" y="63"/>
                      <a:pt x="394" y="63"/>
                      <a:pt x="395" y="62"/>
                    </a:cubicBezTo>
                    <a:cubicBezTo>
                      <a:pt x="396" y="62"/>
                      <a:pt x="397" y="61"/>
                      <a:pt x="398" y="62"/>
                    </a:cubicBezTo>
                    <a:cubicBezTo>
                      <a:pt x="399" y="62"/>
                      <a:pt x="399" y="62"/>
                      <a:pt x="398" y="62"/>
                    </a:cubicBezTo>
                    <a:cubicBezTo>
                      <a:pt x="398" y="62"/>
                      <a:pt x="397" y="62"/>
                      <a:pt x="397" y="62"/>
                    </a:cubicBezTo>
                    <a:cubicBezTo>
                      <a:pt x="397" y="62"/>
                      <a:pt x="398" y="62"/>
                      <a:pt x="398" y="63"/>
                    </a:cubicBezTo>
                    <a:cubicBezTo>
                      <a:pt x="398" y="63"/>
                      <a:pt x="399" y="63"/>
                      <a:pt x="399" y="63"/>
                    </a:cubicBezTo>
                    <a:cubicBezTo>
                      <a:pt x="400" y="63"/>
                      <a:pt x="401" y="63"/>
                      <a:pt x="402" y="63"/>
                    </a:cubicBezTo>
                    <a:cubicBezTo>
                      <a:pt x="401" y="63"/>
                      <a:pt x="402" y="63"/>
                      <a:pt x="402" y="62"/>
                    </a:cubicBezTo>
                    <a:cubicBezTo>
                      <a:pt x="402" y="62"/>
                      <a:pt x="403" y="62"/>
                      <a:pt x="403" y="62"/>
                    </a:cubicBezTo>
                    <a:cubicBezTo>
                      <a:pt x="404" y="62"/>
                      <a:pt x="404" y="62"/>
                      <a:pt x="405" y="62"/>
                    </a:cubicBezTo>
                    <a:cubicBezTo>
                      <a:pt x="405" y="62"/>
                      <a:pt x="405" y="61"/>
                      <a:pt x="405" y="62"/>
                    </a:cubicBezTo>
                    <a:cubicBezTo>
                      <a:pt x="405" y="62"/>
                      <a:pt x="404" y="62"/>
                      <a:pt x="404" y="62"/>
                    </a:cubicBezTo>
                    <a:cubicBezTo>
                      <a:pt x="404" y="63"/>
                      <a:pt x="405" y="63"/>
                      <a:pt x="405" y="63"/>
                    </a:cubicBezTo>
                    <a:cubicBezTo>
                      <a:pt x="407" y="63"/>
                      <a:pt x="408" y="63"/>
                      <a:pt x="410" y="62"/>
                    </a:cubicBezTo>
                    <a:cubicBezTo>
                      <a:pt x="412" y="62"/>
                      <a:pt x="414" y="62"/>
                      <a:pt x="416" y="62"/>
                    </a:cubicBezTo>
                    <a:cubicBezTo>
                      <a:pt x="416" y="62"/>
                      <a:pt x="416" y="62"/>
                      <a:pt x="416" y="61"/>
                    </a:cubicBezTo>
                    <a:cubicBezTo>
                      <a:pt x="417" y="61"/>
                      <a:pt x="418" y="61"/>
                      <a:pt x="418" y="61"/>
                    </a:cubicBezTo>
                    <a:cubicBezTo>
                      <a:pt x="418" y="60"/>
                      <a:pt x="420" y="60"/>
                      <a:pt x="420" y="60"/>
                    </a:cubicBezTo>
                    <a:cubicBezTo>
                      <a:pt x="421" y="59"/>
                      <a:pt x="422" y="59"/>
                      <a:pt x="423" y="58"/>
                    </a:cubicBezTo>
                    <a:cubicBezTo>
                      <a:pt x="423" y="58"/>
                      <a:pt x="423" y="58"/>
                      <a:pt x="423" y="58"/>
                    </a:cubicBezTo>
                    <a:cubicBezTo>
                      <a:pt x="424" y="58"/>
                      <a:pt x="425" y="58"/>
                      <a:pt x="426" y="57"/>
                    </a:cubicBezTo>
                    <a:cubicBezTo>
                      <a:pt x="427" y="57"/>
                      <a:pt x="427" y="56"/>
                      <a:pt x="428" y="55"/>
                    </a:cubicBezTo>
                    <a:cubicBezTo>
                      <a:pt x="430" y="54"/>
                      <a:pt x="426" y="53"/>
                      <a:pt x="426" y="53"/>
                    </a:cubicBezTo>
                    <a:cubicBezTo>
                      <a:pt x="424" y="53"/>
                      <a:pt x="423" y="53"/>
                      <a:pt x="421" y="54"/>
                    </a:cubicBezTo>
                    <a:cubicBezTo>
                      <a:pt x="420" y="54"/>
                      <a:pt x="420" y="55"/>
                      <a:pt x="419" y="55"/>
                    </a:cubicBezTo>
                    <a:cubicBezTo>
                      <a:pt x="419" y="55"/>
                      <a:pt x="420" y="55"/>
                      <a:pt x="420" y="55"/>
                    </a:cubicBezTo>
                    <a:cubicBezTo>
                      <a:pt x="420" y="56"/>
                      <a:pt x="419" y="55"/>
                      <a:pt x="419" y="56"/>
                    </a:cubicBezTo>
                    <a:cubicBezTo>
                      <a:pt x="418" y="56"/>
                      <a:pt x="418" y="56"/>
                      <a:pt x="418" y="56"/>
                    </a:cubicBezTo>
                    <a:cubicBezTo>
                      <a:pt x="418" y="56"/>
                      <a:pt x="417" y="57"/>
                      <a:pt x="417" y="57"/>
                    </a:cubicBezTo>
                    <a:cubicBezTo>
                      <a:pt x="416" y="56"/>
                      <a:pt x="418" y="56"/>
                      <a:pt x="417" y="56"/>
                    </a:cubicBezTo>
                    <a:cubicBezTo>
                      <a:pt x="418" y="56"/>
                      <a:pt x="418" y="56"/>
                      <a:pt x="418" y="55"/>
                    </a:cubicBezTo>
                    <a:cubicBezTo>
                      <a:pt x="417" y="55"/>
                      <a:pt x="418" y="55"/>
                      <a:pt x="419" y="55"/>
                    </a:cubicBezTo>
                    <a:cubicBezTo>
                      <a:pt x="417" y="55"/>
                      <a:pt x="416" y="55"/>
                      <a:pt x="415" y="55"/>
                    </a:cubicBezTo>
                    <a:cubicBezTo>
                      <a:pt x="414" y="55"/>
                      <a:pt x="412" y="56"/>
                      <a:pt x="411" y="56"/>
                    </a:cubicBezTo>
                    <a:cubicBezTo>
                      <a:pt x="412" y="55"/>
                      <a:pt x="413" y="55"/>
                      <a:pt x="414" y="55"/>
                    </a:cubicBezTo>
                    <a:cubicBezTo>
                      <a:pt x="414" y="55"/>
                      <a:pt x="416" y="54"/>
                      <a:pt x="416" y="54"/>
                    </a:cubicBezTo>
                    <a:cubicBezTo>
                      <a:pt x="416" y="53"/>
                      <a:pt x="412" y="53"/>
                      <a:pt x="411" y="53"/>
                    </a:cubicBezTo>
                    <a:cubicBezTo>
                      <a:pt x="412" y="53"/>
                      <a:pt x="412" y="53"/>
                      <a:pt x="412" y="53"/>
                    </a:cubicBezTo>
                    <a:cubicBezTo>
                      <a:pt x="412" y="53"/>
                      <a:pt x="413" y="53"/>
                      <a:pt x="413" y="53"/>
                    </a:cubicBezTo>
                    <a:cubicBezTo>
                      <a:pt x="413" y="52"/>
                      <a:pt x="414" y="52"/>
                      <a:pt x="414" y="52"/>
                    </a:cubicBezTo>
                    <a:cubicBezTo>
                      <a:pt x="415" y="52"/>
                      <a:pt x="415" y="52"/>
                      <a:pt x="416" y="52"/>
                    </a:cubicBezTo>
                    <a:cubicBezTo>
                      <a:pt x="416" y="52"/>
                      <a:pt x="415" y="52"/>
                      <a:pt x="415" y="52"/>
                    </a:cubicBezTo>
                    <a:cubicBezTo>
                      <a:pt x="416" y="51"/>
                      <a:pt x="416" y="52"/>
                      <a:pt x="417" y="51"/>
                    </a:cubicBezTo>
                    <a:cubicBezTo>
                      <a:pt x="416" y="51"/>
                      <a:pt x="416" y="51"/>
                      <a:pt x="417" y="51"/>
                    </a:cubicBezTo>
                    <a:cubicBezTo>
                      <a:pt x="416" y="50"/>
                      <a:pt x="416" y="50"/>
                      <a:pt x="415" y="50"/>
                    </a:cubicBezTo>
                    <a:cubicBezTo>
                      <a:pt x="415" y="50"/>
                      <a:pt x="416" y="50"/>
                      <a:pt x="416" y="50"/>
                    </a:cubicBezTo>
                    <a:cubicBezTo>
                      <a:pt x="415" y="50"/>
                      <a:pt x="416" y="50"/>
                      <a:pt x="416" y="49"/>
                    </a:cubicBezTo>
                    <a:cubicBezTo>
                      <a:pt x="416" y="49"/>
                      <a:pt x="416" y="49"/>
                      <a:pt x="416" y="49"/>
                    </a:cubicBezTo>
                    <a:cubicBezTo>
                      <a:pt x="416" y="49"/>
                      <a:pt x="417" y="49"/>
                      <a:pt x="417" y="49"/>
                    </a:cubicBezTo>
                    <a:cubicBezTo>
                      <a:pt x="417" y="49"/>
                      <a:pt x="417" y="49"/>
                      <a:pt x="417" y="49"/>
                    </a:cubicBezTo>
                    <a:cubicBezTo>
                      <a:pt x="417" y="48"/>
                      <a:pt x="417" y="48"/>
                      <a:pt x="418" y="48"/>
                    </a:cubicBezTo>
                    <a:cubicBezTo>
                      <a:pt x="418" y="48"/>
                      <a:pt x="420" y="48"/>
                      <a:pt x="419" y="48"/>
                    </a:cubicBezTo>
                    <a:cubicBezTo>
                      <a:pt x="419" y="47"/>
                      <a:pt x="419" y="47"/>
                      <a:pt x="418" y="47"/>
                    </a:cubicBezTo>
                    <a:cubicBezTo>
                      <a:pt x="419" y="47"/>
                      <a:pt x="419" y="47"/>
                      <a:pt x="419" y="47"/>
                    </a:cubicBezTo>
                    <a:cubicBezTo>
                      <a:pt x="419" y="46"/>
                      <a:pt x="418" y="47"/>
                      <a:pt x="418" y="47"/>
                    </a:cubicBezTo>
                    <a:cubicBezTo>
                      <a:pt x="417" y="47"/>
                      <a:pt x="415" y="47"/>
                      <a:pt x="414" y="47"/>
                    </a:cubicBezTo>
                    <a:cubicBezTo>
                      <a:pt x="414" y="48"/>
                      <a:pt x="413" y="48"/>
                      <a:pt x="412" y="48"/>
                    </a:cubicBezTo>
                    <a:cubicBezTo>
                      <a:pt x="412" y="48"/>
                      <a:pt x="411" y="48"/>
                      <a:pt x="411" y="49"/>
                    </a:cubicBezTo>
                    <a:cubicBezTo>
                      <a:pt x="410" y="49"/>
                      <a:pt x="409" y="49"/>
                      <a:pt x="408" y="49"/>
                    </a:cubicBezTo>
                    <a:cubicBezTo>
                      <a:pt x="409" y="49"/>
                      <a:pt x="409" y="49"/>
                      <a:pt x="409" y="49"/>
                    </a:cubicBezTo>
                    <a:cubicBezTo>
                      <a:pt x="408" y="50"/>
                      <a:pt x="406" y="50"/>
                      <a:pt x="405" y="50"/>
                    </a:cubicBezTo>
                    <a:cubicBezTo>
                      <a:pt x="405" y="50"/>
                      <a:pt x="404" y="50"/>
                      <a:pt x="403" y="50"/>
                    </a:cubicBezTo>
                    <a:cubicBezTo>
                      <a:pt x="403" y="51"/>
                      <a:pt x="402" y="51"/>
                      <a:pt x="402" y="51"/>
                    </a:cubicBezTo>
                    <a:cubicBezTo>
                      <a:pt x="402" y="51"/>
                      <a:pt x="403" y="51"/>
                      <a:pt x="403" y="52"/>
                    </a:cubicBezTo>
                    <a:cubicBezTo>
                      <a:pt x="403" y="52"/>
                      <a:pt x="404" y="52"/>
                      <a:pt x="404" y="52"/>
                    </a:cubicBezTo>
                    <a:cubicBezTo>
                      <a:pt x="404" y="52"/>
                      <a:pt x="404" y="52"/>
                      <a:pt x="405" y="52"/>
                    </a:cubicBezTo>
                    <a:cubicBezTo>
                      <a:pt x="405" y="52"/>
                      <a:pt x="406" y="52"/>
                      <a:pt x="405" y="52"/>
                    </a:cubicBezTo>
                    <a:cubicBezTo>
                      <a:pt x="405" y="52"/>
                      <a:pt x="406" y="52"/>
                      <a:pt x="406" y="52"/>
                    </a:cubicBezTo>
                    <a:cubicBezTo>
                      <a:pt x="406" y="53"/>
                      <a:pt x="406" y="53"/>
                      <a:pt x="407" y="53"/>
                    </a:cubicBezTo>
                    <a:cubicBezTo>
                      <a:pt x="406" y="53"/>
                      <a:pt x="406" y="53"/>
                      <a:pt x="406" y="53"/>
                    </a:cubicBezTo>
                    <a:cubicBezTo>
                      <a:pt x="406" y="53"/>
                      <a:pt x="406" y="53"/>
                      <a:pt x="406" y="53"/>
                    </a:cubicBezTo>
                    <a:cubicBezTo>
                      <a:pt x="406" y="54"/>
                      <a:pt x="405" y="53"/>
                      <a:pt x="405" y="53"/>
                    </a:cubicBezTo>
                    <a:cubicBezTo>
                      <a:pt x="405" y="54"/>
                      <a:pt x="405" y="54"/>
                      <a:pt x="405" y="54"/>
                    </a:cubicBezTo>
                    <a:cubicBezTo>
                      <a:pt x="404" y="54"/>
                      <a:pt x="404" y="54"/>
                      <a:pt x="403" y="54"/>
                    </a:cubicBezTo>
                    <a:cubicBezTo>
                      <a:pt x="402" y="54"/>
                      <a:pt x="401" y="54"/>
                      <a:pt x="399" y="55"/>
                    </a:cubicBezTo>
                    <a:cubicBezTo>
                      <a:pt x="400" y="55"/>
                      <a:pt x="401" y="55"/>
                      <a:pt x="402" y="55"/>
                    </a:cubicBezTo>
                    <a:cubicBezTo>
                      <a:pt x="401" y="55"/>
                      <a:pt x="401" y="55"/>
                      <a:pt x="401" y="55"/>
                    </a:cubicBezTo>
                    <a:cubicBezTo>
                      <a:pt x="401" y="55"/>
                      <a:pt x="401" y="55"/>
                      <a:pt x="401" y="55"/>
                    </a:cubicBezTo>
                    <a:cubicBezTo>
                      <a:pt x="401" y="55"/>
                      <a:pt x="401" y="55"/>
                      <a:pt x="401" y="55"/>
                    </a:cubicBezTo>
                    <a:cubicBezTo>
                      <a:pt x="401" y="56"/>
                      <a:pt x="402" y="55"/>
                      <a:pt x="402" y="55"/>
                    </a:cubicBezTo>
                    <a:cubicBezTo>
                      <a:pt x="401" y="56"/>
                      <a:pt x="403" y="56"/>
                      <a:pt x="403" y="56"/>
                    </a:cubicBezTo>
                    <a:cubicBezTo>
                      <a:pt x="403" y="56"/>
                      <a:pt x="404" y="56"/>
                      <a:pt x="404" y="56"/>
                    </a:cubicBezTo>
                    <a:cubicBezTo>
                      <a:pt x="404" y="56"/>
                      <a:pt x="404" y="56"/>
                      <a:pt x="405" y="56"/>
                    </a:cubicBezTo>
                    <a:cubicBezTo>
                      <a:pt x="405" y="56"/>
                      <a:pt x="404" y="56"/>
                      <a:pt x="404" y="57"/>
                    </a:cubicBezTo>
                    <a:cubicBezTo>
                      <a:pt x="404" y="57"/>
                      <a:pt x="404" y="57"/>
                      <a:pt x="403" y="57"/>
                    </a:cubicBezTo>
                    <a:cubicBezTo>
                      <a:pt x="403" y="57"/>
                      <a:pt x="403" y="58"/>
                      <a:pt x="403" y="57"/>
                    </a:cubicBezTo>
                    <a:cubicBezTo>
                      <a:pt x="403" y="57"/>
                      <a:pt x="402" y="57"/>
                      <a:pt x="402" y="58"/>
                    </a:cubicBezTo>
                    <a:cubicBezTo>
                      <a:pt x="402" y="58"/>
                      <a:pt x="402" y="58"/>
                      <a:pt x="402" y="58"/>
                    </a:cubicBezTo>
                    <a:cubicBezTo>
                      <a:pt x="401" y="58"/>
                      <a:pt x="401" y="58"/>
                      <a:pt x="401" y="58"/>
                    </a:cubicBezTo>
                    <a:cubicBezTo>
                      <a:pt x="400" y="58"/>
                      <a:pt x="399" y="58"/>
                      <a:pt x="398" y="58"/>
                    </a:cubicBezTo>
                    <a:cubicBezTo>
                      <a:pt x="396" y="57"/>
                      <a:pt x="394" y="58"/>
                      <a:pt x="393" y="58"/>
                    </a:cubicBezTo>
                    <a:cubicBezTo>
                      <a:pt x="392" y="57"/>
                      <a:pt x="391" y="58"/>
                      <a:pt x="390" y="58"/>
                    </a:cubicBezTo>
                    <a:cubicBezTo>
                      <a:pt x="389" y="58"/>
                      <a:pt x="388" y="58"/>
                      <a:pt x="388" y="58"/>
                    </a:cubicBezTo>
                    <a:cubicBezTo>
                      <a:pt x="387" y="58"/>
                      <a:pt x="387" y="58"/>
                      <a:pt x="387" y="57"/>
                    </a:cubicBezTo>
                    <a:cubicBezTo>
                      <a:pt x="387" y="57"/>
                      <a:pt x="389" y="56"/>
                      <a:pt x="389" y="56"/>
                    </a:cubicBezTo>
                    <a:cubicBezTo>
                      <a:pt x="388" y="56"/>
                      <a:pt x="389" y="56"/>
                      <a:pt x="389" y="56"/>
                    </a:cubicBezTo>
                    <a:cubicBezTo>
                      <a:pt x="389" y="56"/>
                      <a:pt x="389" y="55"/>
                      <a:pt x="388" y="55"/>
                    </a:cubicBezTo>
                    <a:cubicBezTo>
                      <a:pt x="389" y="55"/>
                      <a:pt x="389" y="55"/>
                      <a:pt x="390" y="55"/>
                    </a:cubicBezTo>
                    <a:cubicBezTo>
                      <a:pt x="389" y="55"/>
                      <a:pt x="388" y="55"/>
                      <a:pt x="387" y="55"/>
                    </a:cubicBezTo>
                    <a:cubicBezTo>
                      <a:pt x="387" y="55"/>
                      <a:pt x="386" y="56"/>
                      <a:pt x="386" y="55"/>
                    </a:cubicBezTo>
                    <a:cubicBezTo>
                      <a:pt x="386" y="55"/>
                      <a:pt x="386" y="55"/>
                      <a:pt x="386" y="55"/>
                    </a:cubicBezTo>
                    <a:cubicBezTo>
                      <a:pt x="386" y="55"/>
                      <a:pt x="385" y="55"/>
                      <a:pt x="384" y="55"/>
                    </a:cubicBezTo>
                    <a:cubicBezTo>
                      <a:pt x="385" y="55"/>
                      <a:pt x="386" y="55"/>
                      <a:pt x="387" y="55"/>
                    </a:cubicBezTo>
                    <a:cubicBezTo>
                      <a:pt x="387" y="55"/>
                      <a:pt x="389" y="55"/>
                      <a:pt x="389" y="54"/>
                    </a:cubicBezTo>
                    <a:close/>
                    <a:moveTo>
                      <a:pt x="378" y="52"/>
                    </a:moveTo>
                    <a:cubicBezTo>
                      <a:pt x="378" y="52"/>
                      <a:pt x="378" y="52"/>
                      <a:pt x="378" y="52"/>
                    </a:cubicBezTo>
                    <a:close/>
                    <a:moveTo>
                      <a:pt x="546" y="42"/>
                    </a:moveTo>
                    <a:cubicBezTo>
                      <a:pt x="546" y="41"/>
                      <a:pt x="545" y="41"/>
                      <a:pt x="545" y="41"/>
                    </a:cubicBezTo>
                    <a:cubicBezTo>
                      <a:pt x="544" y="40"/>
                      <a:pt x="542" y="40"/>
                      <a:pt x="541" y="40"/>
                    </a:cubicBezTo>
                    <a:cubicBezTo>
                      <a:pt x="540" y="40"/>
                      <a:pt x="538" y="40"/>
                      <a:pt x="538" y="41"/>
                    </a:cubicBezTo>
                    <a:cubicBezTo>
                      <a:pt x="537" y="41"/>
                      <a:pt x="537" y="42"/>
                      <a:pt x="537" y="42"/>
                    </a:cubicBezTo>
                    <a:cubicBezTo>
                      <a:pt x="536" y="42"/>
                      <a:pt x="536" y="42"/>
                      <a:pt x="536" y="42"/>
                    </a:cubicBezTo>
                    <a:cubicBezTo>
                      <a:pt x="537" y="43"/>
                      <a:pt x="538" y="44"/>
                      <a:pt x="539" y="44"/>
                    </a:cubicBezTo>
                    <a:cubicBezTo>
                      <a:pt x="539" y="44"/>
                      <a:pt x="539" y="44"/>
                      <a:pt x="539" y="44"/>
                    </a:cubicBezTo>
                    <a:cubicBezTo>
                      <a:pt x="539" y="44"/>
                      <a:pt x="539" y="44"/>
                      <a:pt x="539" y="44"/>
                    </a:cubicBezTo>
                    <a:cubicBezTo>
                      <a:pt x="541" y="44"/>
                      <a:pt x="542" y="44"/>
                      <a:pt x="543" y="43"/>
                    </a:cubicBezTo>
                    <a:cubicBezTo>
                      <a:pt x="544" y="43"/>
                      <a:pt x="545" y="43"/>
                      <a:pt x="545" y="43"/>
                    </a:cubicBezTo>
                    <a:cubicBezTo>
                      <a:pt x="545" y="42"/>
                      <a:pt x="546" y="42"/>
                      <a:pt x="546" y="42"/>
                    </a:cubicBezTo>
                    <a:close/>
                    <a:moveTo>
                      <a:pt x="465" y="49"/>
                    </a:moveTo>
                    <a:cubicBezTo>
                      <a:pt x="467" y="48"/>
                      <a:pt x="469" y="48"/>
                      <a:pt x="471" y="48"/>
                    </a:cubicBezTo>
                    <a:cubicBezTo>
                      <a:pt x="471" y="48"/>
                      <a:pt x="472" y="48"/>
                      <a:pt x="472" y="48"/>
                    </a:cubicBezTo>
                    <a:cubicBezTo>
                      <a:pt x="470" y="47"/>
                      <a:pt x="468" y="47"/>
                      <a:pt x="466" y="48"/>
                    </a:cubicBezTo>
                    <a:cubicBezTo>
                      <a:pt x="464" y="48"/>
                      <a:pt x="463" y="49"/>
                      <a:pt x="461" y="49"/>
                    </a:cubicBezTo>
                    <a:cubicBezTo>
                      <a:pt x="462" y="50"/>
                      <a:pt x="464" y="49"/>
                      <a:pt x="465" y="49"/>
                    </a:cubicBezTo>
                    <a:close/>
                    <a:moveTo>
                      <a:pt x="384" y="48"/>
                    </a:moveTo>
                    <a:cubicBezTo>
                      <a:pt x="385" y="48"/>
                      <a:pt x="388" y="48"/>
                      <a:pt x="389" y="47"/>
                    </a:cubicBezTo>
                    <a:cubicBezTo>
                      <a:pt x="388" y="47"/>
                      <a:pt x="387" y="46"/>
                      <a:pt x="386" y="46"/>
                    </a:cubicBezTo>
                    <a:cubicBezTo>
                      <a:pt x="385" y="46"/>
                      <a:pt x="384" y="46"/>
                      <a:pt x="384" y="46"/>
                    </a:cubicBezTo>
                    <a:cubicBezTo>
                      <a:pt x="382" y="46"/>
                      <a:pt x="380" y="46"/>
                      <a:pt x="379" y="47"/>
                    </a:cubicBezTo>
                    <a:cubicBezTo>
                      <a:pt x="381" y="47"/>
                      <a:pt x="382" y="48"/>
                      <a:pt x="384" y="48"/>
                    </a:cubicBezTo>
                    <a:close/>
                    <a:moveTo>
                      <a:pt x="393" y="39"/>
                    </a:moveTo>
                    <a:cubicBezTo>
                      <a:pt x="394" y="39"/>
                      <a:pt x="394" y="39"/>
                      <a:pt x="395" y="40"/>
                    </a:cubicBezTo>
                    <a:cubicBezTo>
                      <a:pt x="395" y="40"/>
                      <a:pt x="396" y="40"/>
                      <a:pt x="397" y="40"/>
                    </a:cubicBezTo>
                    <a:cubicBezTo>
                      <a:pt x="398" y="39"/>
                      <a:pt x="399" y="39"/>
                      <a:pt x="401" y="39"/>
                    </a:cubicBezTo>
                    <a:cubicBezTo>
                      <a:pt x="401" y="39"/>
                      <a:pt x="400" y="39"/>
                      <a:pt x="400" y="38"/>
                    </a:cubicBezTo>
                    <a:cubicBezTo>
                      <a:pt x="401" y="38"/>
                      <a:pt x="400" y="38"/>
                      <a:pt x="399" y="38"/>
                    </a:cubicBezTo>
                    <a:cubicBezTo>
                      <a:pt x="399" y="38"/>
                      <a:pt x="400" y="38"/>
                      <a:pt x="400" y="38"/>
                    </a:cubicBezTo>
                    <a:cubicBezTo>
                      <a:pt x="400" y="38"/>
                      <a:pt x="399" y="38"/>
                      <a:pt x="399" y="38"/>
                    </a:cubicBezTo>
                    <a:cubicBezTo>
                      <a:pt x="399" y="38"/>
                      <a:pt x="400" y="37"/>
                      <a:pt x="400" y="37"/>
                    </a:cubicBezTo>
                    <a:cubicBezTo>
                      <a:pt x="399" y="37"/>
                      <a:pt x="399" y="37"/>
                      <a:pt x="398" y="37"/>
                    </a:cubicBezTo>
                    <a:cubicBezTo>
                      <a:pt x="398" y="37"/>
                      <a:pt x="399" y="37"/>
                      <a:pt x="398" y="37"/>
                    </a:cubicBezTo>
                    <a:cubicBezTo>
                      <a:pt x="399" y="37"/>
                      <a:pt x="399" y="37"/>
                      <a:pt x="399" y="37"/>
                    </a:cubicBezTo>
                    <a:cubicBezTo>
                      <a:pt x="398" y="37"/>
                      <a:pt x="396" y="37"/>
                      <a:pt x="395" y="37"/>
                    </a:cubicBezTo>
                    <a:cubicBezTo>
                      <a:pt x="394" y="37"/>
                      <a:pt x="393" y="37"/>
                      <a:pt x="393" y="38"/>
                    </a:cubicBezTo>
                    <a:cubicBezTo>
                      <a:pt x="392" y="38"/>
                      <a:pt x="393" y="39"/>
                      <a:pt x="393" y="39"/>
                    </a:cubicBezTo>
                    <a:close/>
                    <a:moveTo>
                      <a:pt x="537" y="49"/>
                    </a:moveTo>
                    <a:cubicBezTo>
                      <a:pt x="537" y="48"/>
                      <a:pt x="538" y="48"/>
                      <a:pt x="538" y="48"/>
                    </a:cubicBezTo>
                    <a:cubicBezTo>
                      <a:pt x="539" y="48"/>
                      <a:pt x="539" y="47"/>
                      <a:pt x="539" y="47"/>
                    </a:cubicBezTo>
                    <a:cubicBezTo>
                      <a:pt x="538" y="47"/>
                      <a:pt x="538" y="47"/>
                      <a:pt x="537" y="47"/>
                    </a:cubicBezTo>
                    <a:cubicBezTo>
                      <a:pt x="536" y="47"/>
                      <a:pt x="535" y="47"/>
                      <a:pt x="534" y="47"/>
                    </a:cubicBezTo>
                    <a:cubicBezTo>
                      <a:pt x="533" y="48"/>
                      <a:pt x="534" y="50"/>
                      <a:pt x="534" y="50"/>
                    </a:cubicBezTo>
                    <a:cubicBezTo>
                      <a:pt x="535" y="50"/>
                      <a:pt x="535" y="50"/>
                      <a:pt x="535" y="50"/>
                    </a:cubicBezTo>
                    <a:cubicBezTo>
                      <a:pt x="535" y="50"/>
                      <a:pt x="535" y="50"/>
                      <a:pt x="536" y="50"/>
                    </a:cubicBezTo>
                    <a:cubicBezTo>
                      <a:pt x="536" y="50"/>
                      <a:pt x="536" y="50"/>
                      <a:pt x="537" y="50"/>
                    </a:cubicBezTo>
                    <a:cubicBezTo>
                      <a:pt x="537" y="50"/>
                      <a:pt x="537" y="49"/>
                      <a:pt x="537" y="49"/>
                    </a:cubicBezTo>
                    <a:cubicBezTo>
                      <a:pt x="537" y="49"/>
                      <a:pt x="536" y="49"/>
                      <a:pt x="536" y="49"/>
                    </a:cubicBezTo>
                    <a:cubicBezTo>
                      <a:pt x="537" y="49"/>
                      <a:pt x="537" y="49"/>
                      <a:pt x="537" y="49"/>
                    </a:cubicBezTo>
                    <a:close/>
                    <a:moveTo>
                      <a:pt x="512" y="23"/>
                    </a:moveTo>
                    <a:cubicBezTo>
                      <a:pt x="512" y="23"/>
                      <a:pt x="512" y="23"/>
                      <a:pt x="511" y="23"/>
                    </a:cubicBezTo>
                    <a:cubicBezTo>
                      <a:pt x="512" y="24"/>
                      <a:pt x="514" y="23"/>
                      <a:pt x="513" y="24"/>
                    </a:cubicBezTo>
                    <a:cubicBezTo>
                      <a:pt x="514" y="24"/>
                      <a:pt x="516" y="24"/>
                      <a:pt x="516" y="23"/>
                    </a:cubicBezTo>
                    <a:cubicBezTo>
                      <a:pt x="516" y="23"/>
                      <a:pt x="516" y="22"/>
                      <a:pt x="517" y="22"/>
                    </a:cubicBezTo>
                    <a:cubicBezTo>
                      <a:pt x="517" y="22"/>
                      <a:pt x="517" y="22"/>
                      <a:pt x="517" y="22"/>
                    </a:cubicBezTo>
                    <a:cubicBezTo>
                      <a:pt x="518" y="22"/>
                      <a:pt x="517" y="21"/>
                      <a:pt x="518" y="21"/>
                    </a:cubicBezTo>
                    <a:cubicBezTo>
                      <a:pt x="516" y="21"/>
                      <a:pt x="515" y="21"/>
                      <a:pt x="514" y="21"/>
                    </a:cubicBezTo>
                    <a:cubicBezTo>
                      <a:pt x="512" y="20"/>
                      <a:pt x="510" y="21"/>
                      <a:pt x="509" y="22"/>
                    </a:cubicBezTo>
                    <a:cubicBezTo>
                      <a:pt x="508" y="22"/>
                      <a:pt x="507" y="23"/>
                      <a:pt x="509" y="23"/>
                    </a:cubicBezTo>
                    <a:cubicBezTo>
                      <a:pt x="510" y="23"/>
                      <a:pt x="511" y="22"/>
                      <a:pt x="512" y="23"/>
                    </a:cubicBezTo>
                    <a:close/>
                    <a:moveTo>
                      <a:pt x="471" y="38"/>
                    </a:moveTo>
                    <a:cubicBezTo>
                      <a:pt x="471" y="38"/>
                      <a:pt x="470" y="38"/>
                      <a:pt x="470" y="39"/>
                    </a:cubicBezTo>
                    <a:cubicBezTo>
                      <a:pt x="470" y="39"/>
                      <a:pt x="470" y="39"/>
                      <a:pt x="469" y="39"/>
                    </a:cubicBezTo>
                    <a:cubicBezTo>
                      <a:pt x="470" y="40"/>
                      <a:pt x="472" y="40"/>
                      <a:pt x="473" y="40"/>
                    </a:cubicBezTo>
                    <a:cubicBezTo>
                      <a:pt x="474" y="40"/>
                      <a:pt x="476" y="39"/>
                      <a:pt x="477" y="39"/>
                    </a:cubicBezTo>
                    <a:cubicBezTo>
                      <a:pt x="477" y="40"/>
                      <a:pt x="479" y="40"/>
                      <a:pt x="478" y="39"/>
                    </a:cubicBezTo>
                    <a:cubicBezTo>
                      <a:pt x="478" y="38"/>
                      <a:pt x="477" y="38"/>
                      <a:pt x="476" y="38"/>
                    </a:cubicBezTo>
                    <a:cubicBezTo>
                      <a:pt x="474" y="38"/>
                      <a:pt x="473" y="38"/>
                      <a:pt x="471" y="38"/>
                    </a:cubicBezTo>
                    <a:close/>
                    <a:moveTo>
                      <a:pt x="502" y="112"/>
                    </a:moveTo>
                    <a:cubicBezTo>
                      <a:pt x="502" y="112"/>
                      <a:pt x="502" y="112"/>
                      <a:pt x="502" y="112"/>
                    </a:cubicBezTo>
                    <a:cubicBezTo>
                      <a:pt x="502" y="112"/>
                      <a:pt x="502" y="112"/>
                      <a:pt x="502" y="112"/>
                    </a:cubicBezTo>
                    <a:cubicBezTo>
                      <a:pt x="502" y="112"/>
                      <a:pt x="502" y="112"/>
                      <a:pt x="502" y="112"/>
                    </a:cubicBezTo>
                    <a:close/>
                    <a:moveTo>
                      <a:pt x="125" y="111"/>
                    </a:moveTo>
                    <a:cubicBezTo>
                      <a:pt x="125" y="111"/>
                      <a:pt x="124" y="110"/>
                      <a:pt x="124" y="110"/>
                    </a:cubicBezTo>
                    <a:cubicBezTo>
                      <a:pt x="124" y="110"/>
                      <a:pt x="124" y="110"/>
                      <a:pt x="124" y="110"/>
                    </a:cubicBezTo>
                    <a:cubicBezTo>
                      <a:pt x="124" y="110"/>
                      <a:pt x="125" y="110"/>
                      <a:pt x="125" y="111"/>
                    </a:cubicBezTo>
                    <a:cubicBezTo>
                      <a:pt x="125" y="111"/>
                      <a:pt x="125" y="111"/>
                      <a:pt x="125" y="111"/>
                    </a:cubicBezTo>
                    <a:close/>
                    <a:moveTo>
                      <a:pt x="548" y="185"/>
                    </a:moveTo>
                    <a:cubicBezTo>
                      <a:pt x="548" y="185"/>
                      <a:pt x="548" y="185"/>
                      <a:pt x="548" y="185"/>
                    </a:cubicBezTo>
                    <a:cubicBezTo>
                      <a:pt x="548" y="185"/>
                      <a:pt x="548" y="185"/>
                      <a:pt x="548" y="185"/>
                    </a:cubicBezTo>
                    <a:cubicBezTo>
                      <a:pt x="548" y="185"/>
                      <a:pt x="548" y="185"/>
                      <a:pt x="548" y="185"/>
                    </a:cubicBezTo>
                    <a:close/>
                    <a:moveTo>
                      <a:pt x="124" y="110"/>
                    </a:moveTo>
                    <a:cubicBezTo>
                      <a:pt x="124" y="110"/>
                      <a:pt x="124" y="110"/>
                      <a:pt x="124" y="110"/>
                    </a:cubicBezTo>
                    <a:cubicBezTo>
                      <a:pt x="124" y="110"/>
                      <a:pt x="124" y="110"/>
                      <a:pt x="124" y="110"/>
                    </a:cubicBezTo>
                    <a:close/>
                    <a:moveTo>
                      <a:pt x="581" y="304"/>
                    </a:moveTo>
                    <a:cubicBezTo>
                      <a:pt x="581" y="304"/>
                      <a:pt x="579" y="305"/>
                      <a:pt x="579" y="304"/>
                    </a:cubicBezTo>
                    <a:cubicBezTo>
                      <a:pt x="579" y="305"/>
                      <a:pt x="579" y="304"/>
                      <a:pt x="578" y="304"/>
                    </a:cubicBezTo>
                    <a:cubicBezTo>
                      <a:pt x="578" y="305"/>
                      <a:pt x="578" y="305"/>
                      <a:pt x="578" y="305"/>
                    </a:cubicBezTo>
                    <a:cubicBezTo>
                      <a:pt x="578" y="304"/>
                      <a:pt x="578" y="304"/>
                      <a:pt x="578" y="304"/>
                    </a:cubicBezTo>
                    <a:cubicBezTo>
                      <a:pt x="578" y="304"/>
                      <a:pt x="577" y="304"/>
                      <a:pt x="577" y="305"/>
                    </a:cubicBezTo>
                    <a:cubicBezTo>
                      <a:pt x="576" y="305"/>
                      <a:pt x="577" y="305"/>
                      <a:pt x="576" y="305"/>
                    </a:cubicBezTo>
                    <a:cubicBezTo>
                      <a:pt x="576" y="305"/>
                      <a:pt x="575" y="305"/>
                      <a:pt x="575" y="305"/>
                    </a:cubicBezTo>
                    <a:cubicBezTo>
                      <a:pt x="575" y="305"/>
                      <a:pt x="574" y="305"/>
                      <a:pt x="574" y="305"/>
                    </a:cubicBezTo>
                    <a:cubicBezTo>
                      <a:pt x="572" y="305"/>
                      <a:pt x="570" y="306"/>
                      <a:pt x="569" y="306"/>
                    </a:cubicBezTo>
                    <a:cubicBezTo>
                      <a:pt x="570" y="306"/>
                      <a:pt x="571" y="305"/>
                      <a:pt x="571" y="305"/>
                    </a:cubicBezTo>
                    <a:cubicBezTo>
                      <a:pt x="571" y="305"/>
                      <a:pt x="569" y="306"/>
                      <a:pt x="569" y="305"/>
                    </a:cubicBezTo>
                    <a:cubicBezTo>
                      <a:pt x="569" y="304"/>
                      <a:pt x="568" y="304"/>
                      <a:pt x="567" y="304"/>
                    </a:cubicBezTo>
                    <a:cubicBezTo>
                      <a:pt x="567" y="304"/>
                      <a:pt x="566" y="304"/>
                      <a:pt x="566" y="304"/>
                    </a:cubicBezTo>
                    <a:cubicBezTo>
                      <a:pt x="565" y="304"/>
                      <a:pt x="565" y="304"/>
                      <a:pt x="564" y="304"/>
                    </a:cubicBezTo>
                    <a:cubicBezTo>
                      <a:pt x="564" y="304"/>
                      <a:pt x="561" y="304"/>
                      <a:pt x="562" y="304"/>
                    </a:cubicBezTo>
                    <a:cubicBezTo>
                      <a:pt x="562" y="304"/>
                      <a:pt x="561" y="304"/>
                      <a:pt x="561" y="304"/>
                    </a:cubicBezTo>
                    <a:cubicBezTo>
                      <a:pt x="560" y="304"/>
                      <a:pt x="560" y="304"/>
                      <a:pt x="560" y="304"/>
                    </a:cubicBezTo>
                    <a:cubicBezTo>
                      <a:pt x="559" y="304"/>
                      <a:pt x="558" y="304"/>
                      <a:pt x="558" y="304"/>
                    </a:cubicBezTo>
                    <a:cubicBezTo>
                      <a:pt x="558" y="305"/>
                      <a:pt x="557" y="304"/>
                      <a:pt x="556" y="304"/>
                    </a:cubicBezTo>
                    <a:cubicBezTo>
                      <a:pt x="556" y="305"/>
                      <a:pt x="556" y="304"/>
                      <a:pt x="555" y="304"/>
                    </a:cubicBezTo>
                    <a:cubicBezTo>
                      <a:pt x="555" y="304"/>
                      <a:pt x="555" y="304"/>
                      <a:pt x="554" y="304"/>
                    </a:cubicBezTo>
                    <a:cubicBezTo>
                      <a:pt x="554" y="304"/>
                      <a:pt x="553" y="304"/>
                      <a:pt x="553" y="304"/>
                    </a:cubicBezTo>
                    <a:cubicBezTo>
                      <a:pt x="552" y="304"/>
                      <a:pt x="551" y="304"/>
                      <a:pt x="550" y="304"/>
                    </a:cubicBezTo>
                    <a:cubicBezTo>
                      <a:pt x="549" y="304"/>
                      <a:pt x="549" y="304"/>
                      <a:pt x="548" y="304"/>
                    </a:cubicBezTo>
                    <a:cubicBezTo>
                      <a:pt x="547" y="303"/>
                      <a:pt x="545" y="304"/>
                      <a:pt x="544" y="304"/>
                    </a:cubicBezTo>
                    <a:cubicBezTo>
                      <a:pt x="543" y="304"/>
                      <a:pt x="542" y="304"/>
                      <a:pt x="542" y="304"/>
                    </a:cubicBezTo>
                    <a:cubicBezTo>
                      <a:pt x="541" y="304"/>
                      <a:pt x="541" y="304"/>
                      <a:pt x="541" y="304"/>
                    </a:cubicBezTo>
                    <a:cubicBezTo>
                      <a:pt x="541" y="303"/>
                      <a:pt x="540" y="304"/>
                      <a:pt x="540" y="304"/>
                    </a:cubicBezTo>
                    <a:cubicBezTo>
                      <a:pt x="539" y="304"/>
                      <a:pt x="537" y="305"/>
                      <a:pt x="535" y="304"/>
                    </a:cubicBezTo>
                    <a:cubicBezTo>
                      <a:pt x="535" y="304"/>
                      <a:pt x="535" y="304"/>
                      <a:pt x="534" y="304"/>
                    </a:cubicBezTo>
                    <a:cubicBezTo>
                      <a:pt x="534" y="304"/>
                      <a:pt x="533" y="305"/>
                      <a:pt x="533" y="304"/>
                    </a:cubicBezTo>
                    <a:cubicBezTo>
                      <a:pt x="533" y="305"/>
                      <a:pt x="533" y="305"/>
                      <a:pt x="533" y="305"/>
                    </a:cubicBezTo>
                    <a:cubicBezTo>
                      <a:pt x="533" y="305"/>
                      <a:pt x="532" y="305"/>
                      <a:pt x="532" y="305"/>
                    </a:cubicBezTo>
                    <a:cubicBezTo>
                      <a:pt x="532" y="305"/>
                      <a:pt x="531" y="305"/>
                      <a:pt x="531" y="305"/>
                    </a:cubicBezTo>
                    <a:cubicBezTo>
                      <a:pt x="531" y="304"/>
                      <a:pt x="531" y="304"/>
                      <a:pt x="531" y="304"/>
                    </a:cubicBezTo>
                    <a:cubicBezTo>
                      <a:pt x="530" y="304"/>
                      <a:pt x="530" y="304"/>
                      <a:pt x="530" y="304"/>
                    </a:cubicBezTo>
                    <a:cubicBezTo>
                      <a:pt x="529" y="305"/>
                      <a:pt x="530" y="305"/>
                      <a:pt x="530" y="305"/>
                    </a:cubicBezTo>
                    <a:cubicBezTo>
                      <a:pt x="530" y="306"/>
                      <a:pt x="529" y="305"/>
                      <a:pt x="529" y="305"/>
                    </a:cubicBezTo>
                    <a:cubicBezTo>
                      <a:pt x="529" y="305"/>
                      <a:pt x="528" y="306"/>
                      <a:pt x="528" y="306"/>
                    </a:cubicBezTo>
                    <a:cubicBezTo>
                      <a:pt x="527" y="306"/>
                      <a:pt x="527" y="306"/>
                      <a:pt x="526" y="306"/>
                    </a:cubicBezTo>
                    <a:cubicBezTo>
                      <a:pt x="525" y="307"/>
                      <a:pt x="525" y="307"/>
                      <a:pt x="524" y="308"/>
                    </a:cubicBezTo>
                    <a:cubicBezTo>
                      <a:pt x="524" y="309"/>
                      <a:pt x="523" y="308"/>
                      <a:pt x="523" y="309"/>
                    </a:cubicBezTo>
                    <a:cubicBezTo>
                      <a:pt x="522" y="309"/>
                      <a:pt x="522" y="309"/>
                      <a:pt x="522" y="310"/>
                    </a:cubicBezTo>
                    <a:cubicBezTo>
                      <a:pt x="522" y="310"/>
                      <a:pt x="521" y="311"/>
                      <a:pt x="521" y="312"/>
                    </a:cubicBezTo>
                    <a:cubicBezTo>
                      <a:pt x="520" y="313"/>
                      <a:pt x="519" y="314"/>
                      <a:pt x="519" y="314"/>
                    </a:cubicBezTo>
                    <a:cubicBezTo>
                      <a:pt x="518" y="314"/>
                      <a:pt x="516" y="314"/>
                      <a:pt x="515" y="314"/>
                    </a:cubicBezTo>
                    <a:cubicBezTo>
                      <a:pt x="514" y="315"/>
                      <a:pt x="513" y="314"/>
                      <a:pt x="512" y="315"/>
                    </a:cubicBezTo>
                    <a:cubicBezTo>
                      <a:pt x="511" y="315"/>
                      <a:pt x="511" y="316"/>
                      <a:pt x="510" y="315"/>
                    </a:cubicBezTo>
                    <a:cubicBezTo>
                      <a:pt x="510" y="316"/>
                      <a:pt x="512" y="316"/>
                      <a:pt x="511" y="316"/>
                    </a:cubicBezTo>
                    <a:cubicBezTo>
                      <a:pt x="510" y="317"/>
                      <a:pt x="510" y="316"/>
                      <a:pt x="509" y="317"/>
                    </a:cubicBezTo>
                    <a:cubicBezTo>
                      <a:pt x="509" y="317"/>
                      <a:pt x="509" y="317"/>
                      <a:pt x="508" y="317"/>
                    </a:cubicBezTo>
                    <a:cubicBezTo>
                      <a:pt x="509" y="316"/>
                      <a:pt x="510" y="316"/>
                      <a:pt x="509" y="316"/>
                    </a:cubicBezTo>
                    <a:cubicBezTo>
                      <a:pt x="509" y="317"/>
                      <a:pt x="508" y="316"/>
                      <a:pt x="507" y="317"/>
                    </a:cubicBezTo>
                    <a:cubicBezTo>
                      <a:pt x="507" y="317"/>
                      <a:pt x="505" y="318"/>
                      <a:pt x="506" y="318"/>
                    </a:cubicBezTo>
                    <a:cubicBezTo>
                      <a:pt x="506" y="319"/>
                      <a:pt x="505" y="319"/>
                      <a:pt x="505" y="319"/>
                    </a:cubicBezTo>
                    <a:cubicBezTo>
                      <a:pt x="504" y="319"/>
                      <a:pt x="503" y="319"/>
                      <a:pt x="503" y="319"/>
                    </a:cubicBezTo>
                    <a:cubicBezTo>
                      <a:pt x="502" y="320"/>
                      <a:pt x="502" y="320"/>
                      <a:pt x="502" y="320"/>
                    </a:cubicBezTo>
                    <a:cubicBezTo>
                      <a:pt x="501" y="321"/>
                      <a:pt x="501" y="321"/>
                      <a:pt x="501" y="322"/>
                    </a:cubicBezTo>
                    <a:cubicBezTo>
                      <a:pt x="500" y="322"/>
                      <a:pt x="500" y="322"/>
                      <a:pt x="500" y="322"/>
                    </a:cubicBezTo>
                    <a:cubicBezTo>
                      <a:pt x="499" y="322"/>
                      <a:pt x="499" y="322"/>
                      <a:pt x="499" y="323"/>
                    </a:cubicBezTo>
                    <a:cubicBezTo>
                      <a:pt x="498" y="323"/>
                      <a:pt x="498" y="324"/>
                      <a:pt x="498" y="324"/>
                    </a:cubicBezTo>
                    <a:cubicBezTo>
                      <a:pt x="497" y="325"/>
                      <a:pt x="496" y="325"/>
                      <a:pt x="495" y="326"/>
                    </a:cubicBezTo>
                    <a:cubicBezTo>
                      <a:pt x="494" y="327"/>
                      <a:pt x="493" y="327"/>
                      <a:pt x="492" y="326"/>
                    </a:cubicBezTo>
                    <a:cubicBezTo>
                      <a:pt x="492" y="325"/>
                      <a:pt x="492" y="325"/>
                      <a:pt x="491" y="325"/>
                    </a:cubicBezTo>
                    <a:cubicBezTo>
                      <a:pt x="491" y="325"/>
                      <a:pt x="490" y="325"/>
                      <a:pt x="490" y="325"/>
                    </a:cubicBezTo>
                    <a:cubicBezTo>
                      <a:pt x="489" y="324"/>
                      <a:pt x="488" y="324"/>
                      <a:pt x="488" y="324"/>
                    </a:cubicBezTo>
                    <a:cubicBezTo>
                      <a:pt x="487" y="324"/>
                      <a:pt x="486" y="324"/>
                      <a:pt x="486" y="324"/>
                    </a:cubicBezTo>
                    <a:cubicBezTo>
                      <a:pt x="486" y="324"/>
                      <a:pt x="486" y="324"/>
                      <a:pt x="486" y="324"/>
                    </a:cubicBezTo>
                    <a:cubicBezTo>
                      <a:pt x="486" y="324"/>
                      <a:pt x="485" y="324"/>
                      <a:pt x="485" y="324"/>
                    </a:cubicBezTo>
                    <a:cubicBezTo>
                      <a:pt x="484" y="323"/>
                      <a:pt x="484" y="323"/>
                      <a:pt x="483" y="323"/>
                    </a:cubicBezTo>
                    <a:cubicBezTo>
                      <a:pt x="484" y="323"/>
                      <a:pt x="485" y="324"/>
                      <a:pt x="485" y="324"/>
                    </a:cubicBezTo>
                    <a:cubicBezTo>
                      <a:pt x="485" y="324"/>
                      <a:pt x="484" y="324"/>
                      <a:pt x="484" y="325"/>
                    </a:cubicBezTo>
                    <a:cubicBezTo>
                      <a:pt x="484" y="325"/>
                      <a:pt x="485" y="325"/>
                      <a:pt x="485" y="324"/>
                    </a:cubicBezTo>
                    <a:cubicBezTo>
                      <a:pt x="486" y="324"/>
                      <a:pt x="487" y="324"/>
                      <a:pt x="488" y="324"/>
                    </a:cubicBezTo>
                    <a:cubicBezTo>
                      <a:pt x="489" y="325"/>
                      <a:pt x="489" y="326"/>
                      <a:pt x="490" y="326"/>
                    </a:cubicBezTo>
                    <a:cubicBezTo>
                      <a:pt x="491" y="326"/>
                      <a:pt x="492" y="325"/>
                      <a:pt x="492" y="326"/>
                    </a:cubicBezTo>
                    <a:cubicBezTo>
                      <a:pt x="492" y="327"/>
                      <a:pt x="493" y="327"/>
                      <a:pt x="493" y="327"/>
                    </a:cubicBezTo>
                    <a:cubicBezTo>
                      <a:pt x="492" y="328"/>
                      <a:pt x="492" y="329"/>
                      <a:pt x="491" y="329"/>
                    </a:cubicBezTo>
                    <a:cubicBezTo>
                      <a:pt x="490" y="330"/>
                      <a:pt x="490" y="331"/>
                      <a:pt x="489" y="331"/>
                    </a:cubicBezTo>
                    <a:cubicBezTo>
                      <a:pt x="488" y="332"/>
                      <a:pt x="487" y="332"/>
                      <a:pt x="487" y="333"/>
                    </a:cubicBezTo>
                    <a:cubicBezTo>
                      <a:pt x="486" y="333"/>
                      <a:pt x="486" y="334"/>
                      <a:pt x="485" y="334"/>
                    </a:cubicBezTo>
                    <a:cubicBezTo>
                      <a:pt x="485" y="334"/>
                      <a:pt x="484" y="334"/>
                      <a:pt x="483" y="335"/>
                    </a:cubicBezTo>
                    <a:cubicBezTo>
                      <a:pt x="483" y="335"/>
                      <a:pt x="482" y="336"/>
                      <a:pt x="482" y="336"/>
                    </a:cubicBezTo>
                    <a:cubicBezTo>
                      <a:pt x="481" y="337"/>
                      <a:pt x="480" y="338"/>
                      <a:pt x="480" y="338"/>
                    </a:cubicBezTo>
                    <a:cubicBezTo>
                      <a:pt x="479" y="338"/>
                      <a:pt x="478" y="339"/>
                      <a:pt x="477" y="339"/>
                    </a:cubicBezTo>
                    <a:cubicBezTo>
                      <a:pt x="476" y="340"/>
                      <a:pt x="476" y="340"/>
                      <a:pt x="475" y="341"/>
                    </a:cubicBezTo>
                    <a:cubicBezTo>
                      <a:pt x="475" y="341"/>
                      <a:pt x="474" y="341"/>
                      <a:pt x="474" y="342"/>
                    </a:cubicBezTo>
                    <a:cubicBezTo>
                      <a:pt x="474" y="342"/>
                      <a:pt x="474" y="341"/>
                      <a:pt x="475" y="341"/>
                    </a:cubicBezTo>
                    <a:cubicBezTo>
                      <a:pt x="475" y="341"/>
                      <a:pt x="475" y="341"/>
                      <a:pt x="476" y="341"/>
                    </a:cubicBezTo>
                    <a:cubicBezTo>
                      <a:pt x="476" y="341"/>
                      <a:pt x="476" y="341"/>
                      <a:pt x="477" y="340"/>
                    </a:cubicBezTo>
                    <a:cubicBezTo>
                      <a:pt x="478" y="340"/>
                      <a:pt x="478" y="340"/>
                      <a:pt x="479" y="340"/>
                    </a:cubicBezTo>
                    <a:cubicBezTo>
                      <a:pt x="481" y="339"/>
                      <a:pt x="482" y="338"/>
                      <a:pt x="484" y="337"/>
                    </a:cubicBezTo>
                    <a:cubicBezTo>
                      <a:pt x="484" y="337"/>
                      <a:pt x="485" y="336"/>
                      <a:pt x="486" y="336"/>
                    </a:cubicBezTo>
                    <a:cubicBezTo>
                      <a:pt x="486" y="335"/>
                      <a:pt x="487" y="335"/>
                      <a:pt x="487" y="334"/>
                    </a:cubicBezTo>
                    <a:cubicBezTo>
                      <a:pt x="488" y="334"/>
                      <a:pt x="488" y="333"/>
                      <a:pt x="489" y="333"/>
                    </a:cubicBezTo>
                    <a:cubicBezTo>
                      <a:pt x="490" y="333"/>
                      <a:pt x="491" y="332"/>
                      <a:pt x="491" y="331"/>
                    </a:cubicBezTo>
                    <a:cubicBezTo>
                      <a:pt x="492" y="331"/>
                      <a:pt x="493" y="330"/>
                      <a:pt x="494" y="330"/>
                    </a:cubicBezTo>
                    <a:cubicBezTo>
                      <a:pt x="494" y="329"/>
                      <a:pt x="495" y="329"/>
                      <a:pt x="495" y="328"/>
                    </a:cubicBezTo>
                    <a:cubicBezTo>
                      <a:pt x="497" y="328"/>
                      <a:pt x="498" y="327"/>
                      <a:pt x="499" y="326"/>
                    </a:cubicBezTo>
                    <a:cubicBezTo>
                      <a:pt x="501" y="325"/>
                      <a:pt x="502" y="324"/>
                      <a:pt x="504" y="324"/>
                    </a:cubicBezTo>
                    <a:cubicBezTo>
                      <a:pt x="505" y="323"/>
                      <a:pt x="507" y="322"/>
                      <a:pt x="508" y="322"/>
                    </a:cubicBezTo>
                    <a:cubicBezTo>
                      <a:pt x="512" y="320"/>
                      <a:pt x="515" y="319"/>
                      <a:pt x="519" y="318"/>
                    </a:cubicBezTo>
                    <a:cubicBezTo>
                      <a:pt x="521" y="318"/>
                      <a:pt x="523" y="317"/>
                      <a:pt x="525" y="316"/>
                    </a:cubicBezTo>
                    <a:cubicBezTo>
                      <a:pt x="527" y="316"/>
                      <a:pt x="529" y="315"/>
                      <a:pt x="531" y="315"/>
                    </a:cubicBezTo>
                    <a:cubicBezTo>
                      <a:pt x="532" y="315"/>
                      <a:pt x="533" y="315"/>
                      <a:pt x="534" y="315"/>
                    </a:cubicBezTo>
                    <a:cubicBezTo>
                      <a:pt x="535" y="315"/>
                      <a:pt x="535" y="315"/>
                      <a:pt x="536" y="315"/>
                    </a:cubicBezTo>
                    <a:cubicBezTo>
                      <a:pt x="537" y="315"/>
                      <a:pt x="538" y="315"/>
                      <a:pt x="539" y="315"/>
                    </a:cubicBezTo>
                    <a:cubicBezTo>
                      <a:pt x="540" y="316"/>
                      <a:pt x="540" y="316"/>
                      <a:pt x="540" y="316"/>
                    </a:cubicBezTo>
                    <a:cubicBezTo>
                      <a:pt x="540" y="316"/>
                      <a:pt x="541" y="316"/>
                      <a:pt x="541" y="316"/>
                    </a:cubicBezTo>
                    <a:cubicBezTo>
                      <a:pt x="542" y="317"/>
                      <a:pt x="542" y="317"/>
                      <a:pt x="542" y="317"/>
                    </a:cubicBezTo>
                    <a:cubicBezTo>
                      <a:pt x="543" y="318"/>
                      <a:pt x="543" y="318"/>
                      <a:pt x="543" y="319"/>
                    </a:cubicBezTo>
                    <a:cubicBezTo>
                      <a:pt x="543" y="319"/>
                      <a:pt x="543" y="320"/>
                      <a:pt x="543" y="320"/>
                    </a:cubicBezTo>
                    <a:cubicBezTo>
                      <a:pt x="543" y="319"/>
                      <a:pt x="541" y="319"/>
                      <a:pt x="541" y="319"/>
                    </a:cubicBezTo>
                    <a:cubicBezTo>
                      <a:pt x="541" y="319"/>
                      <a:pt x="541" y="319"/>
                      <a:pt x="540" y="319"/>
                    </a:cubicBezTo>
                    <a:cubicBezTo>
                      <a:pt x="541" y="320"/>
                      <a:pt x="541" y="319"/>
                      <a:pt x="541" y="319"/>
                    </a:cubicBezTo>
                    <a:cubicBezTo>
                      <a:pt x="542" y="320"/>
                      <a:pt x="541" y="320"/>
                      <a:pt x="541" y="320"/>
                    </a:cubicBezTo>
                    <a:cubicBezTo>
                      <a:pt x="542" y="320"/>
                      <a:pt x="543" y="321"/>
                      <a:pt x="542" y="322"/>
                    </a:cubicBezTo>
                    <a:cubicBezTo>
                      <a:pt x="542" y="322"/>
                      <a:pt x="541" y="322"/>
                      <a:pt x="542" y="323"/>
                    </a:cubicBezTo>
                    <a:cubicBezTo>
                      <a:pt x="542" y="323"/>
                      <a:pt x="541" y="323"/>
                      <a:pt x="541" y="323"/>
                    </a:cubicBezTo>
                    <a:cubicBezTo>
                      <a:pt x="541" y="323"/>
                      <a:pt x="540" y="324"/>
                      <a:pt x="540" y="324"/>
                    </a:cubicBezTo>
                    <a:cubicBezTo>
                      <a:pt x="539" y="324"/>
                      <a:pt x="538" y="324"/>
                      <a:pt x="537" y="325"/>
                    </a:cubicBezTo>
                    <a:cubicBezTo>
                      <a:pt x="537" y="325"/>
                      <a:pt x="536" y="326"/>
                      <a:pt x="535" y="326"/>
                    </a:cubicBezTo>
                    <a:cubicBezTo>
                      <a:pt x="535" y="326"/>
                      <a:pt x="534" y="326"/>
                      <a:pt x="534" y="327"/>
                    </a:cubicBezTo>
                    <a:cubicBezTo>
                      <a:pt x="534" y="327"/>
                      <a:pt x="532" y="328"/>
                      <a:pt x="531" y="328"/>
                    </a:cubicBezTo>
                    <a:cubicBezTo>
                      <a:pt x="530" y="328"/>
                      <a:pt x="530" y="328"/>
                      <a:pt x="529" y="328"/>
                    </a:cubicBezTo>
                    <a:cubicBezTo>
                      <a:pt x="528" y="327"/>
                      <a:pt x="526" y="327"/>
                      <a:pt x="526" y="326"/>
                    </a:cubicBezTo>
                    <a:cubicBezTo>
                      <a:pt x="526" y="326"/>
                      <a:pt x="525" y="327"/>
                      <a:pt x="524" y="327"/>
                    </a:cubicBezTo>
                    <a:cubicBezTo>
                      <a:pt x="524" y="327"/>
                      <a:pt x="523" y="327"/>
                      <a:pt x="522" y="327"/>
                    </a:cubicBezTo>
                    <a:cubicBezTo>
                      <a:pt x="523" y="327"/>
                      <a:pt x="522" y="328"/>
                      <a:pt x="522" y="327"/>
                    </a:cubicBezTo>
                    <a:cubicBezTo>
                      <a:pt x="522" y="327"/>
                      <a:pt x="521" y="327"/>
                      <a:pt x="521" y="327"/>
                    </a:cubicBezTo>
                    <a:cubicBezTo>
                      <a:pt x="520" y="328"/>
                      <a:pt x="519" y="328"/>
                      <a:pt x="517" y="328"/>
                    </a:cubicBezTo>
                    <a:cubicBezTo>
                      <a:pt x="518" y="329"/>
                      <a:pt x="519" y="328"/>
                      <a:pt x="520" y="328"/>
                    </a:cubicBezTo>
                    <a:cubicBezTo>
                      <a:pt x="520" y="328"/>
                      <a:pt x="521" y="327"/>
                      <a:pt x="522" y="327"/>
                    </a:cubicBezTo>
                    <a:cubicBezTo>
                      <a:pt x="522" y="328"/>
                      <a:pt x="521" y="328"/>
                      <a:pt x="522" y="328"/>
                    </a:cubicBezTo>
                    <a:cubicBezTo>
                      <a:pt x="522" y="328"/>
                      <a:pt x="522" y="328"/>
                      <a:pt x="522" y="328"/>
                    </a:cubicBezTo>
                    <a:cubicBezTo>
                      <a:pt x="523" y="328"/>
                      <a:pt x="524" y="329"/>
                      <a:pt x="524" y="329"/>
                    </a:cubicBezTo>
                    <a:cubicBezTo>
                      <a:pt x="525" y="329"/>
                      <a:pt x="526" y="329"/>
                      <a:pt x="526" y="330"/>
                    </a:cubicBezTo>
                    <a:cubicBezTo>
                      <a:pt x="526" y="330"/>
                      <a:pt x="526" y="331"/>
                      <a:pt x="526" y="332"/>
                    </a:cubicBezTo>
                    <a:cubicBezTo>
                      <a:pt x="526" y="332"/>
                      <a:pt x="526" y="332"/>
                      <a:pt x="526" y="332"/>
                    </a:cubicBezTo>
                    <a:cubicBezTo>
                      <a:pt x="526" y="332"/>
                      <a:pt x="526" y="332"/>
                      <a:pt x="527" y="332"/>
                    </a:cubicBezTo>
                    <a:cubicBezTo>
                      <a:pt x="527" y="332"/>
                      <a:pt x="527" y="332"/>
                      <a:pt x="528" y="332"/>
                    </a:cubicBezTo>
                    <a:cubicBezTo>
                      <a:pt x="529" y="331"/>
                      <a:pt x="531" y="330"/>
                      <a:pt x="532" y="330"/>
                    </a:cubicBezTo>
                    <a:cubicBezTo>
                      <a:pt x="532" y="330"/>
                      <a:pt x="532" y="330"/>
                      <a:pt x="532" y="331"/>
                    </a:cubicBezTo>
                    <a:cubicBezTo>
                      <a:pt x="532" y="331"/>
                      <a:pt x="533" y="330"/>
                      <a:pt x="534" y="330"/>
                    </a:cubicBezTo>
                    <a:cubicBezTo>
                      <a:pt x="534" y="331"/>
                      <a:pt x="533" y="331"/>
                      <a:pt x="533" y="331"/>
                    </a:cubicBezTo>
                    <a:cubicBezTo>
                      <a:pt x="533" y="331"/>
                      <a:pt x="534" y="331"/>
                      <a:pt x="534" y="331"/>
                    </a:cubicBezTo>
                    <a:cubicBezTo>
                      <a:pt x="534" y="331"/>
                      <a:pt x="535" y="330"/>
                      <a:pt x="535" y="331"/>
                    </a:cubicBezTo>
                    <a:cubicBezTo>
                      <a:pt x="535" y="331"/>
                      <a:pt x="534" y="331"/>
                      <a:pt x="533" y="332"/>
                    </a:cubicBezTo>
                    <a:cubicBezTo>
                      <a:pt x="533" y="332"/>
                      <a:pt x="533" y="332"/>
                      <a:pt x="533" y="333"/>
                    </a:cubicBezTo>
                    <a:cubicBezTo>
                      <a:pt x="533" y="333"/>
                      <a:pt x="532" y="333"/>
                      <a:pt x="532" y="333"/>
                    </a:cubicBezTo>
                    <a:cubicBezTo>
                      <a:pt x="532" y="333"/>
                      <a:pt x="532" y="333"/>
                      <a:pt x="532" y="333"/>
                    </a:cubicBezTo>
                    <a:cubicBezTo>
                      <a:pt x="532" y="334"/>
                      <a:pt x="532" y="334"/>
                      <a:pt x="531" y="334"/>
                    </a:cubicBezTo>
                    <a:cubicBezTo>
                      <a:pt x="532" y="334"/>
                      <a:pt x="532" y="334"/>
                      <a:pt x="532" y="334"/>
                    </a:cubicBezTo>
                    <a:cubicBezTo>
                      <a:pt x="532" y="334"/>
                      <a:pt x="531" y="335"/>
                      <a:pt x="531" y="335"/>
                    </a:cubicBezTo>
                    <a:cubicBezTo>
                      <a:pt x="532" y="334"/>
                      <a:pt x="531" y="335"/>
                      <a:pt x="531" y="335"/>
                    </a:cubicBezTo>
                    <a:cubicBezTo>
                      <a:pt x="530" y="336"/>
                      <a:pt x="530" y="336"/>
                      <a:pt x="530" y="336"/>
                    </a:cubicBezTo>
                    <a:cubicBezTo>
                      <a:pt x="528" y="337"/>
                      <a:pt x="527" y="337"/>
                      <a:pt x="526" y="338"/>
                    </a:cubicBezTo>
                    <a:cubicBezTo>
                      <a:pt x="526" y="338"/>
                      <a:pt x="528" y="338"/>
                      <a:pt x="527" y="338"/>
                    </a:cubicBezTo>
                    <a:cubicBezTo>
                      <a:pt x="528" y="339"/>
                      <a:pt x="529" y="338"/>
                      <a:pt x="529" y="338"/>
                    </a:cubicBezTo>
                    <a:cubicBezTo>
                      <a:pt x="529" y="338"/>
                      <a:pt x="530" y="338"/>
                      <a:pt x="531" y="338"/>
                    </a:cubicBezTo>
                    <a:cubicBezTo>
                      <a:pt x="530" y="338"/>
                      <a:pt x="531" y="339"/>
                      <a:pt x="530" y="339"/>
                    </a:cubicBezTo>
                    <a:cubicBezTo>
                      <a:pt x="530" y="340"/>
                      <a:pt x="529" y="340"/>
                      <a:pt x="529" y="340"/>
                    </a:cubicBezTo>
                    <a:cubicBezTo>
                      <a:pt x="529" y="341"/>
                      <a:pt x="529" y="341"/>
                      <a:pt x="529" y="342"/>
                    </a:cubicBezTo>
                    <a:cubicBezTo>
                      <a:pt x="529" y="342"/>
                      <a:pt x="529" y="342"/>
                      <a:pt x="529" y="342"/>
                    </a:cubicBezTo>
                    <a:cubicBezTo>
                      <a:pt x="529" y="342"/>
                      <a:pt x="530" y="342"/>
                      <a:pt x="530" y="343"/>
                    </a:cubicBezTo>
                    <a:cubicBezTo>
                      <a:pt x="530" y="342"/>
                      <a:pt x="530" y="342"/>
                      <a:pt x="530" y="342"/>
                    </a:cubicBezTo>
                    <a:cubicBezTo>
                      <a:pt x="530" y="343"/>
                      <a:pt x="530" y="343"/>
                      <a:pt x="530" y="344"/>
                    </a:cubicBezTo>
                    <a:cubicBezTo>
                      <a:pt x="530" y="344"/>
                      <a:pt x="529" y="345"/>
                      <a:pt x="529" y="345"/>
                    </a:cubicBezTo>
                    <a:cubicBezTo>
                      <a:pt x="530" y="345"/>
                      <a:pt x="530" y="345"/>
                      <a:pt x="530" y="346"/>
                    </a:cubicBezTo>
                    <a:cubicBezTo>
                      <a:pt x="530" y="346"/>
                      <a:pt x="529" y="346"/>
                      <a:pt x="529" y="346"/>
                    </a:cubicBezTo>
                    <a:cubicBezTo>
                      <a:pt x="529" y="346"/>
                      <a:pt x="530" y="346"/>
                      <a:pt x="530" y="346"/>
                    </a:cubicBezTo>
                    <a:cubicBezTo>
                      <a:pt x="530" y="346"/>
                      <a:pt x="530" y="346"/>
                      <a:pt x="530" y="346"/>
                    </a:cubicBezTo>
                    <a:cubicBezTo>
                      <a:pt x="530" y="347"/>
                      <a:pt x="530" y="347"/>
                      <a:pt x="530" y="347"/>
                    </a:cubicBezTo>
                    <a:cubicBezTo>
                      <a:pt x="530" y="347"/>
                      <a:pt x="531" y="347"/>
                      <a:pt x="532" y="347"/>
                    </a:cubicBezTo>
                    <a:cubicBezTo>
                      <a:pt x="533" y="347"/>
                      <a:pt x="533" y="348"/>
                      <a:pt x="533" y="348"/>
                    </a:cubicBezTo>
                    <a:cubicBezTo>
                      <a:pt x="534" y="348"/>
                      <a:pt x="534" y="348"/>
                      <a:pt x="535" y="348"/>
                    </a:cubicBezTo>
                    <a:cubicBezTo>
                      <a:pt x="535" y="348"/>
                      <a:pt x="536" y="348"/>
                      <a:pt x="536" y="349"/>
                    </a:cubicBezTo>
                    <a:cubicBezTo>
                      <a:pt x="536" y="349"/>
                      <a:pt x="533" y="349"/>
                      <a:pt x="533" y="350"/>
                    </a:cubicBezTo>
                    <a:cubicBezTo>
                      <a:pt x="533" y="350"/>
                      <a:pt x="534" y="350"/>
                      <a:pt x="535" y="350"/>
                    </a:cubicBezTo>
                    <a:cubicBezTo>
                      <a:pt x="535" y="351"/>
                      <a:pt x="535" y="351"/>
                      <a:pt x="535" y="351"/>
                    </a:cubicBezTo>
                    <a:cubicBezTo>
                      <a:pt x="535" y="351"/>
                      <a:pt x="535" y="351"/>
                      <a:pt x="535" y="351"/>
                    </a:cubicBezTo>
                    <a:cubicBezTo>
                      <a:pt x="535" y="351"/>
                      <a:pt x="536" y="351"/>
                      <a:pt x="536" y="352"/>
                    </a:cubicBezTo>
                    <a:cubicBezTo>
                      <a:pt x="536" y="351"/>
                      <a:pt x="537" y="351"/>
                      <a:pt x="538" y="351"/>
                    </a:cubicBezTo>
                    <a:cubicBezTo>
                      <a:pt x="538" y="351"/>
                      <a:pt x="538" y="351"/>
                      <a:pt x="538" y="351"/>
                    </a:cubicBezTo>
                    <a:cubicBezTo>
                      <a:pt x="538" y="352"/>
                      <a:pt x="537" y="352"/>
                      <a:pt x="537" y="352"/>
                    </a:cubicBezTo>
                    <a:cubicBezTo>
                      <a:pt x="538" y="352"/>
                      <a:pt x="539" y="352"/>
                      <a:pt x="539" y="352"/>
                    </a:cubicBezTo>
                    <a:cubicBezTo>
                      <a:pt x="539" y="352"/>
                      <a:pt x="538" y="352"/>
                      <a:pt x="538" y="352"/>
                    </a:cubicBezTo>
                    <a:cubicBezTo>
                      <a:pt x="538" y="353"/>
                      <a:pt x="539" y="352"/>
                      <a:pt x="540" y="352"/>
                    </a:cubicBezTo>
                    <a:cubicBezTo>
                      <a:pt x="539" y="353"/>
                      <a:pt x="541" y="352"/>
                      <a:pt x="540" y="352"/>
                    </a:cubicBezTo>
                    <a:cubicBezTo>
                      <a:pt x="542" y="352"/>
                      <a:pt x="543" y="352"/>
                      <a:pt x="544" y="352"/>
                    </a:cubicBezTo>
                    <a:cubicBezTo>
                      <a:pt x="544" y="352"/>
                      <a:pt x="544" y="352"/>
                      <a:pt x="543" y="352"/>
                    </a:cubicBezTo>
                    <a:cubicBezTo>
                      <a:pt x="544" y="353"/>
                      <a:pt x="544" y="352"/>
                      <a:pt x="544" y="353"/>
                    </a:cubicBezTo>
                    <a:cubicBezTo>
                      <a:pt x="544" y="353"/>
                      <a:pt x="543" y="353"/>
                      <a:pt x="543" y="354"/>
                    </a:cubicBezTo>
                    <a:cubicBezTo>
                      <a:pt x="543" y="353"/>
                      <a:pt x="543" y="354"/>
                      <a:pt x="543" y="354"/>
                    </a:cubicBezTo>
                    <a:cubicBezTo>
                      <a:pt x="543" y="354"/>
                      <a:pt x="543" y="353"/>
                      <a:pt x="544" y="354"/>
                    </a:cubicBezTo>
                    <a:cubicBezTo>
                      <a:pt x="543" y="353"/>
                      <a:pt x="545" y="353"/>
                      <a:pt x="545" y="353"/>
                    </a:cubicBezTo>
                    <a:cubicBezTo>
                      <a:pt x="545" y="354"/>
                      <a:pt x="545" y="354"/>
                      <a:pt x="545" y="354"/>
                    </a:cubicBezTo>
                    <a:cubicBezTo>
                      <a:pt x="545" y="354"/>
                      <a:pt x="546" y="353"/>
                      <a:pt x="546" y="353"/>
                    </a:cubicBezTo>
                    <a:cubicBezTo>
                      <a:pt x="546" y="353"/>
                      <a:pt x="546" y="353"/>
                      <a:pt x="546" y="353"/>
                    </a:cubicBezTo>
                    <a:cubicBezTo>
                      <a:pt x="546" y="353"/>
                      <a:pt x="547" y="353"/>
                      <a:pt x="547" y="353"/>
                    </a:cubicBezTo>
                    <a:cubicBezTo>
                      <a:pt x="548" y="353"/>
                      <a:pt x="548" y="353"/>
                      <a:pt x="548" y="352"/>
                    </a:cubicBezTo>
                    <a:cubicBezTo>
                      <a:pt x="549" y="352"/>
                      <a:pt x="550" y="351"/>
                      <a:pt x="551" y="351"/>
                    </a:cubicBezTo>
                    <a:cubicBezTo>
                      <a:pt x="551" y="351"/>
                      <a:pt x="551" y="353"/>
                      <a:pt x="551" y="353"/>
                    </a:cubicBezTo>
                    <a:cubicBezTo>
                      <a:pt x="551" y="353"/>
                      <a:pt x="550" y="354"/>
                      <a:pt x="550" y="354"/>
                    </a:cubicBezTo>
                    <a:cubicBezTo>
                      <a:pt x="550" y="354"/>
                      <a:pt x="551" y="353"/>
                      <a:pt x="551" y="353"/>
                    </a:cubicBezTo>
                    <a:cubicBezTo>
                      <a:pt x="552" y="353"/>
                      <a:pt x="552" y="354"/>
                      <a:pt x="553" y="354"/>
                    </a:cubicBezTo>
                    <a:cubicBezTo>
                      <a:pt x="552" y="354"/>
                      <a:pt x="553" y="353"/>
                      <a:pt x="554" y="353"/>
                    </a:cubicBezTo>
                    <a:cubicBezTo>
                      <a:pt x="554" y="353"/>
                      <a:pt x="555" y="354"/>
                      <a:pt x="555" y="354"/>
                    </a:cubicBezTo>
                    <a:cubicBezTo>
                      <a:pt x="555" y="355"/>
                      <a:pt x="556" y="355"/>
                      <a:pt x="556" y="355"/>
                    </a:cubicBezTo>
                    <a:cubicBezTo>
                      <a:pt x="555" y="356"/>
                      <a:pt x="555" y="356"/>
                      <a:pt x="554" y="356"/>
                    </a:cubicBezTo>
                    <a:cubicBezTo>
                      <a:pt x="553" y="356"/>
                      <a:pt x="552" y="357"/>
                      <a:pt x="554" y="357"/>
                    </a:cubicBezTo>
                    <a:cubicBezTo>
                      <a:pt x="555" y="357"/>
                      <a:pt x="556" y="357"/>
                      <a:pt x="556" y="357"/>
                    </a:cubicBezTo>
                    <a:cubicBezTo>
                      <a:pt x="557" y="357"/>
                      <a:pt x="558" y="357"/>
                      <a:pt x="557" y="358"/>
                    </a:cubicBezTo>
                    <a:cubicBezTo>
                      <a:pt x="557" y="357"/>
                      <a:pt x="557" y="357"/>
                      <a:pt x="557" y="357"/>
                    </a:cubicBezTo>
                    <a:cubicBezTo>
                      <a:pt x="557" y="358"/>
                      <a:pt x="555" y="358"/>
                      <a:pt x="556" y="358"/>
                    </a:cubicBezTo>
                    <a:cubicBezTo>
                      <a:pt x="555" y="358"/>
                      <a:pt x="555" y="359"/>
                      <a:pt x="555" y="358"/>
                    </a:cubicBezTo>
                    <a:cubicBezTo>
                      <a:pt x="555" y="357"/>
                      <a:pt x="553" y="358"/>
                      <a:pt x="553" y="359"/>
                    </a:cubicBezTo>
                    <a:cubicBezTo>
                      <a:pt x="553" y="359"/>
                      <a:pt x="551" y="359"/>
                      <a:pt x="550" y="359"/>
                    </a:cubicBezTo>
                    <a:cubicBezTo>
                      <a:pt x="550" y="359"/>
                      <a:pt x="551" y="359"/>
                      <a:pt x="551" y="359"/>
                    </a:cubicBezTo>
                    <a:cubicBezTo>
                      <a:pt x="551" y="359"/>
                      <a:pt x="550" y="359"/>
                      <a:pt x="550" y="360"/>
                    </a:cubicBezTo>
                    <a:cubicBezTo>
                      <a:pt x="550" y="360"/>
                      <a:pt x="550" y="359"/>
                      <a:pt x="550" y="359"/>
                    </a:cubicBezTo>
                    <a:cubicBezTo>
                      <a:pt x="550" y="360"/>
                      <a:pt x="550" y="360"/>
                      <a:pt x="549" y="360"/>
                    </a:cubicBezTo>
                    <a:cubicBezTo>
                      <a:pt x="549" y="359"/>
                      <a:pt x="549" y="360"/>
                      <a:pt x="549" y="360"/>
                    </a:cubicBezTo>
                    <a:cubicBezTo>
                      <a:pt x="549" y="360"/>
                      <a:pt x="547" y="360"/>
                      <a:pt x="547" y="360"/>
                    </a:cubicBezTo>
                    <a:cubicBezTo>
                      <a:pt x="547" y="360"/>
                      <a:pt x="547" y="360"/>
                      <a:pt x="547" y="361"/>
                    </a:cubicBezTo>
                    <a:cubicBezTo>
                      <a:pt x="547" y="361"/>
                      <a:pt x="546" y="361"/>
                      <a:pt x="546" y="361"/>
                    </a:cubicBezTo>
                    <a:cubicBezTo>
                      <a:pt x="545" y="361"/>
                      <a:pt x="544" y="361"/>
                      <a:pt x="544" y="362"/>
                    </a:cubicBezTo>
                    <a:cubicBezTo>
                      <a:pt x="543" y="361"/>
                      <a:pt x="543" y="362"/>
                      <a:pt x="542" y="362"/>
                    </a:cubicBezTo>
                    <a:cubicBezTo>
                      <a:pt x="542" y="362"/>
                      <a:pt x="542" y="362"/>
                      <a:pt x="543" y="362"/>
                    </a:cubicBezTo>
                    <a:cubicBezTo>
                      <a:pt x="542" y="362"/>
                      <a:pt x="542" y="362"/>
                      <a:pt x="542" y="362"/>
                    </a:cubicBezTo>
                    <a:cubicBezTo>
                      <a:pt x="542" y="362"/>
                      <a:pt x="542" y="363"/>
                      <a:pt x="542" y="363"/>
                    </a:cubicBezTo>
                    <a:cubicBezTo>
                      <a:pt x="541" y="363"/>
                      <a:pt x="541" y="362"/>
                      <a:pt x="541" y="363"/>
                    </a:cubicBezTo>
                    <a:cubicBezTo>
                      <a:pt x="540" y="363"/>
                      <a:pt x="540" y="363"/>
                      <a:pt x="540" y="363"/>
                    </a:cubicBezTo>
                    <a:cubicBezTo>
                      <a:pt x="539" y="363"/>
                      <a:pt x="539" y="363"/>
                      <a:pt x="539" y="363"/>
                    </a:cubicBezTo>
                    <a:cubicBezTo>
                      <a:pt x="538" y="364"/>
                      <a:pt x="538" y="364"/>
                      <a:pt x="537" y="364"/>
                    </a:cubicBezTo>
                    <a:cubicBezTo>
                      <a:pt x="537" y="363"/>
                      <a:pt x="538" y="363"/>
                      <a:pt x="537" y="363"/>
                    </a:cubicBezTo>
                    <a:cubicBezTo>
                      <a:pt x="537" y="363"/>
                      <a:pt x="537" y="364"/>
                      <a:pt x="537" y="364"/>
                    </a:cubicBezTo>
                    <a:cubicBezTo>
                      <a:pt x="537" y="364"/>
                      <a:pt x="536" y="363"/>
                      <a:pt x="537" y="363"/>
                    </a:cubicBezTo>
                    <a:cubicBezTo>
                      <a:pt x="536" y="363"/>
                      <a:pt x="536" y="364"/>
                      <a:pt x="536" y="364"/>
                    </a:cubicBezTo>
                    <a:cubicBezTo>
                      <a:pt x="536" y="364"/>
                      <a:pt x="536" y="364"/>
                      <a:pt x="536" y="364"/>
                    </a:cubicBezTo>
                    <a:cubicBezTo>
                      <a:pt x="536" y="364"/>
                      <a:pt x="536" y="364"/>
                      <a:pt x="535" y="364"/>
                    </a:cubicBezTo>
                    <a:cubicBezTo>
                      <a:pt x="535" y="364"/>
                      <a:pt x="535" y="364"/>
                      <a:pt x="535" y="363"/>
                    </a:cubicBezTo>
                    <a:cubicBezTo>
                      <a:pt x="535" y="364"/>
                      <a:pt x="535" y="364"/>
                      <a:pt x="534" y="365"/>
                    </a:cubicBezTo>
                    <a:cubicBezTo>
                      <a:pt x="534" y="365"/>
                      <a:pt x="533" y="364"/>
                      <a:pt x="534" y="364"/>
                    </a:cubicBezTo>
                    <a:cubicBezTo>
                      <a:pt x="534" y="364"/>
                      <a:pt x="533" y="364"/>
                      <a:pt x="533" y="364"/>
                    </a:cubicBezTo>
                    <a:cubicBezTo>
                      <a:pt x="534" y="365"/>
                      <a:pt x="533" y="365"/>
                      <a:pt x="532" y="364"/>
                    </a:cubicBezTo>
                    <a:cubicBezTo>
                      <a:pt x="532" y="364"/>
                      <a:pt x="532" y="364"/>
                      <a:pt x="532" y="364"/>
                    </a:cubicBezTo>
                    <a:cubicBezTo>
                      <a:pt x="531" y="364"/>
                      <a:pt x="532" y="364"/>
                      <a:pt x="532" y="364"/>
                    </a:cubicBezTo>
                    <a:cubicBezTo>
                      <a:pt x="532" y="364"/>
                      <a:pt x="532" y="365"/>
                      <a:pt x="532" y="365"/>
                    </a:cubicBezTo>
                    <a:cubicBezTo>
                      <a:pt x="532" y="365"/>
                      <a:pt x="532" y="366"/>
                      <a:pt x="532" y="366"/>
                    </a:cubicBezTo>
                    <a:cubicBezTo>
                      <a:pt x="532" y="366"/>
                      <a:pt x="531" y="367"/>
                      <a:pt x="531" y="366"/>
                    </a:cubicBezTo>
                    <a:cubicBezTo>
                      <a:pt x="531" y="366"/>
                      <a:pt x="531" y="366"/>
                      <a:pt x="531" y="367"/>
                    </a:cubicBezTo>
                    <a:cubicBezTo>
                      <a:pt x="531" y="366"/>
                      <a:pt x="531" y="366"/>
                      <a:pt x="531" y="366"/>
                    </a:cubicBezTo>
                    <a:cubicBezTo>
                      <a:pt x="530" y="366"/>
                      <a:pt x="530" y="367"/>
                      <a:pt x="530" y="366"/>
                    </a:cubicBezTo>
                    <a:cubicBezTo>
                      <a:pt x="530" y="366"/>
                      <a:pt x="530" y="366"/>
                      <a:pt x="529" y="366"/>
                    </a:cubicBezTo>
                    <a:cubicBezTo>
                      <a:pt x="529" y="366"/>
                      <a:pt x="529" y="366"/>
                      <a:pt x="530" y="366"/>
                    </a:cubicBezTo>
                    <a:cubicBezTo>
                      <a:pt x="529" y="366"/>
                      <a:pt x="528" y="366"/>
                      <a:pt x="528" y="366"/>
                    </a:cubicBezTo>
                    <a:cubicBezTo>
                      <a:pt x="528" y="365"/>
                      <a:pt x="529" y="364"/>
                      <a:pt x="529" y="364"/>
                    </a:cubicBezTo>
                    <a:cubicBezTo>
                      <a:pt x="529" y="364"/>
                      <a:pt x="528" y="364"/>
                      <a:pt x="528" y="364"/>
                    </a:cubicBezTo>
                    <a:cubicBezTo>
                      <a:pt x="527" y="365"/>
                      <a:pt x="528" y="365"/>
                      <a:pt x="528" y="366"/>
                    </a:cubicBezTo>
                    <a:cubicBezTo>
                      <a:pt x="527" y="366"/>
                      <a:pt x="527" y="367"/>
                      <a:pt x="527" y="366"/>
                    </a:cubicBezTo>
                    <a:cubicBezTo>
                      <a:pt x="527" y="366"/>
                      <a:pt x="527" y="365"/>
                      <a:pt x="526" y="365"/>
                    </a:cubicBezTo>
                    <a:cubicBezTo>
                      <a:pt x="526" y="365"/>
                      <a:pt x="526" y="365"/>
                      <a:pt x="526" y="365"/>
                    </a:cubicBezTo>
                    <a:cubicBezTo>
                      <a:pt x="526" y="366"/>
                      <a:pt x="526" y="365"/>
                      <a:pt x="525" y="365"/>
                    </a:cubicBezTo>
                    <a:cubicBezTo>
                      <a:pt x="525" y="366"/>
                      <a:pt x="525" y="366"/>
                      <a:pt x="525" y="366"/>
                    </a:cubicBezTo>
                    <a:cubicBezTo>
                      <a:pt x="525" y="366"/>
                      <a:pt x="524" y="367"/>
                      <a:pt x="525" y="367"/>
                    </a:cubicBezTo>
                    <a:cubicBezTo>
                      <a:pt x="525" y="367"/>
                      <a:pt x="525" y="367"/>
                      <a:pt x="525" y="367"/>
                    </a:cubicBezTo>
                    <a:cubicBezTo>
                      <a:pt x="525" y="367"/>
                      <a:pt x="525" y="367"/>
                      <a:pt x="525" y="367"/>
                    </a:cubicBezTo>
                    <a:cubicBezTo>
                      <a:pt x="525" y="367"/>
                      <a:pt x="524" y="367"/>
                      <a:pt x="524" y="367"/>
                    </a:cubicBezTo>
                    <a:cubicBezTo>
                      <a:pt x="524" y="367"/>
                      <a:pt x="524" y="368"/>
                      <a:pt x="524" y="368"/>
                    </a:cubicBezTo>
                    <a:cubicBezTo>
                      <a:pt x="524" y="368"/>
                      <a:pt x="524" y="368"/>
                      <a:pt x="524" y="368"/>
                    </a:cubicBezTo>
                    <a:cubicBezTo>
                      <a:pt x="525" y="368"/>
                      <a:pt x="525" y="368"/>
                      <a:pt x="524" y="368"/>
                    </a:cubicBezTo>
                    <a:cubicBezTo>
                      <a:pt x="525" y="368"/>
                      <a:pt x="525" y="368"/>
                      <a:pt x="525" y="368"/>
                    </a:cubicBezTo>
                    <a:cubicBezTo>
                      <a:pt x="524" y="369"/>
                      <a:pt x="524" y="368"/>
                      <a:pt x="523" y="368"/>
                    </a:cubicBezTo>
                    <a:cubicBezTo>
                      <a:pt x="524" y="368"/>
                      <a:pt x="523" y="369"/>
                      <a:pt x="522" y="369"/>
                    </a:cubicBezTo>
                    <a:cubicBezTo>
                      <a:pt x="522" y="370"/>
                      <a:pt x="521" y="370"/>
                      <a:pt x="521" y="370"/>
                    </a:cubicBezTo>
                    <a:cubicBezTo>
                      <a:pt x="521" y="370"/>
                      <a:pt x="522" y="370"/>
                      <a:pt x="521" y="370"/>
                    </a:cubicBezTo>
                    <a:cubicBezTo>
                      <a:pt x="521" y="371"/>
                      <a:pt x="520" y="371"/>
                      <a:pt x="520" y="371"/>
                    </a:cubicBezTo>
                    <a:cubicBezTo>
                      <a:pt x="521" y="371"/>
                      <a:pt x="518" y="372"/>
                      <a:pt x="518" y="372"/>
                    </a:cubicBezTo>
                    <a:cubicBezTo>
                      <a:pt x="518" y="372"/>
                      <a:pt x="518" y="372"/>
                      <a:pt x="518" y="372"/>
                    </a:cubicBezTo>
                    <a:cubicBezTo>
                      <a:pt x="518" y="373"/>
                      <a:pt x="518" y="373"/>
                      <a:pt x="518" y="373"/>
                    </a:cubicBezTo>
                    <a:cubicBezTo>
                      <a:pt x="518" y="373"/>
                      <a:pt x="518" y="373"/>
                      <a:pt x="517" y="373"/>
                    </a:cubicBezTo>
                    <a:cubicBezTo>
                      <a:pt x="517" y="373"/>
                      <a:pt x="518" y="374"/>
                      <a:pt x="517" y="373"/>
                    </a:cubicBezTo>
                    <a:cubicBezTo>
                      <a:pt x="517" y="373"/>
                      <a:pt x="517" y="373"/>
                      <a:pt x="517" y="373"/>
                    </a:cubicBezTo>
                    <a:cubicBezTo>
                      <a:pt x="517" y="373"/>
                      <a:pt x="517" y="374"/>
                      <a:pt x="517" y="374"/>
                    </a:cubicBezTo>
                    <a:cubicBezTo>
                      <a:pt x="516" y="374"/>
                      <a:pt x="516" y="374"/>
                      <a:pt x="516" y="373"/>
                    </a:cubicBezTo>
                    <a:cubicBezTo>
                      <a:pt x="516" y="374"/>
                      <a:pt x="516" y="374"/>
                      <a:pt x="515" y="375"/>
                    </a:cubicBezTo>
                    <a:cubicBezTo>
                      <a:pt x="515" y="374"/>
                      <a:pt x="515" y="374"/>
                      <a:pt x="515" y="374"/>
                    </a:cubicBezTo>
                    <a:cubicBezTo>
                      <a:pt x="515" y="374"/>
                      <a:pt x="515" y="375"/>
                      <a:pt x="515" y="375"/>
                    </a:cubicBezTo>
                    <a:cubicBezTo>
                      <a:pt x="514" y="375"/>
                      <a:pt x="515" y="374"/>
                      <a:pt x="515" y="374"/>
                    </a:cubicBezTo>
                    <a:cubicBezTo>
                      <a:pt x="514" y="375"/>
                      <a:pt x="515" y="374"/>
                      <a:pt x="514" y="374"/>
                    </a:cubicBezTo>
                    <a:cubicBezTo>
                      <a:pt x="514" y="374"/>
                      <a:pt x="514" y="375"/>
                      <a:pt x="514" y="375"/>
                    </a:cubicBezTo>
                    <a:cubicBezTo>
                      <a:pt x="513" y="376"/>
                      <a:pt x="513" y="374"/>
                      <a:pt x="513" y="374"/>
                    </a:cubicBezTo>
                    <a:cubicBezTo>
                      <a:pt x="513" y="374"/>
                      <a:pt x="513" y="374"/>
                      <a:pt x="513" y="375"/>
                    </a:cubicBezTo>
                    <a:cubicBezTo>
                      <a:pt x="513" y="375"/>
                      <a:pt x="513" y="375"/>
                      <a:pt x="513" y="375"/>
                    </a:cubicBezTo>
                    <a:cubicBezTo>
                      <a:pt x="512" y="376"/>
                      <a:pt x="513" y="376"/>
                      <a:pt x="512" y="376"/>
                    </a:cubicBezTo>
                    <a:cubicBezTo>
                      <a:pt x="512" y="376"/>
                      <a:pt x="512" y="376"/>
                      <a:pt x="512" y="376"/>
                    </a:cubicBezTo>
                    <a:cubicBezTo>
                      <a:pt x="511" y="376"/>
                      <a:pt x="512" y="376"/>
                      <a:pt x="512" y="377"/>
                    </a:cubicBezTo>
                    <a:cubicBezTo>
                      <a:pt x="512" y="376"/>
                      <a:pt x="511" y="377"/>
                      <a:pt x="511" y="377"/>
                    </a:cubicBezTo>
                    <a:cubicBezTo>
                      <a:pt x="511" y="377"/>
                      <a:pt x="511" y="376"/>
                      <a:pt x="510" y="376"/>
                    </a:cubicBezTo>
                    <a:cubicBezTo>
                      <a:pt x="510" y="376"/>
                      <a:pt x="510" y="377"/>
                      <a:pt x="510" y="377"/>
                    </a:cubicBezTo>
                    <a:cubicBezTo>
                      <a:pt x="509" y="377"/>
                      <a:pt x="509" y="376"/>
                      <a:pt x="509" y="376"/>
                    </a:cubicBezTo>
                    <a:cubicBezTo>
                      <a:pt x="509" y="376"/>
                      <a:pt x="509" y="376"/>
                      <a:pt x="509" y="376"/>
                    </a:cubicBezTo>
                    <a:cubicBezTo>
                      <a:pt x="508" y="376"/>
                      <a:pt x="509" y="375"/>
                      <a:pt x="509" y="375"/>
                    </a:cubicBezTo>
                    <a:cubicBezTo>
                      <a:pt x="509" y="375"/>
                      <a:pt x="509" y="375"/>
                      <a:pt x="509" y="376"/>
                    </a:cubicBezTo>
                    <a:cubicBezTo>
                      <a:pt x="508" y="375"/>
                      <a:pt x="509" y="374"/>
                      <a:pt x="509" y="374"/>
                    </a:cubicBezTo>
                    <a:cubicBezTo>
                      <a:pt x="509" y="374"/>
                      <a:pt x="509" y="373"/>
                      <a:pt x="508" y="373"/>
                    </a:cubicBezTo>
                    <a:cubicBezTo>
                      <a:pt x="508" y="373"/>
                      <a:pt x="508" y="374"/>
                      <a:pt x="508" y="374"/>
                    </a:cubicBezTo>
                    <a:cubicBezTo>
                      <a:pt x="508" y="374"/>
                      <a:pt x="508" y="373"/>
                      <a:pt x="508" y="373"/>
                    </a:cubicBezTo>
                    <a:cubicBezTo>
                      <a:pt x="507" y="373"/>
                      <a:pt x="508" y="374"/>
                      <a:pt x="507" y="375"/>
                    </a:cubicBezTo>
                    <a:cubicBezTo>
                      <a:pt x="507" y="374"/>
                      <a:pt x="507" y="374"/>
                      <a:pt x="507" y="375"/>
                    </a:cubicBezTo>
                    <a:cubicBezTo>
                      <a:pt x="507" y="374"/>
                      <a:pt x="507" y="374"/>
                      <a:pt x="507" y="374"/>
                    </a:cubicBezTo>
                    <a:cubicBezTo>
                      <a:pt x="507" y="374"/>
                      <a:pt x="507" y="374"/>
                      <a:pt x="507" y="374"/>
                    </a:cubicBezTo>
                    <a:cubicBezTo>
                      <a:pt x="506" y="374"/>
                      <a:pt x="506" y="374"/>
                      <a:pt x="506" y="374"/>
                    </a:cubicBezTo>
                    <a:cubicBezTo>
                      <a:pt x="506" y="374"/>
                      <a:pt x="506" y="373"/>
                      <a:pt x="507" y="373"/>
                    </a:cubicBezTo>
                    <a:cubicBezTo>
                      <a:pt x="507" y="373"/>
                      <a:pt x="507" y="373"/>
                      <a:pt x="506" y="373"/>
                    </a:cubicBezTo>
                    <a:cubicBezTo>
                      <a:pt x="506" y="373"/>
                      <a:pt x="507" y="372"/>
                      <a:pt x="507" y="371"/>
                    </a:cubicBezTo>
                    <a:cubicBezTo>
                      <a:pt x="507" y="371"/>
                      <a:pt x="507" y="370"/>
                      <a:pt x="507" y="370"/>
                    </a:cubicBezTo>
                    <a:cubicBezTo>
                      <a:pt x="508" y="369"/>
                      <a:pt x="509" y="368"/>
                      <a:pt x="510" y="367"/>
                    </a:cubicBezTo>
                    <a:cubicBezTo>
                      <a:pt x="510" y="366"/>
                      <a:pt x="511" y="366"/>
                      <a:pt x="511" y="366"/>
                    </a:cubicBezTo>
                    <a:cubicBezTo>
                      <a:pt x="511" y="366"/>
                      <a:pt x="512" y="365"/>
                      <a:pt x="511" y="365"/>
                    </a:cubicBezTo>
                    <a:cubicBezTo>
                      <a:pt x="510" y="365"/>
                      <a:pt x="509" y="367"/>
                      <a:pt x="508" y="367"/>
                    </a:cubicBezTo>
                    <a:cubicBezTo>
                      <a:pt x="508" y="366"/>
                      <a:pt x="510" y="365"/>
                      <a:pt x="511" y="365"/>
                    </a:cubicBezTo>
                    <a:cubicBezTo>
                      <a:pt x="511" y="365"/>
                      <a:pt x="513" y="364"/>
                      <a:pt x="513" y="364"/>
                    </a:cubicBezTo>
                    <a:cubicBezTo>
                      <a:pt x="513" y="364"/>
                      <a:pt x="513" y="364"/>
                      <a:pt x="513" y="365"/>
                    </a:cubicBezTo>
                    <a:cubicBezTo>
                      <a:pt x="513" y="365"/>
                      <a:pt x="516" y="363"/>
                      <a:pt x="516" y="363"/>
                    </a:cubicBezTo>
                    <a:cubicBezTo>
                      <a:pt x="516" y="363"/>
                      <a:pt x="513" y="364"/>
                      <a:pt x="513" y="364"/>
                    </a:cubicBezTo>
                    <a:cubicBezTo>
                      <a:pt x="513" y="364"/>
                      <a:pt x="515" y="363"/>
                      <a:pt x="515" y="363"/>
                    </a:cubicBezTo>
                    <a:cubicBezTo>
                      <a:pt x="516" y="362"/>
                      <a:pt x="517" y="362"/>
                      <a:pt x="518" y="361"/>
                    </a:cubicBezTo>
                    <a:cubicBezTo>
                      <a:pt x="520" y="360"/>
                      <a:pt x="522" y="359"/>
                      <a:pt x="524" y="359"/>
                    </a:cubicBezTo>
                    <a:cubicBezTo>
                      <a:pt x="525" y="358"/>
                      <a:pt x="526" y="358"/>
                      <a:pt x="527" y="358"/>
                    </a:cubicBezTo>
                    <a:cubicBezTo>
                      <a:pt x="527" y="357"/>
                      <a:pt x="527" y="357"/>
                      <a:pt x="527" y="357"/>
                    </a:cubicBezTo>
                    <a:cubicBezTo>
                      <a:pt x="527" y="357"/>
                      <a:pt x="528" y="357"/>
                      <a:pt x="528" y="358"/>
                    </a:cubicBezTo>
                    <a:cubicBezTo>
                      <a:pt x="527" y="358"/>
                      <a:pt x="527" y="359"/>
                      <a:pt x="527" y="359"/>
                    </a:cubicBezTo>
                    <a:cubicBezTo>
                      <a:pt x="528" y="359"/>
                      <a:pt x="529" y="360"/>
                      <a:pt x="528" y="361"/>
                    </a:cubicBezTo>
                    <a:cubicBezTo>
                      <a:pt x="529" y="360"/>
                      <a:pt x="529" y="360"/>
                      <a:pt x="529" y="360"/>
                    </a:cubicBezTo>
                    <a:cubicBezTo>
                      <a:pt x="528" y="359"/>
                      <a:pt x="529" y="359"/>
                      <a:pt x="529" y="359"/>
                    </a:cubicBezTo>
                    <a:cubicBezTo>
                      <a:pt x="530" y="358"/>
                      <a:pt x="531" y="358"/>
                      <a:pt x="532" y="358"/>
                    </a:cubicBezTo>
                    <a:cubicBezTo>
                      <a:pt x="532" y="357"/>
                      <a:pt x="535" y="356"/>
                      <a:pt x="535" y="357"/>
                    </a:cubicBezTo>
                    <a:cubicBezTo>
                      <a:pt x="536" y="357"/>
                      <a:pt x="536" y="357"/>
                      <a:pt x="536" y="357"/>
                    </a:cubicBezTo>
                    <a:cubicBezTo>
                      <a:pt x="535" y="357"/>
                      <a:pt x="534" y="356"/>
                      <a:pt x="532" y="356"/>
                    </a:cubicBezTo>
                    <a:cubicBezTo>
                      <a:pt x="532" y="357"/>
                      <a:pt x="532" y="356"/>
                      <a:pt x="532" y="356"/>
                    </a:cubicBezTo>
                    <a:cubicBezTo>
                      <a:pt x="531" y="356"/>
                      <a:pt x="531" y="356"/>
                      <a:pt x="531" y="356"/>
                    </a:cubicBezTo>
                    <a:cubicBezTo>
                      <a:pt x="530" y="356"/>
                      <a:pt x="529" y="356"/>
                      <a:pt x="529" y="356"/>
                    </a:cubicBezTo>
                    <a:cubicBezTo>
                      <a:pt x="528" y="356"/>
                      <a:pt x="527" y="356"/>
                      <a:pt x="527" y="356"/>
                    </a:cubicBezTo>
                    <a:cubicBezTo>
                      <a:pt x="526" y="356"/>
                      <a:pt x="526" y="356"/>
                      <a:pt x="525" y="356"/>
                    </a:cubicBezTo>
                    <a:cubicBezTo>
                      <a:pt x="525" y="357"/>
                      <a:pt x="525" y="357"/>
                      <a:pt x="525" y="357"/>
                    </a:cubicBezTo>
                    <a:cubicBezTo>
                      <a:pt x="525" y="357"/>
                      <a:pt x="524" y="357"/>
                      <a:pt x="524" y="357"/>
                    </a:cubicBezTo>
                    <a:cubicBezTo>
                      <a:pt x="524" y="357"/>
                      <a:pt x="523" y="357"/>
                      <a:pt x="523" y="357"/>
                    </a:cubicBezTo>
                    <a:cubicBezTo>
                      <a:pt x="523" y="356"/>
                      <a:pt x="524" y="356"/>
                      <a:pt x="525" y="355"/>
                    </a:cubicBezTo>
                    <a:cubicBezTo>
                      <a:pt x="524" y="355"/>
                      <a:pt x="526" y="355"/>
                      <a:pt x="526" y="355"/>
                    </a:cubicBezTo>
                    <a:cubicBezTo>
                      <a:pt x="527" y="354"/>
                      <a:pt x="528" y="354"/>
                      <a:pt x="528" y="353"/>
                    </a:cubicBezTo>
                    <a:cubicBezTo>
                      <a:pt x="529" y="353"/>
                      <a:pt x="530" y="351"/>
                      <a:pt x="530" y="352"/>
                    </a:cubicBezTo>
                    <a:cubicBezTo>
                      <a:pt x="530" y="352"/>
                      <a:pt x="530" y="352"/>
                      <a:pt x="530" y="352"/>
                    </a:cubicBezTo>
                    <a:cubicBezTo>
                      <a:pt x="530" y="352"/>
                      <a:pt x="530" y="352"/>
                      <a:pt x="530" y="352"/>
                    </a:cubicBezTo>
                    <a:cubicBezTo>
                      <a:pt x="530" y="352"/>
                      <a:pt x="531" y="352"/>
                      <a:pt x="530" y="351"/>
                    </a:cubicBezTo>
                    <a:cubicBezTo>
                      <a:pt x="530" y="351"/>
                      <a:pt x="530" y="351"/>
                      <a:pt x="530" y="351"/>
                    </a:cubicBezTo>
                    <a:cubicBezTo>
                      <a:pt x="530" y="352"/>
                      <a:pt x="528" y="353"/>
                      <a:pt x="528" y="353"/>
                    </a:cubicBezTo>
                    <a:cubicBezTo>
                      <a:pt x="528" y="352"/>
                      <a:pt x="528" y="352"/>
                      <a:pt x="529" y="352"/>
                    </a:cubicBezTo>
                    <a:cubicBezTo>
                      <a:pt x="529" y="351"/>
                      <a:pt x="528" y="351"/>
                      <a:pt x="528" y="351"/>
                    </a:cubicBezTo>
                    <a:cubicBezTo>
                      <a:pt x="528" y="351"/>
                      <a:pt x="528" y="349"/>
                      <a:pt x="527" y="349"/>
                    </a:cubicBezTo>
                    <a:cubicBezTo>
                      <a:pt x="528" y="349"/>
                      <a:pt x="527" y="350"/>
                      <a:pt x="528" y="350"/>
                    </a:cubicBezTo>
                    <a:cubicBezTo>
                      <a:pt x="528" y="351"/>
                      <a:pt x="528" y="351"/>
                      <a:pt x="528" y="352"/>
                    </a:cubicBezTo>
                    <a:cubicBezTo>
                      <a:pt x="528" y="352"/>
                      <a:pt x="527" y="352"/>
                      <a:pt x="527" y="353"/>
                    </a:cubicBezTo>
                    <a:cubicBezTo>
                      <a:pt x="527" y="353"/>
                      <a:pt x="526" y="353"/>
                      <a:pt x="526" y="353"/>
                    </a:cubicBezTo>
                    <a:cubicBezTo>
                      <a:pt x="526" y="354"/>
                      <a:pt x="525" y="354"/>
                      <a:pt x="525" y="354"/>
                    </a:cubicBezTo>
                    <a:cubicBezTo>
                      <a:pt x="524" y="354"/>
                      <a:pt x="524" y="354"/>
                      <a:pt x="523" y="354"/>
                    </a:cubicBezTo>
                    <a:cubicBezTo>
                      <a:pt x="522" y="355"/>
                      <a:pt x="521" y="355"/>
                      <a:pt x="520" y="356"/>
                    </a:cubicBezTo>
                    <a:cubicBezTo>
                      <a:pt x="519" y="356"/>
                      <a:pt x="518" y="357"/>
                      <a:pt x="516" y="357"/>
                    </a:cubicBezTo>
                    <a:cubicBezTo>
                      <a:pt x="516" y="357"/>
                      <a:pt x="515" y="358"/>
                      <a:pt x="515" y="358"/>
                    </a:cubicBezTo>
                    <a:cubicBezTo>
                      <a:pt x="515" y="358"/>
                      <a:pt x="514" y="358"/>
                      <a:pt x="514" y="358"/>
                    </a:cubicBezTo>
                    <a:cubicBezTo>
                      <a:pt x="513" y="358"/>
                      <a:pt x="512" y="357"/>
                      <a:pt x="512" y="357"/>
                    </a:cubicBezTo>
                    <a:cubicBezTo>
                      <a:pt x="513" y="357"/>
                      <a:pt x="514" y="357"/>
                      <a:pt x="514" y="356"/>
                    </a:cubicBezTo>
                    <a:cubicBezTo>
                      <a:pt x="514" y="356"/>
                      <a:pt x="513" y="356"/>
                      <a:pt x="513" y="357"/>
                    </a:cubicBezTo>
                    <a:cubicBezTo>
                      <a:pt x="513" y="357"/>
                      <a:pt x="512" y="357"/>
                      <a:pt x="512" y="357"/>
                    </a:cubicBezTo>
                    <a:cubicBezTo>
                      <a:pt x="511" y="357"/>
                      <a:pt x="513" y="358"/>
                      <a:pt x="513" y="358"/>
                    </a:cubicBezTo>
                    <a:cubicBezTo>
                      <a:pt x="513" y="358"/>
                      <a:pt x="511" y="359"/>
                      <a:pt x="511" y="359"/>
                    </a:cubicBezTo>
                    <a:cubicBezTo>
                      <a:pt x="511" y="358"/>
                      <a:pt x="511" y="358"/>
                      <a:pt x="510" y="358"/>
                    </a:cubicBezTo>
                    <a:cubicBezTo>
                      <a:pt x="510" y="358"/>
                      <a:pt x="511" y="358"/>
                      <a:pt x="511" y="358"/>
                    </a:cubicBezTo>
                    <a:cubicBezTo>
                      <a:pt x="511" y="359"/>
                      <a:pt x="509" y="360"/>
                      <a:pt x="509" y="360"/>
                    </a:cubicBezTo>
                    <a:cubicBezTo>
                      <a:pt x="509" y="359"/>
                      <a:pt x="509" y="359"/>
                      <a:pt x="508" y="359"/>
                    </a:cubicBezTo>
                    <a:cubicBezTo>
                      <a:pt x="508" y="359"/>
                      <a:pt x="507" y="359"/>
                      <a:pt x="507" y="360"/>
                    </a:cubicBezTo>
                    <a:cubicBezTo>
                      <a:pt x="507" y="360"/>
                      <a:pt x="505" y="360"/>
                      <a:pt x="506" y="360"/>
                    </a:cubicBezTo>
                    <a:cubicBezTo>
                      <a:pt x="506" y="360"/>
                      <a:pt x="505" y="360"/>
                      <a:pt x="505" y="360"/>
                    </a:cubicBezTo>
                    <a:cubicBezTo>
                      <a:pt x="505" y="359"/>
                      <a:pt x="505" y="359"/>
                      <a:pt x="505" y="359"/>
                    </a:cubicBezTo>
                    <a:cubicBezTo>
                      <a:pt x="505" y="359"/>
                      <a:pt x="505" y="358"/>
                      <a:pt x="504" y="359"/>
                    </a:cubicBezTo>
                    <a:cubicBezTo>
                      <a:pt x="504" y="359"/>
                      <a:pt x="504" y="359"/>
                      <a:pt x="504" y="360"/>
                    </a:cubicBezTo>
                    <a:cubicBezTo>
                      <a:pt x="503" y="359"/>
                      <a:pt x="503" y="357"/>
                      <a:pt x="503" y="358"/>
                    </a:cubicBezTo>
                    <a:cubicBezTo>
                      <a:pt x="502" y="359"/>
                      <a:pt x="502" y="358"/>
                      <a:pt x="502" y="358"/>
                    </a:cubicBezTo>
                    <a:cubicBezTo>
                      <a:pt x="502" y="359"/>
                      <a:pt x="502" y="359"/>
                      <a:pt x="501" y="359"/>
                    </a:cubicBezTo>
                    <a:cubicBezTo>
                      <a:pt x="500" y="358"/>
                      <a:pt x="502" y="357"/>
                      <a:pt x="501" y="356"/>
                    </a:cubicBezTo>
                    <a:cubicBezTo>
                      <a:pt x="501" y="355"/>
                      <a:pt x="501" y="355"/>
                      <a:pt x="502" y="355"/>
                    </a:cubicBezTo>
                    <a:cubicBezTo>
                      <a:pt x="502" y="355"/>
                      <a:pt x="503" y="354"/>
                      <a:pt x="502" y="354"/>
                    </a:cubicBezTo>
                    <a:cubicBezTo>
                      <a:pt x="502" y="354"/>
                      <a:pt x="501" y="354"/>
                      <a:pt x="500" y="354"/>
                    </a:cubicBezTo>
                    <a:cubicBezTo>
                      <a:pt x="500" y="353"/>
                      <a:pt x="500" y="353"/>
                      <a:pt x="500" y="353"/>
                    </a:cubicBezTo>
                    <a:cubicBezTo>
                      <a:pt x="499" y="353"/>
                      <a:pt x="500" y="352"/>
                      <a:pt x="500" y="352"/>
                    </a:cubicBezTo>
                    <a:cubicBezTo>
                      <a:pt x="500" y="351"/>
                      <a:pt x="500" y="351"/>
                      <a:pt x="501" y="351"/>
                    </a:cubicBezTo>
                    <a:cubicBezTo>
                      <a:pt x="501" y="350"/>
                      <a:pt x="501" y="349"/>
                      <a:pt x="501" y="349"/>
                    </a:cubicBezTo>
                    <a:cubicBezTo>
                      <a:pt x="502" y="348"/>
                      <a:pt x="502" y="347"/>
                      <a:pt x="502" y="346"/>
                    </a:cubicBezTo>
                    <a:cubicBezTo>
                      <a:pt x="503" y="344"/>
                      <a:pt x="504" y="342"/>
                      <a:pt x="504" y="340"/>
                    </a:cubicBezTo>
                    <a:cubicBezTo>
                      <a:pt x="504" y="340"/>
                      <a:pt x="505" y="339"/>
                      <a:pt x="505" y="338"/>
                    </a:cubicBezTo>
                    <a:cubicBezTo>
                      <a:pt x="505" y="338"/>
                      <a:pt x="505" y="338"/>
                      <a:pt x="505" y="338"/>
                    </a:cubicBezTo>
                    <a:cubicBezTo>
                      <a:pt x="504" y="338"/>
                      <a:pt x="505" y="337"/>
                      <a:pt x="504" y="337"/>
                    </a:cubicBezTo>
                    <a:cubicBezTo>
                      <a:pt x="504" y="337"/>
                      <a:pt x="504" y="337"/>
                      <a:pt x="504" y="337"/>
                    </a:cubicBezTo>
                    <a:cubicBezTo>
                      <a:pt x="504" y="336"/>
                      <a:pt x="504" y="336"/>
                      <a:pt x="503" y="336"/>
                    </a:cubicBezTo>
                    <a:cubicBezTo>
                      <a:pt x="503" y="335"/>
                      <a:pt x="502" y="335"/>
                      <a:pt x="502" y="335"/>
                    </a:cubicBezTo>
                    <a:cubicBezTo>
                      <a:pt x="501" y="335"/>
                      <a:pt x="501" y="336"/>
                      <a:pt x="501" y="336"/>
                    </a:cubicBezTo>
                    <a:cubicBezTo>
                      <a:pt x="500" y="336"/>
                      <a:pt x="500" y="336"/>
                      <a:pt x="499" y="336"/>
                    </a:cubicBezTo>
                    <a:cubicBezTo>
                      <a:pt x="499" y="336"/>
                      <a:pt x="498" y="336"/>
                      <a:pt x="498" y="336"/>
                    </a:cubicBezTo>
                    <a:cubicBezTo>
                      <a:pt x="497" y="337"/>
                      <a:pt x="496" y="337"/>
                      <a:pt x="496" y="337"/>
                    </a:cubicBezTo>
                    <a:cubicBezTo>
                      <a:pt x="495" y="336"/>
                      <a:pt x="495" y="336"/>
                      <a:pt x="496" y="335"/>
                    </a:cubicBezTo>
                    <a:cubicBezTo>
                      <a:pt x="496" y="335"/>
                      <a:pt x="496" y="334"/>
                      <a:pt x="496" y="334"/>
                    </a:cubicBezTo>
                    <a:cubicBezTo>
                      <a:pt x="495" y="334"/>
                      <a:pt x="495" y="334"/>
                      <a:pt x="494" y="334"/>
                    </a:cubicBezTo>
                    <a:cubicBezTo>
                      <a:pt x="494" y="334"/>
                      <a:pt x="493" y="335"/>
                      <a:pt x="492" y="336"/>
                    </a:cubicBezTo>
                    <a:cubicBezTo>
                      <a:pt x="492" y="336"/>
                      <a:pt x="491" y="337"/>
                      <a:pt x="490" y="337"/>
                    </a:cubicBezTo>
                    <a:cubicBezTo>
                      <a:pt x="489" y="339"/>
                      <a:pt x="487" y="340"/>
                      <a:pt x="485" y="341"/>
                    </a:cubicBezTo>
                    <a:cubicBezTo>
                      <a:pt x="485" y="342"/>
                      <a:pt x="484" y="343"/>
                      <a:pt x="484" y="343"/>
                    </a:cubicBezTo>
                    <a:cubicBezTo>
                      <a:pt x="484" y="344"/>
                      <a:pt x="483" y="345"/>
                      <a:pt x="483" y="345"/>
                    </a:cubicBezTo>
                    <a:cubicBezTo>
                      <a:pt x="482" y="346"/>
                      <a:pt x="480" y="347"/>
                      <a:pt x="480" y="348"/>
                    </a:cubicBezTo>
                    <a:cubicBezTo>
                      <a:pt x="480" y="348"/>
                      <a:pt x="480" y="349"/>
                      <a:pt x="479" y="349"/>
                    </a:cubicBezTo>
                    <a:cubicBezTo>
                      <a:pt x="479" y="350"/>
                      <a:pt x="479" y="350"/>
                      <a:pt x="479" y="350"/>
                    </a:cubicBezTo>
                    <a:cubicBezTo>
                      <a:pt x="480" y="351"/>
                      <a:pt x="477" y="351"/>
                      <a:pt x="477" y="352"/>
                    </a:cubicBezTo>
                    <a:cubicBezTo>
                      <a:pt x="477" y="353"/>
                      <a:pt x="475" y="353"/>
                      <a:pt x="474" y="354"/>
                    </a:cubicBezTo>
                    <a:cubicBezTo>
                      <a:pt x="474" y="354"/>
                      <a:pt x="473" y="355"/>
                      <a:pt x="473" y="355"/>
                    </a:cubicBezTo>
                    <a:cubicBezTo>
                      <a:pt x="474" y="356"/>
                      <a:pt x="474" y="356"/>
                      <a:pt x="473" y="356"/>
                    </a:cubicBezTo>
                    <a:cubicBezTo>
                      <a:pt x="473" y="356"/>
                      <a:pt x="473" y="356"/>
                      <a:pt x="472" y="356"/>
                    </a:cubicBezTo>
                    <a:cubicBezTo>
                      <a:pt x="472" y="356"/>
                      <a:pt x="472" y="357"/>
                      <a:pt x="471" y="358"/>
                    </a:cubicBezTo>
                    <a:cubicBezTo>
                      <a:pt x="471" y="358"/>
                      <a:pt x="471" y="357"/>
                      <a:pt x="471" y="357"/>
                    </a:cubicBezTo>
                    <a:cubicBezTo>
                      <a:pt x="470" y="357"/>
                      <a:pt x="469" y="357"/>
                      <a:pt x="469" y="357"/>
                    </a:cubicBezTo>
                    <a:cubicBezTo>
                      <a:pt x="469" y="358"/>
                      <a:pt x="468" y="358"/>
                      <a:pt x="468" y="357"/>
                    </a:cubicBezTo>
                    <a:cubicBezTo>
                      <a:pt x="467" y="357"/>
                      <a:pt x="466" y="358"/>
                      <a:pt x="466" y="358"/>
                    </a:cubicBezTo>
                    <a:cubicBezTo>
                      <a:pt x="466" y="358"/>
                      <a:pt x="466" y="358"/>
                      <a:pt x="466" y="359"/>
                    </a:cubicBezTo>
                    <a:cubicBezTo>
                      <a:pt x="466" y="359"/>
                      <a:pt x="465" y="359"/>
                      <a:pt x="465" y="359"/>
                    </a:cubicBezTo>
                    <a:cubicBezTo>
                      <a:pt x="464" y="360"/>
                      <a:pt x="465" y="360"/>
                      <a:pt x="464" y="360"/>
                    </a:cubicBezTo>
                    <a:cubicBezTo>
                      <a:pt x="462" y="360"/>
                      <a:pt x="460" y="360"/>
                      <a:pt x="458" y="360"/>
                    </a:cubicBezTo>
                    <a:cubicBezTo>
                      <a:pt x="454" y="360"/>
                      <a:pt x="450" y="360"/>
                      <a:pt x="446" y="360"/>
                    </a:cubicBezTo>
                    <a:cubicBezTo>
                      <a:pt x="444" y="360"/>
                      <a:pt x="442" y="361"/>
                      <a:pt x="440" y="361"/>
                    </a:cubicBezTo>
                    <a:cubicBezTo>
                      <a:pt x="438" y="360"/>
                      <a:pt x="436" y="360"/>
                      <a:pt x="434" y="361"/>
                    </a:cubicBezTo>
                    <a:cubicBezTo>
                      <a:pt x="432" y="361"/>
                      <a:pt x="429" y="363"/>
                      <a:pt x="427" y="365"/>
                    </a:cubicBezTo>
                    <a:cubicBezTo>
                      <a:pt x="426" y="365"/>
                      <a:pt x="425" y="366"/>
                      <a:pt x="425" y="366"/>
                    </a:cubicBezTo>
                    <a:cubicBezTo>
                      <a:pt x="424" y="366"/>
                      <a:pt x="423" y="367"/>
                      <a:pt x="422" y="367"/>
                    </a:cubicBezTo>
                    <a:cubicBezTo>
                      <a:pt x="420" y="368"/>
                      <a:pt x="418" y="369"/>
                      <a:pt x="416" y="369"/>
                    </a:cubicBezTo>
                    <a:cubicBezTo>
                      <a:pt x="415" y="369"/>
                      <a:pt x="414" y="370"/>
                      <a:pt x="412" y="371"/>
                    </a:cubicBezTo>
                    <a:cubicBezTo>
                      <a:pt x="412" y="370"/>
                      <a:pt x="412" y="370"/>
                      <a:pt x="413" y="370"/>
                    </a:cubicBezTo>
                    <a:cubicBezTo>
                      <a:pt x="413" y="370"/>
                      <a:pt x="414" y="370"/>
                      <a:pt x="414" y="369"/>
                    </a:cubicBezTo>
                    <a:cubicBezTo>
                      <a:pt x="414" y="369"/>
                      <a:pt x="412" y="370"/>
                      <a:pt x="412" y="370"/>
                    </a:cubicBezTo>
                    <a:cubicBezTo>
                      <a:pt x="412" y="369"/>
                      <a:pt x="413" y="369"/>
                      <a:pt x="413" y="369"/>
                    </a:cubicBezTo>
                    <a:cubicBezTo>
                      <a:pt x="412" y="369"/>
                      <a:pt x="412" y="370"/>
                      <a:pt x="411" y="369"/>
                    </a:cubicBezTo>
                    <a:cubicBezTo>
                      <a:pt x="411" y="369"/>
                      <a:pt x="410" y="369"/>
                      <a:pt x="410" y="370"/>
                    </a:cubicBezTo>
                    <a:cubicBezTo>
                      <a:pt x="409" y="370"/>
                      <a:pt x="408" y="370"/>
                      <a:pt x="407" y="370"/>
                    </a:cubicBezTo>
                    <a:cubicBezTo>
                      <a:pt x="408" y="370"/>
                      <a:pt x="408" y="370"/>
                      <a:pt x="409" y="370"/>
                    </a:cubicBezTo>
                    <a:cubicBezTo>
                      <a:pt x="409" y="370"/>
                      <a:pt x="409" y="370"/>
                      <a:pt x="410" y="370"/>
                    </a:cubicBezTo>
                    <a:cubicBezTo>
                      <a:pt x="410" y="370"/>
                      <a:pt x="410" y="370"/>
                      <a:pt x="410" y="370"/>
                    </a:cubicBezTo>
                    <a:cubicBezTo>
                      <a:pt x="410" y="370"/>
                      <a:pt x="410" y="370"/>
                      <a:pt x="411" y="370"/>
                    </a:cubicBezTo>
                    <a:cubicBezTo>
                      <a:pt x="411" y="370"/>
                      <a:pt x="412" y="370"/>
                      <a:pt x="412" y="369"/>
                    </a:cubicBezTo>
                    <a:cubicBezTo>
                      <a:pt x="412" y="370"/>
                      <a:pt x="411" y="370"/>
                      <a:pt x="411" y="371"/>
                    </a:cubicBezTo>
                    <a:cubicBezTo>
                      <a:pt x="412" y="371"/>
                      <a:pt x="412" y="371"/>
                      <a:pt x="413" y="371"/>
                    </a:cubicBezTo>
                    <a:cubicBezTo>
                      <a:pt x="413" y="371"/>
                      <a:pt x="413" y="370"/>
                      <a:pt x="414" y="370"/>
                    </a:cubicBezTo>
                    <a:cubicBezTo>
                      <a:pt x="414" y="371"/>
                      <a:pt x="411" y="371"/>
                      <a:pt x="411" y="372"/>
                    </a:cubicBezTo>
                    <a:cubicBezTo>
                      <a:pt x="412" y="372"/>
                      <a:pt x="413" y="372"/>
                      <a:pt x="413" y="372"/>
                    </a:cubicBezTo>
                    <a:cubicBezTo>
                      <a:pt x="413" y="372"/>
                      <a:pt x="412" y="372"/>
                      <a:pt x="412" y="372"/>
                    </a:cubicBezTo>
                    <a:cubicBezTo>
                      <a:pt x="412" y="372"/>
                      <a:pt x="411" y="373"/>
                      <a:pt x="411" y="373"/>
                    </a:cubicBezTo>
                    <a:cubicBezTo>
                      <a:pt x="410" y="373"/>
                      <a:pt x="409" y="373"/>
                      <a:pt x="410" y="372"/>
                    </a:cubicBezTo>
                    <a:cubicBezTo>
                      <a:pt x="410" y="372"/>
                      <a:pt x="409" y="373"/>
                      <a:pt x="409" y="372"/>
                    </a:cubicBezTo>
                    <a:cubicBezTo>
                      <a:pt x="409" y="372"/>
                      <a:pt x="409" y="372"/>
                      <a:pt x="410" y="372"/>
                    </a:cubicBezTo>
                    <a:cubicBezTo>
                      <a:pt x="409" y="372"/>
                      <a:pt x="408" y="372"/>
                      <a:pt x="407" y="372"/>
                    </a:cubicBezTo>
                    <a:cubicBezTo>
                      <a:pt x="407" y="372"/>
                      <a:pt x="407" y="371"/>
                      <a:pt x="407" y="371"/>
                    </a:cubicBezTo>
                    <a:cubicBezTo>
                      <a:pt x="407" y="371"/>
                      <a:pt x="406" y="371"/>
                      <a:pt x="406" y="371"/>
                    </a:cubicBezTo>
                    <a:cubicBezTo>
                      <a:pt x="406" y="371"/>
                      <a:pt x="406" y="371"/>
                      <a:pt x="406" y="371"/>
                    </a:cubicBezTo>
                    <a:cubicBezTo>
                      <a:pt x="406" y="372"/>
                      <a:pt x="405" y="371"/>
                      <a:pt x="405" y="371"/>
                    </a:cubicBezTo>
                    <a:cubicBezTo>
                      <a:pt x="404" y="371"/>
                      <a:pt x="403" y="372"/>
                      <a:pt x="403" y="372"/>
                    </a:cubicBezTo>
                    <a:cubicBezTo>
                      <a:pt x="402" y="372"/>
                      <a:pt x="401" y="372"/>
                      <a:pt x="400" y="372"/>
                    </a:cubicBezTo>
                    <a:cubicBezTo>
                      <a:pt x="400" y="372"/>
                      <a:pt x="399" y="372"/>
                      <a:pt x="398" y="372"/>
                    </a:cubicBezTo>
                    <a:cubicBezTo>
                      <a:pt x="397" y="372"/>
                      <a:pt x="397" y="373"/>
                      <a:pt x="396" y="373"/>
                    </a:cubicBezTo>
                    <a:cubicBezTo>
                      <a:pt x="395" y="373"/>
                      <a:pt x="395" y="373"/>
                      <a:pt x="394" y="373"/>
                    </a:cubicBezTo>
                    <a:cubicBezTo>
                      <a:pt x="393" y="373"/>
                      <a:pt x="392" y="374"/>
                      <a:pt x="391" y="374"/>
                    </a:cubicBezTo>
                    <a:cubicBezTo>
                      <a:pt x="390" y="375"/>
                      <a:pt x="389" y="375"/>
                      <a:pt x="387" y="376"/>
                    </a:cubicBezTo>
                    <a:cubicBezTo>
                      <a:pt x="387" y="377"/>
                      <a:pt x="387" y="377"/>
                      <a:pt x="386" y="378"/>
                    </a:cubicBezTo>
                    <a:cubicBezTo>
                      <a:pt x="386" y="378"/>
                      <a:pt x="385" y="378"/>
                      <a:pt x="385" y="379"/>
                    </a:cubicBezTo>
                    <a:cubicBezTo>
                      <a:pt x="384" y="380"/>
                      <a:pt x="386" y="380"/>
                      <a:pt x="387" y="380"/>
                    </a:cubicBezTo>
                    <a:cubicBezTo>
                      <a:pt x="388" y="380"/>
                      <a:pt x="389" y="380"/>
                      <a:pt x="391" y="379"/>
                    </a:cubicBezTo>
                    <a:cubicBezTo>
                      <a:pt x="391" y="380"/>
                      <a:pt x="390" y="380"/>
                      <a:pt x="390" y="381"/>
                    </a:cubicBezTo>
                    <a:cubicBezTo>
                      <a:pt x="390" y="381"/>
                      <a:pt x="390" y="382"/>
                      <a:pt x="390" y="382"/>
                    </a:cubicBezTo>
                    <a:cubicBezTo>
                      <a:pt x="390" y="382"/>
                      <a:pt x="391" y="383"/>
                      <a:pt x="390" y="383"/>
                    </a:cubicBezTo>
                    <a:cubicBezTo>
                      <a:pt x="389" y="384"/>
                      <a:pt x="389" y="384"/>
                      <a:pt x="388" y="384"/>
                    </a:cubicBezTo>
                    <a:cubicBezTo>
                      <a:pt x="387" y="383"/>
                      <a:pt x="386" y="384"/>
                      <a:pt x="385" y="384"/>
                    </a:cubicBezTo>
                    <a:cubicBezTo>
                      <a:pt x="384" y="384"/>
                      <a:pt x="384" y="384"/>
                      <a:pt x="383" y="384"/>
                    </a:cubicBezTo>
                    <a:cubicBezTo>
                      <a:pt x="383" y="384"/>
                      <a:pt x="382" y="384"/>
                      <a:pt x="381" y="384"/>
                    </a:cubicBezTo>
                    <a:cubicBezTo>
                      <a:pt x="380" y="384"/>
                      <a:pt x="379" y="384"/>
                      <a:pt x="378" y="385"/>
                    </a:cubicBezTo>
                    <a:cubicBezTo>
                      <a:pt x="377" y="385"/>
                      <a:pt x="377" y="386"/>
                      <a:pt x="376" y="386"/>
                    </a:cubicBezTo>
                    <a:cubicBezTo>
                      <a:pt x="376" y="386"/>
                      <a:pt x="375" y="386"/>
                      <a:pt x="376" y="386"/>
                    </a:cubicBezTo>
                    <a:cubicBezTo>
                      <a:pt x="376" y="387"/>
                      <a:pt x="376" y="386"/>
                      <a:pt x="376" y="387"/>
                    </a:cubicBezTo>
                    <a:cubicBezTo>
                      <a:pt x="377" y="387"/>
                      <a:pt x="377" y="387"/>
                      <a:pt x="377" y="387"/>
                    </a:cubicBezTo>
                    <a:cubicBezTo>
                      <a:pt x="378" y="387"/>
                      <a:pt x="378" y="387"/>
                      <a:pt x="379" y="387"/>
                    </a:cubicBezTo>
                    <a:cubicBezTo>
                      <a:pt x="378" y="387"/>
                      <a:pt x="377" y="387"/>
                      <a:pt x="376" y="387"/>
                    </a:cubicBezTo>
                    <a:cubicBezTo>
                      <a:pt x="375" y="387"/>
                      <a:pt x="375" y="387"/>
                      <a:pt x="374" y="387"/>
                    </a:cubicBezTo>
                    <a:cubicBezTo>
                      <a:pt x="372" y="386"/>
                      <a:pt x="371" y="386"/>
                      <a:pt x="369" y="386"/>
                    </a:cubicBezTo>
                    <a:cubicBezTo>
                      <a:pt x="367" y="386"/>
                      <a:pt x="366" y="387"/>
                      <a:pt x="364" y="388"/>
                    </a:cubicBezTo>
                    <a:cubicBezTo>
                      <a:pt x="364" y="388"/>
                      <a:pt x="363" y="389"/>
                      <a:pt x="362" y="389"/>
                    </a:cubicBezTo>
                    <a:cubicBezTo>
                      <a:pt x="362" y="390"/>
                      <a:pt x="362" y="390"/>
                      <a:pt x="361" y="390"/>
                    </a:cubicBezTo>
                    <a:cubicBezTo>
                      <a:pt x="361" y="390"/>
                      <a:pt x="362" y="390"/>
                      <a:pt x="362" y="390"/>
                    </a:cubicBezTo>
                    <a:cubicBezTo>
                      <a:pt x="361" y="390"/>
                      <a:pt x="361" y="390"/>
                      <a:pt x="361" y="390"/>
                    </a:cubicBezTo>
                    <a:cubicBezTo>
                      <a:pt x="360" y="390"/>
                      <a:pt x="360" y="390"/>
                      <a:pt x="360" y="390"/>
                    </a:cubicBezTo>
                    <a:cubicBezTo>
                      <a:pt x="359" y="390"/>
                      <a:pt x="358" y="391"/>
                      <a:pt x="357" y="391"/>
                    </a:cubicBezTo>
                    <a:cubicBezTo>
                      <a:pt x="356" y="392"/>
                      <a:pt x="355" y="393"/>
                      <a:pt x="354" y="394"/>
                    </a:cubicBezTo>
                    <a:cubicBezTo>
                      <a:pt x="354" y="392"/>
                      <a:pt x="353" y="393"/>
                      <a:pt x="352" y="393"/>
                    </a:cubicBezTo>
                    <a:cubicBezTo>
                      <a:pt x="351" y="393"/>
                      <a:pt x="351" y="393"/>
                      <a:pt x="350" y="393"/>
                    </a:cubicBezTo>
                    <a:cubicBezTo>
                      <a:pt x="349" y="392"/>
                      <a:pt x="350" y="391"/>
                      <a:pt x="350" y="391"/>
                    </a:cubicBezTo>
                    <a:cubicBezTo>
                      <a:pt x="350" y="390"/>
                      <a:pt x="351" y="390"/>
                      <a:pt x="352" y="390"/>
                    </a:cubicBezTo>
                    <a:cubicBezTo>
                      <a:pt x="352" y="389"/>
                      <a:pt x="353" y="390"/>
                      <a:pt x="354" y="390"/>
                    </a:cubicBezTo>
                    <a:cubicBezTo>
                      <a:pt x="356" y="390"/>
                      <a:pt x="358" y="390"/>
                      <a:pt x="358" y="388"/>
                    </a:cubicBezTo>
                    <a:cubicBezTo>
                      <a:pt x="358" y="388"/>
                      <a:pt x="356" y="387"/>
                      <a:pt x="356" y="387"/>
                    </a:cubicBezTo>
                    <a:cubicBezTo>
                      <a:pt x="356" y="387"/>
                      <a:pt x="357" y="386"/>
                      <a:pt x="357" y="386"/>
                    </a:cubicBezTo>
                    <a:cubicBezTo>
                      <a:pt x="358" y="385"/>
                      <a:pt x="358" y="384"/>
                      <a:pt x="359" y="384"/>
                    </a:cubicBezTo>
                    <a:cubicBezTo>
                      <a:pt x="359" y="383"/>
                      <a:pt x="360" y="382"/>
                      <a:pt x="361" y="382"/>
                    </a:cubicBezTo>
                    <a:cubicBezTo>
                      <a:pt x="362" y="382"/>
                      <a:pt x="363" y="381"/>
                      <a:pt x="364" y="381"/>
                    </a:cubicBezTo>
                    <a:cubicBezTo>
                      <a:pt x="364" y="380"/>
                      <a:pt x="365" y="380"/>
                      <a:pt x="366" y="379"/>
                    </a:cubicBezTo>
                    <a:cubicBezTo>
                      <a:pt x="367" y="379"/>
                      <a:pt x="368" y="378"/>
                      <a:pt x="368" y="377"/>
                    </a:cubicBezTo>
                    <a:cubicBezTo>
                      <a:pt x="369" y="376"/>
                      <a:pt x="369" y="375"/>
                      <a:pt x="369" y="374"/>
                    </a:cubicBezTo>
                    <a:cubicBezTo>
                      <a:pt x="370" y="373"/>
                      <a:pt x="370" y="373"/>
                      <a:pt x="371" y="371"/>
                    </a:cubicBezTo>
                    <a:cubicBezTo>
                      <a:pt x="371" y="371"/>
                      <a:pt x="371" y="370"/>
                      <a:pt x="372" y="370"/>
                    </a:cubicBezTo>
                    <a:cubicBezTo>
                      <a:pt x="372" y="369"/>
                      <a:pt x="373" y="369"/>
                      <a:pt x="373" y="369"/>
                    </a:cubicBezTo>
                    <a:cubicBezTo>
                      <a:pt x="373" y="368"/>
                      <a:pt x="373" y="368"/>
                      <a:pt x="374" y="368"/>
                    </a:cubicBezTo>
                    <a:cubicBezTo>
                      <a:pt x="374" y="367"/>
                      <a:pt x="375" y="367"/>
                      <a:pt x="376" y="366"/>
                    </a:cubicBezTo>
                    <a:cubicBezTo>
                      <a:pt x="376" y="366"/>
                      <a:pt x="377" y="365"/>
                      <a:pt x="378" y="364"/>
                    </a:cubicBezTo>
                    <a:cubicBezTo>
                      <a:pt x="378" y="364"/>
                      <a:pt x="378" y="364"/>
                      <a:pt x="378" y="363"/>
                    </a:cubicBezTo>
                    <a:cubicBezTo>
                      <a:pt x="378" y="363"/>
                      <a:pt x="378" y="363"/>
                      <a:pt x="378" y="363"/>
                    </a:cubicBezTo>
                    <a:cubicBezTo>
                      <a:pt x="378" y="362"/>
                      <a:pt x="378" y="362"/>
                      <a:pt x="378" y="362"/>
                    </a:cubicBezTo>
                    <a:cubicBezTo>
                      <a:pt x="378" y="362"/>
                      <a:pt x="378" y="362"/>
                      <a:pt x="378" y="361"/>
                    </a:cubicBezTo>
                    <a:cubicBezTo>
                      <a:pt x="378" y="361"/>
                      <a:pt x="379" y="360"/>
                      <a:pt x="378" y="361"/>
                    </a:cubicBezTo>
                    <a:cubicBezTo>
                      <a:pt x="378" y="360"/>
                      <a:pt x="377" y="359"/>
                      <a:pt x="378" y="358"/>
                    </a:cubicBezTo>
                    <a:cubicBezTo>
                      <a:pt x="377" y="359"/>
                      <a:pt x="376" y="358"/>
                      <a:pt x="378" y="358"/>
                    </a:cubicBezTo>
                    <a:cubicBezTo>
                      <a:pt x="377" y="358"/>
                      <a:pt x="380" y="358"/>
                      <a:pt x="380" y="358"/>
                    </a:cubicBezTo>
                    <a:cubicBezTo>
                      <a:pt x="381" y="358"/>
                      <a:pt x="380" y="358"/>
                      <a:pt x="380" y="359"/>
                    </a:cubicBezTo>
                    <a:cubicBezTo>
                      <a:pt x="380" y="359"/>
                      <a:pt x="380" y="359"/>
                      <a:pt x="380" y="359"/>
                    </a:cubicBezTo>
                    <a:cubicBezTo>
                      <a:pt x="380" y="360"/>
                      <a:pt x="380" y="360"/>
                      <a:pt x="380" y="361"/>
                    </a:cubicBezTo>
                    <a:cubicBezTo>
                      <a:pt x="380" y="360"/>
                      <a:pt x="380" y="360"/>
                      <a:pt x="380" y="361"/>
                    </a:cubicBezTo>
                    <a:cubicBezTo>
                      <a:pt x="380" y="361"/>
                      <a:pt x="381" y="361"/>
                      <a:pt x="380" y="361"/>
                    </a:cubicBezTo>
                    <a:cubicBezTo>
                      <a:pt x="380" y="361"/>
                      <a:pt x="381" y="361"/>
                      <a:pt x="381" y="361"/>
                    </a:cubicBezTo>
                    <a:cubicBezTo>
                      <a:pt x="381" y="361"/>
                      <a:pt x="381" y="361"/>
                      <a:pt x="381" y="361"/>
                    </a:cubicBezTo>
                    <a:cubicBezTo>
                      <a:pt x="382" y="361"/>
                      <a:pt x="382" y="361"/>
                      <a:pt x="382" y="361"/>
                    </a:cubicBezTo>
                    <a:cubicBezTo>
                      <a:pt x="381" y="361"/>
                      <a:pt x="381" y="362"/>
                      <a:pt x="381" y="362"/>
                    </a:cubicBezTo>
                    <a:cubicBezTo>
                      <a:pt x="381" y="362"/>
                      <a:pt x="379" y="363"/>
                      <a:pt x="379" y="363"/>
                    </a:cubicBezTo>
                    <a:cubicBezTo>
                      <a:pt x="380" y="363"/>
                      <a:pt x="381" y="362"/>
                      <a:pt x="382" y="363"/>
                    </a:cubicBezTo>
                    <a:cubicBezTo>
                      <a:pt x="382" y="363"/>
                      <a:pt x="381" y="364"/>
                      <a:pt x="380" y="365"/>
                    </a:cubicBezTo>
                    <a:cubicBezTo>
                      <a:pt x="381" y="365"/>
                      <a:pt x="382" y="363"/>
                      <a:pt x="383" y="363"/>
                    </a:cubicBezTo>
                    <a:cubicBezTo>
                      <a:pt x="384" y="364"/>
                      <a:pt x="383" y="364"/>
                      <a:pt x="383" y="364"/>
                    </a:cubicBezTo>
                    <a:cubicBezTo>
                      <a:pt x="384" y="365"/>
                      <a:pt x="384" y="365"/>
                      <a:pt x="384" y="365"/>
                    </a:cubicBezTo>
                    <a:cubicBezTo>
                      <a:pt x="385" y="365"/>
                      <a:pt x="386" y="366"/>
                      <a:pt x="387" y="366"/>
                    </a:cubicBezTo>
                    <a:cubicBezTo>
                      <a:pt x="388" y="367"/>
                      <a:pt x="388" y="365"/>
                      <a:pt x="389" y="364"/>
                    </a:cubicBezTo>
                    <a:cubicBezTo>
                      <a:pt x="389" y="364"/>
                      <a:pt x="389" y="364"/>
                      <a:pt x="388" y="363"/>
                    </a:cubicBezTo>
                    <a:cubicBezTo>
                      <a:pt x="388" y="363"/>
                      <a:pt x="389" y="362"/>
                      <a:pt x="389" y="362"/>
                    </a:cubicBezTo>
                    <a:cubicBezTo>
                      <a:pt x="390" y="362"/>
                      <a:pt x="391" y="362"/>
                      <a:pt x="390" y="363"/>
                    </a:cubicBezTo>
                    <a:cubicBezTo>
                      <a:pt x="391" y="362"/>
                      <a:pt x="390" y="363"/>
                      <a:pt x="390" y="363"/>
                    </a:cubicBezTo>
                    <a:cubicBezTo>
                      <a:pt x="391" y="363"/>
                      <a:pt x="392" y="363"/>
                      <a:pt x="392" y="363"/>
                    </a:cubicBezTo>
                    <a:cubicBezTo>
                      <a:pt x="392" y="363"/>
                      <a:pt x="393" y="362"/>
                      <a:pt x="393" y="362"/>
                    </a:cubicBezTo>
                    <a:cubicBezTo>
                      <a:pt x="392" y="362"/>
                      <a:pt x="392" y="363"/>
                      <a:pt x="392" y="362"/>
                    </a:cubicBezTo>
                    <a:cubicBezTo>
                      <a:pt x="392" y="362"/>
                      <a:pt x="392" y="361"/>
                      <a:pt x="392" y="361"/>
                    </a:cubicBezTo>
                    <a:cubicBezTo>
                      <a:pt x="391" y="361"/>
                      <a:pt x="391" y="361"/>
                      <a:pt x="391" y="361"/>
                    </a:cubicBezTo>
                    <a:cubicBezTo>
                      <a:pt x="391" y="361"/>
                      <a:pt x="391" y="361"/>
                      <a:pt x="391" y="360"/>
                    </a:cubicBezTo>
                    <a:cubicBezTo>
                      <a:pt x="391" y="360"/>
                      <a:pt x="390" y="360"/>
                      <a:pt x="390" y="359"/>
                    </a:cubicBezTo>
                    <a:cubicBezTo>
                      <a:pt x="390" y="359"/>
                      <a:pt x="391" y="359"/>
                      <a:pt x="391" y="359"/>
                    </a:cubicBezTo>
                    <a:cubicBezTo>
                      <a:pt x="391" y="359"/>
                      <a:pt x="391" y="358"/>
                      <a:pt x="390" y="358"/>
                    </a:cubicBezTo>
                    <a:cubicBezTo>
                      <a:pt x="390" y="358"/>
                      <a:pt x="391" y="358"/>
                      <a:pt x="391" y="357"/>
                    </a:cubicBezTo>
                    <a:cubicBezTo>
                      <a:pt x="392" y="357"/>
                      <a:pt x="392" y="356"/>
                      <a:pt x="391" y="356"/>
                    </a:cubicBezTo>
                    <a:cubicBezTo>
                      <a:pt x="390" y="356"/>
                      <a:pt x="391" y="357"/>
                      <a:pt x="390" y="357"/>
                    </a:cubicBezTo>
                    <a:cubicBezTo>
                      <a:pt x="389" y="357"/>
                      <a:pt x="390" y="356"/>
                      <a:pt x="390" y="356"/>
                    </a:cubicBezTo>
                    <a:cubicBezTo>
                      <a:pt x="390" y="356"/>
                      <a:pt x="389" y="356"/>
                      <a:pt x="389" y="356"/>
                    </a:cubicBezTo>
                    <a:cubicBezTo>
                      <a:pt x="389" y="356"/>
                      <a:pt x="389" y="355"/>
                      <a:pt x="390" y="355"/>
                    </a:cubicBezTo>
                    <a:cubicBezTo>
                      <a:pt x="390" y="355"/>
                      <a:pt x="390" y="354"/>
                      <a:pt x="390" y="354"/>
                    </a:cubicBezTo>
                    <a:cubicBezTo>
                      <a:pt x="390" y="354"/>
                      <a:pt x="389" y="355"/>
                      <a:pt x="389" y="354"/>
                    </a:cubicBezTo>
                    <a:cubicBezTo>
                      <a:pt x="389" y="354"/>
                      <a:pt x="389" y="354"/>
                      <a:pt x="389" y="354"/>
                    </a:cubicBezTo>
                    <a:cubicBezTo>
                      <a:pt x="389" y="353"/>
                      <a:pt x="389" y="354"/>
                      <a:pt x="389" y="353"/>
                    </a:cubicBezTo>
                    <a:cubicBezTo>
                      <a:pt x="389" y="353"/>
                      <a:pt x="388" y="353"/>
                      <a:pt x="388" y="353"/>
                    </a:cubicBezTo>
                    <a:cubicBezTo>
                      <a:pt x="388" y="352"/>
                      <a:pt x="389" y="352"/>
                      <a:pt x="389" y="352"/>
                    </a:cubicBezTo>
                    <a:cubicBezTo>
                      <a:pt x="388" y="352"/>
                      <a:pt x="388" y="351"/>
                      <a:pt x="389" y="351"/>
                    </a:cubicBezTo>
                    <a:cubicBezTo>
                      <a:pt x="388" y="351"/>
                      <a:pt x="388" y="350"/>
                      <a:pt x="388" y="351"/>
                    </a:cubicBezTo>
                    <a:cubicBezTo>
                      <a:pt x="388" y="351"/>
                      <a:pt x="388" y="350"/>
                      <a:pt x="388" y="350"/>
                    </a:cubicBezTo>
                    <a:cubicBezTo>
                      <a:pt x="388" y="350"/>
                      <a:pt x="385" y="350"/>
                      <a:pt x="385" y="350"/>
                    </a:cubicBezTo>
                    <a:cubicBezTo>
                      <a:pt x="385" y="350"/>
                      <a:pt x="385" y="350"/>
                      <a:pt x="385" y="350"/>
                    </a:cubicBezTo>
                    <a:cubicBezTo>
                      <a:pt x="385" y="350"/>
                      <a:pt x="385" y="350"/>
                      <a:pt x="384" y="350"/>
                    </a:cubicBezTo>
                    <a:cubicBezTo>
                      <a:pt x="384" y="350"/>
                      <a:pt x="385" y="350"/>
                      <a:pt x="385" y="350"/>
                    </a:cubicBezTo>
                    <a:cubicBezTo>
                      <a:pt x="385" y="350"/>
                      <a:pt x="384" y="350"/>
                      <a:pt x="384" y="350"/>
                    </a:cubicBezTo>
                    <a:cubicBezTo>
                      <a:pt x="384" y="350"/>
                      <a:pt x="383" y="350"/>
                      <a:pt x="383" y="350"/>
                    </a:cubicBezTo>
                    <a:cubicBezTo>
                      <a:pt x="383" y="350"/>
                      <a:pt x="382" y="350"/>
                      <a:pt x="382" y="350"/>
                    </a:cubicBezTo>
                    <a:cubicBezTo>
                      <a:pt x="382" y="350"/>
                      <a:pt x="382" y="350"/>
                      <a:pt x="382" y="350"/>
                    </a:cubicBezTo>
                    <a:cubicBezTo>
                      <a:pt x="382" y="350"/>
                      <a:pt x="381" y="350"/>
                      <a:pt x="381" y="350"/>
                    </a:cubicBezTo>
                    <a:cubicBezTo>
                      <a:pt x="381" y="350"/>
                      <a:pt x="381" y="350"/>
                      <a:pt x="382" y="350"/>
                    </a:cubicBezTo>
                    <a:cubicBezTo>
                      <a:pt x="381" y="350"/>
                      <a:pt x="381" y="350"/>
                      <a:pt x="381" y="350"/>
                    </a:cubicBezTo>
                    <a:cubicBezTo>
                      <a:pt x="381" y="349"/>
                      <a:pt x="382" y="349"/>
                      <a:pt x="382" y="349"/>
                    </a:cubicBezTo>
                    <a:cubicBezTo>
                      <a:pt x="382" y="349"/>
                      <a:pt x="381" y="349"/>
                      <a:pt x="381" y="350"/>
                    </a:cubicBezTo>
                    <a:cubicBezTo>
                      <a:pt x="381" y="349"/>
                      <a:pt x="382" y="349"/>
                      <a:pt x="382" y="349"/>
                    </a:cubicBezTo>
                    <a:cubicBezTo>
                      <a:pt x="382" y="348"/>
                      <a:pt x="381" y="349"/>
                      <a:pt x="381" y="349"/>
                    </a:cubicBezTo>
                    <a:cubicBezTo>
                      <a:pt x="381" y="349"/>
                      <a:pt x="381" y="349"/>
                      <a:pt x="380" y="349"/>
                    </a:cubicBezTo>
                    <a:cubicBezTo>
                      <a:pt x="380" y="349"/>
                      <a:pt x="380" y="349"/>
                      <a:pt x="380" y="350"/>
                    </a:cubicBezTo>
                    <a:cubicBezTo>
                      <a:pt x="380" y="349"/>
                      <a:pt x="380" y="349"/>
                      <a:pt x="381" y="349"/>
                    </a:cubicBezTo>
                    <a:cubicBezTo>
                      <a:pt x="380" y="348"/>
                      <a:pt x="380" y="349"/>
                      <a:pt x="379" y="349"/>
                    </a:cubicBezTo>
                    <a:cubicBezTo>
                      <a:pt x="379" y="349"/>
                      <a:pt x="378" y="348"/>
                      <a:pt x="378" y="348"/>
                    </a:cubicBezTo>
                    <a:cubicBezTo>
                      <a:pt x="377" y="348"/>
                      <a:pt x="376" y="348"/>
                      <a:pt x="375" y="348"/>
                    </a:cubicBezTo>
                    <a:cubicBezTo>
                      <a:pt x="376" y="348"/>
                      <a:pt x="376" y="348"/>
                      <a:pt x="376" y="348"/>
                    </a:cubicBezTo>
                    <a:cubicBezTo>
                      <a:pt x="376" y="348"/>
                      <a:pt x="373" y="348"/>
                      <a:pt x="373" y="348"/>
                    </a:cubicBezTo>
                    <a:cubicBezTo>
                      <a:pt x="373" y="348"/>
                      <a:pt x="373" y="347"/>
                      <a:pt x="373" y="347"/>
                    </a:cubicBezTo>
                    <a:cubicBezTo>
                      <a:pt x="372" y="347"/>
                      <a:pt x="371" y="348"/>
                      <a:pt x="370" y="348"/>
                    </a:cubicBezTo>
                    <a:cubicBezTo>
                      <a:pt x="369" y="348"/>
                      <a:pt x="367" y="347"/>
                      <a:pt x="366" y="347"/>
                    </a:cubicBezTo>
                    <a:cubicBezTo>
                      <a:pt x="366" y="347"/>
                      <a:pt x="366" y="347"/>
                      <a:pt x="366" y="347"/>
                    </a:cubicBezTo>
                    <a:cubicBezTo>
                      <a:pt x="365" y="347"/>
                      <a:pt x="365" y="347"/>
                      <a:pt x="365" y="347"/>
                    </a:cubicBezTo>
                    <a:cubicBezTo>
                      <a:pt x="365" y="347"/>
                      <a:pt x="364" y="347"/>
                      <a:pt x="363" y="347"/>
                    </a:cubicBezTo>
                    <a:cubicBezTo>
                      <a:pt x="363" y="346"/>
                      <a:pt x="363" y="346"/>
                      <a:pt x="363" y="346"/>
                    </a:cubicBezTo>
                    <a:cubicBezTo>
                      <a:pt x="362" y="346"/>
                      <a:pt x="361" y="346"/>
                      <a:pt x="361" y="346"/>
                    </a:cubicBezTo>
                    <a:cubicBezTo>
                      <a:pt x="361" y="345"/>
                      <a:pt x="362" y="345"/>
                      <a:pt x="362" y="345"/>
                    </a:cubicBezTo>
                    <a:cubicBezTo>
                      <a:pt x="362" y="344"/>
                      <a:pt x="362" y="344"/>
                      <a:pt x="362" y="344"/>
                    </a:cubicBezTo>
                    <a:cubicBezTo>
                      <a:pt x="361" y="344"/>
                      <a:pt x="360" y="344"/>
                      <a:pt x="360" y="344"/>
                    </a:cubicBezTo>
                    <a:cubicBezTo>
                      <a:pt x="359" y="344"/>
                      <a:pt x="359" y="344"/>
                      <a:pt x="359" y="345"/>
                    </a:cubicBezTo>
                    <a:cubicBezTo>
                      <a:pt x="358" y="345"/>
                      <a:pt x="358" y="343"/>
                      <a:pt x="359" y="343"/>
                    </a:cubicBezTo>
                    <a:cubicBezTo>
                      <a:pt x="359" y="343"/>
                      <a:pt x="360" y="343"/>
                      <a:pt x="360" y="342"/>
                    </a:cubicBezTo>
                    <a:cubicBezTo>
                      <a:pt x="360" y="342"/>
                      <a:pt x="361" y="341"/>
                      <a:pt x="360" y="342"/>
                    </a:cubicBezTo>
                    <a:cubicBezTo>
                      <a:pt x="360" y="342"/>
                      <a:pt x="360" y="342"/>
                      <a:pt x="359" y="342"/>
                    </a:cubicBezTo>
                    <a:cubicBezTo>
                      <a:pt x="359" y="341"/>
                      <a:pt x="361" y="341"/>
                      <a:pt x="361" y="341"/>
                    </a:cubicBezTo>
                    <a:cubicBezTo>
                      <a:pt x="362" y="341"/>
                      <a:pt x="362" y="340"/>
                      <a:pt x="361" y="340"/>
                    </a:cubicBezTo>
                    <a:cubicBezTo>
                      <a:pt x="360" y="339"/>
                      <a:pt x="360" y="340"/>
                      <a:pt x="360" y="340"/>
                    </a:cubicBezTo>
                    <a:cubicBezTo>
                      <a:pt x="360" y="340"/>
                      <a:pt x="360" y="340"/>
                      <a:pt x="360" y="339"/>
                    </a:cubicBezTo>
                    <a:cubicBezTo>
                      <a:pt x="359" y="339"/>
                      <a:pt x="359" y="339"/>
                      <a:pt x="359" y="339"/>
                    </a:cubicBezTo>
                    <a:cubicBezTo>
                      <a:pt x="359" y="339"/>
                      <a:pt x="359" y="338"/>
                      <a:pt x="360" y="338"/>
                    </a:cubicBezTo>
                    <a:cubicBezTo>
                      <a:pt x="360" y="338"/>
                      <a:pt x="361" y="337"/>
                      <a:pt x="361" y="337"/>
                    </a:cubicBezTo>
                    <a:cubicBezTo>
                      <a:pt x="361" y="336"/>
                      <a:pt x="362" y="336"/>
                      <a:pt x="362" y="336"/>
                    </a:cubicBezTo>
                    <a:cubicBezTo>
                      <a:pt x="362" y="335"/>
                      <a:pt x="362" y="335"/>
                      <a:pt x="362" y="335"/>
                    </a:cubicBezTo>
                    <a:cubicBezTo>
                      <a:pt x="362" y="335"/>
                      <a:pt x="362" y="334"/>
                      <a:pt x="361" y="334"/>
                    </a:cubicBezTo>
                    <a:cubicBezTo>
                      <a:pt x="361" y="334"/>
                      <a:pt x="360" y="334"/>
                      <a:pt x="360" y="333"/>
                    </a:cubicBezTo>
                    <a:cubicBezTo>
                      <a:pt x="360" y="333"/>
                      <a:pt x="360" y="332"/>
                      <a:pt x="360" y="332"/>
                    </a:cubicBezTo>
                    <a:cubicBezTo>
                      <a:pt x="360" y="332"/>
                      <a:pt x="361" y="331"/>
                      <a:pt x="362" y="331"/>
                    </a:cubicBezTo>
                    <a:cubicBezTo>
                      <a:pt x="362" y="330"/>
                      <a:pt x="362" y="330"/>
                      <a:pt x="362" y="330"/>
                    </a:cubicBezTo>
                    <a:cubicBezTo>
                      <a:pt x="363" y="329"/>
                      <a:pt x="363" y="329"/>
                      <a:pt x="363" y="329"/>
                    </a:cubicBezTo>
                    <a:cubicBezTo>
                      <a:pt x="363" y="328"/>
                      <a:pt x="361" y="328"/>
                      <a:pt x="361" y="329"/>
                    </a:cubicBezTo>
                    <a:cubicBezTo>
                      <a:pt x="359" y="329"/>
                      <a:pt x="356" y="330"/>
                      <a:pt x="355" y="328"/>
                    </a:cubicBezTo>
                    <a:cubicBezTo>
                      <a:pt x="354" y="327"/>
                      <a:pt x="354" y="326"/>
                      <a:pt x="354" y="324"/>
                    </a:cubicBezTo>
                    <a:cubicBezTo>
                      <a:pt x="354" y="324"/>
                      <a:pt x="355" y="322"/>
                      <a:pt x="354" y="322"/>
                    </a:cubicBezTo>
                    <a:cubicBezTo>
                      <a:pt x="354" y="322"/>
                      <a:pt x="354" y="321"/>
                      <a:pt x="354" y="321"/>
                    </a:cubicBezTo>
                    <a:cubicBezTo>
                      <a:pt x="354" y="321"/>
                      <a:pt x="354" y="321"/>
                      <a:pt x="354" y="321"/>
                    </a:cubicBezTo>
                    <a:cubicBezTo>
                      <a:pt x="354" y="321"/>
                      <a:pt x="354" y="320"/>
                      <a:pt x="354" y="320"/>
                    </a:cubicBezTo>
                    <a:cubicBezTo>
                      <a:pt x="354" y="320"/>
                      <a:pt x="353" y="320"/>
                      <a:pt x="352" y="320"/>
                    </a:cubicBezTo>
                    <a:cubicBezTo>
                      <a:pt x="353" y="319"/>
                      <a:pt x="351" y="320"/>
                      <a:pt x="351" y="320"/>
                    </a:cubicBezTo>
                    <a:cubicBezTo>
                      <a:pt x="350" y="320"/>
                      <a:pt x="350" y="320"/>
                      <a:pt x="350" y="320"/>
                    </a:cubicBezTo>
                    <a:cubicBezTo>
                      <a:pt x="349" y="320"/>
                      <a:pt x="350" y="320"/>
                      <a:pt x="349" y="320"/>
                    </a:cubicBezTo>
                    <a:cubicBezTo>
                      <a:pt x="348" y="320"/>
                      <a:pt x="347" y="320"/>
                      <a:pt x="347" y="320"/>
                    </a:cubicBezTo>
                    <a:cubicBezTo>
                      <a:pt x="346" y="319"/>
                      <a:pt x="346" y="319"/>
                      <a:pt x="345" y="319"/>
                    </a:cubicBezTo>
                    <a:cubicBezTo>
                      <a:pt x="345" y="319"/>
                      <a:pt x="345" y="319"/>
                      <a:pt x="345" y="319"/>
                    </a:cubicBezTo>
                    <a:cubicBezTo>
                      <a:pt x="345" y="319"/>
                      <a:pt x="345" y="319"/>
                      <a:pt x="344" y="319"/>
                    </a:cubicBezTo>
                    <a:cubicBezTo>
                      <a:pt x="344" y="319"/>
                      <a:pt x="343" y="318"/>
                      <a:pt x="343" y="318"/>
                    </a:cubicBezTo>
                    <a:cubicBezTo>
                      <a:pt x="343" y="318"/>
                      <a:pt x="341" y="318"/>
                      <a:pt x="342" y="317"/>
                    </a:cubicBezTo>
                    <a:cubicBezTo>
                      <a:pt x="342" y="317"/>
                      <a:pt x="340" y="318"/>
                      <a:pt x="340" y="318"/>
                    </a:cubicBezTo>
                    <a:cubicBezTo>
                      <a:pt x="340" y="318"/>
                      <a:pt x="339" y="319"/>
                      <a:pt x="339" y="319"/>
                    </a:cubicBezTo>
                    <a:cubicBezTo>
                      <a:pt x="339" y="319"/>
                      <a:pt x="340" y="319"/>
                      <a:pt x="340" y="320"/>
                    </a:cubicBezTo>
                    <a:cubicBezTo>
                      <a:pt x="340" y="320"/>
                      <a:pt x="338" y="322"/>
                      <a:pt x="338" y="322"/>
                    </a:cubicBezTo>
                    <a:cubicBezTo>
                      <a:pt x="338" y="322"/>
                      <a:pt x="338" y="322"/>
                      <a:pt x="338" y="321"/>
                    </a:cubicBezTo>
                    <a:cubicBezTo>
                      <a:pt x="338" y="321"/>
                      <a:pt x="337" y="322"/>
                      <a:pt x="337" y="322"/>
                    </a:cubicBezTo>
                    <a:cubicBezTo>
                      <a:pt x="337" y="322"/>
                      <a:pt x="337" y="321"/>
                      <a:pt x="337" y="321"/>
                    </a:cubicBezTo>
                    <a:cubicBezTo>
                      <a:pt x="337" y="321"/>
                      <a:pt x="337" y="322"/>
                      <a:pt x="337" y="322"/>
                    </a:cubicBezTo>
                    <a:cubicBezTo>
                      <a:pt x="337" y="322"/>
                      <a:pt x="336" y="322"/>
                      <a:pt x="336" y="322"/>
                    </a:cubicBezTo>
                    <a:cubicBezTo>
                      <a:pt x="335" y="322"/>
                      <a:pt x="335" y="324"/>
                      <a:pt x="334" y="324"/>
                    </a:cubicBezTo>
                    <a:cubicBezTo>
                      <a:pt x="335" y="322"/>
                      <a:pt x="336" y="322"/>
                      <a:pt x="337" y="321"/>
                    </a:cubicBezTo>
                    <a:cubicBezTo>
                      <a:pt x="339" y="320"/>
                      <a:pt x="338" y="318"/>
                      <a:pt x="337" y="320"/>
                    </a:cubicBezTo>
                    <a:cubicBezTo>
                      <a:pt x="336" y="320"/>
                      <a:pt x="336" y="320"/>
                      <a:pt x="336" y="321"/>
                    </a:cubicBezTo>
                    <a:cubicBezTo>
                      <a:pt x="336" y="321"/>
                      <a:pt x="336" y="321"/>
                      <a:pt x="336" y="321"/>
                    </a:cubicBezTo>
                    <a:cubicBezTo>
                      <a:pt x="335" y="322"/>
                      <a:pt x="335" y="322"/>
                      <a:pt x="334" y="322"/>
                    </a:cubicBezTo>
                    <a:cubicBezTo>
                      <a:pt x="334" y="323"/>
                      <a:pt x="333" y="323"/>
                      <a:pt x="333" y="323"/>
                    </a:cubicBezTo>
                    <a:cubicBezTo>
                      <a:pt x="333" y="323"/>
                      <a:pt x="333" y="324"/>
                      <a:pt x="333" y="324"/>
                    </a:cubicBezTo>
                    <a:cubicBezTo>
                      <a:pt x="332" y="325"/>
                      <a:pt x="331" y="324"/>
                      <a:pt x="330" y="325"/>
                    </a:cubicBezTo>
                    <a:cubicBezTo>
                      <a:pt x="331" y="324"/>
                      <a:pt x="333" y="322"/>
                      <a:pt x="333" y="322"/>
                    </a:cubicBezTo>
                    <a:cubicBezTo>
                      <a:pt x="333" y="322"/>
                      <a:pt x="332" y="322"/>
                      <a:pt x="332" y="322"/>
                    </a:cubicBezTo>
                    <a:cubicBezTo>
                      <a:pt x="331" y="323"/>
                      <a:pt x="330" y="323"/>
                      <a:pt x="330" y="323"/>
                    </a:cubicBezTo>
                    <a:cubicBezTo>
                      <a:pt x="329" y="323"/>
                      <a:pt x="328" y="323"/>
                      <a:pt x="328" y="324"/>
                    </a:cubicBezTo>
                    <a:cubicBezTo>
                      <a:pt x="328" y="324"/>
                      <a:pt x="328" y="325"/>
                      <a:pt x="328" y="325"/>
                    </a:cubicBezTo>
                    <a:cubicBezTo>
                      <a:pt x="328" y="325"/>
                      <a:pt x="328" y="325"/>
                      <a:pt x="328" y="325"/>
                    </a:cubicBezTo>
                    <a:cubicBezTo>
                      <a:pt x="327" y="326"/>
                      <a:pt x="327" y="326"/>
                      <a:pt x="326" y="327"/>
                    </a:cubicBezTo>
                    <a:cubicBezTo>
                      <a:pt x="326" y="327"/>
                      <a:pt x="325" y="327"/>
                      <a:pt x="325" y="327"/>
                    </a:cubicBezTo>
                    <a:cubicBezTo>
                      <a:pt x="325" y="327"/>
                      <a:pt x="324" y="328"/>
                      <a:pt x="324" y="328"/>
                    </a:cubicBezTo>
                    <a:cubicBezTo>
                      <a:pt x="324" y="328"/>
                      <a:pt x="323" y="328"/>
                      <a:pt x="323" y="328"/>
                    </a:cubicBezTo>
                    <a:cubicBezTo>
                      <a:pt x="322" y="328"/>
                      <a:pt x="322" y="328"/>
                      <a:pt x="321" y="328"/>
                    </a:cubicBezTo>
                    <a:cubicBezTo>
                      <a:pt x="321" y="328"/>
                      <a:pt x="320" y="328"/>
                      <a:pt x="320" y="328"/>
                    </a:cubicBezTo>
                    <a:cubicBezTo>
                      <a:pt x="320" y="328"/>
                      <a:pt x="320" y="328"/>
                      <a:pt x="320" y="328"/>
                    </a:cubicBezTo>
                    <a:cubicBezTo>
                      <a:pt x="320" y="328"/>
                      <a:pt x="320" y="328"/>
                      <a:pt x="320" y="328"/>
                    </a:cubicBezTo>
                    <a:cubicBezTo>
                      <a:pt x="320" y="327"/>
                      <a:pt x="319" y="327"/>
                      <a:pt x="319" y="327"/>
                    </a:cubicBezTo>
                    <a:cubicBezTo>
                      <a:pt x="318" y="327"/>
                      <a:pt x="317" y="327"/>
                      <a:pt x="316" y="327"/>
                    </a:cubicBezTo>
                    <a:cubicBezTo>
                      <a:pt x="315" y="327"/>
                      <a:pt x="314" y="327"/>
                      <a:pt x="314" y="327"/>
                    </a:cubicBezTo>
                    <a:cubicBezTo>
                      <a:pt x="314" y="327"/>
                      <a:pt x="313" y="327"/>
                      <a:pt x="313" y="327"/>
                    </a:cubicBezTo>
                    <a:cubicBezTo>
                      <a:pt x="314" y="326"/>
                      <a:pt x="313" y="327"/>
                      <a:pt x="313" y="326"/>
                    </a:cubicBezTo>
                    <a:cubicBezTo>
                      <a:pt x="313" y="326"/>
                      <a:pt x="314" y="325"/>
                      <a:pt x="313" y="326"/>
                    </a:cubicBezTo>
                    <a:cubicBezTo>
                      <a:pt x="312" y="326"/>
                      <a:pt x="311" y="326"/>
                      <a:pt x="311" y="327"/>
                    </a:cubicBezTo>
                    <a:cubicBezTo>
                      <a:pt x="310" y="327"/>
                      <a:pt x="308" y="328"/>
                      <a:pt x="306" y="328"/>
                    </a:cubicBezTo>
                    <a:cubicBezTo>
                      <a:pt x="306" y="328"/>
                      <a:pt x="307" y="327"/>
                      <a:pt x="307" y="327"/>
                    </a:cubicBezTo>
                    <a:cubicBezTo>
                      <a:pt x="306" y="327"/>
                      <a:pt x="306" y="327"/>
                      <a:pt x="306" y="327"/>
                    </a:cubicBezTo>
                    <a:cubicBezTo>
                      <a:pt x="306" y="327"/>
                      <a:pt x="306" y="326"/>
                      <a:pt x="306" y="326"/>
                    </a:cubicBezTo>
                    <a:cubicBezTo>
                      <a:pt x="305" y="326"/>
                      <a:pt x="304" y="326"/>
                      <a:pt x="304" y="325"/>
                    </a:cubicBezTo>
                    <a:cubicBezTo>
                      <a:pt x="304" y="325"/>
                      <a:pt x="304" y="324"/>
                      <a:pt x="303" y="324"/>
                    </a:cubicBezTo>
                    <a:cubicBezTo>
                      <a:pt x="302" y="324"/>
                      <a:pt x="302" y="325"/>
                      <a:pt x="302" y="325"/>
                    </a:cubicBezTo>
                    <a:cubicBezTo>
                      <a:pt x="301" y="325"/>
                      <a:pt x="301" y="326"/>
                      <a:pt x="301" y="326"/>
                    </a:cubicBezTo>
                    <a:cubicBezTo>
                      <a:pt x="300" y="326"/>
                      <a:pt x="301" y="324"/>
                      <a:pt x="301" y="324"/>
                    </a:cubicBezTo>
                    <a:cubicBezTo>
                      <a:pt x="301" y="323"/>
                      <a:pt x="300" y="323"/>
                      <a:pt x="300" y="324"/>
                    </a:cubicBezTo>
                    <a:cubicBezTo>
                      <a:pt x="300" y="324"/>
                      <a:pt x="299" y="324"/>
                      <a:pt x="299" y="323"/>
                    </a:cubicBezTo>
                    <a:cubicBezTo>
                      <a:pt x="299" y="323"/>
                      <a:pt x="300" y="323"/>
                      <a:pt x="300" y="323"/>
                    </a:cubicBezTo>
                    <a:cubicBezTo>
                      <a:pt x="300" y="323"/>
                      <a:pt x="299" y="322"/>
                      <a:pt x="299" y="322"/>
                    </a:cubicBezTo>
                    <a:cubicBezTo>
                      <a:pt x="298" y="322"/>
                      <a:pt x="298" y="322"/>
                      <a:pt x="297" y="322"/>
                    </a:cubicBezTo>
                    <a:cubicBezTo>
                      <a:pt x="296" y="322"/>
                      <a:pt x="296" y="321"/>
                      <a:pt x="295" y="322"/>
                    </a:cubicBezTo>
                    <a:cubicBezTo>
                      <a:pt x="294" y="322"/>
                      <a:pt x="294" y="322"/>
                      <a:pt x="293" y="322"/>
                    </a:cubicBezTo>
                    <a:cubicBezTo>
                      <a:pt x="293" y="323"/>
                      <a:pt x="290" y="323"/>
                      <a:pt x="290" y="322"/>
                    </a:cubicBezTo>
                    <a:cubicBezTo>
                      <a:pt x="291" y="321"/>
                      <a:pt x="288" y="321"/>
                      <a:pt x="288" y="321"/>
                    </a:cubicBezTo>
                    <a:cubicBezTo>
                      <a:pt x="287" y="321"/>
                      <a:pt x="287" y="321"/>
                      <a:pt x="287" y="321"/>
                    </a:cubicBezTo>
                    <a:cubicBezTo>
                      <a:pt x="286" y="321"/>
                      <a:pt x="285" y="321"/>
                      <a:pt x="285" y="321"/>
                    </a:cubicBezTo>
                    <a:cubicBezTo>
                      <a:pt x="284" y="320"/>
                      <a:pt x="284" y="320"/>
                      <a:pt x="284" y="319"/>
                    </a:cubicBezTo>
                    <a:cubicBezTo>
                      <a:pt x="285" y="318"/>
                      <a:pt x="285" y="318"/>
                      <a:pt x="285" y="317"/>
                    </a:cubicBezTo>
                    <a:cubicBezTo>
                      <a:pt x="285" y="316"/>
                      <a:pt x="287" y="314"/>
                      <a:pt x="285" y="314"/>
                    </a:cubicBezTo>
                    <a:cubicBezTo>
                      <a:pt x="285" y="314"/>
                      <a:pt x="284" y="314"/>
                      <a:pt x="284" y="314"/>
                    </a:cubicBezTo>
                    <a:cubicBezTo>
                      <a:pt x="283" y="314"/>
                      <a:pt x="283" y="315"/>
                      <a:pt x="283" y="315"/>
                    </a:cubicBezTo>
                    <a:cubicBezTo>
                      <a:pt x="282" y="316"/>
                      <a:pt x="282" y="318"/>
                      <a:pt x="281" y="318"/>
                    </a:cubicBezTo>
                    <a:cubicBezTo>
                      <a:pt x="279" y="318"/>
                      <a:pt x="278" y="318"/>
                      <a:pt x="276" y="318"/>
                    </a:cubicBezTo>
                    <a:cubicBezTo>
                      <a:pt x="275" y="318"/>
                      <a:pt x="273" y="318"/>
                      <a:pt x="271" y="318"/>
                    </a:cubicBezTo>
                    <a:cubicBezTo>
                      <a:pt x="269" y="318"/>
                      <a:pt x="266" y="318"/>
                      <a:pt x="264" y="318"/>
                    </a:cubicBezTo>
                    <a:cubicBezTo>
                      <a:pt x="255" y="318"/>
                      <a:pt x="247" y="318"/>
                      <a:pt x="238" y="318"/>
                    </a:cubicBezTo>
                    <a:cubicBezTo>
                      <a:pt x="205" y="318"/>
                      <a:pt x="171" y="318"/>
                      <a:pt x="137" y="318"/>
                    </a:cubicBezTo>
                    <a:cubicBezTo>
                      <a:pt x="121" y="318"/>
                      <a:pt x="104" y="318"/>
                      <a:pt x="87" y="318"/>
                    </a:cubicBezTo>
                    <a:cubicBezTo>
                      <a:pt x="79" y="318"/>
                      <a:pt x="71" y="318"/>
                      <a:pt x="63" y="318"/>
                    </a:cubicBezTo>
                    <a:cubicBezTo>
                      <a:pt x="58" y="318"/>
                      <a:pt x="54" y="318"/>
                      <a:pt x="50" y="318"/>
                    </a:cubicBezTo>
                    <a:cubicBezTo>
                      <a:pt x="49" y="318"/>
                      <a:pt x="48" y="318"/>
                      <a:pt x="47" y="317"/>
                    </a:cubicBezTo>
                    <a:cubicBezTo>
                      <a:pt x="46" y="317"/>
                      <a:pt x="47" y="317"/>
                      <a:pt x="47" y="317"/>
                    </a:cubicBezTo>
                    <a:cubicBezTo>
                      <a:pt x="47" y="316"/>
                      <a:pt x="44" y="318"/>
                      <a:pt x="44" y="318"/>
                    </a:cubicBezTo>
                    <a:cubicBezTo>
                      <a:pt x="44" y="317"/>
                      <a:pt x="44" y="317"/>
                      <a:pt x="45" y="317"/>
                    </a:cubicBezTo>
                    <a:cubicBezTo>
                      <a:pt x="45" y="317"/>
                      <a:pt x="46" y="316"/>
                      <a:pt x="46" y="316"/>
                    </a:cubicBezTo>
                    <a:cubicBezTo>
                      <a:pt x="46" y="316"/>
                      <a:pt x="45" y="317"/>
                      <a:pt x="44" y="316"/>
                    </a:cubicBezTo>
                    <a:cubicBezTo>
                      <a:pt x="44" y="316"/>
                      <a:pt x="45" y="315"/>
                      <a:pt x="46" y="315"/>
                    </a:cubicBezTo>
                    <a:cubicBezTo>
                      <a:pt x="45" y="315"/>
                      <a:pt x="45" y="315"/>
                      <a:pt x="45" y="315"/>
                    </a:cubicBezTo>
                    <a:cubicBezTo>
                      <a:pt x="46" y="315"/>
                      <a:pt x="46" y="314"/>
                      <a:pt x="46" y="314"/>
                    </a:cubicBezTo>
                    <a:cubicBezTo>
                      <a:pt x="47" y="314"/>
                      <a:pt x="47" y="315"/>
                      <a:pt x="48" y="314"/>
                    </a:cubicBezTo>
                    <a:cubicBezTo>
                      <a:pt x="49" y="314"/>
                      <a:pt x="50" y="313"/>
                      <a:pt x="50" y="313"/>
                    </a:cubicBezTo>
                    <a:cubicBezTo>
                      <a:pt x="49" y="313"/>
                      <a:pt x="49" y="314"/>
                      <a:pt x="48" y="314"/>
                    </a:cubicBezTo>
                    <a:cubicBezTo>
                      <a:pt x="47" y="315"/>
                      <a:pt x="46" y="314"/>
                      <a:pt x="45" y="314"/>
                    </a:cubicBezTo>
                    <a:cubicBezTo>
                      <a:pt x="46" y="313"/>
                      <a:pt x="46" y="313"/>
                      <a:pt x="47" y="313"/>
                    </a:cubicBezTo>
                    <a:cubicBezTo>
                      <a:pt x="47" y="312"/>
                      <a:pt x="47" y="312"/>
                      <a:pt x="47" y="312"/>
                    </a:cubicBezTo>
                    <a:cubicBezTo>
                      <a:pt x="48" y="311"/>
                      <a:pt x="49" y="311"/>
                      <a:pt x="49" y="310"/>
                    </a:cubicBezTo>
                    <a:cubicBezTo>
                      <a:pt x="49" y="310"/>
                      <a:pt x="48" y="310"/>
                      <a:pt x="48" y="311"/>
                    </a:cubicBezTo>
                    <a:cubicBezTo>
                      <a:pt x="48" y="311"/>
                      <a:pt x="48" y="311"/>
                      <a:pt x="47" y="311"/>
                    </a:cubicBezTo>
                    <a:cubicBezTo>
                      <a:pt x="46" y="312"/>
                      <a:pt x="46" y="312"/>
                      <a:pt x="45" y="312"/>
                    </a:cubicBezTo>
                    <a:cubicBezTo>
                      <a:pt x="44" y="312"/>
                      <a:pt x="44" y="314"/>
                      <a:pt x="43" y="313"/>
                    </a:cubicBezTo>
                    <a:cubicBezTo>
                      <a:pt x="43" y="313"/>
                      <a:pt x="43" y="313"/>
                      <a:pt x="42" y="313"/>
                    </a:cubicBezTo>
                    <a:cubicBezTo>
                      <a:pt x="42" y="313"/>
                      <a:pt x="42" y="313"/>
                      <a:pt x="42" y="313"/>
                    </a:cubicBezTo>
                    <a:cubicBezTo>
                      <a:pt x="40" y="312"/>
                      <a:pt x="41" y="310"/>
                      <a:pt x="42" y="310"/>
                    </a:cubicBezTo>
                    <a:cubicBezTo>
                      <a:pt x="44" y="309"/>
                      <a:pt x="42" y="312"/>
                      <a:pt x="43" y="312"/>
                    </a:cubicBezTo>
                    <a:cubicBezTo>
                      <a:pt x="43" y="312"/>
                      <a:pt x="44" y="311"/>
                      <a:pt x="44" y="311"/>
                    </a:cubicBezTo>
                    <a:cubicBezTo>
                      <a:pt x="45" y="311"/>
                      <a:pt x="46" y="311"/>
                      <a:pt x="46" y="310"/>
                    </a:cubicBezTo>
                    <a:cubicBezTo>
                      <a:pt x="45" y="310"/>
                      <a:pt x="43" y="311"/>
                      <a:pt x="43" y="310"/>
                    </a:cubicBezTo>
                    <a:cubicBezTo>
                      <a:pt x="43" y="310"/>
                      <a:pt x="43" y="309"/>
                      <a:pt x="44" y="309"/>
                    </a:cubicBezTo>
                    <a:cubicBezTo>
                      <a:pt x="44" y="309"/>
                      <a:pt x="44" y="309"/>
                      <a:pt x="45" y="308"/>
                    </a:cubicBezTo>
                    <a:cubicBezTo>
                      <a:pt x="45" y="308"/>
                      <a:pt x="44" y="307"/>
                      <a:pt x="45" y="307"/>
                    </a:cubicBezTo>
                    <a:cubicBezTo>
                      <a:pt x="45" y="307"/>
                      <a:pt x="45" y="307"/>
                      <a:pt x="45" y="307"/>
                    </a:cubicBezTo>
                    <a:cubicBezTo>
                      <a:pt x="46" y="307"/>
                      <a:pt x="47" y="306"/>
                      <a:pt x="47" y="306"/>
                    </a:cubicBezTo>
                    <a:cubicBezTo>
                      <a:pt x="48" y="305"/>
                      <a:pt x="46" y="305"/>
                      <a:pt x="46" y="305"/>
                    </a:cubicBezTo>
                    <a:cubicBezTo>
                      <a:pt x="46" y="305"/>
                      <a:pt x="47" y="305"/>
                      <a:pt x="47" y="306"/>
                    </a:cubicBezTo>
                    <a:cubicBezTo>
                      <a:pt x="47" y="306"/>
                      <a:pt x="46" y="306"/>
                      <a:pt x="45" y="306"/>
                    </a:cubicBezTo>
                    <a:cubicBezTo>
                      <a:pt x="45" y="307"/>
                      <a:pt x="44" y="307"/>
                      <a:pt x="44" y="307"/>
                    </a:cubicBezTo>
                    <a:cubicBezTo>
                      <a:pt x="44" y="308"/>
                      <a:pt x="44" y="308"/>
                      <a:pt x="44" y="309"/>
                    </a:cubicBezTo>
                    <a:cubicBezTo>
                      <a:pt x="43" y="310"/>
                      <a:pt x="43" y="308"/>
                      <a:pt x="44" y="308"/>
                    </a:cubicBezTo>
                    <a:cubicBezTo>
                      <a:pt x="43" y="308"/>
                      <a:pt x="43" y="308"/>
                      <a:pt x="42" y="309"/>
                    </a:cubicBezTo>
                    <a:cubicBezTo>
                      <a:pt x="42" y="309"/>
                      <a:pt x="41" y="309"/>
                      <a:pt x="41" y="309"/>
                    </a:cubicBezTo>
                    <a:cubicBezTo>
                      <a:pt x="40" y="309"/>
                      <a:pt x="40" y="310"/>
                      <a:pt x="40" y="309"/>
                    </a:cubicBezTo>
                    <a:cubicBezTo>
                      <a:pt x="40" y="309"/>
                      <a:pt x="39" y="309"/>
                      <a:pt x="39" y="309"/>
                    </a:cubicBezTo>
                    <a:cubicBezTo>
                      <a:pt x="38" y="309"/>
                      <a:pt x="39" y="309"/>
                      <a:pt x="39" y="308"/>
                    </a:cubicBezTo>
                    <a:cubicBezTo>
                      <a:pt x="38" y="308"/>
                      <a:pt x="38" y="307"/>
                      <a:pt x="38" y="307"/>
                    </a:cubicBezTo>
                    <a:cubicBezTo>
                      <a:pt x="38" y="306"/>
                      <a:pt x="38" y="306"/>
                      <a:pt x="39" y="307"/>
                    </a:cubicBezTo>
                    <a:cubicBezTo>
                      <a:pt x="39" y="306"/>
                      <a:pt x="40" y="306"/>
                      <a:pt x="41" y="305"/>
                    </a:cubicBezTo>
                    <a:cubicBezTo>
                      <a:pt x="41" y="305"/>
                      <a:pt x="42" y="304"/>
                      <a:pt x="41" y="303"/>
                    </a:cubicBezTo>
                    <a:cubicBezTo>
                      <a:pt x="41" y="303"/>
                      <a:pt x="42" y="303"/>
                      <a:pt x="42" y="303"/>
                    </a:cubicBezTo>
                    <a:cubicBezTo>
                      <a:pt x="42" y="303"/>
                      <a:pt x="43" y="303"/>
                      <a:pt x="43" y="303"/>
                    </a:cubicBezTo>
                    <a:cubicBezTo>
                      <a:pt x="44" y="303"/>
                      <a:pt x="45" y="302"/>
                      <a:pt x="46" y="302"/>
                    </a:cubicBezTo>
                    <a:cubicBezTo>
                      <a:pt x="45" y="301"/>
                      <a:pt x="44" y="302"/>
                      <a:pt x="44" y="302"/>
                    </a:cubicBezTo>
                    <a:cubicBezTo>
                      <a:pt x="43" y="302"/>
                      <a:pt x="43" y="302"/>
                      <a:pt x="42" y="302"/>
                    </a:cubicBezTo>
                    <a:cubicBezTo>
                      <a:pt x="41" y="303"/>
                      <a:pt x="41" y="304"/>
                      <a:pt x="40" y="304"/>
                    </a:cubicBezTo>
                    <a:cubicBezTo>
                      <a:pt x="38" y="304"/>
                      <a:pt x="40" y="302"/>
                      <a:pt x="40" y="302"/>
                    </a:cubicBezTo>
                    <a:cubicBezTo>
                      <a:pt x="40" y="302"/>
                      <a:pt x="38" y="304"/>
                      <a:pt x="38" y="303"/>
                    </a:cubicBezTo>
                    <a:cubicBezTo>
                      <a:pt x="38" y="303"/>
                      <a:pt x="39" y="303"/>
                      <a:pt x="39" y="302"/>
                    </a:cubicBezTo>
                    <a:cubicBezTo>
                      <a:pt x="39" y="302"/>
                      <a:pt x="40" y="302"/>
                      <a:pt x="40" y="302"/>
                    </a:cubicBezTo>
                    <a:cubicBezTo>
                      <a:pt x="41" y="301"/>
                      <a:pt x="42" y="300"/>
                      <a:pt x="43" y="300"/>
                    </a:cubicBezTo>
                    <a:cubicBezTo>
                      <a:pt x="43" y="299"/>
                      <a:pt x="43" y="299"/>
                      <a:pt x="44" y="298"/>
                    </a:cubicBezTo>
                    <a:cubicBezTo>
                      <a:pt x="44" y="298"/>
                      <a:pt x="45" y="298"/>
                      <a:pt x="45" y="298"/>
                    </a:cubicBezTo>
                    <a:cubicBezTo>
                      <a:pt x="45" y="297"/>
                      <a:pt x="45" y="297"/>
                      <a:pt x="45" y="297"/>
                    </a:cubicBezTo>
                    <a:cubicBezTo>
                      <a:pt x="44" y="297"/>
                      <a:pt x="44" y="298"/>
                      <a:pt x="44" y="298"/>
                    </a:cubicBezTo>
                    <a:cubicBezTo>
                      <a:pt x="43" y="298"/>
                      <a:pt x="43" y="298"/>
                      <a:pt x="43" y="298"/>
                    </a:cubicBezTo>
                    <a:cubicBezTo>
                      <a:pt x="43" y="299"/>
                      <a:pt x="43" y="299"/>
                      <a:pt x="43" y="299"/>
                    </a:cubicBezTo>
                    <a:cubicBezTo>
                      <a:pt x="42" y="300"/>
                      <a:pt x="42" y="300"/>
                      <a:pt x="42" y="300"/>
                    </a:cubicBezTo>
                    <a:cubicBezTo>
                      <a:pt x="41" y="301"/>
                      <a:pt x="40" y="301"/>
                      <a:pt x="39" y="302"/>
                    </a:cubicBezTo>
                    <a:cubicBezTo>
                      <a:pt x="38" y="302"/>
                      <a:pt x="37" y="303"/>
                      <a:pt x="38" y="302"/>
                    </a:cubicBezTo>
                    <a:cubicBezTo>
                      <a:pt x="38" y="302"/>
                      <a:pt x="37" y="302"/>
                      <a:pt x="37" y="302"/>
                    </a:cubicBezTo>
                    <a:cubicBezTo>
                      <a:pt x="37" y="302"/>
                      <a:pt x="37" y="301"/>
                      <a:pt x="37" y="301"/>
                    </a:cubicBezTo>
                    <a:cubicBezTo>
                      <a:pt x="37" y="301"/>
                      <a:pt x="37" y="302"/>
                      <a:pt x="36" y="302"/>
                    </a:cubicBezTo>
                    <a:cubicBezTo>
                      <a:pt x="36" y="302"/>
                      <a:pt x="35" y="302"/>
                      <a:pt x="35" y="302"/>
                    </a:cubicBezTo>
                    <a:cubicBezTo>
                      <a:pt x="35" y="302"/>
                      <a:pt x="36" y="301"/>
                      <a:pt x="36" y="301"/>
                    </a:cubicBezTo>
                    <a:cubicBezTo>
                      <a:pt x="37" y="300"/>
                      <a:pt x="37" y="300"/>
                      <a:pt x="38" y="299"/>
                    </a:cubicBezTo>
                    <a:cubicBezTo>
                      <a:pt x="37" y="299"/>
                      <a:pt x="36" y="301"/>
                      <a:pt x="35" y="301"/>
                    </a:cubicBezTo>
                    <a:cubicBezTo>
                      <a:pt x="35" y="302"/>
                      <a:pt x="34" y="302"/>
                      <a:pt x="34" y="302"/>
                    </a:cubicBezTo>
                    <a:cubicBezTo>
                      <a:pt x="33" y="302"/>
                      <a:pt x="34" y="301"/>
                      <a:pt x="34" y="301"/>
                    </a:cubicBezTo>
                    <a:cubicBezTo>
                      <a:pt x="33" y="301"/>
                      <a:pt x="33" y="302"/>
                      <a:pt x="32" y="302"/>
                    </a:cubicBezTo>
                    <a:cubicBezTo>
                      <a:pt x="32" y="302"/>
                      <a:pt x="31" y="302"/>
                      <a:pt x="31" y="302"/>
                    </a:cubicBezTo>
                    <a:cubicBezTo>
                      <a:pt x="31" y="302"/>
                      <a:pt x="29" y="301"/>
                      <a:pt x="30" y="301"/>
                    </a:cubicBezTo>
                    <a:cubicBezTo>
                      <a:pt x="30" y="301"/>
                      <a:pt x="30" y="301"/>
                      <a:pt x="30" y="301"/>
                    </a:cubicBezTo>
                    <a:cubicBezTo>
                      <a:pt x="31" y="301"/>
                      <a:pt x="31" y="301"/>
                      <a:pt x="31" y="301"/>
                    </a:cubicBezTo>
                    <a:cubicBezTo>
                      <a:pt x="31" y="301"/>
                      <a:pt x="31" y="301"/>
                      <a:pt x="31" y="301"/>
                    </a:cubicBezTo>
                    <a:cubicBezTo>
                      <a:pt x="32" y="301"/>
                      <a:pt x="33" y="300"/>
                      <a:pt x="33" y="300"/>
                    </a:cubicBezTo>
                    <a:cubicBezTo>
                      <a:pt x="33" y="300"/>
                      <a:pt x="31" y="301"/>
                      <a:pt x="31" y="301"/>
                    </a:cubicBezTo>
                    <a:cubicBezTo>
                      <a:pt x="30" y="301"/>
                      <a:pt x="31" y="300"/>
                      <a:pt x="31" y="300"/>
                    </a:cubicBezTo>
                    <a:cubicBezTo>
                      <a:pt x="32" y="300"/>
                      <a:pt x="33" y="300"/>
                      <a:pt x="34" y="300"/>
                    </a:cubicBezTo>
                    <a:cubicBezTo>
                      <a:pt x="35" y="300"/>
                      <a:pt x="35" y="300"/>
                      <a:pt x="36" y="300"/>
                    </a:cubicBezTo>
                    <a:cubicBezTo>
                      <a:pt x="36" y="299"/>
                      <a:pt x="36" y="299"/>
                      <a:pt x="37" y="299"/>
                    </a:cubicBezTo>
                    <a:cubicBezTo>
                      <a:pt x="37" y="299"/>
                      <a:pt x="37" y="299"/>
                      <a:pt x="37" y="299"/>
                    </a:cubicBezTo>
                    <a:cubicBezTo>
                      <a:pt x="38" y="298"/>
                      <a:pt x="38" y="298"/>
                      <a:pt x="38" y="298"/>
                    </a:cubicBezTo>
                    <a:cubicBezTo>
                      <a:pt x="39" y="298"/>
                      <a:pt x="40" y="295"/>
                      <a:pt x="40" y="295"/>
                    </a:cubicBezTo>
                    <a:cubicBezTo>
                      <a:pt x="39" y="295"/>
                      <a:pt x="39" y="297"/>
                      <a:pt x="39" y="297"/>
                    </a:cubicBezTo>
                    <a:cubicBezTo>
                      <a:pt x="39" y="297"/>
                      <a:pt x="38" y="297"/>
                      <a:pt x="38" y="298"/>
                    </a:cubicBezTo>
                    <a:cubicBezTo>
                      <a:pt x="37" y="298"/>
                      <a:pt x="37" y="298"/>
                      <a:pt x="37" y="298"/>
                    </a:cubicBezTo>
                    <a:cubicBezTo>
                      <a:pt x="37" y="299"/>
                      <a:pt x="36" y="299"/>
                      <a:pt x="36" y="299"/>
                    </a:cubicBezTo>
                    <a:cubicBezTo>
                      <a:pt x="36" y="299"/>
                      <a:pt x="34" y="300"/>
                      <a:pt x="34" y="300"/>
                    </a:cubicBezTo>
                    <a:cubicBezTo>
                      <a:pt x="33" y="299"/>
                      <a:pt x="32" y="300"/>
                      <a:pt x="31" y="300"/>
                    </a:cubicBezTo>
                    <a:cubicBezTo>
                      <a:pt x="31" y="299"/>
                      <a:pt x="34" y="299"/>
                      <a:pt x="34" y="298"/>
                    </a:cubicBezTo>
                    <a:cubicBezTo>
                      <a:pt x="33" y="298"/>
                      <a:pt x="33" y="299"/>
                      <a:pt x="33" y="299"/>
                    </a:cubicBezTo>
                    <a:cubicBezTo>
                      <a:pt x="32" y="299"/>
                      <a:pt x="33" y="298"/>
                      <a:pt x="33" y="298"/>
                    </a:cubicBezTo>
                    <a:cubicBezTo>
                      <a:pt x="33" y="298"/>
                      <a:pt x="33" y="298"/>
                      <a:pt x="33" y="298"/>
                    </a:cubicBezTo>
                    <a:cubicBezTo>
                      <a:pt x="33" y="298"/>
                      <a:pt x="31" y="298"/>
                      <a:pt x="30" y="298"/>
                    </a:cubicBezTo>
                    <a:cubicBezTo>
                      <a:pt x="30" y="298"/>
                      <a:pt x="30" y="297"/>
                      <a:pt x="31" y="297"/>
                    </a:cubicBezTo>
                    <a:cubicBezTo>
                      <a:pt x="32" y="297"/>
                      <a:pt x="33" y="298"/>
                      <a:pt x="34" y="297"/>
                    </a:cubicBezTo>
                    <a:cubicBezTo>
                      <a:pt x="33" y="297"/>
                      <a:pt x="33" y="297"/>
                      <a:pt x="32" y="297"/>
                    </a:cubicBezTo>
                    <a:cubicBezTo>
                      <a:pt x="31" y="297"/>
                      <a:pt x="32" y="296"/>
                      <a:pt x="32" y="296"/>
                    </a:cubicBezTo>
                    <a:cubicBezTo>
                      <a:pt x="31" y="296"/>
                      <a:pt x="30" y="298"/>
                      <a:pt x="29" y="298"/>
                    </a:cubicBezTo>
                    <a:cubicBezTo>
                      <a:pt x="29" y="297"/>
                      <a:pt x="28" y="297"/>
                      <a:pt x="28" y="297"/>
                    </a:cubicBezTo>
                    <a:cubicBezTo>
                      <a:pt x="28" y="297"/>
                      <a:pt x="28" y="297"/>
                      <a:pt x="27" y="297"/>
                    </a:cubicBezTo>
                    <a:cubicBezTo>
                      <a:pt x="27" y="297"/>
                      <a:pt x="25" y="297"/>
                      <a:pt x="25" y="297"/>
                    </a:cubicBezTo>
                    <a:cubicBezTo>
                      <a:pt x="25" y="298"/>
                      <a:pt x="27" y="298"/>
                      <a:pt x="27" y="298"/>
                    </a:cubicBezTo>
                    <a:cubicBezTo>
                      <a:pt x="27" y="298"/>
                      <a:pt x="26" y="298"/>
                      <a:pt x="26" y="298"/>
                    </a:cubicBezTo>
                    <a:cubicBezTo>
                      <a:pt x="25" y="298"/>
                      <a:pt x="25" y="298"/>
                      <a:pt x="25" y="298"/>
                    </a:cubicBezTo>
                    <a:cubicBezTo>
                      <a:pt x="24" y="298"/>
                      <a:pt x="25" y="297"/>
                      <a:pt x="25" y="297"/>
                    </a:cubicBezTo>
                    <a:cubicBezTo>
                      <a:pt x="24" y="297"/>
                      <a:pt x="23" y="297"/>
                      <a:pt x="24" y="297"/>
                    </a:cubicBezTo>
                    <a:cubicBezTo>
                      <a:pt x="24" y="297"/>
                      <a:pt x="23" y="296"/>
                      <a:pt x="23" y="296"/>
                    </a:cubicBezTo>
                    <a:cubicBezTo>
                      <a:pt x="23" y="296"/>
                      <a:pt x="24" y="295"/>
                      <a:pt x="25" y="295"/>
                    </a:cubicBezTo>
                    <a:cubicBezTo>
                      <a:pt x="25" y="296"/>
                      <a:pt x="26" y="296"/>
                      <a:pt x="27" y="296"/>
                    </a:cubicBezTo>
                    <a:cubicBezTo>
                      <a:pt x="27" y="296"/>
                      <a:pt x="30" y="295"/>
                      <a:pt x="30" y="296"/>
                    </a:cubicBezTo>
                    <a:cubicBezTo>
                      <a:pt x="30" y="296"/>
                      <a:pt x="30" y="295"/>
                      <a:pt x="31" y="295"/>
                    </a:cubicBezTo>
                    <a:cubicBezTo>
                      <a:pt x="31" y="295"/>
                      <a:pt x="32" y="295"/>
                      <a:pt x="32" y="294"/>
                    </a:cubicBezTo>
                    <a:cubicBezTo>
                      <a:pt x="31" y="294"/>
                      <a:pt x="30" y="295"/>
                      <a:pt x="30" y="295"/>
                    </a:cubicBezTo>
                    <a:cubicBezTo>
                      <a:pt x="29" y="295"/>
                      <a:pt x="28" y="296"/>
                      <a:pt x="27" y="296"/>
                    </a:cubicBezTo>
                    <a:cubicBezTo>
                      <a:pt x="26" y="296"/>
                      <a:pt x="25" y="296"/>
                      <a:pt x="24" y="295"/>
                    </a:cubicBezTo>
                    <a:cubicBezTo>
                      <a:pt x="24" y="295"/>
                      <a:pt x="23" y="296"/>
                      <a:pt x="23" y="295"/>
                    </a:cubicBezTo>
                    <a:cubicBezTo>
                      <a:pt x="22" y="294"/>
                      <a:pt x="22" y="294"/>
                      <a:pt x="23" y="294"/>
                    </a:cubicBezTo>
                    <a:cubicBezTo>
                      <a:pt x="24" y="293"/>
                      <a:pt x="24" y="293"/>
                      <a:pt x="25" y="293"/>
                    </a:cubicBezTo>
                    <a:cubicBezTo>
                      <a:pt x="27" y="293"/>
                      <a:pt x="29" y="294"/>
                      <a:pt x="30" y="292"/>
                    </a:cubicBezTo>
                    <a:cubicBezTo>
                      <a:pt x="29" y="292"/>
                      <a:pt x="29" y="293"/>
                      <a:pt x="28" y="293"/>
                    </a:cubicBezTo>
                    <a:cubicBezTo>
                      <a:pt x="27" y="293"/>
                      <a:pt x="26" y="293"/>
                      <a:pt x="26" y="293"/>
                    </a:cubicBezTo>
                    <a:cubicBezTo>
                      <a:pt x="26" y="293"/>
                      <a:pt x="26" y="293"/>
                      <a:pt x="27" y="293"/>
                    </a:cubicBezTo>
                    <a:cubicBezTo>
                      <a:pt x="26" y="293"/>
                      <a:pt x="25" y="293"/>
                      <a:pt x="24" y="293"/>
                    </a:cubicBezTo>
                    <a:cubicBezTo>
                      <a:pt x="24" y="293"/>
                      <a:pt x="24" y="293"/>
                      <a:pt x="24" y="293"/>
                    </a:cubicBezTo>
                    <a:cubicBezTo>
                      <a:pt x="24" y="292"/>
                      <a:pt x="25" y="292"/>
                      <a:pt x="25" y="292"/>
                    </a:cubicBezTo>
                    <a:cubicBezTo>
                      <a:pt x="27" y="292"/>
                      <a:pt x="28" y="290"/>
                      <a:pt x="29" y="290"/>
                    </a:cubicBezTo>
                    <a:cubicBezTo>
                      <a:pt x="31" y="289"/>
                      <a:pt x="33" y="289"/>
                      <a:pt x="34" y="289"/>
                    </a:cubicBezTo>
                    <a:cubicBezTo>
                      <a:pt x="35" y="290"/>
                      <a:pt x="37" y="289"/>
                      <a:pt x="37" y="288"/>
                    </a:cubicBezTo>
                    <a:cubicBezTo>
                      <a:pt x="37" y="288"/>
                      <a:pt x="36" y="289"/>
                      <a:pt x="36" y="289"/>
                    </a:cubicBezTo>
                    <a:cubicBezTo>
                      <a:pt x="35" y="289"/>
                      <a:pt x="35" y="289"/>
                      <a:pt x="34" y="289"/>
                    </a:cubicBezTo>
                    <a:cubicBezTo>
                      <a:pt x="34" y="289"/>
                      <a:pt x="33" y="289"/>
                      <a:pt x="32" y="289"/>
                    </a:cubicBezTo>
                    <a:cubicBezTo>
                      <a:pt x="32" y="289"/>
                      <a:pt x="31" y="289"/>
                      <a:pt x="31" y="289"/>
                    </a:cubicBezTo>
                    <a:cubicBezTo>
                      <a:pt x="31" y="289"/>
                      <a:pt x="31" y="289"/>
                      <a:pt x="31" y="289"/>
                    </a:cubicBezTo>
                    <a:cubicBezTo>
                      <a:pt x="30" y="289"/>
                      <a:pt x="30" y="289"/>
                      <a:pt x="30" y="289"/>
                    </a:cubicBezTo>
                    <a:cubicBezTo>
                      <a:pt x="29" y="289"/>
                      <a:pt x="32" y="287"/>
                      <a:pt x="32" y="287"/>
                    </a:cubicBezTo>
                    <a:cubicBezTo>
                      <a:pt x="31" y="287"/>
                      <a:pt x="31" y="288"/>
                      <a:pt x="30" y="288"/>
                    </a:cubicBezTo>
                    <a:cubicBezTo>
                      <a:pt x="30" y="289"/>
                      <a:pt x="30" y="289"/>
                      <a:pt x="29" y="289"/>
                    </a:cubicBezTo>
                    <a:cubicBezTo>
                      <a:pt x="29" y="289"/>
                      <a:pt x="28" y="289"/>
                      <a:pt x="28" y="289"/>
                    </a:cubicBezTo>
                    <a:cubicBezTo>
                      <a:pt x="28" y="289"/>
                      <a:pt x="29" y="289"/>
                      <a:pt x="29" y="289"/>
                    </a:cubicBezTo>
                    <a:cubicBezTo>
                      <a:pt x="29" y="290"/>
                      <a:pt x="28" y="290"/>
                      <a:pt x="28" y="290"/>
                    </a:cubicBezTo>
                    <a:cubicBezTo>
                      <a:pt x="27" y="291"/>
                      <a:pt x="27" y="291"/>
                      <a:pt x="26" y="291"/>
                    </a:cubicBezTo>
                    <a:cubicBezTo>
                      <a:pt x="26" y="291"/>
                      <a:pt x="25" y="291"/>
                      <a:pt x="25" y="291"/>
                    </a:cubicBezTo>
                    <a:cubicBezTo>
                      <a:pt x="25" y="291"/>
                      <a:pt x="26" y="291"/>
                      <a:pt x="26" y="291"/>
                    </a:cubicBezTo>
                    <a:cubicBezTo>
                      <a:pt x="26" y="290"/>
                      <a:pt x="26" y="291"/>
                      <a:pt x="25" y="291"/>
                    </a:cubicBezTo>
                    <a:cubicBezTo>
                      <a:pt x="26" y="291"/>
                      <a:pt x="26" y="289"/>
                      <a:pt x="26" y="289"/>
                    </a:cubicBezTo>
                    <a:cubicBezTo>
                      <a:pt x="26" y="289"/>
                      <a:pt x="27" y="288"/>
                      <a:pt x="27" y="288"/>
                    </a:cubicBezTo>
                    <a:cubicBezTo>
                      <a:pt x="28" y="286"/>
                      <a:pt x="30" y="287"/>
                      <a:pt x="31" y="285"/>
                    </a:cubicBezTo>
                    <a:cubicBezTo>
                      <a:pt x="31" y="285"/>
                      <a:pt x="32" y="284"/>
                      <a:pt x="33" y="284"/>
                    </a:cubicBezTo>
                    <a:cubicBezTo>
                      <a:pt x="33" y="284"/>
                      <a:pt x="33" y="285"/>
                      <a:pt x="32" y="285"/>
                    </a:cubicBezTo>
                    <a:cubicBezTo>
                      <a:pt x="32" y="285"/>
                      <a:pt x="32" y="285"/>
                      <a:pt x="31" y="285"/>
                    </a:cubicBezTo>
                    <a:cubicBezTo>
                      <a:pt x="32" y="285"/>
                      <a:pt x="32" y="285"/>
                      <a:pt x="33" y="285"/>
                    </a:cubicBezTo>
                    <a:cubicBezTo>
                      <a:pt x="33" y="285"/>
                      <a:pt x="33" y="285"/>
                      <a:pt x="34" y="284"/>
                    </a:cubicBezTo>
                    <a:cubicBezTo>
                      <a:pt x="34" y="283"/>
                      <a:pt x="36" y="283"/>
                      <a:pt x="36" y="283"/>
                    </a:cubicBezTo>
                    <a:cubicBezTo>
                      <a:pt x="37" y="283"/>
                      <a:pt x="38" y="282"/>
                      <a:pt x="38" y="283"/>
                    </a:cubicBezTo>
                    <a:cubicBezTo>
                      <a:pt x="39" y="283"/>
                      <a:pt x="38" y="284"/>
                      <a:pt x="38" y="284"/>
                    </a:cubicBezTo>
                    <a:cubicBezTo>
                      <a:pt x="39" y="285"/>
                      <a:pt x="39" y="285"/>
                      <a:pt x="39" y="286"/>
                    </a:cubicBezTo>
                    <a:cubicBezTo>
                      <a:pt x="40" y="285"/>
                      <a:pt x="38" y="284"/>
                      <a:pt x="39" y="283"/>
                    </a:cubicBezTo>
                    <a:cubicBezTo>
                      <a:pt x="39" y="282"/>
                      <a:pt x="39" y="282"/>
                      <a:pt x="40" y="282"/>
                    </a:cubicBezTo>
                    <a:cubicBezTo>
                      <a:pt x="40" y="282"/>
                      <a:pt x="41" y="282"/>
                      <a:pt x="41" y="282"/>
                    </a:cubicBezTo>
                    <a:cubicBezTo>
                      <a:pt x="41" y="281"/>
                      <a:pt x="40" y="282"/>
                      <a:pt x="40" y="282"/>
                    </a:cubicBezTo>
                    <a:cubicBezTo>
                      <a:pt x="39" y="282"/>
                      <a:pt x="39" y="282"/>
                      <a:pt x="38" y="282"/>
                    </a:cubicBezTo>
                    <a:cubicBezTo>
                      <a:pt x="37" y="282"/>
                      <a:pt x="39" y="280"/>
                      <a:pt x="39" y="280"/>
                    </a:cubicBezTo>
                    <a:cubicBezTo>
                      <a:pt x="40" y="279"/>
                      <a:pt x="41" y="279"/>
                      <a:pt x="42" y="279"/>
                    </a:cubicBezTo>
                    <a:cubicBezTo>
                      <a:pt x="42" y="279"/>
                      <a:pt x="43" y="278"/>
                      <a:pt x="43" y="278"/>
                    </a:cubicBezTo>
                    <a:cubicBezTo>
                      <a:pt x="43" y="277"/>
                      <a:pt x="43" y="277"/>
                      <a:pt x="43" y="276"/>
                    </a:cubicBezTo>
                    <a:cubicBezTo>
                      <a:pt x="43" y="277"/>
                      <a:pt x="43" y="277"/>
                      <a:pt x="43" y="278"/>
                    </a:cubicBezTo>
                    <a:cubicBezTo>
                      <a:pt x="42" y="278"/>
                      <a:pt x="42" y="279"/>
                      <a:pt x="41" y="279"/>
                    </a:cubicBezTo>
                    <a:cubicBezTo>
                      <a:pt x="40" y="279"/>
                      <a:pt x="39" y="280"/>
                      <a:pt x="38" y="280"/>
                    </a:cubicBezTo>
                    <a:cubicBezTo>
                      <a:pt x="37" y="281"/>
                      <a:pt x="36" y="281"/>
                      <a:pt x="35" y="282"/>
                    </a:cubicBezTo>
                    <a:cubicBezTo>
                      <a:pt x="34" y="282"/>
                      <a:pt x="33" y="283"/>
                      <a:pt x="32" y="283"/>
                    </a:cubicBezTo>
                    <a:cubicBezTo>
                      <a:pt x="32" y="283"/>
                      <a:pt x="33" y="282"/>
                      <a:pt x="33" y="282"/>
                    </a:cubicBezTo>
                    <a:cubicBezTo>
                      <a:pt x="32" y="282"/>
                      <a:pt x="32" y="283"/>
                      <a:pt x="31" y="283"/>
                    </a:cubicBezTo>
                    <a:cubicBezTo>
                      <a:pt x="31" y="283"/>
                      <a:pt x="31" y="283"/>
                      <a:pt x="31" y="282"/>
                    </a:cubicBezTo>
                    <a:cubicBezTo>
                      <a:pt x="31" y="282"/>
                      <a:pt x="32" y="282"/>
                      <a:pt x="32" y="282"/>
                    </a:cubicBezTo>
                    <a:cubicBezTo>
                      <a:pt x="32" y="281"/>
                      <a:pt x="33" y="281"/>
                      <a:pt x="33" y="280"/>
                    </a:cubicBezTo>
                    <a:cubicBezTo>
                      <a:pt x="33" y="281"/>
                      <a:pt x="32" y="281"/>
                      <a:pt x="32" y="281"/>
                    </a:cubicBezTo>
                    <a:cubicBezTo>
                      <a:pt x="32" y="282"/>
                      <a:pt x="30" y="283"/>
                      <a:pt x="31" y="282"/>
                    </a:cubicBezTo>
                    <a:cubicBezTo>
                      <a:pt x="31" y="280"/>
                      <a:pt x="33" y="281"/>
                      <a:pt x="34" y="280"/>
                    </a:cubicBezTo>
                    <a:cubicBezTo>
                      <a:pt x="33" y="280"/>
                      <a:pt x="32" y="280"/>
                      <a:pt x="32" y="280"/>
                    </a:cubicBezTo>
                    <a:cubicBezTo>
                      <a:pt x="31" y="281"/>
                      <a:pt x="30" y="281"/>
                      <a:pt x="30" y="281"/>
                    </a:cubicBezTo>
                    <a:cubicBezTo>
                      <a:pt x="29" y="282"/>
                      <a:pt x="28" y="283"/>
                      <a:pt x="27" y="283"/>
                    </a:cubicBezTo>
                    <a:cubicBezTo>
                      <a:pt x="28" y="282"/>
                      <a:pt x="29" y="282"/>
                      <a:pt x="30" y="281"/>
                    </a:cubicBezTo>
                    <a:cubicBezTo>
                      <a:pt x="30" y="280"/>
                      <a:pt x="31" y="280"/>
                      <a:pt x="31" y="279"/>
                    </a:cubicBezTo>
                    <a:cubicBezTo>
                      <a:pt x="32" y="279"/>
                      <a:pt x="33" y="278"/>
                      <a:pt x="34" y="277"/>
                    </a:cubicBezTo>
                    <a:cubicBezTo>
                      <a:pt x="34" y="276"/>
                      <a:pt x="35" y="277"/>
                      <a:pt x="35" y="276"/>
                    </a:cubicBezTo>
                    <a:cubicBezTo>
                      <a:pt x="34" y="276"/>
                      <a:pt x="33" y="278"/>
                      <a:pt x="32" y="277"/>
                    </a:cubicBezTo>
                    <a:cubicBezTo>
                      <a:pt x="32" y="277"/>
                      <a:pt x="31" y="277"/>
                      <a:pt x="31" y="277"/>
                    </a:cubicBezTo>
                    <a:cubicBezTo>
                      <a:pt x="31" y="276"/>
                      <a:pt x="32" y="276"/>
                      <a:pt x="32" y="276"/>
                    </a:cubicBezTo>
                    <a:cubicBezTo>
                      <a:pt x="32" y="275"/>
                      <a:pt x="33" y="275"/>
                      <a:pt x="33" y="274"/>
                    </a:cubicBezTo>
                    <a:cubicBezTo>
                      <a:pt x="33" y="274"/>
                      <a:pt x="33" y="274"/>
                      <a:pt x="33" y="274"/>
                    </a:cubicBezTo>
                    <a:cubicBezTo>
                      <a:pt x="33" y="274"/>
                      <a:pt x="34" y="274"/>
                      <a:pt x="34" y="274"/>
                    </a:cubicBezTo>
                    <a:cubicBezTo>
                      <a:pt x="34" y="274"/>
                      <a:pt x="33" y="274"/>
                      <a:pt x="33" y="274"/>
                    </a:cubicBezTo>
                    <a:cubicBezTo>
                      <a:pt x="33" y="273"/>
                      <a:pt x="33" y="273"/>
                      <a:pt x="33" y="273"/>
                    </a:cubicBezTo>
                    <a:cubicBezTo>
                      <a:pt x="33" y="273"/>
                      <a:pt x="33" y="274"/>
                      <a:pt x="32" y="273"/>
                    </a:cubicBezTo>
                    <a:cubicBezTo>
                      <a:pt x="32" y="272"/>
                      <a:pt x="32" y="272"/>
                      <a:pt x="33" y="271"/>
                    </a:cubicBezTo>
                    <a:cubicBezTo>
                      <a:pt x="32" y="271"/>
                      <a:pt x="34" y="270"/>
                      <a:pt x="34" y="270"/>
                    </a:cubicBezTo>
                    <a:cubicBezTo>
                      <a:pt x="34" y="270"/>
                      <a:pt x="33" y="270"/>
                      <a:pt x="33" y="270"/>
                    </a:cubicBezTo>
                    <a:cubicBezTo>
                      <a:pt x="33" y="270"/>
                      <a:pt x="33" y="270"/>
                      <a:pt x="34" y="269"/>
                    </a:cubicBezTo>
                    <a:cubicBezTo>
                      <a:pt x="34" y="269"/>
                      <a:pt x="35" y="269"/>
                      <a:pt x="35" y="269"/>
                    </a:cubicBezTo>
                    <a:cubicBezTo>
                      <a:pt x="35" y="270"/>
                      <a:pt x="35" y="270"/>
                      <a:pt x="35" y="270"/>
                    </a:cubicBezTo>
                    <a:cubicBezTo>
                      <a:pt x="35" y="270"/>
                      <a:pt x="35" y="270"/>
                      <a:pt x="35" y="270"/>
                    </a:cubicBezTo>
                    <a:cubicBezTo>
                      <a:pt x="35" y="270"/>
                      <a:pt x="36" y="271"/>
                      <a:pt x="36" y="271"/>
                    </a:cubicBezTo>
                    <a:cubicBezTo>
                      <a:pt x="36" y="271"/>
                      <a:pt x="36" y="271"/>
                      <a:pt x="36" y="272"/>
                    </a:cubicBezTo>
                    <a:cubicBezTo>
                      <a:pt x="36" y="271"/>
                      <a:pt x="36" y="271"/>
                      <a:pt x="37" y="271"/>
                    </a:cubicBezTo>
                    <a:cubicBezTo>
                      <a:pt x="38" y="271"/>
                      <a:pt x="38" y="270"/>
                      <a:pt x="39" y="270"/>
                    </a:cubicBezTo>
                    <a:cubicBezTo>
                      <a:pt x="39" y="271"/>
                      <a:pt x="40" y="270"/>
                      <a:pt x="40" y="271"/>
                    </a:cubicBezTo>
                    <a:cubicBezTo>
                      <a:pt x="40" y="271"/>
                      <a:pt x="39" y="271"/>
                      <a:pt x="39" y="272"/>
                    </a:cubicBezTo>
                    <a:cubicBezTo>
                      <a:pt x="39" y="271"/>
                      <a:pt x="40" y="271"/>
                      <a:pt x="40" y="272"/>
                    </a:cubicBezTo>
                    <a:cubicBezTo>
                      <a:pt x="39" y="272"/>
                      <a:pt x="39" y="273"/>
                      <a:pt x="39" y="273"/>
                    </a:cubicBezTo>
                    <a:cubicBezTo>
                      <a:pt x="39" y="273"/>
                      <a:pt x="40" y="273"/>
                      <a:pt x="40" y="273"/>
                    </a:cubicBezTo>
                    <a:cubicBezTo>
                      <a:pt x="40" y="272"/>
                      <a:pt x="39" y="272"/>
                      <a:pt x="40" y="272"/>
                    </a:cubicBezTo>
                    <a:cubicBezTo>
                      <a:pt x="40" y="272"/>
                      <a:pt x="40" y="272"/>
                      <a:pt x="40" y="272"/>
                    </a:cubicBezTo>
                    <a:cubicBezTo>
                      <a:pt x="40" y="271"/>
                      <a:pt x="40" y="271"/>
                      <a:pt x="40" y="270"/>
                    </a:cubicBezTo>
                    <a:cubicBezTo>
                      <a:pt x="39" y="270"/>
                      <a:pt x="38" y="270"/>
                      <a:pt x="38" y="270"/>
                    </a:cubicBezTo>
                    <a:cubicBezTo>
                      <a:pt x="37" y="270"/>
                      <a:pt x="36" y="271"/>
                      <a:pt x="36" y="271"/>
                    </a:cubicBezTo>
                    <a:cubicBezTo>
                      <a:pt x="36" y="270"/>
                      <a:pt x="36" y="270"/>
                      <a:pt x="36" y="270"/>
                    </a:cubicBezTo>
                    <a:cubicBezTo>
                      <a:pt x="36" y="270"/>
                      <a:pt x="36" y="270"/>
                      <a:pt x="36" y="270"/>
                    </a:cubicBezTo>
                    <a:cubicBezTo>
                      <a:pt x="36" y="270"/>
                      <a:pt x="36" y="269"/>
                      <a:pt x="36" y="269"/>
                    </a:cubicBezTo>
                    <a:cubicBezTo>
                      <a:pt x="35" y="269"/>
                      <a:pt x="35" y="269"/>
                      <a:pt x="35" y="269"/>
                    </a:cubicBezTo>
                    <a:cubicBezTo>
                      <a:pt x="35" y="269"/>
                      <a:pt x="36" y="268"/>
                      <a:pt x="36" y="268"/>
                    </a:cubicBezTo>
                    <a:cubicBezTo>
                      <a:pt x="37" y="268"/>
                      <a:pt x="37" y="267"/>
                      <a:pt x="38" y="267"/>
                    </a:cubicBezTo>
                    <a:cubicBezTo>
                      <a:pt x="38" y="267"/>
                      <a:pt x="38" y="266"/>
                      <a:pt x="39" y="266"/>
                    </a:cubicBezTo>
                    <a:cubicBezTo>
                      <a:pt x="39" y="266"/>
                      <a:pt x="39" y="266"/>
                      <a:pt x="39" y="266"/>
                    </a:cubicBezTo>
                    <a:cubicBezTo>
                      <a:pt x="39" y="266"/>
                      <a:pt x="40" y="267"/>
                      <a:pt x="40" y="266"/>
                    </a:cubicBezTo>
                    <a:cubicBezTo>
                      <a:pt x="40" y="266"/>
                      <a:pt x="39" y="266"/>
                      <a:pt x="39" y="266"/>
                    </a:cubicBezTo>
                    <a:cubicBezTo>
                      <a:pt x="39" y="266"/>
                      <a:pt x="41" y="265"/>
                      <a:pt x="41" y="264"/>
                    </a:cubicBezTo>
                    <a:cubicBezTo>
                      <a:pt x="39" y="265"/>
                      <a:pt x="38" y="266"/>
                      <a:pt x="36" y="267"/>
                    </a:cubicBezTo>
                    <a:cubicBezTo>
                      <a:pt x="36" y="267"/>
                      <a:pt x="37" y="267"/>
                      <a:pt x="37" y="266"/>
                    </a:cubicBezTo>
                    <a:cubicBezTo>
                      <a:pt x="37" y="266"/>
                      <a:pt x="36" y="267"/>
                      <a:pt x="36" y="267"/>
                    </a:cubicBezTo>
                    <a:cubicBezTo>
                      <a:pt x="36" y="267"/>
                      <a:pt x="37" y="266"/>
                      <a:pt x="37" y="266"/>
                    </a:cubicBezTo>
                    <a:cubicBezTo>
                      <a:pt x="36" y="266"/>
                      <a:pt x="36" y="267"/>
                      <a:pt x="36" y="267"/>
                    </a:cubicBezTo>
                    <a:cubicBezTo>
                      <a:pt x="35" y="267"/>
                      <a:pt x="35" y="267"/>
                      <a:pt x="35" y="267"/>
                    </a:cubicBezTo>
                    <a:cubicBezTo>
                      <a:pt x="35" y="267"/>
                      <a:pt x="35" y="267"/>
                      <a:pt x="35" y="267"/>
                    </a:cubicBezTo>
                    <a:cubicBezTo>
                      <a:pt x="34" y="268"/>
                      <a:pt x="34" y="268"/>
                      <a:pt x="34" y="268"/>
                    </a:cubicBezTo>
                    <a:cubicBezTo>
                      <a:pt x="33" y="268"/>
                      <a:pt x="33" y="268"/>
                      <a:pt x="32" y="269"/>
                    </a:cubicBezTo>
                    <a:cubicBezTo>
                      <a:pt x="31" y="269"/>
                      <a:pt x="31" y="271"/>
                      <a:pt x="30" y="271"/>
                    </a:cubicBezTo>
                    <a:cubicBezTo>
                      <a:pt x="29" y="271"/>
                      <a:pt x="28" y="269"/>
                      <a:pt x="29" y="268"/>
                    </a:cubicBezTo>
                    <a:cubicBezTo>
                      <a:pt x="29" y="268"/>
                      <a:pt x="29" y="268"/>
                      <a:pt x="28" y="267"/>
                    </a:cubicBezTo>
                    <a:cubicBezTo>
                      <a:pt x="28" y="267"/>
                      <a:pt x="28" y="266"/>
                      <a:pt x="28" y="266"/>
                    </a:cubicBezTo>
                    <a:cubicBezTo>
                      <a:pt x="28" y="266"/>
                      <a:pt x="28" y="266"/>
                      <a:pt x="28" y="265"/>
                    </a:cubicBezTo>
                    <a:cubicBezTo>
                      <a:pt x="29" y="265"/>
                      <a:pt x="29" y="264"/>
                      <a:pt x="30" y="263"/>
                    </a:cubicBezTo>
                    <a:cubicBezTo>
                      <a:pt x="30" y="263"/>
                      <a:pt x="31" y="263"/>
                      <a:pt x="31" y="264"/>
                    </a:cubicBezTo>
                    <a:cubicBezTo>
                      <a:pt x="31" y="264"/>
                      <a:pt x="31" y="264"/>
                      <a:pt x="31" y="265"/>
                    </a:cubicBezTo>
                    <a:cubicBezTo>
                      <a:pt x="31" y="265"/>
                      <a:pt x="31" y="265"/>
                      <a:pt x="31" y="265"/>
                    </a:cubicBezTo>
                    <a:cubicBezTo>
                      <a:pt x="32" y="264"/>
                      <a:pt x="31" y="263"/>
                      <a:pt x="32" y="263"/>
                    </a:cubicBezTo>
                    <a:cubicBezTo>
                      <a:pt x="33" y="262"/>
                      <a:pt x="33" y="263"/>
                      <a:pt x="34" y="263"/>
                    </a:cubicBezTo>
                    <a:cubicBezTo>
                      <a:pt x="34" y="263"/>
                      <a:pt x="35" y="262"/>
                      <a:pt x="36" y="262"/>
                    </a:cubicBezTo>
                    <a:cubicBezTo>
                      <a:pt x="35" y="262"/>
                      <a:pt x="35" y="262"/>
                      <a:pt x="35" y="263"/>
                    </a:cubicBezTo>
                    <a:cubicBezTo>
                      <a:pt x="34" y="263"/>
                      <a:pt x="34" y="262"/>
                      <a:pt x="33" y="262"/>
                    </a:cubicBezTo>
                    <a:cubicBezTo>
                      <a:pt x="32" y="262"/>
                      <a:pt x="32" y="263"/>
                      <a:pt x="31" y="263"/>
                    </a:cubicBezTo>
                    <a:cubicBezTo>
                      <a:pt x="30" y="263"/>
                      <a:pt x="30" y="263"/>
                      <a:pt x="29" y="263"/>
                    </a:cubicBezTo>
                    <a:cubicBezTo>
                      <a:pt x="29" y="262"/>
                      <a:pt x="30" y="262"/>
                      <a:pt x="30" y="262"/>
                    </a:cubicBezTo>
                    <a:cubicBezTo>
                      <a:pt x="30" y="262"/>
                      <a:pt x="31" y="261"/>
                      <a:pt x="31" y="261"/>
                    </a:cubicBezTo>
                    <a:cubicBezTo>
                      <a:pt x="31" y="261"/>
                      <a:pt x="28" y="262"/>
                      <a:pt x="29" y="261"/>
                    </a:cubicBezTo>
                    <a:cubicBezTo>
                      <a:pt x="29" y="260"/>
                      <a:pt x="30" y="260"/>
                      <a:pt x="30" y="260"/>
                    </a:cubicBezTo>
                    <a:cubicBezTo>
                      <a:pt x="30" y="260"/>
                      <a:pt x="30" y="259"/>
                      <a:pt x="31" y="259"/>
                    </a:cubicBezTo>
                    <a:cubicBezTo>
                      <a:pt x="31" y="259"/>
                      <a:pt x="31" y="259"/>
                      <a:pt x="31" y="259"/>
                    </a:cubicBezTo>
                    <a:cubicBezTo>
                      <a:pt x="32" y="259"/>
                      <a:pt x="31" y="258"/>
                      <a:pt x="32" y="258"/>
                    </a:cubicBezTo>
                    <a:cubicBezTo>
                      <a:pt x="32" y="258"/>
                      <a:pt x="32" y="258"/>
                      <a:pt x="32" y="259"/>
                    </a:cubicBezTo>
                    <a:cubicBezTo>
                      <a:pt x="32" y="259"/>
                      <a:pt x="32" y="259"/>
                      <a:pt x="32" y="260"/>
                    </a:cubicBezTo>
                    <a:cubicBezTo>
                      <a:pt x="32" y="260"/>
                      <a:pt x="32" y="262"/>
                      <a:pt x="33" y="261"/>
                    </a:cubicBezTo>
                    <a:cubicBezTo>
                      <a:pt x="32" y="261"/>
                      <a:pt x="32" y="261"/>
                      <a:pt x="33" y="260"/>
                    </a:cubicBezTo>
                    <a:cubicBezTo>
                      <a:pt x="33" y="260"/>
                      <a:pt x="33" y="260"/>
                      <a:pt x="33" y="260"/>
                    </a:cubicBezTo>
                    <a:cubicBezTo>
                      <a:pt x="34" y="260"/>
                      <a:pt x="34" y="260"/>
                      <a:pt x="34" y="259"/>
                    </a:cubicBezTo>
                    <a:cubicBezTo>
                      <a:pt x="34" y="260"/>
                      <a:pt x="33" y="260"/>
                      <a:pt x="33" y="260"/>
                    </a:cubicBezTo>
                    <a:cubicBezTo>
                      <a:pt x="33" y="260"/>
                      <a:pt x="32" y="260"/>
                      <a:pt x="32" y="260"/>
                    </a:cubicBezTo>
                    <a:cubicBezTo>
                      <a:pt x="32" y="260"/>
                      <a:pt x="32" y="259"/>
                      <a:pt x="32" y="258"/>
                    </a:cubicBezTo>
                    <a:cubicBezTo>
                      <a:pt x="32" y="257"/>
                      <a:pt x="34" y="257"/>
                      <a:pt x="34" y="257"/>
                    </a:cubicBezTo>
                    <a:cubicBezTo>
                      <a:pt x="35" y="258"/>
                      <a:pt x="35" y="259"/>
                      <a:pt x="36" y="258"/>
                    </a:cubicBezTo>
                    <a:cubicBezTo>
                      <a:pt x="36" y="258"/>
                      <a:pt x="35" y="258"/>
                      <a:pt x="35" y="258"/>
                    </a:cubicBezTo>
                    <a:cubicBezTo>
                      <a:pt x="35" y="257"/>
                      <a:pt x="35" y="257"/>
                      <a:pt x="35" y="257"/>
                    </a:cubicBezTo>
                    <a:cubicBezTo>
                      <a:pt x="34" y="257"/>
                      <a:pt x="37" y="256"/>
                      <a:pt x="37" y="255"/>
                    </a:cubicBezTo>
                    <a:cubicBezTo>
                      <a:pt x="37" y="255"/>
                      <a:pt x="36" y="256"/>
                      <a:pt x="36" y="256"/>
                    </a:cubicBezTo>
                    <a:cubicBezTo>
                      <a:pt x="36" y="255"/>
                      <a:pt x="37" y="255"/>
                      <a:pt x="38" y="255"/>
                    </a:cubicBezTo>
                    <a:cubicBezTo>
                      <a:pt x="38" y="255"/>
                      <a:pt x="39" y="254"/>
                      <a:pt x="39" y="255"/>
                    </a:cubicBezTo>
                    <a:cubicBezTo>
                      <a:pt x="38" y="255"/>
                      <a:pt x="38" y="255"/>
                      <a:pt x="38" y="255"/>
                    </a:cubicBezTo>
                    <a:cubicBezTo>
                      <a:pt x="39" y="255"/>
                      <a:pt x="39" y="255"/>
                      <a:pt x="40" y="255"/>
                    </a:cubicBezTo>
                    <a:cubicBezTo>
                      <a:pt x="41" y="255"/>
                      <a:pt x="41" y="255"/>
                      <a:pt x="42" y="254"/>
                    </a:cubicBezTo>
                    <a:cubicBezTo>
                      <a:pt x="41" y="254"/>
                      <a:pt x="39" y="254"/>
                      <a:pt x="39" y="254"/>
                    </a:cubicBezTo>
                    <a:cubicBezTo>
                      <a:pt x="39" y="254"/>
                      <a:pt x="40" y="253"/>
                      <a:pt x="41" y="253"/>
                    </a:cubicBezTo>
                    <a:cubicBezTo>
                      <a:pt x="41" y="253"/>
                      <a:pt x="42" y="252"/>
                      <a:pt x="42" y="252"/>
                    </a:cubicBezTo>
                    <a:cubicBezTo>
                      <a:pt x="43" y="251"/>
                      <a:pt x="44" y="251"/>
                      <a:pt x="44" y="251"/>
                    </a:cubicBezTo>
                    <a:cubicBezTo>
                      <a:pt x="45" y="251"/>
                      <a:pt x="45" y="250"/>
                      <a:pt x="46" y="250"/>
                    </a:cubicBezTo>
                    <a:cubicBezTo>
                      <a:pt x="46" y="250"/>
                      <a:pt x="47" y="250"/>
                      <a:pt x="47" y="249"/>
                    </a:cubicBezTo>
                    <a:cubicBezTo>
                      <a:pt x="47" y="250"/>
                      <a:pt x="46" y="250"/>
                      <a:pt x="46" y="250"/>
                    </a:cubicBezTo>
                    <a:cubicBezTo>
                      <a:pt x="46" y="250"/>
                      <a:pt x="45" y="250"/>
                      <a:pt x="45" y="250"/>
                    </a:cubicBezTo>
                    <a:cubicBezTo>
                      <a:pt x="45" y="250"/>
                      <a:pt x="46" y="249"/>
                      <a:pt x="46" y="248"/>
                    </a:cubicBezTo>
                    <a:cubicBezTo>
                      <a:pt x="46" y="248"/>
                      <a:pt x="45" y="249"/>
                      <a:pt x="45" y="249"/>
                    </a:cubicBezTo>
                    <a:cubicBezTo>
                      <a:pt x="44" y="250"/>
                      <a:pt x="44" y="250"/>
                      <a:pt x="43" y="251"/>
                    </a:cubicBezTo>
                    <a:cubicBezTo>
                      <a:pt x="44" y="250"/>
                      <a:pt x="44" y="250"/>
                      <a:pt x="44" y="250"/>
                    </a:cubicBezTo>
                    <a:cubicBezTo>
                      <a:pt x="42" y="252"/>
                      <a:pt x="40" y="253"/>
                      <a:pt x="39" y="254"/>
                    </a:cubicBezTo>
                    <a:cubicBezTo>
                      <a:pt x="38" y="254"/>
                      <a:pt x="37" y="255"/>
                      <a:pt x="38" y="254"/>
                    </a:cubicBezTo>
                    <a:cubicBezTo>
                      <a:pt x="38" y="253"/>
                      <a:pt x="39" y="253"/>
                      <a:pt x="39" y="253"/>
                    </a:cubicBezTo>
                    <a:cubicBezTo>
                      <a:pt x="40" y="252"/>
                      <a:pt x="40" y="252"/>
                      <a:pt x="41" y="252"/>
                    </a:cubicBezTo>
                    <a:cubicBezTo>
                      <a:pt x="42" y="252"/>
                      <a:pt x="42" y="251"/>
                      <a:pt x="42" y="251"/>
                    </a:cubicBezTo>
                    <a:cubicBezTo>
                      <a:pt x="43" y="250"/>
                      <a:pt x="43" y="249"/>
                      <a:pt x="44" y="248"/>
                    </a:cubicBezTo>
                    <a:cubicBezTo>
                      <a:pt x="44" y="247"/>
                      <a:pt x="45" y="247"/>
                      <a:pt x="45" y="246"/>
                    </a:cubicBezTo>
                    <a:cubicBezTo>
                      <a:pt x="46" y="246"/>
                      <a:pt x="47" y="245"/>
                      <a:pt x="48" y="245"/>
                    </a:cubicBezTo>
                    <a:cubicBezTo>
                      <a:pt x="48" y="245"/>
                      <a:pt x="47" y="245"/>
                      <a:pt x="47" y="245"/>
                    </a:cubicBezTo>
                    <a:cubicBezTo>
                      <a:pt x="48" y="245"/>
                      <a:pt x="49" y="242"/>
                      <a:pt x="48" y="243"/>
                    </a:cubicBezTo>
                    <a:cubicBezTo>
                      <a:pt x="48" y="243"/>
                      <a:pt x="46" y="243"/>
                      <a:pt x="46" y="243"/>
                    </a:cubicBezTo>
                    <a:cubicBezTo>
                      <a:pt x="46" y="242"/>
                      <a:pt x="47" y="242"/>
                      <a:pt x="46" y="241"/>
                    </a:cubicBezTo>
                    <a:cubicBezTo>
                      <a:pt x="46" y="241"/>
                      <a:pt x="46" y="240"/>
                      <a:pt x="45" y="240"/>
                    </a:cubicBezTo>
                    <a:cubicBezTo>
                      <a:pt x="45" y="240"/>
                      <a:pt x="44" y="240"/>
                      <a:pt x="43" y="240"/>
                    </a:cubicBezTo>
                    <a:cubicBezTo>
                      <a:pt x="43" y="239"/>
                      <a:pt x="42" y="238"/>
                      <a:pt x="42" y="238"/>
                    </a:cubicBezTo>
                    <a:cubicBezTo>
                      <a:pt x="41" y="237"/>
                      <a:pt x="40" y="238"/>
                      <a:pt x="39" y="238"/>
                    </a:cubicBezTo>
                    <a:cubicBezTo>
                      <a:pt x="40" y="238"/>
                      <a:pt x="40" y="237"/>
                      <a:pt x="40" y="237"/>
                    </a:cubicBezTo>
                    <a:cubicBezTo>
                      <a:pt x="40" y="237"/>
                      <a:pt x="40" y="237"/>
                      <a:pt x="40" y="236"/>
                    </a:cubicBezTo>
                    <a:cubicBezTo>
                      <a:pt x="41" y="236"/>
                      <a:pt x="41" y="236"/>
                      <a:pt x="41" y="235"/>
                    </a:cubicBezTo>
                    <a:cubicBezTo>
                      <a:pt x="40" y="235"/>
                      <a:pt x="40" y="235"/>
                      <a:pt x="40" y="235"/>
                    </a:cubicBezTo>
                    <a:cubicBezTo>
                      <a:pt x="41" y="234"/>
                      <a:pt x="42" y="234"/>
                      <a:pt x="42" y="233"/>
                    </a:cubicBezTo>
                    <a:cubicBezTo>
                      <a:pt x="42" y="233"/>
                      <a:pt x="41" y="233"/>
                      <a:pt x="40" y="233"/>
                    </a:cubicBezTo>
                    <a:cubicBezTo>
                      <a:pt x="41" y="232"/>
                      <a:pt x="42" y="232"/>
                      <a:pt x="42" y="231"/>
                    </a:cubicBezTo>
                    <a:cubicBezTo>
                      <a:pt x="43" y="230"/>
                      <a:pt x="42" y="229"/>
                      <a:pt x="43" y="228"/>
                    </a:cubicBezTo>
                    <a:cubicBezTo>
                      <a:pt x="43" y="227"/>
                      <a:pt x="43" y="226"/>
                      <a:pt x="43" y="226"/>
                    </a:cubicBezTo>
                    <a:cubicBezTo>
                      <a:pt x="44" y="225"/>
                      <a:pt x="44" y="225"/>
                      <a:pt x="44" y="224"/>
                    </a:cubicBezTo>
                    <a:cubicBezTo>
                      <a:pt x="44" y="224"/>
                      <a:pt x="44" y="223"/>
                      <a:pt x="44" y="222"/>
                    </a:cubicBezTo>
                    <a:cubicBezTo>
                      <a:pt x="44" y="222"/>
                      <a:pt x="45" y="222"/>
                      <a:pt x="44" y="221"/>
                    </a:cubicBezTo>
                    <a:cubicBezTo>
                      <a:pt x="44" y="221"/>
                      <a:pt x="44" y="220"/>
                      <a:pt x="44" y="220"/>
                    </a:cubicBezTo>
                    <a:cubicBezTo>
                      <a:pt x="45" y="220"/>
                      <a:pt x="45" y="219"/>
                      <a:pt x="45" y="219"/>
                    </a:cubicBezTo>
                    <a:cubicBezTo>
                      <a:pt x="46" y="219"/>
                      <a:pt x="45" y="218"/>
                      <a:pt x="45" y="218"/>
                    </a:cubicBezTo>
                    <a:cubicBezTo>
                      <a:pt x="45" y="218"/>
                      <a:pt x="45" y="217"/>
                      <a:pt x="45" y="217"/>
                    </a:cubicBezTo>
                    <a:cubicBezTo>
                      <a:pt x="45" y="215"/>
                      <a:pt x="44" y="216"/>
                      <a:pt x="43" y="215"/>
                    </a:cubicBezTo>
                    <a:cubicBezTo>
                      <a:pt x="43" y="214"/>
                      <a:pt x="44" y="214"/>
                      <a:pt x="43" y="213"/>
                    </a:cubicBezTo>
                    <a:cubicBezTo>
                      <a:pt x="44" y="213"/>
                      <a:pt x="45" y="212"/>
                      <a:pt x="44" y="212"/>
                    </a:cubicBezTo>
                    <a:cubicBezTo>
                      <a:pt x="43" y="212"/>
                      <a:pt x="44" y="211"/>
                      <a:pt x="43" y="211"/>
                    </a:cubicBezTo>
                    <a:cubicBezTo>
                      <a:pt x="43" y="211"/>
                      <a:pt x="42" y="211"/>
                      <a:pt x="42" y="210"/>
                    </a:cubicBezTo>
                    <a:cubicBezTo>
                      <a:pt x="42" y="210"/>
                      <a:pt x="43" y="210"/>
                      <a:pt x="43" y="209"/>
                    </a:cubicBezTo>
                    <a:cubicBezTo>
                      <a:pt x="43" y="209"/>
                      <a:pt x="43" y="209"/>
                      <a:pt x="43" y="209"/>
                    </a:cubicBezTo>
                    <a:cubicBezTo>
                      <a:pt x="43" y="208"/>
                      <a:pt x="45" y="208"/>
                      <a:pt x="44" y="207"/>
                    </a:cubicBezTo>
                    <a:cubicBezTo>
                      <a:pt x="44" y="207"/>
                      <a:pt x="44" y="207"/>
                      <a:pt x="44" y="207"/>
                    </a:cubicBezTo>
                    <a:cubicBezTo>
                      <a:pt x="44" y="207"/>
                      <a:pt x="44" y="207"/>
                      <a:pt x="44" y="206"/>
                    </a:cubicBezTo>
                    <a:cubicBezTo>
                      <a:pt x="44" y="206"/>
                      <a:pt x="44" y="206"/>
                      <a:pt x="44" y="206"/>
                    </a:cubicBezTo>
                    <a:cubicBezTo>
                      <a:pt x="43" y="205"/>
                      <a:pt x="43" y="205"/>
                      <a:pt x="42" y="206"/>
                    </a:cubicBezTo>
                    <a:cubicBezTo>
                      <a:pt x="41" y="206"/>
                      <a:pt x="39" y="206"/>
                      <a:pt x="38" y="207"/>
                    </a:cubicBezTo>
                    <a:cubicBezTo>
                      <a:pt x="38" y="207"/>
                      <a:pt x="35" y="207"/>
                      <a:pt x="35" y="207"/>
                    </a:cubicBezTo>
                    <a:cubicBezTo>
                      <a:pt x="35" y="208"/>
                      <a:pt x="35" y="208"/>
                      <a:pt x="35" y="208"/>
                    </a:cubicBezTo>
                    <a:cubicBezTo>
                      <a:pt x="34" y="208"/>
                      <a:pt x="34" y="208"/>
                      <a:pt x="34" y="208"/>
                    </a:cubicBezTo>
                    <a:cubicBezTo>
                      <a:pt x="33" y="209"/>
                      <a:pt x="32" y="209"/>
                      <a:pt x="31" y="209"/>
                    </a:cubicBezTo>
                    <a:cubicBezTo>
                      <a:pt x="31" y="210"/>
                      <a:pt x="30" y="211"/>
                      <a:pt x="29" y="211"/>
                    </a:cubicBezTo>
                    <a:cubicBezTo>
                      <a:pt x="28" y="212"/>
                      <a:pt x="27" y="211"/>
                      <a:pt x="26" y="212"/>
                    </a:cubicBezTo>
                    <a:cubicBezTo>
                      <a:pt x="25" y="212"/>
                      <a:pt x="24" y="212"/>
                      <a:pt x="23" y="213"/>
                    </a:cubicBezTo>
                    <a:cubicBezTo>
                      <a:pt x="22" y="213"/>
                      <a:pt x="21" y="213"/>
                      <a:pt x="20" y="214"/>
                    </a:cubicBezTo>
                    <a:cubicBezTo>
                      <a:pt x="20" y="214"/>
                      <a:pt x="19" y="214"/>
                      <a:pt x="18" y="214"/>
                    </a:cubicBezTo>
                    <a:cubicBezTo>
                      <a:pt x="19" y="213"/>
                      <a:pt x="20" y="213"/>
                      <a:pt x="20" y="212"/>
                    </a:cubicBezTo>
                    <a:cubicBezTo>
                      <a:pt x="20" y="212"/>
                      <a:pt x="21" y="211"/>
                      <a:pt x="21" y="210"/>
                    </a:cubicBezTo>
                    <a:cubicBezTo>
                      <a:pt x="21" y="210"/>
                      <a:pt x="20" y="209"/>
                      <a:pt x="20" y="208"/>
                    </a:cubicBezTo>
                    <a:cubicBezTo>
                      <a:pt x="20" y="207"/>
                      <a:pt x="19" y="206"/>
                      <a:pt x="19" y="206"/>
                    </a:cubicBezTo>
                    <a:cubicBezTo>
                      <a:pt x="19" y="205"/>
                      <a:pt x="20" y="205"/>
                      <a:pt x="20" y="204"/>
                    </a:cubicBezTo>
                    <a:cubicBezTo>
                      <a:pt x="20" y="204"/>
                      <a:pt x="18" y="203"/>
                      <a:pt x="18" y="203"/>
                    </a:cubicBezTo>
                    <a:cubicBezTo>
                      <a:pt x="18" y="203"/>
                      <a:pt x="18" y="203"/>
                      <a:pt x="18" y="202"/>
                    </a:cubicBezTo>
                    <a:cubicBezTo>
                      <a:pt x="18" y="202"/>
                      <a:pt x="18" y="202"/>
                      <a:pt x="19" y="202"/>
                    </a:cubicBezTo>
                    <a:cubicBezTo>
                      <a:pt x="19" y="201"/>
                      <a:pt x="20" y="201"/>
                      <a:pt x="21" y="200"/>
                    </a:cubicBezTo>
                    <a:cubicBezTo>
                      <a:pt x="21" y="200"/>
                      <a:pt x="22" y="200"/>
                      <a:pt x="21" y="200"/>
                    </a:cubicBezTo>
                    <a:cubicBezTo>
                      <a:pt x="20" y="199"/>
                      <a:pt x="19" y="200"/>
                      <a:pt x="19" y="200"/>
                    </a:cubicBezTo>
                    <a:cubicBezTo>
                      <a:pt x="18" y="200"/>
                      <a:pt x="17" y="200"/>
                      <a:pt x="16" y="200"/>
                    </a:cubicBezTo>
                    <a:cubicBezTo>
                      <a:pt x="15" y="201"/>
                      <a:pt x="14" y="201"/>
                      <a:pt x="13" y="201"/>
                    </a:cubicBezTo>
                    <a:cubicBezTo>
                      <a:pt x="12" y="201"/>
                      <a:pt x="12" y="201"/>
                      <a:pt x="11" y="201"/>
                    </a:cubicBezTo>
                    <a:cubicBezTo>
                      <a:pt x="10" y="200"/>
                      <a:pt x="10" y="200"/>
                      <a:pt x="9" y="201"/>
                    </a:cubicBezTo>
                    <a:cubicBezTo>
                      <a:pt x="9" y="201"/>
                      <a:pt x="6" y="201"/>
                      <a:pt x="7" y="200"/>
                    </a:cubicBezTo>
                    <a:cubicBezTo>
                      <a:pt x="7" y="199"/>
                      <a:pt x="8" y="198"/>
                      <a:pt x="9" y="198"/>
                    </a:cubicBezTo>
                    <a:cubicBezTo>
                      <a:pt x="15" y="193"/>
                      <a:pt x="21" y="187"/>
                      <a:pt x="27" y="182"/>
                    </a:cubicBezTo>
                    <a:cubicBezTo>
                      <a:pt x="33" y="176"/>
                      <a:pt x="40" y="171"/>
                      <a:pt x="46" y="165"/>
                    </a:cubicBezTo>
                    <a:cubicBezTo>
                      <a:pt x="59" y="155"/>
                      <a:pt x="72" y="144"/>
                      <a:pt x="85" y="134"/>
                    </a:cubicBezTo>
                    <a:cubicBezTo>
                      <a:pt x="88" y="131"/>
                      <a:pt x="92" y="128"/>
                      <a:pt x="96" y="125"/>
                    </a:cubicBezTo>
                    <a:cubicBezTo>
                      <a:pt x="99" y="123"/>
                      <a:pt x="102" y="120"/>
                      <a:pt x="105" y="118"/>
                    </a:cubicBezTo>
                    <a:cubicBezTo>
                      <a:pt x="108" y="116"/>
                      <a:pt x="111" y="113"/>
                      <a:pt x="114" y="111"/>
                    </a:cubicBezTo>
                    <a:cubicBezTo>
                      <a:pt x="115" y="111"/>
                      <a:pt x="115" y="110"/>
                      <a:pt x="116" y="110"/>
                    </a:cubicBezTo>
                    <a:cubicBezTo>
                      <a:pt x="116" y="110"/>
                      <a:pt x="116" y="110"/>
                      <a:pt x="116" y="110"/>
                    </a:cubicBezTo>
                    <a:cubicBezTo>
                      <a:pt x="117" y="110"/>
                      <a:pt x="118" y="110"/>
                      <a:pt x="119" y="110"/>
                    </a:cubicBezTo>
                    <a:cubicBezTo>
                      <a:pt x="121" y="110"/>
                      <a:pt x="122" y="110"/>
                      <a:pt x="124" y="110"/>
                    </a:cubicBezTo>
                    <a:cubicBezTo>
                      <a:pt x="124" y="111"/>
                      <a:pt x="124" y="111"/>
                      <a:pt x="124" y="111"/>
                    </a:cubicBezTo>
                    <a:cubicBezTo>
                      <a:pt x="125" y="111"/>
                      <a:pt x="125" y="111"/>
                      <a:pt x="125" y="111"/>
                    </a:cubicBezTo>
                    <a:cubicBezTo>
                      <a:pt x="126" y="111"/>
                      <a:pt x="127" y="111"/>
                      <a:pt x="127" y="111"/>
                    </a:cubicBezTo>
                    <a:cubicBezTo>
                      <a:pt x="127" y="112"/>
                      <a:pt x="127" y="112"/>
                      <a:pt x="128" y="113"/>
                    </a:cubicBezTo>
                    <a:cubicBezTo>
                      <a:pt x="128" y="113"/>
                      <a:pt x="128" y="113"/>
                      <a:pt x="128" y="114"/>
                    </a:cubicBezTo>
                    <a:cubicBezTo>
                      <a:pt x="128" y="114"/>
                      <a:pt x="128" y="114"/>
                      <a:pt x="129" y="114"/>
                    </a:cubicBezTo>
                    <a:cubicBezTo>
                      <a:pt x="129" y="114"/>
                      <a:pt x="130" y="113"/>
                      <a:pt x="129" y="113"/>
                    </a:cubicBezTo>
                    <a:cubicBezTo>
                      <a:pt x="129" y="113"/>
                      <a:pt x="130" y="113"/>
                      <a:pt x="130" y="113"/>
                    </a:cubicBezTo>
                    <a:cubicBezTo>
                      <a:pt x="130" y="114"/>
                      <a:pt x="129" y="114"/>
                      <a:pt x="130" y="115"/>
                    </a:cubicBezTo>
                    <a:cubicBezTo>
                      <a:pt x="131" y="115"/>
                      <a:pt x="132" y="116"/>
                      <a:pt x="133" y="116"/>
                    </a:cubicBezTo>
                    <a:cubicBezTo>
                      <a:pt x="132" y="116"/>
                      <a:pt x="134" y="116"/>
                      <a:pt x="134" y="116"/>
                    </a:cubicBezTo>
                    <a:cubicBezTo>
                      <a:pt x="135" y="116"/>
                      <a:pt x="135" y="117"/>
                      <a:pt x="136" y="117"/>
                    </a:cubicBezTo>
                    <a:cubicBezTo>
                      <a:pt x="137" y="117"/>
                      <a:pt x="138" y="117"/>
                      <a:pt x="139" y="117"/>
                    </a:cubicBezTo>
                    <a:cubicBezTo>
                      <a:pt x="140" y="117"/>
                      <a:pt x="142" y="117"/>
                      <a:pt x="142" y="117"/>
                    </a:cubicBezTo>
                    <a:cubicBezTo>
                      <a:pt x="142" y="118"/>
                      <a:pt x="142" y="118"/>
                      <a:pt x="143" y="118"/>
                    </a:cubicBezTo>
                    <a:cubicBezTo>
                      <a:pt x="143" y="118"/>
                      <a:pt x="143" y="118"/>
                      <a:pt x="143" y="118"/>
                    </a:cubicBezTo>
                    <a:cubicBezTo>
                      <a:pt x="143" y="118"/>
                      <a:pt x="144" y="119"/>
                      <a:pt x="143" y="119"/>
                    </a:cubicBezTo>
                    <a:cubicBezTo>
                      <a:pt x="144" y="119"/>
                      <a:pt x="145" y="119"/>
                      <a:pt x="145" y="119"/>
                    </a:cubicBezTo>
                    <a:cubicBezTo>
                      <a:pt x="145" y="119"/>
                      <a:pt x="145" y="119"/>
                      <a:pt x="145" y="119"/>
                    </a:cubicBezTo>
                    <a:cubicBezTo>
                      <a:pt x="145" y="119"/>
                      <a:pt x="145" y="119"/>
                      <a:pt x="145" y="118"/>
                    </a:cubicBezTo>
                    <a:cubicBezTo>
                      <a:pt x="145" y="118"/>
                      <a:pt x="145" y="118"/>
                      <a:pt x="144" y="118"/>
                    </a:cubicBezTo>
                    <a:cubicBezTo>
                      <a:pt x="144" y="117"/>
                      <a:pt x="146" y="117"/>
                      <a:pt x="146" y="117"/>
                    </a:cubicBezTo>
                    <a:cubicBezTo>
                      <a:pt x="145" y="117"/>
                      <a:pt x="144" y="117"/>
                      <a:pt x="144" y="117"/>
                    </a:cubicBezTo>
                    <a:cubicBezTo>
                      <a:pt x="144" y="117"/>
                      <a:pt x="147" y="117"/>
                      <a:pt x="147" y="117"/>
                    </a:cubicBezTo>
                    <a:cubicBezTo>
                      <a:pt x="148" y="117"/>
                      <a:pt x="148" y="117"/>
                      <a:pt x="148" y="117"/>
                    </a:cubicBezTo>
                    <a:cubicBezTo>
                      <a:pt x="149" y="117"/>
                      <a:pt x="149" y="117"/>
                      <a:pt x="149" y="117"/>
                    </a:cubicBezTo>
                    <a:cubicBezTo>
                      <a:pt x="150" y="117"/>
                      <a:pt x="151" y="116"/>
                      <a:pt x="151" y="117"/>
                    </a:cubicBezTo>
                    <a:cubicBezTo>
                      <a:pt x="151" y="117"/>
                      <a:pt x="150" y="118"/>
                      <a:pt x="151" y="118"/>
                    </a:cubicBezTo>
                    <a:cubicBezTo>
                      <a:pt x="151" y="118"/>
                      <a:pt x="151" y="118"/>
                      <a:pt x="151" y="118"/>
                    </a:cubicBezTo>
                    <a:cubicBezTo>
                      <a:pt x="150" y="119"/>
                      <a:pt x="152" y="119"/>
                      <a:pt x="152" y="119"/>
                    </a:cubicBezTo>
                    <a:cubicBezTo>
                      <a:pt x="152" y="119"/>
                      <a:pt x="152" y="119"/>
                      <a:pt x="152" y="119"/>
                    </a:cubicBezTo>
                    <a:cubicBezTo>
                      <a:pt x="152" y="119"/>
                      <a:pt x="151" y="119"/>
                      <a:pt x="151" y="119"/>
                    </a:cubicBezTo>
                    <a:cubicBezTo>
                      <a:pt x="150" y="119"/>
                      <a:pt x="151" y="118"/>
                      <a:pt x="151" y="118"/>
                    </a:cubicBezTo>
                    <a:cubicBezTo>
                      <a:pt x="151" y="118"/>
                      <a:pt x="151" y="118"/>
                      <a:pt x="151" y="118"/>
                    </a:cubicBezTo>
                    <a:cubicBezTo>
                      <a:pt x="151" y="117"/>
                      <a:pt x="151" y="116"/>
                      <a:pt x="151" y="116"/>
                    </a:cubicBezTo>
                    <a:cubicBezTo>
                      <a:pt x="151" y="116"/>
                      <a:pt x="151" y="116"/>
                      <a:pt x="151" y="116"/>
                    </a:cubicBezTo>
                    <a:cubicBezTo>
                      <a:pt x="151" y="116"/>
                      <a:pt x="150" y="116"/>
                      <a:pt x="150" y="117"/>
                    </a:cubicBezTo>
                    <a:cubicBezTo>
                      <a:pt x="149" y="117"/>
                      <a:pt x="149" y="117"/>
                      <a:pt x="148" y="117"/>
                    </a:cubicBezTo>
                    <a:cubicBezTo>
                      <a:pt x="148" y="117"/>
                      <a:pt x="148" y="117"/>
                      <a:pt x="148" y="117"/>
                    </a:cubicBezTo>
                    <a:cubicBezTo>
                      <a:pt x="148" y="116"/>
                      <a:pt x="147" y="117"/>
                      <a:pt x="147" y="117"/>
                    </a:cubicBezTo>
                    <a:cubicBezTo>
                      <a:pt x="147" y="117"/>
                      <a:pt x="146" y="116"/>
                      <a:pt x="147" y="116"/>
                    </a:cubicBezTo>
                    <a:cubicBezTo>
                      <a:pt x="146" y="116"/>
                      <a:pt x="146" y="116"/>
                      <a:pt x="145" y="117"/>
                    </a:cubicBezTo>
                    <a:cubicBezTo>
                      <a:pt x="145" y="117"/>
                      <a:pt x="145" y="117"/>
                      <a:pt x="144" y="117"/>
                    </a:cubicBezTo>
                    <a:cubicBezTo>
                      <a:pt x="144" y="117"/>
                      <a:pt x="142" y="117"/>
                      <a:pt x="142" y="116"/>
                    </a:cubicBezTo>
                    <a:cubicBezTo>
                      <a:pt x="143" y="116"/>
                      <a:pt x="143" y="116"/>
                      <a:pt x="143" y="116"/>
                    </a:cubicBezTo>
                    <a:cubicBezTo>
                      <a:pt x="143" y="116"/>
                      <a:pt x="143" y="116"/>
                      <a:pt x="143" y="116"/>
                    </a:cubicBezTo>
                    <a:cubicBezTo>
                      <a:pt x="143" y="116"/>
                      <a:pt x="144" y="115"/>
                      <a:pt x="144" y="116"/>
                    </a:cubicBezTo>
                    <a:cubicBezTo>
                      <a:pt x="144" y="116"/>
                      <a:pt x="144" y="116"/>
                      <a:pt x="144" y="116"/>
                    </a:cubicBezTo>
                    <a:cubicBezTo>
                      <a:pt x="145" y="116"/>
                      <a:pt x="146" y="116"/>
                      <a:pt x="147" y="116"/>
                    </a:cubicBezTo>
                    <a:cubicBezTo>
                      <a:pt x="146" y="116"/>
                      <a:pt x="146" y="116"/>
                      <a:pt x="145" y="116"/>
                    </a:cubicBezTo>
                    <a:cubicBezTo>
                      <a:pt x="146" y="115"/>
                      <a:pt x="145" y="115"/>
                      <a:pt x="145" y="115"/>
                    </a:cubicBezTo>
                    <a:cubicBezTo>
                      <a:pt x="145" y="115"/>
                      <a:pt x="145" y="115"/>
                      <a:pt x="145" y="115"/>
                    </a:cubicBezTo>
                    <a:cubicBezTo>
                      <a:pt x="145" y="114"/>
                      <a:pt x="146" y="114"/>
                      <a:pt x="146" y="114"/>
                    </a:cubicBezTo>
                    <a:cubicBezTo>
                      <a:pt x="147" y="113"/>
                      <a:pt x="147" y="114"/>
                      <a:pt x="147" y="114"/>
                    </a:cubicBezTo>
                    <a:cubicBezTo>
                      <a:pt x="147" y="115"/>
                      <a:pt x="148" y="115"/>
                      <a:pt x="148" y="115"/>
                    </a:cubicBezTo>
                    <a:cubicBezTo>
                      <a:pt x="148" y="115"/>
                      <a:pt x="147" y="114"/>
                      <a:pt x="147" y="113"/>
                    </a:cubicBezTo>
                    <a:cubicBezTo>
                      <a:pt x="147" y="113"/>
                      <a:pt x="149" y="113"/>
                      <a:pt x="149" y="113"/>
                    </a:cubicBezTo>
                    <a:cubicBezTo>
                      <a:pt x="149" y="113"/>
                      <a:pt x="149" y="114"/>
                      <a:pt x="149" y="114"/>
                    </a:cubicBezTo>
                    <a:cubicBezTo>
                      <a:pt x="149" y="114"/>
                      <a:pt x="150" y="112"/>
                      <a:pt x="151" y="113"/>
                    </a:cubicBezTo>
                    <a:cubicBezTo>
                      <a:pt x="151" y="113"/>
                      <a:pt x="151" y="113"/>
                      <a:pt x="152" y="113"/>
                    </a:cubicBezTo>
                    <a:cubicBezTo>
                      <a:pt x="152" y="114"/>
                      <a:pt x="152" y="113"/>
                      <a:pt x="152" y="113"/>
                    </a:cubicBezTo>
                    <a:cubicBezTo>
                      <a:pt x="153" y="112"/>
                      <a:pt x="153" y="112"/>
                      <a:pt x="154" y="112"/>
                    </a:cubicBezTo>
                    <a:cubicBezTo>
                      <a:pt x="154" y="112"/>
                      <a:pt x="155" y="111"/>
                      <a:pt x="156" y="112"/>
                    </a:cubicBezTo>
                    <a:cubicBezTo>
                      <a:pt x="156" y="111"/>
                      <a:pt x="157" y="111"/>
                      <a:pt x="157" y="111"/>
                    </a:cubicBezTo>
                    <a:cubicBezTo>
                      <a:pt x="157" y="111"/>
                      <a:pt x="157" y="111"/>
                      <a:pt x="157" y="111"/>
                    </a:cubicBezTo>
                    <a:cubicBezTo>
                      <a:pt x="158" y="112"/>
                      <a:pt x="158" y="112"/>
                      <a:pt x="158" y="112"/>
                    </a:cubicBezTo>
                    <a:cubicBezTo>
                      <a:pt x="159" y="112"/>
                      <a:pt x="159" y="112"/>
                      <a:pt x="160" y="112"/>
                    </a:cubicBezTo>
                    <a:cubicBezTo>
                      <a:pt x="161" y="111"/>
                      <a:pt x="158" y="112"/>
                      <a:pt x="159" y="111"/>
                    </a:cubicBezTo>
                    <a:cubicBezTo>
                      <a:pt x="160" y="111"/>
                      <a:pt x="160" y="111"/>
                      <a:pt x="160" y="111"/>
                    </a:cubicBezTo>
                    <a:cubicBezTo>
                      <a:pt x="161" y="110"/>
                      <a:pt x="161" y="110"/>
                      <a:pt x="162" y="110"/>
                    </a:cubicBezTo>
                    <a:cubicBezTo>
                      <a:pt x="162" y="110"/>
                      <a:pt x="162" y="109"/>
                      <a:pt x="162" y="109"/>
                    </a:cubicBezTo>
                    <a:cubicBezTo>
                      <a:pt x="162" y="109"/>
                      <a:pt x="163" y="109"/>
                      <a:pt x="163" y="109"/>
                    </a:cubicBezTo>
                    <a:cubicBezTo>
                      <a:pt x="163" y="109"/>
                      <a:pt x="163" y="110"/>
                      <a:pt x="163" y="110"/>
                    </a:cubicBezTo>
                    <a:cubicBezTo>
                      <a:pt x="163" y="110"/>
                      <a:pt x="164" y="109"/>
                      <a:pt x="163" y="110"/>
                    </a:cubicBezTo>
                    <a:cubicBezTo>
                      <a:pt x="163" y="110"/>
                      <a:pt x="162" y="110"/>
                      <a:pt x="162" y="111"/>
                    </a:cubicBezTo>
                    <a:cubicBezTo>
                      <a:pt x="162" y="111"/>
                      <a:pt x="163" y="111"/>
                      <a:pt x="163" y="110"/>
                    </a:cubicBezTo>
                    <a:cubicBezTo>
                      <a:pt x="162" y="111"/>
                      <a:pt x="163" y="111"/>
                      <a:pt x="164" y="111"/>
                    </a:cubicBezTo>
                    <a:cubicBezTo>
                      <a:pt x="163" y="111"/>
                      <a:pt x="163" y="111"/>
                      <a:pt x="163" y="111"/>
                    </a:cubicBezTo>
                    <a:cubicBezTo>
                      <a:pt x="163" y="111"/>
                      <a:pt x="163" y="111"/>
                      <a:pt x="163" y="111"/>
                    </a:cubicBezTo>
                    <a:cubicBezTo>
                      <a:pt x="164" y="111"/>
                      <a:pt x="164" y="111"/>
                      <a:pt x="164" y="111"/>
                    </a:cubicBezTo>
                    <a:cubicBezTo>
                      <a:pt x="165" y="111"/>
                      <a:pt x="165" y="111"/>
                      <a:pt x="165" y="111"/>
                    </a:cubicBezTo>
                    <a:cubicBezTo>
                      <a:pt x="165" y="111"/>
                      <a:pt x="164" y="112"/>
                      <a:pt x="163" y="112"/>
                    </a:cubicBezTo>
                    <a:cubicBezTo>
                      <a:pt x="162" y="112"/>
                      <a:pt x="161" y="112"/>
                      <a:pt x="160" y="113"/>
                    </a:cubicBezTo>
                    <a:cubicBezTo>
                      <a:pt x="159" y="113"/>
                      <a:pt x="158" y="114"/>
                      <a:pt x="158" y="114"/>
                    </a:cubicBezTo>
                    <a:cubicBezTo>
                      <a:pt x="157" y="114"/>
                      <a:pt x="156" y="115"/>
                      <a:pt x="155" y="115"/>
                    </a:cubicBezTo>
                    <a:cubicBezTo>
                      <a:pt x="154" y="115"/>
                      <a:pt x="153" y="115"/>
                      <a:pt x="152" y="116"/>
                    </a:cubicBezTo>
                    <a:cubicBezTo>
                      <a:pt x="152" y="116"/>
                      <a:pt x="152" y="116"/>
                      <a:pt x="152" y="117"/>
                    </a:cubicBezTo>
                    <a:cubicBezTo>
                      <a:pt x="152" y="117"/>
                      <a:pt x="152" y="117"/>
                      <a:pt x="152" y="117"/>
                    </a:cubicBezTo>
                    <a:cubicBezTo>
                      <a:pt x="152" y="117"/>
                      <a:pt x="152" y="118"/>
                      <a:pt x="152" y="118"/>
                    </a:cubicBezTo>
                    <a:cubicBezTo>
                      <a:pt x="152" y="118"/>
                      <a:pt x="152" y="118"/>
                      <a:pt x="152" y="118"/>
                    </a:cubicBezTo>
                    <a:cubicBezTo>
                      <a:pt x="152" y="118"/>
                      <a:pt x="152" y="118"/>
                      <a:pt x="152" y="118"/>
                    </a:cubicBezTo>
                    <a:cubicBezTo>
                      <a:pt x="152" y="118"/>
                      <a:pt x="152" y="118"/>
                      <a:pt x="152" y="118"/>
                    </a:cubicBezTo>
                    <a:cubicBezTo>
                      <a:pt x="152" y="118"/>
                      <a:pt x="152" y="118"/>
                      <a:pt x="152" y="118"/>
                    </a:cubicBezTo>
                    <a:cubicBezTo>
                      <a:pt x="152" y="117"/>
                      <a:pt x="153" y="116"/>
                      <a:pt x="153" y="116"/>
                    </a:cubicBezTo>
                    <a:cubicBezTo>
                      <a:pt x="154" y="115"/>
                      <a:pt x="155" y="115"/>
                      <a:pt x="156" y="115"/>
                    </a:cubicBezTo>
                    <a:cubicBezTo>
                      <a:pt x="157" y="115"/>
                      <a:pt x="158" y="114"/>
                      <a:pt x="159" y="114"/>
                    </a:cubicBezTo>
                    <a:cubicBezTo>
                      <a:pt x="159" y="113"/>
                      <a:pt x="160" y="113"/>
                      <a:pt x="161" y="113"/>
                    </a:cubicBezTo>
                    <a:cubicBezTo>
                      <a:pt x="162" y="113"/>
                      <a:pt x="162" y="113"/>
                      <a:pt x="163" y="113"/>
                    </a:cubicBezTo>
                    <a:cubicBezTo>
                      <a:pt x="163" y="113"/>
                      <a:pt x="163" y="113"/>
                      <a:pt x="163" y="113"/>
                    </a:cubicBezTo>
                    <a:cubicBezTo>
                      <a:pt x="165" y="112"/>
                      <a:pt x="166" y="112"/>
                      <a:pt x="167" y="112"/>
                    </a:cubicBezTo>
                    <a:cubicBezTo>
                      <a:pt x="168" y="112"/>
                      <a:pt x="169" y="112"/>
                      <a:pt x="169" y="112"/>
                    </a:cubicBezTo>
                    <a:cubicBezTo>
                      <a:pt x="170" y="111"/>
                      <a:pt x="171" y="111"/>
                      <a:pt x="171" y="110"/>
                    </a:cubicBezTo>
                    <a:cubicBezTo>
                      <a:pt x="172" y="110"/>
                      <a:pt x="172" y="110"/>
                      <a:pt x="173" y="110"/>
                    </a:cubicBezTo>
                    <a:cubicBezTo>
                      <a:pt x="173" y="110"/>
                      <a:pt x="174" y="110"/>
                      <a:pt x="173" y="110"/>
                    </a:cubicBezTo>
                    <a:cubicBezTo>
                      <a:pt x="174" y="110"/>
                      <a:pt x="174" y="110"/>
                      <a:pt x="174" y="110"/>
                    </a:cubicBezTo>
                    <a:cubicBezTo>
                      <a:pt x="175" y="110"/>
                      <a:pt x="175" y="110"/>
                      <a:pt x="175" y="110"/>
                    </a:cubicBezTo>
                    <a:cubicBezTo>
                      <a:pt x="176" y="110"/>
                      <a:pt x="176" y="110"/>
                      <a:pt x="177" y="110"/>
                    </a:cubicBezTo>
                    <a:cubicBezTo>
                      <a:pt x="176" y="110"/>
                      <a:pt x="176" y="110"/>
                      <a:pt x="176" y="110"/>
                    </a:cubicBezTo>
                    <a:cubicBezTo>
                      <a:pt x="176" y="110"/>
                      <a:pt x="176" y="110"/>
                      <a:pt x="176" y="109"/>
                    </a:cubicBezTo>
                    <a:cubicBezTo>
                      <a:pt x="176" y="109"/>
                      <a:pt x="175" y="110"/>
                      <a:pt x="175" y="110"/>
                    </a:cubicBezTo>
                    <a:cubicBezTo>
                      <a:pt x="176" y="109"/>
                      <a:pt x="177" y="109"/>
                      <a:pt x="178" y="109"/>
                    </a:cubicBezTo>
                    <a:cubicBezTo>
                      <a:pt x="178" y="109"/>
                      <a:pt x="177" y="109"/>
                      <a:pt x="176" y="109"/>
                    </a:cubicBezTo>
                    <a:cubicBezTo>
                      <a:pt x="177" y="109"/>
                      <a:pt x="177" y="109"/>
                      <a:pt x="178" y="109"/>
                    </a:cubicBezTo>
                    <a:cubicBezTo>
                      <a:pt x="177" y="109"/>
                      <a:pt x="178" y="110"/>
                      <a:pt x="179" y="109"/>
                    </a:cubicBezTo>
                    <a:cubicBezTo>
                      <a:pt x="179" y="109"/>
                      <a:pt x="180" y="109"/>
                      <a:pt x="180" y="109"/>
                    </a:cubicBezTo>
                    <a:cubicBezTo>
                      <a:pt x="182" y="109"/>
                      <a:pt x="183" y="108"/>
                      <a:pt x="184" y="108"/>
                    </a:cubicBezTo>
                    <a:cubicBezTo>
                      <a:pt x="185" y="108"/>
                      <a:pt x="185" y="108"/>
                      <a:pt x="186" y="107"/>
                    </a:cubicBezTo>
                    <a:cubicBezTo>
                      <a:pt x="186" y="107"/>
                      <a:pt x="186" y="107"/>
                      <a:pt x="187" y="107"/>
                    </a:cubicBezTo>
                    <a:cubicBezTo>
                      <a:pt x="188" y="107"/>
                      <a:pt x="187" y="108"/>
                      <a:pt x="186" y="108"/>
                    </a:cubicBezTo>
                    <a:cubicBezTo>
                      <a:pt x="187" y="108"/>
                      <a:pt x="188" y="108"/>
                      <a:pt x="188" y="107"/>
                    </a:cubicBezTo>
                    <a:cubicBezTo>
                      <a:pt x="189" y="107"/>
                      <a:pt x="190" y="107"/>
                      <a:pt x="191" y="106"/>
                    </a:cubicBezTo>
                    <a:cubicBezTo>
                      <a:pt x="190" y="106"/>
                      <a:pt x="190" y="106"/>
                      <a:pt x="190" y="106"/>
                    </a:cubicBezTo>
                    <a:cubicBezTo>
                      <a:pt x="191" y="106"/>
                      <a:pt x="191" y="106"/>
                      <a:pt x="192" y="106"/>
                    </a:cubicBezTo>
                    <a:cubicBezTo>
                      <a:pt x="191" y="106"/>
                      <a:pt x="192" y="106"/>
                      <a:pt x="192" y="106"/>
                    </a:cubicBezTo>
                    <a:cubicBezTo>
                      <a:pt x="193" y="106"/>
                      <a:pt x="193" y="106"/>
                      <a:pt x="193" y="106"/>
                    </a:cubicBezTo>
                    <a:cubicBezTo>
                      <a:pt x="193" y="106"/>
                      <a:pt x="193" y="106"/>
                      <a:pt x="193" y="106"/>
                    </a:cubicBezTo>
                    <a:cubicBezTo>
                      <a:pt x="194" y="106"/>
                      <a:pt x="194" y="105"/>
                      <a:pt x="195" y="105"/>
                    </a:cubicBezTo>
                    <a:cubicBezTo>
                      <a:pt x="195" y="105"/>
                      <a:pt x="194" y="106"/>
                      <a:pt x="194" y="106"/>
                    </a:cubicBezTo>
                    <a:cubicBezTo>
                      <a:pt x="195" y="106"/>
                      <a:pt x="196" y="105"/>
                      <a:pt x="196" y="105"/>
                    </a:cubicBezTo>
                    <a:cubicBezTo>
                      <a:pt x="196" y="105"/>
                      <a:pt x="196" y="105"/>
                      <a:pt x="196" y="106"/>
                    </a:cubicBezTo>
                    <a:cubicBezTo>
                      <a:pt x="196" y="106"/>
                      <a:pt x="196" y="106"/>
                      <a:pt x="196" y="106"/>
                    </a:cubicBezTo>
                    <a:cubicBezTo>
                      <a:pt x="196" y="106"/>
                      <a:pt x="196" y="106"/>
                      <a:pt x="195" y="106"/>
                    </a:cubicBezTo>
                    <a:cubicBezTo>
                      <a:pt x="196" y="106"/>
                      <a:pt x="196" y="106"/>
                      <a:pt x="197" y="106"/>
                    </a:cubicBezTo>
                    <a:cubicBezTo>
                      <a:pt x="197" y="106"/>
                      <a:pt x="196" y="106"/>
                      <a:pt x="196" y="106"/>
                    </a:cubicBezTo>
                    <a:cubicBezTo>
                      <a:pt x="197" y="106"/>
                      <a:pt x="197" y="106"/>
                      <a:pt x="197" y="106"/>
                    </a:cubicBezTo>
                    <a:cubicBezTo>
                      <a:pt x="197" y="106"/>
                      <a:pt x="198" y="106"/>
                      <a:pt x="198" y="106"/>
                    </a:cubicBezTo>
                    <a:cubicBezTo>
                      <a:pt x="198" y="106"/>
                      <a:pt x="198" y="106"/>
                      <a:pt x="198" y="106"/>
                    </a:cubicBezTo>
                    <a:cubicBezTo>
                      <a:pt x="198" y="106"/>
                      <a:pt x="199" y="106"/>
                      <a:pt x="200" y="105"/>
                    </a:cubicBezTo>
                    <a:cubicBezTo>
                      <a:pt x="200" y="105"/>
                      <a:pt x="201" y="104"/>
                      <a:pt x="202" y="104"/>
                    </a:cubicBezTo>
                    <a:cubicBezTo>
                      <a:pt x="202" y="105"/>
                      <a:pt x="202" y="105"/>
                      <a:pt x="201" y="105"/>
                    </a:cubicBezTo>
                    <a:cubicBezTo>
                      <a:pt x="202" y="105"/>
                      <a:pt x="202" y="105"/>
                      <a:pt x="202" y="105"/>
                    </a:cubicBezTo>
                    <a:cubicBezTo>
                      <a:pt x="202" y="105"/>
                      <a:pt x="202" y="106"/>
                      <a:pt x="202" y="106"/>
                    </a:cubicBezTo>
                    <a:cubicBezTo>
                      <a:pt x="202" y="106"/>
                      <a:pt x="202" y="106"/>
                      <a:pt x="202" y="106"/>
                    </a:cubicBezTo>
                    <a:cubicBezTo>
                      <a:pt x="202" y="106"/>
                      <a:pt x="201" y="106"/>
                      <a:pt x="200" y="106"/>
                    </a:cubicBezTo>
                    <a:cubicBezTo>
                      <a:pt x="201" y="107"/>
                      <a:pt x="199" y="107"/>
                      <a:pt x="199" y="107"/>
                    </a:cubicBezTo>
                    <a:cubicBezTo>
                      <a:pt x="198" y="107"/>
                      <a:pt x="197" y="107"/>
                      <a:pt x="197" y="107"/>
                    </a:cubicBezTo>
                    <a:cubicBezTo>
                      <a:pt x="196" y="108"/>
                      <a:pt x="193" y="108"/>
                      <a:pt x="193" y="108"/>
                    </a:cubicBezTo>
                    <a:cubicBezTo>
                      <a:pt x="192" y="108"/>
                      <a:pt x="191" y="108"/>
                      <a:pt x="190" y="109"/>
                    </a:cubicBezTo>
                    <a:cubicBezTo>
                      <a:pt x="190" y="109"/>
                      <a:pt x="189" y="109"/>
                      <a:pt x="188" y="110"/>
                    </a:cubicBezTo>
                    <a:cubicBezTo>
                      <a:pt x="187" y="110"/>
                      <a:pt x="187" y="110"/>
                      <a:pt x="186" y="110"/>
                    </a:cubicBezTo>
                    <a:cubicBezTo>
                      <a:pt x="186" y="111"/>
                      <a:pt x="185" y="111"/>
                      <a:pt x="185" y="110"/>
                    </a:cubicBezTo>
                    <a:cubicBezTo>
                      <a:pt x="184" y="110"/>
                      <a:pt x="183" y="110"/>
                      <a:pt x="182" y="111"/>
                    </a:cubicBezTo>
                    <a:cubicBezTo>
                      <a:pt x="181" y="111"/>
                      <a:pt x="181" y="111"/>
                      <a:pt x="180" y="111"/>
                    </a:cubicBezTo>
                    <a:cubicBezTo>
                      <a:pt x="180" y="111"/>
                      <a:pt x="180" y="111"/>
                      <a:pt x="180" y="111"/>
                    </a:cubicBezTo>
                    <a:cubicBezTo>
                      <a:pt x="180" y="111"/>
                      <a:pt x="180" y="111"/>
                      <a:pt x="179" y="111"/>
                    </a:cubicBezTo>
                    <a:cubicBezTo>
                      <a:pt x="179" y="111"/>
                      <a:pt x="178" y="111"/>
                      <a:pt x="178" y="111"/>
                    </a:cubicBezTo>
                    <a:cubicBezTo>
                      <a:pt x="177" y="111"/>
                      <a:pt x="177" y="111"/>
                      <a:pt x="176" y="112"/>
                    </a:cubicBezTo>
                    <a:cubicBezTo>
                      <a:pt x="176" y="112"/>
                      <a:pt x="176" y="112"/>
                      <a:pt x="176" y="112"/>
                    </a:cubicBezTo>
                    <a:cubicBezTo>
                      <a:pt x="175" y="112"/>
                      <a:pt x="175" y="113"/>
                      <a:pt x="174" y="113"/>
                    </a:cubicBezTo>
                    <a:cubicBezTo>
                      <a:pt x="173" y="113"/>
                      <a:pt x="173" y="113"/>
                      <a:pt x="172" y="113"/>
                    </a:cubicBezTo>
                    <a:cubicBezTo>
                      <a:pt x="172" y="113"/>
                      <a:pt x="172" y="114"/>
                      <a:pt x="172" y="114"/>
                    </a:cubicBezTo>
                    <a:cubicBezTo>
                      <a:pt x="172" y="114"/>
                      <a:pt x="172" y="113"/>
                      <a:pt x="172" y="113"/>
                    </a:cubicBezTo>
                    <a:cubicBezTo>
                      <a:pt x="171" y="113"/>
                      <a:pt x="170" y="114"/>
                      <a:pt x="170" y="114"/>
                    </a:cubicBezTo>
                    <a:cubicBezTo>
                      <a:pt x="170" y="114"/>
                      <a:pt x="170" y="114"/>
                      <a:pt x="171" y="113"/>
                    </a:cubicBezTo>
                    <a:cubicBezTo>
                      <a:pt x="171" y="113"/>
                      <a:pt x="170" y="113"/>
                      <a:pt x="170" y="113"/>
                    </a:cubicBezTo>
                    <a:cubicBezTo>
                      <a:pt x="169" y="114"/>
                      <a:pt x="168" y="114"/>
                      <a:pt x="168" y="114"/>
                    </a:cubicBezTo>
                    <a:cubicBezTo>
                      <a:pt x="167" y="114"/>
                      <a:pt x="166" y="115"/>
                      <a:pt x="167" y="115"/>
                    </a:cubicBezTo>
                    <a:cubicBezTo>
                      <a:pt x="166" y="115"/>
                      <a:pt x="166" y="115"/>
                      <a:pt x="165" y="116"/>
                    </a:cubicBezTo>
                    <a:cubicBezTo>
                      <a:pt x="165" y="116"/>
                      <a:pt x="165" y="116"/>
                      <a:pt x="165" y="116"/>
                    </a:cubicBezTo>
                    <a:cubicBezTo>
                      <a:pt x="165" y="116"/>
                      <a:pt x="165" y="115"/>
                      <a:pt x="166" y="115"/>
                    </a:cubicBezTo>
                    <a:cubicBezTo>
                      <a:pt x="164" y="115"/>
                      <a:pt x="163" y="115"/>
                      <a:pt x="162" y="116"/>
                    </a:cubicBezTo>
                    <a:cubicBezTo>
                      <a:pt x="162" y="117"/>
                      <a:pt x="161" y="117"/>
                      <a:pt x="161" y="117"/>
                    </a:cubicBezTo>
                    <a:cubicBezTo>
                      <a:pt x="161" y="117"/>
                      <a:pt x="160" y="117"/>
                      <a:pt x="160" y="117"/>
                    </a:cubicBezTo>
                    <a:cubicBezTo>
                      <a:pt x="160" y="117"/>
                      <a:pt x="160" y="117"/>
                      <a:pt x="161" y="117"/>
                    </a:cubicBezTo>
                    <a:cubicBezTo>
                      <a:pt x="160" y="117"/>
                      <a:pt x="158" y="118"/>
                      <a:pt x="159" y="118"/>
                    </a:cubicBezTo>
                    <a:cubicBezTo>
                      <a:pt x="159" y="118"/>
                      <a:pt x="160" y="118"/>
                      <a:pt x="159" y="119"/>
                    </a:cubicBezTo>
                    <a:cubicBezTo>
                      <a:pt x="160" y="119"/>
                      <a:pt x="161" y="119"/>
                      <a:pt x="161" y="119"/>
                    </a:cubicBezTo>
                    <a:cubicBezTo>
                      <a:pt x="161" y="118"/>
                      <a:pt x="161" y="119"/>
                      <a:pt x="161" y="119"/>
                    </a:cubicBezTo>
                    <a:cubicBezTo>
                      <a:pt x="160" y="119"/>
                      <a:pt x="160" y="119"/>
                      <a:pt x="160" y="118"/>
                    </a:cubicBezTo>
                    <a:cubicBezTo>
                      <a:pt x="160" y="118"/>
                      <a:pt x="159" y="118"/>
                      <a:pt x="160" y="118"/>
                    </a:cubicBezTo>
                    <a:cubicBezTo>
                      <a:pt x="160" y="118"/>
                      <a:pt x="160" y="118"/>
                      <a:pt x="160" y="118"/>
                    </a:cubicBezTo>
                    <a:cubicBezTo>
                      <a:pt x="160" y="118"/>
                      <a:pt x="160" y="118"/>
                      <a:pt x="159" y="118"/>
                    </a:cubicBezTo>
                    <a:cubicBezTo>
                      <a:pt x="159" y="118"/>
                      <a:pt x="160" y="117"/>
                      <a:pt x="160" y="117"/>
                    </a:cubicBezTo>
                    <a:cubicBezTo>
                      <a:pt x="161" y="117"/>
                      <a:pt x="161" y="118"/>
                      <a:pt x="161" y="118"/>
                    </a:cubicBezTo>
                    <a:cubicBezTo>
                      <a:pt x="162" y="118"/>
                      <a:pt x="162" y="118"/>
                      <a:pt x="163" y="117"/>
                    </a:cubicBezTo>
                    <a:cubicBezTo>
                      <a:pt x="163" y="117"/>
                      <a:pt x="164" y="117"/>
                      <a:pt x="164" y="118"/>
                    </a:cubicBezTo>
                    <a:cubicBezTo>
                      <a:pt x="164" y="118"/>
                      <a:pt x="164" y="118"/>
                      <a:pt x="165" y="118"/>
                    </a:cubicBezTo>
                    <a:cubicBezTo>
                      <a:pt x="165" y="118"/>
                      <a:pt x="166" y="118"/>
                      <a:pt x="167" y="117"/>
                    </a:cubicBezTo>
                    <a:cubicBezTo>
                      <a:pt x="167" y="117"/>
                      <a:pt x="167" y="116"/>
                      <a:pt x="166" y="117"/>
                    </a:cubicBezTo>
                    <a:cubicBezTo>
                      <a:pt x="166" y="117"/>
                      <a:pt x="166" y="117"/>
                      <a:pt x="166" y="117"/>
                    </a:cubicBezTo>
                    <a:cubicBezTo>
                      <a:pt x="166" y="117"/>
                      <a:pt x="166" y="117"/>
                      <a:pt x="165" y="117"/>
                    </a:cubicBezTo>
                    <a:cubicBezTo>
                      <a:pt x="165" y="117"/>
                      <a:pt x="164" y="117"/>
                      <a:pt x="164" y="117"/>
                    </a:cubicBezTo>
                    <a:cubicBezTo>
                      <a:pt x="164" y="117"/>
                      <a:pt x="164" y="117"/>
                      <a:pt x="165" y="117"/>
                    </a:cubicBezTo>
                    <a:cubicBezTo>
                      <a:pt x="164" y="117"/>
                      <a:pt x="166" y="117"/>
                      <a:pt x="166" y="116"/>
                    </a:cubicBezTo>
                    <a:cubicBezTo>
                      <a:pt x="166" y="116"/>
                      <a:pt x="165" y="116"/>
                      <a:pt x="165" y="116"/>
                    </a:cubicBezTo>
                    <a:cubicBezTo>
                      <a:pt x="166" y="116"/>
                      <a:pt x="166" y="115"/>
                      <a:pt x="166" y="115"/>
                    </a:cubicBezTo>
                    <a:cubicBezTo>
                      <a:pt x="167" y="115"/>
                      <a:pt x="167" y="115"/>
                      <a:pt x="167" y="115"/>
                    </a:cubicBezTo>
                    <a:cubicBezTo>
                      <a:pt x="168" y="115"/>
                      <a:pt x="168" y="115"/>
                      <a:pt x="169" y="115"/>
                    </a:cubicBezTo>
                    <a:cubicBezTo>
                      <a:pt x="169" y="115"/>
                      <a:pt x="169" y="115"/>
                      <a:pt x="170" y="115"/>
                    </a:cubicBezTo>
                    <a:cubicBezTo>
                      <a:pt x="170" y="114"/>
                      <a:pt x="170" y="114"/>
                      <a:pt x="171" y="114"/>
                    </a:cubicBezTo>
                    <a:cubicBezTo>
                      <a:pt x="170" y="114"/>
                      <a:pt x="170" y="115"/>
                      <a:pt x="169" y="115"/>
                    </a:cubicBezTo>
                    <a:cubicBezTo>
                      <a:pt x="170" y="115"/>
                      <a:pt x="171" y="114"/>
                      <a:pt x="172" y="114"/>
                    </a:cubicBezTo>
                    <a:cubicBezTo>
                      <a:pt x="172" y="114"/>
                      <a:pt x="171" y="114"/>
                      <a:pt x="171" y="114"/>
                    </a:cubicBezTo>
                    <a:cubicBezTo>
                      <a:pt x="171" y="114"/>
                      <a:pt x="172" y="114"/>
                      <a:pt x="172" y="114"/>
                    </a:cubicBezTo>
                    <a:cubicBezTo>
                      <a:pt x="172" y="114"/>
                      <a:pt x="172" y="114"/>
                      <a:pt x="171" y="115"/>
                    </a:cubicBezTo>
                    <a:cubicBezTo>
                      <a:pt x="173" y="114"/>
                      <a:pt x="174" y="113"/>
                      <a:pt x="176" y="113"/>
                    </a:cubicBezTo>
                    <a:cubicBezTo>
                      <a:pt x="175" y="113"/>
                      <a:pt x="175" y="113"/>
                      <a:pt x="175" y="113"/>
                    </a:cubicBezTo>
                    <a:cubicBezTo>
                      <a:pt x="176" y="113"/>
                      <a:pt x="177" y="113"/>
                      <a:pt x="178" y="112"/>
                    </a:cubicBezTo>
                    <a:cubicBezTo>
                      <a:pt x="177" y="112"/>
                      <a:pt x="177" y="112"/>
                      <a:pt x="177" y="112"/>
                    </a:cubicBezTo>
                    <a:cubicBezTo>
                      <a:pt x="177" y="112"/>
                      <a:pt x="176" y="112"/>
                      <a:pt x="176" y="112"/>
                    </a:cubicBezTo>
                    <a:cubicBezTo>
                      <a:pt x="177" y="112"/>
                      <a:pt x="178" y="112"/>
                      <a:pt x="179" y="112"/>
                    </a:cubicBezTo>
                    <a:cubicBezTo>
                      <a:pt x="179" y="112"/>
                      <a:pt x="179" y="112"/>
                      <a:pt x="180" y="112"/>
                    </a:cubicBezTo>
                    <a:cubicBezTo>
                      <a:pt x="180" y="112"/>
                      <a:pt x="180" y="112"/>
                      <a:pt x="180" y="112"/>
                    </a:cubicBezTo>
                    <a:cubicBezTo>
                      <a:pt x="180" y="112"/>
                      <a:pt x="179" y="113"/>
                      <a:pt x="178" y="113"/>
                    </a:cubicBezTo>
                    <a:cubicBezTo>
                      <a:pt x="180" y="113"/>
                      <a:pt x="181" y="112"/>
                      <a:pt x="182" y="111"/>
                    </a:cubicBezTo>
                    <a:cubicBezTo>
                      <a:pt x="182" y="112"/>
                      <a:pt x="181" y="112"/>
                      <a:pt x="181" y="112"/>
                    </a:cubicBezTo>
                    <a:cubicBezTo>
                      <a:pt x="182" y="112"/>
                      <a:pt x="182" y="111"/>
                      <a:pt x="182" y="111"/>
                    </a:cubicBezTo>
                    <a:cubicBezTo>
                      <a:pt x="182" y="113"/>
                      <a:pt x="180" y="112"/>
                      <a:pt x="179" y="113"/>
                    </a:cubicBezTo>
                    <a:cubicBezTo>
                      <a:pt x="180" y="113"/>
                      <a:pt x="181" y="113"/>
                      <a:pt x="182" y="112"/>
                    </a:cubicBezTo>
                    <a:cubicBezTo>
                      <a:pt x="182" y="112"/>
                      <a:pt x="183" y="112"/>
                      <a:pt x="183" y="111"/>
                    </a:cubicBezTo>
                    <a:cubicBezTo>
                      <a:pt x="183" y="111"/>
                      <a:pt x="183" y="111"/>
                      <a:pt x="183" y="111"/>
                    </a:cubicBezTo>
                    <a:cubicBezTo>
                      <a:pt x="183" y="111"/>
                      <a:pt x="183" y="111"/>
                      <a:pt x="183" y="112"/>
                    </a:cubicBezTo>
                    <a:cubicBezTo>
                      <a:pt x="182" y="112"/>
                      <a:pt x="182" y="112"/>
                      <a:pt x="182" y="113"/>
                    </a:cubicBezTo>
                    <a:cubicBezTo>
                      <a:pt x="182" y="112"/>
                      <a:pt x="184" y="112"/>
                      <a:pt x="184" y="111"/>
                    </a:cubicBezTo>
                    <a:cubicBezTo>
                      <a:pt x="184" y="110"/>
                      <a:pt x="185" y="110"/>
                      <a:pt x="185" y="110"/>
                    </a:cubicBezTo>
                    <a:cubicBezTo>
                      <a:pt x="185" y="110"/>
                      <a:pt x="184" y="111"/>
                      <a:pt x="184" y="111"/>
                    </a:cubicBezTo>
                    <a:cubicBezTo>
                      <a:pt x="183" y="112"/>
                      <a:pt x="182" y="112"/>
                      <a:pt x="181" y="113"/>
                    </a:cubicBezTo>
                    <a:cubicBezTo>
                      <a:pt x="182" y="113"/>
                      <a:pt x="183" y="112"/>
                      <a:pt x="183" y="112"/>
                    </a:cubicBezTo>
                    <a:cubicBezTo>
                      <a:pt x="184" y="111"/>
                      <a:pt x="184" y="111"/>
                      <a:pt x="185" y="111"/>
                    </a:cubicBezTo>
                    <a:cubicBezTo>
                      <a:pt x="184" y="111"/>
                      <a:pt x="184" y="112"/>
                      <a:pt x="183" y="112"/>
                    </a:cubicBezTo>
                    <a:cubicBezTo>
                      <a:pt x="183" y="112"/>
                      <a:pt x="182" y="113"/>
                      <a:pt x="182" y="113"/>
                    </a:cubicBezTo>
                    <a:cubicBezTo>
                      <a:pt x="182" y="113"/>
                      <a:pt x="183" y="112"/>
                      <a:pt x="183" y="112"/>
                    </a:cubicBezTo>
                    <a:cubicBezTo>
                      <a:pt x="183" y="113"/>
                      <a:pt x="182" y="113"/>
                      <a:pt x="182" y="113"/>
                    </a:cubicBezTo>
                    <a:cubicBezTo>
                      <a:pt x="181" y="114"/>
                      <a:pt x="180" y="114"/>
                      <a:pt x="180" y="115"/>
                    </a:cubicBezTo>
                    <a:cubicBezTo>
                      <a:pt x="181" y="115"/>
                      <a:pt x="182" y="113"/>
                      <a:pt x="182" y="113"/>
                    </a:cubicBezTo>
                    <a:cubicBezTo>
                      <a:pt x="183" y="113"/>
                      <a:pt x="184" y="112"/>
                      <a:pt x="184" y="112"/>
                    </a:cubicBezTo>
                    <a:cubicBezTo>
                      <a:pt x="185" y="112"/>
                      <a:pt x="186" y="112"/>
                      <a:pt x="186" y="112"/>
                    </a:cubicBezTo>
                    <a:cubicBezTo>
                      <a:pt x="186" y="112"/>
                      <a:pt x="186" y="112"/>
                      <a:pt x="185" y="112"/>
                    </a:cubicBezTo>
                    <a:cubicBezTo>
                      <a:pt x="187" y="111"/>
                      <a:pt x="189" y="110"/>
                      <a:pt x="191" y="110"/>
                    </a:cubicBezTo>
                    <a:cubicBezTo>
                      <a:pt x="192" y="109"/>
                      <a:pt x="194" y="109"/>
                      <a:pt x="196" y="109"/>
                    </a:cubicBezTo>
                    <a:cubicBezTo>
                      <a:pt x="198" y="108"/>
                      <a:pt x="199" y="108"/>
                      <a:pt x="201" y="108"/>
                    </a:cubicBezTo>
                    <a:cubicBezTo>
                      <a:pt x="202" y="108"/>
                      <a:pt x="204" y="107"/>
                      <a:pt x="204" y="107"/>
                    </a:cubicBezTo>
                    <a:cubicBezTo>
                      <a:pt x="204" y="107"/>
                      <a:pt x="203" y="108"/>
                      <a:pt x="203" y="108"/>
                    </a:cubicBezTo>
                    <a:cubicBezTo>
                      <a:pt x="202" y="108"/>
                      <a:pt x="202" y="108"/>
                      <a:pt x="201" y="108"/>
                    </a:cubicBezTo>
                    <a:cubicBezTo>
                      <a:pt x="201" y="108"/>
                      <a:pt x="199" y="109"/>
                      <a:pt x="199" y="109"/>
                    </a:cubicBezTo>
                    <a:cubicBezTo>
                      <a:pt x="199" y="110"/>
                      <a:pt x="200" y="110"/>
                      <a:pt x="201" y="110"/>
                    </a:cubicBezTo>
                    <a:cubicBezTo>
                      <a:pt x="201" y="110"/>
                      <a:pt x="201" y="109"/>
                      <a:pt x="201" y="109"/>
                    </a:cubicBezTo>
                    <a:cubicBezTo>
                      <a:pt x="201" y="109"/>
                      <a:pt x="202" y="109"/>
                      <a:pt x="202" y="109"/>
                    </a:cubicBezTo>
                    <a:cubicBezTo>
                      <a:pt x="204" y="109"/>
                      <a:pt x="205" y="108"/>
                      <a:pt x="207" y="107"/>
                    </a:cubicBezTo>
                    <a:cubicBezTo>
                      <a:pt x="208" y="107"/>
                      <a:pt x="208" y="107"/>
                      <a:pt x="209" y="106"/>
                    </a:cubicBezTo>
                    <a:cubicBezTo>
                      <a:pt x="210" y="105"/>
                      <a:pt x="211" y="105"/>
                      <a:pt x="212" y="105"/>
                    </a:cubicBezTo>
                    <a:cubicBezTo>
                      <a:pt x="213" y="105"/>
                      <a:pt x="213" y="105"/>
                      <a:pt x="214" y="105"/>
                    </a:cubicBezTo>
                    <a:cubicBezTo>
                      <a:pt x="215" y="105"/>
                      <a:pt x="216" y="105"/>
                      <a:pt x="217" y="105"/>
                    </a:cubicBezTo>
                    <a:cubicBezTo>
                      <a:pt x="216" y="104"/>
                      <a:pt x="214" y="105"/>
                      <a:pt x="214" y="104"/>
                    </a:cubicBezTo>
                    <a:cubicBezTo>
                      <a:pt x="214" y="104"/>
                      <a:pt x="214" y="103"/>
                      <a:pt x="215" y="103"/>
                    </a:cubicBezTo>
                    <a:cubicBezTo>
                      <a:pt x="215" y="104"/>
                      <a:pt x="215" y="103"/>
                      <a:pt x="216" y="103"/>
                    </a:cubicBezTo>
                    <a:cubicBezTo>
                      <a:pt x="215" y="103"/>
                      <a:pt x="215" y="103"/>
                      <a:pt x="214" y="103"/>
                    </a:cubicBezTo>
                    <a:cubicBezTo>
                      <a:pt x="214" y="103"/>
                      <a:pt x="215" y="102"/>
                      <a:pt x="215" y="102"/>
                    </a:cubicBezTo>
                    <a:cubicBezTo>
                      <a:pt x="216" y="102"/>
                      <a:pt x="217" y="101"/>
                      <a:pt x="218" y="102"/>
                    </a:cubicBezTo>
                    <a:cubicBezTo>
                      <a:pt x="219" y="102"/>
                      <a:pt x="220" y="104"/>
                      <a:pt x="219" y="105"/>
                    </a:cubicBezTo>
                    <a:cubicBezTo>
                      <a:pt x="219" y="105"/>
                      <a:pt x="218" y="107"/>
                      <a:pt x="219" y="107"/>
                    </a:cubicBezTo>
                    <a:cubicBezTo>
                      <a:pt x="218" y="107"/>
                      <a:pt x="217" y="108"/>
                      <a:pt x="217" y="109"/>
                    </a:cubicBezTo>
                    <a:cubicBezTo>
                      <a:pt x="218" y="110"/>
                      <a:pt x="218" y="112"/>
                      <a:pt x="219" y="112"/>
                    </a:cubicBezTo>
                    <a:cubicBezTo>
                      <a:pt x="219" y="112"/>
                      <a:pt x="220" y="112"/>
                      <a:pt x="220" y="112"/>
                    </a:cubicBezTo>
                    <a:cubicBezTo>
                      <a:pt x="220" y="112"/>
                      <a:pt x="220" y="113"/>
                      <a:pt x="221" y="113"/>
                    </a:cubicBezTo>
                    <a:cubicBezTo>
                      <a:pt x="221" y="113"/>
                      <a:pt x="221" y="113"/>
                      <a:pt x="222" y="113"/>
                    </a:cubicBezTo>
                    <a:cubicBezTo>
                      <a:pt x="222" y="112"/>
                      <a:pt x="222" y="113"/>
                      <a:pt x="222" y="112"/>
                    </a:cubicBezTo>
                    <a:cubicBezTo>
                      <a:pt x="222" y="112"/>
                      <a:pt x="223" y="112"/>
                      <a:pt x="223" y="112"/>
                    </a:cubicBezTo>
                    <a:cubicBezTo>
                      <a:pt x="224" y="112"/>
                      <a:pt x="224" y="112"/>
                      <a:pt x="225" y="112"/>
                    </a:cubicBezTo>
                    <a:cubicBezTo>
                      <a:pt x="225" y="112"/>
                      <a:pt x="225" y="112"/>
                      <a:pt x="225" y="112"/>
                    </a:cubicBezTo>
                    <a:cubicBezTo>
                      <a:pt x="225" y="112"/>
                      <a:pt x="224" y="112"/>
                      <a:pt x="224" y="112"/>
                    </a:cubicBezTo>
                    <a:cubicBezTo>
                      <a:pt x="223" y="112"/>
                      <a:pt x="222" y="112"/>
                      <a:pt x="221" y="112"/>
                    </a:cubicBezTo>
                    <a:cubicBezTo>
                      <a:pt x="222" y="112"/>
                      <a:pt x="223" y="111"/>
                      <a:pt x="223" y="111"/>
                    </a:cubicBezTo>
                    <a:cubicBezTo>
                      <a:pt x="224" y="111"/>
                      <a:pt x="224" y="111"/>
                      <a:pt x="224" y="111"/>
                    </a:cubicBezTo>
                    <a:cubicBezTo>
                      <a:pt x="225" y="111"/>
                      <a:pt x="225" y="111"/>
                      <a:pt x="225" y="111"/>
                    </a:cubicBezTo>
                    <a:cubicBezTo>
                      <a:pt x="224" y="111"/>
                      <a:pt x="225" y="111"/>
                      <a:pt x="225" y="110"/>
                    </a:cubicBezTo>
                    <a:cubicBezTo>
                      <a:pt x="225" y="110"/>
                      <a:pt x="225" y="110"/>
                      <a:pt x="224" y="110"/>
                    </a:cubicBezTo>
                    <a:cubicBezTo>
                      <a:pt x="225" y="110"/>
                      <a:pt x="225" y="110"/>
                      <a:pt x="226" y="110"/>
                    </a:cubicBezTo>
                    <a:cubicBezTo>
                      <a:pt x="226" y="110"/>
                      <a:pt x="227" y="110"/>
                      <a:pt x="227" y="109"/>
                    </a:cubicBezTo>
                    <a:cubicBezTo>
                      <a:pt x="228" y="109"/>
                      <a:pt x="228" y="109"/>
                      <a:pt x="229" y="109"/>
                    </a:cubicBezTo>
                    <a:cubicBezTo>
                      <a:pt x="229" y="109"/>
                      <a:pt x="228" y="110"/>
                      <a:pt x="228" y="110"/>
                    </a:cubicBezTo>
                    <a:cubicBezTo>
                      <a:pt x="229" y="110"/>
                      <a:pt x="230" y="110"/>
                      <a:pt x="230" y="109"/>
                    </a:cubicBezTo>
                    <a:cubicBezTo>
                      <a:pt x="230" y="109"/>
                      <a:pt x="228" y="109"/>
                      <a:pt x="227" y="109"/>
                    </a:cubicBezTo>
                    <a:cubicBezTo>
                      <a:pt x="228" y="108"/>
                      <a:pt x="228" y="108"/>
                      <a:pt x="229" y="108"/>
                    </a:cubicBezTo>
                    <a:cubicBezTo>
                      <a:pt x="229" y="108"/>
                      <a:pt x="229" y="108"/>
                      <a:pt x="228" y="109"/>
                    </a:cubicBezTo>
                    <a:cubicBezTo>
                      <a:pt x="230" y="109"/>
                      <a:pt x="231" y="107"/>
                      <a:pt x="233" y="107"/>
                    </a:cubicBezTo>
                    <a:cubicBezTo>
                      <a:pt x="233" y="107"/>
                      <a:pt x="235" y="107"/>
                      <a:pt x="234" y="107"/>
                    </a:cubicBezTo>
                    <a:cubicBezTo>
                      <a:pt x="234" y="106"/>
                      <a:pt x="233" y="107"/>
                      <a:pt x="233" y="107"/>
                    </a:cubicBezTo>
                    <a:cubicBezTo>
                      <a:pt x="233" y="107"/>
                      <a:pt x="233" y="107"/>
                      <a:pt x="233" y="107"/>
                    </a:cubicBezTo>
                    <a:cubicBezTo>
                      <a:pt x="232" y="106"/>
                      <a:pt x="231" y="107"/>
                      <a:pt x="230" y="107"/>
                    </a:cubicBezTo>
                    <a:cubicBezTo>
                      <a:pt x="230" y="107"/>
                      <a:pt x="232" y="106"/>
                      <a:pt x="233" y="106"/>
                    </a:cubicBezTo>
                    <a:cubicBezTo>
                      <a:pt x="232" y="106"/>
                      <a:pt x="232" y="106"/>
                      <a:pt x="232" y="107"/>
                    </a:cubicBezTo>
                    <a:cubicBezTo>
                      <a:pt x="232" y="107"/>
                      <a:pt x="233" y="107"/>
                      <a:pt x="233" y="106"/>
                    </a:cubicBezTo>
                    <a:cubicBezTo>
                      <a:pt x="233" y="106"/>
                      <a:pt x="233" y="106"/>
                      <a:pt x="232" y="106"/>
                    </a:cubicBezTo>
                    <a:cubicBezTo>
                      <a:pt x="233" y="106"/>
                      <a:pt x="235" y="106"/>
                      <a:pt x="235" y="106"/>
                    </a:cubicBezTo>
                    <a:cubicBezTo>
                      <a:pt x="235" y="107"/>
                      <a:pt x="235" y="106"/>
                      <a:pt x="236" y="106"/>
                    </a:cubicBezTo>
                    <a:cubicBezTo>
                      <a:pt x="236" y="106"/>
                      <a:pt x="236" y="106"/>
                      <a:pt x="236" y="106"/>
                    </a:cubicBezTo>
                    <a:cubicBezTo>
                      <a:pt x="236" y="106"/>
                      <a:pt x="236" y="106"/>
                      <a:pt x="236" y="106"/>
                    </a:cubicBezTo>
                    <a:cubicBezTo>
                      <a:pt x="236" y="106"/>
                      <a:pt x="236" y="106"/>
                      <a:pt x="236" y="106"/>
                    </a:cubicBezTo>
                    <a:cubicBezTo>
                      <a:pt x="236" y="105"/>
                      <a:pt x="235" y="106"/>
                      <a:pt x="235" y="106"/>
                    </a:cubicBezTo>
                    <a:cubicBezTo>
                      <a:pt x="235" y="106"/>
                      <a:pt x="235" y="106"/>
                      <a:pt x="235" y="106"/>
                    </a:cubicBezTo>
                    <a:cubicBezTo>
                      <a:pt x="234" y="106"/>
                      <a:pt x="235" y="105"/>
                      <a:pt x="236" y="105"/>
                    </a:cubicBezTo>
                    <a:cubicBezTo>
                      <a:pt x="236" y="105"/>
                      <a:pt x="235" y="105"/>
                      <a:pt x="236" y="105"/>
                    </a:cubicBezTo>
                    <a:cubicBezTo>
                      <a:pt x="236" y="105"/>
                      <a:pt x="237" y="105"/>
                      <a:pt x="237" y="105"/>
                    </a:cubicBezTo>
                    <a:cubicBezTo>
                      <a:pt x="237" y="105"/>
                      <a:pt x="236" y="105"/>
                      <a:pt x="236" y="105"/>
                    </a:cubicBezTo>
                    <a:cubicBezTo>
                      <a:pt x="236" y="106"/>
                      <a:pt x="237" y="105"/>
                      <a:pt x="238" y="105"/>
                    </a:cubicBezTo>
                    <a:cubicBezTo>
                      <a:pt x="237" y="106"/>
                      <a:pt x="237" y="105"/>
                      <a:pt x="237" y="106"/>
                    </a:cubicBezTo>
                    <a:cubicBezTo>
                      <a:pt x="237" y="106"/>
                      <a:pt x="236" y="106"/>
                      <a:pt x="235" y="107"/>
                    </a:cubicBezTo>
                    <a:cubicBezTo>
                      <a:pt x="236" y="107"/>
                      <a:pt x="235" y="107"/>
                      <a:pt x="235" y="107"/>
                    </a:cubicBezTo>
                    <a:cubicBezTo>
                      <a:pt x="235" y="107"/>
                      <a:pt x="235" y="107"/>
                      <a:pt x="235" y="107"/>
                    </a:cubicBezTo>
                    <a:cubicBezTo>
                      <a:pt x="235" y="107"/>
                      <a:pt x="234" y="107"/>
                      <a:pt x="234" y="108"/>
                    </a:cubicBezTo>
                    <a:cubicBezTo>
                      <a:pt x="234" y="108"/>
                      <a:pt x="234" y="108"/>
                      <a:pt x="234" y="108"/>
                    </a:cubicBezTo>
                    <a:cubicBezTo>
                      <a:pt x="233" y="108"/>
                      <a:pt x="233" y="109"/>
                      <a:pt x="232" y="109"/>
                    </a:cubicBezTo>
                    <a:cubicBezTo>
                      <a:pt x="232" y="109"/>
                      <a:pt x="233" y="109"/>
                      <a:pt x="233" y="109"/>
                    </a:cubicBezTo>
                    <a:cubicBezTo>
                      <a:pt x="234" y="109"/>
                      <a:pt x="234" y="109"/>
                      <a:pt x="235" y="109"/>
                    </a:cubicBezTo>
                    <a:cubicBezTo>
                      <a:pt x="235" y="110"/>
                      <a:pt x="233" y="110"/>
                      <a:pt x="233" y="110"/>
                    </a:cubicBezTo>
                    <a:cubicBezTo>
                      <a:pt x="231" y="111"/>
                      <a:pt x="230" y="111"/>
                      <a:pt x="229" y="112"/>
                    </a:cubicBezTo>
                    <a:cubicBezTo>
                      <a:pt x="229" y="112"/>
                      <a:pt x="228" y="112"/>
                      <a:pt x="229" y="112"/>
                    </a:cubicBezTo>
                    <a:cubicBezTo>
                      <a:pt x="229" y="113"/>
                      <a:pt x="229" y="113"/>
                      <a:pt x="229" y="113"/>
                    </a:cubicBezTo>
                    <a:cubicBezTo>
                      <a:pt x="230" y="113"/>
                      <a:pt x="231" y="113"/>
                      <a:pt x="231" y="112"/>
                    </a:cubicBezTo>
                    <a:cubicBezTo>
                      <a:pt x="231" y="112"/>
                      <a:pt x="231" y="113"/>
                      <a:pt x="231" y="113"/>
                    </a:cubicBezTo>
                    <a:cubicBezTo>
                      <a:pt x="231" y="113"/>
                      <a:pt x="232" y="112"/>
                      <a:pt x="232" y="112"/>
                    </a:cubicBezTo>
                    <a:cubicBezTo>
                      <a:pt x="232" y="112"/>
                      <a:pt x="232" y="113"/>
                      <a:pt x="233" y="112"/>
                    </a:cubicBezTo>
                    <a:cubicBezTo>
                      <a:pt x="233" y="112"/>
                      <a:pt x="233" y="112"/>
                      <a:pt x="233" y="112"/>
                    </a:cubicBezTo>
                    <a:cubicBezTo>
                      <a:pt x="234" y="112"/>
                      <a:pt x="234" y="113"/>
                      <a:pt x="235" y="112"/>
                    </a:cubicBezTo>
                    <a:cubicBezTo>
                      <a:pt x="235" y="112"/>
                      <a:pt x="236" y="112"/>
                      <a:pt x="236" y="112"/>
                    </a:cubicBezTo>
                    <a:cubicBezTo>
                      <a:pt x="236" y="112"/>
                      <a:pt x="238" y="111"/>
                      <a:pt x="238" y="111"/>
                    </a:cubicBezTo>
                    <a:cubicBezTo>
                      <a:pt x="239" y="111"/>
                      <a:pt x="239" y="111"/>
                      <a:pt x="240" y="111"/>
                    </a:cubicBezTo>
                    <a:cubicBezTo>
                      <a:pt x="240" y="111"/>
                      <a:pt x="240" y="110"/>
                      <a:pt x="240" y="110"/>
                    </a:cubicBezTo>
                    <a:cubicBezTo>
                      <a:pt x="241" y="110"/>
                      <a:pt x="241" y="110"/>
                      <a:pt x="241" y="110"/>
                    </a:cubicBezTo>
                    <a:cubicBezTo>
                      <a:pt x="242" y="110"/>
                      <a:pt x="242" y="109"/>
                      <a:pt x="242" y="109"/>
                    </a:cubicBezTo>
                    <a:cubicBezTo>
                      <a:pt x="242" y="109"/>
                      <a:pt x="243" y="109"/>
                      <a:pt x="243" y="108"/>
                    </a:cubicBezTo>
                    <a:cubicBezTo>
                      <a:pt x="244" y="108"/>
                      <a:pt x="244" y="109"/>
                      <a:pt x="245" y="109"/>
                    </a:cubicBezTo>
                    <a:cubicBezTo>
                      <a:pt x="245" y="109"/>
                      <a:pt x="246" y="108"/>
                      <a:pt x="246" y="108"/>
                    </a:cubicBezTo>
                    <a:cubicBezTo>
                      <a:pt x="248" y="109"/>
                      <a:pt x="250" y="108"/>
                      <a:pt x="252" y="109"/>
                    </a:cubicBezTo>
                    <a:cubicBezTo>
                      <a:pt x="253" y="109"/>
                      <a:pt x="254" y="109"/>
                      <a:pt x="255" y="109"/>
                    </a:cubicBezTo>
                    <a:cubicBezTo>
                      <a:pt x="255" y="110"/>
                      <a:pt x="256" y="110"/>
                      <a:pt x="256" y="110"/>
                    </a:cubicBezTo>
                    <a:cubicBezTo>
                      <a:pt x="257" y="110"/>
                      <a:pt x="257" y="111"/>
                      <a:pt x="257" y="111"/>
                    </a:cubicBezTo>
                    <a:cubicBezTo>
                      <a:pt x="257" y="111"/>
                      <a:pt x="258" y="112"/>
                      <a:pt x="258" y="112"/>
                    </a:cubicBezTo>
                    <a:cubicBezTo>
                      <a:pt x="259" y="112"/>
                      <a:pt x="259" y="112"/>
                      <a:pt x="259" y="113"/>
                    </a:cubicBezTo>
                    <a:cubicBezTo>
                      <a:pt x="260" y="113"/>
                      <a:pt x="260" y="113"/>
                      <a:pt x="259" y="113"/>
                    </a:cubicBezTo>
                    <a:cubicBezTo>
                      <a:pt x="261" y="112"/>
                      <a:pt x="263" y="113"/>
                      <a:pt x="264" y="113"/>
                    </a:cubicBezTo>
                    <a:cubicBezTo>
                      <a:pt x="265" y="113"/>
                      <a:pt x="267" y="113"/>
                      <a:pt x="268" y="114"/>
                    </a:cubicBezTo>
                    <a:cubicBezTo>
                      <a:pt x="268" y="114"/>
                      <a:pt x="268" y="115"/>
                      <a:pt x="268" y="115"/>
                    </a:cubicBezTo>
                    <a:cubicBezTo>
                      <a:pt x="268" y="115"/>
                      <a:pt x="269" y="115"/>
                      <a:pt x="269" y="115"/>
                    </a:cubicBezTo>
                    <a:cubicBezTo>
                      <a:pt x="270" y="115"/>
                      <a:pt x="270" y="116"/>
                      <a:pt x="271" y="116"/>
                    </a:cubicBezTo>
                    <a:cubicBezTo>
                      <a:pt x="272" y="116"/>
                      <a:pt x="273" y="116"/>
                      <a:pt x="274" y="117"/>
                    </a:cubicBezTo>
                    <a:cubicBezTo>
                      <a:pt x="275" y="117"/>
                      <a:pt x="277" y="116"/>
                      <a:pt x="277" y="117"/>
                    </a:cubicBezTo>
                    <a:cubicBezTo>
                      <a:pt x="277" y="117"/>
                      <a:pt x="279" y="117"/>
                      <a:pt x="280" y="117"/>
                    </a:cubicBezTo>
                    <a:cubicBezTo>
                      <a:pt x="281" y="117"/>
                      <a:pt x="282" y="118"/>
                      <a:pt x="283" y="118"/>
                    </a:cubicBezTo>
                    <a:cubicBezTo>
                      <a:pt x="283" y="117"/>
                      <a:pt x="281" y="117"/>
                      <a:pt x="282" y="117"/>
                    </a:cubicBezTo>
                    <a:cubicBezTo>
                      <a:pt x="282" y="117"/>
                      <a:pt x="281" y="116"/>
                      <a:pt x="282" y="116"/>
                    </a:cubicBezTo>
                    <a:cubicBezTo>
                      <a:pt x="283" y="116"/>
                      <a:pt x="284" y="117"/>
                      <a:pt x="285" y="116"/>
                    </a:cubicBezTo>
                    <a:cubicBezTo>
                      <a:pt x="284" y="116"/>
                      <a:pt x="286" y="116"/>
                      <a:pt x="286" y="116"/>
                    </a:cubicBezTo>
                    <a:cubicBezTo>
                      <a:pt x="287" y="116"/>
                      <a:pt x="287" y="116"/>
                      <a:pt x="288" y="117"/>
                    </a:cubicBezTo>
                    <a:cubicBezTo>
                      <a:pt x="288" y="117"/>
                      <a:pt x="288" y="117"/>
                      <a:pt x="289" y="117"/>
                    </a:cubicBezTo>
                    <a:cubicBezTo>
                      <a:pt x="289" y="117"/>
                      <a:pt x="289" y="117"/>
                      <a:pt x="289" y="117"/>
                    </a:cubicBezTo>
                    <a:cubicBezTo>
                      <a:pt x="290" y="117"/>
                      <a:pt x="290" y="117"/>
                      <a:pt x="291" y="118"/>
                    </a:cubicBezTo>
                    <a:cubicBezTo>
                      <a:pt x="291" y="118"/>
                      <a:pt x="291" y="118"/>
                      <a:pt x="291" y="118"/>
                    </a:cubicBezTo>
                    <a:cubicBezTo>
                      <a:pt x="292" y="119"/>
                      <a:pt x="291" y="119"/>
                      <a:pt x="292" y="119"/>
                    </a:cubicBezTo>
                    <a:cubicBezTo>
                      <a:pt x="292" y="120"/>
                      <a:pt x="292" y="120"/>
                      <a:pt x="292" y="120"/>
                    </a:cubicBezTo>
                    <a:cubicBezTo>
                      <a:pt x="293" y="121"/>
                      <a:pt x="292" y="121"/>
                      <a:pt x="292" y="121"/>
                    </a:cubicBezTo>
                    <a:cubicBezTo>
                      <a:pt x="291" y="122"/>
                      <a:pt x="292" y="122"/>
                      <a:pt x="292" y="121"/>
                    </a:cubicBezTo>
                    <a:cubicBezTo>
                      <a:pt x="292" y="121"/>
                      <a:pt x="293" y="121"/>
                      <a:pt x="293" y="121"/>
                    </a:cubicBezTo>
                    <a:cubicBezTo>
                      <a:pt x="292" y="122"/>
                      <a:pt x="292" y="122"/>
                      <a:pt x="292" y="122"/>
                    </a:cubicBezTo>
                    <a:cubicBezTo>
                      <a:pt x="291" y="122"/>
                      <a:pt x="291" y="122"/>
                      <a:pt x="291" y="122"/>
                    </a:cubicBezTo>
                    <a:cubicBezTo>
                      <a:pt x="291" y="123"/>
                      <a:pt x="291" y="123"/>
                      <a:pt x="290" y="123"/>
                    </a:cubicBezTo>
                    <a:cubicBezTo>
                      <a:pt x="290" y="123"/>
                      <a:pt x="290" y="123"/>
                      <a:pt x="289" y="123"/>
                    </a:cubicBezTo>
                    <a:cubicBezTo>
                      <a:pt x="289" y="123"/>
                      <a:pt x="289" y="123"/>
                      <a:pt x="288" y="123"/>
                    </a:cubicBezTo>
                    <a:cubicBezTo>
                      <a:pt x="288" y="123"/>
                      <a:pt x="287" y="123"/>
                      <a:pt x="286" y="123"/>
                    </a:cubicBezTo>
                    <a:cubicBezTo>
                      <a:pt x="286" y="123"/>
                      <a:pt x="284" y="123"/>
                      <a:pt x="284" y="123"/>
                    </a:cubicBezTo>
                    <a:cubicBezTo>
                      <a:pt x="284" y="123"/>
                      <a:pt x="285" y="123"/>
                      <a:pt x="284" y="124"/>
                    </a:cubicBezTo>
                    <a:cubicBezTo>
                      <a:pt x="284" y="124"/>
                      <a:pt x="283" y="124"/>
                      <a:pt x="282" y="124"/>
                    </a:cubicBezTo>
                    <a:cubicBezTo>
                      <a:pt x="282" y="124"/>
                      <a:pt x="282" y="123"/>
                      <a:pt x="281" y="124"/>
                    </a:cubicBezTo>
                    <a:cubicBezTo>
                      <a:pt x="281" y="124"/>
                      <a:pt x="281" y="124"/>
                      <a:pt x="281" y="124"/>
                    </a:cubicBezTo>
                    <a:cubicBezTo>
                      <a:pt x="280" y="124"/>
                      <a:pt x="279" y="125"/>
                      <a:pt x="280" y="125"/>
                    </a:cubicBezTo>
                    <a:cubicBezTo>
                      <a:pt x="279" y="126"/>
                      <a:pt x="278" y="126"/>
                      <a:pt x="277" y="126"/>
                    </a:cubicBezTo>
                    <a:cubicBezTo>
                      <a:pt x="276" y="126"/>
                      <a:pt x="276" y="126"/>
                      <a:pt x="277" y="126"/>
                    </a:cubicBezTo>
                    <a:cubicBezTo>
                      <a:pt x="278" y="126"/>
                      <a:pt x="278" y="126"/>
                      <a:pt x="278" y="127"/>
                    </a:cubicBezTo>
                    <a:cubicBezTo>
                      <a:pt x="279" y="128"/>
                      <a:pt x="281" y="126"/>
                      <a:pt x="281" y="127"/>
                    </a:cubicBezTo>
                    <a:cubicBezTo>
                      <a:pt x="282" y="128"/>
                      <a:pt x="282" y="127"/>
                      <a:pt x="283" y="127"/>
                    </a:cubicBezTo>
                    <a:cubicBezTo>
                      <a:pt x="283" y="127"/>
                      <a:pt x="283" y="128"/>
                      <a:pt x="283" y="128"/>
                    </a:cubicBezTo>
                    <a:cubicBezTo>
                      <a:pt x="283" y="128"/>
                      <a:pt x="283" y="128"/>
                      <a:pt x="284" y="128"/>
                    </a:cubicBezTo>
                    <a:cubicBezTo>
                      <a:pt x="285" y="128"/>
                      <a:pt x="287" y="128"/>
                      <a:pt x="288" y="128"/>
                    </a:cubicBezTo>
                    <a:cubicBezTo>
                      <a:pt x="289" y="128"/>
                      <a:pt x="290" y="128"/>
                      <a:pt x="290" y="128"/>
                    </a:cubicBezTo>
                    <a:cubicBezTo>
                      <a:pt x="291" y="128"/>
                      <a:pt x="292" y="128"/>
                      <a:pt x="292" y="128"/>
                    </a:cubicBezTo>
                    <a:cubicBezTo>
                      <a:pt x="293" y="128"/>
                      <a:pt x="294" y="128"/>
                      <a:pt x="295" y="128"/>
                    </a:cubicBezTo>
                    <a:cubicBezTo>
                      <a:pt x="295" y="128"/>
                      <a:pt x="296" y="128"/>
                      <a:pt x="297" y="128"/>
                    </a:cubicBezTo>
                    <a:cubicBezTo>
                      <a:pt x="298" y="128"/>
                      <a:pt x="299" y="127"/>
                      <a:pt x="300" y="128"/>
                    </a:cubicBezTo>
                    <a:cubicBezTo>
                      <a:pt x="300" y="128"/>
                      <a:pt x="300" y="128"/>
                      <a:pt x="300" y="128"/>
                    </a:cubicBezTo>
                    <a:cubicBezTo>
                      <a:pt x="300" y="128"/>
                      <a:pt x="300" y="128"/>
                      <a:pt x="300" y="128"/>
                    </a:cubicBezTo>
                    <a:cubicBezTo>
                      <a:pt x="300" y="128"/>
                      <a:pt x="300" y="128"/>
                      <a:pt x="300" y="128"/>
                    </a:cubicBezTo>
                    <a:cubicBezTo>
                      <a:pt x="301" y="128"/>
                      <a:pt x="301" y="128"/>
                      <a:pt x="302" y="128"/>
                    </a:cubicBezTo>
                    <a:cubicBezTo>
                      <a:pt x="302" y="128"/>
                      <a:pt x="303" y="128"/>
                      <a:pt x="303" y="128"/>
                    </a:cubicBezTo>
                    <a:cubicBezTo>
                      <a:pt x="303" y="128"/>
                      <a:pt x="304" y="127"/>
                      <a:pt x="304" y="127"/>
                    </a:cubicBezTo>
                    <a:cubicBezTo>
                      <a:pt x="304" y="128"/>
                      <a:pt x="304" y="128"/>
                      <a:pt x="304" y="128"/>
                    </a:cubicBezTo>
                    <a:cubicBezTo>
                      <a:pt x="305" y="128"/>
                      <a:pt x="306" y="126"/>
                      <a:pt x="307" y="127"/>
                    </a:cubicBezTo>
                    <a:cubicBezTo>
                      <a:pt x="307" y="127"/>
                      <a:pt x="306" y="127"/>
                      <a:pt x="306" y="127"/>
                    </a:cubicBezTo>
                    <a:cubicBezTo>
                      <a:pt x="307" y="127"/>
                      <a:pt x="308" y="127"/>
                      <a:pt x="309" y="127"/>
                    </a:cubicBezTo>
                    <a:cubicBezTo>
                      <a:pt x="310" y="127"/>
                      <a:pt x="310" y="127"/>
                      <a:pt x="311" y="126"/>
                    </a:cubicBezTo>
                    <a:cubicBezTo>
                      <a:pt x="312" y="126"/>
                      <a:pt x="313" y="126"/>
                      <a:pt x="314" y="126"/>
                    </a:cubicBezTo>
                    <a:cubicBezTo>
                      <a:pt x="314" y="126"/>
                      <a:pt x="315" y="126"/>
                      <a:pt x="315" y="126"/>
                    </a:cubicBezTo>
                    <a:cubicBezTo>
                      <a:pt x="315" y="125"/>
                      <a:pt x="316" y="125"/>
                      <a:pt x="316" y="125"/>
                    </a:cubicBezTo>
                    <a:cubicBezTo>
                      <a:pt x="317" y="126"/>
                      <a:pt x="316" y="126"/>
                      <a:pt x="316" y="126"/>
                    </a:cubicBezTo>
                    <a:cubicBezTo>
                      <a:pt x="315" y="127"/>
                      <a:pt x="316" y="127"/>
                      <a:pt x="316" y="126"/>
                    </a:cubicBezTo>
                    <a:cubicBezTo>
                      <a:pt x="316" y="126"/>
                      <a:pt x="317" y="127"/>
                      <a:pt x="317" y="127"/>
                    </a:cubicBezTo>
                    <a:cubicBezTo>
                      <a:pt x="317" y="127"/>
                      <a:pt x="316" y="127"/>
                      <a:pt x="317" y="128"/>
                    </a:cubicBezTo>
                    <a:cubicBezTo>
                      <a:pt x="317" y="128"/>
                      <a:pt x="316" y="128"/>
                      <a:pt x="316" y="128"/>
                    </a:cubicBezTo>
                    <a:cubicBezTo>
                      <a:pt x="316" y="128"/>
                      <a:pt x="317" y="128"/>
                      <a:pt x="317" y="128"/>
                    </a:cubicBezTo>
                    <a:cubicBezTo>
                      <a:pt x="318" y="128"/>
                      <a:pt x="318" y="128"/>
                      <a:pt x="319" y="127"/>
                    </a:cubicBezTo>
                    <a:cubicBezTo>
                      <a:pt x="318" y="128"/>
                      <a:pt x="319" y="128"/>
                      <a:pt x="320" y="128"/>
                    </a:cubicBezTo>
                    <a:cubicBezTo>
                      <a:pt x="320" y="128"/>
                      <a:pt x="321" y="128"/>
                      <a:pt x="321" y="128"/>
                    </a:cubicBezTo>
                    <a:cubicBezTo>
                      <a:pt x="320" y="129"/>
                      <a:pt x="320" y="130"/>
                      <a:pt x="319" y="130"/>
                    </a:cubicBezTo>
                    <a:cubicBezTo>
                      <a:pt x="318" y="130"/>
                      <a:pt x="319" y="130"/>
                      <a:pt x="319" y="131"/>
                    </a:cubicBezTo>
                    <a:cubicBezTo>
                      <a:pt x="319" y="131"/>
                      <a:pt x="319" y="131"/>
                      <a:pt x="319" y="131"/>
                    </a:cubicBezTo>
                    <a:cubicBezTo>
                      <a:pt x="321" y="131"/>
                      <a:pt x="321" y="129"/>
                      <a:pt x="322" y="129"/>
                    </a:cubicBezTo>
                    <a:cubicBezTo>
                      <a:pt x="323" y="129"/>
                      <a:pt x="323" y="129"/>
                      <a:pt x="323" y="129"/>
                    </a:cubicBezTo>
                    <a:cubicBezTo>
                      <a:pt x="322" y="130"/>
                      <a:pt x="322" y="131"/>
                      <a:pt x="321" y="131"/>
                    </a:cubicBezTo>
                    <a:cubicBezTo>
                      <a:pt x="322" y="131"/>
                      <a:pt x="322" y="131"/>
                      <a:pt x="323" y="131"/>
                    </a:cubicBezTo>
                    <a:cubicBezTo>
                      <a:pt x="323" y="130"/>
                      <a:pt x="323" y="131"/>
                      <a:pt x="324" y="131"/>
                    </a:cubicBezTo>
                    <a:cubicBezTo>
                      <a:pt x="324" y="132"/>
                      <a:pt x="324" y="132"/>
                      <a:pt x="324" y="133"/>
                    </a:cubicBezTo>
                    <a:cubicBezTo>
                      <a:pt x="324" y="133"/>
                      <a:pt x="324" y="134"/>
                      <a:pt x="323" y="134"/>
                    </a:cubicBezTo>
                    <a:cubicBezTo>
                      <a:pt x="323" y="134"/>
                      <a:pt x="322" y="134"/>
                      <a:pt x="322" y="134"/>
                    </a:cubicBezTo>
                    <a:cubicBezTo>
                      <a:pt x="321" y="134"/>
                      <a:pt x="321" y="135"/>
                      <a:pt x="320" y="134"/>
                    </a:cubicBezTo>
                    <a:cubicBezTo>
                      <a:pt x="320" y="134"/>
                      <a:pt x="319" y="133"/>
                      <a:pt x="319" y="133"/>
                    </a:cubicBezTo>
                    <a:cubicBezTo>
                      <a:pt x="319" y="133"/>
                      <a:pt x="318" y="134"/>
                      <a:pt x="318" y="134"/>
                    </a:cubicBezTo>
                    <a:cubicBezTo>
                      <a:pt x="318" y="134"/>
                      <a:pt x="319" y="134"/>
                      <a:pt x="319" y="134"/>
                    </a:cubicBezTo>
                    <a:cubicBezTo>
                      <a:pt x="319" y="134"/>
                      <a:pt x="319" y="134"/>
                      <a:pt x="319" y="134"/>
                    </a:cubicBezTo>
                    <a:cubicBezTo>
                      <a:pt x="319" y="135"/>
                      <a:pt x="319" y="135"/>
                      <a:pt x="319" y="135"/>
                    </a:cubicBezTo>
                    <a:cubicBezTo>
                      <a:pt x="320" y="135"/>
                      <a:pt x="320" y="135"/>
                      <a:pt x="320" y="135"/>
                    </a:cubicBezTo>
                    <a:cubicBezTo>
                      <a:pt x="321" y="136"/>
                      <a:pt x="319" y="136"/>
                      <a:pt x="319" y="136"/>
                    </a:cubicBezTo>
                    <a:cubicBezTo>
                      <a:pt x="319" y="136"/>
                      <a:pt x="320" y="136"/>
                      <a:pt x="320" y="137"/>
                    </a:cubicBezTo>
                    <a:cubicBezTo>
                      <a:pt x="320" y="137"/>
                      <a:pt x="319" y="137"/>
                      <a:pt x="319" y="138"/>
                    </a:cubicBezTo>
                    <a:cubicBezTo>
                      <a:pt x="319" y="138"/>
                      <a:pt x="320" y="138"/>
                      <a:pt x="320" y="138"/>
                    </a:cubicBezTo>
                    <a:cubicBezTo>
                      <a:pt x="320" y="137"/>
                      <a:pt x="321" y="137"/>
                      <a:pt x="321" y="138"/>
                    </a:cubicBezTo>
                    <a:cubicBezTo>
                      <a:pt x="320" y="139"/>
                      <a:pt x="320" y="139"/>
                      <a:pt x="321" y="139"/>
                    </a:cubicBezTo>
                    <a:cubicBezTo>
                      <a:pt x="321" y="139"/>
                      <a:pt x="321" y="140"/>
                      <a:pt x="321" y="140"/>
                    </a:cubicBezTo>
                    <a:cubicBezTo>
                      <a:pt x="321" y="141"/>
                      <a:pt x="321" y="141"/>
                      <a:pt x="322" y="141"/>
                    </a:cubicBezTo>
                    <a:cubicBezTo>
                      <a:pt x="322" y="140"/>
                      <a:pt x="322" y="140"/>
                      <a:pt x="321" y="140"/>
                    </a:cubicBezTo>
                    <a:cubicBezTo>
                      <a:pt x="321" y="139"/>
                      <a:pt x="321" y="139"/>
                      <a:pt x="321" y="139"/>
                    </a:cubicBezTo>
                    <a:cubicBezTo>
                      <a:pt x="321" y="139"/>
                      <a:pt x="321" y="139"/>
                      <a:pt x="321" y="138"/>
                    </a:cubicBezTo>
                    <a:cubicBezTo>
                      <a:pt x="321" y="138"/>
                      <a:pt x="321" y="137"/>
                      <a:pt x="321" y="137"/>
                    </a:cubicBezTo>
                    <a:cubicBezTo>
                      <a:pt x="322" y="137"/>
                      <a:pt x="322" y="136"/>
                      <a:pt x="323" y="135"/>
                    </a:cubicBezTo>
                    <a:cubicBezTo>
                      <a:pt x="324" y="134"/>
                      <a:pt x="324" y="135"/>
                      <a:pt x="324" y="135"/>
                    </a:cubicBezTo>
                    <a:cubicBezTo>
                      <a:pt x="324" y="135"/>
                      <a:pt x="324" y="135"/>
                      <a:pt x="325" y="134"/>
                    </a:cubicBezTo>
                    <a:cubicBezTo>
                      <a:pt x="325" y="134"/>
                      <a:pt x="325" y="134"/>
                      <a:pt x="325" y="135"/>
                    </a:cubicBezTo>
                    <a:cubicBezTo>
                      <a:pt x="325" y="135"/>
                      <a:pt x="325" y="136"/>
                      <a:pt x="324" y="135"/>
                    </a:cubicBezTo>
                    <a:cubicBezTo>
                      <a:pt x="324" y="135"/>
                      <a:pt x="323" y="135"/>
                      <a:pt x="323" y="135"/>
                    </a:cubicBezTo>
                    <a:cubicBezTo>
                      <a:pt x="323" y="136"/>
                      <a:pt x="324" y="135"/>
                      <a:pt x="324" y="136"/>
                    </a:cubicBezTo>
                    <a:cubicBezTo>
                      <a:pt x="324" y="136"/>
                      <a:pt x="324" y="136"/>
                      <a:pt x="323" y="136"/>
                    </a:cubicBezTo>
                    <a:cubicBezTo>
                      <a:pt x="323" y="136"/>
                      <a:pt x="324" y="136"/>
                      <a:pt x="324" y="136"/>
                    </a:cubicBezTo>
                    <a:cubicBezTo>
                      <a:pt x="324" y="136"/>
                      <a:pt x="324" y="136"/>
                      <a:pt x="324" y="136"/>
                    </a:cubicBezTo>
                    <a:cubicBezTo>
                      <a:pt x="324" y="136"/>
                      <a:pt x="325" y="136"/>
                      <a:pt x="325" y="135"/>
                    </a:cubicBezTo>
                    <a:cubicBezTo>
                      <a:pt x="325" y="135"/>
                      <a:pt x="326" y="135"/>
                      <a:pt x="326" y="135"/>
                    </a:cubicBezTo>
                    <a:cubicBezTo>
                      <a:pt x="326" y="135"/>
                      <a:pt x="326" y="136"/>
                      <a:pt x="326" y="136"/>
                    </a:cubicBezTo>
                    <a:cubicBezTo>
                      <a:pt x="326" y="137"/>
                      <a:pt x="327" y="136"/>
                      <a:pt x="327" y="136"/>
                    </a:cubicBezTo>
                    <a:cubicBezTo>
                      <a:pt x="327" y="136"/>
                      <a:pt x="327" y="135"/>
                      <a:pt x="327" y="135"/>
                    </a:cubicBezTo>
                    <a:cubicBezTo>
                      <a:pt x="326" y="134"/>
                      <a:pt x="326" y="134"/>
                      <a:pt x="327" y="134"/>
                    </a:cubicBezTo>
                    <a:cubicBezTo>
                      <a:pt x="328" y="134"/>
                      <a:pt x="328" y="134"/>
                      <a:pt x="329" y="134"/>
                    </a:cubicBezTo>
                    <a:cubicBezTo>
                      <a:pt x="327" y="133"/>
                      <a:pt x="327" y="132"/>
                      <a:pt x="328" y="131"/>
                    </a:cubicBezTo>
                    <a:cubicBezTo>
                      <a:pt x="328" y="130"/>
                      <a:pt x="329" y="131"/>
                      <a:pt x="329" y="130"/>
                    </a:cubicBezTo>
                    <a:cubicBezTo>
                      <a:pt x="329" y="129"/>
                      <a:pt x="329" y="129"/>
                      <a:pt x="328" y="128"/>
                    </a:cubicBezTo>
                    <a:cubicBezTo>
                      <a:pt x="328" y="128"/>
                      <a:pt x="329" y="127"/>
                      <a:pt x="329" y="127"/>
                    </a:cubicBezTo>
                    <a:cubicBezTo>
                      <a:pt x="331" y="126"/>
                      <a:pt x="332" y="127"/>
                      <a:pt x="333" y="126"/>
                    </a:cubicBezTo>
                    <a:cubicBezTo>
                      <a:pt x="333" y="126"/>
                      <a:pt x="332" y="126"/>
                      <a:pt x="332" y="125"/>
                    </a:cubicBezTo>
                    <a:cubicBezTo>
                      <a:pt x="332" y="125"/>
                      <a:pt x="333" y="124"/>
                      <a:pt x="334" y="125"/>
                    </a:cubicBezTo>
                    <a:cubicBezTo>
                      <a:pt x="334" y="125"/>
                      <a:pt x="332" y="125"/>
                      <a:pt x="333" y="125"/>
                    </a:cubicBezTo>
                    <a:cubicBezTo>
                      <a:pt x="333" y="125"/>
                      <a:pt x="332" y="125"/>
                      <a:pt x="332" y="125"/>
                    </a:cubicBezTo>
                    <a:cubicBezTo>
                      <a:pt x="332" y="126"/>
                      <a:pt x="334" y="125"/>
                      <a:pt x="334" y="125"/>
                    </a:cubicBezTo>
                    <a:cubicBezTo>
                      <a:pt x="334" y="125"/>
                      <a:pt x="335" y="125"/>
                      <a:pt x="335" y="125"/>
                    </a:cubicBezTo>
                    <a:cubicBezTo>
                      <a:pt x="336" y="125"/>
                      <a:pt x="338" y="124"/>
                      <a:pt x="339" y="124"/>
                    </a:cubicBezTo>
                    <a:cubicBezTo>
                      <a:pt x="338" y="124"/>
                      <a:pt x="338" y="124"/>
                      <a:pt x="338" y="124"/>
                    </a:cubicBezTo>
                    <a:cubicBezTo>
                      <a:pt x="339" y="124"/>
                      <a:pt x="339" y="124"/>
                      <a:pt x="340" y="124"/>
                    </a:cubicBezTo>
                    <a:cubicBezTo>
                      <a:pt x="340" y="124"/>
                      <a:pt x="341" y="124"/>
                      <a:pt x="341" y="124"/>
                    </a:cubicBezTo>
                    <a:cubicBezTo>
                      <a:pt x="342" y="124"/>
                      <a:pt x="342" y="123"/>
                      <a:pt x="342" y="123"/>
                    </a:cubicBezTo>
                    <a:cubicBezTo>
                      <a:pt x="342" y="123"/>
                      <a:pt x="342" y="123"/>
                      <a:pt x="342" y="124"/>
                    </a:cubicBezTo>
                    <a:cubicBezTo>
                      <a:pt x="343" y="124"/>
                      <a:pt x="343" y="123"/>
                      <a:pt x="343" y="123"/>
                    </a:cubicBezTo>
                    <a:cubicBezTo>
                      <a:pt x="344" y="123"/>
                      <a:pt x="344" y="123"/>
                      <a:pt x="344" y="124"/>
                    </a:cubicBezTo>
                    <a:cubicBezTo>
                      <a:pt x="344" y="124"/>
                      <a:pt x="344" y="124"/>
                      <a:pt x="345" y="123"/>
                    </a:cubicBezTo>
                    <a:cubicBezTo>
                      <a:pt x="344" y="123"/>
                      <a:pt x="344" y="123"/>
                      <a:pt x="345" y="123"/>
                    </a:cubicBezTo>
                    <a:cubicBezTo>
                      <a:pt x="345" y="122"/>
                      <a:pt x="345" y="122"/>
                      <a:pt x="346" y="122"/>
                    </a:cubicBezTo>
                    <a:cubicBezTo>
                      <a:pt x="346" y="122"/>
                      <a:pt x="346" y="122"/>
                      <a:pt x="347" y="122"/>
                    </a:cubicBezTo>
                    <a:cubicBezTo>
                      <a:pt x="347" y="122"/>
                      <a:pt x="348" y="122"/>
                      <a:pt x="348" y="122"/>
                    </a:cubicBezTo>
                    <a:cubicBezTo>
                      <a:pt x="349" y="121"/>
                      <a:pt x="350" y="122"/>
                      <a:pt x="351" y="121"/>
                    </a:cubicBezTo>
                    <a:cubicBezTo>
                      <a:pt x="351" y="122"/>
                      <a:pt x="352" y="121"/>
                      <a:pt x="352" y="120"/>
                    </a:cubicBezTo>
                    <a:cubicBezTo>
                      <a:pt x="352" y="120"/>
                      <a:pt x="353" y="119"/>
                      <a:pt x="354" y="119"/>
                    </a:cubicBezTo>
                    <a:cubicBezTo>
                      <a:pt x="353" y="119"/>
                      <a:pt x="353" y="120"/>
                      <a:pt x="352" y="119"/>
                    </a:cubicBezTo>
                    <a:cubicBezTo>
                      <a:pt x="352" y="119"/>
                      <a:pt x="351" y="120"/>
                      <a:pt x="350" y="120"/>
                    </a:cubicBezTo>
                    <a:cubicBezTo>
                      <a:pt x="349" y="120"/>
                      <a:pt x="348" y="120"/>
                      <a:pt x="346" y="120"/>
                    </a:cubicBezTo>
                    <a:cubicBezTo>
                      <a:pt x="347" y="120"/>
                      <a:pt x="347" y="120"/>
                      <a:pt x="347" y="120"/>
                    </a:cubicBezTo>
                    <a:cubicBezTo>
                      <a:pt x="347" y="121"/>
                      <a:pt x="346" y="121"/>
                      <a:pt x="346" y="121"/>
                    </a:cubicBezTo>
                    <a:cubicBezTo>
                      <a:pt x="346" y="121"/>
                      <a:pt x="345" y="121"/>
                      <a:pt x="345" y="121"/>
                    </a:cubicBezTo>
                    <a:cubicBezTo>
                      <a:pt x="345" y="121"/>
                      <a:pt x="346" y="121"/>
                      <a:pt x="346" y="121"/>
                    </a:cubicBezTo>
                    <a:cubicBezTo>
                      <a:pt x="346" y="122"/>
                      <a:pt x="345" y="122"/>
                      <a:pt x="345" y="122"/>
                    </a:cubicBezTo>
                    <a:cubicBezTo>
                      <a:pt x="345" y="122"/>
                      <a:pt x="345" y="122"/>
                      <a:pt x="344" y="122"/>
                    </a:cubicBezTo>
                    <a:cubicBezTo>
                      <a:pt x="344" y="123"/>
                      <a:pt x="344" y="122"/>
                      <a:pt x="344" y="122"/>
                    </a:cubicBezTo>
                    <a:cubicBezTo>
                      <a:pt x="344" y="122"/>
                      <a:pt x="344" y="121"/>
                      <a:pt x="343" y="122"/>
                    </a:cubicBezTo>
                    <a:cubicBezTo>
                      <a:pt x="343" y="122"/>
                      <a:pt x="343" y="122"/>
                      <a:pt x="342" y="122"/>
                    </a:cubicBezTo>
                    <a:cubicBezTo>
                      <a:pt x="342" y="122"/>
                      <a:pt x="342" y="122"/>
                      <a:pt x="341" y="122"/>
                    </a:cubicBezTo>
                    <a:cubicBezTo>
                      <a:pt x="341" y="122"/>
                      <a:pt x="340" y="123"/>
                      <a:pt x="339" y="123"/>
                    </a:cubicBezTo>
                    <a:cubicBezTo>
                      <a:pt x="339" y="123"/>
                      <a:pt x="339" y="123"/>
                      <a:pt x="339" y="122"/>
                    </a:cubicBezTo>
                    <a:cubicBezTo>
                      <a:pt x="338" y="122"/>
                      <a:pt x="338" y="122"/>
                      <a:pt x="338" y="122"/>
                    </a:cubicBezTo>
                    <a:cubicBezTo>
                      <a:pt x="337" y="122"/>
                      <a:pt x="338" y="122"/>
                      <a:pt x="337" y="122"/>
                    </a:cubicBezTo>
                    <a:cubicBezTo>
                      <a:pt x="337" y="122"/>
                      <a:pt x="336" y="122"/>
                      <a:pt x="335" y="122"/>
                    </a:cubicBezTo>
                    <a:cubicBezTo>
                      <a:pt x="334" y="123"/>
                      <a:pt x="335" y="123"/>
                      <a:pt x="336" y="124"/>
                    </a:cubicBezTo>
                    <a:cubicBezTo>
                      <a:pt x="335" y="124"/>
                      <a:pt x="334" y="123"/>
                      <a:pt x="334" y="124"/>
                    </a:cubicBezTo>
                    <a:cubicBezTo>
                      <a:pt x="333" y="124"/>
                      <a:pt x="333" y="124"/>
                      <a:pt x="332" y="124"/>
                    </a:cubicBezTo>
                    <a:cubicBezTo>
                      <a:pt x="333" y="124"/>
                      <a:pt x="332" y="124"/>
                      <a:pt x="331" y="124"/>
                    </a:cubicBezTo>
                    <a:cubicBezTo>
                      <a:pt x="331" y="124"/>
                      <a:pt x="330" y="124"/>
                      <a:pt x="330" y="124"/>
                    </a:cubicBezTo>
                    <a:cubicBezTo>
                      <a:pt x="330" y="124"/>
                      <a:pt x="329" y="124"/>
                      <a:pt x="329" y="124"/>
                    </a:cubicBezTo>
                    <a:cubicBezTo>
                      <a:pt x="330" y="124"/>
                      <a:pt x="330" y="124"/>
                      <a:pt x="330" y="124"/>
                    </a:cubicBezTo>
                    <a:cubicBezTo>
                      <a:pt x="330" y="124"/>
                      <a:pt x="331" y="123"/>
                      <a:pt x="331" y="123"/>
                    </a:cubicBezTo>
                    <a:cubicBezTo>
                      <a:pt x="330" y="123"/>
                      <a:pt x="330" y="124"/>
                      <a:pt x="330" y="123"/>
                    </a:cubicBezTo>
                    <a:cubicBezTo>
                      <a:pt x="330" y="123"/>
                      <a:pt x="331" y="123"/>
                      <a:pt x="331" y="122"/>
                    </a:cubicBezTo>
                    <a:cubicBezTo>
                      <a:pt x="331" y="122"/>
                      <a:pt x="328" y="124"/>
                      <a:pt x="328" y="123"/>
                    </a:cubicBezTo>
                    <a:cubicBezTo>
                      <a:pt x="328" y="122"/>
                      <a:pt x="331" y="121"/>
                      <a:pt x="331" y="121"/>
                    </a:cubicBezTo>
                    <a:cubicBezTo>
                      <a:pt x="333" y="121"/>
                      <a:pt x="334" y="120"/>
                      <a:pt x="336" y="119"/>
                    </a:cubicBezTo>
                    <a:cubicBezTo>
                      <a:pt x="337" y="119"/>
                      <a:pt x="339" y="119"/>
                      <a:pt x="340" y="119"/>
                    </a:cubicBezTo>
                    <a:cubicBezTo>
                      <a:pt x="342" y="119"/>
                      <a:pt x="343" y="119"/>
                      <a:pt x="345" y="118"/>
                    </a:cubicBezTo>
                    <a:cubicBezTo>
                      <a:pt x="346" y="118"/>
                      <a:pt x="346" y="118"/>
                      <a:pt x="347" y="118"/>
                    </a:cubicBezTo>
                    <a:cubicBezTo>
                      <a:pt x="348" y="118"/>
                      <a:pt x="349" y="117"/>
                      <a:pt x="350" y="117"/>
                    </a:cubicBezTo>
                    <a:cubicBezTo>
                      <a:pt x="351" y="117"/>
                      <a:pt x="352" y="117"/>
                      <a:pt x="352" y="117"/>
                    </a:cubicBezTo>
                    <a:cubicBezTo>
                      <a:pt x="353" y="116"/>
                      <a:pt x="354" y="117"/>
                      <a:pt x="354" y="117"/>
                    </a:cubicBezTo>
                    <a:cubicBezTo>
                      <a:pt x="355" y="117"/>
                      <a:pt x="355" y="117"/>
                      <a:pt x="355" y="118"/>
                    </a:cubicBezTo>
                    <a:cubicBezTo>
                      <a:pt x="356" y="118"/>
                      <a:pt x="356" y="119"/>
                      <a:pt x="355" y="119"/>
                    </a:cubicBezTo>
                    <a:cubicBezTo>
                      <a:pt x="355" y="119"/>
                      <a:pt x="354" y="120"/>
                      <a:pt x="355" y="120"/>
                    </a:cubicBezTo>
                    <a:cubicBezTo>
                      <a:pt x="355" y="121"/>
                      <a:pt x="354" y="121"/>
                      <a:pt x="354" y="121"/>
                    </a:cubicBezTo>
                    <a:cubicBezTo>
                      <a:pt x="354" y="121"/>
                      <a:pt x="353" y="121"/>
                      <a:pt x="353" y="121"/>
                    </a:cubicBezTo>
                    <a:cubicBezTo>
                      <a:pt x="352" y="121"/>
                      <a:pt x="354" y="121"/>
                      <a:pt x="354" y="121"/>
                    </a:cubicBezTo>
                    <a:cubicBezTo>
                      <a:pt x="353" y="122"/>
                      <a:pt x="354" y="122"/>
                      <a:pt x="354" y="123"/>
                    </a:cubicBezTo>
                    <a:cubicBezTo>
                      <a:pt x="354" y="123"/>
                      <a:pt x="355" y="123"/>
                      <a:pt x="355" y="122"/>
                    </a:cubicBezTo>
                    <a:cubicBezTo>
                      <a:pt x="355" y="122"/>
                      <a:pt x="356" y="122"/>
                      <a:pt x="356" y="122"/>
                    </a:cubicBezTo>
                    <a:cubicBezTo>
                      <a:pt x="357" y="123"/>
                      <a:pt x="356" y="123"/>
                      <a:pt x="355" y="123"/>
                    </a:cubicBezTo>
                    <a:cubicBezTo>
                      <a:pt x="355" y="123"/>
                      <a:pt x="355" y="123"/>
                      <a:pt x="356" y="123"/>
                    </a:cubicBezTo>
                    <a:cubicBezTo>
                      <a:pt x="356" y="123"/>
                      <a:pt x="356" y="123"/>
                      <a:pt x="356" y="123"/>
                    </a:cubicBezTo>
                    <a:cubicBezTo>
                      <a:pt x="356" y="123"/>
                      <a:pt x="357" y="123"/>
                      <a:pt x="357" y="123"/>
                    </a:cubicBezTo>
                    <a:cubicBezTo>
                      <a:pt x="358" y="123"/>
                      <a:pt x="356" y="124"/>
                      <a:pt x="356" y="124"/>
                    </a:cubicBezTo>
                    <a:cubicBezTo>
                      <a:pt x="357" y="124"/>
                      <a:pt x="356" y="124"/>
                      <a:pt x="356" y="124"/>
                    </a:cubicBezTo>
                    <a:cubicBezTo>
                      <a:pt x="356" y="125"/>
                      <a:pt x="357" y="125"/>
                      <a:pt x="357" y="125"/>
                    </a:cubicBezTo>
                    <a:cubicBezTo>
                      <a:pt x="357" y="125"/>
                      <a:pt x="357" y="125"/>
                      <a:pt x="356" y="125"/>
                    </a:cubicBezTo>
                    <a:cubicBezTo>
                      <a:pt x="357" y="125"/>
                      <a:pt x="359" y="125"/>
                      <a:pt x="360" y="125"/>
                    </a:cubicBezTo>
                    <a:cubicBezTo>
                      <a:pt x="361" y="125"/>
                      <a:pt x="362" y="125"/>
                      <a:pt x="363" y="125"/>
                    </a:cubicBezTo>
                    <a:cubicBezTo>
                      <a:pt x="363" y="125"/>
                      <a:pt x="365" y="123"/>
                      <a:pt x="365" y="124"/>
                    </a:cubicBezTo>
                    <a:cubicBezTo>
                      <a:pt x="366" y="124"/>
                      <a:pt x="364" y="125"/>
                      <a:pt x="364" y="125"/>
                    </a:cubicBezTo>
                    <a:cubicBezTo>
                      <a:pt x="365" y="125"/>
                      <a:pt x="365" y="126"/>
                      <a:pt x="365" y="126"/>
                    </a:cubicBezTo>
                    <a:cubicBezTo>
                      <a:pt x="366" y="126"/>
                      <a:pt x="365" y="126"/>
                      <a:pt x="365" y="126"/>
                    </a:cubicBezTo>
                    <a:cubicBezTo>
                      <a:pt x="366" y="126"/>
                      <a:pt x="366" y="126"/>
                      <a:pt x="366" y="126"/>
                    </a:cubicBezTo>
                    <a:cubicBezTo>
                      <a:pt x="367" y="126"/>
                      <a:pt x="366" y="127"/>
                      <a:pt x="366" y="127"/>
                    </a:cubicBezTo>
                    <a:cubicBezTo>
                      <a:pt x="367" y="127"/>
                      <a:pt x="368" y="127"/>
                      <a:pt x="369" y="127"/>
                    </a:cubicBezTo>
                    <a:cubicBezTo>
                      <a:pt x="369" y="127"/>
                      <a:pt x="370" y="128"/>
                      <a:pt x="369" y="128"/>
                    </a:cubicBezTo>
                    <a:cubicBezTo>
                      <a:pt x="370" y="128"/>
                      <a:pt x="370" y="127"/>
                      <a:pt x="371" y="128"/>
                    </a:cubicBezTo>
                    <a:cubicBezTo>
                      <a:pt x="372" y="128"/>
                      <a:pt x="372" y="127"/>
                      <a:pt x="372" y="127"/>
                    </a:cubicBezTo>
                    <a:cubicBezTo>
                      <a:pt x="372" y="127"/>
                      <a:pt x="373" y="128"/>
                      <a:pt x="373" y="128"/>
                    </a:cubicBezTo>
                    <a:cubicBezTo>
                      <a:pt x="373" y="128"/>
                      <a:pt x="373" y="128"/>
                      <a:pt x="374" y="128"/>
                    </a:cubicBezTo>
                    <a:cubicBezTo>
                      <a:pt x="374" y="128"/>
                      <a:pt x="375" y="128"/>
                      <a:pt x="375" y="128"/>
                    </a:cubicBezTo>
                    <a:cubicBezTo>
                      <a:pt x="375" y="128"/>
                      <a:pt x="375" y="128"/>
                      <a:pt x="376" y="128"/>
                    </a:cubicBezTo>
                    <a:cubicBezTo>
                      <a:pt x="376" y="128"/>
                      <a:pt x="376" y="128"/>
                      <a:pt x="376" y="128"/>
                    </a:cubicBezTo>
                    <a:cubicBezTo>
                      <a:pt x="377" y="128"/>
                      <a:pt x="377" y="127"/>
                      <a:pt x="378" y="127"/>
                    </a:cubicBezTo>
                    <a:cubicBezTo>
                      <a:pt x="378" y="127"/>
                      <a:pt x="378" y="128"/>
                      <a:pt x="378" y="128"/>
                    </a:cubicBezTo>
                    <a:cubicBezTo>
                      <a:pt x="378" y="128"/>
                      <a:pt x="379" y="128"/>
                      <a:pt x="379" y="128"/>
                    </a:cubicBezTo>
                    <a:cubicBezTo>
                      <a:pt x="380" y="127"/>
                      <a:pt x="380" y="127"/>
                      <a:pt x="380" y="127"/>
                    </a:cubicBezTo>
                    <a:cubicBezTo>
                      <a:pt x="381" y="127"/>
                      <a:pt x="382" y="127"/>
                      <a:pt x="383" y="127"/>
                    </a:cubicBezTo>
                    <a:cubicBezTo>
                      <a:pt x="382" y="127"/>
                      <a:pt x="382" y="127"/>
                      <a:pt x="382" y="127"/>
                    </a:cubicBezTo>
                    <a:cubicBezTo>
                      <a:pt x="383" y="127"/>
                      <a:pt x="384" y="127"/>
                      <a:pt x="385" y="127"/>
                    </a:cubicBezTo>
                    <a:cubicBezTo>
                      <a:pt x="386" y="127"/>
                      <a:pt x="386" y="127"/>
                      <a:pt x="387" y="127"/>
                    </a:cubicBezTo>
                    <a:cubicBezTo>
                      <a:pt x="387" y="127"/>
                      <a:pt x="390" y="127"/>
                      <a:pt x="390" y="127"/>
                    </a:cubicBezTo>
                    <a:cubicBezTo>
                      <a:pt x="391" y="127"/>
                      <a:pt x="391" y="128"/>
                      <a:pt x="391" y="128"/>
                    </a:cubicBezTo>
                    <a:cubicBezTo>
                      <a:pt x="392" y="128"/>
                      <a:pt x="393" y="128"/>
                      <a:pt x="393" y="128"/>
                    </a:cubicBezTo>
                    <a:cubicBezTo>
                      <a:pt x="394" y="128"/>
                      <a:pt x="394" y="128"/>
                      <a:pt x="394" y="128"/>
                    </a:cubicBezTo>
                    <a:cubicBezTo>
                      <a:pt x="395" y="128"/>
                      <a:pt x="395" y="127"/>
                      <a:pt x="396" y="127"/>
                    </a:cubicBezTo>
                    <a:cubicBezTo>
                      <a:pt x="396" y="127"/>
                      <a:pt x="399" y="128"/>
                      <a:pt x="398" y="127"/>
                    </a:cubicBezTo>
                    <a:cubicBezTo>
                      <a:pt x="397" y="126"/>
                      <a:pt x="396" y="126"/>
                      <a:pt x="397" y="125"/>
                    </a:cubicBezTo>
                    <a:cubicBezTo>
                      <a:pt x="398" y="125"/>
                      <a:pt x="399" y="124"/>
                      <a:pt x="399" y="125"/>
                    </a:cubicBezTo>
                    <a:cubicBezTo>
                      <a:pt x="399" y="125"/>
                      <a:pt x="400" y="125"/>
                      <a:pt x="400" y="126"/>
                    </a:cubicBezTo>
                    <a:cubicBezTo>
                      <a:pt x="400" y="126"/>
                      <a:pt x="400" y="127"/>
                      <a:pt x="400" y="127"/>
                    </a:cubicBezTo>
                    <a:cubicBezTo>
                      <a:pt x="400" y="128"/>
                      <a:pt x="401" y="127"/>
                      <a:pt x="400" y="128"/>
                    </a:cubicBezTo>
                    <a:cubicBezTo>
                      <a:pt x="400" y="128"/>
                      <a:pt x="401" y="128"/>
                      <a:pt x="401" y="128"/>
                    </a:cubicBezTo>
                    <a:cubicBezTo>
                      <a:pt x="401" y="128"/>
                      <a:pt x="401" y="128"/>
                      <a:pt x="401" y="129"/>
                    </a:cubicBezTo>
                    <a:cubicBezTo>
                      <a:pt x="402" y="129"/>
                      <a:pt x="402" y="129"/>
                      <a:pt x="403" y="129"/>
                    </a:cubicBezTo>
                    <a:cubicBezTo>
                      <a:pt x="403" y="129"/>
                      <a:pt x="404" y="129"/>
                      <a:pt x="405" y="128"/>
                    </a:cubicBezTo>
                    <a:cubicBezTo>
                      <a:pt x="405" y="129"/>
                      <a:pt x="406" y="128"/>
                      <a:pt x="406" y="128"/>
                    </a:cubicBezTo>
                    <a:cubicBezTo>
                      <a:pt x="406" y="128"/>
                      <a:pt x="406" y="128"/>
                      <a:pt x="406" y="128"/>
                    </a:cubicBezTo>
                    <a:cubicBezTo>
                      <a:pt x="406" y="128"/>
                      <a:pt x="407" y="128"/>
                      <a:pt x="407" y="127"/>
                    </a:cubicBezTo>
                    <a:cubicBezTo>
                      <a:pt x="407" y="127"/>
                      <a:pt x="407" y="126"/>
                      <a:pt x="407" y="126"/>
                    </a:cubicBezTo>
                    <a:cubicBezTo>
                      <a:pt x="407" y="126"/>
                      <a:pt x="406" y="127"/>
                      <a:pt x="406" y="126"/>
                    </a:cubicBezTo>
                    <a:cubicBezTo>
                      <a:pt x="406" y="126"/>
                      <a:pt x="405" y="126"/>
                      <a:pt x="405" y="125"/>
                    </a:cubicBezTo>
                    <a:cubicBezTo>
                      <a:pt x="405" y="125"/>
                      <a:pt x="404" y="125"/>
                      <a:pt x="404" y="126"/>
                    </a:cubicBezTo>
                    <a:cubicBezTo>
                      <a:pt x="403" y="126"/>
                      <a:pt x="403" y="126"/>
                      <a:pt x="402" y="126"/>
                    </a:cubicBezTo>
                    <a:cubicBezTo>
                      <a:pt x="402" y="126"/>
                      <a:pt x="402" y="126"/>
                      <a:pt x="402" y="126"/>
                    </a:cubicBezTo>
                    <a:cubicBezTo>
                      <a:pt x="402" y="126"/>
                      <a:pt x="401" y="126"/>
                      <a:pt x="401" y="126"/>
                    </a:cubicBezTo>
                    <a:cubicBezTo>
                      <a:pt x="401" y="126"/>
                      <a:pt x="401" y="127"/>
                      <a:pt x="400" y="127"/>
                    </a:cubicBezTo>
                    <a:cubicBezTo>
                      <a:pt x="400" y="127"/>
                      <a:pt x="400" y="126"/>
                      <a:pt x="400" y="126"/>
                    </a:cubicBezTo>
                    <a:cubicBezTo>
                      <a:pt x="400" y="126"/>
                      <a:pt x="400" y="126"/>
                      <a:pt x="400" y="125"/>
                    </a:cubicBezTo>
                    <a:cubicBezTo>
                      <a:pt x="399" y="125"/>
                      <a:pt x="400" y="125"/>
                      <a:pt x="400" y="124"/>
                    </a:cubicBezTo>
                    <a:cubicBezTo>
                      <a:pt x="400" y="124"/>
                      <a:pt x="400" y="124"/>
                      <a:pt x="400" y="124"/>
                    </a:cubicBezTo>
                    <a:cubicBezTo>
                      <a:pt x="400" y="124"/>
                      <a:pt x="401" y="123"/>
                      <a:pt x="401" y="124"/>
                    </a:cubicBezTo>
                    <a:cubicBezTo>
                      <a:pt x="399" y="125"/>
                      <a:pt x="403" y="124"/>
                      <a:pt x="401" y="123"/>
                    </a:cubicBezTo>
                    <a:cubicBezTo>
                      <a:pt x="401" y="123"/>
                      <a:pt x="401" y="123"/>
                      <a:pt x="401" y="123"/>
                    </a:cubicBezTo>
                    <a:cubicBezTo>
                      <a:pt x="401" y="123"/>
                      <a:pt x="401" y="123"/>
                      <a:pt x="401" y="122"/>
                    </a:cubicBezTo>
                    <a:cubicBezTo>
                      <a:pt x="401" y="122"/>
                      <a:pt x="401" y="122"/>
                      <a:pt x="401" y="122"/>
                    </a:cubicBezTo>
                    <a:cubicBezTo>
                      <a:pt x="402" y="122"/>
                      <a:pt x="401" y="122"/>
                      <a:pt x="402" y="122"/>
                    </a:cubicBezTo>
                    <a:cubicBezTo>
                      <a:pt x="402" y="122"/>
                      <a:pt x="402" y="122"/>
                      <a:pt x="402" y="122"/>
                    </a:cubicBezTo>
                    <a:cubicBezTo>
                      <a:pt x="403" y="122"/>
                      <a:pt x="402" y="121"/>
                      <a:pt x="402" y="121"/>
                    </a:cubicBezTo>
                    <a:cubicBezTo>
                      <a:pt x="402" y="121"/>
                      <a:pt x="403" y="122"/>
                      <a:pt x="403" y="122"/>
                    </a:cubicBezTo>
                    <a:cubicBezTo>
                      <a:pt x="404" y="122"/>
                      <a:pt x="405" y="122"/>
                      <a:pt x="405" y="122"/>
                    </a:cubicBezTo>
                    <a:cubicBezTo>
                      <a:pt x="405" y="122"/>
                      <a:pt x="406" y="122"/>
                      <a:pt x="406" y="122"/>
                    </a:cubicBezTo>
                    <a:cubicBezTo>
                      <a:pt x="406" y="122"/>
                      <a:pt x="407" y="122"/>
                      <a:pt x="407" y="122"/>
                    </a:cubicBezTo>
                    <a:cubicBezTo>
                      <a:pt x="408" y="121"/>
                      <a:pt x="407" y="121"/>
                      <a:pt x="407" y="121"/>
                    </a:cubicBezTo>
                    <a:cubicBezTo>
                      <a:pt x="407" y="121"/>
                      <a:pt x="407" y="121"/>
                      <a:pt x="407" y="121"/>
                    </a:cubicBezTo>
                    <a:cubicBezTo>
                      <a:pt x="406" y="120"/>
                      <a:pt x="408" y="120"/>
                      <a:pt x="408" y="120"/>
                    </a:cubicBezTo>
                    <a:cubicBezTo>
                      <a:pt x="408" y="120"/>
                      <a:pt x="410" y="120"/>
                      <a:pt x="409" y="121"/>
                    </a:cubicBezTo>
                    <a:cubicBezTo>
                      <a:pt x="408" y="121"/>
                      <a:pt x="410" y="121"/>
                      <a:pt x="410" y="121"/>
                    </a:cubicBezTo>
                    <a:cubicBezTo>
                      <a:pt x="410" y="121"/>
                      <a:pt x="409" y="121"/>
                      <a:pt x="409" y="121"/>
                    </a:cubicBezTo>
                    <a:cubicBezTo>
                      <a:pt x="410" y="120"/>
                      <a:pt x="411" y="120"/>
                      <a:pt x="411" y="121"/>
                    </a:cubicBezTo>
                    <a:cubicBezTo>
                      <a:pt x="412" y="121"/>
                      <a:pt x="412" y="121"/>
                      <a:pt x="412" y="122"/>
                    </a:cubicBezTo>
                    <a:cubicBezTo>
                      <a:pt x="412" y="122"/>
                      <a:pt x="412" y="122"/>
                      <a:pt x="412" y="122"/>
                    </a:cubicBezTo>
                    <a:cubicBezTo>
                      <a:pt x="412" y="122"/>
                      <a:pt x="413" y="122"/>
                      <a:pt x="412" y="122"/>
                    </a:cubicBezTo>
                    <a:cubicBezTo>
                      <a:pt x="412" y="123"/>
                      <a:pt x="412" y="122"/>
                      <a:pt x="411" y="123"/>
                    </a:cubicBezTo>
                    <a:cubicBezTo>
                      <a:pt x="412" y="123"/>
                      <a:pt x="412" y="123"/>
                      <a:pt x="413" y="123"/>
                    </a:cubicBezTo>
                    <a:cubicBezTo>
                      <a:pt x="414" y="123"/>
                      <a:pt x="414" y="122"/>
                      <a:pt x="414" y="123"/>
                    </a:cubicBezTo>
                    <a:cubicBezTo>
                      <a:pt x="414" y="123"/>
                      <a:pt x="413" y="123"/>
                      <a:pt x="414" y="124"/>
                    </a:cubicBezTo>
                    <a:cubicBezTo>
                      <a:pt x="414" y="124"/>
                      <a:pt x="415" y="123"/>
                      <a:pt x="415" y="123"/>
                    </a:cubicBezTo>
                    <a:cubicBezTo>
                      <a:pt x="415" y="123"/>
                      <a:pt x="416" y="122"/>
                      <a:pt x="416" y="122"/>
                    </a:cubicBezTo>
                    <a:cubicBezTo>
                      <a:pt x="415" y="123"/>
                      <a:pt x="414" y="124"/>
                      <a:pt x="413" y="124"/>
                    </a:cubicBezTo>
                    <a:cubicBezTo>
                      <a:pt x="413" y="124"/>
                      <a:pt x="411" y="125"/>
                      <a:pt x="411" y="125"/>
                    </a:cubicBezTo>
                    <a:cubicBezTo>
                      <a:pt x="411" y="126"/>
                      <a:pt x="413" y="125"/>
                      <a:pt x="413" y="125"/>
                    </a:cubicBezTo>
                    <a:cubicBezTo>
                      <a:pt x="413" y="125"/>
                      <a:pt x="413" y="125"/>
                      <a:pt x="413" y="125"/>
                    </a:cubicBezTo>
                    <a:cubicBezTo>
                      <a:pt x="414" y="125"/>
                      <a:pt x="414" y="125"/>
                      <a:pt x="414" y="124"/>
                    </a:cubicBezTo>
                    <a:cubicBezTo>
                      <a:pt x="414" y="124"/>
                      <a:pt x="414" y="124"/>
                      <a:pt x="414" y="124"/>
                    </a:cubicBezTo>
                    <a:cubicBezTo>
                      <a:pt x="414" y="124"/>
                      <a:pt x="416" y="124"/>
                      <a:pt x="417" y="123"/>
                    </a:cubicBezTo>
                    <a:cubicBezTo>
                      <a:pt x="418" y="123"/>
                      <a:pt x="419" y="123"/>
                      <a:pt x="420" y="122"/>
                    </a:cubicBezTo>
                    <a:cubicBezTo>
                      <a:pt x="419" y="123"/>
                      <a:pt x="419" y="123"/>
                      <a:pt x="418" y="124"/>
                    </a:cubicBezTo>
                    <a:cubicBezTo>
                      <a:pt x="417" y="124"/>
                      <a:pt x="417" y="124"/>
                      <a:pt x="417" y="125"/>
                    </a:cubicBezTo>
                    <a:cubicBezTo>
                      <a:pt x="415" y="126"/>
                      <a:pt x="414" y="127"/>
                      <a:pt x="413" y="128"/>
                    </a:cubicBezTo>
                    <a:cubicBezTo>
                      <a:pt x="413" y="128"/>
                      <a:pt x="412" y="129"/>
                      <a:pt x="412" y="129"/>
                    </a:cubicBezTo>
                    <a:cubicBezTo>
                      <a:pt x="412" y="129"/>
                      <a:pt x="412" y="128"/>
                      <a:pt x="412" y="128"/>
                    </a:cubicBezTo>
                    <a:cubicBezTo>
                      <a:pt x="412" y="128"/>
                      <a:pt x="411" y="129"/>
                      <a:pt x="410" y="129"/>
                    </a:cubicBezTo>
                    <a:cubicBezTo>
                      <a:pt x="410" y="129"/>
                      <a:pt x="409" y="130"/>
                      <a:pt x="409" y="130"/>
                    </a:cubicBezTo>
                    <a:cubicBezTo>
                      <a:pt x="409" y="130"/>
                      <a:pt x="409" y="130"/>
                      <a:pt x="410" y="130"/>
                    </a:cubicBezTo>
                    <a:cubicBezTo>
                      <a:pt x="410" y="130"/>
                      <a:pt x="410" y="130"/>
                      <a:pt x="410" y="131"/>
                    </a:cubicBezTo>
                    <a:cubicBezTo>
                      <a:pt x="411" y="131"/>
                      <a:pt x="411" y="130"/>
                      <a:pt x="411" y="130"/>
                    </a:cubicBezTo>
                    <a:cubicBezTo>
                      <a:pt x="411" y="131"/>
                      <a:pt x="409" y="132"/>
                      <a:pt x="409" y="132"/>
                    </a:cubicBezTo>
                    <a:cubicBezTo>
                      <a:pt x="409" y="132"/>
                      <a:pt x="409" y="132"/>
                      <a:pt x="409" y="132"/>
                    </a:cubicBezTo>
                    <a:cubicBezTo>
                      <a:pt x="409" y="132"/>
                      <a:pt x="409" y="132"/>
                      <a:pt x="409" y="133"/>
                    </a:cubicBezTo>
                    <a:cubicBezTo>
                      <a:pt x="411" y="133"/>
                      <a:pt x="412" y="131"/>
                      <a:pt x="413" y="131"/>
                    </a:cubicBezTo>
                    <a:cubicBezTo>
                      <a:pt x="413" y="131"/>
                      <a:pt x="413" y="131"/>
                      <a:pt x="413" y="132"/>
                    </a:cubicBezTo>
                    <a:cubicBezTo>
                      <a:pt x="414" y="132"/>
                      <a:pt x="414" y="131"/>
                      <a:pt x="415" y="131"/>
                    </a:cubicBezTo>
                    <a:cubicBezTo>
                      <a:pt x="415" y="131"/>
                      <a:pt x="414" y="132"/>
                      <a:pt x="414" y="132"/>
                    </a:cubicBezTo>
                    <a:cubicBezTo>
                      <a:pt x="413" y="132"/>
                      <a:pt x="412" y="132"/>
                      <a:pt x="411" y="133"/>
                    </a:cubicBezTo>
                    <a:cubicBezTo>
                      <a:pt x="412" y="133"/>
                      <a:pt x="412" y="133"/>
                      <a:pt x="413" y="133"/>
                    </a:cubicBezTo>
                    <a:cubicBezTo>
                      <a:pt x="412" y="133"/>
                      <a:pt x="413" y="133"/>
                      <a:pt x="414" y="133"/>
                    </a:cubicBezTo>
                    <a:cubicBezTo>
                      <a:pt x="414" y="133"/>
                      <a:pt x="413" y="133"/>
                      <a:pt x="413" y="133"/>
                    </a:cubicBezTo>
                    <a:cubicBezTo>
                      <a:pt x="413" y="133"/>
                      <a:pt x="414" y="133"/>
                      <a:pt x="414" y="133"/>
                    </a:cubicBezTo>
                    <a:cubicBezTo>
                      <a:pt x="414" y="133"/>
                      <a:pt x="413" y="134"/>
                      <a:pt x="413" y="134"/>
                    </a:cubicBezTo>
                    <a:cubicBezTo>
                      <a:pt x="413" y="134"/>
                      <a:pt x="414" y="134"/>
                      <a:pt x="413" y="135"/>
                    </a:cubicBezTo>
                    <a:cubicBezTo>
                      <a:pt x="413" y="135"/>
                      <a:pt x="413" y="135"/>
                      <a:pt x="412" y="135"/>
                    </a:cubicBezTo>
                    <a:cubicBezTo>
                      <a:pt x="412" y="135"/>
                      <a:pt x="411" y="135"/>
                      <a:pt x="411" y="135"/>
                    </a:cubicBezTo>
                    <a:cubicBezTo>
                      <a:pt x="411" y="135"/>
                      <a:pt x="411" y="135"/>
                      <a:pt x="411" y="135"/>
                    </a:cubicBezTo>
                    <a:cubicBezTo>
                      <a:pt x="410" y="135"/>
                      <a:pt x="410" y="135"/>
                      <a:pt x="409" y="135"/>
                    </a:cubicBezTo>
                    <a:cubicBezTo>
                      <a:pt x="408" y="135"/>
                      <a:pt x="409" y="135"/>
                      <a:pt x="408" y="135"/>
                    </a:cubicBezTo>
                    <a:cubicBezTo>
                      <a:pt x="409" y="134"/>
                      <a:pt x="409" y="134"/>
                      <a:pt x="409" y="134"/>
                    </a:cubicBezTo>
                    <a:cubicBezTo>
                      <a:pt x="408" y="134"/>
                      <a:pt x="408" y="135"/>
                      <a:pt x="407" y="135"/>
                    </a:cubicBezTo>
                    <a:cubicBezTo>
                      <a:pt x="407" y="135"/>
                      <a:pt x="407" y="135"/>
                      <a:pt x="407" y="135"/>
                    </a:cubicBezTo>
                    <a:cubicBezTo>
                      <a:pt x="407" y="135"/>
                      <a:pt x="406" y="135"/>
                      <a:pt x="406" y="134"/>
                    </a:cubicBezTo>
                    <a:cubicBezTo>
                      <a:pt x="407" y="134"/>
                      <a:pt x="407" y="134"/>
                      <a:pt x="406" y="134"/>
                    </a:cubicBezTo>
                    <a:cubicBezTo>
                      <a:pt x="406" y="134"/>
                      <a:pt x="406" y="134"/>
                      <a:pt x="406" y="134"/>
                    </a:cubicBezTo>
                    <a:cubicBezTo>
                      <a:pt x="405" y="135"/>
                      <a:pt x="406" y="135"/>
                      <a:pt x="406" y="135"/>
                    </a:cubicBezTo>
                    <a:cubicBezTo>
                      <a:pt x="406" y="136"/>
                      <a:pt x="406" y="136"/>
                      <a:pt x="406" y="136"/>
                    </a:cubicBezTo>
                    <a:cubicBezTo>
                      <a:pt x="407" y="136"/>
                      <a:pt x="406" y="136"/>
                      <a:pt x="406" y="136"/>
                    </a:cubicBezTo>
                    <a:cubicBezTo>
                      <a:pt x="406" y="136"/>
                      <a:pt x="406" y="137"/>
                      <a:pt x="407" y="137"/>
                    </a:cubicBezTo>
                    <a:cubicBezTo>
                      <a:pt x="408" y="137"/>
                      <a:pt x="407" y="138"/>
                      <a:pt x="406" y="139"/>
                    </a:cubicBezTo>
                    <a:cubicBezTo>
                      <a:pt x="407" y="138"/>
                      <a:pt x="407" y="138"/>
                      <a:pt x="408" y="138"/>
                    </a:cubicBezTo>
                    <a:cubicBezTo>
                      <a:pt x="408" y="138"/>
                      <a:pt x="409" y="137"/>
                      <a:pt x="408" y="137"/>
                    </a:cubicBezTo>
                    <a:cubicBezTo>
                      <a:pt x="408" y="137"/>
                      <a:pt x="408" y="138"/>
                      <a:pt x="407" y="138"/>
                    </a:cubicBezTo>
                    <a:cubicBezTo>
                      <a:pt x="407" y="138"/>
                      <a:pt x="408" y="137"/>
                      <a:pt x="408" y="137"/>
                    </a:cubicBezTo>
                    <a:cubicBezTo>
                      <a:pt x="407" y="136"/>
                      <a:pt x="407" y="135"/>
                      <a:pt x="408" y="135"/>
                    </a:cubicBezTo>
                    <a:cubicBezTo>
                      <a:pt x="408" y="135"/>
                      <a:pt x="408" y="135"/>
                      <a:pt x="409" y="135"/>
                    </a:cubicBezTo>
                    <a:cubicBezTo>
                      <a:pt x="409" y="135"/>
                      <a:pt x="409" y="135"/>
                      <a:pt x="409" y="135"/>
                    </a:cubicBezTo>
                    <a:cubicBezTo>
                      <a:pt x="409" y="135"/>
                      <a:pt x="409" y="136"/>
                      <a:pt x="409" y="136"/>
                    </a:cubicBezTo>
                    <a:cubicBezTo>
                      <a:pt x="410" y="136"/>
                      <a:pt x="411" y="136"/>
                      <a:pt x="411" y="135"/>
                    </a:cubicBezTo>
                    <a:cubicBezTo>
                      <a:pt x="412" y="135"/>
                      <a:pt x="412" y="136"/>
                      <a:pt x="413" y="135"/>
                    </a:cubicBezTo>
                    <a:cubicBezTo>
                      <a:pt x="413" y="135"/>
                      <a:pt x="414" y="135"/>
                      <a:pt x="413" y="135"/>
                    </a:cubicBezTo>
                    <a:cubicBezTo>
                      <a:pt x="414" y="134"/>
                      <a:pt x="414" y="134"/>
                      <a:pt x="414" y="134"/>
                    </a:cubicBezTo>
                    <a:cubicBezTo>
                      <a:pt x="414" y="134"/>
                      <a:pt x="414" y="133"/>
                      <a:pt x="415" y="133"/>
                    </a:cubicBezTo>
                    <a:cubicBezTo>
                      <a:pt x="415" y="133"/>
                      <a:pt x="417" y="132"/>
                      <a:pt x="417" y="132"/>
                    </a:cubicBezTo>
                    <a:cubicBezTo>
                      <a:pt x="417" y="132"/>
                      <a:pt x="416" y="132"/>
                      <a:pt x="416" y="131"/>
                    </a:cubicBezTo>
                    <a:cubicBezTo>
                      <a:pt x="416" y="130"/>
                      <a:pt x="417" y="130"/>
                      <a:pt x="417" y="130"/>
                    </a:cubicBezTo>
                    <a:cubicBezTo>
                      <a:pt x="418" y="129"/>
                      <a:pt x="416" y="128"/>
                      <a:pt x="417" y="128"/>
                    </a:cubicBezTo>
                    <a:cubicBezTo>
                      <a:pt x="417" y="127"/>
                      <a:pt x="418" y="127"/>
                      <a:pt x="418" y="127"/>
                    </a:cubicBezTo>
                    <a:cubicBezTo>
                      <a:pt x="419" y="127"/>
                      <a:pt x="419" y="126"/>
                      <a:pt x="419" y="126"/>
                    </a:cubicBezTo>
                    <a:cubicBezTo>
                      <a:pt x="419" y="126"/>
                      <a:pt x="422" y="125"/>
                      <a:pt x="421" y="125"/>
                    </a:cubicBezTo>
                    <a:cubicBezTo>
                      <a:pt x="422" y="124"/>
                      <a:pt x="422" y="125"/>
                      <a:pt x="423" y="124"/>
                    </a:cubicBezTo>
                    <a:cubicBezTo>
                      <a:pt x="423" y="125"/>
                      <a:pt x="423" y="125"/>
                      <a:pt x="422" y="125"/>
                    </a:cubicBezTo>
                    <a:cubicBezTo>
                      <a:pt x="423" y="125"/>
                      <a:pt x="424" y="124"/>
                      <a:pt x="424" y="125"/>
                    </a:cubicBezTo>
                    <a:cubicBezTo>
                      <a:pt x="424" y="125"/>
                      <a:pt x="425" y="125"/>
                      <a:pt x="426" y="125"/>
                    </a:cubicBezTo>
                    <a:cubicBezTo>
                      <a:pt x="427" y="125"/>
                      <a:pt x="427" y="124"/>
                      <a:pt x="428" y="124"/>
                    </a:cubicBezTo>
                    <a:cubicBezTo>
                      <a:pt x="429" y="123"/>
                      <a:pt x="430" y="123"/>
                      <a:pt x="431" y="123"/>
                    </a:cubicBezTo>
                    <a:cubicBezTo>
                      <a:pt x="432" y="123"/>
                      <a:pt x="432" y="122"/>
                      <a:pt x="433" y="122"/>
                    </a:cubicBezTo>
                    <a:cubicBezTo>
                      <a:pt x="433" y="121"/>
                      <a:pt x="434" y="121"/>
                      <a:pt x="435" y="121"/>
                    </a:cubicBezTo>
                    <a:cubicBezTo>
                      <a:pt x="437" y="120"/>
                      <a:pt x="439" y="120"/>
                      <a:pt x="441" y="119"/>
                    </a:cubicBezTo>
                    <a:cubicBezTo>
                      <a:pt x="440" y="119"/>
                      <a:pt x="439" y="120"/>
                      <a:pt x="438" y="120"/>
                    </a:cubicBezTo>
                    <a:cubicBezTo>
                      <a:pt x="439" y="119"/>
                      <a:pt x="440" y="118"/>
                      <a:pt x="441" y="118"/>
                    </a:cubicBezTo>
                    <a:cubicBezTo>
                      <a:pt x="441" y="118"/>
                      <a:pt x="441" y="116"/>
                      <a:pt x="442" y="116"/>
                    </a:cubicBezTo>
                    <a:cubicBezTo>
                      <a:pt x="441" y="116"/>
                      <a:pt x="441" y="116"/>
                      <a:pt x="441" y="116"/>
                    </a:cubicBezTo>
                    <a:cubicBezTo>
                      <a:pt x="441" y="116"/>
                      <a:pt x="440" y="116"/>
                      <a:pt x="440" y="116"/>
                    </a:cubicBezTo>
                    <a:cubicBezTo>
                      <a:pt x="440" y="116"/>
                      <a:pt x="440" y="116"/>
                      <a:pt x="441" y="116"/>
                    </a:cubicBezTo>
                    <a:cubicBezTo>
                      <a:pt x="440" y="116"/>
                      <a:pt x="440" y="116"/>
                      <a:pt x="440" y="116"/>
                    </a:cubicBezTo>
                    <a:cubicBezTo>
                      <a:pt x="440" y="116"/>
                      <a:pt x="441" y="116"/>
                      <a:pt x="441" y="115"/>
                    </a:cubicBezTo>
                    <a:cubicBezTo>
                      <a:pt x="441" y="115"/>
                      <a:pt x="441" y="115"/>
                      <a:pt x="440" y="116"/>
                    </a:cubicBezTo>
                    <a:cubicBezTo>
                      <a:pt x="440" y="116"/>
                      <a:pt x="440" y="116"/>
                      <a:pt x="440" y="116"/>
                    </a:cubicBezTo>
                    <a:cubicBezTo>
                      <a:pt x="439" y="116"/>
                      <a:pt x="439" y="116"/>
                      <a:pt x="439" y="116"/>
                    </a:cubicBezTo>
                    <a:cubicBezTo>
                      <a:pt x="438" y="117"/>
                      <a:pt x="438" y="117"/>
                      <a:pt x="438" y="117"/>
                    </a:cubicBezTo>
                    <a:cubicBezTo>
                      <a:pt x="438" y="118"/>
                      <a:pt x="439" y="117"/>
                      <a:pt x="439" y="117"/>
                    </a:cubicBezTo>
                    <a:cubicBezTo>
                      <a:pt x="438" y="117"/>
                      <a:pt x="440" y="117"/>
                      <a:pt x="440" y="117"/>
                    </a:cubicBezTo>
                    <a:cubicBezTo>
                      <a:pt x="438" y="118"/>
                      <a:pt x="437" y="118"/>
                      <a:pt x="435" y="118"/>
                    </a:cubicBezTo>
                    <a:cubicBezTo>
                      <a:pt x="435" y="118"/>
                      <a:pt x="434" y="118"/>
                      <a:pt x="434" y="118"/>
                    </a:cubicBezTo>
                    <a:cubicBezTo>
                      <a:pt x="433" y="119"/>
                      <a:pt x="433" y="118"/>
                      <a:pt x="433" y="118"/>
                    </a:cubicBezTo>
                    <a:cubicBezTo>
                      <a:pt x="433" y="118"/>
                      <a:pt x="434" y="117"/>
                      <a:pt x="435" y="117"/>
                    </a:cubicBezTo>
                    <a:cubicBezTo>
                      <a:pt x="435" y="116"/>
                      <a:pt x="436" y="116"/>
                      <a:pt x="436" y="116"/>
                    </a:cubicBezTo>
                    <a:cubicBezTo>
                      <a:pt x="436" y="116"/>
                      <a:pt x="437" y="116"/>
                      <a:pt x="437" y="116"/>
                    </a:cubicBezTo>
                    <a:cubicBezTo>
                      <a:pt x="437" y="116"/>
                      <a:pt x="438" y="116"/>
                      <a:pt x="438" y="116"/>
                    </a:cubicBezTo>
                    <a:cubicBezTo>
                      <a:pt x="439" y="115"/>
                      <a:pt x="439" y="115"/>
                      <a:pt x="439" y="115"/>
                    </a:cubicBezTo>
                    <a:cubicBezTo>
                      <a:pt x="440" y="115"/>
                      <a:pt x="440" y="115"/>
                      <a:pt x="440" y="114"/>
                    </a:cubicBezTo>
                    <a:cubicBezTo>
                      <a:pt x="440" y="115"/>
                      <a:pt x="439" y="115"/>
                      <a:pt x="439" y="115"/>
                    </a:cubicBezTo>
                    <a:cubicBezTo>
                      <a:pt x="438" y="114"/>
                      <a:pt x="440" y="113"/>
                      <a:pt x="440" y="113"/>
                    </a:cubicBezTo>
                    <a:cubicBezTo>
                      <a:pt x="440" y="112"/>
                      <a:pt x="443" y="113"/>
                      <a:pt x="443" y="113"/>
                    </a:cubicBezTo>
                    <a:cubicBezTo>
                      <a:pt x="444" y="113"/>
                      <a:pt x="445" y="112"/>
                      <a:pt x="446" y="112"/>
                    </a:cubicBezTo>
                    <a:cubicBezTo>
                      <a:pt x="445" y="113"/>
                      <a:pt x="444" y="113"/>
                      <a:pt x="442" y="114"/>
                    </a:cubicBezTo>
                    <a:cubicBezTo>
                      <a:pt x="443" y="114"/>
                      <a:pt x="443" y="114"/>
                      <a:pt x="443" y="113"/>
                    </a:cubicBezTo>
                    <a:cubicBezTo>
                      <a:pt x="443" y="114"/>
                      <a:pt x="442" y="114"/>
                      <a:pt x="443" y="114"/>
                    </a:cubicBezTo>
                    <a:cubicBezTo>
                      <a:pt x="442" y="114"/>
                      <a:pt x="442" y="114"/>
                      <a:pt x="442" y="114"/>
                    </a:cubicBezTo>
                    <a:cubicBezTo>
                      <a:pt x="443" y="114"/>
                      <a:pt x="444" y="113"/>
                      <a:pt x="445" y="113"/>
                    </a:cubicBezTo>
                    <a:cubicBezTo>
                      <a:pt x="446" y="113"/>
                      <a:pt x="446" y="113"/>
                      <a:pt x="447" y="112"/>
                    </a:cubicBezTo>
                    <a:cubicBezTo>
                      <a:pt x="447" y="112"/>
                      <a:pt x="446" y="112"/>
                      <a:pt x="445" y="113"/>
                    </a:cubicBezTo>
                    <a:cubicBezTo>
                      <a:pt x="446" y="112"/>
                      <a:pt x="448" y="111"/>
                      <a:pt x="447" y="111"/>
                    </a:cubicBezTo>
                    <a:cubicBezTo>
                      <a:pt x="447" y="111"/>
                      <a:pt x="445" y="111"/>
                      <a:pt x="444" y="112"/>
                    </a:cubicBezTo>
                    <a:cubicBezTo>
                      <a:pt x="444" y="112"/>
                      <a:pt x="442" y="112"/>
                      <a:pt x="441" y="112"/>
                    </a:cubicBezTo>
                    <a:cubicBezTo>
                      <a:pt x="440" y="111"/>
                      <a:pt x="441" y="111"/>
                      <a:pt x="441" y="110"/>
                    </a:cubicBezTo>
                    <a:cubicBezTo>
                      <a:pt x="441" y="110"/>
                      <a:pt x="441" y="110"/>
                      <a:pt x="441" y="110"/>
                    </a:cubicBezTo>
                    <a:cubicBezTo>
                      <a:pt x="441" y="110"/>
                      <a:pt x="441" y="110"/>
                      <a:pt x="441" y="110"/>
                    </a:cubicBezTo>
                    <a:cubicBezTo>
                      <a:pt x="440" y="110"/>
                      <a:pt x="440" y="110"/>
                      <a:pt x="440" y="110"/>
                    </a:cubicBezTo>
                    <a:cubicBezTo>
                      <a:pt x="439" y="110"/>
                      <a:pt x="439" y="110"/>
                      <a:pt x="439" y="111"/>
                    </a:cubicBezTo>
                    <a:cubicBezTo>
                      <a:pt x="439" y="111"/>
                      <a:pt x="437" y="110"/>
                      <a:pt x="438" y="110"/>
                    </a:cubicBezTo>
                    <a:cubicBezTo>
                      <a:pt x="437" y="110"/>
                      <a:pt x="436" y="110"/>
                      <a:pt x="435" y="109"/>
                    </a:cubicBezTo>
                    <a:cubicBezTo>
                      <a:pt x="435" y="109"/>
                      <a:pt x="435" y="109"/>
                      <a:pt x="434" y="109"/>
                    </a:cubicBezTo>
                    <a:cubicBezTo>
                      <a:pt x="434" y="109"/>
                      <a:pt x="433" y="109"/>
                      <a:pt x="433" y="109"/>
                    </a:cubicBezTo>
                    <a:cubicBezTo>
                      <a:pt x="433" y="109"/>
                      <a:pt x="433" y="109"/>
                      <a:pt x="434" y="109"/>
                    </a:cubicBezTo>
                    <a:cubicBezTo>
                      <a:pt x="433" y="108"/>
                      <a:pt x="432" y="109"/>
                      <a:pt x="432" y="108"/>
                    </a:cubicBezTo>
                    <a:cubicBezTo>
                      <a:pt x="432" y="108"/>
                      <a:pt x="432" y="108"/>
                      <a:pt x="431" y="108"/>
                    </a:cubicBezTo>
                    <a:cubicBezTo>
                      <a:pt x="432" y="108"/>
                      <a:pt x="433" y="107"/>
                      <a:pt x="432" y="107"/>
                    </a:cubicBezTo>
                    <a:cubicBezTo>
                      <a:pt x="432" y="107"/>
                      <a:pt x="431" y="106"/>
                      <a:pt x="432" y="105"/>
                    </a:cubicBezTo>
                    <a:cubicBezTo>
                      <a:pt x="432" y="104"/>
                      <a:pt x="433" y="103"/>
                      <a:pt x="434" y="103"/>
                    </a:cubicBezTo>
                    <a:cubicBezTo>
                      <a:pt x="435" y="103"/>
                      <a:pt x="436" y="102"/>
                      <a:pt x="437" y="101"/>
                    </a:cubicBezTo>
                    <a:cubicBezTo>
                      <a:pt x="437" y="102"/>
                      <a:pt x="438" y="101"/>
                      <a:pt x="438" y="101"/>
                    </a:cubicBezTo>
                    <a:cubicBezTo>
                      <a:pt x="439" y="101"/>
                      <a:pt x="440" y="102"/>
                      <a:pt x="440" y="102"/>
                    </a:cubicBezTo>
                    <a:cubicBezTo>
                      <a:pt x="440" y="102"/>
                      <a:pt x="439" y="101"/>
                      <a:pt x="439" y="101"/>
                    </a:cubicBezTo>
                    <a:cubicBezTo>
                      <a:pt x="439" y="100"/>
                      <a:pt x="441" y="100"/>
                      <a:pt x="442" y="100"/>
                    </a:cubicBezTo>
                    <a:cubicBezTo>
                      <a:pt x="441" y="100"/>
                      <a:pt x="440" y="100"/>
                      <a:pt x="439" y="101"/>
                    </a:cubicBezTo>
                    <a:cubicBezTo>
                      <a:pt x="439" y="101"/>
                      <a:pt x="438" y="101"/>
                      <a:pt x="438" y="101"/>
                    </a:cubicBezTo>
                    <a:cubicBezTo>
                      <a:pt x="437" y="101"/>
                      <a:pt x="438" y="100"/>
                      <a:pt x="437" y="100"/>
                    </a:cubicBezTo>
                    <a:cubicBezTo>
                      <a:pt x="437" y="100"/>
                      <a:pt x="437" y="100"/>
                      <a:pt x="437" y="99"/>
                    </a:cubicBezTo>
                    <a:cubicBezTo>
                      <a:pt x="438" y="99"/>
                      <a:pt x="439" y="98"/>
                      <a:pt x="439" y="98"/>
                    </a:cubicBezTo>
                    <a:cubicBezTo>
                      <a:pt x="440" y="97"/>
                      <a:pt x="441" y="97"/>
                      <a:pt x="441" y="96"/>
                    </a:cubicBezTo>
                    <a:cubicBezTo>
                      <a:pt x="441" y="97"/>
                      <a:pt x="440" y="97"/>
                      <a:pt x="440" y="96"/>
                    </a:cubicBezTo>
                    <a:cubicBezTo>
                      <a:pt x="440" y="96"/>
                      <a:pt x="442" y="96"/>
                      <a:pt x="442" y="96"/>
                    </a:cubicBezTo>
                    <a:cubicBezTo>
                      <a:pt x="442" y="96"/>
                      <a:pt x="442" y="96"/>
                      <a:pt x="442" y="95"/>
                    </a:cubicBezTo>
                    <a:cubicBezTo>
                      <a:pt x="441" y="95"/>
                      <a:pt x="443" y="95"/>
                      <a:pt x="443" y="95"/>
                    </a:cubicBezTo>
                    <a:cubicBezTo>
                      <a:pt x="444" y="94"/>
                      <a:pt x="445" y="94"/>
                      <a:pt x="446" y="94"/>
                    </a:cubicBezTo>
                    <a:cubicBezTo>
                      <a:pt x="447" y="94"/>
                      <a:pt x="447" y="95"/>
                      <a:pt x="448" y="95"/>
                    </a:cubicBezTo>
                    <a:cubicBezTo>
                      <a:pt x="448" y="95"/>
                      <a:pt x="449" y="95"/>
                      <a:pt x="449" y="95"/>
                    </a:cubicBezTo>
                    <a:cubicBezTo>
                      <a:pt x="449" y="95"/>
                      <a:pt x="449" y="94"/>
                      <a:pt x="449" y="94"/>
                    </a:cubicBezTo>
                    <a:cubicBezTo>
                      <a:pt x="449" y="94"/>
                      <a:pt x="450" y="94"/>
                      <a:pt x="450" y="94"/>
                    </a:cubicBezTo>
                    <a:cubicBezTo>
                      <a:pt x="449" y="94"/>
                      <a:pt x="451" y="93"/>
                      <a:pt x="452" y="93"/>
                    </a:cubicBezTo>
                    <a:cubicBezTo>
                      <a:pt x="451" y="93"/>
                      <a:pt x="450" y="93"/>
                      <a:pt x="449" y="93"/>
                    </a:cubicBezTo>
                    <a:cubicBezTo>
                      <a:pt x="449" y="93"/>
                      <a:pt x="449" y="93"/>
                      <a:pt x="448" y="93"/>
                    </a:cubicBezTo>
                    <a:cubicBezTo>
                      <a:pt x="448" y="93"/>
                      <a:pt x="449" y="92"/>
                      <a:pt x="449" y="92"/>
                    </a:cubicBezTo>
                    <a:cubicBezTo>
                      <a:pt x="450" y="92"/>
                      <a:pt x="451" y="92"/>
                      <a:pt x="451" y="92"/>
                    </a:cubicBezTo>
                    <a:cubicBezTo>
                      <a:pt x="452" y="91"/>
                      <a:pt x="452" y="91"/>
                      <a:pt x="453" y="91"/>
                    </a:cubicBezTo>
                    <a:cubicBezTo>
                      <a:pt x="453" y="91"/>
                      <a:pt x="454" y="91"/>
                      <a:pt x="454" y="91"/>
                    </a:cubicBezTo>
                    <a:cubicBezTo>
                      <a:pt x="455" y="91"/>
                      <a:pt x="455" y="90"/>
                      <a:pt x="456" y="90"/>
                    </a:cubicBezTo>
                    <a:cubicBezTo>
                      <a:pt x="456" y="90"/>
                      <a:pt x="457" y="90"/>
                      <a:pt x="457" y="90"/>
                    </a:cubicBezTo>
                    <a:cubicBezTo>
                      <a:pt x="458" y="90"/>
                      <a:pt x="459" y="90"/>
                      <a:pt x="460" y="90"/>
                    </a:cubicBezTo>
                    <a:cubicBezTo>
                      <a:pt x="459" y="90"/>
                      <a:pt x="459" y="90"/>
                      <a:pt x="458" y="90"/>
                    </a:cubicBezTo>
                    <a:cubicBezTo>
                      <a:pt x="458" y="90"/>
                      <a:pt x="457" y="90"/>
                      <a:pt x="457" y="90"/>
                    </a:cubicBezTo>
                    <a:cubicBezTo>
                      <a:pt x="455" y="90"/>
                      <a:pt x="456" y="89"/>
                      <a:pt x="457" y="89"/>
                    </a:cubicBezTo>
                    <a:cubicBezTo>
                      <a:pt x="457" y="89"/>
                      <a:pt x="458" y="89"/>
                      <a:pt x="458" y="89"/>
                    </a:cubicBezTo>
                    <a:cubicBezTo>
                      <a:pt x="458" y="89"/>
                      <a:pt x="458" y="89"/>
                      <a:pt x="457" y="89"/>
                    </a:cubicBezTo>
                    <a:cubicBezTo>
                      <a:pt x="458" y="89"/>
                      <a:pt x="458" y="89"/>
                      <a:pt x="458" y="89"/>
                    </a:cubicBezTo>
                    <a:cubicBezTo>
                      <a:pt x="458" y="89"/>
                      <a:pt x="457" y="89"/>
                      <a:pt x="457" y="89"/>
                    </a:cubicBezTo>
                    <a:cubicBezTo>
                      <a:pt x="458" y="88"/>
                      <a:pt x="458" y="88"/>
                      <a:pt x="459" y="88"/>
                    </a:cubicBezTo>
                    <a:cubicBezTo>
                      <a:pt x="459" y="88"/>
                      <a:pt x="458" y="88"/>
                      <a:pt x="458" y="88"/>
                    </a:cubicBezTo>
                    <a:cubicBezTo>
                      <a:pt x="459" y="88"/>
                      <a:pt x="459" y="87"/>
                      <a:pt x="459" y="87"/>
                    </a:cubicBezTo>
                    <a:cubicBezTo>
                      <a:pt x="459" y="87"/>
                      <a:pt x="459" y="87"/>
                      <a:pt x="459" y="87"/>
                    </a:cubicBezTo>
                    <a:cubicBezTo>
                      <a:pt x="459" y="87"/>
                      <a:pt x="459" y="87"/>
                      <a:pt x="459" y="87"/>
                    </a:cubicBezTo>
                    <a:cubicBezTo>
                      <a:pt x="460" y="86"/>
                      <a:pt x="460" y="86"/>
                      <a:pt x="460" y="86"/>
                    </a:cubicBezTo>
                    <a:cubicBezTo>
                      <a:pt x="461" y="86"/>
                      <a:pt x="461" y="85"/>
                      <a:pt x="462" y="85"/>
                    </a:cubicBezTo>
                    <a:cubicBezTo>
                      <a:pt x="462" y="85"/>
                      <a:pt x="462" y="84"/>
                      <a:pt x="462" y="84"/>
                    </a:cubicBezTo>
                    <a:cubicBezTo>
                      <a:pt x="461" y="83"/>
                      <a:pt x="462" y="84"/>
                      <a:pt x="462" y="83"/>
                    </a:cubicBezTo>
                    <a:cubicBezTo>
                      <a:pt x="462" y="83"/>
                      <a:pt x="461" y="83"/>
                      <a:pt x="461" y="82"/>
                    </a:cubicBezTo>
                    <a:cubicBezTo>
                      <a:pt x="461" y="82"/>
                      <a:pt x="462" y="82"/>
                      <a:pt x="462" y="82"/>
                    </a:cubicBezTo>
                    <a:cubicBezTo>
                      <a:pt x="461" y="82"/>
                      <a:pt x="462" y="81"/>
                      <a:pt x="462" y="81"/>
                    </a:cubicBezTo>
                    <a:cubicBezTo>
                      <a:pt x="463" y="81"/>
                      <a:pt x="463" y="80"/>
                      <a:pt x="463" y="80"/>
                    </a:cubicBezTo>
                    <a:cubicBezTo>
                      <a:pt x="463" y="80"/>
                      <a:pt x="466" y="78"/>
                      <a:pt x="466" y="78"/>
                    </a:cubicBezTo>
                    <a:cubicBezTo>
                      <a:pt x="466" y="78"/>
                      <a:pt x="466" y="77"/>
                      <a:pt x="467" y="77"/>
                    </a:cubicBezTo>
                    <a:cubicBezTo>
                      <a:pt x="467" y="77"/>
                      <a:pt x="467" y="76"/>
                      <a:pt x="468" y="76"/>
                    </a:cubicBezTo>
                    <a:cubicBezTo>
                      <a:pt x="468" y="75"/>
                      <a:pt x="469" y="75"/>
                      <a:pt x="469" y="75"/>
                    </a:cubicBezTo>
                    <a:cubicBezTo>
                      <a:pt x="469" y="75"/>
                      <a:pt x="469" y="75"/>
                      <a:pt x="470" y="75"/>
                    </a:cubicBezTo>
                    <a:cubicBezTo>
                      <a:pt x="470" y="75"/>
                      <a:pt x="469" y="74"/>
                      <a:pt x="469" y="74"/>
                    </a:cubicBezTo>
                    <a:cubicBezTo>
                      <a:pt x="470" y="74"/>
                      <a:pt x="470" y="73"/>
                      <a:pt x="471" y="73"/>
                    </a:cubicBezTo>
                    <a:cubicBezTo>
                      <a:pt x="471" y="73"/>
                      <a:pt x="472" y="73"/>
                      <a:pt x="473" y="73"/>
                    </a:cubicBezTo>
                    <a:cubicBezTo>
                      <a:pt x="474" y="73"/>
                      <a:pt x="474" y="74"/>
                      <a:pt x="475" y="74"/>
                    </a:cubicBezTo>
                    <a:cubicBezTo>
                      <a:pt x="475" y="74"/>
                      <a:pt x="477" y="74"/>
                      <a:pt x="477" y="74"/>
                    </a:cubicBezTo>
                    <a:cubicBezTo>
                      <a:pt x="476" y="74"/>
                      <a:pt x="475" y="74"/>
                      <a:pt x="475" y="73"/>
                    </a:cubicBezTo>
                    <a:cubicBezTo>
                      <a:pt x="474" y="72"/>
                      <a:pt x="475" y="72"/>
                      <a:pt x="476" y="72"/>
                    </a:cubicBezTo>
                    <a:cubicBezTo>
                      <a:pt x="476" y="72"/>
                      <a:pt x="475" y="73"/>
                      <a:pt x="475" y="72"/>
                    </a:cubicBezTo>
                    <a:cubicBezTo>
                      <a:pt x="474" y="72"/>
                      <a:pt x="474" y="72"/>
                      <a:pt x="475" y="71"/>
                    </a:cubicBezTo>
                    <a:cubicBezTo>
                      <a:pt x="476" y="71"/>
                      <a:pt x="477" y="71"/>
                      <a:pt x="479" y="70"/>
                    </a:cubicBezTo>
                    <a:cubicBezTo>
                      <a:pt x="480" y="70"/>
                      <a:pt x="482" y="70"/>
                      <a:pt x="483" y="70"/>
                    </a:cubicBezTo>
                    <a:cubicBezTo>
                      <a:pt x="484" y="70"/>
                      <a:pt x="485" y="70"/>
                      <a:pt x="486" y="70"/>
                    </a:cubicBezTo>
                    <a:cubicBezTo>
                      <a:pt x="486" y="70"/>
                      <a:pt x="486" y="70"/>
                      <a:pt x="487" y="70"/>
                    </a:cubicBezTo>
                    <a:cubicBezTo>
                      <a:pt x="486" y="69"/>
                      <a:pt x="489" y="69"/>
                      <a:pt x="489" y="69"/>
                    </a:cubicBezTo>
                    <a:cubicBezTo>
                      <a:pt x="490" y="69"/>
                      <a:pt x="492" y="69"/>
                      <a:pt x="493" y="70"/>
                    </a:cubicBezTo>
                    <a:cubicBezTo>
                      <a:pt x="493" y="70"/>
                      <a:pt x="493" y="70"/>
                      <a:pt x="493" y="70"/>
                    </a:cubicBezTo>
                    <a:cubicBezTo>
                      <a:pt x="493" y="70"/>
                      <a:pt x="493" y="70"/>
                      <a:pt x="493" y="70"/>
                    </a:cubicBezTo>
                    <a:cubicBezTo>
                      <a:pt x="494" y="70"/>
                      <a:pt x="495" y="70"/>
                      <a:pt x="495" y="70"/>
                    </a:cubicBezTo>
                    <a:cubicBezTo>
                      <a:pt x="496" y="71"/>
                      <a:pt x="495" y="71"/>
                      <a:pt x="495" y="71"/>
                    </a:cubicBezTo>
                    <a:cubicBezTo>
                      <a:pt x="496" y="71"/>
                      <a:pt x="496" y="71"/>
                      <a:pt x="497" y="71"/>
                    </a:cubicBezTo>
                    <a:cubicBezTo>
                      <a:pt x="499" y="71"/>
                      <a:pt x="500" y="71"/>
                      <a:pt x="501" y="71"/>
                    </a:cubicBezTo>
                    <a:cubicBezTo>
                      <a:pt x="502" y="71"/>
                      <a:pt x="504" y="71"/>
                      <a:pt x="505" y="71"/>
                    </a:cubicBezTo>
                    <a:cubicBezTo>
                      <a:pt x="505" y="71"/>
                      <a:pt x="506" y="71"/>
                      <a:pt x="507" y="72"/>
                    </a:cubicBezTo>
                    <a:cubicBezTo>
                      <a:pt x="507" y="72"/>
                      <a:pt x="508" y="72"/>
                      <a:pt x="508" y="72"/>
                    </a:cubicBezTo>
                    <a:cubicBezTo>
                      <a:pt x="508" y="72"/>
                      <a:pt x="508" y="72"/>
                      <a:pt x="507" y="72"/>
                    </a:cubicBezTo>
                    <a:cubicBezTo>
                      <a:pt x="508" y="72"/>
                      <a:pt x="506" y="73"/>
                      <a:pt x="506" y="73"/>
                    </a:cubicBezTo>
                    <a:cubicBezTo>
                      <a:pt x="506" y="73"/>
                      <a:pt x="505" y="73"/>
                      <a:pt x="504" y="74"/>
                    </a:cubicBezTo>
                    <a:cubicBezTo>
                      <a:pt x="503" y="74"/>
                      <a:pt x="502" y="74"/>
                      <a:pt x="502" y="75"/>
                    </a:cubicBezTo>
                    <a:cubicBezTo>
                      <a:pt x="501" y="75"/>
                      <a:pt x="500" y="75"/>
                      <a:pt x="500" y="75"/>
                    </a:cubicBezTo>
                    <a:cubicBezTo>
                      <a:pt x="500" y="75"/>
                      <a:pt x="500" y="75"/>
                      <a:pt x="499" y="76"/>
                    </a:cubicBezTo>
                    <a:cubicBezTo>
                      <a:pt x="499" y="76"/>
                      <a:pt x="498" y="76"/>
                      <a:pt x="497" y="76"/>
                    </a:cubicBezTo>
                    <a:cubicBezTo>
                      <a:pt x="497" y="77"/>
                      <a:pt x="496" y="77"/>
                      <a:pt x="495" y="77"/>
                    </a:cubicBezTo>
                    <a:cubicBezTo>
                      <a:pt x="494" y="78"/>
                      <a:pt x="494" y="77"/>
                      <a:pt x="493" y="78"/>
                    </a:cubicBezTo>
                    <a:cubicBezTo>
                      <a:pt x="493" y="78"/>
                      <a:pt x="494" y="78"/>
                      <a:pt x="494" y="78"/>
                    </a:cubicBezTo>
                    <a:cubicBezTo>
                      <a:pt x="493" y="79"/>
                      <a:pt x="492" y="79"/>
                      <a:pt x="491" y="79"/>
                    </a:cubicBezTo>
                    <a:cubicBezTo>
                      <a:pt x="490" y="80"/>
                      <a:pt x="489" y="80"/>
                      <a:pt x="488" y="81"/>
                    </a:cubicBezTo>
                    <a:cubicBezTo>
                      <a:pt x="487" y="81"/>
                      <a:pt x="486" y="82"/>
                      <a:pt x="485" y="82"/>
                    </a:cubicBezTo>
                    <a:cubicBezTo>
                      <a:pt x="483" y="82"/>
                      <a:pt x="482" y="82"/>
                      <a:pt x="481" y="82"/>
                    </a:cubicBezTo>
                    <a:cubicBezTo>
                      <a:pt x="479" y="82"/>
                      <a:pt x="477" y="81"/>
                      <a:pt x="476" y="82"/>
                    </a:cubicBezTo>
                    <a:cubicBezTo>
                      <a:pt x="475" y="82"/>
                      <a:pt x="474" y="82"/>
                      <a:pt x="473" y="82"/>
                    </a:cubicBezTo>
                    <a:cubicBezTo>
                      <a:pt x="472" y="82"/>
                      <a:pt x="470" y="82"/>
                      <a:pt x="470" y="82"/>
                    </a:cubicBezTo>
                    <a:cubicBezTo>
                      <a:pt x="470" y="82"/>
                      <a:pt x="471" y="82"/>
                      <a:pt x="471" y="82"/>
                    </a:cubicBezTo>
                    <a:cubicBezTo>
                      <a:pt x="472" y="82"/>
                      <a:pt x="473" y="82"/>
                      <a:pt x="474" y="82"/>
                    </a:cubicBezTo>
                    <a:cubicBezTo>
                      <a:pt x="473" y="82"/>
                      <a:pt x="473" y="82"/>
                      <a:pt x="473" y="83"/>
                    </a:cubicBezTo>
                    <a:cubicBezTo>
                      <a:pt x="472" y="83"/>
                      <a:pt x="473" y="83"/>
                      <a:pt x="473" y="83"/>
                    </a:cubicBezTo>
                    <a:cubicBezTo>
                      <a:pt x="474" y="84"/>
                      <a:pt x="472" y="85"/>
                      <a:pt x="472" y="85"/>
                    </a:cubicBezTo>
                    <a:cubicBezTo>
                      <a:pt x="471" y="86"/>
                      <a:pt x="469" y="86"/>
                      <a:pt x="468" y="87"/>
                    </a:cubicBezTo>
                    <a:cubicBezTo>
                      <a:pt x="467" y="87"/>
                      <a:pt x="466" y="87"/>
                      <a:pt x="466" y="88"/>
                    </a:cubicBezTo>
                    <a:cubicBezTo>
                      <a:pt x="465" y="88"/>
                      <a:pt x="465" y="88"/>
                      <a:pt x="464" y="88"/>
                    </a:cubicBezTo>
                    <a:cubicBezTo>
                      <a:pt x="465" y="89"/>
                      <a:pt x="465" y="88"/>
                      <a:pt x="466" y="88"/>
                    </a:cubicBezTo>
                    <a:cubicBezTo>
                      <a:pt x="465" y="88"/>
                      <a:pt x="465" y="89"/>
                      <a:pt x="464" y="89"/>
                    </a:cubicBezTo>
                    <a:cubicBezTo>
                      <a:pt x="464" y="89"/>
                      <a:pt x="463" y="88"/>
                      <a:pt x="462" y="88"/>
                    </a:cubicBezTo>
                    <a:cubicBezTo>
                      <a:pt x="462" y="88"/>
                      <a:pt x="461" y="89"/>
                      <a:pt x="460" y="89"/>
                    </a:cubicBezTo>
                    <a:cubicBezTo>
                      <a:pt x="461" y="89"/>
                      <a:pt x="462" y="88"/>
                      <a:pt x="462" y="89"/>
                    </a:cubicBezTo>
                    <a:cubicBezTo>
                      <a:pt x="462" y="89"/>
                      <a:pt x="462" y="89"/>
                      <a:pt x="462" y="89"/>
                    </a:cubicBezTo>
                    <a:cubicBezTo>
                      <a:pt x="462" y="89"/>
                      <a:pt x="461" y="89"/>
                      <a:pt x="461" y="89"/>
                    </a:cubicBezTo>
                    <a:cubicBezTo>
                      <a:pt x="462" y="90"/>
                      <a:pt x="461" y="90"/>
                      <a:pt x="460" y="90"/>
                    </a:cubicBezTo>
                    <a:cubicBezTo>
                      <a:pt x="460" y="90"/>
                      <a:pt x="459" y="90"/>
                      <a:pt x="459" y="91"/>
                    </a:cubicBezTo>
                    <a:cubicBezTo>
                      <a:pt x="459" y="91"/>
                      <a:pt x="461" y="90"/>
                      <a:pt x="461" y="90"/>
                    </a:cubicBezTo>
                    <a:cubicBezTo>
                      <a:pt x="461" y="90"/>
                      <a:pt x="461" y="90"/>
                      <a:pt x="461" y="90"/>
                    </a:cubicBezTo>
                    <a:cubicBezTo>
                      <a:pt x="461" y="90"/>
                      <a:pt x="460" y="91"/>
                      <a:pt x="460" y="92"/>
                    </a:cubicBezTo>
                    <a:cubicBezTo>
                      <a:pt x="460" y="91"/>
                      <a:pt x="461" y="91"/>
                      <a:pt x="462" y="91"/>
                    </a:cubicBezTo>
                    <a:cubicBezTo>
                      <a:pt x="462" y="90"/>
                      <a:pt x="462" y="91"/>
                      <a:pt x="463" y="91"/>
                    </a:cubicBezTo>
                    <a:cubicBezTo>
                      <a:pt x="463" y="90"/>
                      <a:pt x="463" y="91"/>
                      <a:pt x="464" y="91"/>
                    </a:cubicBezTo>
                    <a:cubicBezTo>
                      <a:pt x="464" y="91"/>
                      <a:pt x="465" y="90"/>
                      <a:pt x="465" y="91"/>
                    </a:cubicBezTo>
                    <a:cubicBezTo>
                      <a:pt x="466" y="91"/>
                      <a:pt x="463" y="91"/>
                      <a:pt x="464" y="92"/>
                    </a:cubicBezTo>
                    <a:cubicBezTo>
                      <a:pt x="465" y="93"/>
                      <a:pt x="466" y="93"/>
                      <a:pt x="466" y="93"/>
                    </a:cubicBezTo>
                    <a:cubicBezTo>
                      <a:pt x="466" y="93"/>
                      <a:pt x="466" y="94"/>
                      <a:pt x="466" y="94"/>
                    </a:cubicBezTo>
                    <a:cubicBezTo>
                      <a:pt x="467" y="94"/>
                      <a:pt x="467" y="95"/>
                      <a:pt x="466" y="95"/>
                    </a:cubicBezTo>
                    <a:cubicBezTo>
                      <a:pt x="466" y="96"/>
                      <a:pt x="465" y="97"/>
                      <a:pt x="464" y="98"/>
                    </a:cubicBezTo>
                    <a:cubicBezTo>
                      <a:pt x="464" y="98"/>
                      <a:pt x="463" y="99"/>
                      <a:pt x="462" y="99"/>
                    </a:cubicBezTo>
                    <a:cubicBezTo>
                      <a:pt x="463" y="99"/>
                      <a:pt x="462" y="98"/>
                      <a:pt x="462" y="99"/>
                    </a:cubicBezTo>
                    <a:cubicBezTo>
                      <a:pt x="462" y="99"/>
                      <a:pt x="463" y="99"/>
                      <a:pt x="463" y="99"/>
                    </a:cubicBezTo>
                    <a:cubicBezTo>
                      <a:pt x="464" y="100"/>
                      <a:pt x="464" y="100"/>
                      <a:pt x="463" y="100"/>
                    </a:cubicBezTo>
                    <a:cubicBezTo>
                      <a:pt x="464" y="100"/>
                      <a:pt x="463" y="100"/>
                      <a:pt x="463" y="100"/>
                    </a:cubicBezTo>
                    <a:cubicBezTo>
                      <a:pt x="463" y="100"/>
                      <a:pt x="463" y="100"/>
                      <a:pt x="463" y="100"/>
                    </a:cubicBezTo>
                    <a:cubicBezTo>
                      <a:pt x="464" y="100"/>
                      <a:pt x="464" y="101"/>
                      <a:pt x="465" y="101"/>
                    </a:cubicBezTo>
                    <a:cubicBezTo>
                      <a:pt x="465" y="101"/>
                      <a:pt x="464" y="101"/>
                      <a:pt x="465" y="101"/>
                    </a:cubicBezTo>
                    <a:cubicBezTo>
                      <a:pt x="465" y="101"/>
                      <a:pt x="466" y="101"/>
                      <a:pt x="466" y="101"/>
                    </a:cubicBezTo>
                    <a:cubicBezTo>
                      <a:pt x="465" y="101"/>
                      <a:pt x="465" y="101"/>
                      <a:pt x="465" y="102"/>
                    </a:cubicBezTo>
                    <a:cubicBezTo>
                      <a:pt x="465" y="102"/>
                      <a:pt x="465" y="102"/>
                      <a:pt x="465" y="102"/>
                    </a:cubicBezTo>
                    <a:cubicBezTo>
                      <a:pt x="465" y="102"/>
                      <a:pt x="464" y="102"/>
                      <a:pt x="464" y="102"/>
                    </a:cubicBezTo>
                    <a:cubicBezTo>
                      <a:pt x="464" y="102"/>
                      <a:pt x="465" y="102"/>
                      <a:pt x="465" y="102"/>
                    </a:cubicBezTo>
                    <a:cubicBezTo>
                      <a:pt x="465" y="103"/>
                      <a:pt x="465" y="103"/>
                      <a:pt x="465" y="103"/>
                    </a:cubicBezTo>
                    <a:cubicBezTo>
                      <a:pt x="465" y="103"/>
                      <a:pt x="465" y="103"/>
                      <a:pt x="465" y="103"/>
                    </a:cubicBezTo>
                    <a:cubicBezTo>
                      <a:pt x="465" y="103"/>
                      <a:pt x="465" y="103"/>
                      <a:pt x="465" y="103"/>
                    </a:cubicBezTo>
                    <a:cubicBezTo>
                      <a:pt x="465" y="103"/>
                      <a:pt x="465" y="103"/>
                      <a:pt x="465" y="103"/>
                    </a:cubicBezTo>
                    <a:cubicBezTo>
                      <a:pt x="465" y="103"/>
                      <a:pt x="465" y="103"/>
                      <a:pt x="465" y="103"/>
                    </a:cubicBezTo>
                    <a:cubicBezTo>
                      <a:pt x="465" y="104"/>
                      <a:pt x="465" y="104"/>
                      <a:pt x="465" y="103"/>
                    </a:cubicBezTo>
                    <a:cubicBezTo>
                      <a:pt x="465" y="104"/>
                      <a:pt x="464" y="104"/>
                      <a:pt x="464" y="104"/>
                    </a:cubicBezTo>
                    <a:cubicBezTo>
                      <a:pt x="464" y="104"/>
                      <a:pt x="464" y="104"/>
                      <a:pt x="464" y="104"/>
                    </a:cubicBezTo>
                    <a:cubicBezTo>
                      <a:pt x="464" y="105"/>
                      <a:pt x="465" y="104"/>
                      <a:pt x="465" y="104"/>
                    </a:cubicBezTo>
                    <a:cubicBezTo>
                      <a:pt x="466" y="104"/>
                      <a:pt x="466" y="103"/>
                      <a:pt x="466" y="104"/>
                    </a:cubicBezTo>
                    <a:cubicBezTo>
                      <a:pt x="467" y="104"/>
                      <a:pt x="467" y="103"/>
                      <a:pt x="467" y="104"/>
                    </a:cubicBezTo>
                    <a:cubicBezTo>
                      <a:pt x="466" y="104"/>
                      <a:pt x="466" y="105"/>
                      <a:pt x="466" y="105"/>
                    </a:cubicBezTo>
                    <a:cubicBezTo>
                      <a:pt x="466" y="105"/>
                      <a:pt x="466" y="104"/>
                      <a:pt x="467" y="105"/>
                    </a:cubicBezTo>
                    <a:cubicBezTo>
                      <a:pt x="467" y="105"/>
                      <a:pt x="467" y="105"/>
                      <a:pt x="466" y="105"/>
                    </a:cubicBezTo>
                    <a:cubicBezTo>
                      <a:pt x="466" y="106"/>
                      <a:pt x="465" y="105"/>
                      <a:pt x="465" y="105"/>
                    </a:cubicBezTo>
                    <a:cubicBezTo>
                      <a:pt x="464" y="105"/>
                      <a:pt x="463" y="106"/>
                      <a:pt x="463" y="105"/>
                    </a:cubicBezTo>
                    <a:cubicBezTo>
                      <a:pt x="462" y="105"/>
                      <a:pt x="462" y="105"/>
                      <a:pt x="462" y="104"/>
                    </a:cubicBezTo>
                    <a:cubicBezTo>
                      <a:pt x="462" y="104"/>
                      <a:pt x="462" y="105"/>
                      <a:pt x="461" y="105"/>
                    </a:cubicBezTo>
                    <a:cubicBezTo>
                      <a:pt x="462" y="105"/>
                      <a:pt x="460" y="105"/>
                      <a:pt x="460" y="105"/>
                    </a:cubicBezTo>
                    <a:cubicBezTo>
                      <a:pt x="460" y="105"/>
                      <a:pt x="460" y="105"/>
                      <a:pt x="460" y="105"/>
                    </a:cubicBezTo>
                    <a:cubicBezTo>
                      <a:pt x="460" y="106"/>
                      <a:pt x="459" y="106"/>
                      <a:pt x="458" y="106"/>
                    </a:cubicBezTo>
                    <a:cubicBezTo>
                      <a:pt x="459" y="106"/>
                      <a:pt x="459" y="106"/>
                      <a:pt x="459" y="106"/>
                    </a:cubicBezTo>
                    <a:cubicBezTo>
                      <a:pt x="460" y="106"/>
                      <a:pt x="460" y="106"/>
                      <a:pt x="461" y="106"/>
                    </a:cubicBezTo>
                    <a:cubicBezTo>
                      <a:pt x="461" y="106"/>
                      <a:pt x="461" y="106"/>
                      <a:pt x="462" y="106"/>
                    </a:cubicBezTo>
                    <a:cubicBezTo>
                      <a:pt x="463" y="106"/>
                      <a:pt x="462" y="107"/>
                      <a:pt x="461" y="107"/>
                    </a:cubicBezTo>
                    <a:cubicBezTo>
                      <a:pt x="460" y="107"/>
                      <a:pt x="459" y="108"/>
                      <a:pt x="458" y="108"/>
                    </a:cubicBezTo>
                    <a:cubicBezTo>
                      <a:pt x="458" y="108"/>
                      <a:pt x="457" y="108"/>
                      <a:pt x="456" y="109"/>
                    </a:cubicBezTo>
                    <a:cubicBezTo>
                      <a:pt x="456" y="109"/>
                      <a:pt x="456" y="109"/>
                      <a:pt x="456" y="109"/>
                    </a:cubicBezTo>
                    <a:cubicBezTo>
                      <a:pt x="455" y="109"/>
                      <a:pt x="454" y="109"/>
                      <a:pt x="453" y="109"/>
                    </a:cubicBezTo>
                    <a:cubicBezTo>
                      <a:pt x="454" y="109"/>
                      <a:pt x="455" y="109"/>
                      <a:pt x="455" y="109"/>
                    </a:cubicBezTo>
                    <a:cubicBezTo>
                      <a:pt x="455" y="110"/>
                      <a:pt x="454" y="109"/>
                      <a:pt x="453" y="110"/>
                    </a:cubicBezTo>
                    <a:cubicBezTo>
                      <a:pt x="453" y="110"/>
                      <a:pt x="454" y="110"/>
                      <a:pt x="455" y="110"/>
                    </a:cubicBezTo>
                    <a:cubicBezTo>
                      <a:pt x="455" y="109"/>
                      <a:pt x="456" y="109"/>
                      <a:pt x="457" y="109"/>
                    </a:cubicBezTo>
                    <a:cubicBezTo>
                      <a:pt x="457" y="110"/>
                      <a:pt x="457" y="110"/>
                      <a:pt x="456" y="110"/>
                    </a:cubicBezTo>
                    <a:cubicBezTo>
                      <a:pt x="457" y="110"/>
                      <a:pt x="457" y="110"/>
                      <a:pt x="457" y="110"/>
                    </a:cubicBezTo>
                    <a:cubicBezTo>
                      <a:pt x="458" y="110"/>
                      <a:pt x="458" y="110"/>
                      <a:pt x="458" y="110"/>
                    </a:cubicBezTo>
                    <a:cubicBezTo>
                      <a:pt x="458" y="110"/>
                      <a:pt x="457" y="110"/>
                      <a:pt x="457" y="110"/>
                    </a:cubicBezTo>
                    <a:cubicBezTo>
                      <a:pt x="457" y="111"/>
                      <a:pt x="458" y="111"/>
                      <a:pt x="459" y="111"/>
                    </a:cubicBezTo>
                    <a:cubicBezTo>
                      <a:pt x="459" y="111"/>
                      <a:pt x="461" y="111"/>
                      <a:pt x="461" y="111"/>
                    </a:cubicBezTo>
                    <a:cubicBezTo>
                      <a:pt x="462" y="110"/>
                      <a:pt x="462" y="110"/>
                      <a:pt x="463" y="110"/>
                    </a:cubicBezTo>
                    <a:cubicBezTo>
                      <a:pt x="464" y="110"/>
                      <a:pt x="465" y="110"/>
                      <a:pt x="465" y="110"/>
                    </a:cubicBezTo>
                    <a:cubicBezTo>
                      <a:pt x="465" y="110"/>
                      <a:pt x="465" y="110"/>
                      <a:pt x="465" y="110"/>
                    </a:cubicBezTo>
                    <a:cubicBezTo>
                      <a:pt x="465" y="110"/>
                      <a:pt x="464" y="110"/>
                      <a:pt x="464" y="110"/>
                    </a:cubicBezTo>
                    <a:cubicBezTo>
                      <a:pt x="464" y="110"/>
                      <a:pt x="463" y="111"/>
                      <a:pt x="463" y="111"/>
                    </a:cubicBezTo>
                    <a:cubicBezTo>
                      <a:pt x="462" y="111"/>
                      <a:pt x="462" y="111"/>
                      <a:pt x="461" y="111"/>
                    </a:cubicBezTo>
                    <a:cubicBezTo>
                      <a:pt x="462" y="111"/>
                      <a:pt x="463" y="110"/>
                      <a:pt x="464" y="111"/>
                    </a:cubicBezTo>
                    <a:cubicBezTo>
                      <a:pt x="464" y="111"/>
                      <a:pt x="464" y="111"/>
                      <a:pt x="464" y="111"/>
                    </a:cubicBezTo>
                    <a:cubicBezTo>
                      <a:pt x="464" y="111"/>
                      <a:pt x="464" y="111"/>
                      <a:pt x="465" y="111"/>
                    </a:cubicBezTo>
                    <a:cubicBezTo>
                      <a:pt x="465" y="111"/>
                      <a:pt x="465" y="111"/>
                      <a:pt x="466" y="111"/>
                    </a:cubicBezTo>
                    <a:cubicBezTo>
                      <a:pt x="466" y="111"/>
                      <a:pt x="466" y="111"/>
                      <a:pt x="465" y="111"/>
                    </a:cubicBezTo>
                    <a:cubicBezTo>
                      <a:pt x="466" y="112"/>
                      <a:pt x="467" y="111"/>
                      <a:pt x="468" y="111"/>
                    </a:cubicBezTo>
                    <a:cubicBezTo>
                      <a:pt x="468" y="111"/>
                      <a:pt x="469" y="112"/>
                      <a:pt x="469" y="112"/>
                    </a:cubicBezTo>
                    <a:cubicBezTo>
                      <a:pt x="469" y="112"/>
                      <a:pt x="468" y="112"/>
                      <a:pt x="468" y="112"/>
                    </a:cubicBezTo>
                    <a:cubicBezTo>
                      <a:pt x="468" y="112"/>
                      <a:pt x="467" y="112"/>
                      <a:pt x="467" y="112"/>
                    </a:cubicBezTo>
                    <a:cubicBezTo>
                      <a:pt x="467" y="112"/>
                      <a:pt x="467" y="112"/>
                      <a:pt x="466" y="112"/>
                    </a:cubicBezTo>
                    <a:cubicBezTo>
                      <a:pt x="467" y="112"/>
                      <a:pt x="467" y="112"/>
                      <a:pt x="467" y="112"/>
                    </a:cubicBezTo>
                    <a:cubicBezTo>
                      <a:pt x="466" y="112"/>
                      <a:pt x="465" y="112"/>
                      <a:pt x="464" y="113"/>
                    </a:cubicBezTo>
                    <a:cubicBezTo>
                      <a:pt x="464" y="113"/>
                      <a:pt x="464" y="113"/>
                      <a:pt x="464" y="114"/>
                    </a:cubicBezTo>
                    <a:cubicBezTo>
                      <a:pt x="464" y="114"/>
                      <a:pt x="463" y="114"/>
                      <a:pt x="464" y="113"/>
                    </a:cubicBezTo>
                    <a:cubicBezTo>
                      <a:pt x="463" y="113"/>
                      <a:pt x="463" y="113"/>
                      <a:pt x="463" y="113"/>
                    </a:cubicBezTo>
                    <a:cubicBezTo>
                      <a:pt x="463" y="113"/>
                      <a:pt x="463" y="113"/>
                      <a:pt x="464" y="113"/>
                    </a:cubicBezTo>
                    <a:cubicBezTo>
                      <a:pt x="464" y="113"/>
                      <a:pt x="462" y="113"/>
                      <a:pt x="462" y="113"/>
                    </a:cubicBezTo>
                    <a:cubicBezTo>
                      <a:pt x="462" y="113"/>
                      <a:pt x="464" y="113"/>
                      <a:pt x="464" y="113"/>
                    </a:cubicBezTo>
                    <a:cubicBezTo>
                      <a:pt x="463" y="113"/>
                      <a:pt x="463" y="113"/>
                      <a:pt x="462" y="113"/>
                    </a:cubicBezTo>
                    <a:cubicBezTo>
                      <a:pt x="461" y="113"/>
                      <a:pt x="461" y="113"/>
                      <a:pt x="460" y="113"/>
                    </a:cubicBezTo>
                    <a:cubicBezTo>
                      <a:pt x="461" y="113"/>
                      <a:pt x="464" y="114"/>
                      <a:pt x="463" y="115"/>
                    </a:cubicBezTo>
                    <a:cubicBezTo>
                      <a:pt x="463" y="115"/>
                      <a:pt x="462" y="116"/>
                      <a:pt x="463" y="116"/>
                    </a:cubicBezTo>
                    <a:cubicBezTo>
                      <a:pt x="463" y="116"/>
                      <a:pt x="463" y="116"/>
                      <a:pt x="463" y="117"/>
                    </a:cubicBezTo>
                    <a:cubicBezTo>
                      <a:pt x="463" y="117"/>
                      <a:pt x="464" y="117"/>
                      <a:pt x="463" y="117"/>
                    </a:cubicBezTo>
                    <a:cubicBezTo>
                      <a:pt x="464" y="117"/>
                      <a:pt x="463" y="117"/>
                      <a:pt x="463" y="117"/>
                    </a:cubicBezTo>
                    <a:cubicBezTo>
                      <a:pt x="462" y="118"/>
                      <a:pt x="462" y="118"/>
                      <a:pt x="462" y="118"/>
                    </a:cubicBezTo>
                    <a:cubicBezTo>
                      <a:pt x="462" y="118"/>
                      <a:pt x="463" y="118"/>
                      <a:pt x="463" y="118"/>
                    </a:cubicBezTo>
                    <a:cubicBezTo>
                      <a:pt x="462" y="118"/>
                      <a:pt x="461" y="119"/>
                      <a:pt x="460" y="120"/>
                    </a:cubicBezTo>
                    <a:cubicBezTo>
                      <a:pt x="460" y="120"/>
                      <a:pt x="460" y="120"/>
                      <a:pt x="460" y="120"/>
                    </a:cubicBezTo>
                    <a:cubicBezTo>
                      <a:pt x="460" y="120"/>
                      <a:pt x="460" y="121"/>
                      <a:pt x="460" y="121"/>
                    </a:cubicBezTo>
                    <a:cubicBezTo>
                      <a:pt x="460" y="121"/>
                      <a:pt x="459" y="121"/>
                      <a:pt x="459" y="121"/>
                    </a:cubicBezTo>
                    <a:cubicBezTo>
                      <a:pt x="459" y="121"/>
                      <a:pt x="460" y="122"/>
                      <a:pt x="460" y="122"/>
                    </a:cubicBezTo>
                    <a:cubicBezTo>
                      <a:pt x="460" y="122"/>
                      <a:pt x="459" y="122"/>
                      <a:pt x="459" y="122"/>
                    </a:cubicBezTo>
                    <a:cubicBezTo>
                      <a:pt x="459" y="122"/>
                      <a:pt x="460" y="122"/>
                      <a:pt x="460" y="122"/>
                    </a:cubicBezTo>
                    <a:cubicBezTo>
                      <a:pt x="460" y="122"/>
                      <a:pt x="459" y="123"/>
                      <a:pt x="460" y="123"/>
                    </a:cubicBezTo>
                    <a:cubicBezTo>
                      <a:pt x="461" y="123"/>
                      <a:pt x="461" y="122"/>
                      <a:pt x="461" y="122"/>
                    </a:cubicBezTo>
                    <a:cubicBezTo>
                      <a:pt x="462" y="122"/>
                      <a:pt x="462" y="122"/>
                      <a:pt x="463" y="122"/>
                    </a:cubicBezTo>
                    <a:cubicBezTo>
                      <a:pt x="463" y="122"/>
                      <a:pt x="463" y="121"/>
                      <a:pt x="463" y="121"/>
                    </a:cubicBezTo>
                    <a:cubicBezTo>
                      <a:pt x="464" y="121"/>
                      <a:pt x="465" y="120"/>
                      <a:pt x="465" y="120"/>
                    </a:cubicBezTo>
                    <a:cubicBezTo>
                      <a:pt x="465" y="120"/>
                      <a:pt x="464" y="120"/>
                      <a:pt x="465" y="119"/>
                    </a:cubicBezTo>
                    <a:cubicBezTo>
                      <a:pt x="465" y="119"/>
                      <a:pt x="466" y="119"/>
                      <a:pt x="466" y="119"/>
                    </a:cubicBezTo>
                    <a:cubicBezTo>
                      <a:pt x="467" y="118"/>
                      <a:pt x="467" y="119"/>
                      <a:pt x="466" y="119"/>
                    </a:cubicBezTo>
                    <a:cubicBezTo>
                      <a:pt x="467" y="119"/>
                      <a:pt x="468" y="118"/>
                      <a:pt x="468" y="117"/>
                    </a:cubicBezTo>
                    <a:cubicBezTo>
                      <a:pt x="469" y="117"/>
                      <a:pt x="469" y="116"/>
                      <a:pt x="469" y="116"/>
                    </a:cubicBezTo>
                    <a:cubicBezTo>
                      <a:pt x="470" y="116"/>
                      <a:pt x="470" y="115"/>
                      <a:pt x="471" y="115"/>
                    </a:cubicBezTo>
                    <a:cubicBezTo>
                      <a:pt x="472" y="115"/>
                      <a:pt x="474" y="114"/>
                      <a:pt x="475" y="113"/>
                    </a:cubicBezTo>
                    <a:cubicBezTo>
                      <a:pt x="477" y="113"/>
                      <a:pt x="477" y="115"/>
                      <a:pt x="478" y="116"/>
                    </a:cubicBezTo>
                    <a:cubicBezTo>
                      <a:pt x="479" y="116"/>
                      <a:pt x="481" y="117"/>
                      <a:pt x="480" y="119"/>
                    </a:cubicBezTo>
                    <a:cubicBezTo>
                      <a:pt x="480" y="119"/>
                      <a:pt x="479" y="120"/>
                      <a:pt x="479" y="120"/>
                    </a:cubicBezTo>
                    <a:cubicBezTo>
                      <a:pt x="479" y="121"/>
                      <a:pt x="479" y="121"/>
                      <a:pt x="479" y="121"/>
                    </a:cubicBezTo>
                    <a:cubicBezTo>
                      <a:pt x="479" y="121"/>
                      <a:pt x="479" y="121"/>
                      <a:pt x="478" y="121"/>
                    </a:cubicBezTo>
                    <a:cubicBezTo>
                      <a:pt x="478" y="122"/>
                      <a:pt x="478" y="122"/>
                      <a:pt x="477" y="123"/>
                    </a:cubicBezTo>
                    <a:cubicBezTo>
                      <a:pt x="477" y="123"/>
                      <a:pt x="476" y="123"/>
                      <a:pt x="476" y="123"/>
                    </a:cubicBezTo>
                    <a:cubicBezTo>
                      <a:pt x="476" y="123"/>
                      <a:pt x="475" y="123"/>
                      <a:pt x="475" y="123"/>
                    </a:cubicBezTo>
                    <a:cubicBezTo>
                      <a:pt x="474" y="123"/>
                      <a:pt x="476" y="122"/>
                      <a:pt x="475" y="122"/>
                    </a:cubicBezTo>
                    <a:cubicBezTo>
                      <a:pt x="475" y="122"/>
                      <a:pt x="474" y="122"/>
                      <a:pt x="474" y="122"/>
                    </a:cubicBezTo>
                    <a:cubicBezTo>
                      <a:pt x="473" y="122"/>
                      <a:pt x="473" y="123"/>
                      <a:pt x="473" y="123"/>
                    </a:cubicBezTo>
                    <a:cubicBezTo>
                      <a:pt x="473" y="124"/>
                      <a:pt x="472" y="124"/>
                      <a:pt x="472" y="125"/>
                    </a:cubicBezTo>
                    <a:cubicBezTo>
                      <a:pt x="471" y="125"/>
                      <a:pt x="471" y="126"/>
                      <a:pt x="471" y="126"/>
                    </a:cubicBezTo>
                    <a:cubicBezTo>
                      <a:pt x="470" y="127"/>
                      <a:pt x="470" y="128"/>
                      <a:pt x="470" y="128"/>
                    </a:cubicBezTo>
                    <a:cubicBezTo>
                      <a:pt x="470" y="129"/>
                      <a:pt x="471" y="129"/>
                      <a:pt x="471" y="129"/>
                    </a:cubicBezTo>
                    <a:cubicBezTo>
                      <a:pt x="472" y="130"/>
                      <a:pt x="472" y="131"/>
                      <a:pt x="472" y="131"/>
                    </a:cubicBezTo>
                    <a:cubicBezTo>
                      <a:pt x="473" y="131"/>
                      <a:pt x="472" y="132"/>
                      <a:pt x="472" y="132"/>
                    </a:cubicBezTo>
                    <a:cubicBezTo>
                      <a:pt x="472" y="132"/>
                      <a:pt x="472" y="132"/>
                      <a:pt x="473" y="132"/>
                    </a:cubicBezTo>
                    <a:cubicBezTo>
                      <a:pt x="473" y="132"/>
                      <a:pt x="471" y="133"/>
                      <a:pt x="470" y="134"/>
                    </a:cubicBezTo>
                    <a:cubicBezTo>
                      <a:pt x="471" y="134"/>
                      <a:pt x="472" y="133"/>
                      <a:pt x="472" y="133"/>
                    </a:cubicBezTo>
                    <a:cubicBezTo>
                      <a:pt x="472" y="133"/>
                      <a:pt x="472" y="134"/>
                      <a:pt x="472" y="134"/>
                    </a:cubicBezTo>
                    <a:cubicBezTo>
                      <a:pt x="472" y="134"/>
                      <a:pt x="473" y="133"/>
                      <a:pt x="473" y="133"/>
                    </a:cubicBezTo>
                    <a:cubicBezTo>
                      <a:pt x="474" y="132"/>
                      <a:pt x="474" y="133"/>
                      <a:pt x="474" y="133"/>
                    </a:cubicBezTo>
                    <a:cubicBezTo>
                      <a:pt x="474" y="133"/>
                      <a:pt x="475" y="132"/>
                      <a:pt x="475" y="132"/>
                    </a:cubicBezTo>
                    <a:cubicBezTo>
                      <a:pt x="475" y="132"/>
                      <a:pt x="475" y="132"/>
                      <a:pt x="476" y="132"/>
                    </a:cubicBezTo>
                    <a:cubicBezTo>
                      <a:pt x="475" y="132"/>
                      <a:pt x="475" y="131"/>
                      <a:pt x="476" y="131"/>
                    </a:cubicBezTo>
                    <a:cubicBezTo>
                      <a:pt x="476" y="132"/>
                      <a:pt x="477" y="131"/>
                      <a:pt x="477" y="131"/>
                    </a:cubicBezTo>
                    <a:cubicBezTo>
                      <a:pt x="477" y="131"/>
                      <a:pt x="478" y="130"/>
                      <a:pt x="478" y="131"/>
                    </a:cubicBezTo>
                    <a:cubicBezTo>
                      <a:pt x="479" y="131"/>
                      <a:pt x="479" y="131"/>
                      <a:pt x="479" y="131"/>
                    </a:cubicBezTo>
                    <a:cubicBezTo>
                      <a:pt x="479" y="131"/>
                      <a:pt x="479" y="131"/>
                      <a:pt x="479" y="131"/>
                    </a:cubicBezTo>
                    <a:cubicBezTo>
                      <a:pt x="480" y="131"/>
                      <a:pt x="480" y="130"/>
                      <a:pt x="481" y="130"/>
                    </a:cubicBezTo>
                    <a:cubicBezTo>
                      <a:pt x="481" y="130"/>
                      <a:pt x="482" y="129"/>
                      <a:pt x="482" y="129"/>
                    </a:cubicBezTo>
                    <a:cubicBezTo>
                      <a:pt x="482" y="129"/>
                      <a:pt x="482" y="128"/>
                      <a:pt x="482" y="128"/>
                    </a:cubicBezTo>
                    <a:cubicBezTo>
                      <a:pt x="483" y="127"/>
                      <a:pt x="484" y="127"/>
                      <a:pt x="485" y="126"/>
                    </a:cubicBezTo>
                    <a:cubicBezTo>
                      <a:pt x="486" y="126"/>
                      <a:pt x="486" y="126"/>
                      <a:pt x="487" y="126"/>
                    </a:cubicBezTo>
                    <a:cubicBezTo>
                      <a:pt x="487" y="126"/>
                      <a:pt x="487" y="125"/>
                      <a:pt x="487" y="125"/>
                    </a:cubicBezTo>
                    <a:cubicBezTo>
                      <a:pt x="487" y="125"/>
                      <a:pt x="487" y="125"/>
                      <a:pt x="487" y="125"/>
                    </a:cubicBezTo>
                    <a:cubicBezTo>
                      <a:pt x="488" y="125"/>
                      <a:pt x="489" y="125"/>
                      <a:pt x="489" y="125"/>
                    </a:cubicBezTo>
                    <a:cubicBezTo>
                      <a:pt x="490" y="124"/>
                      <a:pt x="491" y="124"/>
                      <a:pt x="491" y="123"/>
                    </a:cubicBezTo>
                    <a:cubicBezTo>
                      <a:pt x="491" y="123"/>
                      <a:pt x="494" y="121"/>
                      <a:pt x="494" y="121"/>
                    </a:cubicBezTo>
                    <a:cubicBezTo>
                      <a:pt x="493" y="121"/>
                      <a:pt x="495" y="119"/>
                      <a:pt x="495" y="119"/>
                    </a:cubicBezTo>
                    <a:cubicBezTo>
                      <a:pt x="496" y="119"/>
                      <a:pt x="496" y="118"/>
                      <a:pt x="496" y="118"/>
                    </a:cubicBezTo>
                    <a:cubicBezTo>
                      <a:pt x="497" y="118"/>
                      <a:pt x="497" y="118"/>
                      <a:pt x="498" y="118"/>
                    </a:cubicBezTo>
                    <a:cubicBezTo>
                      <a:pt x="498" y="118"/>
                      <a:pt x="497" y="118"/>
                      <a:pt x="497" y="118"/>
                    </a:cubicBezTo>
                    <a:cubicBezTo>
                      <a:pt x="498" y="118"/>
                      <a:pt x="498" y="118"/>
                      <a:pt x="498" y="118"/>
                    </a:cubicBezTo>
                    <a:cubicBezTo>
                      <a:pt x="498" y="118"/>
                      <a:pt x="498" y="118"/>
                      <a:pt x="499" y="118"/>
                    </a:cubicBezTo>
                    <a:cubicBezTo>
                      <a:pt x="499" y="118"/>
                      <a:pt x="499" y="118"/>
                      <a:pt x="499" y="118"/>
                    </a:cubicBezTo>
                    <a:cubicBezTo>
                      <a:pt x="500" y="118"/>
                      <a:pt x="502" y="119"/>
                      <a:pt x="503" y="118"/>
                    </a:cubicBezTo>
                    <a:cubicBezTo>
                      <a:pt x="503" y="117"/>
                      <a:pt x="501" y="118"/>
                      <a:pt x="501" y="117"/>
                    </a:cubicBezTo>
                    <a:cubicBezTo>
                      <a:pt x="500" y="117"/>
                      <a:pt x="501" y="117"/>
                      <a:pt x="501" y="117"/>
                    </a:cubicBezTo>
                    <a:cubicBezTo>
                      <a:pt x="502" y="117"/>
                      <a:pt x="502" y="117"/>
                      <a:pt x="502" y="117"/>
                    </a:cubicBezTo>
                    <a:cubicBezTo>
                      <a:pt x="502" y="117"/>
                      <a:pt x="502" y="117"/>
                      <a:pt x="502" y="117"/>
                    </a:cubicBezTo>
                    <a:cubicBezTo>
                      <a:pt x="502" y="117"/>
                      <a:pt x="502" y="117"/>
                      <a:pt x="502" y="116"/>
                    </a:cubicBezTo>
                    <a:cubicBezTo>
                      <a:pt x="501" y="116"/>
                      <a:pt x="503" y="117"/>
                      <a:pt x="504" y="117"/>
                    </a:cubicBezTo>
                    <a:cubicBezTo>
                      <a:pt x="505" y="117"/>
                      <a:pt x="503" y="116"/>
                      <a:pt x="503" y="116"/>
                    </a:cubicBezTo>
                    <a:cubicBezTo>
                      <a:pt x="504" y="115"/>
                      <a:pt x="506" y="116"/>
                      <a:pt x="506" y="116"/>
                    </a:cubicBezTo>
                    <a:cubicBezTo>
                      <a:pt x="506" y="116"/>
                      <a:pt x="505" y="116"/>
                      <a:pt x="505" y="115"/>
                    </a:cubicBezTo>
                    <a:cubicBezTo>
                      <a:pt x="505" y="115"/>
                      <a:pt x="505" y="115"/>
                      <a:pt x="505" y="115"/>
                    </a:cubicBezTo>
                    <a:cubicBezTo>
                      <a:pt x="505" y="115"/>
                      <a:pt x="504" y="115"/>
                      <a:pt x="504" y="115"/>
                    </a:cubicBezTo>
                    <a:cubicBezTo>
                      <a:pt x="504" y="115"/>
                      <a:pt x="504" y="115"/>
                      <a:pt x="504" y="115"/>
                    </a:cubicBezTo>
                    <a:cubicBezTo>
                      <a:pt x="504" y="115"/>
                      <a:pt x="504" y="115"/>
                      <a:pt x="504" y="115"/>
                    </a:cubicBezTo>
                    <a:cubicBezTo>
                      <a:pt x="504" y="115"/>
                      <a:pt x="503" y="115"/>
                      <a:pt x="503" y="115"/>
                    </a:cubicBezTo>
                    <a:cubicBezTo>
                      <a:pt x="503" y="114"/>
                      <a:pt x="504" y="115"/>
                      <a:pt x="504" y="114"/>
                    </a:cubicBezTo>
                    <a:cubicBezTo>
                      <a:pt x="504" y="114"/>
                      <a:pt x="503" y="114"/>
                      <a:pt x="503" y="114"/>
                    </a:cubicBezTo>
                    <a:cubicBezTo>
                      <a:pt x="503" y="115"/>
                      <a:pt x="502" y="115"/>
                      <a:pt x="502" y="115"/>
                    </a:cubicBezTo>
                    <a:cubicBezTo>
                      <a:pt x="502" y="114"/>
                      <a:pt x="503" y="114"/>
                      <a:pt x="503" y="114"/>
                    </a:cubicBezTo>
                    <a:cubicBezTo>
                      <a:pt x="502" y="114"/>
                      <a:pt x="502" y="114"/>
                      <a:pt x="502" y="113"/>
                    </a:cubicBezTo>
                    <a:cubicBezTo>
                      <a:pt x="502" y="113"/>
                      <a:pt x="503" y="113"/>
                      <a:pt x="503" y="113"/>
                    </a:cubicBezTo>
                    <a:cubicBezTo>
                      <a:pt x="503" y="113"/>
                      <a:pt x="502" y="113"/>
                      <a:pt x="502" y="113"/>
                    </a:cubicBezTo>
                    <a:cubicBezTo>
                      <a:pt x="502" y="112"/>
                      <a:pt x="504" y="112"/>
                      <a:pt x="504" y="112"/>
                    </a:cubicBezTo>
                    <a:cubicBezTo>
                      <a:pt x="504" y="112"/>
                      <a:pt x="502" y="112"/>
                      <a:pt x="503" y="111"/>
                    </a:cubicBezTo>
                    <a:cubicBezTo>
                      <a:pt x="503" y="111"/>
                      <a:pt x="503" y="111"/>
                      <a:pt x="504" y="111"/>
                    </a:cubicBezTo>
                    <a:cubicBezTo>
                      <a:pt x="504" y="111"/>
                      <a:pt x="504" y="111"/>
                      <a:pt x="505" y="111"/>
                    </a:cubicBezTo>
                    <a:cubicBezTo>
                      <a:pt x="505" y="111"/>
                      <a:pt x="504" y="110"/>
                      <a:pt x="505" y="110"/>
                    </a:cubicBezTo>
                    <a:cubicBezTo>
                      <a:pt x="505" y="110"/>
                      <a:pt x="505" y="109"/>
                      <a:pt x="505" y="109"/>
                    </a:cubicBezTo>
                    <a:cubicBezTo>
                      <a:pt x="506" y="109"/>
                      <a:pt x="507" y="108"/>
                      <a:pt x="506" y="109"/>
                    </a:cubicBezTo>
                    <a:cubicBezTo>
                      <a:pt x="506" y="109"/>
                      <a:pt x="507" y="109"/>
                      <a:pt x="507" y="108"/>
                    </a:cubicBezTo>
                    <a:cubicBezTo>
                      <a:pt x="507" y="108"/>
                      <a:pt x="506" y="108"/>
                      <a:pt x="505" y="108"/>
                    </a:cubicBezTo>
                    <a:cubicBezTo>
                      <a:pt x="506" y="107"/>
                      <a:pt x="507" y="108"/>
                      <a:pt x="508" y="109"/>
                    </a:cubicBezTo>
                    <a:cubicBezTo>
                      <a:pt x="509" y="109"/>
                      <a:pt x="510" y="108"/>
                      <a:pt x="510" y="108"/>
                    </a:cubicBezTo>
                    <a:cubicBezTo>
                      <a:pt x="510" y="108"/>
                      <a:pt x="512" y="108"/>
                      <a:pt x="513" y="108"/>
                    </a:cubicBezTo>
                    <a:cubicBezTo>
                      <a:pt x="513" y="108"/>
                      <a:pt x="514" y="108"/>
                      <a:pt x="514" y="108"/>
                    </a:cubicBezTo>
                    <a:cubicBezTo>
                      <a:pt x="515" y="108"/>
                      <a:pt x="515" y="108"/>
                      <a:pt x="515" y="108"/>
                    </a:cubicBezTo>
                    <a:cubicBezTo>
                      <a:pt x="516" y="109"/>
                      <a:pt x="517" y="109"/>
                      <a:pt x="519" y="110"/>
                    </a:cubicBezTo>
                    <a:cubicBezTo>
                      <a:pt x="520" y="110"/>
                      <a:pt x="521" y="109"/>
                      <a:pt x="522" y="110"/>
                    </a:cubicBezTo>
                    <a:cubicBezTo>
                      <a:pt x="522" y="110"/>
                      <a:pt x="523" y="110"/>
                      <a:pt x="524" y="110"/>
                    </a:cubicBezTo>
                    <a:cubicBezTo>
                      <a:pt x="524" y="110"/>
                      <a:pt x="525" y="109"/>
                      <a:pt x="525" y="109"/>
                    </a:cubicBezTo>
                    <a:cubicBezTo>
                      <a:pt x="525" y="109"/>
                      <a:pt x="525" y="110"/>
                      <a:pt x="526" y="110"/>
                    </a:cubicBezTo>
                    <a:cubicBezTo>
                      <a:pt x="526" y="110"/>
                      <a:pt x="527" y="110"/>
                      <a:pt x="527" y="110"/>
                    </a:cubicBezTo>
                    <a:cubicBezTo>
                      <a:pt x="527" y="110"/>
                      <a:pt x="526" y="110"/>
                      <a:pt x="526" y="110"/>
                    </a:cubicBezTo>
                    <a:cubicBezTo>
                      <a:pt x="525" y="110"/>
                      <a:pt x="525" y="110"/>
                      <a:pt x="524" y="110"/>
                    </a:cubicBezTo>
                    <a:cubicBezTo>
                      <a:pt x="524" y="110"/>
                      <a:pt x="525" y="110"/>
                      <a:pt x="525" y="110"/>
                    </a:cubicBezTo>
                    <a:cubicBezTo>
                      <a:pt x="524" y="111"/>
                      <a:pt x="524" y="110"/>
                      <a:pt x="523" y="111"/>
                    </a:cubicBezTo>
                    <a:cubicBezTo>
                      <a:pt x="524" y="111"/>
                      <a:pt x="524" y="111"/>
                      <a:pt x="524" y="111"/>
                    </a:cubicBezTo>
                    <a:cubicBezTo>
                      <a:pt x="525" y="111"/>
                      <a:pt x="524" y="111"/>
                      <a:pt x="524" y="111"/>
                    </a:cubicBezTo>
                    <a:cubicBezTo>
                      <a:pt x="523" y="111"/>
                      <a:pt x="523" y="111"/>
                      <a:pt x="522" y="111"/>
                    </a:cubicBezTo>
                    <a:cubicBezTo>
                      <a:pt x="522" y="111"/>
                      <a:pt x="520" y="110"/>
                      <a:pt x="519" y="111"/>
                    </a:cubicBezTo>
                    <a:cubicBezTo>
                      <a:pt x="520" y="111"/>
                      <a:pt x="521" y="111"/>
                      <a:pt x="521" y="111"/>
                    </a:cubicBezTo>
                    <a:cubicBezTo>
                      <a:pt x="522" y="111"/>
                      <a:pt x="522" y="111"/>
                      <a:pt x="523" y="111"/>
                    </a:cubicBezTo>
                    <a:cubicBezTo>
                      <a:pt x="524" y="112"/>
                      <a:pt x="525" y="112"/>
                      <a:pt x="525" y="112"/>
                    </a:cubicBezTo>
                    <a:cubicBezTo>
                      <a:pt x="525" y="112"/>
                      <a:pt x="525" y="112"/>
                      <a:pt x="524" y="112"/>
                    </a:cubicBezTo>
                    <a:cubicBezTo>
                      <a:pt x="525" y="113"/>
                      <a:pt x="526" y="113"/>
                      <a:pt x="525" y="113"/>
                    </a:cubicBezTo>
                    <a:cubicBezTo>
                      <a:pt x="525" y="113"/>
                      <a:pt x="524" y="114"/>
                      <a:pt x="524" y="114"/>
                    </a:cubicBezTo>
                    <a:cubicBezTo>
                      <a:pt x="526" y="114"/>
                      <a:pt x="527" y="113"/>
                      <a:pt x="528" y="114"/>
                    </a:cubicBezTo>
                    <a:cubicBezTo>
                      <a:pt x="529" y="114"/>
                      <a:pt x="530" y="114"/>
                      <a:pt x="530" y="114"/>
                    </a:cubicBezTo>
                    <a:cubicBezTo>
                      <a:pt x="530" y="115"/>
                      <a:pt x="530" y="115"/>
                      <a:pt x="529" y="115"/>
                    </a:cubicBezTo>
                    <a:cubicBezTo>
                      <a:pt x="528" y="115"/>
                      <a:pt x="528" y="116"/>
                      <a:pt x="527" y="116"/>
                    </a:cubicBezTo>
                    <a:cubicBezTo>
                      <a:pt x="526" y="116"/>
                      <a:pt x="526" y="116"/>
                      <a:pt x="526" y="116"/>
                    </a:cubicBezTo>
                    <a:cubicBezTo>
                      <a:pt x="525" y="117"/>
                      <a:pt x="524" y="117"/>
                      <a:pt x="523" y="117"/>
                    </a:cubicBezTo>
                    <a:cubicBezTo>
                      <a:pt x="523" y="117"/>
                      <a:pt x="527" y="117"/>
                      <a:pt x="526" y="117"/>
                    </a:cubicBezTo>
                    <a:cubicBezTo>
                      <a:pt x="527" y="118"/>
                      <a:pt x="527" y="117"/>
                      <a:pt x="528" y="118"/>
                    </a:cubicBezTo>
                    <a:cubicBezTo>
                      <a:pt x="528" y="118"/>
                      <a:pt x="527" y="118"/>
                      <a:pt x="527" y="119"/>
                    </a:cubicBezTo>
                    <a:cubicBezTo>
                      <a:pt x="526" y="120"/>
                      <a:pt x="525" y="120"/>
                      <a:pt x="523" y="120"/>
                    </a:cubicBezTo>
                    <a:cubicBezTo>
                      <a:pt x="523" y="121"/>
                      <a:pt x="522" y="120"/>
                      <a:pt x="522" y="121"/>
                    </a:cubicBezTo>
                    <a:cubicBezTo>
                      <a:pt x="521" y="121"/>
                      <a:pt x="521" y="121"/>
                      <a:pt x="520" y="121"/>
                    </a:cubicBezTo>
                    <a:cubicBezTo>
                      <a:pt x="520" y="121"/>
                      <a:pt x="520" y="121"/>
                      <a:pt x="520" y="121"/>
                    </a:cubicBezTo>
                    <a:cubicBezTo>
                      <a:pt x="520" y="120"/>
                      <a:pt x="519" y="120"/>
                      <a:pt x="519" y="120"/>
                    </a:cubicBezTo>
                    <a:cubicBezTo>
                      <a:pt x="519" y="120"/>
                      <a:pt x="519" y="121"/>
                      <a:pt x="519" y="121"/>
                    </a:cubicBezTo>
                    <a:cubicBezTo>
                      <a:pt x="519" y="121"/>
                      <a:pt x="518" y="121"/>
                      <a:pt x="518" y="121"/>
                    </a:cubicBezTo>
                    <a:cubicBezTo>
                      <a:pt x="517" y="121"/>
                      <a:pt x="516" y="120"/>
                      <a:pt x="516" y="121"/>
                    </a:cubicBezTo>
                    <a:cubicBezTo>
                      <a:pt x="516" y="121"/>
                      <a:pt x="516" y="121"/>
                      <a:pt x="517" y="121"/>
                    </a:cubicBezTo>
                    <a:cubicBezTo>
                      <a:pt x="516" y="121"/>
                      <a:pt x="515" y="121"/>
                      <a:pt x="515" y="121"/>
                    </a:cubicBezTo>
                    <a:cubicBezTo>
                      <a:pt x="516" y="122"/>
                      <a:pt x="516" y="121"/>
                      <a:pt x="517" y="122"/>
                    </a:cubicBezTo>
                    <a:cubicBezTo>
                      <a:pt x="517" y="122"/>
                      <a:pt x="516" y="122"/>
                      <a:pt x="516" y="122"/>
                    </a:cubicBezTo>
                    <a:cubicBezTo>
                      <a:pt x="516" y="122"/>
                      <a:pt x="515" y="122"/>
                      <a:pt x="516" y="123"/>
                    </a:cubicBezTo>
                    <a:cubicBezTo>
                      <a:pt x="516" y="123"/>
                      <a:pt x="516" y="123"/>
                      <a:pt x="516" y="123"/>
                    </a:cubicBezTo>
                    <a:cubicBezTo>
                      <a:pt x="517" y="123"/>
                      <a:pt x="516" y="123"/>
                      <a:pt x="516" y="124"/>
                    </a:cubicBezTo>
                    <a:cubicBezTo>
                      <a:pt x="515" y="124"/>
                      <a:pt x="516" y="124"/>
                      <a:pt x="516" y="124"/>
                    </a:cubicBezTo>
                    <a:cubicBezTo>
                      <a:pt x="517" y="124"/>
                      <a:pt x="517" y="124"/>
                      <a:pt x="518" y="123"/>
                    </a:cubicBezTo>
                    <a:cubicBezTo>
                      <a:pt x="518" y="123"/>
                      <a:pt x="518" y="123"/>
                      <a:pt x="518" y="124"/>
                    </a:cubicBezTo>
                    <a:cubicBezTo>
                      <a:pt x="518" y="124"/>
                      <a:pt x="517" y="124"/>
                      <a:pt x="517" y="124"/>
                    </a:cubicBezTo>
                    <a:cubicBezTo>
                      <a:pt x="516" y="124"/>
                      <a:pt x="516" y="125"/>
                      <a:pt x="515" y="126"/>
                    </a:cubicBezTo>
                    <a:cubicBezTo>
                      <a:pt x="515" y="126"/>
                      <a:pt x="516" y="127"/>
                      <a:pt x="517" y="127"/>
                    </a:cubicBezTo>
                    <a:cubicBezTo>
                      <a:pt x="516" y="127"/>
                      <a:pt x="517" y="128"/>
                      <a:pt x="517" y="128"/>
                    </a:cubicBezTo>
                    <a:cubicBezTo>
                      <a:pt x="518" y="129"/>
                      <a:pt x="518" y="129"/>
                      <a:pt x="518" y="130"/>
                    </a:cubicBezTo>
                    <a:cubicBezTo>
                      <a:pt x="518" y="131"/>
                      <a:pt x="517" y="131"/>
                      <a:pt x="517" y="131"/>
                    </a:cubicBezTo>
                    <a:cubicBezTo>
                      <a:pt x="516" y="132"/>
                      <a:pt x="516" y="132"/>
                      <a:pt x="515" y="133"/>
                    </a:cubicBezTo>
                    <a:cubicBezTo>
                      <a:pt x="514" y="134"/>
                      <a:pt x="513" y="134"/>
                      <a:pt x="512" y="135"/>
                    </a:cubicBezTo>
                    <a:cubicBezTo>
                      <a:pt x="511" y="135"/>
                      <a:pt x="511" y="135"/>
                      <a:pt x="510" y="135"/>
                    </a:cubicBezTo>
                    <a:cubicBezTo>
                      <a:pt x="509" y="135"/>
                      <a:pt x="509" y="135"/>
                      <a:pt x="508" y="136"/>
                    </a:cubicBezTo>
                    <a:cubicBezTo>
                      <a:pt x="508" y="136"/>
                      <a:pt x="507" y="136"/>
                      <a:pt x="507" y="137"/>
                    </a:cubicBezTo>
                    <a:cubicBezTo>
                      <a:pt x="506" y="137"/>
                      <a:pt x="506" y="137"/>
                      <a:pt x="506" y="137"/>
                    </a:cubicBezTo>
                    <a:cubicBezTo>
                      <a:pt x="506" y="137"/>
                      <a:pt x="506" y="137"/>
                      <a:pt x="505" y="137"/>
                    </a:cubicBezTo>
                    <a:cubicBezTo>
                      <a:pt x="504" y="137"/>
                      <a:pt x="503" y="139"/>
                      <a:pt x="501" y="139"/>
                    </a:cubicBezTo>
                    <a:cubicBezTo>
                      <a:pt x="501" y="139"/>
                      <a:pt x="500" y="139"/>
                      <a:pt x="499" y="139"/>
                    </a:cubicBezTo>
                    <a:cubicBezTo>
                      <a:pt x="499" y="139"/>
                      <a:pt x="498" y="140"/>
                      <a:pt x="497" y="140"/>
                    </a:cubicBezTo>
                    <a:cubicBezTo>
                      <a:pt x="496" y="140"/>
                      <a:pt x="495" y="141"/>
                      <a:pt x="493" y="141"/>
                    </a:cubicBezTo>
                    <a:cubicBezTo>
                      <a:pt x="493" y="141"/>
                      <a:pt x="493" y="140"/>
                      <a:pt x="494" y="140"/>
                    </a:cubicBezTo>
                    <a:cubicBezTo>
                      <a:pt x="493" y="140"/>
                      <a:pt x="494" y="141"/>
                      <a:pt x="494" y="140"/>
                    </a:cubicBezTo>
                    <a:cubicBezTo>
                      <a:pt x="494" y="140"/>
                      <a:pt x="494" y="140"/>
                      <a:pt x="494" y="140"/>
                    </a:cubicBezTo>
                    <a:cubicBezTo>
                      <a:pt x="494" y="139"/>
                      <a:pt x="492" y="139"/>
                      <a:pt x="493" y="139"/>
                    </a:cubicBezTo>
                    <a:cubicBezTo>
                      <a:pt x="493" y="139"/>
                      <a:pt x="492" y="139"/>
                      <a:pt x="492" y="139"/>
                    </a:cubicBezTo>
                    <a:cubicBezTo>
                      <a:pt x="492" y="138"/>
                      <a:pt x="492" y="138"/>
                      <a:pt x="493" y="138"/>
                    </a:cubicBezTo>
                    <a:cubicBezTo>
                      <a:pt x="493" y="137"/>
                      <a:pt x="493" y="138"/>
                      <a:pt x="493" y="138"/>
                    </a:cubicBezTo>
                    <a:cubicBezTo>
                      <a:pt x="494" y="138"/>
                      <a:pt x="493" y="138"/>
                      <a:pt x="493" y="137"/>
                    </a:cubicBezTo>
                    <a:cubicBezTo>
                      <a:pt x="493" y="137"/>
                      <a:pt x="495" y="137"/>
                      <a:pt x="495" y="136"/>
                    </a:cubicBezTo>
                    <a:cubicBezTo>
                      <a:pt x="495" y="136"/>
                      <a:pt x="492" y="137"/>
                      <a:pt x="492" y="137"/>
                    </a:cubicBezTo>
                    <a:cubicBezTo>
                      <a:pt x="492" y="137"/>
                      <a:pt x="491" y="137"/>
                      <a:pt x="491" y="137"/>
                    </a:cubicBezTo>
                    <a:cubicBezTo>
                      <a:pt x="491" y="137"/>
                      <a:pt x="491" y="137"/>
                      <a:pt x="491" y="137"/>
                    </a:cubicBezTo>
                    <a:cubicBezTo>
                      <a:pt x="491" y="137"/>
                      <a:pt x="490" y="136"/>
                      <a:pt x="491" y="136"/>
                    </a:cubicBezTo>
                    <a:cubicBezTo>
                      <a:pt x="491" y="136"/>
                      <a:pt x="491" y="136"/>
                      <a:pt x="492" y="136"/>
                    </a:cubicBezTo>
                    <a:cubicBezTo>
                      <a:pt x="492" y="136"/>
                      <a:pt x="491" y="136"/>
                      <a:pt x="491" y="136"/>
                    </a:cubicBezTo>
                    <a:cubicBezTo>
                      <a:pt x="491" y="136"/>
                      <a:pt x="491" y="136"/>
                      <a:pt x="491" y="135"/>
                    </a:cubicBezTo>
                    <a:cubicBezTo>
                      <a:pt x="491" y="135"/>
                      <a:pt x="491" y="135"/>
                      <a:pt x="491" y="135"/>
                    </a:cubicBezTo>
                    <a:cubicBezTo>
                      <a:pt x="491" y="135"/>
                      <a:pt x="492" y="135"/>
                      <a:pt x="492" y="135"/>
                    </a:cubicBezTo>
                    <a:cubicBezTo>
                      <a:pt x="492" y="135"/>
                      <a:pt x="489" y="134"/>
                      <a:pt x="489" y="134"/>
                    </a:cubicBezTo>
                    <a:cubicBezTo>
                      <a:pt x="489" y="134"/>
                      <a:pt x="489" y="135"/>
                      <a:pt x="489" y="135"/>
                    </a:cubicBezTo>
                    <a:cubicBezTo>
                      <a:pt x="489" y="135"/>
                      <a:pt x="490" y="134"/>
                      <a:pt x="490" y="135"/>
                    </a:cubicBezTo>
                    <a:cubicBezTo>
                      <a:pt x="489" y="135"/>
                      <a:pt x="487" y="135"/>
                      <a:pt x="486" y="136"/>
                    </a:cubicBezTo>
                    <a:cubicBezTo>
                      <a:pt x="486" y="136"/>
                      <a:pt x="485" y="136"/>
                      <a:pt x="485" y="136"/>
                    </a:cubicBezTo>
                    <a:cubicBezTo>
                      <a:pt x="485" y="136"/>
                      <a:pt x="486" y="136"/>
                      <a:pt x="486" y="136"/>
                    </a:cubicBezTo>
                    <a:cubicBezTo>
                      <a:pt x="486" y="136"/>
                      <a:pt x="487" y="136"/>
                      <a:pt x="488" y="136"/>
                    </a:cubicBezTo>
                    <a:cubicBezTo>
                      <a:pt x="487" y="136"/>
                      <a:pt x="487" y="136"/>
                      <a:pt x="487" y="135"/>
                    </a:cubicBezTo>
                    <a:cubicBezTo>
                      <a:pt x="488" y="135"/>
                      <a:pt x="489" y="135"/>
                      <a:pt x="490" y="135"/>
                    </a:cubicBezTo>
                    <a:cubicBezTo>
                      <a:pt x="490" y="136"/>
                      <a:pt x="489" y="135"/>
                      <a:pt x="489" y="136"/>
                    </a:cubicBezTo>
                    <a:cubicBezTo>
                      <a:pt x="489" y="136"/>
                      <a:pt x="490" y="136"/>
                      <a:pt x="490" y="136"/>
                    </a:cubicBezTo>
                    <a:cubicBezTo>
                      <a:pt x="490" y="137"/>
                      <a:pt x="489" y="136"/>
                      <a:pt x="489" y="136"/>
                    </a:cubicBezTo>
                    <a:cubicBezTo>
                      <a:pt x="489" y="136"/>
                      <a:pt x="491" y="137"/>
                      <a:pt x="491" y="137"/>
                    </a:cubicBezTo>
                    <a:cubicBezTo>
                      <a:pt x="491" y="137"/>
                      <a:pt x="490" y="137"/>
                      <a:pt x="490" y="137"/>
                    </a:cubicBezTo>
                    <a:cubicBezTo>
                      <a:pt x="490" y="137"/>
                      <a:pt x="490" y="138"/>
                      <a:pt x="491" y="138"/>
                    </a:cubicBezTo>
                    <a:cubicBezTo>
                      <a:pt x="491" y="138"/>
                      <a:pt x="492" y="138"/>
                      <a:pt x="491" y="138"/>
                    </a:cubicBezTo>
                    <a:cubicBezTo>
                      <a:pt x="491" y="138"/>
                      <a:pt x="490" y="138"/>
                      <a:pt x="491" y="139"/>
                    </a:cubicBezTo>
                    <a:cubicBezTo>
                      <a:pt x="491" y="139"/>
                      <a:pt x="491" y="139"/>
                      <a:pt x="491" y="140"/>
                    </a:cubicBezTo>
                    <a:cubicBezTo>
                      <a:pt x="492" y="140"/>
                      <a:pt x="491" y="140"/>
                      <a:pt x="491" y="141"/>
                    </a:cubicBezTo>
                    <a:cubicBezTo>
                      <a:pt x="491" y="141"/>
                      <a:pt x="492" y="141"/>
                      <a:pt x="491" y="142"/>
                    </a:cubicBezTo>
                    <a:cubicBezTo>
                      <a:pt x="491" y="142"/>
                      <a:pt x="492" y="142"/>
                      <a:pt x="491" y="142"/>
                    </a:cubicBezTo>
                    <a:cubicBezTo>
                      <a:pt x="491" y="143"/>
                      <a:pt x="490" y="143"/>
                      <a:pt x="490" y="143"/>
                    </a:cubicBezTo>
                    <a:cubicBezTo>
                      <a:pt x="490" y="142"/>
                      <a:pt x="490" y="142"/>
                      <a:pt x="491" y="142"/>
                    </a:cubicBezTo>
                    <a:cubicBezTo>
                      <a:pt x="490" y="142"/>
                      <a:pt x="490" y="142"/>
                      <a:pt x="489" y="142"/>
                    </a:cubicBezTo>
                    <a:cubicBezTo>
                      <a:pt x="489" y="142"/>
                      <a:pt x="489" y="142"/>
                      <a:pt x="489" y="142"/>
                    </a:cubicBezTo>
                    <a:cubicBezTo>
                      <a:pt x="488" y="142"/>
                      <a:pt x="489" y="141"/>
                      <a:pt x="488" y="141"/>
                    </a:cubicBezTo>
                    <a:cubicBezTo>
                      <a:pt x="488" y="141"/>
                      <a:pt x="487" y="142"/>
                      <a:pt x="487" y="141"/>
                    </a:cubicBezTo>
                    <a:cubicBezTo>
                      <a:pt x="487" y="141"/>
                      <a:pt x="487" y="141"/>
                      <a:pt x="487" y="141"/>
                    </a:cubicBezTo>
                    <a:cubicBezTo>
                      <a:pt x="487" y="140"/>
                      <a:pt x="487" y="141"/>
                      <a:pt x="487" y="140"/>
                    </a:cubicBezTo>
                    <a:cubicBezTo>
                      <a:pt x="486" y="140"/>
                      <a:pt x="486" y="141"/>
                      <a:pt x="485" y="141"/>
                    </a:cubicBezTo>
                    <a:cubicBezTo>
                      <a:pt x="485" y="141"/>
                      <a:pt x="486" y="142"/>
                      <a:pt x="486" y="142"/>
                    </a:cubicBezTo>
                    <a:cubicBezTo>
                      <a:pt x="487" y="143"/>
                      <a:pt x="484" y="142"/>
                      <a:pt x="484" y="142"/>
                    </a:cubicBezTo>
                    <a:cubicBezTo>
                      <a:pt x="483" y="142"/>
                      <a:pt x="483" y="142"/>
                      <a:pt x="483" y="142"/>
                    </a:cubicBezTo>
                    <a:cubicBezTo>
                      <a:pt x="483" y="142"/>
                      <a:pt x="482" y="142"/>
                      <a:pt x="482" y="142"/>
                    </a:cubicBezTo>
                    <a:cubicBezTo>
                      <a:pt x="482" y="142"/>
                      <a:pt x="482" y="141"/>
                      <a:pt x="482" y="141"/>
                    </a:cubicBezTo>
                    <a:cubicBezTo>
                      <a:pt x="481" y="141"/>
                      <a:pt x="481" y="142"/>
                      <a:pt x="481" y="142"/>
                    </a:cubicBezTo>
                    <a:cubicBezTo>
                      <a:pt x="480" y="142"/>
                      <a:pt x="481" y="141"/>
                      <a:pt x="481" y="141"/>
                    </a:cubicBezTo>
                    <a:cubicBezTo>
                      <a:pt x="481" y="140"/>
                      <a:pt x="482" y="138"/>
                      <a:pt x="480" y="139"/>
                    </a:cubicBezTo>
                    <a:cubicBezTo>
                      <a:pt x="479" y="139"/>
                      <a:pt x="477" y="140"/>
                      <a:pt x="476" y="139"/>
                    </a:cubicBezTo>
                    <a:cubicBezTo>
                      <a:pt x="475" y="139"/>
                      <a:pt x="475" y="139"/>
                      <a:pt x="474" y="139"/>
                    </a:cubicBezTo>
                    <a:cubicBezTo>
                      <a:pt x="474" y="139"/>
                      <a:pt x="473" y="139"/>
                      <a:pt x="473" y="139"/>
                    </a:cubicBezTo>
                    <a:cubicBezTo>
                      <a:pt x="472" y="139"/>
                      <a:pt x="472" y="139"/>
                      <a:pt x="472" y="139"/>
                    </a:cubicBezTo>
                    <a:cubicBezTo>
                      <a:pt x="471" y="139"/>
                      <a:pt x="471" y="140"/>
                      <a:pt x="472" y="140"/>
                    </a:cubicBezTo>
                    <a:cubicBezTo>
                      <a:pt x="471" y="140"/>
                      <a:pt x="470" y="140"/>
                      <a:pt x="470" y="140"/>
                    </a:cubicBezTo>
                    <a:cubicBezTo>
                      <a:pt x="471" y="141"/>
                      <a:pt x="471" y="141"/>
                      <a:pt x="472" y="141"/>
                    </a:cubicBezTo>
                    <a:cubicBezTo>
                      <a:pt x="473" y="141"/>
                      <a:pt x="473" y="142"/>
                      <a:pt x="474" y="142"/>
                    </a:cubicBezTo>
                    <a:cubicBezTo>
                      <a:pt x="475" y="142"/>
                      <a:pt x="475" y="143"/>
                      <a:pt x="474" y="143"/>
                    </a:cubicBezTo>
                    <a:cubicBezTo>
                      <a:pt x="473" y="143"/>
                      <a:pt x="473" y="144"/>
                      <a:pt x="472" y="144"/>
                    </a:cubicBezTo>
                    <a:cubicBezTo>
                      <a:pt x="471" y="144"/>
                      <a:pt x="471" y="145"/>
                      <a:pt x="470" y="145"/>
                    </a:cubicBezTo>
                    <a:cubicBezTo>
                      <a:pt x="468" y="146"/>
                      <a:pt x="468" y="147"/>
                      <a:pt x="466" y="147"/>
                    </a:cubicBezTo>
                    <a:cubicBezTo>
                      <a:pt x="464" y="148"/>
                      <a:pt x="463" y="149"/>
                      <a:pt x="461" y="149"/>
                    </a:cubicBezTo>
                    <a:cubicBezTo>
                      <a:pt x="461" y="149"/>
                      <a:pt x="460" y="149"/>
                      <a:pt x="461" y="150"/>
                    </a:cubicBezTo>
                    <a:cubicBezTo>
                      <a:pt x="461" y="150"/>
                      <a:pt x="461" y="150"/>
                      <a:pt x="460" y="150"/>
                    </a:cubicBezTo>
                    <a:cubicBezTo>
                      <a:pt x="460" y="150"/>
                      <a:pt x="459" y="150"/>
                      <a:pt x="458" y="151"/>
                    </a:cubicBezTo>
                    <a:cubicBezTo>
                      <a:pt x="457" y="151"/>
                      <a:pt x="456" y="151"/>
                      <a:pt x="455" y="151"/>
                    </a:cubicBezTo>
                    <a:cubicBezTo>
                      <a:pt x="455" y="151"/>
                      <a:pt x="454" y="151"/>
                      <a:pt x="453" y="150"/>
                    </a:cubicBezTo>
                    <a:cubicBezTo>
                      <a:pt x="452" y="150"/>
                      <a:pt x="452" y="149"/>
                      <a:pt x="451" y="149"/>
                    </a:cubicBezTo>
                    <a:cubicBezTo>
                      <a:pt x="451" y="148"/>
                      <a:pt x="450" y="148"/>
                      <a:pt x="450" y="148"/>
                    </a:cubicBezTo>
                    <a:cubicBezTo>
                      <a:pt x="451" y="147"/>
                      <a:pt x="451" y="148"/>
                      <a:pt x="452" y="148"/>
                    </a:cubicBezTo>
                    <a:cubicBezTo>
                      <a:pt x="452" y="147"/>
                      <a:pt x="451" y="148"/>
                      <a:pt x="450" y="147"/>
                    </a:cubicBezTo>
                    <a:cubicBezTo>
                      <a:pt x="450" y="147"/>
                      <a:pt x="450" y="147"/>
                      <a:pt x="450" y="147"/>
                    </a:cubicBezTo>
                    <a:cubicBezTo>
                      <a:pt x="450" y="147"/>
                      <a:pt x="449" y="147"/>
                      <a:pt x="449" y="147"/>
                    </a:cubicBezTo>
                    <a:cubicBezTo>
                      <a:pt x="448" y="147"/>
                      <a:pt x="448" y="146"/>
                      <a:pt x="447" y="146"/>
                    </a:cubicBezTo>
                    <a:cubicBezTo>
                      <a:pt x="447" y="146"/>
                      <a:pt x="447" y="145"/>
                      <a:pt x="447" y="145"/>
                    </a:cubicBezTo>
                    <a:cubicBezTo>
                      <a:pt x="447" y="146"/>
                      <a:pt x="446" y="146"/>
                      <a:pt x="446" y="146"/>
                    </a:cubicBezTo>
                    <a:cubicBezTo>
                      <a:pt x="446" y="145"/>
                      <a:pt x="446" y="145"/>
                      <a:pt x="446" y="145"/>
                    </a:cubicBezTo>
                    <a:cubicBezTo>
                      <a:pt x="445" y="145"/>
                      <a:pt x="444" y="145"/>
                      <a:pt x="443" y="145"/>
                    </a:cubicBezTo>
                    <a:cubicBezTo>
                      <a:pt x="444" y="145"/>
                      <a:pt x="445" y="146"/>
                      <a:pt x="444" y="146"/>
                    </a:cubicBezTo>
                    <a:cubicBezTo>
                      <a:pt x="444" y="146"/>
                      <a:pt x="443" y="145"/>
                      <a:pt x="443" y="145"/>
                    </a:cubicBezTo>
                    <a:cubicBezTo>
                      <a:pt x="443" y="145"/>
                      <a:pt x="442" y="145"/>
                      <a:pt x="441" y="145"/>
                    </a:cubicBezTo>
                    <a:cubicBezTo>
                      <a:pt x="441" y="146"/>
                      <a:pt x="440" y="146"/>
                      <a:pt x="440" y="145"/>
                    </a:cubicBezTo>
                    <a:cubicBezTo>
                      <a:pt x="440" y="145"/>
                      <a:pt x="441" y="145"/>
                      <a:pt x="441" y="145"/>
                    </a:cubicBezTo>
                    <a:cubicBezTo>
                      <a:pt x="441" y="145"/>
                      <a:pt x="439" y="145"/>
                      <a:pt x="439" y="145"/>
                    </a:cubicBezTo>
                    <a:cubicBezTo>
                      <a:pt x="438" y="145"/>
                      <a:pt x="438" y="145"/>
                      <a:pt x="437" y="145"/>
                    </a:cubicBezTo>
                    <a:cubicBezTo>
                      <a:pt x="435" y="145"/>
                      <a:pt x="434" y="144"/>
                      <a:pt x="432" y="145"/>
                    </a:cubicBezTo>
                    <a:cubicBezTo>
                      <a:pt x="433" y="145"/>
                      <a:pt x="435" y="147"/>
                      <a:pt x="435" y="146"/>
                    </a:cubicBezTo>
                    <a:cubicBezTo>
                      <a:pt x="435" y="144"/>
                      <a:pt x="438" y="145"/>
                      <a:pt x="438" y="145"/>
                    </a:cubicBezTo>
                    <a:cubicBezTo>
                      <a:pt x="440" y="145"/>
                      <a:pt x="442" y="146"/>
                      <a:pt x="443" y="146"/>
                    </a:cubicBezTo>
                    <a:cubicBezTo>
                      <a:pt x="443" y="147"/>
                      <a:pt x="444" y="147"/>
                      <a:pt x="444" y="148"/>
                    </a:cubicBezTo>
                    <a:cubicBezTo>
                      <a:pt x="445" y="148"/>
                      <a:pt x="444" y="148"/>
                      <a:pt x="444" y="149"/>
                    </a:cubicBezTo>
                    <a:cubicBezTo>
                      <a:pt x="444" y="150"/>
                      <a:pt x="445" y="149"/>
                      <a:pt x="445" y="150"/>
                    </a:cubicBezTo>
                    <a:cubicBezTo>
                      <a:pt x="445" y="151"/>
                      <a:pt x="446" y="151"/>
                      <a:pt x="446" y="151"/>
                    </a:cubicBezTo>
                    <a:cubicBezTo>
                      <a:pt x="448" y="151"/>
                      <a:pt x="449" y="151"/>
                      <a:pt x="451" y="151"/>
                    </a:cubicBezTo>
                    <a:cubicBezTo>
                      <a:pt x="452" y="151"/>
                      <a:pt x="453" y="151"/>
                      <a:pt x="455" y="151"/>
                    </a:cubicBezTo>
                    <a:cubicBezTo>
                      <a:pt x="456" y="151"/>
                      <a:pt x="458" y="151"/>
                      <a:pt x="460" y="152"/>
                    </a:cubicBezTo>
                    <a:cubicBezTo>
                      <a:pt x="459" y="152"/>
                      <a:pt x="460" y="152"/>
                      <a:pt x="459" y="153"/>
                    </a:cubicBezTo>
                    <a:cubicBezTo>
                      <a:pt x="459" y="153"/>
                      <a:pt x="459" y="153"/>
                      <a:pt x="458" y="153"/>
                    </a:cubicBezTo>
                    <a:cubicBezTo>
                      <a:pt x="458" y="154"/>
                      <a:pt x="458" y="154"/>
                      <a:pt x="457" y="154"/>
                    </a:cubicBezTo>
                    <a:cubicBezTo>
                      <a:pt x="457" y="155"/>
                      <a:pt x="456" y="155"/>
                      <a:pt x="455" y="155"/>
                    </a:cubicBezTo>
                    <a:cubicBezTo>
                      <a:pt x="454" y="156"/>
                      <a:pt x="454" y="156"/>
                      <a:pt x="454" y="156"/>
                    </a:cubicBezTo>
                    <a:cubicBezTo>
                      <a:pt x="453" y="156"/>
                      <a:pt x="452" y="157"/>
                      <a:pt x="453" y="156"/>
                    </a:cubicBezTo>
                    <a:cubicBezTo>
                      <a:pt x="452" y="156"/>
                      <a:pt x="452" y="157"/>
                      <a:pt x="451" y="158"/>
                    </a:cubicBezTo>
                    <a:cubicBezTo>
                      <a:pt x="450" y="158"/>
                      <a:pt x="449" y="158"/>
                      <a:pt x="449" y="159"/>
                    </a:cubicBezTo>
                    <a:cubicBezTo>
                      <a:pt x="448" y="159"/>
                      <a:pt x="447" y="160"/>
                      <a:pt x="446" y="160"/>
                    </a:cubicBezTo>
                    <a:cubicBezTo>
                      <a:pt x="446" y="161"/>
                      <a:pt x="444" y="161"/>
                      <a:pt x="445" y="161"/>
                    </a:cubicBezTo>
                    <a:cubicBezTo>
                      <a:pt x="445" y="162"/>
                      <a:pt x="443" y="162"/>
                      <a:pt x="443" y="162"/>
                    </a:cubicBezTo>
                    <a:cubicBezTo>
                      <a:pt x="442" y="162"/>
                      <a:pt x="441" y="163"/>
                      <a:pt x="440" y="163"/>
                    </a:cubicBezTo>
                    <a:cubicBezTo>
                      <a:pt x="439" y="163"/>
                      <a:pt x="438" y="164"/>
                      <a:pt x="437" y="164"/>
                    </a:cubicBezTo>
                    <a:cubicBezTo>
                      <a:pt x="437" y="164"/>
                      <a:pt x="437" y="164"/>
                      <a:pt x="437" y="163"/>
                    </a:cubicBezTo>
                    <a:cubicBezTo>
                      <a:pt x="436" y="163"/>
                      <a:pt x="436" y="164"/>
                      <a:pt x="436" y="164"/>
                    </a:cubicBezTo>
                    <a:cubicBezTo>
                      <a:pt x="436" y="163"/>
                      <a:pt x="435" y="163"/>
                      <a:pt x="435" y="163"/>
                    </a:cubicBezTo>
                    <a:cubicBezTo>
                      <a:pt x="435" y="163"/>
                      <a:pt x="435" y="162"/>
                      <a:pt x="435" y="162"/>
                    </a:cubicBezTo>
                    <a:cubicBezTo>
                      <a:pt x="434" y="162"/>
                      <a:pt x="434" y="164"/>
                      <a:pt x="435" y="164"/>
                    </a:cubicBezTo>
                    <a:cubicBezTo>
                      <a:pt x="435" y="164"/>
                      <a:pt x="435" y="164"/>
                      <a:pt x="434" y="164"/>
                    </a:cubicBezTo>
                    <a:cubicBezTo>
                      <a:pt x="434" y="164"/>
                      <a:pt x="434" y="163"/>
                      <a:pt x="434" y="163"/>
                    </a:cubicBezTo>
                    <a:cubicBezTo>
                      <a:pt x="434" y="164"/>
                      <a:pt x="433" y="163"/>
                      <a:pt x="433" y="163"/>
                    </a:cubicBezTo>
                    <a:cubicBezTo>
                      <a:pt x="433" y="163"/>
                      <a:pt x="433" y="163"/>
                      <a:pt x="433" y="163"/>
                    </a:cubicBezTo>
                    <a:cubicBezTo>
                      <a:pt x="433" y="163"/>
                      <a:pt x="433" y="163"/>
                      <a:pt x="432" y="163"/>
                    </a:cubicBezTo>
                    <a:cubicBezTo>
                      <a:pt x="432" y="163"/>
                      <a:pt x="432" y="163"/>
                      <a:pt x="432" y="163"/>
                    </a:cubicBezTo>
                    <a:cubicBezTo>
                      <a:pt x="432" y="163"/>
                      <a:pt x="432" y="164"/>
                      <a:pt x="432" y="164"/>
                    </a:cubicBezTo>
                    <a:cubicBezTo>
                      <a:pt x="432" y="163"/>
                      <a:pt x="431" y="163"/>
                      <a:pt x="431" y="163"/>
                    </a:cubicBezTo>
                    <a:cubicBezTo>
                      <a:pt x="431" y="163"/>
                      <a:pt x="430" y="163"/>
                      <a:pt x="431" y="162"/>
                    </a:cubicBezTo>
                    <a:cubicBezTo>
                      <a:pt x="431" y="162"/>
                      <a:pt x="432" y="162"/>
                      <a:pt x="432" y="161"/>
                    </a:cubicBezTo>
                    <a:cubicBezTo>
                      <a:pt x="432" y="161"/>
                      <a:pt x="431" y="162"/>
                      <a:pt x="431" y="162"/>
                    </a:cubicBezTo>
                    <a:cubicBezTo>
                      <a:pt x="431" y="162"/>
                      <a:pt x="431" y="162"/>
                      <a:pt x="431" y="162"/>
                    </a:cubicBezTo>
                    <a:cubicBezTo>
                      <a:pt x="430" y="162"/>
                      <a:pt x="430" y="162"/>
                      <a:pt x="429" y="162"/>
                    </a:cubicBezTo>
                    <a:cubicBezTo>
                      <a:pt x="430" y="162"/>
                      <a:pt x="430" y="162"/>
                      <a:pt x="430" y="161"/>
                    </a:cubicBezTo>
                    <a:cubicBezTo>
                      <a:pt x="429" y="162"/>
                      <a:pt x="429" y="162"/>
                      <a:pt x="428" y="162"/>
                    </a:cubicBezTo>
                    <a:cubicBezTo>
                      <a:pt x="429" y="163"/>
                      <a:pt x="429" y="162"/>
                      <a:pt x="430" y="163"/>
                    </a:cubicBezTo>
                    <a:cubicBezTo>
                      <a:pt x="429" y="163"/>
                      <a:pt x="429" y="163"/>
                      <a:pt x="430" y="163"/>
                    </a:cubicBezTo>
                    <a:cubicBezTo>
                      <a:pt x="429" y="163"/>
                      <a:pt x="429" y="163"/>
                      <a:pt x="429" y="164"/>
                    </a:cubicBezTo>
                    <a:cubicBezTo>
                      <a:pt x="429" y="164"/>
                      <a:pt x="429" y="164"/>
                      <a:pt x="429" y="164"/>
                    </a:cubicBezTo>
                    <a:cubicBezTo>
                      <a:pt x="429" y="164"/>
                      <a:pt x="428" y="164"/>
                      <a:pt x="428" y="164"/>
                    </a:cubicBezTo>
                    <a:cubicBezTo>
                      <a:pt x="429" y="164"/>
                      <a:pt x="427" y="164"/>
                      <a:pt x="427" y="164"/>
                    </a:cubicBezTo>
                    <a:cubicBezTo>
                      <a:pt x="427" y="163"/>
                      <a:pt x="427" y="163"/>
                      <a:pt x="426" y="164"/>
                    </a:cubicBezTo>
                    <a:cubicBezTo>
                      <a:pt x="427" y="164"/>
                      <a:pt x="426" y="165"/>
                      <a:pt x="427" y="165"/>
                    </a:cubicBezTo>
                    <a:cubicBezTo>
                      <a:pt x="428" y="166"/>
                      <a:pt x="426" y="166"/>
                      <a:pt x="426" y="166"/>
                    </a:cubicBezTo>
                    <a:cubicBezTo>
                      <a:pt x="426" y="166"/>
                      <a:pt x="424" y="168"/>
                      <a:pt x="423" y="167"/>
                    </a:cubicBezTo>
                    <a:cubicBezTo>
                      <a:pt x="423" y="167"/>
                      <a:pt x="424" y="167"/>
                      <a:pt x="424" y="167"/>
                    </a:cubicBezTo>
                    <a:cubicBezTo>
                      <a:pt x="423" y="167"/>
                      <a:pt x="423" y="168"/>
                      <a:pt x="422" y="167"/>
                    </a:cubicBezTo>
                    <a:cubicBezTo>
                      <a:pt x="422" y="167"/>
                      <a:pt x="422" y="167"/>
                      <a:pt x="422" y="167"/>
                    </a:cubicBezTo>
                    <a:cubicBezTo>
                      <a:pt x="422" y="167"/>
                      <a:pt x="422" y="167"/>
                      <a:pt x="422" y="167"/>
                    </a:cubicBezTo>
                    <a:cubicBezTo>
                      <a:pt x="421" y="166"/>
                      <a:pt x="421" y="167"/>
                      <a:pt x="420" y="167"/>
                    </a:cubicBezTo>
                    <a:cubicBezTo>
                      <a:pt x="421" y="167"/>
                      <a:pt x="422" y="167"/>
                      <a:pt x="421" y="167"/>
                    </a:cubicBezTo>
                    <a:cubicBezTo>
                      <a:pt x="421" y="168"/>
                      <a:pt x="420" y="168"/>
                      <a:pt x="419" y="168"/>
                    </a:cubicBezTo>
                    <a:cubicBezTo>
                      <a:pt x="419" y="168"/>
                      <a:pt x="418" y="168"/>
                      <a:pt x="418" y="168"/>
                    </a:cubicBezTo>
                    <a:cubicBezTo>
                      <a:pt x="417" y="167"/>
                      <a:pt x="417" y="167"/>
                      <a:pt x="417" y="167"/>
                    </a:cubicBezTo>
                    <a:cubicBezTo>
                      <a:pt x="417" y="167"/>
                      <a:pt x="415" y="167"/>
                      <a:pt x="415" y="167"/>
                    </a:cubicBezTo>
                    <a:cubicBezTo>
                      <a:pt x="415" y="167"/>
                      <a:pt x="416" y="167"/>
                      <a:pt x="416" y="167"/>
                    </a:cubicBezTo>
                    <a:cubicBezTo>
                      <a:pt x="415" y="166"/>
                      <a:pt x="414" y="167"/>
                      <a:pt x="414" y="166"/>
                    </a:cubicBezTo>
                    <a:cubicBezTo>
                      <a:pt x="414" y="166"/>
                      <a:pt x="414" y="166"/>
                      <a:pt x="414" y="166"/>
                    </a:cubicBezTo>
                    <a:cubicBezTo>
                      <a:pt x="414" y="166"/>
                      <a:pt x="412" y="166"/>
                      <a:pt x="412" y="166"/>
                    </a:cubicBezTo>
                    <a:cubicBezTo>
                      <a:pt x="411" y="166"/>
                      <a:pt x="412" y="166"/>
                      <a:pt x="413" y="165"/>
                    </a:cubicBezTo>
                    <a:cubicBezTo>
                      <a:pt x="412" y="165"/>
                      <a:pt x="411" y="166"/>
                      <a:pt x="411" y="166"/>
                    </a:cubicBezTo>
                    <a:cubicBezTo>
                      <a:pt x="410" y="166"/>
                      <a:pt x="410" y="166"/>
                      <a:pt x="409" y="166"/>
                    </a:cubicBezTo>
                    <a:cubicBezTo>
                      <a:pt x="409" y="166"/>
                      <a:pt x="409" y="165"/>
                      <a:pt x="408" y="165"/>
                    </a:cubicBezTo>
                    <a:cubicBezTo>
                      <a:pt x="407" y="165"/>
                      <a:pt x="407" y="165"/>
                      <a:pt x="407" y="165"/>
                    </a:cubicBezTo>
                    <a:cubicBezTo>
                      <a:pt x="407" y="164"/>
                      <a:pt x="406" y="165"/>
                      <a:pt x="406" y="164"/>
                    </a:cubicBezTo>
                    <a:cubicBezTo>
                      <a:pt x="406" y="164"/>
                      <a:pt x="405" y="164"/>
                      <a:pt x="405" y="164"/>
                    </a:cubicBezTo>
                    <a:cubicBezTo>
                      <a:pt x="405" y="164"/>
                      <a:pt x="405" y="164"/>
                      <a:pt x="404" y="164"/>
                    </a:cubicBezTo>
                    <a:cubicBezTo>
                      <a:pt x="404" y="164"/>
                      <a:pt x="401" y="163"/>
                      <a:pt x="403" y="162"/>
                    </a:cubicBezTo>
                    <a:cubicBezTo>
                      <a:pt x="402" y="162"/>
                      <a:pt x="402" y="162"/>
                      <a:pt x="402" y="162"/>
                    </a:cubicBezTo>
                    <a:cubicBezTo>
                      <a:pt x="402" y="162"/>
                      <a:pt x="402" y="163"/>
                      <a:pt x="402" y="163"/>
                    </a:cubicBezTo>
                    <a:cubicBezTo>
                      <a:pt x="402" y="163"/>
                      <a:pt x="402" y="163"/>
                      <a:pt x="402" y="163"/>
                    </a:cubicBezTo>
                    <a:cubicBezTo>
                      <a:pt x="402" y="163"/>
                      <a:pt x="402" y="164"/>
                      <a:pt x="402" y="164"/>
                    </a:cubicBezTo>
                    <a:cubicBezTo>
                      <a:pt x="401" y="164"/>
                      <a:pt x="400" y="163"/>
                      <a:pt x="400" y="164"/>
                    </a:cubicBezTo>
                    <a:cubicBezTo>
                      <a:pt x="401" y="164"/>
                      <a:pt x="400" y="164"/>
                      <a:pt x="400" y="165"/>
                    </a:cubicBezTo>
                    <a:cubicBezTo>
                      <a:pt x="401" y="165"/>
                      <a:pt x="401" y="165"/>
                      <a:pt x="402" y="165"/>
                    </a:cubicBezTo>
                    <a:cubicBezTo>
                      <a:pt x="402" y="165"/>
                      <a:pt x="403" y="165"/>
                      <a:pt x="403" y="165"/>
                    </a:cubicBezTo>
                    <a:cubicBezTo>
                      <a:pt x="402" y="165"/>
                      <a:pt x="402" y="164"/>
                      <a:pt x="403" y="164"/>
                    </a:cubicBezTo>
                    <a:cubicBezTo>
                      <a:pt x="403" y="164"/>
                      <a:pt x="404" y="164"/>
                      <a:pt x="404" y="165"/>
                    </a:cubicBezTo>
                    <a:cubicBezTo>
                      <a:pt x="404" y="165"/>
                      <a:pt x="405" y="165"/>
                      <a:pt x="405" y="165"/>
                    </a:cubicBezTo>
                    <a:cubicBezTo>
                      <a:pt x="405" y="165"/>
                      <a:pt x="406" y="165"/>
                      <a:pt x="406" y="165"/>
                    </a:cubicBezTo>
                    <a:cubicBezTo>
                      <a:pt x="407" y="165"/>
                      <a:pt x="407" y="166"/>
                      <a:pt x="407" y="165"/>
                    </a:cubicBezTo>
                    <a:cubicBezTo>
                      <a:pt x="408" y="165"/>
                      <a:pt x="408" y="165"/>
                      <a:pt x="408" y="166"/>
                    </a:cubicBezTo>
                    <a:cubicBezTo>
                      <a:pt x="408" y="167"/>
                      <a:pt x="410" y="166"/>
                      <a:pt x="410" y="166"/>
                    </a:cubicBezTo>
                    <a:cubicBezTo>
                      <a:pt x="410" y="167"/>
                      <a:pt x="409" y="167"/>
                      <a:pt x="409" y="167"/>
                    </a:cubicBezTo>
                    <a:cubicBezTo>
                      <a:pt x="409" y="167"/>
                      <a:pt x="408" y="167"/>
                      <a:pt x="408" y="167"/>
                    </a:cubicBezTo>
                    <a:cubicBezTo>
                      <a:pt x="407" y="168"/>
                      <a:pt x="406" y="168"/>
                      <a:pt x="406" y="168"/>
                    </a:cubicBezTo>
                    <a:cubicBezTo>
                      <a:pt x="406" y="168"/>
                      <a:pt x="407" y="168"/>
                      <a:pt x="407" y="168"/>
                    </a:cubicBezTo>
                    <a:cubicBezTo>
                      <a:pt x="408" y="168"/>
                      <a:pt x="408" y="168"/>
                      <a:pt x="408" y="168"/>
                    </a:cubicBezTo>
                    <a:cubicBezTo>
                      <a:pt x="409" y="167"/>
                      <a:pt x="410" y="167"/>
                      <a:pt x="411" y="167"/>
                    </a:cubicBezTo>
                    <a:cubicBezTo>
                      <a:pt x="411" y="167"/>
                      <a:pt x="414" y="166"/>
                      <a:pt x="413" y="167"/>
                    </a:cubicBezTo>
                    <a:cubicBezTo>
                      <a:pt x="413" y="168"/>
                      <a:pt x="413" y="168"/>
                      <a:pt x="414" y="168"/>
                    </a:cubicBezTo>
                    <a:cubicBezTo>
                      <a:pt x="414" y="168"/>
                      <a:pt x="414" y="168"/>
                      <a:pt x="414" y="168"/>
                    </a:cubicBezTo>
                    <a:cubicBezTo>
                      <a:pt x="414" y="168"/>
                      <a:pt x="416" y="169"/>
                      <a:pt x="416" y="169"/>
                    </a:cubicBezTo>
                    <a:cubicBezTo>
                      <a:pt x="416" y="169"/>
                      <a:pt x="417" y="169"/>
                      <a:pt x="417" y="169"/>
                    </a:cubicBezTo>
                    <a:cubicBezTo>
                      <a:pt x="417" y="169"/>
                      <a:pt x="417" y="169"/>
                      <a:pt x="418" y="169"/>
                    </a:cubicBezTo>
                    <a:cubicBezTo>
                      <a:pt x="417" y="170"/>
                      <a:pt x="417" y="169"/>
                      <a:pt x="417" y="169"/>
                    </a:cubicBezTo>
                    <a:cubicBezTo>
                      <a:pt x="416" y="169"/>
                      <a:pt x="417" y="170"/>
                      <a:pt x="417" y="170"/>
                    </a:cubicBezTo>
                    <a:cubicBezTo>
                      <a:pt x="418" y="170"/>
                      <a:pt x="419" y="170"/>
                      <a:pt x="418" y="170"/>
                    </a:cubicBezTo>
                    <a:cubicBezTo>
                      <a:pt x="417" y="170"/>
                      <a:pt x="417" y="171"/>
                      <a:pt x="417" y="171"/>
                    </a:cubicBezTo>
                    <a:cubicBezTo>
                      <a:pt x="417" y="171"/>
                      <a:pt x="417" y="171"/>
                      <a:pt x="417" y="172"/>
                    </a:cubicBezTo>
                    <a:cubicBezTo>
                      <a:pt x="417" y="172"/>
                      <a:pt x="417" y="172"/>
                      <a:pt x="416" y="172"/>
                    </a:cubicBezTo>
                    <a:cubicBezTo>
                      <a:pt x="416" y="172"/>
                      <a:pt x="416" y="173"/>
                      <a:pt x="416" y="173"/>
                    </a:cubicBezTo>
                    <a:cubicBezTo>
                      <a:pt x="416" y="173"/>
                      <a:pt x="416" y="173"/>
                      <a:pt x="415" y="173"/>
                    </a:cubicBezTo>
                    <a:cubicBezTo>
                      <a:pt x="415" y="173"/>
                      <a:pt x="415" y="174"/>
                      <a:pt x="415" y="174"/>
                    </a:cubicBezTo>
                    <a:cubicBezTo>
                      <a:pt x="414" y="174"/>
                      <a:pt x="413" y="174"/>
                      <a:pt x="413" y="174"/>
                    </a:cubicBezTo>
                    <a:cubicBezTo>
                      <a:pt x="412" y="174"/>
                      <a:pt x="411" y="174"/>
                      <a:pt x="410" y="175"/>
                    </a:cubicBezTo>
                    <a:cubicBezTo>
                      <a:pt x="410" y="175"/>
                      <a:pt x="409" y="175"/>
                      <a:pt x="409" y="175"/>
                    </a:cubicBezTo>
                    <a:cubicBezTo>
                      <a:pt x="409" y="175"/>
                      <a:pt x="409" y="175"/>
                      <a:pt x="409" y="175"/>
                    </a:cubicBezTo>
                    <a:cubicBezTo>
                      <a:pt x="409" y="176"/>
                      <a:pt x="404" y="174"/>
                      <a:pt x="403" y="175"/>
                    </a:cubicBezTo>
                    <a:cubicBezTo>
                      <a:pt x="403" y="175"/>
                      <a:pt x="404" y="175"/>
                      <a:pt x="403" y="175"/>
                    </a:cubicBezTo>
                    <a:cubicBezTo>
                      <a:pt x="403" y="175"/>
                      <a:pt x="403" y="175"/>
                      <a:pt x="403" y="175"/>
                    </a:cubicBezTo>
                    <a:cubicBezTo>
                      <a:pt x="402" y="175"/>
                      <a:pt x="402" y="175"/>
                      <a:pt x="401" y="175"/>
                    </a:cubicBezTo>
                    <a:cubicBezTo>
                      <a:pt x="400" y="175"/>
                      <a:pt x="401" y="176"/>
                      <a:pt x="401" y="176"/>
                    </a:cubicBezTo>
                    <a:cubicBezTo>
                      <a:pt x="401" y="176"/>
                      <a:pt x="401" y="176"/>
                      <a:pt x="401" y="177"/>
                    </a:cubicBezTo>
                    <a:cubicBezTo>
                      <a:pt x="401" y="177"/>
                      <a:pt x="404" y="177"/>
                      <a:pt x="403" y="177"/>
                    </a:cubicBezTo>
                    <a:cubicBezTo>
                      <a:pt x="403" y="178"/>
                      <a:pt x="402" y="178"/>
                      <a:pt x="402" y="178"/>
                    </a:cubicBezTo>
                    <a:cubicBezTo>
                      <a:pt x="402" y="178"/>
                      <a:pt x="401" y="178"/>
                      <a:pt x="401" y="178"/>
                    </a:cubicBezTo>
                    <a:cubicBezTo>
                      <a:pt x="401" y="178"/>
                      <a:pt x="402" y="177"/>
                      <a:pt x="401" y="177"/>
                    </a:cubicBezTo>
                    <a:cubicBezTo>
                      <a:pt x="400" y="177"/>
                      <a:pt x="400" y="178"/>
                      <a:pt x="400" y="178"/>
                    </a:cubicBezTo>
                    <a:cubicBezTo>
                      <a:pt x="400" y="178"/>
                      <a:pt x="398" y="178"/>
                      <a:pt x="399" y="177"/>
                    </a:cubicBezTo>
                    <a:cubicBezTo>
                      <a:pt x="398" y="177"/>
                      <a:pt x="398" y="178"/>
                      <a:pt x="398" y="177"/>
                    </a:cubicBezTo>
                    <a:cubicBezTo>
                      <a:pt x="398" y="177"/>
                      <a:pt x="398" y="178"/>
                      <a:pt x="397" y="178"/>
                    </a:cubicBezTo>
                    <a:cubicBezTo>
                      <a:pt x="398" y="178"/>
                      <a:pt x="398" y="178"/>
                      <a:pt x="398" y="178"/>
                    </a:cubicBezTo>
                    <a:cubicBezTo>
                      <a:pt x="398" y="179"/>
                      <a:pt x="397" y="179"/>
                      <a:pt x="396" y="179"/>
                    </a:cubicBezTo>
                    <a:cubicBezTo>
                      <a:pt x="396" y="179"/>
                      <a:pt x="395" y="179"/>
                      <a:pt x="396" y="179"/>
                    </a:cubicBezTo>
                    <a:cubicBezTo>
                      <a:pt x="395" y="180"/>
                      <a:pt x="395" y="180"/>
                      <a:pt x="394" y="180"/>
                    </a:cubicBezTo>
                    <a:cubicBezTo>
                      <a:pt x="395" y="180"/>
                      <a:pt x="396" y="180"/>
                      <a:pt x="395" y="181"/>
                    </a:cubicBezTo>
                    <a:cubicBezTo>
                      <a:pt x="395" y="181"/>
                      <a:pt x="395" y="181"/>
                      <a:pt x="395" y="181"/>
                    </a:cubicBezTo>
                    <a:cubicBezTo>
                      <a:pt x="395" y="182"/>
                      <a:pt x="395" y="181"/>
                      <a:pt x="395" y="182"/>
                    </a:cubicBezTo>
                    <a:cubicBezTo>
                      <a:pt x="395" y="182"/>
                      <a:pt x="395" y="182"/>
                      <a:pt x="395" y="182"/>
                    </a:cubicBezTo>
                    <a:cubicBezTo>
                      <a:pt x="395" y="182"/>
                      <a:pt x="395" y="181"/>
                      <a:pt x="395" y="181"/>
                    </a:cubicBezTo>
                    <a:cubicBezTo>
                      <a:pt x="395" y="180"/>
                      <a:pt x="393" y="180"/>
                      <a:pt x="392" y="180"/>
                    </a:cubicBezTo>
                    <a:cubicBezTo>
                      <a:pt x="392" y="180"/>
                      <a:pt x="394" y="181"/>
                      <a:pt x="394" y="181"/>
                    </a:cubicBezTo>
                    <a:cubicBezTo>
                      <a:pt x="394" y="182"/>
                      <a:pt x="393" y="181"/>
                      <a:pt x="392" y="181"/>
                    </a:cubicBezTo>
                    <a:cubicBezTo>
                      <a:pt x="392" y="181"/>
                      <a:pt x="392" y="181"/>
                      <a:pt x="392" y="182"/>
                    </a:cubicBezTo>
                    <a:cubicBezTo>
                      <a:pt x="391" y="182"/>
                      <a:pt x="391" y="181"/>
                      <a:pt x="391" y="182"/>
                    </a:cubicBezTo>
                    <a:cubicBezTo>
                      <a:pt x="390" y="182"/>
                      <a:pt x="391" y="182"/>
                      <a:pt x="392" y="182"/>
                    </a:cubicBezTo>
                    <a:cubicBezTo>
                      <a:pt x="391" y="183"/>
                      <a:pt x="389" y="183"/>
                      <a:pt x="389" y="183"/>
                    </a:cubicBezTo>
                    <a:cubicBezTo>
                      <a:pt x="389" y="183"/>
                      <a:pt x="389" y="183"/>
                      <a:pt x="389" y="183"/>
                    </a:cubicBezTo>
                    <a:cubicBezTo>
                      <a:pt x="389" y="182"/>
                      <a:pt x="388" y="183"/>
                      <a:pt x="388" y="183"/>
                    </a:cubicBezTo>
                    <a:cubicBezTo>
                      <a:pt x="388" y="183"/>
                      <a:pt x="387" y="183"/>
                      <a:pt x="387" y="183"/>
                    </a:cubicBezTo>
                    <a:cubicBezTo>
                      <a:pt x="388" y="183"/>
                      <a:pt x="388" y="183"/>
                      <a:pt x="388" y="184"/>
                    </a:cubicBezTo>
                    <a:cubicBezTo>
                      <a:pt x="388" y="184"/>
                      <a:pt x="387" y="184"/>
                      <a:pt x="387" y="184"/>
                    </a:cubicBezTo>
                    <a:cubicBezTo>
                      <a:pt x="388" y="184"/>
                      <a:pt x="387" y="185"/>
                      <a:pt x="386" y="184"/>
                    </a:cubicBezTo>
                    <a:cubicBezTo>
                      <a:pt x="386" y="184"/>
                      <a:pt x="385" y="184"/>
                      <a:pt x="385" y="184"/>
                    </a:cubicBezTo>
                    <a:cubicBezTo>
                      <a:pt x="385" y="184"/>
                      <a:pt x="386" y="184"/>
                      <a:pt x="386" y="184"/>
                    </a:cubicBezTo>
                    <a:cubicBezTo>
                      <a:pt x="385" y="185"/>
                      <a:pt x="385" y="184"/>
                      <a:pt x="385" y="185"/>
                    </a:cubicBezTo>
                    <a:cubicBezTo>
                      <a:pt x="385" y="185"/>
                      <a:pt x="386" y="185"/>
                      <a:pt x="386" y="185"/>
                    </a:cubicBezTo>
                    <a:cubicBezTo>
                      <a:pt x="386" y="185"/>
                      <a:pt x="385" y="185"/>
                      <a:pt x="386" y="185"/>
                    </a:cubicBezTo>
                    <a:cubicBezTo>
                      <a:pt x="386" y="185"/>
                      <a:pt x="387" y="185"/>
                      <a:pt x="387" y="186"/>
                    </a:cubicBezTo>
                    <a:cubicBezTo>
                      <a:pt x="387" y="186"/>
                      <a:pt x="385" y="185"/>
                      <a:pt x="385" y="186"/>
                    </a:cubicBezTo>
                    <a:cubicBezTo>
                      <a:pt x="385" y="186"/>
                      <a:pt x="386" y="186"/>
                      <a:pt x="386" y="186"/>
                    </a:cubicBezTo>
                    <a:cubicBezTo>
                      <a:pt x="385" y="186"/>
                      <a:pt x="384" y="186"/>
                      <a:pt x="383" y="187"/>
                    </a:cubicBezTo>
                    <a:cubicBezTo>
                      <a:pt x="383" y="187"/>
                      <a:pt x="382" y="187"/>
                      <a:pt x="381" y="187"/>
                    </a:cubicBezTo>
                    <a:cubicBezTo>
                      <a:pt x="380" y="188"/>
                      <a:pt x="381" y="187"/>
                      <a:pt x="381" y="187"/>
                    </a:cubicBezTo>
                    <a:cubicBezTo>
                      <a:pt x="380" y="188"/>
                      <a:pt x="380" y="188"/>
                      <a:pt x="380" y="188"/>
                    </a:cubicBezTo>
                    <a:cubicBezTo>
                      <a:pt x="379" y="188"/>
                      <a:pt x="379" y="188"/>
                      <a:pt x="379" y="188"/>
                    </a:cubicBezTo>
                    <a:cubicBezTo>
                      <a:pt x="379" y="189"/>
                      <a:pt x="379" y="189"/>
                      <a:pt x="378" y="189"/>
                    </a:cubicBezTo>
                    <a:cubicBezTo>
                      <a:pt x="379" y="189"/>
                      <a:pt x="379" y="189"/>
                      <a:pt x="379" y="190"/>
                    </a:cubicBezTo>
                    <a:cubicBezTo>
                      <a:pt x="378" y="190"/>
                      <a:pt x="377" y="190"/>
                      <a:pt x="377" y="190"/>
                    </a:cubicBezTo>
                    <a:cubicBezTo>
                      <a:pt x="377" y="190"/>
                      <a:pt x="377" y="191"/>
                      <a:pt x="377" y="191"/>
                    </a:cubicBezTo>
                    <a:cubicBezTo>
                      <a:pt x="376" y="191"/>
                      <a:pt x="376" y="191"/>
                      <a:pt x="375" y="192"/>
                    </a:cubicBezTo>
                    <a:cubicBezTo>
                      <a:pt x="376" y="192"/>
                      <a:pt x="376" y="192"/>
                      <a:pt x="376" y="192"/>
                    </a:cubicBezTo>
                    <a:cubicBezTo>
                      <a:pt x="376" y="192"/>
                      <a:pt x="375" y="192"/>
                      <a:pt x="375" y="192"/>
                    </a:cubicBezTo>
                    <a:cubicBezTo>
                      <a:pt x="375" y="192"/>
                      <a:pt x="376" y="192"/>
                      <a:pt x="376" y="192"/>
                    </a:cubicBezTo>
                    <a:cubicBezTo>
                      <a:pt x="376" y="192"/>
                      <a:pt x="371" y="195"/>
                      <a:pt x="371" y="195"/>
                    </a:cubicBezTo>
                    <a:cubicBezTo>
                      <a:pt x="370" y="196"/>
                      <a:pt x="369" y="196"/>
                      <a:pt x="368" y="197"/>
                    </a:cubicBezTo>
                    <a:cubicBezTo>
                      <a:pt x="367" y="198"/>
                      <a:pt x="366" y="197"/>
                      <a:pt x="366" y="198"/>
                    </a:cubicBezTo>
                    <a:cubicBezTo>
                      <a:pt x="366" y="198"/>
                      <a:pt x="366" y="198"/>
                      <a:pt x="366" y="198"/>
                    </a:cubicBezTo>
                    <a:cubicBezTo>
                      <a:pt x="366" y="198"/>
                      <a:pt x="365" y="198"/>
                      <a:pt x="365" y="198"/>
                    </a:cubicBezTo>
                    <a:cubicBezTo>
                      <a:pt x="365" y="199"/>
                      <a:pt x="366" y="199"/>
                      <a:pt x="365" y="200"/>
                    </a:cubicBezTo>
                    <a:cubicBezTo>
                      <a:pt x="365" y="200"/>
                      <a:pt x="364" y="200"/>
                      <a:pt x="364" y="201"/>
                    </a:cubicBezTo>
                    <a:cubicBezTo>
                      <a:pt x="363" y="201"/>
                      <a:pt x="363" y="202"/>
                      <a:pt x="362" y="202"/>
                    </a:cubicBezTo>
                    <a:cubicBezTo>
                      <a:pt x="362" y="203"/>
                      <a:pt x="361" y="203"/>
                      <a:pt x="361" y="203"/>
                    </a:cubicBezTo>
                    <a:cubicBezTo>
                      <a:pt x="361" y="203"/>
                      <a:pt x="361" y="204"/>
                      <a:pt x="360" y="204"/>
                    </a:cubicBezTo>
                    <a:cubicBezTo>
                      <a:pt x="360" y="204"/>
                      <a:pt x="360" y="205"/>
                      <a:pt x="360" y="205"/>
                    </a:cubicBezTo>
                    <a:cubicBezTo>
                      <a:pt x="359" y="206"/>
                      <a:pt x="359" y="206"/>
                      <a:pt x="358" y="207"/>
                    </a:cubicBezTo>
                    <a:cubicBezTo>
                      <a:pt x="358" y="207"/>
                      <a:pt x="358" y="207"/>
                      <a:pt x="358" y="207"/>
                    </a:cubicBezTo>
                    <a:cubicBezTo>
                      <a:pt x="358" y="208"/>
                      <a:pt x="358" y="208"/>
                      <a:pt x="358" y="208"/>
                    </a:cubicBezTo>
                    <a:cubicBezTo>
                      <a:pt x="357" y="209"/>
                      <a:pt x="357" y="209"/>
                      <a:pt x="356" y="210"/>
                    </a:cubicBezTo>
                    <a:cubicBezTo>
                      <a:pt x="357" y="210"/>
                      <a:pt x="357" y="210"/>
                      <a:pt x="357" y="210"/>
                    </a:cubicBezTo>
                    <a:cubicBezTo>
                      <a:pt x="357" y="210"/>
                      <a:pt x="356" y="210"/>
                      <a:pt x="356" y="211"/>
                    </a:cubicBezTo>
                    <a:cubicBezTo>
                      <a:pt x="355" y="211"/>
                      <a:pt x="355" y="211"/>
                      <a:pt x="355" y="212"/>
                    </a:cubicBezTo>
                    <a:cubicBezTo>
                      <a:pt x="354" y="212"/>
                      <a:pt x="354" y="212"/>
                      <a:pt x="354" y="212"/>
                    </a:cubicBezTo>
                    <a:cubicBezTo>
                      <a:pt x="353" y="213"/>
                      <a:pt x="353" y="212"/>
                      <a:pt x="352" y="213"/>
                    </a:cubicBezTo>
                    <a:cubicBezTo>
                      <a:pt x="353" y="213"/>
                      <a:pt x="354" y="212"/>
                      <a:pt x="354" y="213"/>
                    </a:cubicBezTo>
                    <a:cubicBezTo>
                      <a:pt x="355" y="213"/>
                      <a:pt x="353" y="215"/>
                      <a:pt x="353" y="215"/>
                    </a:cubicBezTo>
                    <a:cubicBezTo>
                      <a:pt x="353" y="215"/>
                      <a:pt x="354" y="214"/>
                      <a:pt x="354" y="215"/>
                    </a:cubicBezTo>
                    <a:cubicBezTo>
                      <a:pt x="354" y="215"/>
                      <a:pt x="354" y="216"/>
                      <a:pt x="354" y="216"/>
                    </a:cubicBezTo>
                    <a:cubicBezTo>
                      <a:pt x="354" y="217"/>
                      <a:pt x="356" y="215"/>
                      <a:pt x="356" y="215"/>
                    </a:cubicBezTo>
                    <a:cubicBezTo>
                      <a:pt x="356" y="216"/>
                      <a:pt x="356" y="216"/>
                      <a:pt x="356" y="217"/>
                    </a:cubicBezTo>
                    <a:cubicBezTo>
                      <a:pt x="355" y="217"/>
                      <a:pt x="354" y="217"/>
                      <a:pt x="354" y="218"/>
                    </a:cubicBezTo>
                    <a:cubicBezTo>
                      <a:pt x="353" y="219"/>
                      <a:pt x="352" y="220"/>
                      <a:pt x="351" y="221"/>
                    </a:cubicBezTo>
                    <a:cubicBezTo>
                      <a:pt x="352" y="220"/>
                      <a:pt x="353" y="220"/>
                      <a:pt x="354" y="218"/>
                    </a:cubicBezTo>
                    <a:cubicBezTo>
                      <a:pt x="355" y="217"/>
                      <a:pt x="356" y="217"/>
                      <a:pt x="357" y="216"/>
                    </a:cubicBezTo>
                    <a:cubicBezTo>
                      <a:pt x="357" y="215"/>
                      <a:pt x="359" y="216"/>
                      <a:pt x="359" y="216"/>
                    </a:cubicBezTo>
                    <a:cubicBezTo>
                      <a:pt x="360" y="216"/>
                      <a:pt x="362" y="215"/>
                      <a:pt x="362" y="216"/>
                    </a:cubicBezTo>
                    <a:cubicBezTo>
                      <a:pt x="361" y="217"/>
                      <a:pt x="364" y="216"/>
                      <a:pt x="364" y="216"/>
                    </a:cubicBezTo>
                    <a:cubicBezTo>
                      <a:pt x="365" y="216"/>
                      <a:pt x="363" y="218"/>
                      <a:pt x="363" y="218"/>
                    </a:cubicBezTo>
                    <a:cubicBezTo>
                      <a:pt x="362" y="220"/>
                      <a:pt x="363" y="221"/>
                      <a:pt x="362" y="223"/>
                    </a:cubicBezTo>
                    <a:cubicBezTo>
                      <a:pt x="362" y="223"/>
                      <a:pt x="361" y="225"/>
                      <a:pt x="361" y="225"/>
                    </a:cubicBezTo>
                    <a:cubicBezTo>
                      <a:pt x="362" y="225"/>
                      <a:pt x="360" y="230"/>
                      <a:pt x="360" y="231"/>
                    </a:cubicBezTo>
                    <a:cubicBezTo>
                      <a:pt x="359" y="232"/>
                      <a:pt x="358" y="232"/>
                      <a:pt x="357" y="233"/>
                    </a:cubicBezTo>
                    <a:cubicBezTo>
                      <a:pt x="356" y="233"/>
                      <a:pt x="355" y="234"/>
                      <a:pt x="355" y="234"/>
                    </a:cubicBezTo>
                    <a:cubicBezTo>
                      <a:pt x="354" y="234"/>
                      <a:pt x="354" y="234"/>
                      <a:pt x="353" y="235"/>
                    </a:cubicBezTo>
                    <a:cubicBezTo>
                      <a:pt x="355" y="235"/>
                      <a:pt x="357" y="232"/>
                      <a:pt x="359" y="233"/>
                    </a:cubicBezTo>
                    <a:cubicBezTo>
                      <a:pt x="359" y="234"/>
                      <a:pt x="357" y="234"/>
                      <a:pt x="357" y="234"/>
                    </a:cubicBezTo>
                    <a:cubicBezTo>
                      <a:pt x="358" y="234"/>
                      <a:pt x="358" y="234"/>
                      <a:pt x="359" y="233"/>
                    </a:cubicBezTo>
                    <a:cubicBezTo>
                      <a:pt x="360" y="233"/>
                      <a:pt x="362" y="233"/>
                      <a:pt x="363" y="233"/>
                    </a:cubicBezTo>
                    <a:cubicBezTo>
                      <a:pt x="365" y="232"/>
                      <a:pt x="368" y="231"/>
                      <a:pt x="370" y="231"/>
                    </a:cubicBezTo>
                    <a:cubicBezTo>
                      <a:pt x="371" y="231"/>
                      <a:pt x="373" y="231"/>
                      <a:pt x="374" y="232"/>
                    </a:cubicBezTo>
                    <a:cubicBezTo>
                      <a:pt x="375" y="232"/>
                      <a:pt x="377" y="233"/>
                      <a:pt x="377" y="234"/>
                    </a:cubicBezTo>
                    <a:cubicBezTo>
                      <a:pt x="377" y="234"/>
                      <a:pt x="379" y="234"/>
                      <a:pt x="379" y="234"/>
                    </a:cubicBezTo>
                    <a:cubicBezTo>
                      <a:pt x="380" y="234"/>
                      <a:pt x="381" y="235"/>
                      <a:pt x="382" y="235"/>
                    </a:cubicBezTo>
                    <a:cubicBezTo>
                      <a:pt x="383" y="235"/>
                      <a:pt x="383" y="235"/>
                      <a:pt x="384" y="235"/>
                    </a:cubicBezTo>
                    <a:cubicBezTo>
                      <a:pt x="384" y="235"/>
                      <a:pt x="384" y="235"/>
                      <a:pt x="385" y="235"/>
                    </a:cubicBezTo>
                    <a:cubicBezTo>
                      <a:pt x="385" y="235"/>
                      <a:pt x="384" y="236"/>
                      <a:pt x="385" y="236"/>
                    </a:cubicBezTo>
                    <a:cubicBezTo>
                      <a:pt x="385" y="236"/>
                      <a:pt x="385" y="236"/>
                      <a:pt x="385" y="236"/>
                    </a:cubicBezTo>
                    <a:cubicBezTo>
                      <a:pt x="385" y="237"/>
                      <a:pt x="385" y="237"/>
                      <a:pt x="386" y="237"/>
                    </a:cubicBezTo>
                    <a:cubicBezTo>
                      <a:pt x="386" y="237"/>
                      <a:pt x="386" y="238"/>
                      <a:pt x="387" y="238"/>
                    </a:cubicBezTo>
                    <a:cubicBezTo>
                      <a:pt x="387" y="239"/>
                      <a:pt x="389" y="239"/>
                      <a:pt x="389" y="240"/>
                    </a:cubicBezTo>
                    <a:cubicBezTo>
                      <a:pt x="389" y="240"/>
                      <a:pt x="389" y="240"/>
                      <a:pt x="389" y="241"/>
                    </a:cubicBezTo>
                    <a:cubicBezTo>
                      <a:pt x="389" y="241"/>
                      <a:pt x="389" y="242"/>
                      <a:pt x="389" y="242"/>
                    </a:cubicBezTo>
                    <a:cubicBezTo>
                      <a:pt x="389" y="243"/>
                      <a:pt x="390" y="243"/>
                      <a:pt x="390" y="243"/>
                    </a:cubicBezTo>
                    <a:cubicBezTo>
                      <a:pt x="389" y="244"/>
                      <a:pt x="389" y="244"/>
                      <a:pt x="389" y="244"/>
                    </a:cubicBezTo>
                    <a:cubicBezTo>
                      <a:pt x="389" y="244"/>
                      <a:pt x="390" y="243"/>
                      <a:pt x="390" y="244"/>
                    </a:cubicBezTo>
                    <a:cubicBezTo>
                      <a:pt x="390" y="244"/>
                      <a:pt x="391" y="244"/>
                      <a:pt x="391" y="244"/>
                    </a:cubicBezTo>
                    <a:cubicBezTo>
                      <a:pt x="392" y="244"/>
                      <a:pt x="394" y="245"/>
                      <a:pt x="395" y="246"/>
                    </a:cubicBezTo>
                    <a:cubicBezTo>
                      <a:pt x="396" y="246"/>
                      <a:pt x="397" y="246"/>
                      <a:pt x="397" y="246"/>
                    </a:cubicBezTo>
                    <a:cubicBezTo>
                      <a:pt x="398" y="247"/>
                      <a:pt x="398" y="247"/>
                      <a:pt x="398" y="247"/>
                    </a:cubicBezTo>
                    <a:cubicBezTo>
                      <a:pt x="399" y="247"/>
                      <a:pt x="400" y="247"/>
                      <a:pt x="401" y="248"/>
                    </a:cubicBezTo>
                    <a:cubicBezTo>
                      <a:pt x="401" y="248"/>
                      <a:pt x="402" y="248"/>
                      <a:pt x="402" y="248"/>
                    </a:cubicBezTo>
                    <a:cubicBezTo>
                      <a:pt x="402" y="248"/>
                      <a:pt x="402" y="249"/>
                      <a:pt x="402" y="249"/>
                    </a:cubicBezTo>
                    <a:cubicBezTo>
                      <a:pt x="403" y="250"/>
                      <a:pt x="404" y="250"/>
                      <a:pt x="404" y="251"/>
                    </a:cubicBezTo>
                    <a:cubicBezTo>
                      <a:pt x="405" y="251"/>
                      <a:pt x="403" y="252"/>
                      <a:pt x="402" y="252"/>
                    </a:cubicBezTo>
                    <a:cubicBezTo>
                      <a:pt x="402" y="253"/>
                      <a:pt x="401" y="253"/>
                      <a:pt x="400" y="254"/>
                    </a:cubicBezTo>
                    <a:cubicBezTo>
                      <a:pt x="401" y="254"/>
                      <a:pt x="401" y="254"/>
                      <a:pt x="402" y="253"/>
                    </a:cubicBezTo>
                    <a:cubicBezTo>
                      <a:pt x="402" y="253"/>
                      <a:pt x="403" y="252"/>
                      <a:pt x="404" y="252"/>
                    </a:cubicBezTo>
                    <a:cubicBezTo>
                      <a:pt x="405" y="251"/>
                      <a:pt x="407" y="252"/>
                      <a:pt x="408" y="252"/>
                    </a:cubicBezTo>
                    <a:cubicBezTo>
                      <a:pt x="409" y="252"/>
                      <a:pt x="410" y="251"/>
                      <a:pt x="411" y="251"/>
                    </a:cubicBezTo>
                    <a:cubicBezTo>
                      <a:pt x="412" y="251"/>
                      <a:pt x="412" y="252"/>
                      <a:pt x="412" y="251"/>
                    </a:cubicBezTo>
                    <a:cubicBezTo>
                      <a:pt x="413" y="251"/>
                      <a:pt x="413" y="251"/>
                      <a:pt x="414" y="251"/>
                    </a:cubicBezTo>
                    <a:cubicBezTo>
                      <a:pt x="414" y="251"/>
                      <a:pt x="416" y="252"/>
                      <a:pt x="415" y="252"/>
                    </a:cubicBezTo>
                    <a:cubicBezTo>
                      <a:pt x="415" y="252"/>
                      <a:pt x="416" y="252"/>
                      <a:pt x="416" y="252"/>
                    </a:cubicBezTo>
                    <a:cubicBezTo>
                      <a:pt x="416" y="252"/>
                      <a:pt x="416" y="253"/>
                      <a:pt x="416" y="253"/>
                    </a:cubicBezTo>
                    <a:cubicBezTo>
                      <a:pt x="416" y="253"/>
                      <a:pt x="416" y="252"/>
                      <a:pt x="416" y="252"/>
                    </a:cubicBezTo>
                    <a:cubicBezTo>
                      <a:pt x="416" y="252"/>
                      <a:pt x="416" y="252"/>
                      <a:pt x="416" y="252"/>
                    </a:cubicBezTo>
                    <a:cubicBezTo>
                      <a:pt x="415" y="251"/>
                      <a:pt x="416" y="251"/>
                      <a:pt x="416" y="251"/>
                    </a:cubicBezTo>
                    <a:cubicBezTo>
                      <a:pt x="417" y="252"/>
                      <a:pt x="417" y="252"/>
                      <a:pt x="417" y="252"/>
                    </a:cubicBezTo>
                    <a:cubicBezTo>
                      <a:pt x="418" y="252"/>
                      <a:pt x="419" y="252"/>
                      <a:pt x="420" y="252"/>
                    </a:cubicBezTo>
                    <a:cubicBezTo>
                      <a:pt x="420" y="252"/>
                      <a:pt x="420" y="252"/>
                      <a:pt x="421" y="252"/>
                    </a:cubicBezTo>
                    <a:cubicBezTo>
                      <a:pt x="421" y="252"/>
                      <a:pt x="422" y="252"/>
                      <a:pt x="422" y="252"/>
                    </a:cubicBezTo>
                    <a:cubicBezTo>
                      <a:pt x="421" y="253"/>
                      <a:pt x="421" y="253"/>
                      <a:pt x="421" y="253"/>
                    </a:cubicBezTo>
                    <a:cubicBezTo>
                      <a:pt x="421" y="253"/>
                      <a:pt x="421" y="253"/>
                      <a:pt x="422" y="253"/>
                    </a:cubicBezTo>
                    <a:cubicBezTo>
                      <a:pt x="422" y="253"/>
                      <a:pt x="422" y="253"/>
                      <a:pt x="423" y="253"/>
                    </a:cubicBezTo>
                    <a:cubicBezTo>
                      <a:pt x="423" y="253"/>
                      <a:pt x="424" y="253"/>
                      <a:pt x="425" y="253"/>
                    </a:cubicBezTo>
                    <a:cubicBezTo>
                      <a:pt x="425" y="253"/>
                      <a:pt x="425" y="254"/>
                      <a:pt x="425" y="254"/>
                    </a:cubicBezTo>
                    <a:cubicBezTo>
                      <a:pt x="426" y="253"/>
                      <a:pt x="426" y="253"/>
                      <a:pt x="426" y="253"/>
                    </a:cubicBezTo>
                    <a:cubicBezTo>
                      <a:pt x="427" y="253"/>
                      <a:pt x="425" y="254"/>
                      <a:pt x="425" y="255"/>
                    </a:cubicBezTo>
                    <a:cubicBezTo>
                      <a:pt x="425" y="255"/>
                      <a:pt x="425" y="256"/>
                      <a:pt x="425" y="256"/>
                    </a:cubicBezTo>
                    <a:cubicBezTo>
                      <a:pt x="424" y="257"/>
                      <a:pt x="424" y="258"/>
                      <a:pt x="423" y="258"/>
                    </a:cubicBezTo>
                    <a:cubicBezTo>
                      <a:pt x="422" y="259"/>
                      <a:pt x="421" y="260"/>
                      <a:pt x="420" y="261"/>
                    </a:cubicBezTo>
                    <a:cubicBezTo>
                      <a:pt x="420" y="261"/>
                      <a:pt x="420" y="262"/>
                      <a:pt x="419" y="262"/>
                    </a:cubicBezTo>
                    <a:cubicBezTo>
                      <a:pt x="419" y="263"/>
                      <a:pt x="420" y="263"/>
                      <a:pt x="419" y="263"/>
                    </a:cubicBezTo>
                    <a:cubicBezTo>
                      <a:pt x="420" y="263"/>
                      <a:pt x="420" y="264"/>
                      <a:pt x="420" y="265"/>
                    </a:cubicBezTo>
                    <a:cubicBezTo>
                      <a:pt x="420" y="266"/>
                      <a:pt x="419" y="267"/>
                      <a:pt x="419" y="267"/>
                    </a:cubicBezTo>
                    <a:cubicBezTo>
                      <a:pt x="418" y="268"/>
                      <a:pt x="417" y="269"/>
                      <a:pt x="417" y="270"/>
                    </a:cubicBezTo>
                    <a:cubicBezTo>
                      <a:pt x="417" y="272"/>
                      <a:pt x="416" y="272"/>
                      <a:pt x="415" y="273"/>
                    </a:cubicBezTo>
                    <a:cubicBezTo>
                      <a:pt x="414" y="273"/>
                      <a:pt x="414" y="274"/>
                      <a:pt x="413" y="275"/>
                    </a:cubicBezTo>
                    <a:cubicBezTo>
                      <a:pt x="413" y="276"/>
                      <a:pt x="414" y="276"/>
                      <a:pt x="414" y="276"/>
                    </a:cubicBezTo>
                    <a:cubicBezTo>
                      <a:pt x="414" y="277"/>
                      <a:pt x="414" y="277"/>
                      <a:pt x="414" y="278"/>
                    </a:cubicBezTo>
                    <a:cubicBezTo>
                      <a:pt x="414" y="279"/>
                      <a:pt x="415" y="280"/>
                      <a:pt x="415" y="280"/>
                    </a:cubicBezTo>
                    <a:cubicBezTo>
                      <a:pt x="416" y="281"/>
                      <a:pt x="415" y="282"/>
                      <a:pt x="416" y="282"/>
                    </a:cubicBezTo>
                    <a:cubicBezTo>
                      <a:pt x="416" y="282"/>
                      <a:pt x="414" y="283"/>
                      <a:pt x="414" y="283"/>
                    </a:cubicBezTo>
                    <a:cubicBezTo>
                      <a:pt x="414" y="283"/>
                      <a:pt x="413" y="283"/>
                      <a:pt x="412" y="283"/>
                    </a:cubicBezTo>
                    <a:cubicBezTo>
                      <a:pt x="413" y="283"/>
                      <a:pt x="412" y="284"/>
                      <a:pt x="412" y="284"/>
                    </a:cubicBezTo>
                    <a:cubicBezTo>
                      <a:pt x="413" y="284"/>
                      <a:pt x="414" y="283"/>
                      <a:pt x="415" y="283"/>
                    </a:cubicBezTo>
                    <a:cubicBezTo>
                      <a:pt x="415" y="283"/>
                      <a:pt x="415" y="284"/>
                      <a:pt x="415" y="284"/>
                    </a:cubicBezTo>
                    <a:cubicBezTo>
                      <a:pt x="415" y="285"/>
                      <a:pt x="416" y="285"/>
                      <a:pt x="416" y="285"/>
                    </a:cubicBezTo>
                    <a:cubicBezTo>
                      <a:pt x="417" y="285"/>
                      <a:pt x="418" y="285"/>
                      <a:pt x="418" y="286"/>
                    </a:cubicBezTo>
                    <a:cubicBezTo>
                      <a:pt x="418" y="287"/>
                      <a:pt x="419" y="287"/>
                      <a:pt x="419" y="288"/>
                    </a:cubicBezTo>
                    <a:cubicBezTo>
                      <a:pt x="420" y="289"/>
                      <a:pt x="419" y="289"/>
                      <a:pt x="419" y="290"/>
                    </a:cubicBezTo>
                    <a:cubicBezTo>
                      <a:pt x="419" y="290"/>
                      <a:pt x="420" y="291"/>
                      <a:pt x="420" y="291"/>
                    </a:cubicBezTo>
                    <a:cubicBezTo>
                      <a:pt x="419" y="292"/>
                      <a:pt x="419" y="293"/>
                      <a:pt x="418" y="293"/>
                    </a:cubicBezTo>
                    <a:cubicBezTo>
                      <a:pt x="417" y="293"/>
                      <a:pt x="416" y="294"/>
                      <a:pt x="415" y="294"/>
                    </a:cubicBezTo>
                    <a:cubicBezTo>
                      <a:pt x="414" y="295"/>
                      <a:pt x="414" y="295"/>
                      <a:pt x="414" y="295"/>
                    </a:cubicBezTo>
                    <a:cubicBezTo>
                      <a:pt x="413" y="296"/>
                      <a:pt x="413" y="296"/>
                      <a:pt x="412" y="296"/>
                    </a:cubicBezTo>
                    <a:cubicBezTo>
                      <a:pt x="413" y="296"/>
                      <a:pt x="413" y="296"/>
                      <a:pt x="413" y="296"/>
                    </a:cubicBezTo>
                    <a:cubicBezTo>
                      <a:pt x="413" y="296"/>
                      <a:pt x="413" y="296"/>
                      <a:pt x="413" y="296"/>
                    </a:cubicBezTo>
                    <a:cubicBezTo>
                      <a:pt x="413" y="296"/>
                      <a:pt x="414" y="295"/>
                      <a:pt x="414" y="295"/>
                    </a:cubicBezTo>
                    <a:cubicBezTo>
                      <a:pt x="415" y="295"/>
                      <a:pt x="416" y="295"/>
                      <a:pt x="417" y="294"/>
                    </a:cubicBezTo>
                    <a:cubicBezTo>
                      <a:pt x="418" y="293"/>
                      <a:pt x="419" y="292"/>
                      <a:pt x="420" y="293"/>
                    </a:cubicBezTo>
                    <a:cubicBezTo>
                      <a:pt x="421" y="293"/>
                      <a:pt x="422" y="293"/>
                      <a:pt x="422" y="294"/>
                    </a:cubicBezTo>
                    <a:cubicBezTo>
                      <a:pt x="423" y="295"/>
                      <a:pt x="423" y="295"/>
                      <a:pt x="424" y="296"/>
                    </a:cubicBezTo>
                    <a:cubicBezTo>
                      <a:pt x="424" y="297"/>
                      <a:pt x="425" y="298"/>
                      <a:pt x="425" y="299"/>
                    </a:cubicBezTo>
                    <a:cubicBezTo>
                      <a:pt x="425" y="299"/>
                      <a:pt x="425" y="297"/>
                      <a:pt x="425" y="297"/>
                    </a:cubicBezTo>
                    <a:cubicBezTo>
                      <a:pt x="424" y="296"/>
                      <a:pt x="423" y="295"/>
                      <a:pt x="424" y="294"/>
                    </a:cubicBezTo>
                    <a:cubicBezTo>
                      <a:pt x="424" y="294"/>
                      <a:pt x="425" y="294"/>
                      <a:pt x="425" y="293"/>
                    </a:cubicBezTo>
                    <a:cubicBezTo>
                      <a:pt x="425" y="293"/>
                      <a:pt x="425" y="292"/>
                      <a:pt x="426" y="292"/>
                    </a:cubicBezTo>
                    <a:cubicBezTo>
                      <a:pt x="426" y="292"/>
                      <a:pt x="426" y="291"/>
                      <a:pt x="427" y="291"/>
                    </a:cubicBezTo>
                    <a:cubicBezTo>
                      <a:pt x="427" y="291"/>
                      <a:pt x="427" y="291"/>
                      <a:pt x="427" y="291"/>
                    </a:cubicBezTo>
                    <a:cubicBezTo>
                      <a:pt x="428" y="290"/>
                      <a:pt x="429" y="289"/>
                      <a:pt x="430" y="289"/>
                    </a:cubicBezTo>
                    <a:cubicBezTo>
                      <a:pt x="431" y="290"/>
                      <a:pt x="429" y="291"/>
                      <a:pt x="430" y="291"/>
                    </a:cubicBezTo>
                    <a:cubicBezTo>
                      <a:pt x="433" y="291"/>
                      <a:pt x="430" y="294"/>
                      <a:pt x="431" y="295"/>
                    </a:cubicBezTo>
                    <a:cubicBezTo>
                      <a:pt x="431" y="294"/>
                      <a:pt x="431" y="294"/>
                      <a:pt x="431" y="293"/>
                    </a:cubicBezTo>
                    <a:cubicBezTo>
                      <a:pt x="432" y="293"/>
                      <a:pt x="432" y="293"/>
                      <a:pt x="432" y="293"/>
                    </a:cubicBezTo>
                    <a:cubicBezTo>
                      <a:pt x="432" y="292"/>
                      <a:pt x="432" y="292"/>
                      <a:pt x="432" y="292"/>
                    </a:cubicBezTo>
                    <a:cubicBezTo>
                      <a:pt x="432" y="292"/>
                      <a:pt x="433" y="292"/>
                      <a:pt x="433" y="292"/>
                    </a:cubicBezTo>
                    <a:cubicBezTo>
                      <a:pt x="433" y="291"/>
                      <a:pt x="434" y="291"/>
                      <a:pt x="434" y="291"/>
                    </a:cubicBezTo>
                    <a:cubicBezTo>
                      <a:pt x="434" y="291"/>
                      <a:pt x="433" y="291"/>
                      <a:pt x="433" y="291"/>
                    </a:cubicBezTo>
                    <a:cubicBezTo>
                      <a:pt x="433" y="290"/>
                      <a:pt x="434" y="290"/>
                      <a:pt x="434" y="290"/>
                    </a:cubicBezTo>
                    <a:cubicBezTo>
                      <a:pt x="434" y="290"/>
                      <a:pt x="433" y="289"/>
                      <a:pt x="433" y="289"/>
                    </a:cubicBezTo>
                    <a:cubicBezTo>
                      <a:pt x="433" y="289"/>
                      <a:pt x="433" y="288"/>
                      <a:pt x="433" y="288"/>
                    </a:cubicBezTo>
                    <a:cubicBezTo>
                      <a:pt x="434" y="288"/>
                      <a:pt x="434" y="288"/>
                      <a:pt x="435" y="288"/>
                    </a:cubicBezTo>
                    <a:cubicBezTo>
                      <a:pt x="435" y="287"/>
                      <a:pt x="435" y="286"/>
                      <a:pt x="435" y="286"/>
                    </a:cubicBezTo>
                    <a:cubicBezTo>
                      <a:pt x="436" y="286"/>
                      <a:pt x="437" y="286"/>
                      <a:pt x="437" y="285"/>
                    </a:cubicBezTo>
                    <a:cubicBezTo>
                      <a:pt x="437" y="285"/>
                      <a:pt x="438" y="285"/>
                      <a:pt x="439" y="284"/>
                    </a:cubicBezTo>
                    <a:cubicBezTo>
                      <a:pt x="440" y="284"/>
                      <a:pt x="439" y="283"/>
                      <a:pt x="441" y="283"/>
                    </a:cubicBezTo>
                    <a:cubicBezTo>
                      <a:pt x="441" y="283"/>
                      <a:pt x="440" y="283"/>
                      <a:pt x="440" y="283"/>
                    </a:cubicBezTo>
                    <a:cubicBezTo>
                      <a:pt x="440" y="282"/>
                      <a:pt x="440" y="282"/>
                      <a:pt x="441" y="282"/>
                    </a:cubicBezTo>
                    <a:cubicBezTo>
                      <a:pt x="441" y="282"/>
                      <a:pt x="441" y="282"/>
                      <a:pt x="441" y="282"/>
                    </a:cubicBezTo>
                    <a:cubicBezTo>
                      <a:pt x="441" y="282"/>
                      <a:pt x="441" y="281"/>
                      <a:pt x="441" y="281"/>
                    </a:cubicBezTo>
                    <a:cubicBezTo>
                      <a:pt x="442" y="280"/>
                      <a:pt x="440" y="280"/>
                      <a:pt x="440" y="280"/>
                    </a:cubicBezTo>
                    <a:cubicBezTo>
                      <a:pt x="440" y="280"/>
                      <a:pt x="441" y="279"/>
                      <a:pt x="440" y="279"/>
                    </a:cubicBezTo>
                    <a:cubicBezTo>
                      <a:pt x="440" y="279"/>
                      <a:pt x="440" y="279"/>
                      <a:pt x="440" y="278"/>
                    </a:cubicBezTo>
                    <a:cubicBezTo>
                      <a:pt x="440" y="278"/>
                      <a:pt x="440" y="278"/>
                      <a:pt x="440" y="278"/>
                    </a:cubicBezTo>
                    <a:cubicBezTo>
                      <a:pt x="441" y="278"/>
                      <a:pt x="440" y="278"/>
                      <a:pt x="440" y="278"/>
                    </a:cubicBezTo>
                    <a:cubicBezTo>
                      <a:pt x="441" y="277"/>
                      <a:pt x="441" y="278"/>
                      <a:pt x="441" y="277"/>
                    </a:cubicBezTo>
                    <a:cubicBezTo>
                      <a:pt x="440" y="277"/>
                      <a:pt x="442" y="277"/>
                      <a:pt x="442" y="276"/>
                    </a:cubicBezTo>
                    <a:cubicBezTo>
                      <a:pt x="442" y="276"/>
                      <a:pt x="441" y="277"/>
                      <a:pt x="441" y="276"/>
                    </a:cubicBezTo>
                    <a:cubicBezTo>
                      <a:pt x="440" y="276"/>
                      <a:pt x="442" y="276"/>
                      <a:pt x="442" y="275"/>
                    </a:cubicBezTo>
                    <a:cubicBezTo>
                      <a:pt x="441" y="275"/>
                      <a:pt x="442" y="275"/>
                      <a:pt x="441" y="275"/>
                    </a:cubicBezTo>
                    <a:cubicBezTo>
                      <a:pt x="441" y="275"/>
                      <a:pt x="441" y="275"/>
                      <a:pt x="441" y="275"/>
                    </a:cubicBezTo>
                    <a:cubicBezTo>
                      <a:pt x="441" y="275"/>
                      <a:pt x="441" y="275"/>
                      <a:pt x="441" y="274"/>
                    </a:cubicBezTo>
                    <a:cubicBezTo>
                      <a:pt x="440" y="275"/>
                      <a:pt x="442" y="274"/>
                      <a:pt x="442" y="273"/>
                    </a:cubicBezTo>
                    <a:cubicBezTo>
                      <a:pt x="442" y="273"/>
                      <a:pt x="442" y="273"/>
                      <a:pt x="443" y="272"/>
                    </a:cubicBezTo>
                    <a:cubicBezTo>
                      <a:pt x="442" y="272"/>
                      <a:pt x="442" y="272"/>
                      <a:pt x="442" y="272"/>
                    </a:cubicBezTo>
                    <a:cubicBezTo>
                      <a:pt x="442" y="272"/>
                      <a:pt x="443" y="270"/>
                      <a:pt x="442" y="271"/>
                    </a:cubicBezTo>
                    <a:cubicBezTo>
                      <a:pt x="442" y="270"/>
                      <a:pt x="442" y="270"/>
                      <a:pt x="443" y="270"/>
                    </a:cubicBezTo>
                    <a:cubicBezTo>
                      <a:pt x="442" y="270"/>
                      <a:pt x="443" y="270"/>
                      <a:pt x="443" y="270"/>
                    </a:cubicBezTo>
                    <a:cubicBezTo>
                      <a:pt x="443" y="269"/>
                      <a:pt x="444" y="269"/>
                      <a:pt x="444" y="269"/>
                    </a:cubicBezTo>
                    <a:cubicBezTo>
                      <a:pt x="445" y="269"/>
                      <a:pt x="444" y="269"/>
                      <a:pt x="443" y="269"/>
                    </a:cubicBezTo>
                    <a:cubicBezTo>
                      <a:pt x="443" y="269"/>
                      <a:pt x="444" y="269"/>
                      <a:pt x="444" y="268"/>
                    </a:cubicBezTo>
                    <a:cubicBezTo>
                      <a:pt x="444" y="268"/>
                      <a:pt x="444" y="268"/>
                      <a:pt x="444" y="268"/>
                    </a:cubicBezTo>
                    <a:cubicBezTo>
                      <a:pt x="444" y="268"/>
                      <a:pt x="443" y="268"/>
                      <a:pt x="443" y="268"/>
                    </a:cubicBezTo>
                    <a:cubicBezTo>
                      <a:pt x="443" y="268"/>
                      <a:pt x="444" y="268"/>
                      <a:pt x="444" y="268"/>
                    </a:cubicBezTo>
                    <a:cubicBezTo>
                      <a:pt x="444" y="267"/>
                      <a:pt x="444" y="267"/>
                      <a:pt x="445" y="267"/>
                    </a:cubicBezTo>
                    <a:cubicBezTo>
                      <a:pt x="445" y="266"/>
                      <a:pt x="446" y="267"/>
                      <a:pt x="446" y="267"/>
                    </a:cubicBezTo>
                    <a:cubicBezTo>
                      <a:pt x="446" y="266"/>
                      <a:pt x="445" y="266"/>
                      <a:pt x="445" y="266"/>
                    </a:cubicBezTo>
                    <a:cubicBezTo>
                      <a:pt x="445" y="266"/>
                      <a:pt x="445" y="266"/>
                      <a:pt x="445" y="266"/>
                    </a:cubicBezTo>
                    <a:cubicBezTo>
                      <a:pt x="445" y="266"/>
                      <a:pt x="446" y="266"/>
                      <a:pt x="446" y="266"/>
                    </a:cubicBezTo>
                    <a:cubicBezTo>
                      <a:pt x="446" y="265"/>
                      <a:pt x="445" y="265"/>
                      <a:pt x="445" y="265"/>
                    </a:cubicBezTo>
                    <a:cubicBezTo>
                      <a:pt x="445" y="265"/>
                      <a:pt x="445" y="265"/>
                      <a:pt x="446" y="265"/>
                    </a:cubicBezTo>
                    <a:cubicBezTo>
                      <a:pt x="445" y="265"/>
                      <a:pt x="445" y="265"/>
                      <a:pt x="445" y="265"/>
                    </a:cubicBezTo>
                    <a:cubicBezTo>
                      <a:pt x="446" y="265"/>
                      <a:pt x="445" y="265"/>
                      <a:pt x="446" y="265"/>
                    </a:cubicBezTo>
                    <a:cubicBezTo>
                      <a:pt x="446" y="265"/>
                      <a:pt x="446" y="265"/>
                      <a:pt x="446" y="265"/>
                    </a:cubicBezTo>
                    <a:cubicBezTo>
                      <a:pt x="446" y="265"/>
                      <a:pt x="446" y="264"/>
                      <a:pt x="446" y="264"/>
                    </a:cubicBezTo>
                    <a:cubicBezTo>
                      <a:pt x="445" y="264"/>
                      <a:pt x="446" y="264"/>
                      <a:pt x="445" y="264"/>
                    </a:cubicBezTo>
                    <a:cubicBezTo>
                      <a:pt x="445" y="264"/>
                      <a:pt x="445" y="264"/>
                      <a:pt x="444" y="264"/>
                    </a:cubicBezTo>
                    <a:cubicBezTo>
                      <a:pt x="445" y="264"/>
                      <a:pt x="445" y="264"/>
                      <a:pt x="446" y="263"/>
                    </a:cubicBezTo>
                    <a:cubicBezTo>
                      <a:pt x="446" y="263"/>
                      <a:pt x="446" y="263"/>
                      <a:pt x="446" y="263"/>
                    </a:cubicBezTo>
                    <a:cubicBezTo>
                      <a:pt x="446" y="263"/>
                      <a:pt x="446" y="263"/>
                      <a:pt x="447" y="263"/>
                    </a:cubicBezTo>
                    <a:cubicBezTo>
                      <a:pt x="446" y="263"/>
                      <a:pt x="446" y="263"/>
                      <a:pt x="445" y="263"/>
                    </a:cubicBezTo>
                    <a:cubicBezTo>
                      <a:pt x="445" y="263"/>
                      <a:pt x="445" y="263"/>
                      <a:pt x="444" y="263"/>
                    </a:cubicBezTo>
                    <a:cubicBezTo>
                      <a:pt x="444" y="262"/>
                      <a:pt x="445" y="262"/>
                      <a:pt x="445" y="262"/>
                    </a:cubicBezTo>
                    <a:cubicBezTo>
                      <a:pt x="445" y="262"/>
                      <a:pt x="444" y="262"/>
                      <a:pt x="444" y="262"/>
                    </a:cubicBezTo>
                    <a:cubicBezTo>
                      <a:pt x="444" y="262"/>
                      <a:pt x="445" y="261"/>
                      <a:pt x="444" y="261"/>
                    </a:cubicBezTo>
                    <a:cubicBezTo>
                      <a:pt x="444" y="261"/>
                      <a:pt x="445" y="260"/>
                      <a:pt x="445" y="260"/>
                    </a:cubicBezTo>
                    <a:cubicBezTo>
                      <a:pt x="444" y="260"/>
                      <a:pt x="445" y="259"/>
                      <a:pt x="445" y="259"/>
                    </a:cubicBezTo>
                    <a:cubicBezTo>
                      <a:pt x="445" y="259"/>
                      <a:pt x="445" y="259"/>
                      <a:pt x="445" y="259"/>
                    </a:cubicBezTo>
                    <a:cubicBezTo>
                      <a:pt x="445" y="258"/>
                      <a:pt x="445" y="259"/>
                      <a:pt x="444" y="259"/>
                    </a:cubicBezTo>
                    <a:cubicBezTo>
                      <a:pt x="444" y="259"/>
                      <a:pt x="445" y="258"/>
                      <a:pt x="445" y="258"/>
                    </a:cubicBezTo>
                    <a:cubicBezTo>
                      <a:pt x="445" y="258"/>
                      <a:pt x="444" y="258"/>
                      <a:pt x="444" y="258"/>
                    </a:cubicBezTo>
                    <a:cubicBezTo>
                      <a:pt x="445" y="258"/>
                      <a:pt x="445" y="258"/>
                      <a:pt x="445" y="258"/>
                    </a:cubicBezTo>
                    <a:cubicBezTo>
                      <a:pt x="444" y="258"/>
                      <a:pt x="444" y="258"/>
                      <a:pt x="444" y="258"/>
                    </a:cubicBezTo>
                    <a:cubicBezTo>
                      <a:pt x="445" y="257"/>
                      <a:pt x="446" y="257"/>
                      <a:pt x="447" y="257"/>
                    </a:cubicBezTo>
                    <a:cubicBezTo>
                      <a:pt x="449" y="257"/>
                      <a:pt x="450" y="256"/>
                      <a:pt x="451" y="256"/>
                    </a:cubicBezTo>
                    <a:cubicBezTo>
                      <a:pt x="452" y="256"/>
                      <a:pt x="454" y="255"/>
                      <a:pt x="455" y="255"/>
                    </a:cubicBezTo>
                    <a:cubicBezTo>
                      <a:pt x="456" y="254"/>
                      <a:pt x="457" y="254"/>
                      <a:pt x="459" y="253"/>
                    </a:cubicBezTo>
                    <a:cubicBezTo>
                      <a:pt x="459" y="253"/>
                      <a:pt x="459" y="253"/>
                      <a:pt x="460" y="253"/>
                    </a:cubicBezTo>
                    <a:cubicBezTo>
                      <a:pt x="461" y="253"/>
                      <a:pt x="461" y="252"/>
                      <a:pt x="462" y="252"/>
                    </a:cubicBezTo>
                    <a:cubicBezTo>
                      <a:pt x="463" y="251"/>
                      <a:pt x="465" y="251"/>
                      <a:pt x="466" y="250"/>
                    </a:cubicBezTo>
                    <a:cubicBezTo>
                      <a:pt x="467" y="250"/>
                      <a:pt x="468" y="249"/>
                      <a:pt x="469" y="248"/>
                    </a:cubicBezTo>
                    <a:cubicBezTo>
                      <a:pt x="470" y="248"/>
                      <a:pt x="471" y="248"/>
                      <a:pt x="472" y="247"/>
                    </a:cubicBezTo>
                    <a:cubicBezTo>
                      <a:pt x="471" y="247"/>
                      <a:pt x="471" y="247"/>
                      <a:pt x="471" y="247"/>
                    </a:cubicBezTo>
                    <a:cubicBezTo>
                      <a:pt x="472" y="246"/>
                      <a:pt x="473" y="246"/>
                      <a:pt x="475" y="245"/>
                    </a:cubicBezTo>
                    <a:cubicBezTo>
                      <a:pt x="476" y="244"/>
                      <a:pt x="477" y="244"/>
                      <a:pt x="478" y="243"/>
                    </a:cubicBezTo>
                    <a:cubicBezTo>
                      <a:pt x="479" y="242"/>
                      <a:pt x="480" y="241"/>
                      <a:pt x="481" y="239"/>
                    </a:cubicBezTo>
                    <a:cubicBezTo>
                      <a:pt x="481" y="238"/>
                      <a:pt x="482" y="237"/>
                      <a:pt x="483" y="236"/>
                    </a:cubicBezTo>
                    <a:cubicBezTo>
                      <a:pt x="483" y="235"/>
                      <a:pt x="484" y="234"/>
                      <a:pt x="484" y="233"/>
                    </a:cubicBezTo>
                    <a:cubicBezTo>
                      <a:pt x="484" y="233"/>
                      <a:pt x="485" y="232"/>
                      <a:pt x="485" y="232"/>
                    </a:cubicBezTo>
                    <a:cubicBezTo>
                      <a:pt x="486" y="230"/>
                      <a:pt x="485" y="229"/>
                      <a:pt x="486" y="228"/>
                    </a:cubicBezTo>
                    <a:cubicBezTo>
                      <a:pt x="486" y="227"/>
                      <a:pt x="486" y="227"/>
                      <a:pt x="486" y="226"/>
                    </a:cubicBezTo>
                    <a:cubicBezTo>
                      <a:pt x="486" y="225"/>
                      <a:pt x="485" y="225"/>
                      <a:pt x="485" y="224"/>
                    </a:cubicBezTo>
                    <a:cubicBezTo>
                      <a:pt x="485" y="223"/>
                      <a:pt x="485" y="223"/>
                      <a:pt x="484" y="222"/>
                    </a:cubicBezTo>
                    <a:cubicBezTo>
                      <a:pt x="485" y="222"/>
                      <a:pt x="483" y="221"/>
                      <a:pt x="483" y="221"/>
                    </a:cubicBezTo>
                    <a:cubicBezTo>
                      <a:pt x="482" y="220"/>
                      <a:pt x="481" y="220"/>
                      <a:pt x="481" y="219"/>
                    </a:cubicBezTo>
                    <a:cubicBezTo>
                      <a:pt x="481" y="219"/>
                      <a:pt x="481" y="219"/>
                      <a:pt x="480" y="219"/>
                    </a:cubicBezTo>
                    <a:cubicBezTo>
                      <a:pt x="480" y="219"/>
                      <a:pt x="480" y="218"/>
                      <a:pt x="480" y="218"/>
                    </a:cubicBezTo>
                    <a:cubicBezTo>
                      <a:pt x="480" y="218"/>
                      <a:pt x="480" y="217"/>
                      <a:pt x="479" y="217"/>
                    </a:cubicBezTo>
                    <a:cubicBezTo>
                      <a:pt x="479" y="217"/>
                      <a:pt x="479" y="217"/>
                      <a:pt x="479" y="217"/>
                    </a:cubicBezTo>
                    <a:cubicBezTo>
                      <a:pt x="480" y="219"/>
                      <a:pt x="479" y="217"/>
                      <a:pt x="478" y="217"/>
                    </a:cubicBezTo>
                    <a:cubicBezTo>
                      <a:pt x="478" y="217"/>
                      <a:pt x="478" y="217"/>
                      <a:pt x="478" y="217"/>
                    </a:cubicBezTo>
                    <a:cubicBezTo>
                      <a:pt x="478" y="217"/>
                      <a:pt x="479" y="217"/>
                      <a:pt x="479" y="217"/>
                    </a:cubicBezTo>
                    <a:cubicBezTo>
                      <a:pt x="479" y="216"/>
                      <a:pt x="479" y="216"/>
                      <a:pt x="479" y="215"/>
                    </a:cubicBezTo>
                    <a:cubicBezTo>
                      <a:pt x="480" y="215"/>
                      <a:pt x="480" y="215"/>
                      <a:pt x="480" y="215"/>
                    </a:cubicBezTo>
                    <a:cubicBezTo>
                      <a:pt x="480" y="214"/>
                      <a:pt x="480" y="214"/>
                      <a:pt x="480" y="214"/>
                    </a:cubicBezTo>
                    <a:cubicBezTo>
                      <a:pt x="480" y="214"/>
                      <a:pt x="481" y="214"/>
                      <a:pt x="481" y="214"/>
                    </a:cubicBezTo>
                    <a:cubicBezTo>
                      <a:pt x="481" y="214"/>
                      <a:pt x="481" y="213"/>
                      <a:pt x="482" y="214"/>
                    </a:cubicBezTo>
                    <a:cubicBezTo>
                      <a:pt x="482" y="214"/>
                      <a:pt x="482" y="214"/>
                      <a:pt x="481" y="214"/>
                    </a:cubicBezTo>
                    <a:cubicBezTo>
                      <a:pt x="482" y="214"/>
                      <a:pt x="482" y="214"/>
                      <a:pt x="483" y="213"/>
                    </a:cubicBezTo>
                    <a:cubicBezTo>
                      <a:pt x="483" y="213"/>
                      <a:pt x="482" y="213"/>
                      <a:pt x="482" y="213"/>
                    </a:cubicBezTo>
                    <a:cubicBezTo>
                      <a:pt x="483" y="213"/>
                      <a:pt x="483" y="213"/>
                      <a:pt x="483" y="213"/>
                    </a:cubicBezTo>
                    <a:cubicBezTo>
                      <a:pt x="483" y="213"/>
                      <a:pt x="484" y="213"/>
                      <a:pt x="484" y="212"/>
                    </a:cubicBezTo>
                    <a:cubicBezTo>
                      <a:pt x="484" y="212"/>
                      <a:pt x="484" y="212"/>
                      <a:pt x="485" y="212"/>
                    </a:cubicBezTo>
                    <a:cubicBezTo>
                      <a:pt x="485" y="212"/>
                      <a:pt x="485" y="212"/>
                      <a:pt x="485" y="212"/>
                    </a:cubicBezTo>
                    <a:cubicBezTo>
                      <a:pt x="486" y="211"/>
                      <a:pt x="486" y="211"/>
                      <a:pt x="487" y="211"/>
                    </a:cubicBezTo>
                    <a:cubicBezTo>
                      <a:pt x="487" y="211"/>
                      <a:pt x="488" y="210"/>
                      <a:pt x="488" y="210"/>
                    </a:cubicBezTo>
                    <a:cubicBezTo>
                      <a:pt x="488" y="210"/>
                      <a:pt x="488" y="210"/>
                      <a:pt x="488" y="210"/>
                    </a:cubicBezTo>
                    <a:cubicBezTo>
                      <a:pt x="488" y="210"/>
                      <a:pt x="489" y="210"/>
                      <a:pt x="490" y="209"/>
                    </a:cubicBezTo>
                    <a:cubicBezTo>
                      <a:pt x="489" y="209"/>
                      <a:pt x="489" y="209"/>
                      <a:pt x="488" y="209"/>
                    </a:cubicBezTo>
                    <a:cubicBezTo>
                      <a:pt x="489" y="209"/>
                      <a:pt x="489" y="208"/>
                      <a:pt x="489" y="208"/>
                    </a:cubicBezTo>
                    <a:cubicBezTo>
                      <a:pt x="490" y="208"/>
                      <a:pt x="491" y="208"/>
                      <a:pt x="491" y="207"/>
                    </a:cubicBezTo>
                    <a:cubicBezTo>
                      <a:pt x="490" y="207"/>
                      <a:pt x="491" y="207"/>
                      <a:pt x="491" y="206"/>
                    </a:cubicBezTo>
                    <a:cubicBezTo>
                      <a:pt x="491" y="206"/>
                      <a:pt x="491" y="206"/>
                      <a:pt x="492" y="206"/>
                    </a:cubicBezTo>
                    <a:cubicBezTo>
                      <a:pt x="492" y="206"/>
                      <a:pt x="493" y="206"/>
                      <a:pt x="493" y="207"/>
                    </a:cubicBezTo>
                    <a:cubicBezTo>
                      <a:pt x="493" y="208"/>
                      <a:pt x="493" y="208"/>
                      <a:pt x="494" y="208"/>
                    </a:cubicBezTo>
                    <a:cubicBezTo>
                      <a:pt x="494" y="207"/>
                      <a:pt x="493" y="207"/>
                      <a:pt x="493" y="207"/>
                    </a:cubicBezTo>
                    <a:cubicBezTo>
                      <a:pt x="493" y="207"/>
                      <a:pt x="493" y="207"/>
                      <a:pt x="493" y="207"/>
                    </a:cubicBezTo>
                    <a:cubicBezTo>
                      <a:pt x="493" y="206"/>
                      <a:pt x="493" y="206"/>
                      <a:pt x="493" y="206"/>
                    </a:cubicBezTo>
                    <a:cubicBezTo>
                      <a:pt x="493" y="206"/>
                      <a:pt x="494" y="205"/>
                      <a:pt x="495" y="205"/>
                    </a:cubicBezTo>
                    <a:cubicBezTo>
                      <a:pt x="496" y="205"/>
                      <a:pt x="496" y="204"/>
                      <a:pt x="495" y="204"/>
                    </a:cubicBezTo>
                    <a:cubicBezTo>
                      <a:pt x="496" y="204"/>
                      <a:pt x="496" y="203"/>
                      <a:pt x="497" y="203"/>
                    </a:cubicBezTo>
                    <a:cubicBezTo>
                      <a:pt x="497" y="203"/>
                      <a:pt x="497" y="203"/>
                      <a:pt x="497" y="203"/>
                    </a:cubicBezTo>
                    <a:cubicBezTo>
                      <a:pt x="497" y="203"/>
                      <a:pt x="497" y="203"/>
                      <a:pt x="498" y="203"/>
                    </a:cubicBezTo>
                    <a:cubicBezTo>
                      <a:pt x="498" y="203"/>
                      <a:pt x="497" y="203"/>
                      <a:pt x="497" y="203"/>
                    </a:cubicBezTo>
                    <a:cubicBezTo>
                      <a:pt x="497" y="203"/>
                      <a:pt x="497" y="203"/>
                      <a:pt x="496" y="203"/>
                    </a:cubicBezTo>
                    <a:cubicBezTo>
                      <a:pt x="496" y="203"/>
                      <a:pt x="495" y="203"/>
                      <a:pt x="495" y="202"/>
                    </a:cubicBezTo>
                    <a:cubicBezTo>
                      <a:pt x="495" y="202"/>
                      <a:pt x="495" y="202"/>
                      <a:pt x="496" y="202"/>
                    </a:cubicBezTo>
                    <a:cubicBezTo>
                      <a:pt x="496" y="202"/>
                      <a:pt x="496" y="202"/>
                      <a:pt x="496" y="202"/>
                    </a:cubicBezTo>
                    <a:cubicBezTo>
                      <a:pt x="496" y="202"/>
                      <a:pt x="496" y="201"/>
                      <a:pt x="496" y="201"/>
                    </a:cubicBezTo>
                    <a:cubicBezTo>
                      <a:pt x="496" y="201"/>
                      <a:pt x="497" y="201"/>
                      <a:pt x="496" y="201"/>
                    </a:cubicBezTo>
                    <a:cubicBezTo>
                      <a:pt x="496" y="200"/>
                      <a:pt x="496" y="200"/>
                      <a:pt x="497" y="200"/>
                    </a:cubicBezTo>
                    <a:cubicBezTo>
                      <a:pt x="496" y="200"/>
                      <a:pt x="496" y="200"/>
                      <a:pt x="496" y="200"/>
                    </a:cubicBezTo>
                    <a:cubicBezTo>
                      <a:pt x="496" y="200"/>
                      <a:pt x="497" y="200"/>
                      <a:pt x="496" y="200"/>
                    </a:cubicBezTo>
                    <a:cubicBezTo>
                      <a:pt x="496" y="199"/>
                      <a:pt x="496" y="199"/>
                      <a:pt x="496" y="199"/>
                    </a:cubicBezTo>
                    <a:cubicBezTo>
                      <a:pt x="497" y="198"/>
                      <a:pt x="498" y="198"/>
                      <a:pt x="499" y="198"/>
                    </a:cubicBezTo>
                    <a:cubicBezTo>
                      <a:pt x="499" y="197"/>
                      <a:pt x="497" y="198"/>
                      <a:pt x="497" y="197"/>
                    </a:cubicBezTo>
                    <a:cubicBezTo>
                      <a:pt x="497" y="196"/>
                      <a:pt x="499" y="196"/>
                      <a:pt x="499" y="196"/>
                    </a:cubicBezTo>
                    <a:cubicBezTo>
                      <a:pt x="499" y="195"/>
                      <a:pt x="498" y="196"/>
                      <a:pt x="498" y="196"/>
                    </a:cubicBezTo>
                    <a:cubicBezTo>
                      <a:pt x="499" y="195"/>
                      <a:pt x="500" y="195"/>
                      <a:pt x="500" y="195"/>
                    </a:cubicBezTo>
                    <a:cubicBezTo>
                      <a:pt x="499" y="195"/>
                      <a:pt x="498" y="195"/>
                      <a:pt x="497" y="196"/>
                    </a:cubicBezTo>
                    <a:cubicBezTo>
                      <a:pt x="497" y="196"/>
                      <a:pt x="497" y="195"/>
                      <a:pt x="497" y="195"/>
                    </a:cubicBezTo>
                    <a:cubicBezTo>
                      <a:pt x="497" y="195"/>
                      <a:pt x="497" y="195"/>
                      <a:pt x="497" y="195"/>
                    </a:cubicBezTo>
                    <a:cubicBezTo>
                      <a:pt x="497" y="195"/>
                      <a:pt x="497" y="195"/>
                      <a:pt x="497" y="195"/>
                    </a:cubicBezTo>
                    <a:cubicBezTo>
                      <a:pt x="497" y="195"/>
                      <a:pt x="496" y="195"/>
                      <a:pt x="495" y="195"/>
                    </a:cubicBezTo>
                    <a:cubicBezTo>
                      <a:pt x="496" y="194"/>
                      <a:pt x="498" y="193"/>
                      <a:pt x="499" y="193"/>
                    </a:cubicBezTo>
                    <a:cubicBezTo>
                      <a:pt x="500" y="192"/>
                      <a:pt x="500" y="192"/>
                      <a:pt x="501" y="191"/>
                    </a:cubicBezTo>
                    <a:cubicBezTo>
                      <a:pt x="501" y="191"/>
                      <a:pt x="502" y="191"/>
                      <a:pt x="501" y="191"/>
                    </a:cubicBezTo>
                    <a:cubicBezTo>
                      <a:pt x="501" y="191"/>
                      <a:pt x="502" y="189"/>
                      <a:pt x="503" y="189"/>
                    </a:cubicBezTo>
                    <a:cubicBezTo>
                      <a:pt x="503" y="189"/>
                      <a:pt x="503" y="189"/>
                      <a:pt x="503" y="189"/>
                    </a:cubicBezTo>
                    <a:cubicBezTo>
                      <a:pt x="504" y="189"/>
                      <a:pt x="504" y="189"/>
                      <a:pt x="504" y="188"/>
                    </a:cubicBezTo>
                    <a:cubicBezTo>
                      <a:pt x="504" y="188"/>
                      <a:pt x="503" y="188"/>
                      <a:pt x="504" y="188"/>
                    </a:cubicBezTo>
                    <a:cubicBezTo>
                      <a:pt x="504" y="188"/>
                      <a:pt x="505" y="188"/>
                      <a:pt x="505" y="188"/>
                    </a:cubicBezTo>
                    <a:cubicBezTo>
                      <a:pt x="505" y="187"/>
                      <a:pt x="504" y="187"/>
                      <a:pt x="504" y="187"/>
                    </a:cubicBezTo>
                    <a:cubicBezTo>
                      <a:pt x="504" y="187"/>
                      <a:pt x="505" y="187"/>
                      <a:pt x="505" y="187"/>
                    </a:cubicBezTo>
                    <a:cubicBezTo>
                      <a:pt x="505" y="187"/>
                      <a:pt x="504" y="187"/>
                      <a:pt x="504" y="187"/>
                    </a:cubicBezTo>
                    <a:cubicBezTo>
                      <a:pt x="504" y="187"/>
                      <a:pt x="504" y="186"/>
                      <a:pt x="504" y="186"/>
                    </a:cubicBezTo>
                    <a:cubicBezTo>
                      <a:pt x="504" y="186"/>
                      <a:pt x="503" y="186"/>
                      <a:pt x="503" y="186"/>
                    </a:cubicBezTo>
                    <a:cubicBezTo>
                      <a:pt x="502" y="186"/>
                      <a:pt x="503" y="185"/>
                      <a:pt x="503" y="185"/>
                    </a:cubicBezTo>
                    <a:cubicBezTo>
                      <a:pt x="503" y="185"/>
                      <a:pt x="503" y="185"/>
                      <a:pt x="503" y="184"/>
                    </a:cubicBezTo>
                    <a:cubicBezTo>
                      <a:pt x="503" y="184"/>
                      <a:pt x="503" y="184"/>
                      <a:pt x="503" y="183"/>
                    </a:cubicBezTo>
                    <a:cubicBezTo>
                      <a:pt x="504" y="183"/>
                      <a:pt x="504" y="182"/>
                      <a:pt x="504" y="182"/>
                    </a:cubicBezTo>
                    <a:cubicBezTo>
                      <a:pt x="505" y="180"/>
                      <a:pt x="506" y="180"/>
                      <a:pt x="507" y="179"/>
                    </a:cubicBezTo>
                    <a:cubicBezTo>
                      <a:pt x="508" y="179"/>
                      <a:pt x="509" y="179"/>
                      <a:pt x="509" y="179"/>
                    </a:cubicBezTo>
                    <a:cubicBezTo>
                      <a:pt x="510" y="179"/>
                      <a:pt x="510" y="178"/>
                      <a:pt x="511" y="178"/>
                    </a:cubicBezTo>
                    <a:cubicBezTo>
                      <a:pt x="511" y="178"/>
                      <a:pt x="512" y="177"/>
                      <a:pt x="513" y="177"/>
                    </a:cubicBezTo>
                    <a:cubicBezTo>
                      <a:pt x="513" y="178"/>
                      <a:pt x="514" y="178"/>
                      <a:pt x="514" y="178"/>
                    </a:cubicBezTo>
                    <a:cubicBezTo>
                      <a:pt x="516" y="178"/>
                      <a:pt x="517" y="178"/>
                      <a:pt x="518" y="179"/>
                    </a:cubicBezTo>
                    <a:cubicBezTo>
                      <a:pt x="519" y="179"/>
                      <a:pt x="520" y="179"/>
                      <a:pt x="520" y="179"/>
                    </a:cubicBezTo>
                    <a:cubicBezTo>
                      <a:pt x="521" y="179"/>
                      <a:pt x="521" y="180"/>
                      <a:pt x="521" y="180"/>
                    </a:cubicBezTo>
                    <a:cubicBezTo>
                      <a:pt x="521" y="180"/>
                      <a:pt x="524" y="180"/>
                      <a:pt x="524" y="180"/>
                    </a:cubicBezTo>
                    <a:cubicBezTo>
                      <a:pt x="524" y="181"/>
                      <a:pt x="522" y="181"/>
                      <a:pt x="521" y="182"/>
                    </a:cubicBezTo>
                    <a:cubicBezTo>
                      <a:pt x="522" y="182"/>
                      <a:pt x="524" y="181"/>
                      <a:pt x="524" y="181"/>
                    </a:cubicBezTo>
                    <a:cubicBezTo>
                      <a:pt x="525" y="180"/>
                      <a:pt x="526" y="180"/>
                      <a:pt x="527" y="180"/>
                    </a:cubicBezTo>
                    <a:cubicBezTo>
                      <a:pt x="527" y="180"/>
                      <a:pt x="528" y="180"/>
                      <a:pt x="527" y="181"/>
                    </a:cubicBezTo>
                    <a:cubicBezTo>
                      <a:pt x="528" y="181"/>
                      <a:pt x="529" y="180"/>
                      <a:pt x="529" y="181"/>
                    </a:cubicBezTo>
                    <a:cubicBezTo>
                      <a:pt x="530" y="182"/>
                      <a:pt x="530" y="182"/>
                      <a:pt x="531" y="182"/>
                    </a:cubicBezTo>
                    <a:cubicBezTo>
                      <a:pt x="531" y="182"/>
                      <a:pt x="530" y="181"/>
                      <a:pt x="531" y="181"/>
                    </a:cubicBezTo>
                    <a:cubicBezTo>
                      <a:pt x="532" y="181"/>
                      <a:pt x="533" y="181"/>
                      <a:pt x="534" y="181"/>
                    </a:cubicBezTo>
                    <a:cubicBezTo>
                      <a:pt x="535" y="180"/>
                      <a:pt x="536" y="180"/>
                      <a:pt x="537" y="180"/>
                    </a:cubicBezTo>
                    <a:cubicBezTo>
                      <a:pt x="538" y="179"/>
                      <a:pt x="538" y="179"/>
                      <a:pt x="539" y="179"/>
                    </a:cubicBezTo>
                    <a:cubicBezTo>
                      <a:pt x="540" y="178"/>
                      <a:pt x="540" y="179"/>
                      <a:pt x="541" y="179"/>
                    </a:cubicBezTo>
                    <a:cubicBezTo>
                      <a:pt x="541" y="180"/>
                      <a:pt x="542" y="180"/>
                      <a:pt x="542" y="180"/>
                    </a:cubicBezTo>
                    <a:cubicBezTo>
                      <a:pt x="543" y="180"/>
                      <a:pt x="542" y="181"/>
                      <a:pt x="543" y="181"/>
                    </a:cubicBezTo>
                    <a:cubicBezTo>
                      <a:pt x="543" y="181"/>
                      <a:pt x="544" y="182"/>
                      <a:pt x="544" y="182"/>
                    </a:cubicBezTo>
                    <a:cubicBezTo>
                      <a:pt x="544" y="182"/>
                      <a:pt x="544" y="182"/>
                      <a:pt x="545" y="182"/>
                    </a:cubicBezTo>
                    <a:cubicBezTo>
                      <a:pt x="544" y="182"/>
                      <a:pt x="546" y="182"/>
                      <a:pt x="546" y="182"/>
                    </a:cubicBezTo>
                    <a:cubicBezTo>
                      <a:pt x="546" y="182"/>
                      <a:pt x="546" y="183"/>
                      <a:pt x="546" y="183"/>
                    </a:cubicBezTo>
                    <a:cubicBezTo>
                      <a:pt x="545" y="183"/>
                      <a:pt x="545" y="183"/>
                      <a:pt x="544" y="184"/>
                    </a:cubicBezTo>
                    <a:cubicBezTo>
                      <a:pt x="544" y="184"/>
                      <a:pt x="544" y="185"/>
                      <a:pt x="543" y="185"/>
                    </a:cubicBezTo>
                    <a:cubicBezTo>
                      <a:pt x="543" y="185"/>
                      <a:pt x="544" y="185"/>
                      <a:pt x="544" y="184"/>
                    </a:cubicBezTo>
                    <a:cubicBezTo>
                      <a:pt x="544" y="185"/>
                      <a:pt x="544" y="185"/>
                      <a:pt x="544" y="185"/>
                    </a:cubicBezTo>
                    <a:cubicBezTo>
                      <a:pt x="545" y="185"/>
                      <a:pt x="544" y="184"/>
                      <a:pt x="545" y="184"/>
                    </a:cubicBezTo>
                    <a:cubicBezTo>
                      <a:pt x="545" y="184"/>
                      <a:pt x="546" y="184"/>
                      <a:pt x="546" y="184"/>
                    </a:cubicBezTo>
                    <a:cubicBezTo>
                      <a:pt x="547" y="184"/>
                      <a:pt x="547" y="184"/>
                      <a:pt x="548" y="185"/>
                    </a:cubicBezTo>
                    <a:cubicBezTo>
                      <a:pt x="548" y="185"/>
                      <a:pt x="547" y="185"/>
                      <a:pt x="548" y="185"/>
                    </a:cubicBezTo>
                    <a:cubicBezTo>
                      <a:pt x="547" y="185"/>
                      <a:pt x="547" y="185"/>
                      <a:pt x="547" y="185"/>
                    </a:cubicBezTo>
                    <a:cubicBezTo>
                      <a:pt x="546" y="186"/>
                      <a:pt x="548" y="186"/>
                      <a:pt x="548" y="186"/>
                    </a:cubicBezTo>
                    <a:cubicBezTo>
                      <a:pt x="549" y="186"/>
                      <a:pt x="547" y="187"/>
                      <a:pt x="547" y="187"/>
                    </a:cubicBezTo>
                    <a:cubicBezTo>
                      <a:pt x="546" y="187"/>
                      <a:pt x="546" y="187"/>
                      <a:pt x="545" y="187"/>
                    </a:cubicBezTo>
                    <a:cubicBezTo>
                      <a:pt x="546" y="187"/>
                      <a:pt x="547" y="187"/>
                      <a:pt x="548" y="187"/>
                    </a:cubicBezTo>
                    <a:cubicBezTo>
                      <a:pt x="548" y="187"/>
                      <a:pt x="548" y="187"/>
                      <a:pt x="548" y="186"/>
                    </a:cubicBezTo>
                    <a:cubicBezTo>
                      <a:pt x="548" y="186"/>
                      <a:pt x="548" y="186"/>
                      <a:pt x="548" y="186"/>
                    </a:cubicBezTo>
                    <a:cubicBezTo>
                      <a:pt x="549" y="186"/>
                      <a:pt x="551" y="187"/>
                      <a:pt x="551" y="187"/>
                    </a:cubicBezTo>
                    <a:cubicBezTo>
                      <a:pt x="550" y="188"/>
                      <a:pt x="549" y="188"/>
                      <a:pt x="548" y="188"/>
                    </a:cubicBezTo>
                    <a:cubicBezTo>
                      <a:pt x="549" y="188"/>
                      <a:pt x="548" y="188"/>
                      <a:pt x="549" y="188"/>
                    </a:cubicBezTo>
                    <a:cubicBezTo>
                      <a:pt x="548" y="189"/>
                      <a:pt x="548" y="189"/>
                      <a:pt x="547" y="189"/>
                    </a:cubicBezTo>
                    <a:cubicBezTo>
                      <a:pt x="548" y="189"/>
                      <a:pt x="549" y="189"/>
                      <a:pt x="549" y="189"/>
                    </a:cubicBezTo>
                    <a:cubicBezTo>
                      <a:pt x="549" y="189"/>
                      <a:pt x="548" y="189"/>
                      <a:pt x="547" y="189"/>
                    </a:cubicBezTo>
                    <a:cubicBezTo>
                      <a:pt x="547" y="189"/>
                      <a:pt x="548" y="190"/>
                      <a:pt x="548" y="190"/>
                    </a:cubicBezTo>
                    <a:cubicBezTo>
                      <a:pt x="547" y="190"/>
                      <a:pt x="547" y="190"/>
                      <a:pt x="547" y="190"/>
                    </a:cubicBezTo>
                    <a:cubicBezTo>
                      <a:pt x="548" y="190"/>
                      <a:pt x="549" y="190"/>
                      <a:pt x="548" y="190"/>
                    </a:cubicBezTo>
                    <a:cubicBezTo>
                      <a:pt x="548" y="191"/>
                      <a:pt x="548" y="191"/>
                      <a:pt x="548" y="191"/>
                    </a:cubicBezTo>
                    <a:cubicBezTo>
                      <a:pt x="548" y="191"/>
                      <a:pt x="548" y="191"/>
                      <a:pt x="548" y="191"/>
                    </a:cubicBezTo>
                    <a:cubicBezTo>
                      <a:pt x="548" y="191"/>
                      <a:pt x="548" y="192"/>
                      <a:pt x="548" y="192"/>
                    </a:cubicBezTo>
                    <a:cubicBezTo>
                      <a:pt x="549" y="192"/>
                      <a:pt x="548" y="191"/>
                      <a:pt x="549" y="191"/>
                    </a:cubicBezTo>
                    <a:cubicBezTo>
                      <a:pt x="549" y="191"/>
                      <a:pt x="549" y="192"/>
                      <a:pt x="549" y="192"/>
                    </a:cubicBezTo>
                    <a:cubicBezTo>
                      <a:pt x="550" y="192"/>
                      <a:pt x="550" y="192"/>
                      <a:pt x="551" y="192"/>
                    </a:cubicBezTo>
                    <a:cubicBezTo>
                      <a:pt x="551" y="192"/>
                      <a:pt x="551" y="192"/>
                      <a:pt x="551" y="192"/>
                    </a:cubicBezTo>
                    <a:cubicBezTo>
                      <a:pt x="551" y="192"/>
                      <a:pt x="553" y="192"/>
                      <a:pt x="552" y="192"/>
                    </a:cubicBezTo>
                    <a:cubicBezTo>
                      <a:pt x="553" y="192"/>
                      <a:pt x="553" y="193"/>
                      <a:pt x="553" y="193"/>
                    </a:cubicBezTo>
                    <a:cubicBezTo>
                      <a:pt x="554" y="193"/>
                      <a:pt x="554" y="192"/>
                      <a:pt x="554" y="192"/>
                    </a:cubicBezTo>
                    <a:cubicBezTo>
                      <a:pt x="554" y="192"/>
                      <a:pt x="555" y="193"/>
                      <a:pt x="554" y="193"/>
                    </a:cubicBezTo>
                    <a:cubicBezTo>
                      <a:pt x="554" y="193"/>
                      <a:pt x="555" y="193"/>
                      <a:pt x="555" y="193"/>
                    </a:cubicBezTo>
                    <a:cubicBezTo>
                      <a:pt x="555" y="193"/>
                      <a:pt x="555" y="193"/>
                      <a:pt x="555" y="193"/>
                    </a:cubicBezTo>
                    <a:cubicBezTo>
                      <a:pt x="556" y="193"/>
                      <a:pt x="556" y="193"/>
                      <a:pt x="556" y="193"/>
                    </a:cubicBezTo>
                    <a:cubicBezTo>
                      <a:pt x="557" y="192"/>
                      <a:pt x="556" y="192"/>
                      <a:pt x="557" y="192"/>
                    </a:cubicBezTo>
                    <a:cubicBezTo>
                      <a:pt x="557" y="193"/>
                      <a:pt x="557" y="192"/>
                      <a:pt x="557" y="192"/>
                    </a:cubicBezTo>
                    <a:cubicBezTo>
                      <a:pt x="557" y="192"/>
                      <a:pt x="558" y="192"/>
                      <a:pt x="559" y="193"/>
                    </a:cubicBezTo>
                    <a:cubicBezTo>
                      <a:pt x="559" y="193"/>
                      <a:pt x="558" y="193"/>
                      <a:pt x="558" y="193"/>
                    </a:cubicBezTo>
                    <a:cubicBezTo>
                      <a:pt x="558" y="193"/>
                      <a:pt x="558" y="193"/>
                      <a:pt x="558" y="193"/>
                    </a:cubicBezTo>
                    <a:cubicBezTo>
                      <a:pt x="558" y="193"/>
                      <a:pt x="558" y="193"/>
                      <a:pt x="558" y="194"/>
                    </a:cubicBezTo>
                    <a:cubicBezTo>
                      <a:pt x="558" y="194"/>
                      <a:pt x="558" y="194"/>
                      <a:pt x="557" y="194"/>
                    </a:cubicBezTo>
                    <a:cubicBezTo>
                      <a:pt x="558" y="194"/>
                      <a:pt x="559" y="196"/>
                      <a:pt x="559" y="195"/>
                    </a:cubicBezTo>
                    <a:cubicBezTo>
                      <a:pt x="559" y="195"/>
                      <a:pt x="559" y="195"/>
                      <a:pt x="559" y="195"/>
                    </a:cubicBezTo>
                    <a:cubicBezTo>
                      <a:pt x="559" y="194"/>
                      <a:pt x="560" y="194"/>
                      <a:pt x="561" y="194"/>
                    </a:cubicBezTo>
                    <a:cubicBezTo>
                      <a:pt x="560" y="194"/>
                      <a:pt x="561" y="194"/>
                      <a:pt x="561" y="194"/>
                    </a:cubicBezTo>
                    <a:cubicBezTo>
                      <a:pt x="561" y="194"/>
                      <a:pt x="561" y="193"/>
                      <a:pt x="562" y="193"/>
                    </a:cubicBezTo>
                    <a:cubicBezTo>
                      <a:pt x="562" y="193"/>
                      <a:pt x="563" y="192"/>
                      <a:pt x="563" y="193"/>
                    </a:cubicBezTo>
                    <a:cubicBezTo>
                      <a:pt x="563" y="193"/>
                      <a:pt x="563" y="194"/>
                      <a:pt x="563" y="194"/>
                    </a:cubicBezTo>
                    <a:cubicBezTo>
                      <a:pt x="563" y="194"/>
                      <a:pt x="563" y="195"/>
                      <a:pt x="563" y="195"/>
                    </a:cubicBezTo>
                    <a:cubicBezTo>
                      <a:pt x="562" y="195"/>
                      <a:pt x="562" y="195"/>
                      <a:pt x="561" y="196"/>
                    </a:cubicBezTo>
                    <a:cubicBezTo>
                      <a:pt x="561" y="196"/>
                      <a:pt x="560" y="196"/>
                      <a:pt x="560" y="196"/>
                    </a:cubicBezTo>
                    <a:cubicBezTo>
                      <a:pt x="559" y="197"/>
                      <a:pt x="560" y="197"/>
                      <a:pt x="559" y="198"/>
                    </a:cubicBezTo>
                    <a:cubicBezTo>
                      <a:pt x="558" y="198"/>
                      <a:pt x="558" y="198"/>
                      <a:pt x="558" y="199"/>
                    </a:cubicBezTo>
                    <a:cubicBezTo>
                      <a:pt x="558" y="199"/>
                      <a:pt x="557" y="199"/>
                      <a:pt x="557" y="200"/>
                    </a:cubicBezTo>
                    <a:cubicBezTo>
                      <a:pt x="557" y="200"/>
                      <a:pt x="557" y="201"/>
                      <a:pt x="557" y="201"/>
                    </a:cubicBezTo>
                    <a:cubicBezTo>
                      <a:pt x="558" y="201"/>
                      <a:pt x="557" y="201"/>
                      <a:pt x="557" y="201"/>
                    </a:cubicBezTo>
                    <a:cubicBezTo>
                      <a:pt x="558" y="201"/>
                      <a:pt x="557" y="202"/>
                      <a:pt x="557" y="202"/>
                    </a:cubicBezTo>
                    <a:cubicBezTo>
                      <a:pt x="556" y="202"/>
                      <a:pt x="556" y="203"/>
                      <a:pt x="556" y="203"/>
                    </a:cubicBezTo>
                    <a:cubicBezTo>
                      <a:pt x="556" y="203"/>
                      <a:pt x="555" y="202"/>
                      <a:pt x="555" y="203"/>
                    </a:cubicBezTo>
                    <a:cubicBezTo>
                      <a:pt x="555" y="203"/>
                      <a:pt x="555" y="203"/>
                      <a:pt x="555" y="203"/>
                    </a:cubicBezTo>
                    <a:cubicBezTo>
                      <a:pt x="555" y="204"/>
                      <a:pt x="553" y="203"/>
                      <a:pt x="553" y="203"/>
                    </a:cubicBezTo>
                    <a:cubicBezTo>
                      <a:pt x="552" y="203"/>
                      <a:pt x="552" y="203"/>
                      <a:pt x="551" y="203"/>
                    </a:cubicBezTo>
                    <a:cubicBezTo>
                      <a:pt x="551" y="203"/>
                      <a:pt x="551" y="203"/>
                      <a:pt x="550" y="203"/>
                    </a:cubicBezTo>
                    <a:cubicBezTo>
                      <a:pt x="549" y="203"/>
                      <a:pt x="549" y="203"/>
                      <a:pt x="548" y="203"/>
                    </a:cubicBezTo>
                    <a:cubicBezTo>
                      <a:pt x="547" y="203"/>
                      <a:pt x="546" y="202"/>
                      <a:pt x="546" y="203"/>
                    </a:cubicBezTo>
                    <a:cubicBezTo>
                      <a:pt x="546" y="203"/>
                      <a:pt x="547" y="203"/>
                      <a:pt x="547" y="203"/>
                    </a:cubicBezTo>
                    <a:cubicBezTo>
                      <a:pt x="547" y="203"/>
                      <a:pt x="548" y="203"/>
                      <a:pt x="547" y="203"/>
                    </a:cubicBezTo>
                    <a:cubicBezTo>
                      <a:pt x="548" y="203"/>
                      <a:pt x="549" y="204"/>
                      <a:pt x="549" y="204"/>
                    </a:cubicBezTo>
                    <a:cubicBezTo>
                      <a:pt x="550" y="203"/>
                      <a:pt x="551" y="203"/>
                      <a:pt x="551" y="203"/>
                    </a:cubicBezTo>
                    <a:cubicBezTo>
                      <a:pt x="552" y="203"/>
                      <a:pt x="552" y="204"/>
                      <a:pt x="553" y="204"/>
                    </a:cubicBezTo>
                    <a:cubicBezTo>
                      <a:pt x="554" y="204"/>
                      <a:pt x="555" y="203"/>
                      <a:pt x="555" y="204"/>
                    </a:cubicBezTo>
                    <a:cubicBezTo>
                      <a:pt x="555" y="204"/>
                      <a:pt x="555" y="204"/>
                      <a:pt x="555" y="204"/>
                    </a:cubicBezTo>
                    <a:cubicBezTo>
                      <a:pt x="555" y="204"/>
                      <a:pt x="555" y="204"/>
                      <a:pt x="556" y="205"/>
                    </a:cubicBezTo>
                    <a:cubicBezTo>
                      <a:pt x="556" y="205"/>
                      <a:pt x="555" y="205"/>
                      <a:pt x="555" y="205"/>
                    </a:cubicBezTo>
                    <a:cubicBezTo>
                      <a:pt x="555" y="206"/>
                      <a:pt x="555" y="206"/>
                      <a:pt x="555" y="206"/>
                    </a:cubicBezTo>
                    <a:cubicBezTo>
                      <a:pt x="554" y="206"/>
                      <a:pt x="555" y="206"/>
                      <a:pt x="555" y="207"/>
                    </a:cubicBezTo>
                    <a:cubicBezTo>
                      <a:pt x="555" y="207"/>
                      <a:pt x="552" y="208"/>
                      <a:pt x="552" y="208"/>
                    </a:cubicBezTo>
                    <a:cubicBezTo>
                      <a:pt x="552" y="209"/>
                      <a:pt x="553" y="209"/>
                      <a:pt x="553" y="209"/>
                    </a:cubicBezTo>
                    <a:cubicBezTo>
                      <a:pt x="553" y="209"/>
                      <a:pt x="552" y="210"/>
                      <a:pt x="552" y="210"/>
                    </a:cubicBezTo>
                    <a:cubicBezTo>
                      <a:pt x="552" y="210"/>
                      <a:pt x="551" y="210"/>
                      <a:pt x="551" y="210"/>
                    </a:cubicBezTo>
                    <a:cubicBezTo>
                      <a:pt x="552" y="211"/>
                      <a:pt x="553" y="210"/>
                      <a:pt x="553" y="210"/>
                    </a:cubicBezTo>
                    <a:cubicBezTo>
                      <a:pt x="554" y="210"/>
                      <a:pt x="555" y="210"/>
                      <a:pt x="554" y="210"/>
                    </a:cubicBezTo>
                    <a:cubicBezTo>
                      <a:pt x="554" y="210"/>
                      <a:pt x="555" y="210"/>
                      <a:pt x="555" y="210"/>
                    </a:cubicBezTo>
                    <a:cubicBezTo>
                      <a:pt x="555" y="210"/>
                      <a:pt x="555" y="211"/>
                      <a:pt x="554" y="211"/>
                    </a:cubicBezTo>
                    <a:cubicBezTo>
                      <a:pt x="554" y="211"/>
                      <a:pt x="554" y="211"/>
                      <a:pt x="554" y="211"/>
                    </a:cubicBezTo>
                    <a:cubicBezTo>
                      <a:pt x="554" y="211"/>
                      <a:pt x="554" y="211"/>
                      <a:pt x="553" y="211"/>
                    </a:cubicBezTo>
                    <a:cubicBezTo>
                      <a:pt x="553" y="211"/>
                      <a:pt x="552" y="211"/>
                      <a:pt x="552" y="212"/>
                    </a:cubicBezTo>
                    <a:cubicBezTo>
                      <a:pt x="552" y="212"/>
                      <a:pt x="553" y="212"/>
                      <a:pt x="553" y="212"/>
                    </a:cubicBezTo>
                    <a:cubicBezTo>
                      <a:pt x="553" y="212"/>
                      <a:pt x="552" y="213"/>
                      <a:pt x="552" y="213"/>
                    </a:cubicBezTo>
                    <a:cubicBezTo>
                      <a:pt x="552" y="213"/>
                      <a:pt x="552" y="213"/>
                      <a:pt x="552" y="213"/>
                    </a:cubicBezTo>
                    <a:cubicBezTo>
                      <a:pt x="551" y="213"/>
                      <a:pt x="552" y="214"/>
                      <a:pt x="551" y="214"/>
                    </a:cubicBezTo>
                    <a:cubicBezTo>
                      <a:pt x="550" y="215"/>
                      <a:pt x="550" y="215"/>
                      <a:pt x="550" y="215"/>
                    </a:cubicBezTo>
                    <a:cubicBezTo>
                      <a:pt x="549" y="216"/>
                      <a:pt x="549" y="215"/>
                      <a:pt x="549" y="215"/>
                    </a:cubicBezTo>
                    <a:cubicBezTo>
                      <a:pt x="549" y="214"/>
                      <a:pt x="550" y="214"/>
                      <a:pt x="549" y="214"/>
                    </a:cubicBezTo>
                    <a:cubicBezTo>
                      <a:pt x="550" y="214"/>
                      <a:pt x="549" y="213"/>
                      <a:pt x="549" y="213"/>
                    </a:cubicBezTo>
                    <a:cubicBezTo>
                      <a:pt x="549" y="214"/>
                      <a:pt x="549" y="213"/>
                      <a:pt x="549" y="213"/>
                    </a:cubicBezTo>
                    <a:cubicBezTo>
                      <a:pt x="548" y="213"/>
                      <a:pt x="548" y="214"/>
                      <a:pt x="548" y="214"/>
                    </a:cubicBezTo>
                    <a:cubicBezTo>
                      <a:pt x="549" y="214"/>
                      <a:pt x="548" y="215"/>
                      <a:pt x="548" y="215"/>
                    </a:cubicBezTo>
                    <a:cubicBezTo>
                      <a:pt x="548" y="215"/>
                      <a:pt x="548" y="215"/>
                      <a:pt x="547" y="215"/>
                    </a:cubicBezTo>
                    <a:cubicBezTo>
                      <a:pt x="547" y="215"/>
                      <a:pt x="547" y="215"/>
                      <a:pt x="547" y="215"/>
                    </a:cubicBezTo>
                    <a:cubicBezTo>
                      <a:pt x="547" y="215"/>
                      <a:pt x="546" y="215"/>
                      <a:pt x="546" y="215"/>
                    </a:cubicBezTo>
                    <a:cubicBezTo>
                      <a:pt x="545" y="215"/>
                      <a:pt x="545" y="215"/>
                      <a:pt x="544" y="216"/>
                    </a:cubicBezTo>
                    <a:cubicBezTo>
                      <a:pt x="545" y="216"/>
                      <a:pt x="545" y="216"/>
                      <a:pt x="546" y="216"/>
                    </a:cubicBezTo>
                    <a:cubicBezTo>
                      <a:pt x="546" y="216"/>
                      <a:pt x="546" y="216"/>
                      <a:pt x="547" y="216"/>
                    </a:cubicBezTo>
                    <a:cubicBezTo>
                      <a:pt x="547" y="216"/>
                      <a:pt x="546" y="216"/>
                      <a:pt x="546" y="216"/>
                    </a:cubicBezTo>
                    <a:cubicBezTo>
                      <a:pt x="546" y="216"/>
                      <a:pt x="547" y="216"/>
                      <a:pt x="547" y="216"/>
                    </a:cubicBezTo>
                    <a:cubicBezTo>
                      <a:pt x="547" y="217"/>
                      <a:pt x="547" y="217"/>
                      <a:pt x="547" y="217"/>
                    </a:cubicBezTo>
                    <a:cubicBezTo>
                      <a:pt x="546" y="217"/>
                      <a:pt x="546" y="217"/>
                      <a:pt x="547" y="217"/>
                    </a:cubicBezTo>
                    <a:cubicBezTo>
                      <a:pt x="547" y="217"/>
                      <a:pt x="547" y="217"/>
                      <a:pt x="548" y="217"/>
                    </a:cubicBezTo>
                    <a:cubicBezTo>
                      <a:pt x="548" y="216"/>
                      <a:pt x="548" y="216"/>
                      <a:pt x="549" y="216"/>
                    </a:cubicBezTo>
                    <a:cubicBezTo>
                      <a:pt x="549" y="216"/>
                      <a:pt x="550" y="216"/>
                      <a:pt x="550" y="215"/>
                    </a:cubicBezTo>
                    <a:cubicBezTo>
                      <a:pt x="551" y="215"/>
                      <a:pt x="552" y="215"/>
                      <a:pt x="553" y="214"/>
                    </a:cubicBezTo>
                    <a:cubicBezTo>
                      <a:pt x="553" y="214"/>
                      <a:pt x="554" y="214"/>
                      <a:pt x="555" y="214"/>
                    </a:cubicBezTo>
                    <a:cubicBezTo>
                      <a:pt x="554" y="215"/>
                      <a:pt x="556" y="214"/>
                      <a:pt x="557" y="214"/>
                    </a:cubicBezTo>
                    <a:cubicBezTo>
                      <a:pt x="557" y="214"/>
                      <a:pt x="558" y="214"/>
                      <a:pt x="558" y="215"/>
                    </a:cubicBezTo>
                    <a:cubicBezTo>
                      <a:pt x="558" y="215"/>
                      <a:pt x="559" y="215"/>
                      <a:pt x="559" y="216"/>
                    </a:cubicBezTo>
                    <a:cubicBezTo>
                      <a:pt x="559" y="216"/>
                      <a:pt x="558" y="217"/>
                      <a:pt x="558" y="217"/>
                    </a:cubicBezTo>
                    <a:cubicBezTo>
                      <a:pt x="558" y="217"/>
                      <a:pt x="559" y="218"/>
                      <a:pt x="559" y="218"/>
                    </a:cubicBezTo>
                    <a:cubicBezTo>
                      <a:pt x="559" y="218"/>
                      <a:pt x="558" y="218"/>
                      <a:pt x="558" y="218"/>
                    </a:cubicBezTo>
                    <a:cubicBezTo>
                      <a:pt x="558" y="218"/>
                      <a:pt x="559" y="218"/>
                      <a:pt x="559" y="218"/>
                    </a:cubicBezTo>
                    <a:cubicBezTo>
                      <a:pt x="558" y="219"/>
                      <a:pt x="557" y="220"/>
                      <a:pt x="556" y="221"/>
                    </a:cubicBezTo>
                    <a:cubicBezTo>
                      <a:pt x="555" y="222"/>
                      <a:pt x="555" y="223"/>
                      <a:pt x="553" y="223"/>
                    </a:cubicBezTo>
                    <a:cubicBezTo>
                      <a:pt x="551" y="224"/>
                      <a:pt x="548" y="224"/>
                      <a:pt x="545" y="226"/>
                    </a:cubicBezTo>
                    <a:cubicBezTo>
                      <a:pt x="547" y="225"/>
                      <a:pt x="549" y="224"/>
                      <a:pt x="551" y="224"/>
                    </a:cubicBezTo>
                    <a:cubicBezTo>
                      <a:pt x="553" y="223"/>
                      <a:pt x="555" y="223"/>
                      <a:pt x="556" y="222"/>
                    </a:cubicBezTo>
                    <a:cubicBezTo>
                      <a:pt x="556" y="221"/>
                      <a:pt x="557" y="221"/>
                      <a:pt x="558" y="220"/>
                    </a:cubicBezTo>
                    <a:cubicBezTo>
                      <a:pt x="558" y="220"/>
                      <a:pt x="558" y="219"/>
                      <a:pt x="559" y="218"/>
                    </a:cubicBezTo>
                    <a:cubicBezTo>
                      <a:pt x="560" y="218"/>
                      <a:pt x="560" y="218"/>
                      <a:pt x="560" y="218"/>
                    </a:cubicBezTo>
                    <a:cubicBezTo>
                      <a:pt x="561" y="217"/>
                      <a:pt x="561" y="218"/>
                      <a:pt x="561" y="218"/>
                    </a:cubicBezTo>
                    <a:cubicBezTo>
                      <a:pt x="561" y="218"/>
                      <a:pt x="561" y="219"/>
                      <a:pt x="560" y="219"/>
                    </a:cubicBezTo>
                    <a:cubicBezTo>
                      <a:pt x="560" y="219"/>
                      <a:pt x="560" y="220"/>
                      <a:pt x="560" y="220"/>
                    </a:cubicBezTo>
                    <a:cubicBezTo>
                      <a:pt x="559" y="222"/>
                      <a:pt x="558" y="222"/>
                      <a:pt x="557" y="223"/>
                    </a:cubicBezTo>
                    <a:cubicBezTo>
                      <a:pt x="558" y="223"/>
                      <a:pt x="558" y="221"/>
                      <a:pt x="559" y="221"/>
                    </a:cubicBezTo>
                    <a:cubicBezTo>
                      <a:pt x="560" y="221"/>
                      <a:pt x="560" y="221"/>
                      <a:pt x="561" y="220"/>
                    </a:cubicBezTo>
                    <a:cubicBezTo>
                      <a:pt x="561" y="219"/>
                      <a:pt x="562" y="218"/>
                      <a:pt x="562" y="219"/>
                    </a:cubicBezTo>
                    <a:cubicBezTo>
                      <a:pt x="563" y="219"/>
                      <a:pt x="561" y="220"/>
                      <a:pt x="561" y="221"/>
                    </a:cubicBezTo>
                    <a:cubicBezTo>
                      <a:pt x="562" y="221"/>
                      <a:pt x="561" y="222"/>
                      <a:pt x="561" y="222"/>
                    </a:cubicBezTo>
                    <a:cubicBezTo>
                      <a:pt x="560" y="222"/>
                      <a:pt x="560" y="223"/>
                      <a:pt x="560" y="223"/>
                    </a:cubicBezTo>
                    <a:cubicBezTo>
                      <a:pt x="560" y="223"/>
                      <a:pt x="559" y="224"/>
                      <a:pt x="559" y="224"/>
                    </a:cubicBezTo>
                    <a:cubicBezTo>
                      <a:pt x="560" y="224"/>
                      <a:pt x="560" y="224"/>
                      <a:pt x="560" y="223"/>
                    </a:cubicBezTo>
                    <a:cubicBezTo>
                      <a:pt x="560" y="223"/>
                      <a:pt x="560" y="223"/>
                      <a:pt x="561" y="223"/>
                    </a:cubicBezTo>
                    <a:cubicBezTo>
                      <a:pt x="561" y="223"/>
                      <a:pt x="561" y="223"/>
                      <a:pt x="561" y="222"/>
                    </a:cubicBezTo>
                    <a:cubicBezTo>
                      <a:pt x="561" y="222"/>
                      <a:pt x="562" y="221"/>
                      <a:pt x="563" y="221"/>
                    </a:cubicBezTo>
                    <a:cubicBezTo>
                      <a:pt x="564" y="220"/>
                      <a:pt x="565" y="220"/>
                      <a:pt x="566" y="220"/>
                    </a:cubicBezTo>
                    <a:cubicBezTo>
                      <a:pt x="566" y="219"/>
                      <a:pt x="566" y="220"/>
                      <a:pt x="567" y="220"/>
                    </a:cubicBezTo>
                    <a:cubicBezTo>
                      <a:pt x="567" y="219"/>
                      <a:pt x="567" y="219"/>
                      <a:pt x="567" y="219"/>
                    </a:cubicBezTo>
                    <a:cubicBezTo>
                      <a:pt x="568" y="219"/>
                      <a:pt x="568" y="218"/>
                      <a:pt x="569" y="218"/>
                    </a:cubicBezTo>
                    <a:cubicBezTo>
                      <a:pt x="569" y="219"/>
                      <a:pt x="568" y="219"/>
                      <a:pt x="569" y="219"/>
                    </a:cubicBezTo>
                    <a:cubicBezTo>
                      <a:pt x="570" y="219"/>
                      <a:pt x="570" y="218"/>
                      <a:pt x="570" y="218"/>
                    </a:cubicBezTo>
                    <a:cubicBezTo>
                      <a:pt x="570" y="218"/>
                      <a:pt x="571" y="219"/>
                      <a:pt x="571" y="218"/>
                    </a:cubicBezTo>
                    <a:cubicBezTo>
                      <a:pt x="571" y="218"/>
                      <a:pt x="571" y="218"/>
                      <a:pt x="571" y="218"/>
                    </a:cubicBezTo>
                    <a:cubicBezTo>
                      <a:pt x="572" y="218"/>
                      <a:pt x="572" y="217"/>
                      <a:pt x="572" y="217"/>
                    </a:cubicBezTo>
                    <a:cubicBezTo>
                      <a:pt x="572" y="216"/>
                      <a:pt x="574" y="216"/>
                      <a:pt x="574" y="216"/>
                    </a:cubicBezTo>
                    <a:cubicBezTo>
                      <a:pt x="574" y="215"/>
                      <a:pt x="575" y="214"/>
                      <a:pt x="575" y="215"/>
                    </a:cubicBezTo>
                    <a:cubicBezTo>
                      <a:pt x="575" y="215"/>
                      <a:pt x="576" y="216"/>
                      <a:pt x="576" y="216"/>
                    </a:cubicBezTo>
                    <a:cubicBezTo>
                      <a:pt x="576" y="216"/>
                      <a:pt x="576" y="217"/>
                      <a:pt x="576" y="217"/>
                    </a:cubicBezTo>
                    <a:cubicBezTo>
                      <a:pt x="577" y="217"/>
                      <a:pt x="577" y="217"/>
                      <a:pt x="577" y="217"/>
                    </a:cubicBezTo>
                    <a:cubicBezTo>
                      <a:pt x="577" y="217"/>
                      <a:pt x="577" y="217"/>
                      <a:pt x="577" y="217"/>
                    </a:cubicBezTo>
                    <a:cubicBezTo>
                      <a:pt x="577" y="218"/>
                      <a:pt x="577" y="218"/>
                      <a:pt x="576" y="218"/>
                    </a:cubicBezTo>
                    <a:cubicBezTo>
                      <a:pt x="576" y="218"/>
                      <a:pt x="576" y="218"/>
                      <a:pt x="576" y="219"/>
                    </a:cubicBezTo>
                    <a:cubicBezTo>
                      <a:pt x="576" y="219"/>
                      <a:pt x="576" y="219"/>
                      <a:pt x="575" y="219"/>
                    </a:cubicBezTo>
                    <a:cubicBezTo>
                      <a:pt x="575" y="220"/>
                      <a:pt x="574" y="220"/>
                      <a:pt x="575" y="220"/>
                    </a:cubicBezTo>
                    <a:cubicBezTo>
                      <a:pt x="575" y="220"/>
                      <a:pt x="576" y="219"/>
                      <a:pt x="576" y="219"/>
                    </a:cubicBezTo>
                    <a:cubicBezTo>
                      <a:pt x="576" y="219"/>
                      <a:pt x="576" y="219"/>
                      <a:pt x="577" y="218"/>
                    </a:cubicBezTo>
                    <a:cubicBezTo>
                      <a:pt x="577" y="218"/>
                      <a:pt x="577" y="217"/>
                      <a:pt x="578" y="218"/>
                    </a:cubicBezTo>
                    <a:cubicBezTo>
                      <a:pt x="578" y="217"/>
                      <a:pt x="577" y="217"/>
                      <a:pt x="577" y="216"/>
                    </a:cubicBezTo>
                    <a:cubicBezTo>
                      <a:pt x="577" y="216"/>
                      <a:pt x="577" y="217"/>
                      <a:pt x="577" y="216"/>
                    </a:cubicBezTo>
                    <a:cubicBezTo>
                      <a:pt x="577" y="216"/>
                      <a:pt x="577" y="216"/>
                      <a:pt x="577" y="216"/>
                    </a:cubicBezTo>
                    <a:cubicBezTo>
                      <a:pt x="577" y="214"/>
                      <a:pt x="579" y="215"/>
                      <a:pt x="580" y="215"/>
                    </a:cubicBezTo>
                    <a:cubicBezTo>
                      <a:pt x="579" y="215"/>
                      <a:pt x="578" y="215"/>
                      <a:pt x="578" y="214"/>
                    </a:cubicBezTo>
                    <a:cubicBezTo>
                      <a:pt x="579" y="214"/>
                      <a:pt x="580" y="214"/>
                      <a:pt x="580" y="213"/>
                    </a:cubicBezTo>
                    <a:cubicBezTo>
                      <a:pt x="580" y="213"/>
                      <a:pt x="581" y="214"/>
                      <a:pt x="581" y="214"/>
                    </a:cubicBezTo>
                    <a:cubicBezTo>
                      <a:pt x="581" y="214"/>
                      <a:pt x="581" y="213"/>
                      <a:pt x="580" y="213"/>
                    </a:cubicBezTo>
                    <a:cubicBezTo>
                      <a:pt x="581" y="213"/>
                      <a:pt x="581" y="213"/>
                      <a:pt x="581" y="213"/>
                    </a:cubicBezTo>
                    <a:cubicBezTo>
                      <a:pt x="582" y="213"/>
                      <a:pt x="582" y="214"/>
                      <a:pt x="583" y="213"/>
                    </a:cubicBezTo>
                    <a:cubicBezTo>
                      <a:pt x="583" y="213"/>
                      <a:pt x="582" y="213"/>
                      <a:pt x="583" y="213"/>
                    </a:cubicBezTo>
                    <a:cubicBezTo>
                      <a:pt x="583" y="213"/>
                      <a:pt x="584" y="213"/>
                      <a:pt x="584" y="213"/>
                    </a:cubicBezTo>
                    <a:cubicBezTo>
                      <a:pt x="584" y="213"/>
                      <a:pt x="583" y="212"/>
                      <a:pt x="583" y="212"/>
                    </a:cubicBezTo>
                    <a:cubicBezTo>
                      <a:pt x="582" y="212"/>
                      <a:pt x="582" y="213"/>
                      <a:pt x="582" y="212"/>
                    </a:cubicBezTo>
                    <a:cubicBezTo>
                      <a:pt x="582" y="212"/>
                      <a:pt x="582" y="212"/>
                      <a:pt x="582" y="211"/>
                    </a:cubicBezTo>
                    <a:cubicBezTo>
                      <a:pt x="582" y="211"/>
                      <a:pt x="583" y="210"/>
                      <a:pt x="583" y="211"/>
                    </a:cubicBezTo>
                    <a:cubicBezTo>
                      <a:pt x="583" y="211"/>
                      <a:pt x="583" y="211"/>
                      <a:pt x="583" y="211"/>
                    </a:cubicBezTo>
                    <a:cubicBezTo>
                      <a:pt x="583" y="211"/>
                      <a:pt x="584" y="211"/>
                      <a:pt x="584" y="211"/>
                    </a:cubicBezTo>
                    <a:cubicBezTo>
                      <a:pt x="584" y="211"/>
                      <a:pt x="584" y="209"/>
                      <a:pt x="584" y="210"/>
                    </a:cubicBezTo>
                    <a:cubicBezTo>
                      <a:pt x="584" y="210"/>
                      <a:pt x="585" y="211"/>
                      <a:pt x="585" y="210"/>
                    </a:cubicBezTo>
                    <a:cubicBezTo>
                      <a:pt x="585" y="210"/>
                      <a:pt x="585" y="209"/>
                      <a:pt x="586" y="209"/>
                    </a:cubicBezTo>
                    <a:cubicBezTo>
                      <a:pt x="586" y="209"/>
                      <a:pt x="585" y="209"/>
                      <a:pt x="585" y="209"/>
                    </a:cubicBezTo>
                    <a:cubicBezTo>
                      <a:pt x="585" y="209"/>
                      <a:pt x="585" y="209"/>
                      <a:pt x="585" y="208"/>
                    </a:cubicBezTo>
                    <a:cubicBezTo>
                      <a:pt x="586" y="208"/>
                      <a:pt x="587" y="208"/>
                      <a:pt x="587" y="209"/>
                    </a:cubicBezTo>
                    <a:cubicBezTo>
                      <a:pt x="588" y="209"/>
                      <a:pt x="588" y="210"/>
                      <a:pt x="589" y="209"/>
                    </a:cubicBezTo>
                    <a:cubicBezTo>
                      <a:pt x="588" y="209"/>
                      <a:pt x="588" y="209"/>
                      <a:pt x="588" y="209"/>
                    </a:cubicBezTo>
                    <a:cubicBezTo>
                      <a:pt x="588" y="209"/>
                      <a:pt x="588" y="208"/>
                      <a:pt x="588" y="208"/>
                    </a:cubicBezTo>
                    <a:cubicBezTo>
                      <a:pt x="587" y="208"/>
                      <a:pt x="587" y="208"/>
                      <a:pt x="586" y="208"/>
                    </a:cubicBezTo>
                    <a:cubicBezTo>
                      <a:pt x="586" y="208"/>
                      <a:pt x="586" y="206"/>
                      <a:pt x="586" y="206"/>
                    </a:cubicBezTo>
                    <a:cubicBezTo>
                      <a:pt x="587" y="206"/>
                      <a:pt x="587" y="206"/>
                      <a:pt x="587" y="205"/>
                    </a:cubicBezTo>
                    <a:cubicBezTo>
                      <a:pt x="588" y="206"/>
                      <a:pt x="588" y="205"/>
                      <a:pt x="588" y="205"/>
                    </a:cubicBezTo>
                    <a:cubicBezTo>
                      <a:pt x="589" y="205"/>
                      <a:pt x="590" y="206"/>
                      <a:pt x="591" y="206"/>
                    </a:cubicBezTo>
                    <a:cubicBezTo>
                      <a:pt x="590" y="206"/>
                      <a:pt x="590" y="205"/>
                      <a:pt x="589" y="205"/>
                    </a:cubicBezTo>
                    <a:cubicBezTo>
                      <a:pt x="590" y="205"/>
                      <a:pt x="590" y="204"/>
                      <a:pt x="590" y="204"/>
                    </a:cubicBezTo>
                    <a:cubicBezTo>
                      <a:pt x="590" y="204"/>
                      <a:pt x="590" y="204"/>
                      <a:pt x="590" y="204"/>
                    </a:cubicBezTo>
                    <a:cubicBezTo>
                      <a:pt x="591" y="204"/>
                      <a:pt x="590" y="204"/>
                      <a:pt x="590" y="204"/>
                    </a:cubicBezTo>
                    <a:cubicBezTo>
                      <a:pt x="590" y="204"/>
                      <a:pt x="590" y="204"/>
                      <a:pt x="591" y="204"/>
                    </a:cubicBezTo>
                    <a:cubicBezTo>
                      <a:pt x="591" y="204"/>
                      <a:pt x="591" y="204"/>
                      <a:pt x="591" y="204"/>
                    </a:cubicBezTo>
                    <a:cubicBezTo>
                      <a:pt x="591" y="204"/>
                      <a:pt x="591" y="203"/>
                      <a:pt x="591" y="203"/>
                    </a:cubicBezTo>
                    <a:cubicBezTo>
                      <a:pt x="592" y="203"/>
                      <a:pt x="591" y="203"/>
                      <a:pt x="591" y="203"/>
                    </a:cubicBezTo>
                    <a:cubicBezTo>
                      <a:pt x="591" y="203"/>
                      <a:pt x="592" y="203"/>
                      <a:pt x="592" y="202"/>
                    </a:cubicBezTo>
                    <a:cubicBezTo>
                      <a:pt x="592" y="202"/>
                      <a:pt x="593" y="202"/>
                      <a:pt x="593" y="202"/>
                    </a:cubicBezTo>
                    <a:cubicBezTo>
                      <a:pt x="593" y="201"/>
                      <a:pt x="594" y="201"/>
                      <a:pt x="594" y="201"/>
                    </a:cubicBezTo>
                    <a:cubicBezTo>
                      <a:pt x="594" y="201"/>
                      <a:pt x="594" y="201"/>
                      <a:pt x="594" y="201"/>
                    </a:cubicBezTo>
                    <a:cubicBezTo>
                      <a:pt x="594" y="200"/>
                      <a:pt x="595" y="200"/>
                      <a:pt x="595" y="200"/>
                    </a:cubicBezTo>
                    <a:cubicBezTo>
                      <a:pt x="595" y="200"/>
                      <a:pt x="595" y="199"/>
                      <a:pt x="596" y="200"/>
                    </a:cubicBezTo>
                    <a:cubicBezTo>
                      <a:pt x="597" y="200"/>
                      <a:pt x="598" y="200"/>
                      <a:pt x="598" y="201"/>
                    </a:cubicBezTo>
                    <a:cubicBezTo>
                      <a:pt x="597" y="201"/>
                      <a:pt x="596" y="200"/>
                      <a:pt x="595" y="201"/>
                    </a:cubicBezTo>
                    <a:cubicBezTo>
                      <a:pt x="596" y="201"/>
                      <a:pt x="597" y="200"/>
                      <a:pt x="597" y="201"/>
                    </a:cubicBezTo>
                    <a:cubicBezTo>
                      <a:pt x="597" y="201"/>
                      <a:pt x="597" y="201"/>
                      <a:pt x="596" y="201"/>
                    </a:cubicBezTo>
                    <a:cubicBezTo>
                      <a:pt x="597" y="202"/>
                      <a:pt x="597" y="201"/>
                      <a:pt x="598" y="201"/>
                    </a:cubicBezTo>
                    <a:cubicBezTo>
                      <a:pt x="597" y="201"/>
                      <a:pt x="598" y="201"/>
                      <a:pt x="597" y="202"/>
                    </a:cubicBezTo>
                    <a:cubicBezTo>
                      <a:pt x="597" y="202"/>
                      <a:pt x="597" y="202"/>
                      <a:pt x="597" y="202"/>
                    </a:cubicBezTo>
                    <a:cubicBezTo>
                      <a:pt x="596" y="203"/>
                      <a:pt x="596" y="202"/>
                      <a:pt x="595" y="203"/>
                    </a:cubicBezTo>
                    <a:cubicBezTo>
                      <a:pt x="595" y="203"/>
                      <a:pt x="594" y="203"/>
                      <a:pt x="593" y="203"/>
                    </a:cubicBezTo>
                    <a:cubicBezTo>
                      <a:pt x="593" y="203"/>
                      <a:pt x="594" y="203"/>
                      <a:pt x="594" y="203"/>
                    </a:cubicBezTo>
                    <a:cubicBezTo>
                      <a:pt x="595" y="203"/>
                      <a:pt x="596" y="203"/>
                      <a:pt x="596" y="203"/>
                    </a:cubicBezTo>
                    <a:cubicBezTo>
                      <a:pt x="596" y="203"/>
                      <a:pt x="598" y="202"/>
                      <a:pt x="598" y="202"/>
                    </a:cubicBezTo>
                    <a:cubicBezTo>
                      <a:pt x="598" y="202"/>
                      <a:pt x="597" y="202"/>
                      <a:pt x="597" y="202"/>
                    </a:cubicBezTo>
                    <a:cubicBezTo>
                      <a:pt x="597" y="203"/>
                      <a:pt x="597" y="203"/>
                      <a:pt x="597" y="203"/>
                    </a:cubicBezTo>
                    <a:cubicBezTo>
                      <a:pt x="597" y="203"/>
                      <a:pt x="596" y="203"/>
                      <a:pt x="596" y="203"/>
                    </a:cubicBezTo>
                    <a:cubicBezTo>
                      <a:pt x="596" y="203"/>
                      <a:pt x="597" y="203"/>
                      <a:pt x="596" y="203"/>
                    </a:cubicBezTo>
                    <a:cubicBezTo>
                      <a:pt x="596" y="204"/>
                      <a:pt x="596" y="204"/>
                      <a:pt x="595" y="204"/>
                    </a:cubicBezTo>
                    <a:cubicBezTo>
                      <a:pt x="596" y="204"/>
                      <a:pt x="597" y="204"/>
                      <a:pt x="597" y="204"/>
                    </a:cubicBezTo>
                    <a:cubicBezTo>
                      <a:pt x="597" y="203"/>
                      <a:pt x="598" y="203"/>
                      <a:pt x="598" y="203"/>
                    </a:cubicBezTo>
                    <a:cubicBezTo>
                      <a:pt x="598" y="203"/>
                      <a:pt x="597" y="203"/>
                      <a:pt x="597" y="203"/>
                    </a:cubicBezTo>
                    <a:cubicBezTo>
                      <a:pt x="597" y="203"/>
                      <a:pt x="598" y="203"/>
                      <a:pt x="598" y="203"/>
                    </a:cubicBezTo>
                    <a:cubicBezTo>
                      <a:pt x="599" y="203"/>
                      <a:pt x="598" y="204"/>
                      <a:pt x="597" y="204"/>
                    </a:cubicBezTo>
                    <a:cubicBezTo>
                      <a:pt x="597" y="204"/>
                      <a:pt x="598" y="204"/>
                      <a:pt x="598" y="204"/>
                    </a:cubicBezTo>
                    <a:cubicBezTo>
                      <a:pt x="598" y="204"/>
                      <a:pt x="597" y="204"/>
                      <a:pt x="597" y="204"/>
                    </a:cubicBezTo>
                    <a:cubicBezTo>
                      <a:pt x="598" y="205"/>
                      <a:pt x="598" y="204"/>
                      <a:pt x="598" y="204"/>
                    </a:cubicBezTo>
                    <a:cubicBezTo>
                      <a:pt x="598" y="204"/>
                      <a:pt x="597" y="205"/>
                      <a:pt x="597" y="205"/>
                    </a:cubicBezTo>
                    <a:cubicBezTo>
                      <a:pt x="597" y="206"/>
                      <a:pt x="597" y="205"/>
                      <a:pt x="597" y="206"/>
                    </a:cubicBezTo>
                    <a:cubicBezTo>
                      <a:pt x="597" y="207"/>
                      <a:pt x="598" y="206"/>
                      <a:pt x="598" y="206"/>
                    </a:cubicBezTo>
                    <a:cubicBezTo>
                      <a:pt x="598" y="207"/>
                      <a:pt x="598" y="207"/>
                      <a:pt x="598" y="207"/>
                    </a:cubicBezTo>
                    <a:cubicBezTo>
                      <a:pt x="598" y="207"/>
                      <a:pt x="598" y="207"/>
                      <a:pt x="597" y="207"/>
                    </a:cubicBezTo>
                    <a:cubicBezTo>
                      <a:pt x="597" y="207"/>
                      <a:pt x="597" y="208"/>
                      <a:pt x="596" y="208"/>
                    </a:cubicBezTo>
                    <a:cubicBezTo>
                      <a:pt x="597" y="208"/>
                      <a:pt x="597" y="207"/>
                      <a:pt x="598" y="207"/>
                    </a:cubicBezTo>
                    <a:cubicBezTo>
                      <a:pt x="598" y="207"/>
                      <a:pt x="599" y="207"/>
                      <a:pt x="599" y="207"/>
                    </a:cubicBezTo>
                    <a:cubicBezTo>
                      <a:pt x="599" y="208"/>
                      <a:pt x="598" y="208"/>
                      <a:pt x="597" y="208"/>
                    </a:cubicBezTo>
                    <a:cubicBezTo>
                      <a:pt x="598" y="208"/>
                      <a:pt x="598" y="207"/>
                      <a:pt x="599" y="208"/>
                    </a:cubicBezTo>
                    <a:cubicBezTo>
                      <a:pt x="599" y="208"/>
                      <a:pt x="599" y="208"/>
                      <a:pt x="599" y="208"/>
                    </a:cubicBezTo>
                    <a:cubicBezTo>
                      <a:pt x="598" y="209"/>
                      <a:pt x="597" y="209"/>
                      <a:pt x="596" y="209"/>
                    </a:cubicBezTo>
                    <a:cubicBezTo>
                      <a:pt x="597" y="210"/>
                      <a:pt x="598" y="210"/>
                      <a:pt x="598" y="209"/>
                    </a:cubicBezTo>
                    <a:cubicBezTo>
                      <a:pt x="598" y="210"/>
                      <a:pt x="598" y="210"/>
                      <a:pt x="598" y="210"/>
                    </a:cubicBezTo>
                    <a:cubicBezTo>
                      <a:pt x="598" y="210"/>
                      <a:pt x="598" y="210"/>
                      <a:pt x="598" y="210"/>
                    </a:cubicBezTo>
                    <a:cubicBezTo>
                      <a:pt x="598" y="210"/>
                      <a:pt x="598" y="211"/>
                      <a:pt x="597" y="211"/>
                    </a:cubicBezTo>
                    <a:cubicBezTo>
                      <a:pt x="598" y="211"/>
                      <a:pt x="599" y="210"/>
                      <a:pt x="599" y="210"/>
                    </a:cubicBezTo>
                    <a:cubicBezTo>
                      <a:pt x="600" y="210"/>
                      <a:pt x="599" y="211"/>
                      <a:pt x="598" y="211"/>
                    </a:cubicBezTo>
                    <a:cubicBezTo>
                      <a:pt x="599" y="212"/>
                      <a:pt x="600" y="210"/>
                      <a:pt x="601" y="210"/>
                    </a:cubicBezTo>
                    <a:cubicBezTo>
                      <a:pt x="601" y="211"/>
                      <a:pt x="600" y="211"/>
                      <a:pt x="600" y="211"/>
                    </a:cubicBezTo>
                    <a:cubicBezTo>
                      <a:pt x="600" y="211"/>
                      <a:pt x="600" y="211"/>
                      <a:pt x="600" y="211"/>
                    </a:cubicBezTo>
                    <a:cubicBezTo>
                      <a:pt x="600" y="211"/>
                      <a:pt x="600" y="211"/>
                      <a:pt x="600" y="211"/>
                    </a:cubicBezTo>
                    <a:cubicBezTo>
                      <a:pt x="601" y="212"/>
                      <a:pt x="598" y="213"/>
                      <a:pt x="598" y="213"/>
                    </a:cubicBezTo>
                    <a:cubicBezTo>
                      <a:pt x="596" y="213"/>
                      <a:pt x="595" y="212"/>
                      <a:pt x="594" y="213"/>
                    </a:cubicBezTo>
                    <a:cubicBezTo>
                      <a:pt x="595" y="213"/>
                      <a:pt x="595" y="213"/>
                      <a:pt x="595" y="213"/>
                    </a:cubicBezTo>
                    <a:cubicBezTo>
                      <a:pt x="595" y="213"/>
                      <a:pt x="595" y="213"/>
                      <a:pt x="595" y="214"/>
                    </a:cubicBezTo>
                    <a:cubicBezTo>
                      <a:pt x="595" y="214"/>
                      <a:pt x="596" y="213"/>
                      <a:pt x="596" y="213"/>
                    </a:cubicBezTo>
                    <a:cubicBezTo>
                      <a:pt x="596" y="213"/>
                      <a:pt x="596" y="213"/>
                      <a:pt x="596" y="213"/>
                    </a:cubicBezTo>
                    <a:cubicBezTo>
                      <a:pt x="597" y="213"/>
                      <a:pt x="598" y="213"/>
                      <a:pt x="599" y="213"/>
                    </a:cubicBezTo>
                    <a:cubicBezTo>
                      <a:pt x="599" y="213"/>
                      <a:pt x="600" y="212"/>
                      <a:pt x="600" y="212"/>
                    </a:cubicBezTo>
                    <a:cubicBezTo>
                      <a:pt x="600" y="213"/>
                      <a:pt x="601" y="213"/>
                      <a:pt x="601" y="213"/>
                    </a:cubicBezTo>
                    <a:cubicBezTo>
                      <a:pt x="601" y="213"/>
                      <a:pt x="600" y="213"/>
                      <a:pt x="600" y="213"/>
                    </a:cubicBezTo>
                    <a:cubicBezTo>
                      <a:pt x="600" y="213"/>
                      <a:pt x="600" y="213"/>
                      <a:pt x="600" y="213"/>
                    </a:cubicBezTo>
                    <a:cubicBezTo>
                      <a:pt x="600" y="213"/>
                      <a:pt x="600" y="214"/>
                      <a:pt x="600" y="214"/>
                    </a:cubicBezTo>
                    <a:cubicBezTo>
                      <a:pt x="600" y="214"/>
                      <a:pt x="600" y="213"/>
                      <a:pt x="601" y="214"/>
                    </a:cubicBezTo>
                    <a:cubicBezTo>
                      <a:pt x="601" y="214"/>
                      <a:pt x="600" y="214"/>
                      <a:pt x="600" y="214"/>
                    </a:cubicBezTo>
                    <a:cubicBezTo>
                      <a:pt x="600" y="214"/>
                      <a:pt x="600" y="214"/>
                      <a:pt x="601" y="214"/>
                    </a:cubicBezTo>
                    <a:cubicBezTo>
                      <a:pt x="600" y="214"/>
                      <a:pt x="599" y="215"/>
                      <a:pt x="599" y="215"/>
                    </a:cubicBezTo>
                    <a:cubicBezTo>
                      <a:pt x="599" y="215"/>
                      <a:pt x="600" y="215"/>
                      <a:pt x="600" y="215"/>
                    </a:cubicBezTo>
                    <a:cubicBezTo>
                      <a:pt x="600" y="215"/>
                      <a:pt x="600" y="215"/>
                      <a:pt x="600" y="215"/>
                    </a:cubicBezTo>
                    <a:cubicBezTo>
                      <a:pt x="600" y="215"/>
                      <a:pt x="601" y="214"/>
                      <a:pt x="602" y="214"/>
                    </a:cubicBezTo>
                    <a:cubicBezTo>
                      <a:pt x="601" y="215"/>
                      <a:pt x="601" y="215"/>
                      <a:pt x="601" y="215"/>
                    </a:cubicBezTo>
                    <a:cubicBezTo>
                      <a:pt x="601" y="215"/>
                      <a:pt x="602" y="215"/>
                      <a:pt x="602" y="216"/>
                    </a:cubicBezTo>
                    <a:cubicBezTo>
                      <a:pt x="601" y="216"/>
                      <a:pt x="601" y="216"/>
                      <a:pt x="600" y="216"/>
                    </a:cubicBezTo>
                    <a:cubicBezTo>
                      <a:pt x="601" y="216"/>
                      <a:pt x="602" y="216"/>
                      <a:pt x="602" y="217"/>
                    </a:cubicBezTo>
                    <a:cubicBezTo>
                      <a:pt x="602" y="217"/>
                      <a:pt x="601" y="217"/>
                      <a:pt x="601" y="217"/>
                    </a:cubicBezTo>
                    <a:cubicBezTo>
                      <a:pt x="601" y="217"/>
                      <a:pt x="600" y="218"/>
                      <a:pt x="600" y="218"/>
                    </a:cubicBezTo>
                    <a:cubicBezTo>
                      <a:pt x="599" y="218"/>
                      <a:pt x="598" y="218"/>
                      <a:pt x="597" y="218"/>
                    </a:cubicBezTo>
                    <a:cubicBezTo>
                      <a:pt x="597" y="218"/>
                      <a:pt x="597" y="218"/>
                      <a:pt x="596" y="218"/>
                    </a:cubicBezTo>
                    <a:cubicBezTo>
                      <a:pt x="596" y="218"/>
                      <a:pt x="596" y="219"/>
                      <a:pt x="595" y="219"/>
                    </a:cubicBezTo>
                    <a:cubicBezTo>
                      <a:pt x="596" y="219"/>
                      <a:pt x="597" y="219"/>
                      <a:pt x="596" y="219"/>
                    </a:cubicBezTo>
                    <a:cubicBezTo>
                      <a:pt x="595" y="220"/>
                      <a:pt x="594" y="220"/>
                      <a:pt x="594" y="220"/>
                    </a:cubicBezTo>
                    <a:cubicBezTo>
                      <a:pt x="595" y="220"/>
                      <a:pt x="596" y="219"/>
                      <a:pt x="598" y="219"/>
                    </a:cubicBezTo>
                    <a:cubicBezTo>
                      <a:pt x="598" y="219"/>
                      <a:pt x="599" y="218"/>
                      <a:pt x="599" y="219"/>
                    </a:cubicBezTo>
                    <a:cubicBezTo>
                      <a:pt x="598" y="219"/>
                      <a:pt x="598" y="219"/>
                      <a:pt x="598" y="220"/>
                    </a:cubicBezTo>
                    <a:cubicBezTo>
                      <a:pt x="598" y="219"/>
                      <a:pt x="598" y="219"/>
                      <a:pt x="599" y="219"/>
                    </a:cubicBezTo>
                    <a:cubicBezTo>
                      <a:pt x="599" y="219"/>
                      <a:pt x="599" y="219"/>
                      <a:pt x="599" y="219"/>
                    </a:cubicBezTo>
                    <a:cubicBezTo>
                      <a:pt x="600" y="219"/>
                      <a:pt x="601" y="219"/>
                      <a:pt x="601" y="218"/>
                    </a:cubicBezTo>
                    <a:cubicBezTo>
                      <a:pt x="601" y="219"/>
                      <a:pt x="601" y="219"/>
                      <a:pt x="601" y="219"/>
                    </a:cubicBezTo>
                    <a:cubicBezTo>
                      <a:pt x="601" y="219"/>
                      <a:pt x="602" y="218"/>
                      <a:pt x="603" y="218"/>
                    </a:cubicBezTo>
                    <a:cubicBezTo>
                      <a:pt x="603" y="218"/>
                      <a:pt x="602" y="219"/>
                      <a:pt x="602" y="219"/>
                    </a:cubicBezTo>
                    <a:cubicBezTo>
                      <a:pt x="602" y="220"/>
                      <a:pt x="601" y="221"/>
                      <a:pt x="600" y="221"/>
                    </a:cubicBezTo>
                    <a:cubicBezTo>
                      <a:pt x="600" y="221"/>
                      <a:pt x="599" y="221"/>
                      <a:pt x="599" y="221"/>
                    </a:cubicBezTo>
                    <a:cubicBezTo>
                      <a:pt x="599" y="221"/>
                      <a:pt x="602" y="220"/>
                      <a:pt x="601" y="221"/>
                    </a:cubicBezTo>
                    <a:cubicBezTo>
                      <a:pt x="601" y="222"/>
                      <a:pt x="598" y="222"/>
                      <a:pt x="597" y="222"/>
                    </a:cubicBezTo>
                    <a:cubicBezTo>
                      <a:pt x="598" y="222"/>
                      <a:pt x="596" y="223"/>
                      <a:pt x="596" y="223"/>
                    </a:cubicBezTo>
                    <a:cubicBezTo>
                      <a:pt x="596" y="223"/>
                      <a:pt x="596" y="223"/>
                      <a:pt x="596" y="223"/>
                    </a:cubicBezTo>
                    <a:cubicBezTo>
                      <a:pt x="596" y="224"/>
                      <a:pt x="595" y="223"/>
                      <a:pt x="594" y="224"/>
                    </a:cubicBezTo>
                    <a:cubicBezTo>
                      <a:pt x="596" y="224"/>
                      <a:pt x="597" y="222"/>
                      <a:pt x="599" y="222"/>
                    </a:cubicBezTo>
                    <a:cubicBezTo>
                      <a:pt x="598" y="222"/>
                      <a:pt x="600" y="222"/>
                      <a:pt x="600" y="222"/>
                    </a:cubicBezTo>
                    <a:cubicBezTo>
                      <a:pt x="600" y="222"/>
                      <a:pt x="600" y="222"/>
                      <a:pt x="601" y="222"/>
                    </a:cubicBezTo>
                    <a:cubicBezTo>
                      <a:pt x="601" y="222"/>
                      <a:pt x="601" y="222"/>
                      <a:pt x="601" y="222"/>
                    </a:cubicBezTo>
                    <a:cubicBezTo>
                      <a:pt x="601" y="223"/>
                      <a:pt x="602" y="222"/>
                      <a:pt x="602" y="222"/>
                    </a:cubicBezTo>
                    <a:cubicBezTo>
                      <a:pt x="602" y="222"/>
                      <a:pt x="601" y="222"/>
                      <a:pt x="601" y="223"/>
                    </a:cubicBezTo>
                    <a:cubicBezTo>
                      <a:pt x="602" y="223"/>
                      <a:pt x="602" y="222"/>
                      <a:pt x="602" y="222"/>
                    </a:cubicBezTo>
                    <a:cubicBezTo>
                      <a:pt x="603" y="222"/>
                      <a:pt x="602" y="223"/>
                      <a:pt x="602" y="223"/>
                    </a:cubicBezTo>
                    <a:cubicBezTo>
                      <a:pt x="602" y="223"/>
                      <a:pt x="602" y="223"/>
                      <a:pt x="602" y="223"/>
                    </a:cubicBezTo>
                    <a:cubicBezTo>
                      <a:pt x="602" y="223"/>
                      <a:pt x="602" y="223"/>
                      <a:pt x="602" y="223"/>
                    </a:cubicBezTo>
                    <a:cubicBezTo>
                      <a:pt x="602" y="223"/>
                      <a:pt x="603" y="223"/>
                      <a:pt x="602" y="223"/>
                    </a:cubicBezTo>
                    <a:cubicBezTo>
                      <a:pt x="602" y="224"/>
                      <a:pt x="602" y="224"/>
                      <a:pt x="601" y="223"/>
                    </a:cubicBezTo>
                    <a:cubicBezTo>
                      <a:pt x="601" y="223"/>
                      <a:pt x="600" y="224"/>
                      <a:pt x="599" y="224"/>
                    </a:cubicBezTo>
                    <a:cubicBezTo>
                      <a:pt x="600" y="224"/>
                      <a:pt x="601" y="223"/>
                      <a:pt x="601" y="224"/>
                    </a:cubicBezTo>
                    <a:cubicBezTo>
                      <a:pt x="601" y="224"/>
                      <a:pt x="601" y="225"/>
                      <a:pt x="601" y="225"/>
                    </a:cubicBezTo>
                    <a:cubicBezTo>
                      <a:pt x="601" y="225"/>
                      <a:pt x="602" y="224"/>
                      <a:pt x="602" y="224"/>
                    </a:cubicBezTo>
                    <a:cubicBezTo>
                      <a:pt x="602" y="224"/>
                      <a:pt x="602" y="224"/>
                      <a:pt x="602" y="224"/>
                    </a:cubicBezTo>
                    <a:cubicBezTo>
                      <a:pt x="602" y="224"/>
                      <a:pt x="602" y="224"/>
                      <a:pt x="602" y="224"/>
                    </a:cubicBezTo>
                    <a:cubicBezTo>
                      <a:pt x="603" y="224"/>
                      <a:pt x="603" y="224"/>
                      <a:pt x="603" y="224"/>
                    </a:cubicBezTo>
                    <a:cubicBezTo>
                      <a:pt x="603" y="224"/>
                      <a:pt x="603" y="224"/>
                      <a:pt x="604" y="224"/>
                    </a:cubicBezTo>
                    <a:cubicBezTo>
                      <a:pt x="604" y="224"/>
                      <a:pt x="604" y="225"/>
                      <a:pt x="603" y="225"/>
                    </a:cubicBezTo>
                    <a:cubicBezTo>
                      <a:pt x="603" y="225"/>
                      <a:pt x="603" y="226"/>
                      <a:pt x="603" y="226"/>
                    </a:cubicBezTo>
                    <a:cubicBezTo>
                      <a:pt x="604" y="226"/>
                      <a:pt x="603" y="227"/>
                      <a:pt x="604" y="227"/>
                    </a:cubicBezTo>
                    <a:cubicBezTo>
                      <a:pt x="604" y="227"/>
                      <a:pt x="604" y="227"/>
                      <a:pt x="604" y="227"/>
                    </a:cubicBezTo>
                    <a:cubicBezTo>
                      <a:pt x="604" y="227"/>
                      <a:pt x="604" y="227"/>
                      <a:pt x="603" y="227"/>
                    </a:cubicBezTo>
                    <a:cubicBezTo>
                      <a:pt x="603" y="228"/>
                      <a:pt x="602" y="228"/>
                      <a:pt x="602" y="228"/>
                    </a:cubicBezTo>
                    <a:cubicBezTo>
                      <a:pt x="601" y="229"/>
                      <a:pt x="601" y="228"/>
                      <a:pt x="600" y="229"/>
                    </a:cubicBezTo>
                    <a:cubicBezTo>
                      <a:pt x="599" y="229"/>
                      <a:pt x="599" y="229"/>
                      <a:pt x="598" y="229"/>
                    </a:cubicBezTo>
                    <a:cubicBezTo>
                      <a:pt x="599" y="230"/>
                      <a:pt x="600" y="229"/>
                      <a:pt x="601" y="229"/>
                    </a:cubicBezTo>
                    <a:cubicBezTo>
                      <a:pt x="601" y="229"/>
                      <a:pt x="604" y="229"/>
                      <a:pt x="603" y="230"/>
                    </a:cubicBezTo>
                    <a:cubicBezTo>
                      <a:pt x="603" y="230"/>
                      <a:pt x="602" y="230"/>
                      <a:pt x="602" y="230"/>
                    </a:cubicBezTo>
                    <a:cubicBezTo>
                      <a:pt x="603" y="231"/>
                      <a:pt x="601" y="231"/>
                      <a:pt x="601" y="231"/>
                    </a:cubicBezTo>
                    <a:cubicBezTo>
                      <a:pt x="601" y="231"/>
                      <a:pt x="602" y="231"/>
                      <a:pt x="602" y="232"/>
                    </a:cubicBezTo>
                    <a:cubicBezTo>
                      <a:pt x="602" y="232"/>
                      <a:pt x="602" y="232"/>
                      <a:pt x="603" y="232"/>
                    </a:cubicBezTo>
                    <a:cubicBezTo>
                      <a:pt x="602" y="232"/>
                      <a:pt x="602" y="232"/>
                      <a:pt x="602" y="232"/>
                    </a:cubicBezTo>
                    <a:cubicBezTo>
                      <a:pt x="602" y="232"/>
                      <a:pt x="604" y="231"/>
                      <a:pt x="604" y="231"/>
                    </a:cubicBezTo>
                    <a:cubicBezTo>
                      <a:pt x="604" y="232"/>
                      <a:pt x="603" y="232"/>
                      <a:pt x="603" y="232"/>
                    </a:cubicBezTo>
                    <a:cubicBezTo>
                      <a:pt x="604" y="232"/>
                      <a:pt x="604" y="232"/>
                      <a:pt x="605" y="232"/>
                    </a:cubicBezTo>
                    <a:cubicBezTo>
                      <a:pt x="605" y="232"/>
                      <a:pt x="605" y="233"/>
                      <a:pt x="605" y="233"/>
                    </a:cubicBezTo>
                    <a:cubicBezTo>
                      <a:pt x="605" y="233"/>
                      <a:pt x="605" y="234"/>
                      <a:pt x="605" y="234"/>
                    </a:cubicBezTo>
                    <a:cubicBezTo>
                      <a:pt x="605" y="233"/>
                      <a:pt x="602" y="235"/>
                      <a:pt x="602" y="235"/>
                    </a:cubicBezTo>
                    <a:cubicBezTo>
                      <a:pt x="601" y="236"/>
                      <a:pt x="601" y="236"/>
                      <a:pt x="600" y="236"/>
                    </a:cubicBezTo>
                    <a:cubicBezTo>
                      <a:pt x="599" y="236"/>
                      <a:pt x="599" y="236"/>
                      <a:pt x="599" y="237"/>
                    </a:cubicBezTo>
                    <a:cubicBezTo>
                      <a:pt x="600" y="237"/>
                      <a:pt x="600" y="236"/>
                      <a:pt x="600" y="236"/>
                    </a:cubicBezTo>
                    <a:cubicBezTo>
                      <a:pt x="600" y="236"/>
                      <a:pt x="601" y="236"/>
                      <a:pt x="601" y="237"/>
                    </a:cubicBezTo>
                    <a:cubicBezTo>
                      <a:pt x="601" y="237"/>
                      <a:pt x="600" y="237"/>
                      <a:pt x="600" y="237"/>
                    </a:cubicBezTo>
                    <a:cubicBezTo>
                      <a:pt x="600" y="237"/>
                      <a:pt x="601" y="237"/>
                      <a:pt x="601" y="237"/>
                    </a:cubicBezTo>
                    <a:cubicBezTo>
                      <a:pt x="600" y="238"/>
                      <a:pt x="599" y="237"/>
                      <a:pt x="599" y="237"/>
                    </a:cubicBezTo>
                    <a:cubicBezTo>
                      <a:pt x="599" y="237"/>
                      <a:pt x="599" y="237"/>
                      <a:pt x="599" y="237"/>
                    </a:cubicBezTo>
                    <a:cubicBezTo>
                      <a:pt x="599" y="237"/>
                      <a:pt x="598" y="237"/>
                      <a:pt x="598" y="237"/>
                    </a:cubicBezTo>
                    <a:cubicBezTo>
                      <a:pt x="598" y="237"/>
                      <a:pt x="597" y="237"/>
                      <a:pt x="597" y="237"/>
                    </a:cubicBezTo>
                    <a:cubicBezTo>
                      <a:pt x="597" y="237"/>
                      <a:pt x="595" y="236"/>
                      <a:pt x="595" y="236"/>
                    </a:cubicBezTo>
                    <a:cubicBezTo>
                      <a:pt x="595" y="235"/>
                      <a:pt x="598" y="236"/>
                      <a:pt x="599" y="235"/>
                    </a:cubicBezTo>
                    <a:cubicBezTo>
                      <a:pt x="598" y="235"/>
                      <a:pt x="597" y="235"/>
                      <a:pt x="596" y="235"/>
                    </a:cubicBezTo>
                    <a:cubicBezTo>
                      <a:pt x="596" y="235"/>
                      <a:pt x="595" y="235"/>
                      <a:pt x="595" y="235"/>
                    </a:cubicBezTo>
                    <a:cubicBezTo>
                      <a:pt x="594" y="235"/>
                      <a:pt x="594" y="236"/>
                      <a:pt x="594" y="236"/>
                    </a:cubicBezTo>
                    <a:cubicBezTo>
                      <a:pt x="595" y="236"/>
                      <a:pt x="596" y="237"/>
                      <a:pt x="597" y="237"/>
                    </a:cubicBezTo>
                    <a:cubicBezTo>
                      <a:pt x="597" y="237"/>
                      <a:pt x="597" y="237"/>
                      <a:pt x="598" y="237"/>
                    </a:cubicBezTo>
                    <a:cubicBezTo>
                      <a:pt x="598" y="237"/>
                      <a:pt x="598" y="237"/>
                      <a:pt x="599" y="238"/>
                    </a:cubicBezTo>
                    <a:cubicBezTo>
                      <a:pt x="598" y="238"/>
                      <a:pt x="597" y="237"/>
                      <a:pt x="596" y="238"/>
                    </a:cubicBezTo>
                    <a:cubicBezTo>
                      <a:pt x="597" y="238"/>
                      <a:pt x="600" y="237"/>
                      <a:pt x="600" y="238"/>
                    </a:cubicBezTo>
                    <a:cubicBezTo>
                      <a:pt x="600" y="239"/>
                      <a:pt x="599" y="239"/>
                      <a:pt x="599" y="239"/>
                    </a:cubicBezTo>
                    <a:cubicBezTo>
                      <a:pt x="598" y="239"/>
                      <a:pt x="597" y="238"/>
                      <a:pt x="597" y="239"/>
                    </a:cubicBezTo>
                    <a:cubicBezTo>
                      <a:pt x="597" y="239"/>
                      <a:pt x="597" y="239"/>
                      <a:pt x="597" y="239"/>
                    </a:cubicBezTo>
                    <a:cubicBezTo>
                      <a:pt x="597" y="239"/>
                      <a:pt x="596" y="239"/>
                      <a:pt x="596" y="239"/>
                    </a:cubicBezTo>
                    <a:cubicBezTo>
                      <a:pt x="596" y="240"/>
                      <a:pt x="597" y="240"/>
                      <a:pt x="597" y="240"/>
                    </a:cubicBezTo>
                    <a:cubicBezTo>
                      <a:pt x="597" y="240"/>
                      <a:pt x="597" y="239"/>
                      <a:pt x="597" y="240"/>
                    </a:cubicBezTo>
                    <a:cubicBezTo>
                      <a:pt x="598" y="240"/>
                      <a:pt x="598" y="240"/>
                      <a:pt x="598" y="240"/>
                    </a:cubicBezTo>
                    <a:cubicBezTo>
                      <a:pt x="598" y="240"/>
                      <a:pt x="598" y="240"/>
                      <a:pt x="598" y="240"/>
                    </a:cubicBezTo>
                    <a:cubicBezTo>
                      <a:pt x="598" y="240"/>
                      <a:pt x="598" y="241"/>
                      <a:pt x="599" y="240"/>
                    </a:cubicBezTo>
                    <a:cubicBezTo>
                      <a:pt x="598" y="241"/>
                      <a:pt x="599" y="241"/>
                      <a:pt x="599" y="241"/>
                    </a:cubicBezTo>
                    <a:cubicBezTo>
                      <a:pt x="600" y="241"/>
                      <a:pt x="598" y="241"/>
                      <a:pt x="598" y="241"/>
                    </a:cubicBezTo>
                    <a:cubicBezTo>
                      <a:pt x="598" y="241"/>
                      <a:pt x="598" y="241"/>
                      <a:pt x="599" y="241"/>
                    </a:cubicBezTo>
                    <a:cubicBezTo>
                      <a:pt x="598" y="241"/>
                      <a:pt x="598" y="241"/>
                      <a:pt x="598" y="241"/>
                    </a:cubicBezTo>
                    <a:cubicBezTo>
                      <a:pt x="598" y="241"/>
                      <a:pt x="598" y="241"/>
                      <a:pt x="598" y="241"/>
                    </a:cubicBezTo>
                    <a:cubicBezTo>
                      <a:pt x="598" y="241"/>
                      <a:pt x="595" y="241"/>
                      <a:pt x="596" y="241"/>
                    </a:cubicBezTo>
                    <a:cubicBezTo>
                      <a:pt x="596" y="242"/>
                      <a:pt x="597" y="242"/>
                      <a:pt x="598" y="242"/>
                    </a:cubicBezTo>
                    <a:cubicBezTo>
                      <a:pt x="598" y="242"/>
                      <a:pt x="599" y="242"/>
                      <a:pt x="599" y="242"/>
                    </a:cubicBezTo>
                    <a:cubicBezTo>
                      <a:pt x="599" y="242"/>
                      <a:pt x="600" y="242"/>
                      <a:pt x="600" y="242"/>
                    </a:cubicBezTo>
                    <a:cubicBezTo>
                      <a:pt x="600" y="242"/>
                      <a:pt x="601" y="242"/>
                      <a:pt x="601" y="242"/>
                    </a:cubicBezTo>
                    <a:cubicBezTo>
                      <a:pt x="601" y="242"/>
                      <a:pt x="600" y="242"/>
                      <a:pt x="600" y="243"/>
                    </a:cubicBezTo>
                    <a:cubicBezTo>
                      <a:pt x="600" y="243"/>
                      <a:pt x="601" y="243"/>
                      <a:pt x="600" y="243"/>
                    </a:cubicBezTo>
                    <a:cubicBezTo>
                      <a:pt x="600" y="243"/>
                      <a:pt x="599" y="243"/>
                      <a:pt x="600" y="243"/>
                    </a:cubicBezTo>
                    <a:cubicBezTo>
                      <a:pt x="600" y="244"/>
                      <a:pt x="601" y="243"/>
                      <a:pt x="601" y="244"/>
                    </a:cubicBezTo>
                    <a:cubicBezTo>
                      <a:pt x="601" y="244"/>
                      <a:pt x="601" y="244"/>
                      <a:pt x="600" y="244"/>
                    </a:cubicBezTo>
                    <a:cubicBezTo>
                      <a:pt x="601" y="244"/>
                      <a:pt x="600" y="244"/>
                      <a:pt x="600" y="244"/>
                    </a:cubicBezTo>
                    <a:cubicBezTo>
                      <a:pt x="599" y="244"/>
                      <a:pt x="599" y="244"/>
                      <a:pt x="599" y="244"/>
                    </a:cubicBezTo>
                    <a:cubicBezTo>
                      <a:pt x="599" y="244"/>
                      <a:pt x="600" y="244"/>
                      <a:pt x="600" y="244"/>
                    </a:cubicBezTo>
                    <a:cubicBezTo>
                      <a:pt x="600" y="244"/>
                      <a:pt x="599" y="244"/>
                      <a:pt x="599" y="244"/>
                    </a:cubicBezTo>
                    <a:cubicBezTo>
                      <a:pt x="600" y="245"/>
                      <a:pt x="600" y="244"/>
                      <a:pt x="601" y="244"/>
                    </a:cubicBezTo>
                    <a:cubicBezTo>
                      <a:pt x="601" y="244"/>
                      <a:pt x="602" y="244"/>
                      <a:pt x="602" y="245"/>
                    </a:cubicBezTo>
                    <a:cubicBezTo>
                      <a:pt x="602" y="245"/>
                      <a:pt x="601" y="245"/>
                      <a:pt x="601" y="245"/>
                    </a:cubicBezTo>
                    <a:cubicBezTo>
                      <a:pt x="601" y="246"/>
                      <a:pt x="604" y="245"/>
                      <a:pt x="604" y="246"/>
                    </a:cubicBezTo>
                    <a:cubicBezTo>
                      <a:pt x="604" y="246"/>
                      <a:pt x="602" y="247"/>
                      <a:pt x="602" y="247"/>
                    </a:cubicBezTo>
                    <a:cubicBezTo>
                      <a:pt x="602" y="247"/>
                      <a:pt x="603" y="247"/>
                      <a:pt x="603" y="247"/>
                    </a:cubicBezTo>
                    <a:cubicBezTo>
                      <a:pt x="604" y="247"/>
                      <a:pt x="604" y="246"/>
                      <a:pt x="605" y="246"/>
                    </a:cubicBezTo>
                    <a:cubicBezTo>
                      <a:pt x="605" y="246"/>
                      <a:pt x="605" y="247"/>
                      <a:pt x="605" y="247"/>
                    </a:cubicBezTo>
                    <a:cubicBezTo>
                      <a:pt x="604" y="247"/>
                      <a:pt x="604" y="247"/>
                      <a:pt x="604" y="248"/>
                    </a:cubicBezTo>
                    <a:cubicBezTo>
                      <a:pt x="604" y="248"/>
                      <a:pt x="603" y="248"/>
                      <a:pt x="603" y="248"/>
                    </a:cubicBezTo>
                    <a:cubicBezTo>
                      <a:pt x="604" y="248"/>
                      <a:pt x="605" y="247"/>
                      <a:pt x="606" y="246"/>
                    </a:cubicBezTo>
                    <a:cubicBezTo>
                      <a:pt x="606" y="246"/>
                      <a:pt x="606" y="246"/>
                      <a:pt x="606" y="246"/>
                    </a:cubicBezTo>
                    <a:cubicBezTo>
                      <a:pt x="606" y="246"/>
                      <a:pt x="607" y="246"/>
                      <a:pt x="607" y="246"/>
                    </a:cubicBezTo>
                    <a:cubicBezTo>
                      <a:pt x="607" y="247"/>
                      <a:pt x="605" y="248"/>
                      <a:pt x="605" y="248"/>
                    </a:cubicBezTo>
                    <a:cubicBezTo>
                      <a:pt x="605" y="248"/>
                      <a:pt x="606" y="247"/>
                      <a:pt x="606" y="248"/>
                    </a:cubicBezTo>
                    <a:cubicBezTo>
                      <a:pt x="606" y="249"/>
                      <a:pt x="605" y="249"/>
                      <a:pt x="605" y="249"/>
                    </a:cubicBezTo>
                    <a:cubicBezTo>
                      <a:pt x="605" y="249"/>
                      <a:pt x="606" y="248"/>
                      <a:pt x="606" y="248"/>
                    </a:cubicBezTo>
                    <a:cubicBezTo>
                      <a:pt x="606" y="249"/>
                      <a:pt x="606" y="249"/>
                      <a:pt x="606" y="249"/>
                    </a:cubicBezTo>
                    <a:cubicBezTo>
                      <a:pt x="605" y="250"/>
                      <a:pt x="604" y="250"/>
                      <a:pt x="604" y="251"/>
                    </a:cubicBezTo>
                    <a:cubicBezTo>
                      <a:pt x="605" y="250"/>
                      <a:pt x="605" y="249"/>
                      <a:pt x="606" y="249"/>
                    </a:cubicBezTo>
                    <a:cubicBezTo>
                      <a:pt x="606" y="249"/>
                      <a:pt x="605" y="250"/>
                      <a:pt x="605" y="250"/>
                    </a:cubicBezTo>
                    <a:cubicBezTo>
                      <a:pt x="606" y="250"/>
                      <a:pt x="606" y="249"/>
                      <a:pt x="607" y="249"/>
                    </a:cubicBezTo>
                    <a:cubicBezTo>
                      <a:pt x="607" y="250"/>
                      <a:pt x="606" y="250"/>
                      <a:pt x="606" y="250"/>
                    </a:cubicBezTo>
                    <a:cubicBezTo>
                      <a:pt x="605" y="250"/>
                      <a:pt x="605" y="251"/>
                      <a:pt x="604" y="251"/>
                    </a:cubicBezTo>
                    <a:cubicBezTo>
                      <a:pt x="604" y="251"/>
                      <a:pt x="604" y="251"/>
                      <a:pt x="604" y="251"/>
                    </a:cubicBezTo>
                    <a:cubicBezTo>
                      <a:pt x="604" y="251"/>
                      <a:pt x="603" y="252"/>
                      <a:pt x="603" y="252"/>
                    </a:cubicBezTo>
                    <a:cubicBezTo>
                      <a:pt x="603" y="252"/>
                      <a:pt x="602" y="252"/>
                      <a:pt x="602" y="253"/>
                    </a:cubicBezTo>
                    <a:cubicBezTo>
                      <a:pt x="602" y="253"/>
                      <a:pt x="603" y="252"/>
                      <a:pt x="603" y="252"/>
                    </a:cubicBezTo>
                    <a:cubicBezTo>
                      <a:pt x="604" y="252"/>
                      <a:pt x="604" y="252"/>
                      <a:pt x="604" y="252"/>
                    </a:cubicBezTo>
                    <a:cubicBezTo>
                      <a:pt x="604" y="252"/>
                      <a:pt x="604" y="252"/>
                      <a:pt x="603" y="252"/>
                    </a:cubicBezTo>
                    <a:cubicBezTo>
                      <a:pt x="603" y="252"/>
                      <a:pt x="603" y="253"/>
                      <a:pt x="602" y="253"/>
                    </a:cubicBezTo>
                    <a:cubicBezTo>
                      <a:pt x="602" y="253"/>
                      <a:pt x="602" y="253"/>
                      <a:pt x="601" y="254"/>
                    </a:cubicBezTo>
                    <a:cubicBezTo>
                      <a:pt x="601" y="254"/>
                      <a:pt x="601" y="254"/>
                      <a:pt x="601" y="254"/>
                    </a:cubicBezTo>
                    <a:cubicBezTo>
                      <a:pt x="601" y="254"/>
                      <a:pt x="602" y="254"/>
                      <a:pt x="602" y="253"/>
                    </a:cubicBezTo>
                    <a:cubicBezTo>
                      <a:pt x="603" y="253"/>
                      <a:pt x="603" y="253"/>
                      <a:pt x="604" y="253"/>
                    </a:cubicBezTo>
                    <a:cubicBezTo>
                      <a:pt x="604" y="253"/>
                      <a:pt x="605" y="252"/>
                      <a:pt x="606" y="251"/>
                    </a:cubicBezTo>
                    <a:cubicBezTo>
                      <a:pt x="606" y="252"/>
                      <a:pt x="606" y="252"/>
                      <a:pt x="605" y="252"/>
                    </a:cubicBezTo>
                    <a:cubicBezTo>
                      <a:pt x="606" y="252"/>
                      <a:pt x="606" y="252"/>
                      <a:pt x="607" y="252"/>
                    </a:cubicBezTo>
                    <a:cubicBezTo>
                      <a:pt x="607" y="252"/>
                      <a:pt x="606" y="253"/>
                      <a:pt x="605" y="253"/>
                    </a:cubicBezTo>
                    <a:cubicBezTo>
                      <a:pt x="605" y="253"/>
                      <a:pt x="604" y="253"/>
                      <a:pt x="604" y="254"/>
                    </a:cubicBezTo>
                    <a:cubicBezTo>
                      <a:pt x="604" y="254"/>
                      <a:pt x="605" y="253"/>
                      <a:pt x="606" y="253"/>
                    </a:cubicBezTo>
                    <a:cubicBezTo>
                      <a:pt x="606" y="253"/>
                      <a:pt x="606" y="252"/>
                      <a:pt x="607" y="252"/>
                    </a:cubicBezTo>
                    <a:cubicBezTo>
                      <a:pt x="607" y="252"/>
                      <a:pt x="608" y="252"/>
                      <a:pt x="608" y="252"/>
                    </a:cubicBezTo>
                    <a:cubicBezTo>
                      <a:pt x="609" y="251"/>
                      <a:pt x="609" y="251"/>
                      <a:pt x="609" y="251"/>
                    </a:cubicBezTo>
                    <a:cubicBezTo>
                      <a:pt x="609" y="251"/>
                      <a:pt x="610" y="251"/>
                      <a:pt x="609" y="252"/>
                    </a:cubicBezTo>
                    <a:cubicBezTo>
                      <a:pt x="609" y="252"/>
                      <a:pt x="609" y="252"/>
                      <a:pt x="609" y="252"/>
                    </a:cubicBezTo>
                    <a:cubicBezTo>
                      <a:pt x="608" y="253"/>
                      <a:pt x="608" y="253"/>
                      <a:pt x="607" y="253"/>
                    </a:cubicBezTo>
                    <a:cubicBezTo>
                      <a:pt x="607" y="253"/>
                      <a:pt x="607" y="253"/>
                      <a:pt x="607" y="253"/>
                    </a:cubicBezTo>
                    <a:cubicBezTo>
                      <a:pt x="607" y="253"/>
                      <a:pt x="607" y="253"/>
                      <a:pt x="608" y="253"/>
                    </a:cubicBezTo>
                    <a:cubicBezTo>
                      <a:pt x="608" y="253"/>
                      <a:pt x="608" y="253"/>
                      <a:pt x="609" y="253"/>
                    </a:cubicBezTo>
                    <a:cubicBezTo>
                      <a:pt x="609" y="253"/>
                      <a:pt x="609" y="253"/>
                      <a:pt x="610" y="253"/>
                    </a:cubicBezTo>
                    <a:cubicBezTo>
                      <a:pt x="610" y="253"/>
                      <a:pt x="611" y="252"/>
                      <a:pt x="611" y="252"/>
                    </a:cubicBezTo>
                    <a:cubicBezTo>
                      <a:pt x="611" y="252"/>
                      <a:pt x="611" y="253"/>
                      <a:pt x="611" y="253"/>
                    </a:cubicBezTo>
                    <a:cubicBezTo>
                      <a:pt x="611" y="253"/>
                      <a:pt x="611" y="253"/>
                      <a:pt x="611" y="253"/>
                    </a:cubicBezTo>
                    <a:cubicBezTo>
                      <a:pt x="611" y="253"/>
                      <a:pt x="609" y="254"/>
                      <a:pt x="609" y="255"/>
                    </a:cubicBezTo>
                    <a:cubicBezTo>
                      <a:pt x="608" y="255"/>
                      <a:pt x="607" y="255"/>
                      <a:pt x="606" y="256"/>
                    </a:cubicBezTo>
                    <a:cubicBezTo>
                      <a:pt x="607" y="256"/>
                      <a:pt x="605" y="257"/>
                      <a:pt x="605" y="257"/>
                    </a:cubicBezTo>
                    <a:cubicBezTo>
                      <a:pt x="606" y="257"/>
                      <a:pt x="607" y="257"/>
                      <a:pt x="607" y="256"/>
                    </a:cubicBezTo>
                    <a:cubicBezTo>
                      <a:pt x="607" y="256"/>
                      <a:pt x="607" y="255"/>
                      <a:pt x="608" y="255"/>
                    </a:cubicBezTo>
                    <a:cubicBezTo>
                      <a:pt x="609" y="255"/>
                      <a:pt x="609" y="255"/>
                      <a:pt x="610" y="254"/>
                    </a:cubicBezTo>
                    <a:cubicBezTo>
                      <a:pt x="610" y="254"/>
                      <a:pt x="611" y="253"/>
                      <a:pt x="611" y="254"/>
                    </a:cubicBezTo>
                    <a:cubicBezTo>
                      <a:pt x="612" y="254"/>
                      <a:pt x="612" y="252"/>
                      <a:pt x="613" y="252"/>
                    </a:cubicBezTo>
                    <a:cubicBezTo>
                      <a:pt x="613" y="252"/>
                      <a:pt x="613" y="252"/>
                      <a:pt x="613" y="253"/>
                    </a:cubicBezTo>
                    <a:cubicBezTo>
                      <a:pt x="613" y="253"/>
                      <a:pt x="614" y="252"/>
                      <a:pt x="614" y="252"/>
                    </a:cubicBezTo>
                    <a:cubicBezTo>
                      <a:pt x="614" y="252"/>
                      <a:pt x="614" y="253"/>
                      <a:pt x="613" y="253"/>
                    </a:cubicBezTo>
                    <a:cubicBezTo>
                      <a:pt x="613" y="253"/>
                      <a:pt x="613" y="253"/>
                      <a:pt x="612" y="254"/>
                    </a:cubicBezTo>
                    <a:cubicBezTo>
                      <a:pt x="612" y="254"/>
                      <a:pt x="611" y="254"/>
                      <a:pt x="611" y="255"/>
                    </a:cubicBezTo>
                    <a:cubicBezTo>
                      <a:pt x="611" y="255"/>
                      <a:pt x="612" y="254"/>
                      <a:pt x="612" y="254"/>
                    </a:cubicBezTo>
                    <a:cubicBezTo>
                      <a:pt x="613" y="253"/>
                      <a:pt x="613" y="253"/>
                      <a:pt x="613" y="254"/>
                    </a:cubicBezTo>
                    <a:cubicBezTo>
                      <a:pt x="613" y="253"/>
                      <a:pt x="614" y="253"/>
                      <a:pt x="614" y="253"/>
                    </a:cubicBezTo>
                    <a:cubicBezTo>
                      <a:pt x="614" y="253"/>
                      <a:pt x="614" y="253"/>
                      <a:pt x="615" y="253"/>
                    </a:cubicBezTo>
                    <a:cubicBezTo>
                      <a:pt x="615" y="252"/>
                      <a:pt x="614" y="253"/>
                      <a:pt x="615" y="253"/>
                    </a:cubicBezTo>
                    <a:cubicBezTo>
                      <a:pt x="615" y="254"/>
                      <a:pt x="614" y="254"/>
                      <a:pt x="614" y="254"/>
                    </a:cubicBezTo>
                    <a:cubicBezTo>
                      <a:pt x="614" y="254"/>
                      <a:pt x="615" y="254"/>
                      <a:pt x="615" y="255"/>
                    </a:cubicBezTo>
                    <a:cubicBezTo>
                      <a:pt x="614" y="255"/>
                      <a:pt x="614" y="255"/>
                      <a:pt x="614" y="255"/>
                    </a:cubicBezTo>
                    <a:cubicBezTo>
                      <a:pt x="614" y="256"/>
                      <a:pt x="614" y="255"/>
                      <a:pt x="615" y="255"/>
                    </a:cubicBezTo>
                    <a:cubicBezTo>
                      <a:pt x="615" y="255"/>
                      <a:pt x="614" y="256"/>
                      <a:pt x="615" y="256"/>
                    </a:cubicBezTo>
                    <a:cubicBezTo>
                      <a:pt x="615" y="256"/>
                      <a:pt x="616" y="256"/>
                      <a:pt x="615" y="256"/>
                    </a:cubicBezTo>
                    <a:cubicBezTo>
                      <a:pt x="615" y="256"/>
                      <a:pt x="616" y="256"/>
                      <a:pt x="616" y="256"/>
                    </a:cubicBezTo>
                    <a:cubicBezTo>
                      <a:pt x="616" y="256"/>
                      <a:pt x="617" y="256"/>
                      <a:pt x="617" y="256"/>
                    </a:cubicBezTo>
                    <a:cubicBezTo>
                      <a:pt x="617" y="256"/>
                      <a:pt x="617" y="257"/>
                      <a:pt x="617" y="257"/>
                    </a:cubicBezTo>
                    <a:cubicBezTo>
                      <a:pt x="617" y="257"/>
                      <a:pt x="617" y="257"/>
                      <a:pt x="618" y="257"/>
                    </a:cubicBezTo>
                    <a:cubicBezTo>
                      <a:pt x="618" y="257"/>
                      <a:pt x="618" y="257"/>
                      <a:pt x="618" y="257"/>
                    </a:cubicBezTo>
                    <a:cubicBezTo>
                      <a:pt x="618" y="256"/>
                      <a:pt x="619" y="256"/>
                      <a:pt x="620" y="256"/>
                    </a:cubicBezTo>
                    <a:cubicBezTo>
                      <a:pt x="619" y="257"/>
                      <a:pt x="621" y="257"/>
                      <a:pt x="621" y="257"/>
                    </a:cubicBezTo>
                    <a:cubicBezTo>
                      <a:pt x="621" y="257"/>
                      <a:pt x="622" y="257"/>
                      <a:pt x="622" y="257"/>
                    </a:cubicBezTo>
                    <a:cubicBezTo>
                      <a:pt x="623" y="257"/>
                      <a:pt x="623" y="258"/>
                      <a:pt x="623" y="258"/>
                    </a:cubicBezTo>
                    <a:cubicBezTo>
                      <a:pt x="623" y="259"/>
                      <a:pt x="624" y="258"/>
                      <a:pt x="625" y="258"/>
                    </a:cubicBezTo>
                    <a:cubicBezTo>
                      <a:pt x="625" y="258"/>
                      <a:pt x="625" y="259"/>
                      <a:pt x="625" y="259"/>
                    </a:cubicBezTo>
                    <a:cubicBezTo>
                      <a:pt x="626" y="259"/>
                      <a:pt x="625" y="259"/>
                      <a:pt x="625" y="259"/>
                    </a:cubicBezTo>
                    <a:cubicBezTo>
                      <a:pt x="626" y="259"/>
                      <a:pt x="624" y="260"/>
                      <a:pt x="624" y="260"/>
                    </a:cubicBezTo>
                    <a:cubicBezTo>
                      <a:pt x="624" y="260"/>
                      <a:pt x="623" y="259"/>
                      <a:pt x="622" y="260"/>
                    </a:cubicBezTo>
                    <a:cubicBezTo>
                      <a:pt x="623" y="260"/>
                      <a:pt x="624" y="260"/>
                      <a:pt x="624" y="260"/>
                    </a:cubicBezTo>
                    <a:cubicBezTo>
                      <a:pt x="625" y="260"/>
                      <a:pt x="624" y="260"/>
                      <a:pt x="624" y="260"/>
                    </a:cubicBezTo>
                    <a:cubicBezTo>
                      <a:pt x="624" y="260"/>
                      <a:pt x="624" y="260"/>
                      <a:pt x="623" y="260"/>
                    </a:cubicBezTo>
                    <a:cubicBezTo>
                      <a:pt x="623" y="261"/>
                      <a:pt x="622" y="261"/>
                      <a:pt x="621" y="261"/>
                    </a:cubicBezTo>
                    <a:cubicBezTo>
                      <a:pt x="620" y="261"/>
                      <a:pt x="618" y="261"/>
                      <a:pt x="617" y="261"/>
                    </a:cubicBezTo>
                    <a:cubicBezTo>
                      <a:pt x="617" y="262"/>
                      <a:pt x="618" y="261"/>
                      <a:pt x="618" y="261"/>
                    </a:cubicBezTo>
                    <a:cubicBezTo>
                      <a:pt x="618" y="262"/>
                      <a:pt x="617" y="262"/>
                      <a:pt x="617" y="262"/>
                    </a:cubicBezTo>
                    <a:cubicBezTo>
                      <a:pt x="617" y="262"/>
                      <a:pt x="617" y="262"/>
                      <a:pt x="617" y="262"/>
                    </a:cubicBezTo>
                    <a:cubicBezTo>
                      <a:pt x="616" y="262"/>
                      <a:pt x="616" y="262"/>
                      <a:pt x="616" y="262"/>
                    </a:cubicBezTo>
                    <a:cubicBezTo>
                      <a:pt x="615" y="262"/>
                      <a:pt x="614" y="263"/>
                      <a:pt x="613" y="263"/>
                    </a:cubicBezTo>
                    <a:cubicBezTo>
                      <a:pt x="611" y="264"/>
                      <a:pt x="610" y="263"/>
                      <a:pt x="608" y="264"/>
                    </a:cubicBezTo>
                    <a:cubicBezTo>
                      <a:pt x="608" y="264"/>
                      <a:pt x="607" y="264"/>
                      <a:pt x="606" y="264"/>
                    </a:cubicBezTo>
                    <a:cubicBezTo>
                      <a:pt x="606" y="264"/>
                      <a:pt x="605" y="264"/>
                      <a:pt x="605" y="264"/>
                    </a:cubicBezTo>
                    <a:cubicBezTo>
                      <a:pt x="605" y="265"/>
                      <a:pt x="605" y="264"/>
                      <a:pt x="605" y="265"/>
                    </a:cubicBezTo>
                    <a:cubicBezTo>
                      <a:pt x="607" y="265"/>
                      <a:pt x="609" y="264"/>
                      <a:pt x="611" y="264"/>
                    </a:cubicBezTo>
                    <a:cubicBezTo>
                      <a:pt x="612" y="264"/>
                      <a:pt x="613" y="263"/>
                      <a:pt x="614" y="263"/>
                    </a:cubicBezTo>
                    <a:cubicBezTo>
                      <a:pt x="614" y="263"/>
                      <a:pt x="615" y="262"/>
                      <a:pt x="616" y="262"/>
                    </a:cubicBezTo>
                    <a:cubicBezTo>
                      <a:pt x="615" y="263"/>
                      <a:pt x="614" y="264"/>
                      <a:pt x="613" y="264"/>
                    </a:cubicBezTo>
                    <a:cubicBezTo>
                      <a:pt x="612" y="265"/>
                      <a:pt x="612" y="264"/>
                      <a:pt x="611" y="264"/>
                    </a:cubicBezTo>
                    <a:cubicBezTo>
                      <a:pt x="610" y="264"/>
                      <a:pt x="610" y="264"/>
                      <a:pt x="609" y="264"/>
                    </a:cubicBezTo>
                    <a:cubicBezTo>
                      <a:pt x="610" y="265"/>
                      <a:pt x="610" y="265"/>
                      <a:pt x="610" y="265"/>
                    </a:cubicBezTo>
                    <a:cubicBezTo>
                      <a:pt x="610" y="265"/>
                      <a:pt x="609" y="265"/>
                      <a:pt x="608" y="265"/>
                    </a:cubicBezTo>
                    <a:cubicBezTo>
                      <a:pt x="607" y="266"/>
                      <a:pt x="607" y="266"/>
                      <a:pt x="606" y="266"/>
                    </a:cubicBezTo>
                    <a:cubicBezTo>
                      <a:pt x="605" y="266"/>
                      <a:pt x="604" y="267"/>
                      <a:pt x="603" y="267"/>
                    </a:cubicBezTo>
                    <a:cubicBezTo>
                      <a:pt x="603" y="266"/>
                      <a:pt x="602" y="266"/>
                      <a:pt x="602" y="267"/>
                    </a:cubicBezTo>
                    <a:cubicBezTo>
                      <a:pt x="602" y="267"/>
                      <a:pt x="602" y="267"/>
                      <a:pt x="602" y="267"/>
                    </a:cubicBezTo>
                    <a:cubicBezTo>
                      <a:pt x="602" y="267"/>
                      <a:pt x="601" y="267"/>
                      <a:pt x="601" y="267"/>
                    </a:cubicBezTo>
                    <a:cubicBezTo>
                      <a:pt x="600" y="267"/>
                      <a:pt x="600" y="267"/>
                      <a:pt x="599" y="267"/>
                    </a:cubicBezTo>
                    <a:cubicBezTo>
                      <a:pt x="599" y="267"/>
                      <a:pt x="600" y="268"/>
                      <a:pt x="600" y="268"/>
                    </a:cubicBezTo>
                    <a:cubicBezTo>
                      <a:pt x="598" y="268"/>
                      <a:pt x="599" y="271"/>
                      <a:pt x="597" y="269"/>
                    </a:cubicBezTo>
                    <a:cubicBezTo>
                      <a:pt x="597" y="269"/>
                      <a:pt x="596" y="268"/>
                      <a:pt x="595" y="268"/>
                    </a:cubicBezTo>
                    <a:cubicBezTo>
                      <a:pt x="595" y="268"/>
                      <a:pt x="594" y="267"/>
                      <a:pt x="594" y="267"/>
                    </a:cubicBezTo>
                    <a:cubicBezTo>
                      <a:pt x="594" y="267"/>
                      <a:pt x="594" y="267"/>
                      <a:pt x="593" y="267"/>
                    </a:cubicBezTo>
                    <a:cubicBezTo>
                      <a:pt x="593" y="267"/>
                      <a:pt x="592" y="268"/>
                      <a:pt x="593" y="268"/>
                    </a:cubicBezTo>
                    <a:cubicBezTo>
                      <a:pt x="593" y="268"/>
                      <a:pt x="594" y="268"/>
                      <a:pt x="594" y="268"/>
                    </a:cubicBezTo>
                    <a:cubicBezTo>
                      <a:pt x="594" y="268"/>
                      <a:pt x="595" y="268"/>
                      <a:pt x="595" y="268"/>
                    </a:cubicBezTo>
                    <a:cubicBezTo>
                      <a:pt x="596" y="268"/>
                      <a:pt x="596" y="269"/>
                      <a:pt x="597" y="269"/>
                    </a:cubicBezTo>
                    <a:cubicBezTo>
                      <a:pt x="597" y="269"/>
                      <a:pt x="598" y="269"/>
                      <a:pt x="598" y="270"/>
                    </a:cubicBezTo>
                    <a:cubicBezTo>
                      <a:pt x="598" y="270"/>
                      <a:pt x="598" y="270"/>
                      <a:pt x="598" y="270"/>
                    </a:cubicBezTo>
                    <a:cubicBezTo>
                      <a:pt x="598" y="270"/>
                      <a:pt x="599" y="270"/>
                      <a:pt x="599" y="270"/>
                    </a:cubicBezTo>
                    <a:cubicBezTo>
                      <a:pt x="599" y="270"/>
                      <a:pt x="599" y="270"/>
                      <a:pt x="598" y="271"/>
                    </a:cubicBezTo>
                    <a:cubicBezTo>
                      <a:pt x="598" y="271"/>
                      <a:pt x="597" y="270"/>
                      <a:pt x="597" y="271"/>
                    </a:cubicBezTo>
                    <a:cubicBezTo>
                      <a:pt x="597" y="271"/>
                      <a:pt x="595" y="272"/>
                      <a:pt x="595" y="272"/>
                    </a:cubicBezTo>
                    <a:cubicBezTo>
                      <a:pt x="595" y="272"/>
                      <a:pt x="597" y="271"/>
                      <a:pt x="597" y="272"/>
                    </a:cubicBezTo>
                    <a:cubicBezTo>
                      <a:pt x="597" y="272"/>
                      <a:pt x="595" y="272"/>
                      <a:pt x="595" y="272"/>
                    </a:cubicBezTo>
                    <a:cubicBezTo>
                      <a:pt x="595" y="272"/>
                      <a:pt x="597" y="272"/>
                      <a:pt x="597" y="272"/>
                    </a:cubicBezTo>
                    <a:cubicBezTo>
                      <a:pt x="597" y="273"/>
                      <a:pt x="597" y="272"/>
                      <a:pt x="597" y="272"/>
                    </a:cubicBezTo>
                    <a:cubicBezTo>
                      <a:pt x="597" y="272"/>
                      <a:pt x="598" y="272"/>
                      <a:pt x="598" y="272"/>
                    </a:cubicBezTo>
                    <a:cubicBezTo>
                      <a:pt x="599" y="271"/>
                      <a:pt x="599" y="271"/>
                      <a:pt x="599" y="271"/>
                    </a:cubicBezTo>
                    <a:cubicBezTo>
                      <a:pt x="600" y="270"/>
                      <a:pt x="599" y="271"/>
                      <a:pt x="600" y="271"/>
                    </a:cubicBezTo>
                    <a:cubicBezTo>
                      <a:pt x="600" y="270"/>
                      <a:pt x="600" y="270"/>
                      <a:pt x="600" y="270"/>
                    </a:cubicBezTo>
                    <a:cubicBezTo>
                      <a:pt x="600" y="270"/>
                      <a:pt x="600" y="270"/>
                      <a:pt x="601" y="270"/>
                    </a:cubicBezTo>
                    <a:cubicBezTo>
                      <a:pt x="601" y="270"/>
                      <a:pt x="599" y="270"/>
                      <a:pt x="600" y="270"/>
                    </a:cubicBezTo>
                    <a:cubicBezTo>
                      <a:pt x="601" y="270"/>
                      <a:pt x="601" y="270"/>
                      <a:pt x="602" y="270"/>
                    </a:cubicBezTo>
                    <a:cubicBezTo>
                      <a:pt x="602" y="270"/>
                      <a:pt x="603" y="270"/>
                      <a:pt x="603" y="269"/>
                    </a:cubicBezTo>
                    <a:cubicBezTo>
                      <a:pt x="604" y="269"/>
                      <a:pt x="605" y="268"/>
                      <a:pt x="606" y="268"/>
                    </a:cubicBezTo>
                    <a:cubicBezTo>
                      <a:pt x="607" y="268"/>
                      <a:pt x="608" y="268"/>
                      <a:pt x="608" y="267"/>
                    </a:cubicBezTo>
                    <a:cubicBezTo>
                      <a:pt x="607" y="267"/>
                      <a:pt x="610" y="266"/>
                      <a:pt x="610" y="266"/>
                    </a:cubicBezTo>
                    <a:cubicBezTo>
                      <a:pt x="611" y="265"/>
                      <a:pt x="612" y="265"/>
                      <a:pt x="613" y="265"/>
                    </a:cubicBezTo>
                    <a:cubicBezTo>
                      <a:pt x="614" y="264"/>
                      <a:pt x="615" y="264"/>
                      <a:pt x="615" y="264"/>
                    </a:cubicBezTo>
                    <a:cubicBezTo>
                      <a:pt x="616" y="264"/>
                      <a:pt x="617" y="264"/>
                      <a:pt x="617" y="264"/>
                    </a:cubicBezTo>
                    <a:cubicBezTo>
                      <a:pt x="617" y="264"/>
                      <a:pt x="620" y="264"/>
                      <a:pt x="620" y="264"/>
                    </a:cubicBezTo>
                    <a:cubicBezTo>
                      <a:pt x="620" y="264"/>
                      <a:pt x="617" y="263"/>
                      <a:pt x="617" y="263"/>
                    </a:cubicBezTo>
                    <a:cubicBezTo>
                      <a:pt x="617" y="263"/>
                      <a:pt x="615" y="264"/>
                      <a:pt x="615" y="263"/>
                    </a:cubicBezTo>
                    <a:cubicBezTo>
                      <a:pt x="615" y="262"/>
                      <a:pt x="620" y="263"/>
                      <a:pt x="620" y="263"/>
                    </a:cubicBezTo>
                    <a:cubicBezTo>
                      <a:pt x="620" y="263"/>
                      <a:pt x="622" y="262"/>
                      <a:pt x="622" y="263"/>
                    </a:cubicBezTo>
                    <a:cubicBezTo>
                      <a:pt x="622" y="263"/>
                      <a:pt x="624" y="263"/>
                      <a:pt x="623" y="263"/>
                    </a:cubicBezTo>
                    <a:cubicBezTo>
                      <a:pt x="624" y="263"/>
                      <a:pt x="623" y="264"/>
                      <a:pt x="623" y="264"/>
                    </a:cubicBezTo>
                    <a:cubicBezTo>
                      <a:pt x="623" y="264"/>
                      <a:pt x="623" y="264"/>
                      <a:pt x="623" y="265"/>
                    </a:cubicBezTo>
                    <a:cubicBezTo>
                      <a:pt x="624" y="265"/>
                      <a:pt x="624" y="265"/>
                      <a:pt x="624" y="265"/>
                    </a:cubicBezTo>
                    <a:cubicBezTo>
                      <a:pt x="624" y="265"/>
                      <a:pt x="623" y="266"/>
                      <a:pt x="624" y="266"/>
                    </a:cubicBezTo>
                    <a:cubicBezTo>
                      <a:pt x="624" y="266"/>
                      <a:pt x="624" y="266"/>
                      <a:pt x="624" y="267"/>
                    </a:cubicBezTo>
                    <a:cubicBezTo>
                      <a:pt x="624" y="266"/>
                      <a:pt x="624" y="267"/>
                      <a:pt x="624" y="267"/>
                    </a:cubicBezTo>
                    <a:cubicBezTo>
                      <a:pt x="624" y="267"/>
                      <a:pt x="623" y="267"/>
                      <a:pt x="624" y="267"/>
                    </a:cubicBezTo>
                    <a:cubicBezTo>
                      <a:pt x="623" y="268"/>
                      <a:pt x="622" y="268"/>
                      <a:pt x="621" y="268"/>
                    </a:cubicBezTo>
                    <a:cubicBezTo>
                      <a:pt x="621" y="268"/>
                      <a:pt x="620" y="269"/>
                      <a:pt x="620" y="269"/>
                    </a:cubicBezTo>
                    <a:cubicBezTo>
                      <a:pt x="620" y="269"/>
                      <a:pt x="620" y="269"/>
                      <a:pt x="621" y="269"/>
                    </a:cubicBezTo>
                    <a:cubicBezTo>
                      <a:pt x="620" y="269"/>
                      <a:pt x="621" y="269"/>
                      <a:pt x="621" y="269"/>
                    </a:cubicBezTo>
                    <a:cubicBezTo>
                      <a:pt x="621" y="269"/>
                      <a:pt x="621" y="269"/>
                      <a:pt x="621" y="270"/>
                    </a:cubicBezTo>
                    <a:cubicBezTo>
                      <a:pt x="622" y="270"/>
                      <a:pt x="621" y="271"/>
                      <a:pt x="620" y="271"/>
                    </a:cubicBezTo>
                    <a:cubicBezTo>
                      <a:pt x="621" y="271"/>
                      <a:pt x="621" y="271"/>
                      <a:pt x="621" y="270"/>
                    </a:cubicBezTo>
                    <a:cubicBezTo>
                      <a:pt x="621" y="270"/>
                      <a:pt x="621" y="270"/>
                      <a:pt x="622" y="270"/>
                    </a:cubicBezTo>
                    <a:cubicBezTo>
                      <a:pt x="622" y="270"/>
                      <a:pt x="623" y="270"/>
                      <a:pt x="623" y="269"/>
                    </a:cubicBezTo>
                    <a:cubicBezTo>
                      <a:pt x="623" y="269"/>
                      <a:pt x="624" y="269"/>
                      <a:pt x="624" y="268"/>
                    </a:cubicBezTo>
                    <a:cubicBezTo>
                      <a:pt x="624" y="268"/>
                      <a:pt x="624" y="268"/>
                      <a:pt x="625" y="268"/>
                    </a:cubicBezTo>
                    <a:cubicBezTo>
                      <a:pt x="625" y="267"/>
                      <a:pt x="626" y="268"/>
                      <a:pt x="627" y="268"/>
                    </a:cubicBezTo>
                    <a:cubicBezTo>
                      <a:pt x="627" y="267"/>
                      <a:pt x="628" y="268"/>
                      <a:pt x="628" y="267"/>
                    </a:cubicBezTo>
                    <a:cubicBezTo>
                      <a:pt x="628" y="267"/>
                      <a:pt x="629" y="267"/>
                      <a:pt x="629" y="267"/>
                    </a:cubicBezTo>
                    <a:cubicBezTo>
                      <a:pt x="629" y="267"/>
                      <a:pt x="630" y="267"/>
                      <a:pt x="629" y="268"/>
                    </a:cubicBezTo>
                    <a:cubicBezTo>
                      <a:pt x="629" y="268"/>
                      <a:pt x="629" y="268"/>
                      <a:pt x="629" y="268"/>
                    </a:cubicBezTo>
                    <a:cubicBezTo>
                      <a:pt x="628" y="268"/>
                      <a:pt x="628" y="268"/>
                      <a:pt x="628" y="268"/>
                    </a:cubicBezTo>
                    <a:cubicBezTo>
                      <a:pt x="627" y="268"/>
                      <a:pt x="627" y="268"/>
                      <a:pt x="627" y="268"/>
                    </a:cubicBezTo>
                    <a:cubicBezTo>
                      <a:pt x="627" y="268"/>
                      <a:pt x="628" y="269"/>
                      <a:pt x="629" y="269"/>
                    </a:cubicBezTo>
                    <a:cubicBezTo>
                      <a:pt x="629" y="269"/>
                      <a:pt x="630" y="268"/>
                      <a:pt x="630" y="269"/>
                    </a:cubicBezTo>
                    <a:cubicBezTo>
                      <a:pt x="630" y="269"/>
                      <a:pt x="630" y="269"/>
                      <a:pt x="629" y="269"/>
                    </a:cubicBezTo>
                    <a:cubicBezTo>
                      <a:pt x="630" y="269"/>
                      <a:pt x="631" y="269"/>
                      <a:pt x="631" y="269"/>
                    </a:cubicBezTo>
                    <a:cubicBezTo>
                      <a:pt x="632" y="269"/>
                      <a:pt x="633" y="269"/>
                      <a:pt x="632" y="270"/>
                    </a:cubicBezTo>
                    <a:cubicBezTo>
                      <a:pt x="632" y="270"/>
                      <a:pt x="631" y="269"/>
                      <a:pt x="630" y="269"/>
                    </a:cubicBezTo>
                    <a:cubicBezTo>
                      <a:pt x="629" y="269"/>
                      <a:pt x="631" y="270"/>
                      <a:pt x="631" y="270"/>
                    </a:cubicBezTo>
                    <a:cubicBezTo>
                      <a:pt x="631" y="270"/>
                      <a:pt x="631" y="271"/>
                      <a:pt x="632" y="271"/>
                    </a:cubicBezTo>
                    <a:cubicBezTo>
                      <a:pt x="632" y="271"/>
                      <a:pt x="631" y="271"/>
                      <a:pt x="631" y="271"/>
                    </a:cubicBezTo>
                    <a:cubicBezTo>
                      <a:pt x="631" y="271"/>
                      <a:pt x="633" y="271"/>
                      <a:pt x="632" y="272"/>
                    </a:cubicBezTo>
                    <a:cubicBezTo>
                      <a:pt x="632" y="272"/>
                      <a:pt x="633" y="272"/>
                      <a:pt x="633" y="272"/>
                    </a:cubicBezTo>
                    <a:cubicBezTo>
                      <a:pt x="632" y="272"/>
                      <a:pt x="632" y="272"/>
                      <a:pt x="632" y="272"/>
                    </a:cubicBezTo>
                    <a:cubicBezTo>
                      <a:pt x="632" y="272"/>
                      <a:pt x="633" y="272"/>
                      <a:pt x="632" y="273"/>
                    </a:cubicBezTo>
                    <a:cubicBezTo>
                      <a:pt x="632" y="273"/>
                      <a:pt x="633" y="273"/>
                      <a:pt x="633" y="273"/>
                    </a:cubicBezTo>
                    <a:cubicBezTo>
                      <a:pt x="633" y="273"/>
                      <a:pt x="632" y="273"/>
                      <a:pt x="632" y="273"/>
                    </a:cubicBezTo>
                    <a:cubicBezTo>
                      <a:pt x="632" y="273"/>
                      <a:pt x="632" y="273"/>
                      <a:pt x="632" y="274"/>
                    </a:cubicBezTo>
                    <a:cubicBezTo>
                      <a:pt x="632" y="274"/>
                      <a:pt x="631" y="274"/>
                      <a:pt x="631" y="274"/>
                    </a:cubicBezTo>
                    <a:cubicBezTo>
                      <a:pt x="631" y="274"/>
                      <a:pt x="631" y="275"/>
                      <a:pt x="630" y="275"/>
                    </a:cubicBezTo>
                    <a:cubicBezTo>
                      <a:pt x="630" y="275"/>
                      <a:pt x="629" y="275"/>
                      <a:pt x="629" y="275"/>
                    </a:cubicBezTo>
                    <a:cubicBezTo>
                      <a:pt x="629" y="275"/>
                      <a:pt x="629" y="275"/>
                      <a:pt x="629" y="275"/>
                    </a:cubicBezTo>
                    <a:cubicBezTo>
                      <a:pt x="629" y="275"/>
                      <a:pt x="628" y="275"/>
                      <a:pt x="629" y="276"/>
                    </a:cubicBezTo>
                    <a:cubicBezTo>
                      <a:pt x="629" y="276"/>
                      <a:pt x="629" y="275"/>
                      <a:pt x="629" y="275"/>
                    </a:cubicBezTo>
                    <a:cubicBezTo>
                      <a:pt x="629" y="275"/>
                      <a:pt x="630" y="275"/>
                      <a:pt x="630" y="275"/>
                    </a:cubicBezTo>
                    <a:cubicBezTo>
                      <a:pt x="630" y="275"/>
                      <a:pt x="630" y="276"/>
                      <a:pt x="631" y="276"/>
                    </a:cubicBezTo>
                    <a:cubicBezTo>
                      <a:pt x="631" y="276"/>
                      <a:pt x="631" y="277"/>
                      <a:pt x="630" y="277"/>
                    </a:cubicBezTo>
                    <a:cubicBezTo>
                      <a:pt x="630" y="277"/>
                      <a:pt x="629" y="277"/>
                      <a:pt x="629" y="277"/>
                    </a:cubicBezTo>
                    <a:cubicBezTo>
                      <a:pt x="629" y="277"/>
                      <a:pt x="629" y="277"/>
                      <a:pt x="629" y="277"/>
                    </a:cubicBezTo>
                    <a:cubicBezTo>
                      <a:pt x="629" y="278"/>
                      <a:pt x="628" y="277"/>
                      <a:pt x="628" y="277"/>
                    </a:cubicBezTo>
                    <a:cubicBezTo>
                      <a:pt x="628" y="278"/>
                      <a:pt x="628" y="277"/>
                      <a:pt x="628" y="278"/>
                    </a:cubicBezTo>
                    <a:cubicBezTo>
                      <a:pt x="628" y="278"/>
                      <a:pt x="628" y="278"/>
                      <a:pt x="628" y="278"/>
                    </a:cubicBezTo>
                    <a:cubicBezTo>
                      <a:pt x="629" y="278"/>
                      <a:pt x="629" y="279"/>
                      <a:pt x="629" y="279"/>
                    </a:cubicBezTo>
                    <a:cubicBezTo>
                      <a:pt x="629" y="279"/>
                      <a:pt x="630" y="278"/>
                      <a:pt x="630" y="279"/>
                    </a:cubicBezTo>
                    <a:cubicBezTo>
                      <a:pt x="630" y="279"/>
                      <a:pt x="630" y="279"/>
                      <a:pt x="630" y="279"/>
                    </a:cubicBezTo>
                    <a:cubicBezTo>
                      <a:pt x="629" y="279"/>
                      <a:pt x="628" y="278"/>
                      <a:pt x="627" y="279"/>
                    </a:cubicBezTo>
                    <a:cubicBezTo>
                      <a:pt x="627" y="279"/>
                      <a:pt x="628" y="279"/>
                      <a:pt x="628" y="279"/>
                    </a:cubicBezTo>
                    <a:cubicBezTo>
                      <a:pt x="628" y="279"/>
                      <a:pt x="628" y="280"/>
                      <a:pt x="628" y="280"/>
                    </a:cubicBezTo>
                    <a:cubicBezTo>
                      <a:pt x="628" y="280"/>
                      <a:pt x="628" y="280"/>
                      <a:pt x="628" y="280"/>
                    </a:cubicBezTo>
                    <a:cubicBezTo>
                      <a:pt x="627" y="280"/>
                      <a:pt x="627" y="280"/>
                      <a:pt x="627" y="280"/>
                    </a:cubicBezTo>
                    <a:cubicBezTo>
                      <a:pt x="626" y="280"/>
                      <a:pt x="625" y="279"/>
                      <a:pt x="624" y="279"/>
                    </a:cubicBezTo>
                    <a:cubicBezTo>
                      <a:pt x="624" y="280"/>
                      <a:pt x="626" y="280"/>
                      <a:pt x="627" y="280"/>
                    </a:cubicBezTo>
                    <a:cubicBezTo>
                      <a:pt x="627" y="280"/>
                      <a:pt x="627" y="280"/>
                      <a:pt x="628" y="280"/>
                    </a:cubicBezTo>
                    <a:cubicBezTo>
                      <a:pt x="628" y="281"/>
                      <a:pt x="629" y="280"/>
                      <a:pt x="629" y="280"/>
                    </a:cubicBezTo>
                    <a:cubicBezTo>
                      <a:pt x="629" y="281"/>
                      <a:pt x="629" y="280"/>
                      <a:pt x="629" y="281"/>
                    </a:cubicBezTo>
                    <a:cubicBezTo>
                      <a:pt x="630" y="281"/>
                      <a:pt x="630" y="281"/>
                      <a:pt x="629" y="281"/>
                    </a:cubicBezTo>
                    <a:cubicBezTo>
                      <a:pt x="630" y="281"/>
                      <a:pt x="630" y="281"/>
                      <a:pt x="630" y="281"/>
                    </a:cubicBezTo>
                    <a:cubicBezTo>
                      <a:pt x="630" y="281"/>
                      <a:pt x="630" y="282"/>
                      <a:pt x="630" y="282"/>
                    </a:cubicBezTo>
                    <a:cubicBezTo>
                      <a:pt x="630" y="282"/>
                      <a:pt x="630" y="282"/>
                      <a:pt x="629" y="282"/>
                    </a:cubicBezTo>
                    <a:cubicBezTo>
                      <a:pt x="629" y="282"/>
                      <a:pt x="629" y="281"/>
                      <a:pt x="629" y="282"/>
                    </a:cubicBezTo>
                    <a:cubicBezTo>
                      <a:pt x="629" y="282"/>
                      <a:pt x="629" y="282"/>
                      <a:pt x="629" y="282"/>
                    </a:cubicBezTo>
                    <a:cubicBezTo>
                      <a:pt x="628" y="283"/>
                      <a:pt x="627" y="281"/>
                      <a:pt x="626" y="281"/>
                    </a:cubicBezTo>
                    <a:cubicBezTo>
                      <a:pt x="626" y="281"/>
                      <a:pt x="627" y="282"/>
                      <a:pt x="627" y="282"/>
                    </a:cubicBezTo>
                    <a:cubicBezTo>
                      <a:pt x="628" y="282"/>
                      <a:pt x="628" y="282"/>
                      <a:pt x="628" y="283"/>
                    </a:cubicBezTo>
                    <a:cubicBezTo>
                      <a:pt x="628" y="283"/>
                      <a:pt x="629" y="283"/>
                      <a:pt x="629" y="283"/>
                    </a:cubicBezTo>
                    <a:cubicBezTo>
                      <a:pt x="629" y="283"/>
                      <a:pt x="628" y="283"/>
                      <a:pt x="628" y="283"/>
                    </a:cubicBezTo>
                    <a:cubicBezTo>
                      <a:pt x="629" y="283"/>
                      <a:pt x="629" y="283"/>
                      <a:pt x="629" y="283"/>
                    </a:cubicBezTo>
                    <a:cubicBezTo>
                      <a:pt x="629" y="284"/>
                      <a:pt x="629" y="283"/>
                      <a:pt x="628" y="284"/>
                    </a:cubicBezTo>
                    <a:cubicBezTo>
                      <a:pt x="628" y="284"/>
                      <a:pt x="629" y="284"/>
                      <a:pt x="629" y="284"/>
                    </a:cubicBezTo>
                    <a:cubicBezTo>
                      <a:pt x="629" y="284"/>
                      <a:pt x="629" y="284"/>
                      <a:pt x="628" y="285"/>
                    </a:cubicBezTo>
                    <a:cubicBezTo>
                      <a:pt x="628" y="285"/>
                      <a:pt x="628" y="285"/>
                      <a:pt x="628" y="285"/>
                    </a:cubicBezTo>
                    <a:cubicBezTo>
                      <a:pt x="627" y="285"/>
                      <a:pt x="627" y="286"/>
                      <a:pt x="627" y="286"/>
                    </a:cubicBezTo>
                    <a:cubicBezTo>
                      <a:pt x="627" y="286"/>
                      <a:pt x="626" y="286"/>
                      <a:pt x="626" y="286"/>
                    </a:cubicBezTo>
                    <a:cubicBezTo>
                      <a:pt x="626" y="286"/>
                      <a:pt x="626" y="286"/>
                      <a:pt x="626" y="286"/>
                    </a:cubicBezTo>
                    <a:cubicBezTo>
                      <a:pt x="626" y="287"/>
                      <a:pt x="625" y="287"/>
                      <a:pt x="625" y="287"/>
                    </a:cubicBezTo>
                    <a:cubicBezTo>
                      <a:pt x="624" y="287"/>
                      <a:pt x="623" y="288"/>
                      <a:pt x="622" y="288"/>
                    </a:cubicBezTo>
                    <a:cubicBezTo>
                      <a:pt x="621" y="288"/>
                      <a:pt x="621" y="289"/>
                      <a:pt x="620" y="289"/>
                    </a:cubicBezTo>
                    <a:cubicBezTo>
                      <a:pt x="620" y="289"/>
                      <a:pt x="619" y="289"/>
                      <a:pt x="619" y="289"/>
                    </a:cubicBezTo>
                    <a:cubicBezTo>
                      <a:pt x="618" y="290"/>
                      <a:pt x="617" y="291"/>
                      <a:pt x="617" y="291"/>
                    </a:cubicBezTo>
                    <a:cubicBezTo>
                      <a:pt x="616" y="291"/>
                      <a:pt x="616" y="291"/>
                      <a:pt x="615" y="291"/>
                    </a:cubicBezTo>
                    <a:cubicBezTo>
                      <a:pt x="615" y="292"/>
                      <a:pt x="615" y="292"/>
                      <a:pt x="615" y="292"/>
                    </a:cubicBezTo>
                    <a:cubicBezTo>
                      <a:pt x="614" y="292"/>
                      <a:pt x="613" y="292"/>
                      <a:pt x="613" y="292"/>
                    </a:cubicBezTo>
                    <a:cubicBezTo>
                      <a:pt x="613" y="292"/>
                      <a:pt x="613" y="291"/>
                      <a:pt x="613" y="291"/>
                    </a:cubicBezTo>
                    <a:cubicBezTo>
                      <a:pt x="613" y="291"/>
                      <a:pt x="612" y="291"/>
                      <a:pt x="612" y="291"/>
                    </a:cubicBezTo>
                    <a:cubicBezTo>
                      <a:pt x="611" y="291"/>
                      <a:pt x="610" y="292"/>
                      <a:pt x="610" y="292"/>
                    </a:cubicBezTo>
                    <a:cubicBezTo>
                      <a:pt x="610" y="292"/>
                      <a:pt x="610" y="291"/>
                      <a:pt x="610" y="291"/>
                    </a:cubicBezTo>
                    <a:cubicBezTo>
                      <a:pt x="610" y="292"/>
                      <a:pt x="609" y="292"/>
                      <a:pt x="609" y="291"/>
                    </a:cubicBezTo>
                    <a:cubicBezTo>
                      <a:pt x="609" y="291"/>
                      <a:pt x="608" y="292"/>
                      <a:pt x="608" y="292"/>
                    </a:cubicBezTo>
                    <a:cubicBezTo>
                      <a:pt x="608" y="292"/>
                      <a:pt x="607" y="292"/>
                      <a:pt x="607" y="292"/>
                    </a:cubicBezTo>
                    <a:cubicBezTo>
                      <a:pt x="606" y="293"/>
                      <a:pt x="606" y="293"/>
                      <a:pt x="605" y="293"/>
                    </a:cubicBezTo>
                    <a:cubicBezTo>
                      <a:pt x="605" y="293"/>
                      <a:pt x="604" y="294"/>
                      <a:pt x="604" y="293"/>
                    </a:cubicBezTo>
                    <a:cubicBezTo>
                      <a:pt x="604" y="293"/>
                      <a:pt x="604" y="293"/>
                      <a:pt x="604" y="293"/>
                    </a:cubicBezTo>
                    <a:cubicBezTo>
                      <a:pt x="604" y="293"/>
                      <a:pt x="603" y="293"/>
                      <a:pt x="603" y="293"/>
                    </a:cubicBezTo>
                    <a:cubicBezTo>
                      <a:pt x="602" y="293"/>
                      <a:pt x="602" y="293"/>
                      <a:pt x="602" y="293"/>
                    </a:cubicBezTo>
                    <a:cubicBezTo>
                      <a:pt x="601" y="294"/>
                      <a:pt x="600" y="294"/>
                      <a:pt x="600" y="294"/>
                    </a:cubicBezTo>
                    <a:cubicBezTo>
                      <a:pt x="600" y="294"/>
                      <a:pt x="601" y="294"/>
                      <a:pt x="600" y="295"/>
                    </a:cubicBezTo>
                    <a:cubicBezTo>
                      <a:pt x="600" y="295"/>
                      <a:pt x="599" y="295"/>
                      <a:pt x="599" y="295"/>
                    </a:cubicBezTo>
                    <a:cubicBezTo>
                      <a:pt x="598" y="295"/>
                      <a:pt x="598" y="295"/>
                      <a:pt x="598" y="296"/>
                    </a:cubicBezTo>
                    <a:cubicBezTo>
                      <a:pt x="598" y="296"/>
                      <a:pt x="597" y="296"/>
                      <a:pt x="597" y="296"/>
                    </a:cubicBezTo>
                    <a:cubicBezTo>
                      <a:pt x="597" y="296"/>
                      <a:pt x="598" y="296"/>
                      <a:pt x="597" y="296"/>
                    </a:cubicBezTo>
                    <a:cubicBezTo>
                      <a:pt x="597" y="296"/>
                      <a:pt x="596" y="296"/>
                      <a:pt x="596" y="296"/>
                    </a:cubicBezTo>
                    <a:cubicBezTo>
                      <a:pt x="596" y="296"/>
                      <a:pt x="597" y="296"/>
                      <a:pt x="597" y="296"/>
                    </a:cubicBezTo>
                    <a:cubicBezTo>
                      <a:pt x="597" y="297"/>
                      <a:pt x="596" y="297"/>
                      <a:pt x="596" y="297"/>
                    </a:cubicBezTo>
                    <a:cubicBezTo>
                      <a:pt x="596" y="297"/>
                      <a:pt x="596" y="298"/>
                      <a:pt x="596" y="298"/>
                    </a:cubicBezTo>
                    <a:cubicBezTo>
                      <a:pt x="596" y="298"/>
                      <a:pt x="596" y="298"/>
                      <a:pt x="595" y="299"/>
                    </a:cubicBezTo>
                    <a:cubicBezTo>
                      <a:pt x="595" y="299"/>
                      <a:pt x="595" y="299"/>
                      <a:pt x="595" y="299"/>
                    </a:cubicBezTo>
                    <a:cubicBezTo>
                      <a:pt x="595" y="298"/>
                      <a:pt x="595" y="298"/>
                      <a:pt x="595" y="298"/>
                    </a:cubicBezTo>
                    <a:cubicBezTo>
                      <a:pt x="595" y="297"/>
                      <a:pt x="594" y="298"/>
                      <a:pt x="594" y="299"/>
                    </a:cubicBezTo>
                    <a:cubicBezTo>
                      <a:pt x="594" y="299"/>
                      <a:pt x="594" y="299"/>
                      <a:pt x="593" y="299"/>
                    </a:cubicBezTo>
                    <a:cubicBezTo>
                      <a:pt x="593" y="299"/>
                      <a:pt x="593" y="299"/>
                      <a:pt x="593" y="299"/>
                    </a:cubicBezTo>
                    <a:cubicBezTo>
                      <a:pt x="593" y="299"/>
                      <a:pt x="593" y="299"/>
                      <a:pt x="593" y="299"/>
                    </a:cubicBezTo>
                    <a:cubicBezTo>
                      <a:pt x="592" y="299"/>
                      <a:pt x="592" y="300"/>
                      <a:pt x="592" y="300"/>
                    </a:cubicBezTo>
                    <a:cubicBezTo>
                      <a:pt x="591" y="300"/>
                      <a:pt x="590" y="301"/>
                      <a:pt x="590" y="301"/>
                    </a:cubicBezTo>
                    <a:cubicBezTo>
                      <a:pt x="589" y="302"/>
                      <a:pt x="586" y="302"/>
                      <a:pt x="586" y="303"/>
                    </a:cubicBezTo>
                    <a:cubicBezTo>
                      <a:pt x="586" y="303"/>
                      <a:pt x="587" y="303"/>
                      <a:pt x="587" y="303"/>
                    </a:cubicBezTo>
                    <a:cubicBezTo>
                      <a:pt x="587" y="304"/>
                      <a:pt x="584" y="304"/>
                      <a:pt x="583" y="305"/>
                    </a:cubicBezTo>
                    <a:cubicBezTo>
                      <a:pt x="583" y="305"/>
                      <a:pt x="583" y="305"/>
                      <a:pt x="583" y="305"/>
                    </a:cubicBezTo>
                    <a:cubicBezTo>
                      <a:pt x="583" y="304"/>
                      <a:pt x="583" y="304"/>
                      <a:pt x="583" y="304"/>
                    </a:cubicBezTo>
                    <a:cubicBezTo>
                      <a:pt x="583" y="304"/>
                      <a:pt x="583" y="304"/>
                      <a:pt x="584" y="304"/>
                    </a:cubicBezTo>
                    <a:cubicBezTo>
                      <a:pt x="583" y="304"/>
                      <a:pt x="583" y="304"/>
                      <a:pt x="582" y="304"/>
                    </a:cubicBezTo>
                    <a:cubicBezTo>
                      <a:pt x="583" y="304"/>
                      <a:pt x="583" y="304"/>
                      <a:pt x="583" y="304"/>
                    </a:cubicBezTo>
                    <a:cubicBezTo>
                      <a:pt x="582" y="305"/>
                      <a:pt x="581" y="304"/>
                      <a:pt x="581" y="304"/>
                    </a:cubicBezTo>
                    <a:close/>
                    <a:moveTo>
                      <a:pt x="595" y="203"/>
                    </a:moveTo>
                    <a:cubicBezTo>
                      <a:pt x="595" y="203"/>
                      <a:pt x="596" y="203"/>
                      <a:pt x="596" y="203"/>
                    </a:cubicBezTo>
                    <a:cubicBezTo>
                      <a:pt x="596" y="203"/>
                      <a:pt x="595" y="203"/>
                      <a:pt x="595" y="203"/>
                    </a:cubicBezTo>
                    <a:close/>
                    <a:moveTo>
                      <a:pt x="461" y="87"/>
                    </a:moveTo>
                    <a:cubicBezTo>
                      <a:pt x="461" y="87"/>
                      <a:pt x="461" y="87"/>
                      <a:pt x="462" y="87"/>
                    </a:cubicBezTo>
                    <a:cubicBezTo>
                      <a:pt x="461" y="87"/>
                      <a:pt x="461" y="87"/>
                      <a:pt x="461" y="87"/>
                    </a:cubicBezTo>
                    <a:close/>
                    <a:moveTo>
                      <a:pt x="191" y="153"/>
                    </a:moveTo>
                    <a:cubicBezTo>
                      <a:pt x="192" y="153"/>
                      <a:pt x="195" y="153"/>
                      <a:pt x="196" y="154"/>
                    </a:cubicBezTo>
                    <a:cubicBezTo>
                      <a:pt x="197" y="154"/>
                      <a:pt x="198" y="154"/>
                      <a:pt x="198" y="154"/>
                    </a:cubicBezTo>
                    <a:cubicBezTo>
                      <a:pt x="199" y="154"/>
                      <a:pt x="199" y="155"/>
                      <a:pt x="199" y="154"/>
                    </a:cubicBezTo>
                    <a:cubicBezTo>
                      <a:pt x="200" y="154"/>
                      <a:pt x="201" y="154"/>
                      <a:pt x="202" y="153"/>
                    </a:cubicBezTo>
                    <a:cubicBezTo>
                      <a:pt x="203" y="153"/>
                      <a:pt x="203" y="153"/>
                      <a:pt x="204" y="153"/>
                    </a:cubicBezTo>
                    <a:cubicBezTo>
                      <a:pt x="204" y="153"/>
                      <a:pt x="204" y="153"/>
                      <a:pt x="204" y="153"/>
                    </a:cubicBezTo>
                    <a:cubicBezTo>
                      <a:pt x="204" y="152"/>
                      <a:pt x="205" y="152"/>
                      <a:pt x="205" y="152"/>
                    </a:cubicBezTo>
                    <a:cubicBezTo>
                      <a:pt x="205" y="151"/>
                      <a:pt x="206" y="151"/>
                      <a:pt x="206" y="151"/>
                    </a:cubicBezTo>
                    <a:cubicBezTo>
                      <a:pt x="206" y="151"/>
                      <a:pt x="208" y="150"/>
                      <a:pt x="207" y="150"/>
                    </a:cubicBezTo>
                    <a:cubicBezTo>
                      <a:pt x="208" y="150"/>
                      <a:pt x="210" y="150"/>
                      <a:pt x="211" y="149"/>
                    </a:cubicBezTo>
                    <a:cubicBezTo>
                      <a:pt x="212" y="149"/>
                      <a:pt x="214" y="148"/>
                      <a:pt x="215" y="148"/>
                    </a:cubicBezTo>
                    <a:cubicBezTo>
                      <a:pt x="216" y="148"/>
                      <a:pt x="217" y="148"/>
                      <a:pt x="217" y="148"/>
                    </a:cubicBezTo>
                    <a:cubicBezTo>
                      <a:pt x="218" y="148"/>
                      <a:pt x="218" y="148"/>
                      <a:pt x="217" y="149"/>
                    </a:cubicBezTo>
                    <a:cubicBezTo>
                      <a:pt x="216" y="150"/>
                      <a:pt x="215" y="150"/>
                      <a:pt x="214" y="151"/>
                    </a:cubicBezTo>
                    <a:cubicBezTo>
                      <a:pt x="213" y="151"/>
                      <a:pt x="211" y="152"/>
                      <a:pt x="210" y="152"/>
                    </a:cubicBezTo>
                    <a:cubicBezTo>
                      <a:pt x="209" y="153"/>
                      <a:pt x="208" y="153"/>
                      <a:pt x="208" y="153"/>
                    </a:cubicBezTo>
                    <a:cubicBezTo>
                      <a:pt x="208" y="154"/>
                      <a:pt x="207" y="154"/>
                      <a:pt x="207" y="154"/>
                    </a:cubicBezTo>
                    <a:cubicBezTo>
                      <a:pt x="207" y="154"/>
                      <a:pt x="204" y="154"/>
                      <a:pt x="204" y="154"/>
                    </a:cubicBezTo>
                    <a:cubicBezTo>
                      <a:pt x="203" y="154"/>
                      <a:pt x="202" y="154"/>
                      <a:pt x="203" y="156"/>
                    </a:cubicBezTo>
                    <a:cubicBezTo>
                      <a:pt x="203" y="156"/>
                      <a:pt x="204" y="156"/>
                      <a:pt x="204" y="156"/>
                    </a:cubicBezTo>
                    <a:cubicBezTo>
                      <a:pt x="205" y="155"/>
                      <a:pt x="205" y="155"/>
                      <a:pt x="206" y="155"/>
                    </a:cubicBezTo>
                    <a:cubicBezTo>
                      <a:pt x="207" y="154"/>
                      <a:pt x="208" y="154"/>
                      <a:pt x="210" y="154"/>
                    </a:cubicBezTo>
                    <a:cubicBezTo>
                      <a:pt x="211" y="154"/>
                      <a:pt x="212" y="153"/>
                      <a:pt x="214" y="153"/>
                    </a:cubicBezTo>
                    <a:cubicBezTo>
                      <a:pt x="215" y="152"/>
                      <a:pt x="215" y="152"/>
                      <a:pt x="216" y="152"/>
                    </a:cubicBezTo>
                    <a:cubicBezTo>
                      <a:pt x="217" y="152"/>
                      <a:pt x="217" y="151"/>
                      <a:pt x="217" y="151"/>
                    </a:cubicBezTo>
                    <a:cubicBezTo>
                      <a:pt x="217" y="152"/>
                      <a:pt x="217" y="152"/>
                      <a:pt x="217" y="152"/>
                    </a:cubicBezTo>
                    <a:cubicBezTo>
                      <a:pt x="217" y="151"/>
                      <a:pt x="219" y="151"/>
                      <a:pt x="220" y="151"/>
                    </a:cubicBezTo>
                    <a:cubicBezTo>
                      <a:pt x="221" y="150"/>
                      <a:pt x="222" y="151"/>
                      <a:pt x="222" y="150"/>
                    </a:cubicBezTo>
                    <a:cubicBezTo>
                      <a:pt x="222" y="149"/>
                      <a:pt x="221" y="149"/>
                      <a:pt x="221" y="149"/>
                    </a:cubicBezTo>
                    <a:cubicBezTo>
                      <a:pt x="221" y="149"/>
                      <a:pt x="220" y="148"/>
                      <a:pt x="220" y="148"/>
                    </a:cubicBezTo>
                    <a:cubicBezTo>
                      <a:pt x="221" y="148"/>
                      <a:pt x="221" y="148"/>
                      <a:pt x="222" y="148"/>
                    </a:cubicBezTo>
                    <a:cubicBezTo>
                      <a:pt x="222" y="148"/>
                      <a:pt x="222" y="147"/>
                      <a:pt x="223" y="147"/>
                    </a:cubicBezTo>
                    <a:cubicBezTo>
                      <a:pt x="223" y="147"/>
                      <a:pt x="224" y="147"/>
                      <a:pt x="225" y="147"/>
                    </a:cubicBezTo>
                    <a:cubicBezTo>
                      <a:pt x="225" y="147"/>
                      <a:pt x="224" y="147"/>
                      <a:pt x="224" y="147"/>
                    </a:cubicBezTo>
                    <a:cubicBezTo>
                      <a:pt x="224" y="147"/>
                      <a:pt x="224" y="147"/>
                      <a:pt x="224" y="147"/>
                    </a:cubicBezTo>
                    <a:cubicBezTo>
                      <a:pt x="225" y="146"/>
                      <a:pt x="227" y="146"/>
                      <a:pt x="228" y="146"/>
                    </a:cubicBezTo>
                    <a:cubicBezTo>
                      <a:pt x="229" y="146"/>
                      <a:pt x="230" y="146"/>
                      <a:pt x="231" y="147"/>
                    </a:cubicBezTo>
                    <a:cubicBezTo>
                      <a:pt x="231" y="147"/>
                      <a:pt x="231" y="147"/>
                      <a:pt x="230" y="147"/>
                    </a:cubicBezTo>
                    <a:cubicBezTo>
                      <a:pt x="231" y="147"/>
                      <a:pt x="231" y="147"/>
                      <a:pt x="232" y="147"/>
                    </a:cubicBezTo>
                    <a:cubicBezTo>
                      <a:pt x="231" y="147"/>
                      <a:pt x="232" y="148"/>
                      <a:pt x="232" y="148"/>
                    </a:cubicBezTo>
                    <a:cubicBezTo>
                      <a:pt x="231" y="147"/>
                      <a:pt x="233" y="147"/>
                      <a:pt x="234" y="147"/>
                    </a:cubicBezTo>
                    <a:cubicBezTo>
                      <a:pt x="233" y="147"/>
                      <a:pt x="233" y="147"/>
                      <a:pt x="233" y="148"/>
                    </a:cubicBezTo>
                    <a:cubicBezTo>
                      <a:pt x="234" y="148"/>
                      <a:pt x="235" y="147"/>
                      <a:pt x="237" y="147"/>
                    </a:cubicBezTo>
                    <a:cubicBezTo>
                      <a:pt x="237" y="147"/>
                      <a:pt x="238" y="147"/>
                      <a:pt x="238" y="146"/>
                    </a:cubicBezTo>
                    <a:cubicBezTo>
                      <a:pt x="238" y="146"/>
                      <a:pt x="237" y="147"/>
                      <a:pt x="237" y="146"/>
                    </a:cubicBezTo>
                    <a:cubicBezTo>
                      <a:pt x="238" y="146"/>
                      <a:pt x="239" y="146"/>
                      <a:pt x="239" y="146"/>
                    </a:cubicBezTo>
                    <a:cubicBezTo>
                      <a:pt x="239" y="145"/>
                      <a:pt x="238" y="146"/>
                      <a:pt x="237" y="146"/>
                    </a:cubicBezTo>
                    <a:cubicBezTo>
                      <a:pt x="237" y="146"/>
                      <a:pt x="236" y="146"/>
                      <a:pt x="236" y="146"/>
                    </a:cubicBezTo>
                    <a:cubicBezTo>
                      <a:pt x="236" y="146"/>
                      <a:pt x="236" y="146"/>
                      <a:pt x="236" y="146"/>
                    </a:cubicBezTo>
                    <a:cubicBezTo>
                      <a:pt x="237" y="145"/>
                      <a:pt x="237" y="145"/>
                      <a:pt x="238" y="145"/>
                    </a:cubicBezTo>
                    <a:cubicBezTo>
                      <a:pt x="239" y="144"/>
                      <a:pt x="239" y="144"/>
                      <a:pt x="239" y="144"/>
                    </a:cubicBezTo>
                    <a:cubicBezTo>
                      <a:pt x="240" y="144"/>
                      <a:pt x="241" y="143"/>
                      <a:pt x="240" y="144"/>
                    </a:cubicBezTo>
                    <a:cubicBezTo>
                      <a:pt x="241" y="144"/>
                      <a:pt x="241" y="144"/>
                      <a:pt x="242" y="144"/>
                    </a:cubicBezTo>
                    <a:cubicBezTo>
                      <a:pt x="241" y="144"/>
                      <a:pt x="241" y="144"/>
                      <a:pt x="240" y="144"/>
                    </a:cubicBezTo>
                    <a:cubicBezTo>
                      <a:pt x="240" y="143"/>
                      <a:pt x="240" y="143"/>
                      <a:pt x="240" y="143"/>
                    </a:cubicBezTo>
                    <a:cubicBezTo>
                      <a:pt x="240" y="143"/>
                      <a:pt x="240" y="143"/>
                      <a:pt x="240" y="143"/>
                    </a:cubicBezTo>
                    <a:cubicBezTo>
                      <a:pt x="241" y="143"/>
                      <a:pt x="243" y="143"/>
                      <a:pt x="244" y="142"/>
                    </a:cubicBezTo>
                    <a:cubicBezTo>
                      <a:pt x="243" y="142"/>
                      <a:pt x="243" y="142"/>
                      <a:pt x="243" y="143"/>
                    </a:cubicBezTo>
                    <a:cubicBezTo>
                      <a:pt x="243" y="142"/>
                      <a:pt x="243" y="142"/>
                      <a:pt x="244" y="142"/>
                    </a:cubicBezTo>
                    <a:cubicBezTo>
                      <a:pt x="243" y="143"/>
                      <a:pt x="245" y="141"/>
                      <a:pt x="245" y="141"/>
                    </a:cubicBezTo>
                    <a:cubicBezTo>
                      <a:pt x="245" y="141"/>
                      <a:pt x="245" y="141"/>
                      <a:pt x="245" y="141"/>
                    </a:cubicBezTo>
                    <a:cubicBezTo>
                      <a:pt x="245" y="141"/>
                      <a:pt x="246" y="141"/>
                      <a:pt x="246" y="141"/>
                    </a:cubicBezTo>
                    <a:cubicBezTo>
                      <a:pt x="246" y="141"/>
                      <a:pt x="246" y="141"/>
                      <a:pt x="246" y="141"/>
                    </a:cubicBezTo>
                    <a:cubicBezTo>
                      <a:pt x="246" y="140"/>
                      <a:pt x="247" y="140"/>
                      <a:pt x="247" y="140"/>
                    </a:cubicBezTo>
                    <a:cubicBezTo>
                      <a:pt x="247" y="140"/>
                      <a:pt x="248" y="140"/>
                      <a:pt x="248" y="140"/>
                    </a:cubicBezTo>
                    <a:cubicBezTo>
                      <a:pt x="248" y="140"/>
                      <a:pt x="247" y="140"/>
                      <a:pt x="247" y="140"/>
                    </a:cubicBezTo>
                    <a:cubicBezTo>
                      <a:pt x="247" y="140"/>
                      <a:pt x="248" y="140"/>
                      <a:pt x="248" y="140"/>
                    </a:cubicBezTo>
                    <a:cubicBezTo>
                      <a:pt x="247" y="139"/>
                      <a:pt x="245" y="140"/>
                      <a:pt x="244" y="140"/>
                    </a:cubicBezTo>
                    <a:cubicBezTo>
                      <a:pt x="245" y="140"/>
                      <a:pt x="245" y="140"/>
                      <a:pt x="245" y="140"/>
                    </a:cubicBezTo>
                    <a:cubicBezTo>
                      <a:pt x="245" y="139"/>
                      <a:pt x="246" y="139"/>
                      <a:pt x="246" y="139"/>
                    </a:cubicBezTo>
                    <a:cubicBezTo>
                      <a:pt x="247" y="139"/>
                      <a:pt x="247" y="139"/>
                      <a:pt x="247" y="139"/>
                    </a:cubicBezTo>
                    <a:cubicBezTo>
                      <a:pt x="248" y="138"/>
                      <a:pt x="248" y="138"/>
                      <a:pt x="249" y="138"/>
                    </a:cubicBezTo>
                    <a:cubicBezTo>
                      <a:pt x="248" y="138"/>
                      <a:pt x="248" y="138"/>
                      <a:pt x="248" y="138"/>
                    </a:cubicBezTo>
                    <a:cubicBezTo>
                      <a:pt x="248" y="138"/>
                      <a:pt x="249" y="138"/>
                      <a:pt x="249" y="138"/>
                    </a:cubicBezTo>
                    <a:cubicBezTo>
                      <a:pt x="248" y="138"/>
                      <a:pt x="248" y="138"/>
                      <a:pt x="247" y="138"/>
                    </a:cubicBezTo>
                    <a:cubicBezTo>
                      <a:pt x="246" y="138"/>
                      <a:pt x="246" y="138"/>
                      <a:pt x="245" y="139"/>
                    </a:cubicBezTo>
                    <a:cubicBezTo>
                      <a:pt x="244" y="139"/>
                      <a:pt x="243" y="139"/>
                      <a:pt x="242" y="140"/>
                    </a:cubicBezTo>
                    <a:cubicBezTo>
                      <a:pt x="242" y="140"/>
                      <a:pt x="243" y="140"/>
                      <a:pt x="243" y="139"/>
                    </a:cubicBezTo>
                    <a:cubicBezTo>
                      <a:pt x="243" y="140"/>
                      <a:pt x="242" y="140"/>
                      <a:pt x="241" y="140"/>
                    </a:cubicBezTo>
                    <a:cubicBezTo>
                      <a:pt x="240" y="141"/>
                      <a:pt x="239" y="141"/>
                      <a:pt x="238" y="141"/>
                    </a:cubicBezTo>
                    <a:cubicBezTo>
                      <a:pt x="237" y="141"/>
                      <a:pt x="236" y="141"/>
                      <a:pt x="235" y="141"/>
                    </a:cubicBezTo>
                    <a:cubicBezTo>
                      <a:pt x="234" y="141"/>
                      <a:pt x="233" y="141"/>
                      <a:pt x="232" y="141"/>
                    </a:cubicBezTo>
                    <a:cubicBezTo>
                      <a:pt x="232" y="141"/>
                      <a:pt x="230" y="141"/>
                      <a:pt x="230" y="141"/>
                    </a:cubicBezTo>
                    <a:cubicBezTo>
                      <a:pt x="230" y="141"/>
                      <a:pt x="231" y="141"/>
                      <a:pt x="231" y="141"/>
                    </a:cubicBezTo>
                    <a:cubicBezTo>
                      <a:pt x="231" y="141"/>
                      <a:pt x="230" y="141"/>
                      <a:pt x="230" y="141"/>
                    </a:cubicBezTo>
                    <a:cubicBezTo>
                      <a:pt x="229" y="141"/>
                      <a:pt x="229" y="141"/>
                      <a:pt x="228" y="141"/>
                    </a:cubicBezTo>
                    <a:cubicBezTo>
                      <a:pt x="229" y="141"/>
                      <a:pt x="229" y="141"/>
                      <a:pt x="229" y="141"/>
                    </a:cubicBezTo>
                    <a:cubicBezTo>
                      <a:pt x="228" y="140"/>
                      <a:pt x="227" y="141"/>
                      <a:pt x="225" y="141"/>
                    </a:cubicBezTo>
                    <a:cubicBezTo>
                      <a:pt x="225" y="139"/>
                      <a:pt x="227" y="140"/>
                      <a:pt x="228" y="140"/>
                    </a:cubicBezTo>
                    <a:cubicBezTo>
                      <a:pt x="228" y="140"/>
                      <a:pt x="227" y="140"/>
                      <a:pt x="227" y="140"/>
                    </a:cubicBezTo>
                    <a:cubicBezTo>
                      <a:pt x="227" y="140"/>
                      <a:pt x="227" y="140"/>
                      <a:pt x="227" y="139"/>
                    </a:cubicBezTo>
                    <a:cubicBezTo>
                      <a:pt x="227" y="139"/>
                      <a:pt x="229" y="139"/>
                      <a:pt x="229" y="139"/>
                    </a:cubicBezTo>
                    <a:cubicBezTo>
                      <a:pt x="229" y="139"/>
                      <a:pt x="231" y="138"/>
                      <a:pt x="231" y="138"/>
                    </a:cubicBezTo>
                    <a:cubicBezTo>
                      <a:pt x="232" y="138"/>
                      <a:pt x="233" y="138"/>
                      <a:pt x="234" y="138"/>
                    </a:cubicBezTo>
                    <a:cubicBezTo>
                      <a:pt x="234" y="137"/>
                      <a:pt x="235" y="137"/>
                      <a:pt x="235" y="137"/>
                    </a:cubicBezTo>
                    <a:cubicBezTo>
                      <a:pt x="235" y="137"/>
                      <a:pt x="236" y="137"/>
                      <a:pt x="236" y="137"/>
                    </a:cubicBezTo>
                    <a:cubicBezTo>
                      <a:pt x="236" y="137"/>
                      <a:pt x="237" y="137"/>
                      <a:pt x="237" y="137"/>
                    </a:cubicBezTo>
                    <a:cubicBezTo>
                      <a:pt x="238" y="137"/>
                      <a:pt x="238" y="136"/>
                      <a:pt x="239" y="136"/>
                    </a:cubicBezTo>
                    <a:cubicBezTo>
                      <a:pt x="239" y="136"/>
                      <a:pt x="240" y="136"/>
                      <a:pt x="241" y="136"/>
                    </a:cubicBezTo>
                    <a:cubicBezTo>
                      <a:pt x="242" y="135"/>
                      <a:pt x="239" y="136"/>
                      <a:pt x="240" y="135"/>
                    </a:cubicBezTo>
                    <a:cubicBezTo>
                      <a:pt x="240" y="135"/>
                      <a:pt x="238" y="136"/>
                      <a:pt x="238" y="135"/>
                    </a:cubicBezTo>
                    <a:cubicBezTo>
                      <a:pt x="238" y="135"/>
                      <a:pt x="239" y="135"/>
                      <a:pt x="239" y="135"/>
                    </a:cubicBezTo>
                    <a:cubicBezTo>
                      <a:pt x="238" y="135"/>
                      <a:pt x="238" y="135"/>
                      <a:pt x="237" y="135"/>
                    </a:cubicBezTo>
                    <a:cubicBezTo>
                      <a:pt x="238" y="135"/>
                      <a:pt x="238" y="135"/>
                      <a:pt x="238" y="135"/>
                    </a:cubicBezTo>
                    <a:cubicBezTo>
                      <a:pt x="238" y="135"/>
                      <a:pt x="236" y="135"/>
                      <a:pt x="237" y="135"/>
                    </a:cubicBezTo>
                    <a:cubicBezTo>
                      <a:pt x="237" y="135"/>
                      <a:pt x="237" y="135"/>
                      <a:pt x="237" y="134"/>
                    </a:cubicBezTo>
                    <a:cubicBezTo>
                      <a:pt x="237" y="134"/>
                      <a:pt x="236" y="134"/>
                      <a:pt x="236" y="134"/>
                    </a:cubicBezTo>
                    <a:cubicBezTo>
                      <a:pt x="236" y="134"/>
                      <a:pt x="235" y="135"/>
                      <a:pt x="235" y="134"/>
                    </a:cubicBezTo>
                    <a:cubicBezTo>
                      <a:pt x="234" y="135"/>
                      <a:pt x="233" y="135"/>
                      <a:pt x="232" y="135"/>
                    </a:cubicBezTo>
                    <a:cubicBezTo>
                      <a:pt x="231" y="135"/>
                      <a:pt x="230" y="135"/>
                      <a:pt x="229" y="136"/>
                    </a:cubicBezTo>
                    <a:cubicBezTo>
                      <a:pt x="228" y="136"/>
                      <a:pt x="227" y="136"/>
                      <a:pt x="226" y="136"/>
                    </a:cubicBezTo>
                    <a:cubicBezTo>
                      <a:pt x="225" y="136"/>
                      <a:pt x="224" y="136"/>
                      <a:pt x="223" y="137"/>
                    </a:cubicBezTo>
                    <a:cubicBezTo>
                      <a:pt x="223" y="137"/>
                      <a:pt x="223" y="137"/>
                      <a:pt x="222" y="137"/>
                    </a:cubicBezTo>
                    <a:cubicBezTo>
                      <a:pt x="222" y="137"/>
                      <a:pt x="222" y="137"/>
                      <a:pt x="221" y="137"/>
                    </a:cubicBezTo>
                    <a:cubicBezTo>
                      <a:pt x="221" y="138"/>
                      <a:pt x="220" y="138"/>
                      <a:pt x="219" y="138"/>
                    </a:cubicBezTo>
                    <a:cubicBezTo>
                      <a:pt x="218" y="138"/>
                      <a:pt x="217" y="138"/>
                      <a:pt x="216" y="138"/>
                    </a:cubicBezTo>
                    <a:cubicBezTo>
                      <a:pt x="215" y="138"/>
                      <a:pt x="214" y="139"/>
                      <a:pt x="213" y="139"/>
                    </a:cubicBezTo>
                    <a:cubicBezTo>
                      <a:pt x="213" y="139"/>
                      <a:pt x="214" y="139"/>
                      <a:pt x="214" y="138"/>
                    </a:cubicBezTo>
                    <a:cubicBezTo>
                      <a:pt x="214" y="138"/>
                      <a:pt x="213" y="139"/>
                      <a:pt x="213" y="139"/>
                    </a:cubicBezTo>
                    <a:cubicBezTo>
                      <a:pt x="213" y="139"/>
                      <a:pt x="213" y="138"/>
                      <a:pt x="213" y="138"/>
                    </a:cubicBezTo>
                    <a:cubicBezTo>
                      <a:pt x="213" y="138"/>
                      <a:pt x="212" y="139"/>
                      <a:pt x="212" y="139"/>
                    </a:cubicBezTo>
                    <a:cubicBezTo>
                      <a:pt x="212" y="139"/>
                      <a:pt x="212" y="139"/>
                      <a:pt x="213" y="139"/>
                    </a:cubicBezTo>
                    <a:cubicBezTo>
                      <a:pt x="211" y="139"/>
                      <a:pt x="210" y="139"/>
                      <a:pt x="209" y="139"/>
                    </a:cubicBezTo>
                    <a:cubicBezTo>
                      <a:pt x="209" y="139"/>
                      <a:pt x="207" y="140"/>
                      <a:pt x="207" y="140"/>
                    </a:cubicBezTo>
                    <a:cubicBezTo>
                      <a:pt x="207" y="140"/>
                      <a:pt x="207" y="139"/>
                      <a:pt x="207" y="139"/>
                    </a:cubicBezTo>
                    <a:cubicBezTo>
                      <a:pt x="207" y="139"/>
                      <a:pt x="207" y="139"/>
                      <a:pt x="206" y="140"/>
                    </a:cubicBezTo>
                    <a:cubicBezTo>
                      <a:pt x="206" y="140"/>
                      <a:pt x="205" y="140"/>
                      <a:pt x="205" y="140"/>
                    </a:cubicBezTo>
                    <a:cubicBezTo>
                      <a:pt x="204" y="140"/>
                      <a:pt x="203" y="140"/>
                      <a:pt x="203" y="140"/>
                    </a:cubicBezTo>
                    <a:cubicBezTo>
                      <a:pt x="202" y="140"/>
                      <a:pt x="200" y="141"/>
                      <a:pt x="199" y="141"/>
                    </a:cubicBezTo>
                    <a:cubicBezTo>
                      <a:pt x="199" y="141"/>
                      <a:pt x="198" y="141"/>
                      <a:pt x="197" y="141"/>
                    </a:cubicBezTo>
                    <a:cubicBezTo>
                      <a:pt x="197" y="141"/>
                      <a:pt x="196" y="141"/>
                      <a:pt x="195" y="142"/>
                    </a:cubicBezTo>
                    <a:cubicBezTo>
                      <a:pt x="195" y="142"/>
                      <a:pt x="194" y="142"/>
                      <a:pt x="194" y="141"/>
                    </a:cubicBezTo>
                    <a:cubicBezTo>
                      <a:pt x="193" y="141"/>
                      <a:pt x="191" y="142"/>
                      <a:pt x="192" y="141"/>
                    </a:cubicBezTo>
                    <a:cubicBezTo>
                      <a:pt x="191" y="141"/>
                      <a:pt x="190" y="142"/>
                      <a:pt x="190" y="142"/>
                    </a:cubicBezTo>
                    <a:cubicBezTo>
                      <a:pt x="189" y="143"/>
                      <a:pt x="189" y="144"/>
                      <a:pt x="189" y="144"/>
                    </a:cubicBezTo>
                    <a:cubicBezTo>
                      <a:pt x="189" y="145"/>
                      <a:pt x="189" y="145"/>
                      <a:pt x="190" y="144"/>
                    </a:cubicBezTo>
                    <a:cubicBezTo>
                      <a:pt x="190" y="144"/>
                      <a:pt x="191" y="143"/>
                      <a:pt x="191" y="144"/>
                    </a:cubicBezTo>
                    <a:cubicBezTo>
                      <a:pt x="191" y="144"/>
                      <a:pt x="190" y="144"/>
                      <a:pt x="191" y="144"/>
                    </a:cubicBezTo>
                    <a:cubicBezTo>
                      <a:pt x="191" y="144"/>
                      <a:pt x="192" y="144"/>
                      <a:pt x="192" y="144"/>
                    </a:cubicBezTo>
                    <a:cubicBezTo>
                      <a:pt x="192" y="144"/>
                      <a:pt x="193" y="143"/>
                      <a:pt x="193" y="143"/>
                    </a:cubicBezTo>
                    <a:cubicBezTo>
                      <a:pt x="192" y="143"/>
                      <a:pt x="193" y="143"/>
                      <a:pt x="193" y="143"/>
                    </a:cubicBezTo>
                    <a:cubicBezTo>
                      <a:pt x="194" y="143"/>
                      <a:pt x="195" y="142"/>
                      <a:pt x="196" y="143"/>
                    </a:cubicBezTo>
                    <a:cubicBezTo>
                      <a:pt x="197" y="143"/>
                      <a:pt x="196" y="143"/>
                      <a:pt x="197" y="143"/>
                    </a:cubicBezTo>
                    <a:cubicBezTo>
                      <a:pt x="197" y="143"/>
                      <a:pt x="198" y="143"/>
                      <a:pt x="198" y="143"/>
                    </a:cubicBezTo>
                    <a:cubicBezTo>
                      <a:pt x="200" y="143"/>
                      <a:pt x="201" y="143"/>
                      <a:pt x="202" y="143"/>
                    </a:cubicBezTo>
                    <a:cubicBezTo>
                      <a:pt x="203" y="143"/>
                      <a:pt x="202" y="144"/>
                      <a:pt x="203" y="144"/>
                    </a:cubicBezTo>
                    <a:cubicBezTo>
                      <a:pt x="203" y="143"/>
                      <a:pt x="203" y="143"/>
                      <a:pt x="204" y="143"/>
                    </a:cubicBezTo>
                    <a:cubicBezTo>
                      <a:pt x="204" y="143"/>
                      <a:pt x="204" y="143"/>
                      <a:pt x="205" y="143"/>
                    </a:cubicBezTo>
                    <a:cubicBezTo>
                      <a:pt x="206" y="142"/>
                      <a:pt x="205" y="142"/>
                      <a:pt x="206" y="142"/>
                    </a:cubicBezTo>
                    <a:cubicBezTo>
                      <a:pt x="207" y="142"/>
                      <a:pt x="209" y="142"/>
                      <a:pt x="210" y="142"/>
                    </a:cubicBezTo>
                    <a:cubicBezTo>
                      <a:pt x="212" y="142"/>
                      <a:pt x="213" y="141"/>
                      <a:pt x="214" y="142"/>
                    </a:cubicBezTo>
                    <a:cubicBezTo>
                      <a:pt x="215" y="143"/>
                      <a:pt x="214" y="143"/>
                      <a:pt x="215" y="143"/>
                    </a:cubicBezTo>
                    <a:cubicBezTo>
                      <a:pt x="215" y="143"/>
                      <a:pt x="217" y="143"/>
                      <a:pt x="217" y="144"/>
                    </a:cubicBezTo>
                    <a:cubicBezTo>
                      <a:pt x="216" y="145"/>
                      <a:pt x="212" y="145"/>
                      <a:pt x="211" y="145"/>
                    </a:cubicBezTo>
                    <a:cubicBezTo>
                      <a:pt x="210" y="145"/>
                      <a:pt x="210" y="144"/>
                      <a:pt x="209" y="144"/>
                    </a:cubicBezTo>
                    <a:cubicBezTo>
                      <a:pt x="209" y="144"/>
                      <a:pt x="208" y="144"/>
                      <a:pt x="207" y="144"/>
                    </a:cubicBezTo>
                    <a:cubicBezTo>
                      <a:pt x="206" y="144"/>
                      <a:pt x="205" y="144"/>
                      <a:pt x="204" y="145"/>
                    </a:cubicBezTo>
                    <a:cubicBezTo>
                      <a:pt x="205" y="145"/>
                      <a:pt x="205" y="144"/>
                      <a:pt x="206" y="145"/>
                    </a:cubicBezTo>
                    <a:cubicBezTo>
                      <a:pt x="205" y="145"/>
                      <a:pt x="207" y="145"/>
                      <a:pt x="207" y="146"/>
                    </a:cubicBezTo>
                    <a:cubicBezTo>
                      <a:pt x="207" y="147"/>
                      <a:pt x="206" y="147"/>
                      <a:pt x="205" y="147"/>
                    </a:cubicBezTo>
                    <a:cubicBezTo>
                      <a:pt x="204" y="148"/>
                      <a:pt x="202" y="148"/>
                      <a:pt x="201" y="148"/>
                    </a:cubicBezTo>
                    <a:cubicBezTo>
                      <a:pt x="201" y="148"/>
                      <a:pt x="200" y="148"/>
                      <a:pt x="199" y="149"/>
                    </a:cubicBezTo>
                    <a:cubicBezTo>
                      <a:pt x="199" y="149"/>
                      <a:pt x="199" y="149"/>
                      <a:pt x="198" y="149"/>
                    </a:cubicBezTo>
                    <a:cubicBezTo>
                      <a:pt x="200" y="150"/>
                      <a:pt x="196" y="152"/>
                      <a:pt x="195" y="152"/>
                    </a:cubicBezTo>
                    <a:cubicBezTo>
                      <a:pt x="194" y="152"/>
                      <a:pt x="193" y="152"/>
                      <a:pt x="191" y="152"/>
                    </a:cubicBezTo>
                    <a:cubicBezTo>
                      <a:pt x="191" y="152"/>
                      <a:pt x="190" y="152"/>
                      <a:pt x="191" y="153"/>
                    </a:cubicBezTo>
                    <a:close/>
                    <a:moveTo>
                      <a:pt x="274" y="177"/>
                    </a:moveTo>
                    <a:cubicBezTo>
                      <a:pt x="275" y="176"/>
                      <a:pt x="275" y="176"/>
                      <a:pt x="275" y="176"/>
                    </a:cubicBezTo>
                    <a:cubicBezTo>
                      <a:pt x="276" y="176"/>
                      <a:pt x="276" y="176"/>
                      <a:pt x="276" y="175"/>
                    </a:cubicBezTo>
                    <a:cubicBezTo>
                      <a:pt x="276" y="175"/>
                      <a:pt x="275" y="176"/>
                      <a:pt x="274" y="176"/>
                    </a:cubicBezTo>
                    <a:cubicBezTo>
                      <a:pt x="275" y="176"/>
                      <a:pt x="275" y="176"/>
                      <a:pt x="276" y="175"/>
                    </a:cubicBezTo>
                    <a:cubicBezTo>
                      <a:pt x="275" y="175"/>
                      <a:pt x="275" y="175"/>
                      <a:pt x="274" y="175"/>
                    </a:cubicBezTo>
                    <a:cubicBezTo>
                      <a:pt x="273" y="175"/>
                      <a:pt x="273" y="175"/>
                      <a:pt x="272" y="174"/>
                    </a:cubicBezTo>
                    <a:cubicBezTo>
                      <a:pt x="272" y="174"/>
                      <a:pt x="272" y="174"/>
                      <a:pt x="272" y="174"/>
                    </a:cubicBezTo>
                    <a:cubicBezTo>
                      <a:pt x="271" y="174"/>
                      <a:pt x="270" y="174"/>
                      <a:pt x="270" y="174"/>
                    </a:cubicBezTo>
                    <a:cubicBezTo>
                      <a:pt x="270" y="174"/>
                      <a:pt x="270" y="174"/>
                      <a:pt x="270" y="174"/>
                    </a:cubicBezTo>
                    <a:cubicBezTo>
                      <a:pt x="267" y="174"/>
                      <a:pt x="264" y="174"/>
                      <a:pt x="262" y="175"/>
                    </a:cubicBezTo>
                    <a:cubicBezTo>
                      <a:pt x="260" y="175"/>
                      <a:pt x="259" y="175"/>
                      <a:pt x="257" y="176"/>
                    </a:cubicBezTo>
                    <a:cubicBezTo>
                      <a:pt x="256" y="176"/>
                      <a:pt x="255" y="177"/>
                      <a:pt x="254" y="178"/>
                    </a:cubicBezTo>
                    <a:cubicBezTo>
                      <a:pt x="253" y="178"/>
                      <a:pt x="252" y="179"/>
                      <a:pt x="251" y="180"/>
                    </a:cubicBezTo>
                    <a:cubicBezTo>
                      <a:pt x="250" y="180"/>
                      <a:pt x="250" y="180"/>
                      <a:pt x="249" y="180"/>
                    </a:cubicBezTo>
                    <a:cubicBezTo>
                      <a:pt x="248" y="180"/>
                      <a:pt x="248" y="181"/>
                      <a:pt x="247" y="181"/>
                    </a:cubicBezTo>
                    <a:cubicBezTo>
                      <a:pt x="246" y="181"/>
                      <a:pt x="244" y="182"/>
                      <a:pt x="243" y="182"/>
                    </a:cubicBezTo>
                    <a:cubicBezTo>
                      <a:pt x="242" y="183"/>
                      <a:pt x="242" y="183"/>
                      <a:pt x="241" y="183"/>
                    </a:cubicBezTo>
                    <a:cubicBezTo>
                      <a:pt x="240" y="183"/>
                      <a:pt x="240" y="183"/>
                      <a:pt x="239" y="183"/>
                    </a:cubicBezTo>
                    <a:cubicBezTo>
                      <a:pt x="239" y="183"/>
                      <a:pt x="239" y="183"/>
                      <a:pt x="239" y="183"/>
                    </a:cubicBezTo>
                    <a:cubicBezTo>
                      <a:pt x="239" y="182"/>
                      <a:pt x="238" y="183"/>
                      <a:pt x="238" y="183"/>
                    </a:cubicBezTo>
                    <a:cubicBezTo>
                      <a:pt x="237" y="183"/>
                      <a:pt x="237" y="183"/>
                      <a:pt x="237" y="183"/>
                    </a:cubicBezTo>
                    <a:cubicBezTo>
                      <a:pt x="237" y="183"/>
                      <a:pt x="237" y="183"/>
                      <a:pt x="236" y="183"/>
                    </a:cubicBezTo>
                    <a:cubicBezTo>
                      <a:pt x="236" y="183"/>
                      <a:pt x="235" y="183"/>
                      <a:pt x="235" y="183"/>
                    </a:cubicBezTo>
                    <a:cubicBezTo>
                      <a:pt x="235" y="183"/>
                      <a:pt x="235" y="183"/>
                      <a:pt x="235" y="183"/>
                    </a:cubicBezTo>
                    <a:cubicBezTo>
                      <a:pt x="235" y="183"/>
                      <a:pt x="234" y="183"/>
                      <a:pt x="234" y="183"/>
                    </a:cubicBezTo>
                    <a:cubicBezTo>
                      <a:pt x="234" y="183"/>
                      <a:pt x="234" y="183"/>
                      <a:pt x="235" y="183"/>
                    </a:cubicBezTo>
                    <a:cubicBezTo>
                      <a:pt x="234" y="183"/>
                      <a:pt x="233" y="182"/>
                      <a:pt x="234" y="182"/>
                    </a:cubicBezTo>
                    <a:cubicBezTo>
                      <a:pt x="233" y="182"/>
                      <a:pt x="233" y="180"/>
                      <a:pt x="232" y="180"/>
                    </a:cubicBezTo>
                    <a:cubicBezTo>
                      <a:pt x="232" y="180"/>
                      <a:pt x="231" y="180"/>
                      <a:pt x="232" y="180"/>
                    </a:cubicBezTo>
                    <a:cubicBezTo>
                      <a:pt x="233" y="179"/>
                      <a:pt x="232" y="179"/>
                      <a:pt x="232" y="179"/>
                    </a:cubicBezTo>
                    <a:cubicBezTo>
                      <a:pt x="231" y="179"/>
                      <a:pt x="229" y="180"/>
                      <a:pt x="229" y="180"/>
                    </a:cubicBezTo>
                    <a:cubicBezTo>
                      <a:pt x="228" y="179"/>
                      <a:pt x="228" y="179"/>
                      <a:pt x="228" y="179"/>
                    </a:cubicBezTo>
                    <a:cubicBezTo>
                      <a:pt x="228" y="179"/>
                      <a:pt x="227" y="178"/>
                      <a:pt x="226" y="178"/>
                    </a:cubicBezTo>
                    <a:cubicBezTo>
                      <a:pt x="226" y="178"/>
                      <a:pt x="227" y="178"/>
                      <a:pt x="227" y="177"/>
                    </a:cubicBezTo>
                    <a:cubicBezTo>
                      <a:pt x="226" y="177"/>
                      <a:pt x="226" y="177"/>
                      <a:pt x="226" y="177"/>
                    </a:cubicBezTo>
                    <a:cubicBezTo>
                      <a:pt x="225" y="177"/>
                      <a:pt x="224" y="177"/>
                      <a:pt x="223" y="177"/>
                    </a:cubicBezTo>
                    <a:cubicBezTo>
                      <a:pt x="223" y="177"/>
                      <a:pt x="224" y="176"/>
                      <a:pt x="224" y="176"/>
                    </a:cubicBezTo>
                    <a:cubicBezTo>
                      <a:pt x="224" y="176"/>
                      <a:pt x="223" y="175"/>
                      <a:pt x="222" y="176"/>
                    </a:cubicBezTo>
                    <a:cubicBezTo>
                      <a:pt x="221" y="176"/>
                      <a:pt x="222" y="177"/>
                      <a:pt x="223" y="177"/>
                    </a:cubicBezTo>
                    <a:cubicBezTo>
                      <a:pt x="222" y="177"/>
                      <a:pt x="222" y="177"/>
                      <a:pt x="222" y="178"/>
                    </a:cubicBezTo>
                    <a:cubicBezTo>
                      <a:pt x="222" y="178"/>
                      <a:pt x="223" y="177"/>
                      <a:pt x="223" y="178"/>
                    </a:cubicBezTo>
                    <a:cubicBezTo>
                      <a:pt x="223" y="178"/>
                      <a:pt x="222" y="178"/>
                      <a:pt x="222" y="178"/>
                    </a:cubicBezTo>
                    <a:cubicBezTo>
                      <a:pt x="222" y="178"/>
                      <a:pt x="222" y="179"/>
                      <a:pt x="222" y="179"/>
                    </a:cubicBezTo>
                    <a:cubicBezTo>
                      <a:pt x="223" y="178"/>
                      <a:pt x="223" y="178"/>
                      <a:pt x="224" y="179"/>
                    </a:cubicBezTo>
                    <a:cubicBezTo>
                      <a:pt x="224" y="179"/>
                      <a:pt x="225" y="178"/>
                      <a:pt x="225" y="178"/>
                    </a:cubicBezTo>
                    <a:cubicBezTo>
                      <a:pt x="225" y="178"/>
                      <a:pt x="223" y="180"/>
                      <a:pt x="224" y="180"/>
                    </a:cubicBezTo>
                    <a:cubicBezTo>
                      <a:pt x="224" y="180"/>
                      <a:pt x="223" y="181"/>
                      <a:pt x="223" y="181"/>
                    </a:cubicBezTo>
                    <a:cubicBezTo>
                      <a:pt x="223" y="181"/>
                      <a:pt x="224" y="181"/>
                      <a:pt x="224" y="181"/>
                    </a:cubicBezTo>
                    <a:cubicBezTo>
                      <a:pt x="224" y="181"/>
                      <a:pt x="224" y="181"/>
                      <a:pt x="224" y="181"/>
                    </a:cubicBezTo>
                    <a:cubicBezTo>
                      <a:pt x="224" y="181"/>
                      <a:pt x="225" y="182"/>
                      <a:pt x="224" y="182"/>
                    </a:cubicBezTo>
                    <a:cubicBezTo>
                      <a:pt x="224" y="182"/>
                      <a:pt x="224" y="182"/>
                      <a:pt x="224" y="182"/>
                    </a:cubicBezTo>
                    <a:cubicBezTo>
                      <a:pt x="224" y="182"/>
                      <a:pt x="224" y="183"/>
                      <a:pt x="224" y="183"/>
                    </a:cubicBezTo>
                    <a:cubicBezTo>
                      <a:pt x="224" y="183"/>
                      <a:pt x="225" y="183"/>
                      <a:pt x="225" y="183"/>
                    </a:cubicBezTo>
                    <a:cubicBezTo>
                      <a:pt x="225" y="183"/>
                      <a:pt x="224" y="184"/>
                      <a:pt x="224" y="184"/>
                    </a:cubicBezTo>
                    <a:cubicBezTo>
                      <a:pt x="224" y="184"/>
                      <a:pt x="225" y="184"/>
                      <a:pt x="225" y="184"/>
                    </a:cubicBezTo>
                    <a:cubicBezTo>
                      <a:pt x="225" y="184"/>
                      <a:pt x="224" y="184"/>
                      <a:pt x="224" y="184"/>
                    </a:cubicBezTo>
                    <a:cubicBezTo>
                      <a:pt x="224" y="184"/>
                      <a:pt x="224" y="184"/>
                      <a:pt x="225" y="184"/>
                    </a:cubicBezTo>
                    <a:cubicBezTo>
                      <a:pt x="225" y="185"/>
                      <a:pt x="223" y="185"/>
                      <a:pt x="224" y="185"/>
                    </a:cubicBezTo>
                    <a:cubicBezTo>
                      <a:pt x="223" y="185"/>
                      <a:pt x="223" y="185"/>
                      <a:pt x="222" y="185"/>
                    </a:cubicBezTo>
                    <a:cubicBezTo>
                      <a:pt x="222" y="186"/>
                      <a:pt x="222" y="185"/>
                      <a:pt x="221" y="186"/>
                    </a:cubicBezTo>
                    <a:cubicBezTo>
                      <a:pt x="221" y="186"/>
                      <a:pt x="220" y="186"/>
                      <a:pt x="219" y="186"/>
                    </a:cubicBezTo>
                    <a:cubicBezTo>
                      <a:pt x="219" y="186"/>
                      <a:pt x="219" y="186"/>
                      <a:pt x="219" y="186"/>
                    </a:cubicBezTo>
                    <a:cubicBezTo>
                      <a:pt x="219" y="186"/>
                      <a:pt x="216" y="185"/>
                      <a:pt x="216" y="186"/>
                    </a:cubicBezTo>
                    <a:cubicBezTo>
                      <a:pt x="216" y="186"/>
                      <a:pt x="216" y="186"/>
                      <a:pt x="216" y="186"/>
                    </a:cubicBezTo>
                    <a:cubicBezTo>
                      <a:pt x="215" y="187"/>
                      <a:pt x="214" y="187"/>
                      <a:pt x="213" y="188"/>
                    </a:cubicBezTo>
                    <a:cubicBezTo>
                      <a:pt x="213" y="188"/>
                      <a:pt x="213" y="188"/>
                      <a:pt x="212" y="189"/>
                    </a:cubicBezTo>
                    <a:cubicBezTo>
                      <a:pt x="211" y="189"/>
                      <a:pt x="210" y="189"/>
                      <a:pt x="209" y="189"/>
                    </a:cubicBezTo>
                    <a:cubicBezTo>
                      <a:pt x="209" y="189"/>
                      <a:pt x="210" y="190"/>
                      <a:pt x="210" y="190"/>
                    </a:cubicBezTo>
                    <a:cubicBezTo>
                      <a:pt x="210" y="191"/>
                      <a:pt x="208" y="191"/>
                      <a:pt x="208" y="191"/>
                    </a:cubicBezTo>
                    <a:cubicBezTo>
                      <a:pt x="208" y="191"/>
                      <a:pt x="208" y="192"/>
                      <a:pt x="208" y="191"/>
                    </a:cubicBezTo>
                    <a:cubicBezTo>
                      <a:pt x="207" y="191"/>
                      <a:pt x="207" y="191"/>
                      <a:pt x="207" y="191"/>
                    </a:cubicBezTo>
                    <a:cubicBezTo>
                      <a:pt x="207" y="190"/>
                      <a:pt x="207" y="190"/>
                      <a:pt x="207" y="190"/>
                    </a:cubicBezTo>
                    <a:cubicBezTo>
                      <a:pt x="206" y="190"/>
                      <a:pt x="205" y="190"/>
                      <a:pt x="205" y="190"/>
                    </a:cubicBezTo>
                    <a:cubicBezTo>
                      <a:pt x="204" y="190"/>
                      <a:pt x="203" y="190"/>
                      <a:pt x="203" y="190"/>
                    </a:cubicBezTo>
                    <a:cubicBezTo>
                      <a:pt x="202" y="190"/>
                      <a:pt x="203" y="191"/>
                      <a:pt x="202" y="191"/>
                    </a:cubicBezTo>
                    <a:cubicBezTo>
                      <a:pt x="201" y="191"/>
                      <a:pt x="200" y="191"/>
                      <a:pt x="200" y="192"/>
                    </a:cubicBezTo>
                    <a:cubicBezTo>
                      <a:pt x="198" y="192"/>
                      <a:pt x="197" y="190"/>
                      <a:pt x="196" y="190"/>
                    </a:cubicBezTo>
                    <a:cubicBezTo>
                      <a:pt x="196" y="190"/>
                      <a:pt x="197" y="190"/>
                      <a:pt x="197" y="191"/>
                    </a:cubicBezTo>
                    <a:cubicBezTo>
                      <a:pt x="197" y="191"/>
                      <a:pt x="196" y="191"/>
                      <a:pt x="197" y="191"/>
                    </a:cubicBezTo>
                    <a:cubicBezTo>
                      <a:pt x="197" y="192"/>
                      <a:pt x="197" y="192"/>
                      <a:pt x="198" y="193"/>
                    </a:cubicBezTo>
                    <a:cubicBezTo>
                      <a:pt x="199" y="193"/>
                      <a:pt x="200" y="193"/>
                      <a:pt x="201" y="193"/>
                    </a:cubicBezTo>
                    <a:cubicBezTo>
                      <a:pt x="201" y="193"/>
                      <a:pt x="201" y="193"/>
                      <a:pt x="202" y="193"/>
                    </a:cubicBezTo>
                    <a:cubicBezTo>
                      <a:pt x="202" y="193"/>
                      <a:pt x="203" y="193"/>
                      <a:pt x="202" y="193"/>
                    </a:cubicBezTo>
                    <a:cubicBezTo>
                      <a:pt x="202" y="193"/>
                      <a:pt x="202" y="194"/>
                      <a:pt x="203" y="194"/>
                    </a:cubicBezTo>
                    <a:cubicBezTo>
                      <a:pt x="203" y="194"/>
                      <a:pt x="204" y="194"/>
                      <a:pt x="205" y="195"/>
                    </a:cubicBezTo>
                    <a:cubicBezTo>
                      <a:pt x="205" y="195"/>
                      <a:pt x="206" y="195"/>
                      <a:pt x="206" y="195"/>
                    </a:cubicBezTo>
                    <a:cubicBezTo>
                      <a:pt x="207" y="194"/>
                      <a:pt x="207" y="195"/>
                      <a:pt x="208" y="195"/>
                    </a:cubicBezTo>
                    <a:cubicBezTo>
                      <a:pt x="209" y="195"/>
                      <a:pt x="211" y="195"/>
                      <a:pt x="212" y="194"/>
                    </a:cubicBezTo>
                    <a:cubicBezTo>
                      <a:pt x="213" y="194"/>
                      <a:pt x="213" y="194"/>
                      <a:pt x="214" y="194"/>
                    </a:cubicBezTo>
                    <a:cubicBezTo>
                      <a:pt x="215" y="194"/>
                      <a:pt x="215" y="194"/>
                      <a:pt x="215" y="194"/>
                    </a:cubicBezTo>
                    <a:cubicBezTo>
                      <a:pt x="216" y="194"/>
                      <a:pt x="217" y="194"/>
                      <a:pt x="217" y="194"/>
                    </a:cubicBezTo>
                    <a:cubicBezTo>
                      <a:pt x="218" y="194"/>
                      <a:pt x="218" y="194"/>
                      <a:pt x="219" y="193"/>
                    </a:cubicBezTo>
                    <a:cubicBezTo>
                      <a:pt x="219" y="193"/>
                      <a:pt x="220" y="193"/>
                      <a:pt x="220" y="193"/>
                    </a:cubicBezTo>
                    <a:cubicBezTo>
                      <a:pt x="221" y="193"/>
                      <a:pt x="221" y="193"/>
                      <a:pt x="221" y="193"/>
                    </a:cubicBezTo>
                    <a:cubicBezTo>
                      <a:pt x="222" y="193"/>
                      <a:pt x="224" y="193"/>
                      <a:pt x="225" y="192"/>
                    </a:cubicBezTo>
                    <a:cubicBezTo>
                      <a:pt x="225" y="192"/>
                      <a:pt x="226" y="191"/>
                      <a:pt x="225" y="192"/>
                    </a:cubicBezTo>
                    <a:cubicBezTo>
                      <a:pt x="225" y="191"/>
                      <a:pt x="226" y="191"/>
                      <a:pt x="226" y="190"/>
                    </a:cubicBezTo>
                    <a:cubicBezTo>
                      <a:pt x="227" y="190"/>
                      <a:pt x="228" y="190"/>
                      <a:pt x="228" y="190"/>
                    </a:cubicBezTo>
                    <a:cubicBezTo>
                      <a:pt x="229" y="189"/>
                      <a:pt x="230" y="189"/>
                      <a:pt x="231" y="189"/>
                    </a:cubicBezTo>
                    <a:cubicBezTo>
                      <a:pt x="231" y="189"/>
                      <a:pt x="232" y="189"/>
                      <a:pt x="233" y="189"/>
                    </a:cubicBezTo>
                    <a:cubicBezTo>
                      <a:pt x="232" y="188"/>
                      <a:pt x="233" y="188"/>
                      <a:pt x="233" y="189"/>
                    </a:cubicBezTo>
                    <a:cubicBezTo>
                      <a:pt x="233" y="189"/>
                      <a:pt x="233" y="189"/>
                      <a:pt x="233" y="189"/>
                    </a:cubicBezTo>
                    <a:cubicBezTo>
                      <a:pt x="233" y="189"/>
                      <a:pt x="234" y="189"/>
                      <a:pt x="235" y="189"/>
                    </a:cubicBezTo>
                    <a:cubicBezTo>
                      <a:pt x="235" y="189"/>
                      <a:pt x="236" y="188"/>
                      <a:pt x="237" y="188"/>
                    </a:cubicBezTo>
                    <a:cubicBezTo>
                      <a:pt x="238" y="188"/>
                      <a:pt x="240" y="188"/>
                      <a:pt x="241" y="187"/>
                    </a:cubicBezTo>
                    <a:cubicBezTo>
                      <a:pt x="242" y="186"/>
                      <a:pt x="243" y="186"/>
                      <a:pt x="244" y="185"/>
                    </a:cubicBezTo>
                    <a:cubicBezTo>
                      <a:pt x="244" y="185"/>
                      <a:pt x="246" y="185"/>
                      <a:pt x="246" y="184"/>
                    </a:cubicBezTo>
                    <a:cubicBezTo>
                      <a:pt x="247" y="184"/>
                      <a:pt x="249" y="184"/>
                      <a:pt x="250" y="182"/>
                    </a:cubicBezTo>
                    <a:cubicBezTo>
                      <a:pt x="250" y="182"/>
                      <a:pt x="249" y="183"/>
                      <a:pt x="248" y="183"/>
                    </a:cubicBezTo>
                    <a:cubicBezTo>
                      <a:pt x="249" y="182"/>
                      <a:pt x="250" y="182"/>
                      <a:pt x="251" y="182"/>
                    </a:cubicBezTo>
                    <a:cubicBezTo>
                      <a:pt x="250" y="182"/>
                      <a:pt x="250" y="182"/>
                      <a:pt x="250" y="182"/>
                    </a:cubicBezTo>
                    <a:cubicBezTo>
                      <a:pt x="251" y="182"/>
                      <a:pt x="251" y="182"/>
                      <a:pt x="252" y="181"/>
                    </a:cubicBezTo>
                    <a:cubicBezTo>
                      <a:pt x="253" y="181"/>
                      <a:pt x="253" y="181"/>
                      <a:pt x="254" y="181"/>
                    </a:cubicBezTo>
                    <a:cubicBezTo>
                      <a:pt x="254" y="181"/>
                      <a:pt x="254" y="181"/>
                      <a:pt x="253" y="181"/>
                    </a:cubicBezTo>
                    <a:cubicBezTo>
                      <a:pt x="254" y="180"/>
                      <a:pt x="254" y="180"/>
                      <a:pt x="255" y="180"/>
                    </a:cubicBezTo>
                    <a:cubicBezTo>
                      <a:pt x="255" y="180"/>
                      <a:pt x="256" y="180"/>
                      <a:pt x="255" y="180"/>
                    </a:cubicBezTo>
                    <a:cubicBezTo>
                      <a:pt x="256" y="179"/>
                      <a:pt x="257" y="179"/>
                      <a:pt x="258" y="179"/>
                    </a:cubicBezTo>
                    <a:cubicBezTo>
                      <a:pt x="258" y="179"/>
                      <a:pt x="260" y="179"/>
                      <a:pt x="260" y="179"/>
                    </a:cubicBezTo>
                    <a:cubicBezTo>
                      <a:pt x="260" y="179"/>
                      <a:pt x="259" y="180"/>
                      <a:pt x="259" y="180"/>
                    </a:cubicBezTo>
                    <a:cubicBezTo>
                      <a:pt x="260" y="180"/>
                      <a:pt x="262" y="180"/>
                      <a:pt x="263" y="179"/>
                    </a:cubicBezTo>
                    <a:cubicBezTo>
                      <a:pt x="262" y="179"/>
                      <a:pt x="262" y="179"/>
                      <a:pt x="261" y="179"/>
                    </a:cubicBezTo>
                    <a:cubicBezTo>
                      <a:pt x="261" y="179"/>
                      <a:pt x="262" y="179"/>
                      <a:pt x="263" y="179"/>
                    </a:cubicBezTo>
                    <a:cubicBezTo>
                      <a:pt x="262" y="179"/>
                      <a:pt x="263" y="179"/>
                      <a:pt x="264" y="179"/>
                    </a:cubicBezTo>
                    <a:cubicBezTo>
                      <a:pt x="264" y="179"/>
                      <a:pt x="264" y="179"/>
                      <a:pt x="265" y="179"/>
                    </a:cubicBezTo>
                    <a:cubicBezTo>
                      <a:pt x="265" y="178"/>
                      <a:pt x="266" y="178"/>
                      <a:pt x="267" y="178"/>
                    </a:cubicBezTo>
                    <a:cubicBezTo>
                      <a:pt x="266" y="178"/>
                      <a:pt x="266" y="178"/>
                      <a:pt x="265" y="178"/>
                    </a:cubicBezTo>
                    <a:cubicBezTo>
                      <a:pt x="265" y="178"/>
                      <a:pt x="263" y="179"/>
                      <a:pt x="264" y="178"/>
                    </a:cubicBezTo>
                    <a:cubicBezTo>
                      <a:pt x="263" y="178"/>
                      <a:pt x="261" y="179"/>
                      <a:pt x="260" y="179"/>
                    </a:cubicBezTo>
                    <a:cubicBezTo>
                      <a:pt x="260" y="179"/>
                      <a:pt x="261" y="178"/>
                      <a:pt x="261" y="178"/>
                    </a:cubicBezTo>
                    <a:cubicBezTo>
                      <a:pt x="261" y="178"/>
                      <a:pt x="260" y="178"/>
                      <a:pt x="260" y="178"/>
                    </a:cubicBezTo>
                    <a:cubicBezTo>
                      <a:pt x="260" y="178"/>
                      <a:pt x="262" y="178"/>
                      <a:pt x="262" y="178"/>
                    </a:cubicBezTo>
                    <a:cubicBezTo>
                      <a:pt x="263" y="178"/>
                      <a:pt x="264" y="178"/>
                      <a:pt x="264" y="178"/>
                    </a:cubicBezTo>
                    <a:cubicBezTo>
                      <a:pt x="265" y="178"/>
                      <a:pt x="265" y="178"/>
                      <a:pt x="265" y="178"/>
                    </a:cubicBezTo>
                    <a:cubicBezTo>
                      <a:pt x="266" y="178"/>
                      <a:pt x="266" y="178"/>
                      <a:pt x="267" y="177"/>
                    </a:cubicBezTo>
                    <a:cubicBezTo>
                      <a:pt x="268" y="177"/>
                      <a:pt x="269" y="177"/>
                      <a:pt x="269" y="177"/>
                    </a:cubicBezTo>
                    <a:cubicBezTo>
                      <a:pt x="269" y="176"/>
                      <a:pt x="264" y="177"/>
                      <a:pt x="264" y="176"/>
                    </a:cubicBezTo>
                    <a:cubicBezTo>
                      <a:pt x="264" y="175"/>
                      <a:pt x="269" y="176"/>
                      <a:pt x="269" y="176"/>
                    </a:cubicBezTo>
                    <a:cubicBezTo>
                      <a:pt x="269" y="176"/>
                      <a:pt x="268" y="176"/>
                      <a:pt x="268" y="176"/>
                    </a:cubicBezTo>
                    <a:cubicBezTo>
                      <a:pt x="267" y="175"/>
                      <a:pt x="266" y="176"/>
                      <a:pt x="265" y="176"/>
                    </a:cubicBezTo>
                    <a:cubicBezTo>
                      <a:pt x="265" y="176"/>
                      <a:pt x="264" y="175"/>
                      <a:pt x="264" y="176"/>
                    </a:cubicBezTo>
                    <a:cubicBezTo>
                      <a:pt x="264" y="176"/>
                      <a:pt x="264" y="176"/>
                      <a:pt x="264" y="176"/>
                    </a:cubicBezTo>
                    <a:cubicBezTo>
                      <a:pt x="265" y="176"/>
                      <a:pt x="264" y="176"/>
                      <a:pt x="263" y="177"/>
                    </a:cubicBezTo>
                    <a:cubicBezTo>
                      <a:pt x="263" y="177"/>
                      <a:pt x="263" y="177"/>
                      <a:pt x="262" y="177"/>
                    </a:cubicBezTo>
                    <a:cubicBezTo>
                      <a:pt x="261" y="176"/>
                      <a:pt x="260" y="177"/>
                      <a:pt x="258" y="177"/>
                    </a:cubicBezTo>
                    <a:cubicBezTo>
                      <a:pt x="257" y="177"/>
                      <a:pt x="256" y="178"/>
                      <a:pt x="255" y="178"/>
                    </a:cubicBezTo>
                    <a:cubicBezTo>
                      <a:pt x="254" y="178"/>
                      <a:pt x="253" y="179"/>
                      <a:pt x="252" y="180"/>
                    </a:cubicBezTo>
                    <a:cubicBezTo>
                      <a:pt x="253" y="178"/>
                      <a:pt x="256" y="177"/>
                      <a:pt x="258" y="177"/>
                    </a:cubicBezTo>
                    <a:cubicBezTo>
                      <a:pt x="259" y="176"/>
                      <a:pt x="260" y="176"/>
                      <a:pt x="262" y="176"/>
                    </a:cubicBezTo>
                    <a:cubicBezTo>
                      <a:pt x="262" y="176"/>
                      <a:pt x="263" y="176"/>
                      <a:pt x="264" y="175"/>
                    </a:cubicBezTo>
                    <a:cubicBezTo>
                      <a:pt x="264" y="175"/>
                      <a:pt x="263" y="175"/>
                      <a:pt x="263" y="175"/>
                    </a:cubicBezTo>
                    <a:cubicBezTo>
                      <a:pt x="263" y="175"/>
                      <a:pt x="265" y="175"/>
                      <a:pt x="265" y="175"/>
                    </a:cubicBezTo>
                    <a:cubicBezTo>
                      <a:pt x="266" y="175"/>
                      <a:pt x="268" y="175"/>
                      <a:pt x="269" y="175"/>
                    </a:cubicBezTo>
                    <a:cubicBezTo>
                      <a:pt x="270" y="176"/>
                      <a:pt x="271" y="176"/>
                      <a:pt x="272" y="176"/>
                    </a:cubicBezTo>
                    <a:cubicBezTo>
                      <a:pt x="272" y="176"/>
                      <a:pt x="273" y="176"/>
                      <a:pt x="272" y="176"/>
                    </a:cubicBezTo>
                    <a:cubicBezTo>
                      <a:pt x="273" y="176"/>
                      <a:pt x="273" y="176"/>
                      <a:pt x="273" y="176"/>
                    </a:cubicBezTo>
                    <a:cubicBezTo>
                      <a:pt x="273" y="177"/>
                      <a:pt x="273" y="177"/>
                      <a:pt x="272" y="177"/>
                    </a:cubicBezTo>
                    <a:cubicBezTo>
                      <a:pt x="273" y="177"/>
                      <a:pt x="273" y="177"/>
                      <a:pt x="273" y="177"/>
                    </a:cubicBezTo>
                    <a:cubicBezTo>
                      <a:pt x="272" y="177"/>
                      <a:pt x="272" y="177"/>
                      <a:pt x="271" y="177"/>
                    </a:cubicBezTo>
                    <a:cubicBezTo>
                      <a:pt x="272" y="178"/>
                      <a:pt x="273" y="177"/>
                      <a:pt x="274" y="177"/>
                    </a:cubicBezTo>
                    <a:close/>
                    <a:moveTo>
                      <a:pt x="261" y="178"/>
                    </a:moveTo>
                    <a:cubicBezTo>
                      <a:pt x="262" y="178"/>
                      <a:pt x="263" y="178"/>
                      <a:pt x="263" y="178"/>
                    </a:cubicBezTo>
                    <a:cubicBezTo>
                      <a:pt x="263" y="178"/>
                      <a:pt x="262" y="178"/>
                      <a:pt x="261" y="178"/>
                    </a:cubicBezTo>
                    <a:close/>
                    <a:moveTo>
                      <a:pt x="290" y="268"/>
                    </a:moveTo>
                    <a:cubicBezTo>
                      <a:pt x="290" y="267"/>
                      <a:pt x="289" y="268"/>
                      <a:pt x="289" y="268"/>
                    </a:cubicBezTo>
                    <a:cubicBezTo>
                      <a:pt x="288" y="268"/>
                      <a:pt x="289" y="267"/>
                      <a:pt x="288" y="267"/>
                    </a:cubicBezTo>
                    <a:cubicBezTo>
                      <a:pt x="288" y="267"/>
                      <a:pt x="287" y="266"/>
                      <a:pt x="287" y="266"/>
                    </a:cubicBezTo>
                    <a:cubicBezTo>
                      <a:pt x="286" y="266"/>
                      <a:pt x="285" y="266"/>
                      <a:pt x="284" y="266"/>
                    </a:cubicBezTo>
                    <a:cubicBezTo>
                      <a:pt x="285" y="265"/>
                      <a:pt x="282" y="266"/>
                      <a:pt x="281" y="267"/>
                    </a:cubicBezTo>
                    <a:cubicBezTo>
                      <a:pt x="281" y="267"/>
                      <a:pt x="281" y="267"/>
                      <a:pt x="280" y="268"/>
                    </a:cubicBezTo>
                    <a:cubicBezTo>
                      <a:pt x="280" y="268"/>
                      <a:pt x="280" y="269"/>
                      <a:pt x="279" y="269"/>
                    </a:cubicBezTo>
                    <a:cubicBezTo>
                      <a:pt x="279" y="270"/>
                      <a:pt x="278" y="271"/>
                      <a:pt x="277" y="271"/>
                    </a:cubicBezTo>
                    <a:cubicBezTo>
                      <a:pt x="276" y="271"/>
                      <a:pt x="275" y="272"/>
                      <a:pt x="275" y="273"/>
                    </a:cubicBezTo>
                    <a:cubicBezTo>
                      <a:pt x="276" y="273"/>
                      <a:pt x="275" y="275"/>
                      <a:pt x="276" y="275"/>
                    </a:cubicBezTo>
                    <a:cubicBezTo>
                      <a:pt x="277" y="274"/>
                      <a:pt x="277" y="275"/>
                      <a:pt x="277" y="275"/>
                    </a:cubicBezTo>
                    <a:cubicBezTo>
                      <a:pt x="278" y="274"/>
                      <a:pt x="278" y="275"/>
                      <a:pt x="279" y="275"/>
                    </a:cubicBezTo>
                    <a:cubicBezTo>
                      <a:pt x="279" y="275"/>
                      <a:pt x="281" y="275"/>
                      <a:pt x="280" y="275"/>
                    </a:cubicBezTo>
                    <a:cubicBezTo>
                      <a:pt x="280" y="275"/>
                      <a:pt x="279" y="275"/>
                      <a:pt x="278" y="275"/>
                    </a:cubicBezTo>
                    <a:cubicBezTo>
                      <a:pt x="277" y="276"/>
                      <a:pt x="277" y="276"/>
                      <a:pt x="276" y="276"/>
                    </a:cubicBezTo>
                    <a:cubicBezTo>
                      <a:pt x="275" y="277"/>
                      <a:pt x="276" y="277"/>
                      <a:pt x="275" y="278"/>
                    </a:cubicBezTo>
                    <a:cubicBezTo>
                      <a:pt x="275" y="278"/>
                      <a:pt x="275" y="279"/>
                      <a:pt x="275" y="279"/>
                    </a:cubicBezTo>
                    <a:cubicBezTo>
                      <a:pt x="276" y="279"/>
                      <a:pt x="276" y="279"/>
                      <a:pt x="276" y="279"/>
                    </a:cubicBezTo>
                    <a:cubicBezTo>
                      <a:pt x="276" y="280"/>
                      <a:pt x="276" y="280"/>
                      <a:pt x="276" y="280"/>
                    </a:cubicBezTo>
                    <a:cubicBezTo>
                      <a:pt x="276" y="281"/>
                      <a:pt x="276" y="281"/>
                      <a:pt x="276" y="282"/>
                    </a:cubicBezTo>
                    <a:cubicBezTo>
                      <a:pt x="276" y="282"/>
                      <a:pt x="277" y="282"/>
                      <a:pt x="277" y="282"/>
                    </a:cubicBezTo>
                    <a:cubicBezTo>
                      <a:pt x="277" y="283"/>
                      <a:pt x="277" y="284"/>
                      <a:pt x="277" y="284"/>
                    </a:cubicBezTo>
                    <a:cubicBezTo>
                      <a:pt x="276" y="284"/>
                      <a:pt x="277" y="284"/>
                      <a:pt x="277" y="285"/>
                    </a:cubicBezTo>
                    <a:cubicBezTo>
                      <a:pt x="277" y="285"/>
                      <a:pt x="276" y="287"/>
                      <a:pt x="277" y="287"/>
                    </a:cubicBezTo>
                    <a:cubicBezTo>
                      <a:pt x="277" y="287"/>
                      <a:pt x="278" y="287"/>
                      <a:pt x="278" y="287"/>
                    </a:cubicBezTo>
                    <a:cubicBezTo>
                      <a:pt x="278" y="287"/>
                      <a:pt x="278" y="287"/>
                      <a:pt x="278" y="286"/>
                    </a:cubicBezTo>
                    <a:cubicBezTo>
                      <a:pt x="278" y="286"/>
                      <a:pt x="279" y="286"/>
                      <a:pt x="279" y="286"/>
                    </a:cubicBezTo>
                    <a:cubicBezTo>
                      <a:pt x="279" y="286"/>
                      <a:pt x="280" y="285"/>
                      <a:pt x="280" y="285"/>
                    </a:cubicBezTo>
                    <a:cubicBezTo>
                      <a:pt x="280" y="285"/>
                      <a:pt x="279" y="285"/>
                      <a:pt x="279" y="285"/>
                    </a:cubicBezTo>
                    <a:cubicBezTo>
                      <a:pt x="279" y="284"/>
                      <a:pt x="280" y="284"/>
                      <a:pt x="280" y="284"/>
                    </a:cubicBezTo>
                    <a:cubicBezTo>
                      <a:pt x="280" y="285"/>
                      <a:pt x="282" y="284"/>
                      <a:pt x="282" y="284"/>
                    </a:cubicBezTo>
                    <a:cubicBezTo>
                      <a:pt x="282" y="284"/>
                      <a:pt x="279" y="286"/>
                      <a:pt x="280" y="287"/>
                    </a:cubicBezTo>
                    <a:cubicBezTo>
                      <a:pt x="280" y="287"/>
                      <a:pt x="282" y="285"/>
                      <a:pt x="282" y="285"/>
                    </a:cubicBezTo>
                    <a:cubicBezTo>
                      <a:pt x="283" y="285"/>
                      <a:pt x="282" y="286"/>
                      <a:pt x="282" y="287"/>
                    </a:cubicBezTo>
                    <a:cubicBezTo>
                      <a:pt x="282" y="288"/>
                      <a:pt x="282" y="288"/>
                      <a:pt x="281" y="289"/>
                    </a:cubicBezTo>
                    <a:cubicBezTo>
                      <a:pt x="280" y="289"/>
                      <a:pt x="280" y="290"/>
                      <a:pt x="279" y="291"/>
                    </a:cubicBezTo>
                    <a:cubicBezTo>
                      <a:pt x="279" y="292"/>
                      <a:pt x="279" y="292"/>
                      <a:pt x="280" y="291"/>
                    </a:cubicBezTo>
                    <a:cubicBezTo>
                      <a:pt x="281" y="291"/>
                      <a:pt x="281" y="290"/>
                      <a:pt x="282" y="290"/>
                    </a:cubicBezTo>
                    <a:cubicBezTo>
                      <a:pt x="282" y="289"/>
                      <a:pt x="282" y="289"/>
                      <a:pt x="283" y="289"/>
                    </a:cubicBezTo>
                    <a:cubicBezTo>
                      <a:pt x="283" y="289"/>
                      <a:pt x="284" y="289"/>
                      <a:pt x="284" y="289"/>
                    </a:cubicBezTo>
                    <a:cubicBezTo>
                      <a:pt x="285" y="289"/>
                      <a:pt x="284" y="289"/>
                      <a:pt x="284" y="289"/>
                    </a:cubicBezTo>
                    <a:cubicBezTo>
                      <a:pt x="284" y="289"/>
                      <a:pt x="285" y="289"/>
                      <a:pt x="284" y="290"/>
                    </a:cubicBezTo>
                    <a:cubicBezTo>
                      <a:pt x="284" y="290"/>
                      <a:pt x="284" y="290"/>
                      <a:pt x="284" y="290"/>
                    </a:cubicBezTo>
                    <a:cubicBezTo>
                      <a:pt x="284" y="290"/>
                      <a:pt x="284" y="290"/>
                      <a:pt x="285" y="290"/>
                    </a:cubicBezTo>
                    <a:cubicBezTo>
                      <a:pt x="284" y="291"/>
                      <a:pt x="283" y="292"/>
                      <a:pt x="282" y="292"/>
                    </a:cubicBezTo>
                    <a:cubicBezTo>
                      <a:pt x="281" y="293"/>
                      <a:pt x="280" y="294"/>
                      <a:pt x="280" y="294"/>
                    </a:cubicBezTo>
                    <a:cubicBezTo>
                      <a:pt x="280" y="295"/>
                      <a:pt x="283" y="292"/>
                      <a:pt x="283" y="292"/>
                    </a:cubicBezTo>
                    <a:cubicBezTo>
                      <a:pt x="283" y="293"/>
                      <a:pt x="283" y="293"/>
                      <a:pt x="283" y="293"/>
                    </a:cubicBezTo>
                    <a:cubicBezTo>
                      <a:pt x="283" y="293"/>
                      <a:pt x="284" y="292"/>
                      <a:pt x="284" y="293"/>
                    </a:cubicBezTo>
                    <a:cubicBezTo>
                      <a:pt x="284" y="293"/>
                      <a:pt x="282" y="294"/>
                      <a:pt x="281" y="294"/>
                    </a:cubicBezTo>
                    <a:cubicBezTo>
                      <a:pt x="281" y="295"/>
                      <a:pt x="281" y="295"/>
                      <a:pt x="280" y="295"/>
                    </a:cubicBezTo>
                    <a:cubicBezTo>
                      <a:pt x="279" y="295"/>
                      <a:pt x="279" y="296"/>
                      <a:pt x="279" y="296"/>
                    </a:cubicBezTo>
                    <a:cubicBezTo>
                      <a:pt x="279" y="297"/>
                      <a:pt x="278" y="297"/>
                      <a:pt x="278" y="297"/>
                    </a:cubicBezTo>
                    <a:cubicBezTo>
                      <a:pt x="278" y="298"/>
                      <a:pt x="278" y="298"/>
                      <a:pt x="278" y="298"/>
                    </a:cubicBezTo>
                    <a:cubicBezTo>
                      <a:pt x="277" y="298"/>
                      <a:pt x="277" y="298"/>
                      <a:pt x="277" y="299"/>
                    </a:cubicBezTo>
                    <a:cubicBezTo>
                      <a:pt x="277" y="299"/>
                      <a:pt x="276" y="300"/>
                      <a:pt x="276" y="300"/>
                    </a:cubicBezTo>
                    <a:cubicBezTo>
                      <a:pt x="276" y="301"/>
                      <a:pt x="276" y="301"/>
                      <a:pt x="276" y="301"/>
                    </a:cubicBezTo>
                    <a:cubicBezTo>
                      <a:pt x="275" y="302"/>
                      <a:pt x="275" y="303"/>
                      <a:pt x="276" y="303"/>
                    </a:cubicBezTo>
                    <a:cubicBezTo>
                      <a:pt x="277" y="303"/>
                      <a:pt x="278" y="303"/>
                      <a:pt x="279" y="302"/>
                    </a:cubicBezTo>
                    <a:cubicBezTo>
                      <a:pt x="279" y="302"/>
                      <a:pt x="279" y="301"/>
                      <a:pt x="279" y="301"/>
                    </a:cubicBezTo>
                    <a:cubicBezTo>
                      <a:pt x="279" y="301"/>
                      <a:pt x="279" y="300"/>
                      <a:pt x="280" y="300"/>
                    </a:cubicBezTo>
                    <a:cubicBezTo>
                      <a:pt x="280" y="300"/>
                      <a:pt x="280" y="299"/>
                      <a:pt x="281" y="300"/>
                    </a:cubicBezTo>
                    <a:cubicBezTo>
                      <a:pt x="281" y="300"/>
                      <a:pt x="281" y="300"/>
                      <a:pt x="281" y="300"/>
                    </a:cubicBezTo>
                    <a:cubicBezTo>
                      <a:pt x="281" y="300"/>
                      <a:pt x="282" y="300"/>
                      <a:pt x="282" y="300"/>
                    </a:cubicBezTo>
                    <a:cubicBezTo>
                      <a:pt x="281" y="300"/>
                      <a:pt x="283" y="298"/>
                      <a:pt x="283" y="298"/>
                    </a:cubicBezTo>
                    <a:cubicBezTo>
                      <a:pt x="283" y="297"/>
                      <a:pt x="283" y="295"/>
                      <a:pt x="284" y="295"/>
                    </a:cubicBezTo>
                    <a:cubicBezTo>
                      <a:pt x="285" y="295"/>
                      <a:pt x="285" y="295"/>
                      <a:pt x="285" y="295"/>
                    </a:cubicBezTo>
                    <a:cubicBezTo>
                      <a:pt x="285" y="294"/>
                      <a:pt x="286" y="294"/>
                      <a:pt x="286" y="294"/>
                    </a:cubicBezTo>
                    <a:cubicBezTo>
                      <a:pt x="286" y="294"/>
                      <a:pt x="286" y="293"/>
                      <a:pt x="286" y="293"/>
                    </a:cubicBezTo>
                    <a:cubicBezTo>
                      <a:pt x="286" y="293"/>
                      <a:pt x="285" y="293"/>
                      <a:pt x="285" y="292"/>
                    </a:cubicBezTo>
                    <a:cubicBezTo>
                      <a:pt x="285" y="292"/>
                      <a:pt x="285" y="292"/>
                      <a:pt x="285" y="291"/>
                    </a:cubicBezTo>
                    <a:cubicBezTo>
                      <a:pt x="285" y="291"/>
                      <a:pt x="286" y="291"/>
                      <a:pt x="286" y="290"/>
                    </a:cubicBezTo>
                    <a:cubicBezTo>
                      <a:pt x="286" y="290"/>
                      <a:pt x="285" y="289"/>
                      <a:pt x="285" y="288"/>
                    </a:cubicBezTo>
                    <a:cubicBezTo>
                      <a:pt x="285" y="288"/>
                      <a:pt x="286" y="288"/>
                      <a:pt x="286" y="288"/>
                    </a:cubicBezTo>
                    <a:cubicBezTo>
                      <a:pt x="287" y="288"/>
                      <a:pt x="285" y="287"/>
                      <a:pt x="285" y="287"/>
                    </a:cubicBezTo>
                    <a:cubicBezTo>
                      <a:pt x="285" y="287"/>
                      <a:pt x="286" y="287"/>
                      <a:pt x="286" y="286"/>
                    </a:cubicBezTo>
                    <a:cubicBezTo>
                      <a:pt x="286" y="285"/>
                      <a:pt x="286" y="285"/>
                      <a:pt x="286" y="285"/>
                    </a:cubicBezTo>
                    <a:cubicBezTo>
                      <a:pt x="286" y="284"/>
                      <a:pt x="286" y="283"/>
                      <a:pt x="286" y="283"/>
                    </a:cubicBezTo>
                    <a:cubicBezTo>
                      <a:pt x="287" y="283"/>
                      <a:pt x="287" y="283"/>
                      <a:pt x="287" y="282"/>
                    </a:cubicBezTo>
                    <a:cubicBezTo>
                      <a:pt x="287" y="282"/>
                      <a:pt x="287" y="282"/>
                      <a:pt x="287" y="282"/>
                    </a:cubicBezTo>
                    <a:cubicBezTo>
                      <a:pt x="287" y="282"/>
                      <a:pt x="288" y="281"/>
                      <a:pt x="288" y="281"/>
                    </a:cubicBezTo>
                    <a:cubicBezTo>
                      <a:pt x="288" y="281"/>
                      <a:pt x="287" y="281"/>
                      <a:pt x="287" y="281"/>
                    </a:cubicBezTo>
                    <a:cubicBezTo>
                      <a:pt x="287" y="281"/>
                      <a:pt x="288" y="280"/>
                      <a:pt x="288" y="280"/>
                    </a:cubicBezTo>
                    <a:cubicBezTo>
                      <a:pt x="288" y="280"/>
                      <a:pt x="288" y="279"/>
                      <a:pt x="288" y="279"/>
                    </a:cubicBezTo>
                    <a:cubicBezTo>
                      <a:pt x="288" y="278"/>
                      <a:pt x="288" y="278"/>
                      <a:pt x="288" y="277"/>
                    </a:cubicBezTo>
                    <a:cubicBezTo>
                      <a:pt x="288" y="277"/>
                      <a:pt x="288" y="276"/>
                      <a:pt x="288" y="276"/>
                    </a:cubicBezTo>
                    <a:cubicBezTo>
                      <a:pt x="288" y="276"/>
                      <a:pt x="289" y="275"/>
                      <a:pt x="289" y="275"/>
                    </a:cubicBezTo>
                    <a:cubicBezTo>
                      <a:pt x="289" y="275"/>
                      <a:pt x="289" y="275"/>
                      <a:pt x="289" y="275"/>
                    </a:cubicBezTo>
                    <a:cubicBezTo>
                      <a:pt x="289" y="274"/>
                      <a:pt x="289" y="274"/>
                      <a:pt x="289" y="273"/>
                    </a:cubicBezTo>
                    <a:cubicBezTo>
                      <a:pt x="290" y="273"/>
                      <a:pt x="289" y="273"/>
                      <a:pt x="289" y="273"/>
                    </a:cubicBezTo>
                    <a:cubicBezTo>
                      <a:pt x="289" y="272"/>
                      <a:pt x="289" y="272"/>
                      <a:pt x="290" y="272"/>
                    </a:cubicBezTo>
                    <a:cubicBezTo>
                      <a:pt x="290" y="271"/>
                      <a:pt x="289" y="271"/>
                      <a:pt x="289" y="271"/>
                    </a:cubicBezTo>
                    <a:cubicBezTo>
                      <a:pt x="289" y="270"/>
                      <a:pt x="290" y="270"/>
                      <a:pt x="290" y="270"/>
                    </a:cubicBezTo>
                    <a:cubicBezTo>
                      <a:pt x="290" y="269"/>
                      <a:pt x="289" y="269"/>
                      <a:pt x="290" y="269"/>
                    </a:cubicBezTo>
                    <a:cubicBezTo>
                      <a:pt x="290" y="268"/>
                      <a:pt x="290" y="268"/>
                      <a:pt x="290" y="268"/>
                    </a:cubicBezTo>
                    <a:cubicBezTo>
                      <a:pt x="290" y="268"/>
                      <a:pt x="290" y="268"/>
                      <a:pt x="290" y="268"/>
                    </a:cubicBezTo>
                    <a:close/>
                    <a:moveTo>
                      <a:pt x="295" y="261"/>
                    </a:moveTo>
                    <a:cubicBezTo>
                      <a:pt x="294" y="261"/>
                      <a:pt x="293" y="262"/>
                      <a:pt x="293" y="261"/>
                    </a:cubicBezTo>
                    <a:cubicBezTo>
                      <a:pt x="293" y="262"/>
                      <a:pt x="295" y="261"/>
                      <a:pt x="294" y="260"/>
                    </a:cubicBezTo>
                    <a:cubicBezTo>
                      <a:pt x="293" y="261"/>
                      <a:pt x="293" y="261"/>
                      <a:pt x="292" y="261"/>
                    </a:cubicBezTo>
                    <a:cubicBezTo>
                      <a:pt x="292" y="262"/>
                      <a:pt x="292" y="262"/>
                      <a:pt x="291" y="262"/>
                    </a:cubicBezTo>
                    <a:cubicBezTo>
                      <a:pt x="291" y="263"/>
                      <a:pt x="290" y="264"/>
                      <a:pt x="289" y="264"/>
                    </a:cubicBezTo>
                    <a:cubicBezTo>
                      <a:pt x="289" y="264"/>
                      <a:pt x="288" y="266"/>
                      <a:pt x="288" y="266"/>
                    </a:cubicBezTo>
                    <a:cubicBezTo>
                      <a:pt x="288" y="266"/>
                      <a:pt x="289" y="266"/>
                      <a:pt x="289" y="266"/>
                    </a:cubicBezTo>
                    <a:cubicBezTo>
                      <a:pt x="289" y="267"/>
                      <a:pt x="289" y="267"/>
                      <a:pt x="289" y="267"/>
                    </a:cubicBezTo>
                    <a:cubicBezTo>
                      <a:pt x="290" y="267"/>
                      <a:pt x="291" y="267"/>
                      <a:pt x="290" y="266"/>
                    </a:cubicBezTo>
                    <a:cubicBezTo>
                      <a:pt x="290" y="266"/>
                      <a:pt x="291" y="266"/>
                      <a:pt x="291" y="266"/>
                    </a:cubicBezTo>
                    <a:cubicBezTo>
                      <a:pt x="290" y="265"/>
                      <a:pt x="291" y="265"/>
                      <a:pt x="291" y="265"/>
                    </a:cubicBezTo>
                    <a:cubicBezTo>
                      <a:pt x="292" y="265"/>
                      <a:pt x="293" y="265"/>
                      <a:pt x="294" y="264"/>
                    </a:cubicBezTo>
                    <a:cubicBezTo>
                      <a:pt x="293" y="264"/>
                      <a:pt x="292" y="265"/>
                      <a:pt x="292" y="264"/>
                    </a:cubicBezTo>
                    <a:cubicBezTo>
                      <a:pt x="292" y="264"/>
                      <a:pt x="291" y="265"/>
                      <a:pt x="291" y="265"/>
                    </a:cubicBezTo>
                    <a:cubicBezTo>
                      <a:pt x="291" y="265"/>
                      <a:pt x="290" y="266"/>
                      <a:pt x="289" y="266"/>
                    </a:cubicBezTo>
                    <a:cubicBezTo>
                      <a:pt x="289" y="265"/>
                      <a:pt x="289" y="265"/>
                      <a:pt x="289" y="265"/>
                    </a:cubicBezTo>
                    <a:cubicBezTo>
                      <a:pt x="289" y="264"/>
                      <a:pt x="290" y="264"/>
                      <a:pt x="290" y="264"/>
                    </a:cubicBezTo>
                    <a:cubicBezTo>
                      <a:pt x="290" y="264"/>
                      <a:pt x="290" y="263"/>
                      <a:pt x="291" y="263"/>
                    </a:cubicBezTo>
                    <a:cubicBezTo>
                      <a:pt x="292" y="262"/>
                      <a:pt x="293" y="262"/>
                      <a:pt x="294" y="262"/>
                    </a:cubicBezTo>
                    <a:cubicBezTo>
                      <a:pt x="294" y="262"/>
                      <a:pt x="295" y="262"/>
                      <a:pt x="295" y="261"/>
                    </a:cubicBezTo>
                    <a:close/>
                    <a:moveTo>
                      <a:pt x="602" y="223"/>
                    </a:moveTo>
                    <a:cubicBezTo>
                      <a:pt x="602" y="223"/>
                      <a:pt x="602" y="223"/>
                      <a:pt x="602" y="223"/>
                    </a:cubicBezTo>
                    <a:close/>
                    <a:moveTo>
                      <a:pt x="293" y="120"/>
                    </a:moveTo>
                    <a:cubicBezTo>
                      <a:pt x="293" y="120"/>
                      <a:pt x="293" y="120"/>
                      <a:pt x="293" y="120"/>
                    </a:cubicBezTo>
                    <a:cubicBezTo>
                      <a:pt x="293" y="120"/>
                      <a:pt x="293" y="120"/>
                      <a:pt x="293" y="120"/>
                    </a:cubicBezTo>
                    <a:cubicBezTo>
                      <a:pt x="293" y="120"/>
                      <a:pt x="293" y="120"/>
                      <a:pt x="293" y="120"/>
                    </a:cubicBezTo>
                    <a:close/>
                    <a:moveTo>
                      <a:pt x="458" y="78"/>
                    </a:moveTo>
                    <a:cubicBezTo>
                      <a:pt x="457" y="78"/>
                      <a:pt x="453" y="79"/>
                      <a:pt x="454" y="80"/>
                    </a:cubicBezTo>
                    <a:cubicBezTo>
                      <a:pt x="454" y="81"/>
                      <a:pt x="458" y="80"/>
                      <a:pt x="458" y="78"/>
                    </a:cubicBezTo>
                    <a:cubicBezTo>
                      <a:pt x="458" y="79"/>
                      <a:pt x="458" y="79"/>
                      <a:pt x="457" y="79"/>
                    </a:cubicBezTo>
                    <a:cubicBezTo>
                      <a:pt x="457" y="79"/>
                      <a:pt x="458" y="78"/>
                      <a:pt x="458" y="78"/>
                    </a:cubicBezTo>
                    <a:close/>
                    <a:moveTo>
                      <a:pt x="435" y="73"/>
                    </a:moveTo>
                    <a:cubicBezTo>
                      <a:pt x="435" y="73"/>
                      <a:pt x="435" y="73"/>
                      <a:pt x="434" y="73"/>
                    </a:cubicBezTo>
                    <a:cubicBezTo>
                      <a:pt x="435" y="73"/>
                      <a:pt x="434" y="73"/>
                      <a:pt x="434" y="74"/>
                    </a:cubicBezTo>
                    <a:cubicBezTo>
                      <a:pt x="434" y="74"/>
                      <a:pt x="435" y="74"/>
                      <a:pt x="435" y="74"/>
                    </a:cubicBezTo>
                    <a:cubicBezTo>
                      <a:pt x="435" y="74"/>
                      <a:pt x="435" y="74"/>
                      <a:pt x="434" y="74"/>
                    </a:cubicBezTo>
                    <a:cubicBezTo>
                      <a:pt x="435" y="74"/>
                      <a:pt x="436" y="75"/>
                      <a:pt x="436" y="74"/>
                    </a:cubicBezTo>
                    <a:cubicBezTo>
                      <a:pt x="436" y="75"/>
                      <a:pt x="436" y="75"/>
                      <a:pt x="435" y="75"/>
                    </a:cubicBezTo>
                    <a:cubicBezTo>
                      <a:pt x="435" y="75"/>
                      <a:pt x="436" y="76"/>
                      <a:pt x="435" y="76"/>
                    </a:cubicBezTo>
                    <a:cubicBezTo>
                      <a:pt x="435" y="76"/>
                      <a:pt x="435" y="76"/>
                      <a:pt x="435" y="76"/>
                    </a:cubicBezTo>
                    <a:cubicBezTo>
                      <a:pt x="434" y="75"/>
                      <a:pt x="435" y="75"/>
                      <a:pt x="434" y="75"/>
                    </a:cubicBezTo>
                    <a:cubicBezTo>
                      <a:pt x="434" y="74"/>
                      <a:pt x="432" y="74"/>
                      <a:pt x="431" y="75"/>
                    </a:cubicBezTo>
                    <a:cubicBezTo>
                      <a:pt x="430" y="75"/>
                      <a:pt x="429" y="75"/>
                      <a:pt x="428" y="76"/>
                    </a:cubicBezTo>
                    <a:cubicBezTo>
                      <a:pt x="429" y="76"/>
                      <a:pt x="429" y="76"/>
                      <a:pt x="429" y="76"/>
                    </a:cubicBezTo>
                    <a:cubicBezTo>
                      <a:pt x="429" y="77"/>
                      <a:pt x="430" y="77"/>
                      <a:pt x="431" y="77"/>
                    </a:cubicBezTo>
                    <a:cubicBezTo>
                      <a:pt x="430" y="77"/>
                      <a:pt x="431" y="77"/>
                      <a:pt x="432" y="77"/>
                    </a:cubicBezTo>
                    <a:cubicBezTo>
                      <a:pt x="432" y="77"/>
                      <a:pt x="433" y="77"/>
                      <a:pt x="433" y="77"/>
                    </a:cubicBezTo>
                    <a:cubicBezTo>
                      <a:pt x="434" y="77"/>
                      <a:pt x="435" y="77"/>
                      <a:pt x="435" y="77"/>
                    </a:cubicBezTo>
                    <a:cubicBezTo>
                      <a:pt x="436" y="76"/>
                      <a:pt x="436" y="76"/>
                      <a:pt x="436" y="77"/>
                    </a:cubicBezTo>
                    <a:cubicBezTo>
                      <a:pt x="436" y="78"/>
                      <a:pt x="437" y="78"/>
                      <a:pt x="438" y="78"/>
                    </a:cubicBezTo>
                    <a:cubicBezTo>
                      <a:pt x="437" y="78"/>
                      <a:pt x="437" y="78"/>
                      <a:pt x="436" y="78"/>
                    </a:cubicBezTo>
                    <a:cubicBezTo>
                      <a:pt x="436" y="78"/>
                      <a:pt x="435" y="78"/>
                      <a:pt x="436" y="78"/>
                    </a:cubicBezTo>
                    <a:cubicBezTo>
                      <a:pt x="436" y="78"/>
                      <a:pt x="435" y="77"/>
                      <a:pt x="435" y="77"/>
                    </a:cubicBezTo>
                    <a:cubicBezTo>
                      <a:pt x="434" y="77"/>
                      <a:pt x="433" y="77"/>
                      <a:pt x="433" y="78"/>
                    </a:cubicBezTo>
                    <a:cubicBezTo>
                      <a:pt x="434" y="78"/>
                      <a:pt x="432" y="78"/>
                      <a:pt x="432" y="78"/>
                    </a:cubicBezTo>
                    <a:cubicBezTo>
                      <a:pt x="432" y="78"/>
                      <a:pt x="432" y="79"/>
                      <a:pt x="432" y="79"/>
                    </a:cubicBezTo>
                    <a:cubicBezTo>
                      <a:pt x="433" y="79"/>
                      <a:pt x="433" y="78"/>
                      <a:pt x="434" y="78"/>
                    </a:cubicBezTo>
                    <a:cubicBezTo>
                      <a:pt x="434" y="79"/>
                      <a:pt x="433" y="79"/>
                      <a:pt x="433" y="79"/>
                    </a:cubicBezTo>
                    <a:cubicBezTo>
                      <a:pt x="433" y="79"/>
                      <a:pt x="434" y="79"/>
                      <a:pt x="434" y="79"/>
                    </a:cubicBezTo>
                    <a:cubicBezTo>
                      <a:pt x="434" y="79"/>
                      <a:pt x="433" y="79"/>
                      <a:pt x="433" y="79"/>
                    </a:cubicBezTo>
                    <a:cubicBezTo>
                      <a:pt x="434" y="79"/>
                      <a:pt x="433" y="80"/>
                      <a:pt x="433" y="80"/>
                    </a:cubicBezTo>
                    <a:cubicBezTo>
                      <a:pt x="433" y="80"/>
                      <a:pt x="433" y="80"/>
                      <a:pt x="434" y="80"/>
                    </a:cubicBezTo>
                    <a:cubicBezTo>
                      <a:pt x="433" y="81"/>
                      <a:pt x="432" y="81"/>
                      <a:pt x="431" y="81"/>
                    </a:cubicBezTo>
                    <a:cubicBezTo>
                      <a:pt x="431" y="80"/>
                      <a:pt x="432" y="81"/>
                      <a:pt x="432" y="80"/>
                    </a:cubicBezTo>
                    <a:cubicBezTo>
                      <a:pt x="432" y="80"/>
                      <a:pt x="431" y="80"/>
                      <a:pt x="431" y="80"/>
                    </a:cubicBezTo>
                    <a:cubicBezTo>
                      <a:pt x="431" y="79"/>
                      <a:pt x="432" y="80"/>
                      <a:pt x="432" y="79"/>
                    </a:cubicBezTo>
                    <a:cubicBezTo>
                      <a:pt x="432" y="80"/>
                      <a:pt x="432" y="79"/>
                      <a:pt x="431" y="79"/>
                    </a:cubicBezTo>
                    <a:cubicBezTo>
                      <a:pt x="431" y="80"/>
                      <a:pt x="431" y="80"/>
                      <a:pt x="431" y="80"/>
                    </a:cubicBezTo>
                    <a:cubicBezTo>
                      <a:pt x="431" y="80"/>
                      <a:pt x="431" y="80"/>
                      <a:pt x="431" y="80"/>
                    </a:cubicBezTo>
                    <a:cubicBezTo>
                      <a:pt x="431" y="80"/>
                      <a:pt x="431" y="81"/>
                      <a:pt x="430" y="81"/>
                    </a:cubicBezTo>
                    <a:cubicBezTo>
                      <a:pt x="431" y="81"/>
                      <a:pt x="430" y="82"/>
                      <a:pt x="430" y="82"/>
                    </a:cubicBezTo>
                    <a:cubicBezTo>
                      <a:pt x="429" y="82"/>
                      <a:pt x="429" y="82"/>
                      <a:pt x="428" y="82"/>
                    </a:cubicBezTo>
                    <a:cubicBezTo>
                      <a:pt x="428" y="82"/>
                      <a:pt x="427" y="82"/>
                      <a:pt x="426" y="82"/>
                    </a:cubicBezTo>
                    <a:cubicBezTo>
                      <a:pt x="426" y="82"/>
                      <a:pt x="426" y="82"/>
                      <a:pt x="426" y="82"/>
                    </a:cubicBezTo>
                    <a:cubicBezTo>
                      <a:pt x="426" y="82"/>
                      <a:pt x="425" y="82"/>
                      <a:pt x="425" y="82"/>
                    </a:cubicBezTo>
                    <a:cubicBezTo>
                      <a:pt x="424" y="83"/>
                      <a:pt x="423" y="83"/>
                      <a:pt x="422" y="82"/>
                    </a:cubicBezTo>
                    <a:cubicBezTo>
                      <a:pt x="423" y="82"/>
                      <a:pt x="423" y="82"/>
                      <a:pt x="424" y="82"/>
                    </a:cubicBezTo>
                    <a:cubicBezTo>
                      <a:pt x="424" y="82"/>
                      <a:pt x="423" y="82"/>
                      <a:pt x="423" y="82"/>
                    </a:cubicBezTo>
                    <a:cubicBezTo>
                      <a:pt x="423" y="81"/>
                      <a:pt x="423" y="80"/>
                      <a:pt x="423" y="80"/>
                    </a:cubicBezTo>
                    <a:cubicBezTo>
                      <a:pt x="423" y="80"/>
                      <a:pt x="422" y="81"/>
                      <a:pt x="422" y="80"/>
                    </a:cubicBezTo>
                    <a:cubicBezTo>
                      <a:pt x="422" y="80"/>
                      <a:pt x="422" y="80"/>
                      <a:pt x="422" y="80"/>
                    </a:cubicBezTo>
                    <a:cubicBezTo>
                      <a:pt x="422" y="80"/>
                      <a:pt x="422" y="80"/>
                      <a:pt x="423" y="80"/>
                    </a:cubicBezTo>
                    <a:cubicBezTo>
                      <a:pt x="422" y="80"/>
                      <a:pt x="422" y="79"/>
                      <a:pt x="422" y="79"/>
                    </a:cubicBezTo>
                    <a:cubicBezTo>
                      <a:pt x="422" y="79"/>
                      <a:pt x="422" y="79"/>
                      <a:pt x="422" y="79"/>
                    </a:cubicBezTo>
                    <a:cubicBezTo>
                      <a:pt x="421" y="79"/>
                      <a:pt x="420" y="79"/>
                      <a:pt x="419" y="79"/>
                    </a:cubicBezTo>
                    <a:cubicBezTo>
                      <a:pt x="419" y="79"/>
                      <a:pt x="419" y="79"/>
                      <a:pt x="418" y="79"/>
                    </a:cubicBezTo>
                    <a:cubicBezTo>
                      <a:pt x="418" y="79"/>
                      <a:pt x="417" y="80"/>
                      <a:pt x="416" y="80"/>
                    </a:cubicBezTo>
                    <a:cubicBezTo>
                      <a:pt x="416" y="81"/>
                      <a:pt x="415" y="81"/>
                      <a:pt x="414" y="81"/>
                    </a:cubicBezTo>
                    <a:cubicBezTo>
                      <a:pt x="414" y="81"/>
                      <a:pt x="414" y="82"/>
                      <a:pt x="413" y="82"/>
                    </a:cubicBezTo>
                    <a:cubicBezTo>
                      <a:pt x="414" y="82"/>
                      <a:pt x="414" y="83"/>
                      <a:pt x="414" y="83"/>
                    </a:cubicBezTo>
                    <a:cubicBezTo>
                      <a:pt x="414" y="84"/>
                      <a:pt x="415" y="84"/>
                      <a:pt x="415" y="84"/>
                    </a:cubicBezTo>
                    <a:cubicBezTo>
                      <a:pt x="416" y="84"/>
                      <a:pt x="416" y="84"/>
                      <a:pt x="416" y="85"/>
                    </a:cubicBezTo>
                    <a:cubicBezTo>
                      <a:pt x="416" y="85"/>
                      <a:pt x="416" y="85"/>
                      <a:pt x="416" y="85"/>
                    </a:cubicBezTo>
                    <a:cubicBezTo>
                      <a:pt x="416" y="85"/>
                      <a:pt x="415" y="86"/>
                      <a:pt x="416" y="86"/>
                    </a:cubicBezTo>
                    <a:cubicBezTo>
                      <a:pt x="416" y="86"/>
                      <a:pt x="416" y="86"/>
                      <a:pt x="417" y="86"/>
                    </a:cubicBezTo>
                    <a:cubicBezTo>
                      <a:pt x="417" y="86"/>
                      <a:pt x="418" y="86"/>
                      <a:pt x="417" y="86"/>
                    </a:cubicBezTo>
                    <a:cubicBezTo>
                      <a:pt x="418" y="87"/>
                      <a:pt x="418" y="86"/>
                      <a:pt x="419" y="86"/>
                    </a:cubicBezTo>
                    <a:cubicBezTo>
                      <a:pt x="420" y="86"/>
                      <a:pt x="420" y="86"/>
                      <a:pt x="420" y="86"/>
                    </a:cubicBezTo>
                    <a:cubicBezTo>
                      <a:pt x="420" y="86"/>
                      <a:pt x="421" y="86"/>
                      <a:pt x="420" y="86"/>
                    </a:cubicBezTo>
                    <a:cubicBezTo>
                      <a:pt x="420" y="86"/>
                      <a:pt x="420" y="86"/>
                      <a:pt x="420" y="86"/>
                    </a:cubicBezTo>
                    <a:cubicBezTo>
                      <a:pt x="420" y="86"/>
                      <a:pt x="419" y="87"/>
                      <a:pt x="420" y="87"/>
                    </a:cubicBezTo>
                    <a:cubicBezTo>
                      <a:pt x="421" y="87"/>
                      <a:pt x="421" y="87"/>
                      <a:pt x="421" y="87"/>
                    </a:cubicBezTo>
                    <a:cubicBezTo>
                      <a:pt x="422" y="87"/>
                      <a:pt x="422" y="87"/>
                      <a:pt x="422" y="87"/>
                    </a:cubicBezTo>
                    <a:cubicBezTo>
                      <a:pt x="422" y="88"/>
                      <a:pt x="422" y="88"/>
                      <a:pt x="423" y="88"/>
                    </a:cubicBezTo>
                    <a:cubicBezTo>
                      <a:pt x="422" y="88"/>
                      <a:pt x="423" y="90"/>
                      <a:pt x="424" y="90"/>
                    </a:cubicBezTo>
                    <a:cubicBezTo>
                      <a:pt x="424" y="90"/>
                      <a:pt x="425" y="91"/>
                      <a:pt x="424" y="91"/>
                    </a:cubicBezTo>
                    <a:cubicBezTo>
                      <a:pt x="424" y="91"/>
                      <a:pt x="424" y="92"/>
                      <a:pt x="424" y="92"/>
                    </a:cubicBezTo>
                    <a:cubicBezTo>
                      <a:pt x="424" y="92"/>
                      <a:pt x="425" y="92"/>
                      <a:pt x="425" y="92"/>
                    </a:cubicBezTo>
                    <a:cubicBezTo>
                      <a:pt x="425" y="93"/>
                      <a:pt x="424" y="93"/>
                      <a:pt x="424" y="93"/>
                    </a:cubicBezTo>
                    <a:cubicBezTo>
                      <a:pt x="424" y="93"/>
                      <a:pt x="424" y="94"/>
                      <a:pt x="424" y="94"/>
                    </a:cubicBezTo>
                    <a:cubicBezTo>
                      <a:pt x="424" y="95"/>
                      <a:pt x="425" y="94"/>
                      <a:pt x="426" y="94"/>
                    </a:cubicBezTo>
                    <a:cubicBezTo>
                      <a:pt x="426" y="94"/>
                      <a:pt x="426" y="95"/>
                      <a:pt x="427" y="95"/>
                    </a:cubicBezTo>
                    <a:cubicBezTo>
                      <a:pt x="427" y="95"/>
                      <a:pt x="428" y="95"/>
                      <a:pt x="428" y="95"/>
                    </a:cubicBezTo>
                    <a:cubicBezTo>
                      <a:pt x="429" y="95"/>
                      <a:pt x="430" y="94"/>
                      <a:pt x="430" y="94"/>
                    </a:cubicBezTo>
                    <a:cubicBezTo>
                      <a:pt x="431" y="94"/>
                      <a:pt x="433" y="94"/>
                      <a:pt x="434" y="93"/>
                    </a:cubicBezTo>
                    <a:cubicBezTo>
                      <a:pt x="433" y="93"/>
                      <a:pt x="433" y="93"/>
                      <a:pt x="433" y="93"/>
                    </a:cubicBezTo>
                    <a:cubicBezTo>
                      <a:pt x="433" y="92"/>
                      <a:pt x="432" y="92"/>
                      <a:pt x="433" y="91"/>
                    </a:cubicBezTo>
                    <a:cubicBezTo>
                      <a:pt x="433" y="91"/>
                      <a:pt x="433" y="91"/>
                      <a:pt x="432" y="91"/>
                    </a:cubicBezTo>
                    <a:cubicBezTo>
                      <a:pt x="433" y="90"/>
                      <a:pt x="435" y="89"/>
                      <a:pt x="436" y="90"/>
                    </a:cubicBezTo>
                    <a:cubicBezTo>
                      <a:pt x="435" y="90"/>
                      <a:pt x="434" y="90"/>
                      <a:pt x="434" y="91"/>
                    </a:cubicBezTo>
                    <a:cubicBezTo>
                      <a:pt x="433" y="91"/>
                      <a:pt x="433" y="91"/>
                      <a:pt x="434" y="92"/>
                    </a:cubicBezTo>
                    <a:cubicBezTo>
                      <a:pt x="434" y="92"/>
                      <a:pt x="435" y="92"/>
                      <a:pt x="435" y="92"/>
                    </a:cubicBezTo>
                    <a:cubicBezTo>
                      <a:pt x="436" y="92"/>
                      <a:pt x="437" y="92"/>
                      <a:pt x="438" y="92"/>
                    </a:cubicBezTo>
                    <a:cubicBezTo>
                      <a:pt x="439" y="92"/>
                      <a:pt x="440" y="92"/>
                      <a:pt x="441" y="91"/>
                    </a:cubicBezTo>
                    <a:cubicBezTo>
                      <a:pt x="442" y="91"/>
                      <a:pt x="444" y="90"/>
                      <a:pt x="446" y="90"/>
                    </a:cubicBezTo>
                    <a:cubicBezTo>
                      <a:pt x="445" y="90"/>
                      <a:pt x="445" y="90"/>
                      <a:pt x="445" y="90"/>
                    </a:cubicBezTo>
                    <a:cubicBezTo>
                      <a:pt x="446" y="90"/>
                      <a:pt x="447" y="90"/>
                      <a:pt x="448" y="90"/>
                    </a:cubicBezTo>
                    <a:cubicBezTo>
                      <a:pt x="448" y="89"/>
                      <a:pt x="446" y="89"/>
                      <a:pt x="446" y="89"/>
                    </a:cubicBezTo>
                    <a:cubicBezTo>
                      <a:pt x="447" y="88"/>
                      <a:pt x="448" y="89"/>
                      <a:pt x="449" y="88"/>
                    </a:cubicBezTo>
                    <a:cubicBezTo>
                      <a:pt x="448" y="88"/>
                      <a:pt x="448" y="88"/>
                      <a:pt x="447" y="88"/>
                    </a:cubicBezTo>
                    <a:cubicBezTo>
                      <a:pt x="447" y="88"/>
                      <a:pt x="447" y="88"/>
                      <a:pt x="446" y="88"/>
                    </a:cubicBezTo>
                    <a:cubicBezTo>
                      <a:pt x="447" y="88"/>
                      <a:pt x="448" y="88"/>
                      <a:pt x="449" y="88"/>
                    </a:cubicBezTo>
                    <a:cubicBezTo>
                      <a:pt x="450" y="88"/>
                      <a:pt x="450" y="87"/>
                      <a:pt x="450" y="86"/>
                    </a:cubicBezTo>
                    <a:cubicBezTo>
                      <a:pt x="450" y="87"/>
                      <a:pt x="450" y="87"/>
                      <a:pt x="450" y="86"/>
                    </a:cubicBezTo>
                    <a:cubicBezTo>
                      <a:pt x="450" y="86"/>
                      <a:pt x="450" y="86"/>
                      <a:pt x="451" y="86"/>
                    </a:cubicBezTo>
                    <a:cubicBezTo>
                      <a:pt x="450" y="86"/>
                      <a:pt x="449" y="86"/>
                      <a:pt x="449" y="86"/>
                    </a:cubicBezTo>
                    <a:cubicBezTo>
                      <a:pt x="450" y="86"/>
                      <a:pt x="450" y="86"/>
                      <a:pt x="451" y="86"/>
                    </a:cubicBezTo>
                    <a:cubicBezTo>
                      <a:pt x="451" y="85"/>
                      <a:pt x="452" y="85"/>
                      <a:pt x="453" y="85"/>
                    </a:cubicBezTo>
                    <a:cubicBezTo>
                      <a:pt x="453" y="85"/>
                      <a:pt x="454" y="85"/>
                      <a:pt x="454" y="84"/>
                    </a:cubicBezTo>
                    <a:cubicBezTo>
                      <a:pt x="454" y="84"/>
                      <a:pt x="454" y="84"/>
                      <a:pt x="454" y="84"/>
                    </a:cubicBezTo>
                    <a:cubicBezTo>
                      <a:pt x="454" y="84"/>
                      <a:pt x="455" y="83"/>
                      <a:pt x="454" y="82"/>
                    </a:cubicBezTo>
                    <a:cubicBezTo>
                      <a:pt x="455" y="82"/>
                      <a:pt x="455" y="82"/>
                      <a:pt x="455" y="82"/>
                    </a:cubicBezTo>
                    <a:cubicBezTo>
                      <a:pt x="455" y="82"/>
                      <a:pt x="454" y="82"/>
                      <a:pt x="454" y="82"/>
                    </a:cubicBezTo>
                    <a:cubicBezTo>
                      <a:pt x="453" y="82"/>
                      <a:pt x="453" y="82"/>
                      <a:pt x="452" y="82"/>
                    </a:cubicBezTo>
                    <a:cubicBezTo>
                      <a:pt x="451" y="83"/>
                      <a:pt x="450" y="83"/>
                      <a:pt x="450" y="83"/>
                    </a:cubicBezTo>
                    <a:cubicBezTo>
                      <a:pt x="450" y="83"/>
                      <a:pt x="452" y="82"/>
                      <a:pt x="452" y="82"/>
                    </a:cubicBezTo>
                    <a:cubicBezTo>
                      <a:pt x="452" y="82"/>
                      <a:pt x="451" y="82"/>
                      <a:pt x="451" y="81"/>
                    </a:cubicBezTo>
                    <a:cubicBezTo>
                      <a:pt x="452" y="81"/>
                      <a:pt x="451" y="81"/>
                      <a:pt x="450" y="81"/>
                    </a:cubicBezTo>
                    <a:cubicBezTo>
                      <a:pt x="451" y="81"/>
                      <a:pt x="452" y="81"/>
                      <a:pt x="452" y="80"/>
                    </a:cubicBezTo>
                    <a:cubicBezTo>
                      <a:pt x="453" y="80"/>
                      <a:pt x="451" y="79"/>
                      <a:pt x="450" y="79"/>
                    </a:cubicBezTo>
                    <a:cubicBezTo>
                      <a:pt x="449" y="79"/>
                      <a:pt x="448" y="79"/>
                      <a:pt x="446" y="80"/>
                    </a:cubicBezTo>
                    <a:cubicBezTo>
                      <a:pt x="445" y="80"/>
                      <a:pt x="445" y="81"/>
                      <a:pt x="443" y="81"/>
                    </a:cubicBezTo>
                    <a:cubicBezTo>
                      <a:pt x="444" y="81"/>
                      <a:pt x="445" y="80"/>
                      <a:pt x="444" y="80"/>
                    </a:cubicBezTo>
                    <a:cubicBezTo>
                      <a:pt x="446" y="79"/>
                      <a:pt x="447" y="79"/>
                      <a:pt x="449" y="78"/>
                    </a:cubicBezTo>
                    <a:cubicBezTo>
                      <a:pt x="450" y="78"/>
                      <a:pt x="451" y="77"/>
                      <a:pt x="452" y="77"/>
                    </a:cubicBezTo>
                    <a:cubicBezTo>
                      <a:pt x="454" y="77"/>
                      <a:pt x="455" y="77"/>
                      <a:pt x="456" y="77"/>
                    </a:cubicBezTo>
                    <a:cubicBezTo>
                      <a:pt x="456" y="77"/>
                      <a:pt x="458" y="76"/>
                      <a:pt x="457" y="76"/>
                    </a:cubicBezTo>
                    <a:cubicBezTo>
                      <a:pt x="457" y="76"/>
                      <a:pt x="457" y="76"/>
                      <a:pt x="458" y="76"/>
                    </a:cubicBezTo>
                    <a:cubicBezTo>
                      <a:pt x="457" y="76"/>
                      <a:pt x="456" y="75"/>
                      <a:pt x="456" y="75"/>
                    </a:cubicBezTo>
                    <a:cubicBezTo>
                      <a:pt x="456" y="75"/>
                      <a:pt x="455" y="76"/>
                      <a:pt x="455" y="76"/>
                    </a:cubicBezTo>
                    <a:cubicBezTo>
                      <a:pt x="455" y="75"/>
                      <a:pt x="456" y="75"/>
                      <a:pt x="456" y="75"/>
                    </a:cubicBezTo>
                    <a:cubicBezTo>
                      <a:pt x="456" y="75"/>
                      <a:pt x="457" y="75"/>
                      <a:pt x="457" y="75"/>
                    </a:cubicBezTo>
                    <a:cubicBezTo>
                      <a:pt x="457" y="74"/>
                      <a:pt x="458" y="75"/>
                      <a:pt x="458" y="75"/>
                    </a:cubicBezTo>
                    <a:cubicBezTo>
                      <a:pt x="459" y="75"/>
                      <a:pt x="462" y="74"/>
                      <a:pt x="461" y="73"/>
                    </a:cubicBezTo>
                    <a:cubicBezTo>
                      <a:pt x="461" y="72"/>
                      <a:pt x="460" y="73"/>
                      <a:pt x="460" y="72"/>
                    </a:cubicBezTo>
                    <a:cubicBezTo>
                      <a:pt x="459" y="72"/>
                      <a:pt x="458" y="72"/>
                      <a:pt x="457" y="72"/>
                    </a:cubicBezTo>
                    <a:cubicBezTo>
                      <a:pt x="458" y="72"/>
                      <a:pt x="458" y="72"/>
                      <a:pt x="458" y="72"/>
                    </a:cubicBezTo>
                    <a:cubicBezTo>
                      <a:pt x="457" y="71"/>
                      <a:pt x="456" y="72"/>
                      <a:pt x="455" y="72"/>
                    </a:cubicBezTo>
                    <a:cubicBezTo>
                      <a:pt x="454" y="73"/>
                      <a:pt x="453" y="73"/>
                      <a:pt x="452" y="73"/>
                    </a:cubicBezTo>
                    <a:cubicBezTo>
                      <a:pt x="451" y="73"/>
                      <a:pt x="450" y="73"/>
                      <a:pt x="449" y="73"/>
                    </a:cubicBezTo>
                    <a:cubicBezTo>
                      <a:pt x="448" y="73"/>
                      <a:pt x="448" y="73"/>
                      <a:pt x="447" y="73"/>
                    </a:cubicBezTo>
                    <a:cubicBezTo>
                      <a:pt x="447" y="73"/>
                      <a:pt x="447" y="74"/>
                      <a:pt x="446" y="74"/>
                    </a:cubicBezTo>
                    <a:cubicBezTo>
                      <a:pt x="447" y="73"/>
                      <a:pt x="446" y="72"/>
                      <a:pt x="445" y="72"/>
                    </a:cubicBezTo>
                    <a:cubicBezTo>
                      <a:pt x="445" y="72"/>
                      <a:pt x="444" y="72"/>
                      <a:pt x="445" y="72"/>
                    </a:cubicBezTo>
                    <a:cubicBezTo>
                      <a:pt x="444" y="71"/>
                      <a:pt x="443" y="71"/>
                      <a:pt x="442" y="72"/>
                    </a:cubicBezTo>
                    <a:cubicBezTo>
                      <a:pt x="442" y="72"/>
                      <a:pt x="441" y="72"/>
                      <a:pt x="441" y="72"/>
                    </a:cubicBezTo>
                    <a:cubicBezTo>
                      <a:pt x="442" y="73"/>
                      <a:pt x="444" y="71"/>
                      <a:pt x="444" y="72"/>
                    </a:cubicBezTo>
                    <a:cubicBezTo>
                      <a:pt x="444" y="72"/>
                      <a:pt x="442" y="73"/>
                      <a:pt x="441" y="73"/>
                    </a:cubicBezTo>
                    <a:cubicBezTo>
                      <a:pt x="442" y="72"/>
                      <a:pt x="439" y="72"/>
                      <a:pt x="438" y="72"/>
                    </a:cubicBezTo>
                    <a:cubicBezTo>
                      <a:pt x="437" y="73"/>
                      <a:pt x="437" y="72"/>
                      <a:pt x="436" y="73"/>
                    </a:cubicBezTo>
                    <a:cubicBezTo>
                      <a:pt x="436" y="73"/>
                      <a:pt x="435" y="73"/>
                      <a:pt x="435" y="73"/>
                    </a:cubicBezTo>
                    <a:close/>
                    <a:moveTo>
                      <a:pt x="600" y="54"/>
                    </a:moveTo>
                    <a:cubicBezTo>
                      <a:pt x="600" y="54"/>
                      <a:pt x="601" y="54"/>
                      <a:pt x="601" y="54"/>
                    </a:cubicBezTo>
                    <a:cubicBezTo>
                      <a:pt x="601" y="53"/>
                      <a:pt x="603" y="53"/>
                      <a:pt x="602" y="53"/>
                    </a:cubicBezTo>
                    <a:cubicBezTo>
                      <a:pt x="601" y="53"/>
                      <a:pt x="601" y="53"/>
                      <a:pt x="600" y="53"/>
                    </a:cubicBezTo>
                    <a:cubicBezTo>
                      <a:pt x="599" y="53"/>
                      <a:pt x="598" y="54"/>
                      <a:pt x="598" y="54"/>
                    </a:cubicBezTo>
                    <a:cubicBezTo>
                      <a:pt x="597" y="54"/>
                      <a:pt x="596" y="55"/>
                      <a:pt x="595" y="55"/>
                    </a:cubicBezTo>
                    <a:cubicBezTo>
                      <a:pt x="595" y="55"/>
                      <a:pt x="594" y="55"/>
                      <a:pt x="595" y="55"/>
                    </a:cubicBezTo>
                    <a:cubicBezTo>
                      <a:pt x="595" y="55"/>
                      <a:pt x="596" y="55"/>
                      <a:pt x="595" y="55"/>
                    </a:cubicBezTo>
                    <a:cubicBezTo>
                      <a:pt x="596" y="55"/>
                      <a:pt x="596" y="55"/>
                      <a:pt x="597" y="55"/>
                    </a:cubicBezTo>
                    <a:cubicBezTo>
                      <a:pt x="597" y="55"/>
                      <a:pt x="596" y="55"/>
                      <a:pt x="596" y="55"/>
                    </a:cubicBezTo>
                    <a:cubicBezTo>
                      <a:pt x="597" y="55"/>
                      <a:pt x="598" y="55"/>
                      <a:pt x="599" y="55"/>
                    </a:cubicBezTo>
                    <a:cubicBezTo>
                      <a:pt x="599" y="55"/>
                      <a:pt x="599" y="55"/>
                      <a:pt x="599" y="55"/>
                    </a:cubicBezTo>
                    <a:cubicBezTo>
                      <a:pt x="599" y="55"/>
                      <a:pt x="600" y="55"/>
                      <a:pt x="600" y="55"/>
                    </a:cubicBezTo>
                    <a:cubicBezTo>
                      <a:pt x="599" y="55"/>
                      <a:pt x="598" y="54"/>
                      <a:pt x="600" y="54"/>
                    </a:cubicBezTo>
                    <a:close/>
                    <a:moveTo>
                      <a:pt x="389" y="74"/>
                    </a:moveTo>
                    <a:cubicBezTo>
                      <a:pt x="389" y="74"/>
                      <a:pt x="388" y="74"/>
                      <a:pt x="387" y="74"/>
                    </a:cubicBezTo>
                    <a:cubicBezTo>
                      <a:pt x="387" y="74"/>
                      <a:pt x="386" y="74"/>
                      <a:pt x="386" y="75"/>
                    </a:cubicBezTo>
                    <a:cubicBezTo>
                      <a:pt x="386" y="75"/>
                      <a:pt x="389" y="75"/>
                      <a:pt x="389" y="75"/>
                    </a:cubicBezTo>
                    <a:cubicBezTo>
                      <a:pt x="390" y="75"/>
                      <a:pt x="390" y="74"/>
                      <a:pt x="389" y="74"/>
                    </a:cubicBezTo>
                    <a:close/>
                    <a:moveTo>
                      <a:pt x="409" y="74"/>
                    </a:moveTo>
                    <a:cubicBezTo>
                      <a:pt x="409" y="74"/>
                      <a:pt x="408" y="74"/>
                      <a:pt x="408" y="73"/>
                    </a:cubicBezTo>
                    <a:cubicBezTo>
                      <a:pt x="407" y="73"/>
                      <a:pt x="407" y="73"/>
                      <a:pt x="406" y="73"/>
                    </a:cubicBezTo>
                    <a:cubicBezTo>
                      <a:pt x="404" y="73"/>
                      <a:pt x="403" y="73"/>
                      <a:pt x="401" y="73"/>
                    </a:cubicBezTo>
                    <a:cubicBezTo>
                      <a:pt x="399" y="73"/>
                      <a:pt x="397" y="73"/>
                      <a:pt x="396" y="74"/>
                    </a:cubicBezTo>
                    <a:cubicBezTo>
                      <a:pt x="395" y="74"/>
                      <a:pt x="394" y="75"/>
                      <a:pt x="393" y="75"/>
                    </a:cubicBezTo>
                    <a:cubicBezTo>
                      <a:pt x="393" y="75"/>
                      <a:pt x="392" y="76"/>
                      <a:pt x="393" y="76"/>
                    </a:cubicBezTo>
                    <a:cubicBezTo>
                      <a:pt x="394" y="76"/>
                      <a:pt x="395" y="76"/>
                      <a:pt x="396" y="77"/>
                    </a:cubicBezTo>
                    <a:cubicBezTo>
                      <a:pt x="396" y="77"/>
                      <a:pt x="396" y="77"/>
                      <a:pt x="396" y="77"/>
                    </a:cubicBezTo>
                    <a:cubicBezTo>
                      <a:pt x="396" y="78"/>
                      <a:pt x="396" y="78"/>
                      <a:pt x="395" y="78"/>
                    </a:cubicBezTo>
                    <a:cubicBezTo>
                      <a:pt x="396" y="78"/>
                      <a:pt x="396" y="78"/>
                      <a:pt x="396" y="78"/>
                    </a:cubicBezTo>
                    <a:cubicBezTo>
                      <a:pt x="396" y="78"/>
                      <a:pt x="396" y="79"/>
                      <a:pt x="396" y="80"/>
                    </a:cubicBezTo>
                    <a:cubicBezTo>
                      <a:pt x="396" y="80"/>
                      <a:pt x="397" y="80"/>
                      <a:pt x="397" y="80"/>
                    </a:cubicBezTo>
                    <a:cubicBezTo>
                      <a:pt x="397" y="80"/>
                      <a:pt x="397" y="80"/>
                      <a:pt x="397" y="81"/>
                    </a:cubicBezTo>
                    <a:cubicBezTo>
                      <a:pt x="397" y="81"/>
                      <a:pt x="398" y="81"/>
                      <a:pt x="398" y="81"/>
                    </a:cubicBezTo>
                    <a:cubicBezTo>
                      <a:pt x="397" y="81"/>
                      <a:pt x="398" y="80"/>
                      <a:pt x="398" y="80"/>
                    </a:cubicBezTo>
                    <a:cubicBezTo>
                      <a:pt x="398" y="80"/>
                      <a:pt x="398" y="80"/>
                      <a:pt x="399" y="80"/>
                    </a:cubicBezTo>
                    <a:cubicBezTo>
                      <a:pt x="399" y="80"/>
                      <a:pt x="399" y="80"/>
                      <a:pt x="400" y="80"/>
                    </a:cubicBezTo>
                    <a:cubicBezTo>
                      <a:pt x="401" y="80"/>
                      <a:pt x="401" y="79"/>
                      <a:pt x="402" y="79"/>
                    </a:cubicBezTo>
                    <a:cubicBezTo>
                      <a:pt x="404" y="78"/>
                      <a:pt x="405" y="78"/>
                      <a:pt x="407" y="77"/>
                    </a:cubicBezTo>
                    <a:cubicBezTo>
                      <a:pt x="408" y="76"/>
                      <a:pt x="408" y="76"/>
                      <a:pt x="409" y="75"/>
                    </a:cubicBezTo>
                    <a:cubicBezTo>
                      <a:pt x="410" y="75"/>
                      <a:pt x="410" y="74"/>
                      <a:pt x="409" y="74"/>
                    </a:cubicBezTo>
                    <a:close/>
                    <a:moveTo>
                      <a:pt x="592" y="77"/>
                    </a:moveTo>
                    <a:cubicBezTo>
                      <a:pt x="591" y="77"/>
                      <a:pt x="592" y="76"/>
                      <a:pt x="592" y="76"/>
                    </a:cubicBezTo>
                    <a:cubicBezTo>
                      <a:pt x="592" y="75"/>
                      <a:pt x="591" y="75"/>
                      <a:pt x="590" y="75"/>
                    </a:cubicBezTo>
                    <a:cubicBezTo>
                      <a:pt x="589" y="74"/>
                      <a:pt x="588" y="74"/>
                      <a:pt x="587" y="74"/>
                    </a:cubicBezTo>
                    <a:cubicBezTo>
                      <a:pt x="586" y="74"/>
                      <a:pt x="584" y="74"/>
                      <a:pt x="583" y="74"/>
                    </a:cubicBezTo>
                    <a:cubicBezTo>
                      <a:pt x="582" y="74"/>
                      <a:pt x="580" y="74"/>
                      <a:pt x="579" y="74"/>
                    </a:cubicBezTo>
                    <a:cubicBezTo>
                      <a:pt x="577" y="74"/>
                      <a:pt x="576" y="74"/>
                      <a:pt x="575" y="73"/>
                    </a:cubicBezTo>
                    <a:cubicBezTo>
                      <a:pt x="574" y="73"/>
                      <a:pt x="574" y="74"/>
                      <a:pt x="573" y="74"/>
                    </a:cubicBezTo>
                    <a:cubicBezTo>
                      <a:pt x="573" y="73"/>
                      <a:pt x="573" y="73"/>
                      <a:pt x="572" y="73"/>
                    </a:cubicBezTo>
                    <a:cubicBezTo>
                      <a:pt x="571" y="73"/>
                      <a:pt x="570" y="73"/>
                      <a:pt x="569" y="73"/>
                    </a:cubicBezTo>
                    <a:cubicBezTo>
                      <a:pt x="570" y="74"/>
                      <a:pt x="566" y="74"/>
                      <a:pt x="568" y="75"/>
                    </a:cubicBezTo>
                    <a:cubicBezTo>
                      <a:pt x="567" y="75"/>
                      <a:pt x="567" y="76"/>
                      <a:pt x="566" y="76"/>
                    </a:cubicBezTo>
                    <a:cubicBezTo>
                      <a:pt x="566" y="77"/>
                      <a:pt x="565" y="77"/>
                      <a:pt x="566" y="77"/>
                    </a:cubicBezTo>
                    <a:cubicBezTo>
                      <a:pt x="567" y="78"/>
                      <a:pt x="568" y="78"/>
                      <a:pt x="568" y="78"/>
                    </a:cubicBezTo>
                    <a:cubicBezTo>
                      <a:pt x="569" y="78"/>
                      <a:pt x="569" y="77"/>
                      <a:pt x="569" y="78"/>
                    </a:cubicBezTo>
                    <a:cubicBezTo>
                      <a:pt x="570" y="78"/>
                      <a:pt x="570" y="78"/>
                      <a:pt x="569" y="78"/>
                    </a:cubicBezTo>
                    <a:cubicBezTo>
                      <a:pt x="569" y="78"/>
                      <a:pt x="569" y="78"/>
                      <a:pt x="569" y="78"/>
                    </a:cubicBezTo>
                    <a:cubicBezTo>
                      <a:pt x="569" y="79"/>
                      <a:pt x="569" y="79"/>
                      <a:pt x="569" y="79"/>
                    </a:cubicBezTo>
                    <a:cubicBezTo>
                      <a:pt x="568" y="79"/>
                      <a:pt x="568" y="80"/>
                      <a:pt x="568" y="80"/>
                    </a:cubicBezTo>
                    <a:cubicBezTo>
                      <a:pt x="568" y="81"/>
                      <a:pt x="568" y="81"/>
                      <a:pt x="569" y="81"/>
                    </a:cubicBezTo>
                    <a:cubicBezTo>
                      <a:pt x="569" y="82"/>
                      <a:pt x="570" y="82"/>
                      <a:pt x="571" y="82"/>
                    </a:cubicBezTo>
                    <a:cubicBezTo>
                      <a:pt x="572" y="82"/>
                      <a:pt x="574" y="82"/>
                      <a:pt x="576" y="81"/>
                    </a:cubicBezTo>
                    <a:cubicBezTo>
                      <a:pt x="577" y="81"/>
                      <a:pt x="577" y="81"/>
                      <a:pt x="578" y="81"/>
                    </a:cubicBezTo>
                    <a:cubicBezTo>
                      <a:pt x="581" y="80"/>
                      <a:pt x="583" y="81"/>
                      <a:pt x="585" y="81"/>
                    </a:cubicBezTo>
                    <a:cubicBezTo>
                      <a:pt x="587" y="81"/>
                      <a:pt x="588" y="81"/>
                      <a:pt x="589" y="81"/>
                    </a:cubicBezTo>
                    <a:cubicBezTo>
                      <a:pt x="590" y="81"/>
                      <a:pt x="591" y="81"/>
                      <a:pt x="593" y="81"/>
                    </a:cubicBezTo>
                    <a:cubicBezTo>
                      <a:pt x="593" y="81"/>
                      <a:pt x="594" y="81"/>
                      <a:pt x="594" y="80"/>
                    </a:cubicBezTo>
                    <a:cubicBezTo>
                      <a:pt x="595" y="80"/>
                      <a:pt x="593" y="80"/>
                      <a:pt x="593" y="80"/>
                    </a:cubicBezTo>
                    <a:cubicBezTo>
                      <a:pt x="593" y="80"/>
                      <a:pt x="594" y="80"/>
                      <a:pt x="594" y="79"/>
                    </a:cubicBezTo>
                    <a:cubicBezTo>
                      <a:pt x="594" y="79"/>
                      <a:pt x="594" y="79"/>
                      <a:pt x="594" y="79"/>
                    </a:cubicBezTo>
                    <a:cubicBezTo>
                      <a:pt x="594" y="79"/>
                      <a:pt x="594" y="79"/>
                      <a:pt x="595" y="79"/>
                    </a:cubicBezTo>
                    <a:cubicBezTo>
                      <a:pt x="594" y="79"/>
                      <a:pt x="593" y="79"/>
                      <a:pt x="593" y="78"/>
                    </a:cubicBezTo>
                    <a:cubicBezTo>
                      <a:pt x="593" y="78"/>
                      <a:pt x="594" y="78"/>
                      <a:pt x="593" y="77"/>
                    </a:cubicBezTo>
                    <a:cubicBezTo>
                      <a:pt x="593" y="77"/>
                      <a:pt x="593" y="77"/>
                      <a:pt x="593" y="77"/>
                    </a:cubicBezTo>
                    <a:cubicBezTo>
                      <a:pt x="593" y="77"/>
                      <a:pt x="592" y="77"/>
                      <a:pt x="592" y="77"/>
                    </a:cubicBezTo>
                    <a:close/>
                    <a:moveTo>
                      <a:pt x="564" y="113"/>
                    </a:moveTo>
                    <a:cubicBezTo>
                      <a:pt x="564" y="113"/>
                      <a:pt x="565" y="112"/>
                      <a:pt x="564" y="112"/>
                    </a:cubicBezTo>
                    <a:cubicBezTo>
                      <a:pt x="563" y="112"/>
                      <a:pt x="562" y="112"/>
                      <a:pt x="562" y="112"/>
                    </a:cubicBezTo>
                    <a:cubicBezTo>
                      <a:pt x="561" y="112"/>
                      <a:pt x="560" y="112"/>
                      <a:pt x="560" y="112"/>
                    </a:cubicBezTo>
                    <a:cubicBezTo>
                      <a:pt x="559" y="113"/>
                      <a:pt x="559" y="113"/>
                      <a:pt x="559" y="113"/>
                    </a:cubicBezTo>
                    <a:cubicBezTo>
                      <a:pt x="558" y="114"/>
                      <a:pt x="558" y="115"/>
                      <a:pt x="559" y="115"/>
                    </a:cubicBezTo>
                    <a:cubicBezTo>
                      <a:pt x="560" y="115"/>
                      <a:pt x="560" y="115"/>
                      <a:pt x="561" y="115"/>
                    </a:cubicBezTo>
                    <a:cubicBezTo>
                      <a:pt x="560" y="115"/>
                      <a:pt x="561" y="115"/>
                      <a:pt x="561" y="115"/>
                    </a:cubicBezTo>
                    <a:cubicBezTo>
                      <a:pt x="560" y="114"/>
                      <a:pt x="564" y="113"/>
                      <a:pt x="564" y="113"/>
                    </a:cubicBezTo>
                    <a:close/>
                    <a:moveTo>
                      <a:pt x="340" y="58"/>
                    </a:moveTo>
                    <a:cubicBezTo>
                      <a:pt x="341" y="58"/>
                      <a:pt x="342" y="57"/>
                      <a:pt x="343" y="57"/>
                    </a:cubicBezTo>
                    <a:cubicBezTo>
                      <a:pt x="343" y="57"/>
                      <a:pt x="344" y="57"/>
                      <a:pt x="344" y="57"/>
                    </a:cubicBezTo>
                    <a:cubicBezTo>
                      <a:pt x="345" y="56"/>
                      <a:pt x="345" y="56"/>
                      <a:pt x="346" y="56"/>
                    </a:cubicBezTo>
                    <a:cubicBezTo>
                      <a:pt x="347" y="56"/>
                      <a:pt x="348" y="55"/>
                      <a:pt x="349" y="55"/>
                    </a:cubicBezTo>
                    <a:cubicBezTo>
                      <a:pt x="350" y="54"/>
                      <a:pt x="353" y="54"/>
                      <a:pt x="354" y="53"/>
                    </a:cubicBezTo>
                    <a:cubicBezTo>
                      <a:pt x="354" y="53"/>
                      <a:pt x="353" y="53"/>
                      <a:pt x="353" y="53"/>
                    </a:cubicBezTo>
                    <a:cubicBezTo>
                      <a:pt x="351" y="53"/>
                      <a:pt x="350" y="54"/>
                      <a:pt x="348" y="54"/>
                    </a:cubicBezTo>
                    <a:cubicBezTo>
                      <a:pt x="347" y="54"/>
                      <a:pt x="346" y="54"/>
                      <a:pt x="345" y="54"/>
                    </a:cubicBezTo>
                    <a:cubicBezTo>
                      <a:pt x="344" y="54"/>
                      <a:pt x="343" y="55"/>
                      <a:pt x="342" y="55"/>
                    </a:cubicBezTo>
                    <a:cubicBezTo>
                      <a:pt x="340" y="56"/>
                      <a:pt x="338" y="56"/>
                      <a:pt x="336" y="57"/>
                    </a:cubicBezTo>
                    <a:cubicBezTo>
                      <a:pt x="334" y="57"/>
                      <a:pt x="338" y="57"/>
                      <a:pt x="338" y="58"/>
                    </a:cubicBezTo>
                    <a:cubicBezTo>
                      <a:pt x="338" y="58"/>
                      <a:pt x="338" y="58"/>
                      <a:pt x="338" y="58"/>
                    </a:cubicBezTo>
                    <a:cubicBezTo>
                      <a:pt x="338" y="58"/>
                      <a:pt x="339" y="58"/>
                      <a:pt x="340" y="58"/>
                    </a:cubicBezTo>
                    <a:close/>
                    <a:moveTo>
                      <a:pt x="498" y="61"/>
                    </a:moveTo>
                    <a:cubicBezTo>
                      <a:pt x="498" y="62"/>
                      <a:pt x="497" y="62"/>
                      <a:pt x="497" y="62"/>
                    </a:cubicBezTo>
                    <a:cubicBezTo>
                      <a:pt x="497" y="62"/>
                      <a:pt x="497" y="62"/>
                      <a:pt x="497" y="62"/>
                    </a:cubicBezTo>
                    <a:cubicBezTo>
                      <a:pt x="497" y="63"/>
                      <a:pt x="495" y="64"/>
                      <a:pt x="494" y="64"/>
                    </a:cubicBezTo>
                    <a:cubicBezTo>
                      <a:pt x="494" y="65"/>
                      <a:pt x="494" y="65"/>
                      <a:pt x="495" y="65"/>
                    </a:cubicBezTo>
                    <a:cubicBezTo>
                      <a:pt x="493" y="66"/>
                      <a:pt x="491" y="65"/>
                      <a:pt x="489" y="65"/>
                    </a:cubicBezTo>
                    <a:cubicBezTo>
                      <a:pt x="488" y="65"/>
                      <a:pt x="488" y="66"/>
                      <a:pt x="487" y="66"/>
                    </a:cubicBezTo>
                    <a:cubicBezTo>
                      <a:pt x="486" y="66"/>
                      <a:pt x="486" y="65"/>
                      <a:pt x="485" y="65"/>
                    </a:cubicBezTo>
                    <a:cubicBezTo>
                      <a:pt x="485" y="65"/>
                      <a:pt x="484" y="65"/>
                      <a:pt x="484" y="65"/>
                    </a:cubicBezTo>
                    <a:cubicBezTo>
                      <a:pt x="484" y="65"/>
                      <a:pt x="484" y="65"/>
                      <a:pt x="484" y="64"/>
                    </a:cubicBezTo>
                    <a:cubicBezTo>
                      <a:pt x="484" y="65"/>
                      <a:pt x="484" y="64"/>
                      <a:pt x="484" y="64"/>
                    </a:cubicBezTo>
                    <a:cubicBezTo>
                      <a:pt x="483" y="64"/>
                      <a:pt x="483" y="64"/>
                      <a:pt x="482" y="64"/>
                    </a:cubicBezTo>
                    <a:cubicBezTo>
                      <a:pt x="482" y="64"/>
                      <a:pt x="482" y="65"/>
                      <a:pt x="481" y="64"/>
                    </a:cubicBezTo>
                    <a:cubicBezTo>
                      <a:pt x="481" y="64"/>
                      <a:pt x="482" y="64"/>
                      <a:pt x="482" y="64"/>
                    </a:cubicBezTo>
                    <a:cubicBezTo>
                      <a:pt x="482" y="64"/>
                      <a:pt x="481" y="64"/>
                      <a:pt x="481" y="64"/>
                    </a:cubicBezTo>
                    <a:cubicBezTo>
                      <a:pt x="480" y="64"/>
                      <a:pt x="480" y="64"/>
                      <a:pt x="480" y="64"/>
                    </a:cubicBezTo>
                    <a:cubicBezTo>
                      <a:pt x="480" y="64"/>
                      <a:pt x="480" y="64"/>
                      <a:pt x="480" y="64"/>
                    </a:cubicBezTo>
                    <a:cubicBezTo>
                      <a:pt x="480" y="64"/>
                      <a:pt x="479" y="63"/>
                      <a:pt x="479" y="63"/>
                    </a:cubicBezTo>
                    <a:cubicBezTo>
                      <a:pt x="479" y="63"/>
                      <a:pt x="480" y="63"/>
                      <a:pt x="480" y="63"/>
                    </a:cubicBezTo>
                    <a:cubicBezTo>
                      <a:pt x="480" y="63"/>
                      <a:pt x="480" y="63"/>
                      <a:pt x="479" y="63"/>
                    </a:cubicBezTo>
                    <a:cubicBezTo>
                      <a:pt x="480" y="62"/>
                      <a:pt x="480" y="62"/>
                      <a:pt x="480" y="62"/>
                    </a:cubicBezTo>
                    <a:cubicBezTo>
                      <a:pt x="480" y="62"/>
                      <a:pt x="479" y="63"/>
                      <a:pt x="478" y="63"/>
                    </a:cubicBezTo>
                    <a:cubicBezTo>
                      <a:pt x="478" y="63"/>
                      <a:pt x="477" y="63"/>
                      <a:pt x="477" y="63"/>
                    </a:cubicBezTo>
                    <a:cubicBezTo>
                      <a:pt x="478" y="62"/>
                      <a:pt x="478" y="63"/>
                      <a:pt x="479" y="62"/>
                    </a:cubicBezTo>
                    <a:cubicBezTo>
                      <a:pt x="478" y="62"/>
                      <a:pt x="477" y="62"/>
                      <a:pt x="477" y="62"/>
                    </a:cubicBezTo>
                    <a:cubicBezTo>
                      <a:pt x="478" y="62"/>
                      <a:pt x="479" y="61"/>
                      <a:pt x="480" y="61"/>
                    </a:cubicBezTo>
                    <a:cubicBezTo>
                      <a:pt x="481" y="60"/>
                      <a:pt x="481" y="60"/>
                      <a:pt x="482" y="60"/>
                    </a:cubicBezTo>
                    <a:cubicBezTo>
                      <a:pt x="482" y="60"/>
                      <a:pt x="483" y="60"/>
                      <a:pt x="483" y="60"/>
                    </a:cubicBezTo>
                    <a:cubicBezTo>
                      <a:pt x="483" y="60"/>
                      <a:pt x="483" y="60"/>
                      <a:pt x="483" y="60"/>
                    </a:cubicBezTo>
                    <a:cubicBezTo>
                      <a:pt x="483" y="60"/>
                      <a:pt x="484" y="60"/>
                      <a:pt x="484" y="60"/>
                    </a:cubicBezTo>
                    <a:cubicBezTo>
                      <a:pt x="484" y="60"/>
                      <a:pt x="483" y="60"/>
                      <a:pt x="483" y="60"/>
                    </a:cubicBezTo>
                    <a:cubicBezTo>
                      <a:pt x="483" y="60"/>
                      <a:pt x="485" y="59"/>
                      <a:pt x="485" y="59"/>
                    </a:cubicBezTo>
                    <a:cubicBezTo>
                      <a:pt x="485" y="59"/>
                      <a:pt x="485" y="59"/>
                      <a:pt x="485" y="59"/>
                    </a:cubicBezTo>
                    <a:cubicBezTo>
                      <a:pt x="485" y="59"/>
                      <a:pt x="486" y="59"/>
                      <a:pt x="486" y="59"/>
                    </a:cubicBezTo>
                    <a:cubicBezTo>
                      <a:pt x="485" y="59"/>
                      <a:pt x="484" y="59"/>
                      <a:pt x="483" y="59"/>
                    </a:cubicBezTo>
                    <a:cubicBezTo>
                      <a:pt x="484" y="59"/>
                      <a:pt x="484" y="59"/>
                      <a:pt x="485" y="59"/>
                    </a:cubicBezTo>
                    <a:cubicBezTo>
                      <a:pt x="485" y="59"/>
                      <a:pt x="485" y="59"/>
                      <a:pt x="486" y="59"/>
                    </a:cubicBezTo>
                    <a:cubicBezTo>
                      <a:pt x="486" y="59"/>
                      <a:pt x="486" y="59"/>
                      <a:pt x="486" y="59"/>
                    </a:cubicBezTo>
                    <a:cubicBezTo>
                      <a:pt x="486" y="59"/>
                      <a:pt x="487" y="59"/>
                      <a:pt x="487" y="59"/>
                    </a:cubicBezTo>
                    <a:cubicBezTo>
                      <a:pt x="487" y="59"/>
                      <a:pt x="486" y="59"/>
                      <a:pt x="487" y="58"/>
                    </a:cubicBezTo>
                    <a:cubicBezTo>
                      <a:pt x="487" y="58"/>
                      <a:pt x="488" y="58"/>
                      <a:pt x="489" y="58"/>
                    </a:cubicBezTo>
                    <a:cubicBezTo>
                      <a:pt x="491" y="57"/>
                      <a:pt x="493" y="57"/>
                      <a:pt x="494" y="57"/>
                    </a:cubicBezTo>
                    <a:cubicBezTo>
                      <a:pt x="496" y="57"/>
                      <a:pt x="497" y="57"/>
                      <a:pt x="498" y="58"/>
                    </a:cubicBezTo>
                    <a:cubicBezTo>
                      <a:pt x="498" y="58"/>
                      <a:pt x="498" y="59"/>
                      <a:pt x="499" y="59"/>
                    </a:cubicBezTo>
                    <a:cubicBezTo>
                      <a:pt x="500" y="59"/>
                      <a:pt x="498" y="60"/>
                      <a:pt x="498" y="60"/>
                    </a:cubicBezTo>
                    <a:cubicBezTo>
                      <a:pt x="499" y="60"/>
                      <a:pt x="499" y="60"/>
                      <a:pt x="499" y="60"/>
                    </a:cubicBezTo>
                    <a:cubicBezTo>
                      <a:pt x="500" y="60"/>
                      <a:pt x="499" y="60"/>
                      <a:pt x="499" y="60"/>
                    </a:cubicBezTo>
                    <a:cubicBezTo>
                      <a:pt x="498" y="61"/>
                      <a:pt x="499" y="61"/>
                      <a:pt x="498" y="61"/>
                    </a:cubicBezTo>
                    <a:close/>
                    <a:moveTo>
                      <a:pt x="483" y="64"/>
                    </a:moveTo>
                    <a:cubicBezTo>
                      <a:pt x="482" y="64"/>
                      <a:pt x="482" y="64"/>
                      <a:pt x="482" y="64"/>
                    </a:cubicBezTo>
                    <a:cubicBezTo>
                      <a:pt x="482" y="64"/>
                      <a:pt x="482" y="64"/>
                      <a:pt x="483" y="64"/>
                    </a:cubicBezTo>
                    <a:close/>
                    <a:moveTo>
                      <a:pt x="547" y="115"/>
                    </a:moveTo>
                    <a:cubicBezTo>
                      <a:pt x="546" y="115"/>
                      <a:pt x="545" y="115"/>
                      <a:pt x="545" y="115"/>
                    </a:cubicBezTo>
                    <a:cubicBezTo>
                      <a:pt x="544" y="115"/>
                      <a:pt x="544" y="116"/>
                      <a:pt x="543" y="116"/>
                    </a:cubicBezTo>
                    <a:cubicBezTo>
                      <a:pt x="543" y="116"/>
                      <a:pt x="541" y="117"/>
                      <a:pt x="542" y="117"/>
                    </a:cubicBezTo>
                    <a:cubicBezTo>
                      <a:pt x="543" y="118"/>
                      <a:pt x="544" y="117"/>
                      <a:pt x="545" y="117"/>
                    </a:cubicBezTo>
                    <a:cubicBezTo>
                      <a:pt x="545" y="117"/>
                      <a:pt x="546" y="117"/>
                      <a:pt x="547" y="116"/>
                    </a:cubicBezTo>
                    <a:cubicBezTo>
                      <a:pt x="547" y="116"/>
                      <a:pt x="548" y="116"/>
                      <a:pt x="549" y="115"/>
                    </a:cubicBezTo>
                    <a:cubicBezTo>
                      <a:pt x="549" y="115"/>
                      <a:pt x="549" y="115"/>
                      <a:pt x="550" y="114"/>
                    </a:cubicBezTo>
                    <a:cubicBezTo>
                      <a:pt x="550" y="114"/>
                      <a:pt x="551" y="114"/>
                      <a:pt x="551" y="114"/>
                    </a:cubicBezTo>
                    <a:cubicBezTo>
                      <a:pt x="551" y="114"/>
                      <a:pt x="552" y="114"/>
                      <a:pt x="552" y="113"/>
                    </a:cubicBezTo>
                    <a:cubicBezTo>
                      <a:pt x="553" y="113"/>
                      <a:pt x="553" y="113"/>
                      <a:pt x="553" y="113"/>
                    </a:cubicBezTo>
                    <a:cubicBezTo>
                      <a:pt x="553" y="112"/>
                      <a:pt x="552" y="112"/>
                      <a:pt x="552" y="112"/>
                    </a:cubicBezTo>
                    <a:cubicBezTo>
                      <a:pt x="551" y="112"/>
                      <a:pt x="550" y="112"/>
                      <a:pt x="550" y="113"/>
                    </a:cubicBezTo>
                    <a:cubicBezTo>
                      <a:pt x="549" y="113"/>
                      <a:pt x="550" y="113"/>
                      <a:pt x="550" y="114"/>
                    </a:cubicBezTo>
                    <a:cubicBezTo>
                      <a:pt x="550" y="113"/>
                      <a:pt x="547" y="115"/>
                      <a:pt x="547" y="115"/>
                    </a:cubicBezTo>
                    <a:close/>
                    <a:moveTo>
                      <a:pt x="380" y="118"/>
                    </a:moveTo>
                    <a:cubicBezTo>
                      <a:pt x="380" y="118"/>
                      <a:pt x="379" y="119"/>
                      <a:pt x="378" y="119"/>
                    </a:cubicBezTo>
                    <a:cubicBezTo>
                      <a:pt x="378" y="119"/>
                      <a:pt x="378" y="119"/>
                      <a:pt x="379" y="119"/>
                    </a:cubicBezTo>
                    <a:cubicBezTo>
                      <a:pt x="379" y="119"/>
                      <a:pt x="379" y="119"/>
                      <a:pt x="379" y="119"/>
                    </a:cubicBezTo>
                    <a:cubicBezTo>
                      <a:pt x="380" y="120"/>
                      <a:pt x="380" y="120"/>
                      <a:pt x="380" y="120"/>
                    </a:cubicBezTo>
                    <a:cubicBezTo>
                      <a:pt x="380" y="120"/>
                      <a:pt x="381" y="119"/>
                      <a:pt x="381" y="119"/>
                    </a:cubicBezTo>
                    <a:cubicBezTo>
                      <a:pt x="381" y="119"/>
                      <a:pt x="381" y="119"/>
                      <a:pt x="382" y="119"/>
                    </a:cubicBezTo>
                    <a:cubicBezTo>
                      <a:pt x="382" y="119"/>
                      <a:pt x="383" y="118"/>
                      <a:pt x="383" y="118"/>
                    </a:cubicBezTo>
                    <a:cubicBezTo>
                      <a:pt x="383" y="118"/>
                      <a:pt x="383" y="118"/>
                      <a:pt x="383" y="118"/>
                    </a:cubicBezTo>
                    <a:cubicBezTo>
                      <a:pt x="383" y="118"/>
                      <a:pt x="382" y="118"/>
                      <a:pt x="382" y="118"/>
                    </a:cubicBezTo>
                    <a:cubicBezTo>
                      <a:pt x="381" y="117"/>
                      <a:pt x="381" y="118"/>
                      <a:pt x="380" y="118"/>
                    </a:cubicBezTo>
                    <a:close/>
                    <a:moveTo>
                      <a:pt x="399" y="107"/>
                    </a:moveTo>
                    <a:cubicBezTo>
                      <a:pt x="399" y="107"/>
                      <a:pt x="400" y="106"/>
                      <a:pt x="401" y="106"/>
                    </a:cubicBezTo>
                    <a:cubicBezTo>
                      <a:pt x="401" y="105"/>
                      <a:pt x="400" y="105"/>
                      <a:pt x="400" y="105"/>
                    </a:cubicBezTo>
                    <a:cubicBezTo>
                      <a:pt x="400" y="105"/>
                      <a:pt x="399" y="106"/>
                      <a:pt x="398" y="105"/>
                    </a:cubicBezTo>
                    <a:cubicBezTo>
                      <a:pt x="398" y="105"/>
                      <a:pt x="398" y="105"/>
                      <a:pt x="397" y="106"/>
                    </a:cubicBezTo>
                    <a:cubicBezTo>
                      <a:pt x="397" y="106"/>
                      <a:pt x="396" y="106"/>
                      <a:pt x="396" y="105"/>
                    </a:cubicBezTo>
                    <a:cubicBezTo>
                      <a:pt x="396" y="105"/>
                      <a:pt x="398" y="104"/>
                      <a:pt x="397" y="104"/>
                    </a:cubicBezTo>
                    <a:cubicBezTo>
                      <a:pt x="396" y="104"/>
                      <a:pt x="396" y="105"/>
                      <a:pt x="395" y="104"/>
                    </a:cubicBezTo>
                    <a:cubicBezTo>
                      <a:pt x="395" y="104"/>
                      <a:pt x="394" y="104"/>
                      <a:pt x="394" y="104"/>
                    </a:cubicBezTo>
                    <a:cubicBezTo>
                      <a:pt x="394" y="102"/>
                      <a:pt x="391" y="102"/>
                      <a:pt x="391" y="102"/>
                    </a:cubicBezTo>
                    <a:cubicBezTo>
                      <a:pt x="391" y="102"/>
                      <a:pt x="392" y="102"/>
                      <a:pt x="392" y="101"/>
                    </a:cubicBezTo>
                    <a:cubicBezTo>
                      <a:pt x="392" y="101"/>
                      <a:pt x="391" y="101"/>
                      <a:pt x="391" y="101"/>
                    </a:cubicBezTo>
                    <a:cubicBezTo>
                      <a:pt x="391" y="100"/>
                      <a:pt x="390" y="101"/>
                      <a:pt x="390" y="101"/>
                    </a:cubicBezTo>
                    <a:cubicBezTo>
                      <a:pt x="390" y="102"/>
                      <a:pt x="391" y="102"/>
                      <a:pt x="391" y="102"/>
                    </a:cubicBezTo>
                    <a:cubicBezTo>
                      <a:pt x="391" y="102"/>
                      <a:pt x="389" y="102"/>
                      <a:pt x="389" y="102"/>
                    </a:cubicBezTo>
                    <a:cubicBezTo>
                      <a:pt x="389" y="102"/>
                      <a:pt x="389" y="102"/>
                      <a:pt x="389" y="101"/>
                    </a:cubicBezTo>
                    <a:cubicBezTo>
                      <a:pt x="388" y="101"/>
                      <a:pt x="387" y="102"/>
                      <a:pt x="387" y="101"/>
                    </a:cubicBezTo>
                    <a:cubicBezTo>
                      <a:pt x="387" y="101"/>
                      <a:pt x="387" y="100"/>
                      <a:pt x="386" y="100"/>
                    </a:cubicBezTo>
                    <a:cubicBezTo>
                      <a:pt x="385" y="100"/>
                      <a:pt x="386" y="99"/>
                      <a:pt x="386" y="99"/>
                    </a:cubicBezTo>
                    <a:cubicBezTo>
                      <a:pt x="386" y="98"/>
                      <a:pt x="385" y="98"/>
                      <a:pt x="384" y="97"/>
                    </a:cubicBezTo>
                    <a:cubicBezTo>
                      <a:pt x="384" y="96"/>
                      <a:pt x="386" y="96"/>
                      <a:pt x="386" y="96"/>
                    </a:cubicBezTo>
                    <a:cubicBezTo>
                      <a:pt x="387" y="95"/>
                      <a:pt x="387" y="94"/>
                      <a:pt x="388" y="94"/>
                    </a:cubicBezTo>
                    <a:cubicBezTo>
                      <a:pt x="389" y="94"/>
                      <a:pt x="389" y="95"/>
                      <a:pt x="389" y="94"/>
                    </a:cubicBezTo>
                    <a:cubicBezTo>
                      <a:pt x="389" y="94"/>
                      <a:pt x="390" y="93"/>
                      <a:pt x="390" y="93"/>
                    </a:cubicBezTo>
                    <a:cubicBezTo>
                      <a:pt x="390" y="93"/>
                      <a:pt x="390" y="93"/>
                      <a:pt x="390" y="93"/>
                    </a:cubicBezTo>
                    <a:cubicBezTo>
                      <a:pt x="390" y="93"/>
                      <a:pt x="390" y="93"/>
                      <a:pt x="391" y="92"/>
                    </a:cubicBezTo>
                    <a:cubicBezTo>
                      <a:pt x="391" y="92"/>
                      <a:pt x="391" y="92"/>
                      <a:pt x="391" y="91"/>
                    </a:cubicBezTo>
                    <a:cubicBezTo>
                      <a:pt x="391" y="91"/>
                      <a:pt x="391" y="90"/>
                      <a:pt x="391" y="90"/>
                    </a:cubicBezTo>
                    <a:cubicBezTo>
                      <a:pt x="390" y="90"/>
                      <a:pt x="392" y="88"/>
                      <a:pt x="391" y="88"/>
                    </a:cubicBezTo>
                    <a:cubicBezTo>
                      <a:pt x="391" y="88"/>
                      <a:pt x="392" y="87"/>
                      <a:pt x="392" y="87"/>
                    </a:cubicBezTo>
                    <a:cubicBezTo>
                      <a:pt x="392" y="87"/>
                      <a:pt x="393" y="87"/>
                      <a:pt x="393" y="87"/>
                    </a:cubicBezTo>
                    <a:cubicBezTo>
                      <a:pt x="393" y="87"/>
                      <a:pt x="393" y="86"/>
                      <a:pt x="393" y="86"/>
                    </a:cubicBezTo>
                    <a:cubicBezTo>
                      <a:pt x="393" y="85"/>
                      <a:pt x="393" y="85"/>
                      <a:pt x="394" y="85"/>
                    </a:cubicBezTo>
                    <a:cubicBezTo>
                      <a:pt x="394" y="85"/>
                      <a:pt x="394" y="84"/>
                      <a:pt x="394" y="84"/>
                    </a:cubicBezTo>
                    <a:cubicBezTo>
                      <a:pt x="394" y="84"/>
                      <a:pt x="394" y="84"/>
                      <a:pt x="394" y="84"/>
                    </a:cubicBezTo>
                    <a:cubicBezTo>
                      <a:pt x="394" y="84"/>
                      <a:pt x="395" y="83"/>
                      <a:pt x="395" y="83"/>
                    </a:cubicBezTo>
                    <a:cubicBezTo>
                      <a:pt x="395" y="83"/>
                      <a:pt x="395" y="82"/>
                      <a:pt x="395" y="82"/>
                    </a:cubicBezTo>
                    <a:cubicBezTo>
                      <a:pt x="395" y="82"/>
                      <a:pt x="395" y="81"/>
                      <a:pt x="395" y="82"/>
                    </a:cubicBezTo>
                    <a:cubicBezTo>
                      <a:pt x="396" y="82"/>
                      <a:pt x="395" y="82"/>
                      <a:pt x="396" y="82"/>
                    </a:cubicBezTo>
                    <a:cubicBezTo>
                      <a:pt x="396" y="82"/>
                      <a:pt x="396" y="81"/>
                      <a:pt x="396" y="81"/>
                    </a:cubicBezTo>
                    <a:cubicBezTo>
                      <a:pt x="396" y="81"/>
                      <a:pt x="396" y="80"/>
                      <a:pt x="396" y="80"/>
                    </a:cubicBezTo>
                    <a:cubicBezTo>
                      <a:pt x="396" y="80"/>
                      <a:pt x="395" y="80"/>
                      <a:pt x="395" y="80"/>
                    </a:cubicBezTo>
                    <a:cubicBezTo>
                      <a:pt x="395" y="79"/>
                      <a:pt x="396" y="79"/>
                      <a:pt x="396" y="79"/>
                    </a:cubicBezTo>
                    <a:cubicBezTo>
                      <a:pt x="396" y="79"/>
                      <a:pt x="393" y="79"/>
                      <a:pt x="393" y="79"/>
                    </a:cubicBezTo>
                    <a:cubicBezTo>
                      <a:pt x="393" y="79"/>
                      <a:pt x="393" y="77"/>
                      <a:pt x="393" y="78"/>
                    </a:cubicBezTo>
                    <a:cubicBezTo>
                      <a:pt x="393" y="77"/>
                      <a:pt x="392" y="78"/>
                      <a:pt x="392" y="77"/>
                    </a:cubicBezTo>
                    <a:cubicBezTo>
                      <a:pt x="392" y="77"/>
                      <a:pt x="390" y="77"/>
                      <a:pt x="390" y="77"/>
                    </a:cubicBezTo>
                    <a:cubicBezTo>
                      <a:pt x="389" y="78"/>
                      <a:pt x="389" y="78"/>
                      <a:pt x="388" y="78"/>
                    </a:cubicBezTo>
                    <a:cubicBezTo>
                      <a:pt x="387" y="78"/>
                      <a:pt x="387" y="77"/>
                      <a:pt x="386" y="77"/>
                    </a:cubicBezTo>
                    <a:cubicBezTo>
                      <a:pt x="385" y="77"/>
                      <a:pt x="384" y="76"/>
                      <a:pt x="384" y="77"/>
                    </a:cubicBezTo>
                    <a:cubicBezTo>
                      <a:pt x="383" y="77"/>
                      <a:pt x="384" y="77"/>
                      <a:pt x="383" y="77"/>
                    </a:cubicBezTo>
                    <a:cubicBezTo>
                      <a:pt x="383" y="77"/>
                      <a:pt x="382" y="77"/>
                      <a:pt x="383" y="78"/>
                    </a:cubicBezTo>
                    <a:cubicBezTo>
                      <a:pt x="383" y="78"/>
                      <a:pt x="383" y="78"/>
                      <a:pt x="383" y="78"/>
                    </a:cubicBezTo>
                    <a:cubicBezTo>
                      <a:pt x="383" y="78"/>
                      <a:pt x="382" y="78"/>
                      <a:pt x="382" y="78"/>
                    </a:cubicBezTo>
                    <a:cubicBezTo>
                      <a:pt x="381" y="78"/>
                      <a:pt x="380" y="78"/>
                      <a:pt x="380" y="78"/>
                    </a:cubicBezTo>
                    <a:cubicBezTo>
                      <a:pt x="380" y="79"/>
                      <a:pt x="380" y="79"/>
                      <a:pt x="380" y="79"/>
                    </a:cubicBezTo>
                    <a:cubicBezTo>
                      <a:pt x="380" y="79"/>
                      <a:pt x="380" y="79"/>
                      <a:pt x="380" y="79"/>
                    </a:cubicBezTo>
                    <a:cubicBezTo>
                      <a:pt x="379" y="79"/>
                      <a:pt x="380" y="79"/>
                      <a:pt x="379" y="80"/>
                    </a:cubicBezTo>
                    <a:cubicBezTo>
                      <a:pt x="379" y="80"/>
                      <a:pt x="379" y="80"/>
                      <a:pt x="379" y="80"/>
                    </a:cubicBezTo>
                    <a:cubicBezTo>
                      <a:pt x="378" y="81"/>
                      <a:pt x="378" y="82"/>
                      <a:pt x="377" y="82"/>
                    </a:cubicBezTo>
                    <a:cubicBezTo>
                      <a:pt x="377" y="83"/>
                      <a:pt x="377" y="83"/>
                      <a:pt x="377" y="83"/>
                    </a:cubicBezTo>
                    <a:cubicBezTo>
                      <a:pt x="377" y="83"/>
                      <a:pt x="377" y="83"/>
                      <a:pt x="377" y="83"/>
                    </a:cubicBezTo>
                    <a:cubicBezTo>
                      <a:pt x="377" y="83"/>
                      <a:pt x="377" y="83"/>
                      <a:pt x="377" y="84"/>
                    </a:cubicBezTo>
                    <a:cubicBezTo>
                      <a:pt x="377" y="84"/>
                      <a:pt x="375" y="84"/>
                      <a:pt x="376" y="84"/>
                    </a:cubicBezTo>
                    <a:cubicBezTo>
                      <a:pt x="376" y="85"/>
                      <a:pt x="375" y="85"/>
                      <a:pt x="375" y="85"/>
                    </a:cubicBezTo>
                    <a:cubicBezTo>
                      <a:pt x="376" y="85"/>
                      <a:pt x="375" y="85"/>
                      <a:pt x="375" y="85"/>
                    </a:cubicBezTo>
                    <a:cubicBezTo>
                      <a:pt x="375" y="86"/>
                      <a:pt x="375" y="86"/>
                      <a:pt x="375" y="86"/>
                    </a:cubicBezTo>
                    <a:cubicBezTo>
                      <a:pt x="375" y="86"/>
                      <a:pt x="375" y="86"/>
                      <a:pt x="374" y="86"/>
                    </a:cubicBezTo>
                    <a:cubicBezTo>
                      <a:pt x="374" y="86"/>
                      <a:pt x="374" y="86"/>
                      <a:pt x="374" y="87"/>
                    </a:cubicBezTo>
                    <a:cubicBezTo>
                      <a:pt x="374" y="87"/>
                      <a:pt x="373" y="87"/>
                      <a:pt x="373" y="87"/>
                    </a:cubicBezTo>
                    <a:cubicBezTo>
                      <a:pt x="375" y="87"/>
                      <a:pt x="373" y="88"/>
                      <a:pt x="373" y="88"/>
                    </a:cubicBezTo>
                    <a:cubicBezTo>
                      <a:pt x="373" y="89"/>
                      <a:pt x="374" y="89"/>
                      <a:pt x="374" y="89"/>
                    </a:cubicBezTo>
                    <a:cubicBezTo>
                      <a:pt x="374" y="89"/>
                      <a:pt x="374" y="89"/>
                      <a:pt x="374" y="90"/>
                    </a:cubicBezTo>
                    <a:cubicBezTo>
                      <a:pt x="374" y="90"/>
                      <a:pt x="373" y="90"/>
                      <a:pt x="373" y="90"/>
                    </a:cubicBezTo>
                    <a:cubicBezTo>
                      <a:pt x="372" y="90"/>
                      <a:pt x="373" y="90"/>
                      <a:pt x="373" y="90"/>
                    </a:cubicBezTo>
                    <a:cubicBezTo>
                      <a:pt x="373" y="91"/>
                      <a:pt x="371" y="90"/>
                      <a:pt x="371" y="91"/>
                    </a:cubicBezTo>
                    <a:cubicBezTo>
                      <a:pt x="370" y="91"/>
                      <a:pt x="370" y="91"/>
                      <a:pt x="369" y="91"/>
                    </a:cubicBezTo>
                    <a:cubicBezTo>
                      <a:pt x="369" y="91"/>
                      <a:pt x="368" y="91"/>
                      <a:pt x="368" y="91"/>
                    </a:cubicBezTo>
                    <a:cubicBezTo>
                      <a:pt x="368" y="92"/>
                      <a:pt x="369" y="92"/>
                      <a:pt x="368" y="92"/>
                    </a:cubicBezTo>
                    <a:cubicBezTo>
                      <a:pt x="368" y="92"/>
                      <a:pt x="367" y="92"/>
                      <a:pt x="367" y="92"/>
                    </a:cubicBezTo>
                    <a:cubicBezTo>
                      <a:pt x="368" y="91"/>
                      <a:pt x="366" y="91"/>
                      <a:pt x="366" y="91"/>
                    </a:cubicBezTo>
                    <a:cubicBezTo>
                      <a:pt x="366" y="91"/>
                      <a:pt x="366" y="91"/>
                      <a:pt x="367" y="91"/>
                    </a:cubicBezTo>
                    <a:cubicBezTo>
                      <a:pt x="366" y="91"/>
                      <a:pt x="366" y="90"/>
                      <a:pt x="367" y="90"/>
                    </a:cubicBezTo>
                    <a:cubicBezTo>
                      <a:pt x="367" y="90"/>
                      <a:pt x="367" y="90"/>
                      <a:pt x="367" y="90"/>
                    </a:cubicBezTo>
                    <a:cubicBezTo>
                      <a:pt x="367" y="89"/>
                      <a:pt x="368" y="89"/>
                      <a:pt x="368" y="89"/>
                    </a:cubicBezTo>
                    <a:cubicBezTo>
                      <a:pt x="368" y="89"/>
                      <a:pt x="368" y="89"/>
                      <a:pt x="367" y="89"/>
                    </a:cubicBezTo>
                    <a:cubicBezTo>
                      <a:pt x="367" y="89"/>
                      <a:pt x="368" y="89"/>
                      <a:pt x="368" y="89"/>
                    </a:cubicBezTo>
                    <a:cubicBezTo>
                      <a:pt x="368" y="89"/>
                      <a:pt x="368" y="89"/>
                      <a:pt x="367" y="89"/>
                    </a:cubicBezTo>
                    <a:cubicBezTo>
                      <a:pt x="368" y="88"/>
                      <a:pt x="368" y="88"/>
                      <a:pt x="369" y="87"/>
                    </a:cubicBezTo>
                    <a:cubicBezTo>
                      <a:pt x="369" y="87"/>
                      <a:pt x="368" y="87"/>
                      <a:pt x="368" y="87"/>
                    </a:cubicBezTo>
                    <a:cubicBezTo>
                      <a:pt x="369" y="87"/>
                      <a:pt x="369" y="86"/>
                      <a:pt x="370" y="85"/>
                    </a:cubicBezTo>
                    <a:cubicBezTo>
                      <a:pt x="370" y="85"/>
                      <a:pt x="371" y="85"/>
                      <a:pt x="371" y="84"/>
                    </a:cubicBezTo>
                    <a:cubicBezTo>
                      <a:pt x="372" y="83"/>
                      <a:pt x="371" y="83"/>
                      <a:pt x="370" y="83"/>
                    </a:cubicBezTo>
                    <a:cubicBezTo>
                      <a:pt x="370" y="83"/>
                      <a:pt x="371" y="84"/>
                      <a:pt x="370" y="83"/>
                    </a:cubicBezTo>
                    <a:cubicBezTo>
                      <a:pt x="370" y="83"/>
                      <a:pt x="369" y="83"/>
                      <a:pt x="369" y="83"/>
                    </a:cubicBezTo>
                    <a:cubicBezTo>
                      <a:pt x="369" y="83"/>
                      <a:pt x="370" y="83"/>
                      <a:pt x="371" y="83"/>
                    </a:cubicBezTo>
                    <a:cubicBezTo>
                      <a:pt x="371" y="83"/>
                      <a:pt x="370" y="82"/>
                      <a:pt x="370" y="82"/>
                    </a:cubicBezTo>
                    <a:cubicBezTo>
                      <a:pt x="370" y="82"/>
                      <a:pt x="370" y="82"/>
                      <a:pt x="370" y="82"/>
                    </a:cubicBezTo>
                    <a:cubicBezTo>
                      <a:pt x="370" y="81"/>
                      <a:pt x="369" y="82"/>
                      <a:pt x="369" y="82"/>
                    </a:cubicBezTo>
                    <a:cubicBezTo>
                      <a:pt x="369" y="82"/>
                      <a:pt x="368" y="81"/>
                      <a:pt x="368" y="81"/>
                    </a:cubicBezTo>
                    <a:cubicBezTo>
                      <a:pt x="367" y="81"/>
                      <a:pt x="369" y="81"/>
                      <a:pt x="369" y="80"/>
                    </a:cubicBezTo>
                    <a:cubicBezTo>
                      <a:pt x="369" y="80"/>
                      <a:pt x="367" y="81"/>
                      <a:pt x="367" y="80"/>
                    </a:cubicBezTo>
                    <a:cubicBezTo>
                      <a:pt x="367" y="80"/>
                      <a:pt x="367" y="80"/>
                      <a:pt x="366" y="80"/>
                    </a:cubicBezTo>
                    <a:cubicBezTo>
                      <a:pt x="365" y="80"/>
                      <a:pt x="363" y="79"/>
                      <a:pt x="362" y="80"/>
                    </a:cubicBezTo>
                    <a:cubicBezTo>
                      <a:pt x="362" y="80"/>
                      <a:pt x="362" y="81"/>
                      <a:pt x="362" y="81"/>
                    </a:cubicBezTo>
                    <a:cubicBezTo>
                      <a:pt x="363" y="81"/>
                      <a:pt x="363" y="81"/>
                      <a:pt x="363" y="81"/>
                    </a:cubicBezTo>
                    <a:cubicBezTo>
                      <a:pt x="364" y="81"/>
                      <a:pt x="363" y="82"/>
                      <a:pt x="363" y="82"/>
                    </a:cubicBezTo>
                    <a:cubicBezTo>
                      <a:pt x="363" y="82"/>
                      <a:pt x="364" y="82"/>
                      <a:pt x="364" y="82"/>
                    </a:cubicBezTo>
                    <a:cubicBezTo>
                      <a:pt x="365" y="82"/>
                      <a:pt x="365" y="82"/>
                      <a:pt x="366" y="82"/>
                    </a:cubicBezTo>
                    <a:cubicBezTo>
                      <a:pt x="365" y="82"/>
                      <a:pt x="365" y="83"/>
                      <a:pt x="364" y="82"/>
                    </a:cubicBezTo>
                    <a:cubicBezTo>
                      <a:pt x="363" y="82"/>
                      <a:pt x="362" y="82"/>
                      <a:pt x="362" y="83"/>
                    </a:cubicBezTo>
                    <a:cubicBezTo>
                      <a:pt x="362" y="83"/>
                      <a:pt x="363" y="82"/>
                      <a:pt x="363" y="83"/>
                    </a:cubicBezTo>
                    <a:cubicBezTo>
                      <a:pt x="363" y="83"/>
                      <a:pt x="363" y="84"/>
                      <a:pt x="363" y="84"/>
                    </a:cubicBezTo>
                    <a:cubicBezTo>
                      <a:pt x="363" y="85"/>
                      <a:pt x="361" y="83"/>
                      <a:pt x="361" y="84"/>
                    </a:cubicBezTo>
                    <a:cubicBezTo>
                      <a:pt x="361" y="84"/>
                      <a:pt x="362" y="84"/>
                      <a:pt x="362" y="85"/>
                    </a:cubicBezTo>
                    <a:cubicBezTo>
                      <a:pt x="362" y="85"/>
                      <a:pt x="362" y="85"/>
                      <a:pt x="362" y="85"/>
                    </a:cubicBezTo>
                    <a:cubicBezTo>
                      <a:pt x="361" y="84"/>
                      <a:pt x="361" y="85"/>
                      <a:pt x="361" y="85"/>
                    </a:cubicBezTo>
                    <a:cubicBezTo>
                      <a:pt x="360" y="84"/>
                      <a:pt x="361" y="84"/>
                      <a:pt x="360" y="84"/>
                    </a:cubicBezTo>
                    <a:cubicBezTo>
                      <a:pt x="360" y="83"/>
                      <a:pt x="359" y="84"/>
                      <a:pt x="359" y="84"/>
                    </a:cubicBezTo>
                    <a:cubicBezTo>
                      <a:pt x="358" y="84"/>
                      <a:pt x="359" y="84"/>
                      <a:pt x="359" y="85"/>
                    </a:cubicBezTo>
                    <a:cubicBezTo>
                      <a:pt x="359" y="85"/>
                      <a:pt x="358" y="84"/>
                      <a:pt x="358" y="84"/>
                    </a:cubicBezTo>
                    <a:cubicBezTo>
                      <a:pt x="358" y="84"/>
                      <a:pt x="359" y="84"/>
                      <a:pt x="359" y="84"/>
                    </a:cubicBezTo>
                    <a:cubicBezTo>
                      <a:pt x="359" y="84"/>
                      <a:pt x="358" y="83"/>
                      <a:pt x="358" y="84"/>
                    </a:cubicBezTo>
                    <a:cubicBezTo>
                      <a:pt x="357" y="84"/>
                      <a:pt x="357" y="84"/>
                      <a:pt x="357" y="84"/>
                    </a:cubicBezTo>
                    <a:cubicBezTo>
                      <a:pt x="356" y="84"/>
                      <a:pt x="356" y="84"/>
                      <a:pt x="355" y="84"/>
                    </a:cubicBezTo>
                    <a:cubicBezTo>
                      <a:pt x="355" y="84"/>
                      <a:pt x="354" y="85"/>
                      <a:pt x="354" y="85"/>
                    </a:cubicBezTo>
                    <a:cubicBezTo>
                      <a:pt x="353" y="85"/>
                      <a:pt x="353" y="86"/>
                      <a:pt x="352" y="86"/>
                    </a:cubicBezTo>
                    <a:cubicBezTo>
                      <a:pt x="353" y="86"/>
                      <a:pt x="352" y="85"/>
                      <a:pt x="352" y="85"/>
                    </a:cubicBezTo>
                    <a:cubicBezTo>
                      <a:pt x="352" y="85"/>
                      <a:pt x="351" y="85"/>
                      <a:pt x="351" y="85"/>
                    </a:cubicBezTo>
                    <a:cubicBezTo>
                      <a:pt x="351" y="85"/>
                      <a:pt x="352" y="85"/>
                      <a:pt x="352" y="85"/>
                    </a:cubicBezTo>
                    <a:cubicBezTo>
                      <a:pt x="352" y="85"/>
                      <a:pt x="353" y="85"/>
                      <a:pt x="353" y="84"/>
                    </a:cubicBezTo>
                    <a:cubicBezTo>
                      <a:pt x="352" y="84"/>
                      <a:pt x="351" y="85"/>
                      <a:pt x="350" y="85"/>
                    </a:cubicBezTo>
                    <a:cubicBezTo>
                      <a:pt x="349" y="85"/>
                      <a:pt x="350" y="85"/>
                      <a:pt x="350" y="86"/>
                    </a:cubicBezTo>
                    <a:cubicBezTo>
                      <a:pt x="350" y="86"/>
                      <a:pt x="349" y="86"/>
                      <a:pt x="348" y="86"/>
                    </a:cubicBezTo>
                    <a:cubicBezTo>
                      <a:pt x="348" y="86"/>
                      <a:pt x="347" y="87"/>
                      <a:pt x="347" y="87"/>
                    </a:cubicBezTo>
                    <a:cubicBezTo>
                      <a:pt x="347" y="86"/>
                      <a:pt x="348" y="86"/>
                      <a:pt x="349" y="86"/>
                    </a:cubicBezTo>
                    <a:cubicBezTo>
                      <a:pt x="349" y="85"/>
                      <a:pt x="348" y="86"/>
                      <a:pt x="347" y="86"/>
                    </a:cubicBezTo>
                    <a:cubicBezTo>
                      <a:pt x="347" y="85"/>
                      <a:pt x="350" y="85"/>
                      <a:pt x="350" y="85"/>
                    </a:cubicBezTo>
                    <a:cubicBezTo>
                      <a:pt x="352" y="84"/>
                      <a:pt x="353" y="84"/>
                      <a:pt x="354" y="84"/>
                    </a:cubicBezTo>
                    <a:cubicBezTo>
                      <a:pt x="354" y="83"/>
                      <a:pt x="355" y="83"/>
                      <a:pt x="356" y="82"/>
                    </a:cubicBezTo>
                    <a:cubicBezTo>
                      <a:pt x="356" y="82"/>
                      <a:pt x="355" y="82"/>
                      <a:pt x="355" y="82"/>
                    </a:cubicBezTo>
                    <a:cubicBezTo>
                      <a:pt x="354" y="81"/>
                      <a:pt x="353" y="81"/>
                      <a:pt x="353" y="81"/>
                    </a:cubicBezTo>
                    <a:cubicBezTo>
                      <a:pt x="352" y="81"/>
                      <a:pt x="352" y="81"/>
                      <a:pt x="351" y="81"/>
                    </a:cubicBezTo>
                    <a:cubicBezTo>
                      <a:pt x="350" y="81"/>
                      <a:pt x="350" y="80"/>
                      <a:pt x="349" y="80"/>
                    </a:cubicBezTo>
                    <a:cubicBezTo>
                      <a:pt x="349" y="80"/>
                      <a:pt x="348" y="80"/>
                      <a:pt x="347" y="80"/>
                    </a:cubicBezTo>
                    <a:cubicBezTo>
                      <a:pt x="346" y="80"/>
                      <a:pt x="345" y="80"/>
                      <a:pt x="344" y="80"/>
                    </a:cubicBezTo>
                    <a:cubicBezTo>
                      <a:pt x="344" y="80"/>
                      <a:pt x="343" y="81"/>
                      <a:pt x="343" y="81"/>
                    </a:cubicBezTo>
                    <a:cubicBezTo>
                      <a:pt x="342" y="81"/>
                      <a:pt x="341" y="81"/>
                      <a:pt x="340" y="82"/>
                    </a:cubicBezTo>
                    <a:cubicBezTo>
                      <a:pt x="341" y="82"/>
                      <a:pt x="341" y="82"/>
                      <a:pt x="341" y="82"/>
                    </a:cubicBezTo>
                    <a:cubicBezTo>
                      <a:pt x="341" y="83"/>
                      <a:pt x="339" y="83"/>
                      <a:pt x="338" y="83"/>
                    </a:cubicBezTo>
                    <a:cubicBezTo>
                      <a:pt x="339" y="83"/>
                      <a:pt x="339" y="83"/>
                      <a:pt x="340" y="82"/>
                    </a:cubicBezTo>
                    <a:cubicBezTo>
                      <a:pt x="339" y="82"/>
                      <a:pt x="339" y="83"/>
                      <a:pt x="338" y="83"/>
                    </a:cubicBezTo>
                    <a:cubicBezTo>
                      <a:pt x="338" y="83"/>
                      <a:pt x="337" y="83"/>
                      <a:pt x="337" y="83"/>
                    </a:cubicBezTo>
                    <a:cubicBezTo>
                      <a:pt x="335" y="83"/>
                      <a:pt x="334" y="83"/>
                      <a:pt x="332" y="84"/>
                    </a:cubicBezTo>
                    <a:cubicBezTo>
                      <a:pt x="332" y="83"/>
                      <a:pt x="334" y="83"/>
                      <a:pt x="335" y="82"/>
                    </a:cubicBezTo>
                    <a:cubicBezTo>
                      <a:pt x="334" y="82"/>
                      <a:pt x="335" y="82"/>
                      <a:pt x="335" y="82"/>
                    </a:cubicBezTo>
                    <a:cubicBezTo>
                      <a:pt x="336" y="82"/>
                      <a:pt x="336" y="82"/>
                      <a:pt x="337" y="82"/>
                    </a:cubicBezTo>
                    <a:cubicBezTo>
                      <a:pt x="337" y="81"/>
                      <a:pt x="338" y="82"/>
                      <a:pt x="338" y="81"/>
                    </a:cubicBezTo>
                    <a:cubicBezTo>
                      <a:pt x="339" y="80"/>
                      <a:pt x="340" y="79"/>
                      <a:pt x="342" y="79"/>
                    </a:cubicBezTo>
                    <a:cubicBezTo>
                      <a:pt x="343" y="78"/>
                      <a:pt x="343" y="77"/>
                      <a:pt x="341" y="76"/>
                    </a:cubicBezTo>
                    <a:cubicBezTo>
                      <a:pt x="340" y="76"/>
                      <a:pt x="338" y="77"/>
                      <a:pt x="337" y="77"/>
                    </a:cubicBezTo>
                    <a:cubicBezTo>
                      <a:pt x="335" y="77"/>
                      <a:pt x="333" y="78"/>
                      <a:pt x="331" y="78"/>
                    </a:cubicBezTo>
                    <a:cubicBezTo>
                      <a:pt x="329" y="78"/>
                      <a:pt x="327" y="79"/>
                      <a:pt x="325" y="79"/>
                    </a:cubicBezTo>
                    <a:cubicBezTo>
                      <a:pt x="324" y="79"/>
                      <a:pt x="323" y="79"/>
                      <a:pt x="322" y="80"/>
                    </a:cubicBezTo>
                    <a:cubicBezTo>
                      <a:pt x="321" y="80"/>
                      <a:pt x="320" y="80"/>
                      <a:pt x="319" y="80"/>
                    </a:cubicBezTo>
                    <a:cubicBezTo>
                      <a:pt x="317" y="80"/>
                      <a:pt x="316" y="81"/>
                      <a:pt x="314" y="81"/>
                    </a:cubicBezTo>
                    <a:cubicBezTo>
                      <a:pt x="311" y="82"/>
                      <a:pt x="307" y="83"/>
                      <a:pt x="304" y="84"/>
                    </a:cubicBezTo>
                    <a:cubicBezTo>
                      <a:pt x="304" y="84"/>
                      <a:pt x="302" y="85"/>
                      <a:pt x="303" y="85"/>
                    </a:cubicBezTo>
                    <a:cubicBezTo>
                      <a:pt x="303" y="86"/>
                      <a:pt x="304" y="86"/>
                      <a:pt x="304" y="85"/>
                    </a:cubicBezTo>
                    <a:cubicBezTo>
                      <a:pt x="304" y="85"/>
                      <a:pt x="305" y="86"/>
                      <a:pt x="305" y="86"/>
                    </a:cubicBezTo>
                    <a:cubicBezTo>
                      <a:pt x="304" y="87"/>
                      <a:pt x="303" y="87"/>
                      <a:pt x="302" y="87"/>
                    </a:cubicBezTo>
                    <a:cubicBezTo>
                      <a:pt x="301" y="87"/>
                      <a:pt x="300" y="87"/>
                      <a:pt x="299" y="87"/>
                    </a:cubicBezTo>
                    <a:cubicBezTo>
                      <a:pt x="299" y="87"/>
                      <a:pt x="298" y="88"/>
                      <a:pt x="297" y="88"/>
                    </a:cubicBezTo>
                    <a:cubicBezTo>
                      <a:pt x="296" y="89"/>
                      <a:pt x="294" y="89"/>
                      <a:pt x="293" y="90"/>
                    </a:cubicBezTo>
                    <a:cubicBezTo>
                      <a:pt x="292" y="90"/>
                      <a:pt x="291" y="91"/>
                      <a:pt x="291" y="91"/>
                    </a:cubicBezTo>
                    <a:cubicBezTo>
                      <a:pt x="291" y="92"/>
                      <a:pt x="291" y="92"/>
                      <a:pt x="292" y="92"/>
                    </a:cubicBezTo>
                    <a:cubicBezTo>
                      <a:pt x="293" y="92"/>
                      <a:pt x="295" y="91"/>
                      <a:pt x="295" y="92"/>
                    </a:cubicBezTo>
                    <a:cubicBezTo>
                      <a:pt x="295" y="92"/>
                      <a:pt x="295" y="92"/>
                      <a:pt x="295" y="92"/>
                    </a:cubicBezTo>
                    <a:cubicBezTo>
                      <a:pt x="296" y="92"/>
                      <a:pt x="296" y="92"/>
                      <a:pt x="297" y="92"/>
                    </a:cubicBezTo>
                    <a:cubicBezTo>
                      <a:pt x="298" y="91"/>
                      <a:pt x="300" y="91"/>
                      <a:pt x="300" y="92"/>
                    </a:cubicBezTo>
                    <a:cubicBezTo>
                      <a:pt x="300" y="92"/>
                      <a:pt x="299" y="91"/>
                      <a:pt x="298" y="92"/>
                    </a:cubicBezTo>
                    <a:cubicBezTo>
                      <a:pt x="299" y="92"/>
                      <a:pt x="299" y="92"/>
                      <a:pt x="300" y="92"/>
                    </a:cubicBezTo>
                    <a:cubicBezTo>
                      <a:pt x="299" y="93"/>
                      <a:pt x="299" y="92"/>
                      <a:pt x="298" y="93"/>
                    </a:cubicBezTo>
                    <a:cubicBezTo>
                      <a:pt x="299" y="93"/>
                      <a:pt x="299" y="93"/>
                      <a:pt x="299" y="93"/>
                    </a:cubicBezTo>
                    <a:cubicBezTo>
                      <a:pt x="298" y="93"/>
                      <a:pt x="298" y="93"/>
                      <a:pt x="298" y="93"/>
                    </a:cubicBezTo>
                    <a:cubicBezTo>
                      <a:pt x="297" y="93"/>
                      <a:pt x="296" y="93"/>
                      <a:pt x="296" y="93"/>
                    </a:cubicBezTo>
                    <a:cubicBezTo>
                      <a:pt x="295" y="93"/>
                      <a:pt x="294" y="93"/>
                      <a:pt x="294" y="94"/>
                    </a:cubicBezTo>
                    <a:cubicBezTo>
                      <a:pt x="293" y="94"/>
                      <a:pt x="296" y="94"/>
                      <a:pt x="296" y="94"/>
                    </a:cubicBezTo>
                    <a:cubicBezTo>
                      <a:pt x="296" y="94"/>
                      <a:pt x="299" y="94"/>
                      <a:pt x="299" y="94"/>
                    </a:cubicBezTo>
                    <a:cubicBezTo>
                      <a:pt x="299" y="94"/>
                      <a:pt x="299" y="93"/>
                      <a:pt x="299" y="93"/>
                    </a:cubicBezTo>
                    <a:cubicBezTo>
                      <a:pt x="299" y="93"/>
                      <a:pt x="300" y="93"/>
                      <a:pt x="300" y="93"/>
                    </a:cubicBezTo>
                    <a:cubicBezTo>
                      <a:pt x="300" y="93"/>
                      <a:pt x="300" y="93"/>
                      <a:pt x="300" y="93"/>
                    </a:cubicBezTo>
                    <a:cubicBezTo>
                      <a:pt x="300" y="94"/>
                      <a:pt x="300" y="94"/>
                      <a:pt x="299" y="94"/>
                    </a:cubicBezTo>
                    <a:cubicBezTo>
                      <a:pt x="300" y="94"/>
                      <a:pt x="302" y="94"/>
                      <a:pt x="303" y="94"/>
                    </a:cubicBezTo>
                    <a:cubicBezTo>
                      <a:pt x="304" y="94"/>
                      <a:pt x="305" y="93"/>
                      <a:pt x="307" y="93"/>
                    </a:cubicBezTo>
                    <a:cubicBezTo>
                      <a:pt x="308" y="93"/>
                      <a:pt x="309" y="93"/>
                      <a:pt x="311" y="93"/>
                    </a:cubicBezTo>
                    <a:cubicBezTo>
                      <a:pt x="312" y="93"/>
                      <a:pt x="313" y="92"/>
                      <a:pt x="314" y="93"/>
                    </a:cubicBezTo>
                    <a:cubicBezTo>
                      <a:pt x="314" y="93"/>
                      <a:pt x="314" y="93"/>
                      <a:pt x="314" y="93"/>
                    </a:cubicBezTo>
                    <a:cubicBezTo>
                      <a:pt x="315" y="93"/>
                      <a:pt x="316" y="93"/>
                      <a:pt x="317" y="93"/>
                    </a:cubicBezTo>
                    <a:cubicBezTo>
                      <a:pt x="316" y="93"/>
                      <a:pt x="315" y="93"/>
                      <a:pt x="314" y="93"/>
                    </a:cubicBezTo>
                    <a:cubicBezTo>
                      <a:pt x="314" y="93"/>
                      <a:pt x="313" y="93"/>
                      <a:pt x="313" y="93"/>
                    </a:cubicBezTo>
                    <a:cubicBezTo>
                      <a:pt x="313" y="93"/>
                      <a:pt x="312" y="93"/>
                      <a:pt x="312" y="93"/>
                    </a:cubicBezTo>
                    <a:cubicBezTo>
                      <a:pt x="311" y="93"/>
                      <a:pt x="311" y="93"/>
                      <a:pt x="310" y="93"/>
                    </a:cubicBezTo>
                    <a:cubicBezTo>
                      <a:pt x="309" y="94"/>
                      <a:pt x="309" y="94"/>
                      <a:pt x="308" y="94"/>
                    </a:cubicBezTo>
                    <a:cubicBezTo>
                      <a:pt x="309" y="94"/>
                      <a:pt x="310" y="94"/>
                      <a:pt x="311" y="94"/>
                    </a:cubicBezTo>
                    <a:cubicBezTo>
                      <a:pt x="310" y="95"/>
                      <a:pt x="309" y="94"/>
                      <a:pt x="308" y="94"/>
                    </a:cubicBezTo>
                    <a:cubicBezTo>
                      <a:pt x="308" y="94"/>
                      <a:pt x="308" y="94"/>
                      <a:pt x="308" y="94"/>
                    </a:cubicBezTo>
                    <a:cubicBezTo>
                      <a:pt x="307" y="94"/>
                      <a:pt x="305" y="94"/>
                      <a:pt x="303" y="95"/>
                    </a:cubicBezTo>
                    <a:cubicBezTo>
                      <a:pt x="302" y="95"/>
                      <a:pt x="300" y="95"/>
                      <a:pt x="299" y="96"/>
                    </a:cubicBezTo>
                    <a:cubicBezTo>
                      <a:pt x="296" y="96"/>
                      <a:pt x="294" y="96"/>
                      <a:pt x="291" y="97"/>
                    </a:cubicBezTo>
                    <a:cubicBezTo>
                      <a:pt x="290" y="97"/>
                      <a:pt x="287" y="98"/>
                      <a:pt x="288" y="99"/>
                    </a:cubicBezTo>
                    <a:cubicBezTo>
                      <a:pt x="289" y="100"/>
                      <a:pt x="290" y="100"/>
                      <a:pt x="290" y="100"/>
                    </a:cubicBezTo>
                    <a:cubicBezTo>
                      <a:pt x="290" y="100"/>
                      <a:pt x="289" y="101"/>
                      <a:pt x="289" y="101"/>
                    </a:cubicBezTo>
                    <a:cubicBezTo>
                      <a:pt x="289" y="101"/>
                      <a:pt x="290" y="101"/>
                      <a:pt x="290" y="101"/>
                    </a:cubicBezTo>
                    <a:cubicBezTo>
                      <a:pt x="290" y="101"/>
                      <a:pt x="292" y="101"/>
                      <a:pt x="292" y="101"/>
                    </a:cubicBezTo>
                    <a:cubicBezTo>
                      <a:pt x="293" y="101"/>
                      <a:pt x="294" y="101"/>
                      <a:pt x="296" y="101"/>
                    </a:cubicBezTo>
                    <a:cubicBezTo>
                      <a:pt x="297" y="101"/>
                      <a:pt x="299" y="100"/>
                      <a:pt x="300" y="101"/>
                    </a:cubicBezTo>
                    <a:cubicBezTo>
                      <a:pt x="300" y="101"/>
                      <a:pt x="299" y="101"/>
                      <a:pt x="299" y="101"/>
                    </a:cubicBezTo>
                    <a:cubicBezTo>
                      <a:pt x="300" y="102"/>
                      <a:pt x="301" y="101"/>
                      <a:pt x="302" y="101"/>
                    </a:cubicBezTo>
                    <a:cubicBezTo>
                      <a:pt x="303" y="101"/>
                      <a:pt x="304" y="101"/>
                      <a:pt x="305" y="101"/>
                    </a:cubicBezTo>
                    <a:cubicBezTo>
                      <a:pt x="307" y="101"/>
                      <a:pt x="309" y="101"/>
                      <a:pt x="311" y="101"/>
                    </a:cubicBezTo>
                    <a:cubicBezTo>
                      <a:pt x="312" y="101"/>
                      <a:pt x="313" y="100"/>
                      <a:pt x="314" y="101"/>
                    </a:cubicBezTo>
                    <a:cubicBezTo>
                      <a:pt x="315" y="101"/>
                      <a:pt x="315" y="100"/>
                      <a:pt x="316" y="100"/>
                    </a:cubicBezTo>
                    <a:cubicBezTo>
                      <a:pt x="317" y="100"/>
                      <a:pt x="318" y="101"/>
                      <a:pt x="318" y="101"/>
                    </a:cubicBezTo>
                    <a:cubicBezTo>
                      <a:pt x="319" y="100"/>
                      <a:pt x="320" y="101"/>
                      <a:pt x="321" y="101"/>
                    </a:cubicBezTo>
                    <a:cubicBezTo>
                      <a:pt x="320" y="101"/>
                      <a:pt x="320" y="101"/>
                      <a:pt x="320" y="101"/>
                    </a:cubicBezTo>
                    <a:cubicBezTo>
                      <a:pt x="321" y="101"/>
                      <a:pt x="321" y="101"/>
                      <a:pt x="321" y="101"/>
                    </a:cubicBezTo>
                    <a:cubicBezTo>
                      <a:pt x="322" y="102"/>
                      <a:pt x="322" y="101"/>
                      <a:pt x="323" y="101"/>
                    </a:cubicBezTo>
                    <a:cubicBezTo>
                      <a:pt x="323" y="101"/>
                      <a:pt x="324" y="102"/>
                      <a:pt x="324" y="102"/>
                    </a:cubicBezTo>
                    <a:cubicBezTo>
                      <a:pt x="325" y="102"/>
                      <a:pt x="325" y="102"/>
                      <a:pt x="325" y="102"/>
                    </a:cubicBezTo>
                    <a:cubicBezTo>
                      <a:pt x="326" y="102"/>
                      <a:pt x="327" y="102"/>
                      <a:pt x="326" y="102"/>
                    </a:cubicBezTo>
                    <a:cubicBezTo>
                      <a:pt x="326" y="103"/>
                      <a:pt x="326" y="103"/>
                      <a:pt x="326" y="103"/>
                    </a:cubicBezTo>
                    <a:cubicBezTo>
                      <a:pt x="327" y="103"/>
                      <a:pt x="329" y="103"/>
                      <a:pt x="329" y="104"/>
                    </a:cubicBezTo>
                    <a:cubicBezTo>
                      <a:pt x="329" y="104"/>
                      <a:pt x="329" y="104"/>
                      <a:pt x="328" y="104"/>
                    </a:cubicBezTo>
                    <a:cubicBezTo>
                      <a:pt x="329" y="104"/>
                      <a:pt x="329" y="104"/>
                      <a:pt x="329" y="104"/>
                    </a:cubicBezTo>
                    <a:cubicBezTo>
                      <a:pt x="328" y="105"/>
                      <a:pt x="327" y="104"/>
                      <a:pt x="326" y="104"/>
                    </a:cubicBezTo>
                    <a:cubicBezTo>
                      <a:pt x="326" y="104"/>
                      <a:pt x="325" y="104"/>
                      <a:pt x="325" y="104"/>
                    </a:cubicBezTo>
                    <a:cubicBezTo>
                      <a:pt x="324" y="104"/>
                      <a:pt x="324" y="104"/>
                      <a:pt x="323" y="104"/>
                    </a:cubicBezTo>
                    <a:cubicBezTo>
                      <a:pt x="324" y="104"/>
                      <a:pt x="324" y="104"/>
                      <a:pt x="324" y="104"/>
                    </a:cubicBezTo>
                    <a:cubicBezTo>
                      <a:pt x="323" y="104"/>
                      <a:pt x="323" y="104"/>
                      <a:pt x="322" y="104"/>
                    </a:cubicBezTo>
                    <a:cubicBezTo>
                      <a:pt x="322" y="104"/>
                      <a:pt x="320" y="104"/>
                      <a:pt x="321" y="105"/>
                    </a:cubicBezTo>
                    <a:cubicBezTo>
                      <a:pt x="320" y="105"/>
                      <a:pt x="320" y="105"/>
                      <a:pt x="319" y="105"/>
                    </a:cubicBezTo>
                    <a:cubicBezTo>
                      <a:pt x="319" y="105"/>
                      <a:pt x="318" y="105"/>
                      <a:pt x="318" y="104"/>
                    </a:cubicBezTo>
                    <a:cubicBezTo>
                      <a:pt x="316" y="104"/>
                      <a:pt x="315" y="104"/>
                      <a:pt x="313" y="104"/>
                    </a:cubicBezTo>
                    <a:cubicBezTo>
                      <a:pt x="312" y="104"/>
                      <a:pt x="310" y="104"/>
                      <a:pt x="308" y="104"/>
                    </a:cubicBezTo>
                    <a:cubicBezTo>
                      <a:pt x="307" y="104"/>
                      <a:pt x="305" y="104"/>
                      <a:pt x="304" y="104"/>
                    </a:cubicBezTo>
                    <a:cubicBezTo>
                      <a:pt x="300" y="104"/>
                      <a:pt x="297" y="105"/>
                      <a:pt x="294" y="105"/>
                    </a:cubicBezTo>
                    <a:cubicBezTo>
                      <a:pt x="291" y="105"/>
                      <a:pt x="287" y="105"/>
                      <a:pt x="285" y="107"/>
                    </a:cubicBezTo>
                    <a:cubicBezTo>
                      <a:pt x="284" y="107"/>
                      <a:pt x="284" y="108"/>
                      <a:pt x="283" y="109"/>
                    </a:cubicBezTo>
                    <a:cubicBezTo>
                      <a:pt x="283" y="109"/>
                      <a:pt x="284" y="110"/>
                      <a:pt x="285" y="110"/>
                    </a:cubicBezTo>
                    <a:cubicBezTo>
                      <a:pt x="285" y="110"/>
                      <a:pt x="284" y="110"/>
                      <a:pt x="284" y="110"/>
                    </a:cubicBezTo>
                    <a:cubicBezTo>
                      <a:pt x="284" y="110"/>
                      <a:pt x="285" y="111"/>
                      <a:pt x="285" y="111"/>
                    </a:cubicBezTo>
                    <a:cubicBezTo>
                      <a:pt x="285" y="110"/>
                      <a:pt x="285" y="111"/>
                      <a:pt x="286" y="111"/>
                    </a:cubicBezTo>
                    <a:cubicBezTo>
                      <a:pt x="285" y="111"/>
                      <a:pt x="285" y="111"/>
                      <a:pt x="285" y="111"/>
                    </a:cubicBezTo>
                    <a:cubicBezTo>
                      <a:pt x="285" y="112"/>
                      <a:pt x="284" y="112"/>
                      <a:pt x="285" y="112"/>
                    </a:cubicBezTo>
                    <a:cubicBezTo>
                      <a:pt x="285" y="112"/>
                      <a:pt x="286" y="113"/>
                      <a:pt x="286" y="113"/>
                    </a:cubicBezTo>
                    <a:cubicBezTo>
                      <a:pt x="288" y="113"/>
                      <a:pt x="290" y="113"/>
                      <a:pt x="292" y="114"/>
                    </a:cubicBezTo>
                    <a:cubicBezTo>
                      <a:pt x="293" y="114"/>
                      <a:pt x="294" y="113"/>
                      <a:pt x="295" y="113"/>
                    </a:cubicBezTo>
                    <a:cubicBezTo>
                      <a:pt x="296" y="114"/>
                      <a:pt x="297" y="113"/>
                      <a:pt x="298" y="113"/>
                    </a:cubicBezTo>
                    <a:cubicBezTo>
                      <a:pt x="299" y="113"/>
                      <a:pt x="299" y="113"/>
                      <a:pt x="299" y="114"/>
                    </a:cubicBezTo>
                    <a:cubicBezTo>
                      <a:pt x="300" y="114"/>
                      <a:pt x="300" y="114"/>
                      <a:pt x="301" y="114"/>
                    </a:cubicBezTo>
                    <a:cubicBezTo>
                      <a:pt x="302" y="114"/>
                      <a:pt x="303" y="114"/>
                      <a:pt x="303" y="114"/>
                    </a:cubicBezTo>
                    <a:cubicBezTo>
                      <a:pt x="303" y="114"/>
                      <a:pt x="302" y="114"/>
                      <a:pt x="302" y="115"/>
                    </a:cubicBezTo>
                    <a:cubicBezTo>
                      <a:pt x="302" y="115"/>
                      <a:pt x="301" y="115"/>
                      <a:pt x="302" y="115"/>
                    </a:cubicBezTo>
                    <a:cubicBezTo>
                      <a:pt x="302" y="116"/>
                      <a:pt x="301" y="116"/>
                      <a:pt x="301" y="116"/>
                    </a:cubicBezTo>
                    <a:cubicBezTo>
                      <a:pt x="302" y="116"/>
                      <a:pt x="300" y="116"/>
                      <a:pt x="300" y="117"/>
                    </a:cubicBezTo>
                    <a:cubicBezTo>
                      <a:pt x="299" y="117"/>
                      <a:pt x="300" y="117"/>
                      <a:pt x="299" y="117"/>
                    </a:cubicBezTo>
                    <a:cubicBezTo>
                      <a:pt x="298" y="118"/>
                      <a:pt x="299" y="118"/>
                      <a:pt x="299" y="119"/>
                    </a:cubicBezTo>
                    <a:cubicBezTo>
                      <a:pt x="299" y="119"/>
                      <a:pt x="298" y="119"/>
                      <a:pt x="299" y="120"/>
                    </a:cubicBezTo>
                    <a:cubicBezTo>
                      <a:pt x="299" y="120"/>
                      <a:pt x="301" y="120"/>
                      <a:pt x="300" y="121"/>
                    </a:cubicBezTo>
                    <a:cubicBezTo>
                      <a:pt x="300" y="121"/>
                      <a:pt x="298" y="120"/>
                      <a:pt x="298" y="121"/>
                    </a:cubicBezTo>
                    <a:cubicBezTo>
                      <a:pt x="298" y="121"/>
                      <a:pt x="302" y="121"/>
                      <a:pt x="302" y="121"/>
                    </a:cubicBezTo>
                    <a:cubicBezTo>
                      <a:pt x="303" y="121"/>
                      <a:pt x="303" y="120"/>
                      <a:pt x="304" y="120"/>
                    </a:cubicBezTo>
                    <a:cubicBezTo>
                      <a:pt x="305" y="120"/>
                      <a:pt x="306" y="120"/>
                      <a:pt x="307" y="120"/>
                    </a:cubicBezTo>
                    <a:cubicBezTo>
                      <a:pt x="308" y="120"/>
                      <a:pt x="310" y="120"/>
                      <a:pt x="312" y="120"/>
                    </a:cubicBezTo>
                    <a:cubicBezTo>
                      <a:pt x="312" y="120"/>
                      <a:pt x="314" y="121"/>
                      <a:pt x="313" y="120"/>
                    </a:cubicBezTo>
                    <a:cubicBezTo>
                      <a:pt x="313" y="120"/>
                      <a:pt x="313" y="120"/>
                      <a:pt x="312" y="120"/>
                    </a:cubicBezTo>
                    <a:cubicBezTo>
                      <a:pt x="313" y="120"/>
                      <a:pt x="314" y="120"/>
                      <a:pt x="314" y="120"/>
                    </a:cubicBezTo>
                    <a:cubicBezTo>
                      <a:pt x="315" y="120"/>
                      <a:pt x="316" y="119"/>
                      <a:pt x="317" y="120"/>
                    </a:cubicBezTo>
                    <a:cubicBezTo>
                      <a:pt x="316" y="120"/>
                      <a:pt x="315" y="120"/>
                      <a:pt x="315" y="120"/>
                    </a:cubicBezTo>
                    <a:cubicBezTo>
                      <a:pt x="316" y="120"/>
                      <a:pt x="317" y="119"/>
                      <a:pt x="319" y="119"/>
                    </a:cubicBezTo>
                    <a:cubicBezTo>
                      <a:pt x="319" y="119"/>
                      <a:pt x="320" y="119"/>
                      <a:pt x="320" y="120"/>
                    </a:cubicBezTo>
                    <a:cubicBezTo>
                      <a:pt x="320" y="120"/>
                      <a:pt x="321" y="119"/>
                      <a:pt x="321" y="119"/>
                    </a:cubicBezTo>
                    <a:cubicBezTo>
                      <a:pt x="322" y="119"/>
                      <a:pt x="323" y="119"/>
                      <a:pt x="324" y="119"/>
                    </a:cubicBezTo>
                    <a:cubicBezTo>
                      <a:pt x="324" y="119"/>
                      <a:pt x="325" y="119"/>
                      <a:pt x="326" y="119"/>
                    </a:cubicBezTo>
                    <a:cubicBezTo>
                      <a:pt x="327" y="119"/>
                      <a:pt x="329" y="119"/>
                      <a:pt x="330" y="119"/>
                    </a:cubicBezTo>
                    <a:cubicBezTo>
                      <a:pt x="332" y="118"/>
                      <a:pt x="333" y="118"/>
                      <a:pt x="335" y="117"/>
                    </a:cubicBezTo>
                    <a:cubicBezTo>
                      <a:pt x="335" y="117"/>
                      <a:pt x="336" y="117"/>
                      <a:pt x="336" y="117"/>
                    </a:cubicBezTo>
                    <a:cubicBezTo>
                      <a:pt x="337" y="116"/>
                      <a:pt x="337" y="116"/>
                      <a:pt x="338" y="116"/>
                    </a:cubicBezTo>
                    <a:cubicBezTo>
                      <a:pt x="340" y="117"/>
                      <a:pt x="341" y="116"/>
                      <a:pt x="343" y="116"/>
                    </a:cubicBezTo>
                    <a:cubicBezTo>
                      <a:pt x="345" y="116"/>
                      <a:pt x="346" y="116"/>
                      <a:pt x="347" y="115"/>
                    </a:cubicBezTo>
                    <a:cubicBezTo>
                      <a:pt x="348" y="115"/>
                      <a:pt x="348" y="115"/>
                      <a:pt x="349" y="115"/>
                    </a:cubicBezTo>
                    <a:cubicBezTo>
                      <a:pt x="349" y="114"/>
                      <a:pt x="350" y="114"/>
                      <a:pt x="351" y="113"/>
                    </a:cubicBezTo>
                    <a:cubicBezTo>
                      <a:pt x="351" y="112"/>
                      <a:pt x="353" y="113"/>
                      <a:pt x="354" y="112"/>
                    </a:cubicBezTo>
                    <a:cubicBezTo>
                      <a:pt x="355" y="111"/>
                      <a:pt x="355" y="111"/>
                      <a:pt x="356" y="112"/>
                    </a:cubicBezTo>
                    <a:cubicBezTo>
                      <a:pt x="356" y="112"/>
                      <a:pt x="355" y="113"/>
                      <a:pt x="355" y="114"/>
                    </a:cubicBezTo>
                    <a:cubicBezTo>
                      <a:pt x="354" y="114"/>
                      <a:pt x="353" y="114"/>
                      <a:pt x="354" y="114"/>
                    </a:cubicBezTo>
                    <a:cubicBezTo>
                      <a:pt x="355" y="115"/>
                      <a:pt x="356" y="115"/>
                      <a:pt x="356" y="115"/>
                    </a:cubicBezTo>
                    <a:cubicBezTo>
                      <a:pt x="357" y="114"/>
                      <a:pt x="359" y="114"/>
                      <a:pt x="359" y="115"/>
                    </a:cubicBezTo>
                    <a:cubicBezTo>
                      <a:pt x="359" y="115"/>
                      <a:pt x="362" y="115"/>
                      <a:pt x="362" y="115"/>
                    </a:cubicBezTo>
                    <a:cubicBezTo>
                      <a:pt x="361" y="115"/>
                      <a:pt x="364" y="115"/>
                      <a:pt x="363" y="116"/>
                    </a:cubicBezTo>
                    <a:cubicBezTo>
                      <a:pt x="362" y="116"/>
                      <a:pt x="360" y="116"/>
                      <a:pt x="359" y="116"/>
                    </a:cubicBezTo>
                    <a:cubicBezTo>
                      <a:pt x="360" y="117"/>
                      <a:pt x="362" y="117"/>
                      <a:pt x="363" y="117"/>
                    </a:cubicBezTo>
                    <a:cubicBezTo>
                      <a:pt x="364" y="117"/>
                      <a:pt x="365" y="116"/>
                      <a:pt x="365" y="117"/>
                    </a:cubicBezTo>
                    <a:cubicBezTo>
                      <a:pt x="366" y="117"/>
                      <a:pt x="366" y="117"/>
                      <a:pt x="366" y="117"/>
                    </a:cubicBezTo>
                    <a:cubicBezTo>
                      <a:pt x="366" y="117"/>
                      <a:pt x="366" y="117"/>
                      <a:pt x="366" y="116"/>
                    </a:cubicBezTo>
                    <a:cubicBezTo>
                      <a:pt x="366" y="117"/>
                      <a:pt x="368" y="117"/>
                      <a:pt x="368" y="117"/>
                    </a:cubicBezTo>
                    <a:cubicBezTo>
                      <a:pt x="369" y="117"/>
                      <a:pt x="369" y="118"/>
                      <a:pt x="370" y="118"/>
                    </a:cubicBezTo>
                    <a:cubicBezTo>
                      <a:pt x="370" y="118"/>
                      <a:pt x="371" y="118"/>
                      <a:pt x="371" y="118"/>
                    </a:cubicBezTo>
                    <a:cubicBezTo>
                      <a:pt x="371" y="118"/>
                      <a:pt x="371" y="118"/>
                      <a:pt x="372" y="118"/>
                    </a:cubicBezTo>
                    <a:cubicBezTo>
                      <a:pt x="372" y="118"/>
                      <a:pt x="373" y="117"/>
                      <a:pt x="373" y="117"/>
                    </a:cubicBezTo>
                    <a:cubicBezTo>
                      <a:pt x="374" y="118"/>
                      <a:pt x="376" y="118"/>
                      <a:pt x="376" y="117"/>
                    </a:cubicBezTo>
                    <a:cubicBezTo>
                      <a:pt x="377" y="117"/>
                      <a:pt x="376" y="117"/>
                      <a:pt x="377" y="117"/>
                    </a:cubicBezTo>
                    <a:cubicBezTo>
                      <a:pt x="378" y="117"/>
                      <a:pt x="378" y="117"/>
                      <a:pt x="379" y="117"/>
                    </a:cubicBezTo>
                    <a:cubicBezTo>
                      <a:pt x="380" y="116"/>
                      <a:pt x="380" y="116"/>
                      <a:pt x="381" y="116"/>
                    </a:cubicBezTo>
                    <a:cubicBezTo>
                      <a:pt x="382" y="116"/>
                      <a:pt x="382" y="116"/>
                      <a:pt x="382" y="116"/>
                    </a:cubicBezTo>
                    <a:cubicBezTo>
                      <a:pt x="383" y="116"/>
                      <a:pt x="383" y="116"/>
                      <a:pt x="383" y="116"/>
                    </a:cubicBezTo>
                    <a:cubicBezTo>
                      <a:pt x="383" y="116"/>
                      <a:pt x="385" y="116"/>
                      <a:pt x="384" y="116"/>
                    </a:cubicBezTo>
                    <a:cubicBezTo>
                      <a:pt x="384" y="116"/>
                      <a:pt x="388" y="114"/>
                      <a:pt x="386" y="114"/>
                    </a:cubicBezTo>
                    <a:cubicBezTo>
                      <a:pt x="385" y="113"/>
                      <a:pt x="384" y="114"/>
                      <a:pt x="384" y="114"/>
                    </a:cubicBezTo>
                    <a:cubicBezTo>
                      <a:pt x="383" y="114"/>
                      <a:pt x="384" y="113"/>
                      <a:pt x="384" y="114"/>
                    </a:cubicBezTo>
                    <a:cubicBezTo>
                      <a:pt x="385" y="114"/>
                      <a:pt x="385" y="113"/>
                      <a:pt x="385" y="113"/>
                    </a:cubicBezTo>
                    <a:cubicBezTo>
                      <a:pt x="385" y="113"/>
                      <a:pt x="385" y="113"/>
                      <a:pt x="385" y="113"/>
                    </a:cubicBezTo>
                    <a:cubicBezTo>
                      <a:pt x="385" y="112"/>
                      <a:pt x="387" y="113"/>
                      <a:pt x="387" y="112"/>
                    </a:cubicBezTo>
                    <a:cubicBezTo>
                      <a:pt x="387" y="111"/>
                      <a:pt x="385" y="111"/>
                      <a:pt x="385" y="111"/>
                    </a:cubicBezTo>
                    <a:cubicBezTo>
                      <a:pt x="384" y="112"/>
                      <a:pt x="384" y="112"/>
                      <a:pt x="383" y="112"/>
                    </a:cubicBezTo>
                    <a:cubicBezTo>
                      <a:pt x="382" y="112"/>
                      <a:pt x="381" y="112"/>
                      <a:pt x="381" y="112"/>
                    </a:cubicBezTo>
                    <a:cubicBezTo>
                      <a:pt x="380" y="113"/>
                      <a:pt x="379" y="113"/>
                      <a:pt x="378" y="114"/>
                    </a:cubicBezTo>
                    <a:cubicBezTo>
                      <a:pt x="378" y="114"/>
                      <a:pt x="376" y="115"/>
                      <a:pt x="376" y="115"/>
                    </a:cubicBezTo>
                    <a:cubicBezTo>
                      <a:pt x="375" y="114"/>
                      <a:pt x="377" y="114"/>
                      <a:pt x="377" y="114"/>
                    </a:cubicBezTo>
                    <a:cubicBezTo>
                      <a:pt x="378" y="114"/>
                      <a:pt x="378" y="113"/>
                      <a:pt x="378" y="113"/>
                    </a:cubicBezTo>
                    <a:cubicBezTo>
                      <a:pt x="379" y="113"/>
                      <a:pt x="379" y="113"/>
                      <a:pt x="379" y="112"/>
                    </a:cubicBezTo>
                    <a:cubicBezTo>
                      <a:pt x="379" y="112"/>
                      <a:pt x="381" y="111"/>
                      <a:pt x="380" y="111"/>
                    </a:cubicBezTo>
                    <a:cubicBezTo>
                      <a:pt x="380" y="111"/>
                      <a:pt x="379" y="112"/>
                      <a:pt x="379" y="112"/>
                    </a:cubicBezTo>
                    <a:cubicBezTo>
                      <a:pt x="380" y="111"/>
                      <a:pt x="379" y="110"/>
                      <a:pt x="378" y="110"/>
                    </a:cubicBezTo>
                    <a:cubicBezTo>
                      <a:pt x="378" y="110"/>
                      <a:pt x="380" y="109"/>
                      <a:pt x="380" y="109"/>
                    </a:cubicBezTo>
                    <a:cubicBezTo>
                      <a:pt x="380" y="110"/>
                      <a:pt x="380" y="109"/>
                      <a:pt x="380" y="110"/>
                    </a:cubicBezTo>
                    <a:cubicBezTo>
                      <a:pt x="381" y="111"/>
                      <a:pt x="384" y="111"/>
                      <a:pt x="385" y="110"/>
                    </a:cubicBezTo>
                    <a:cubicBezTo>
                      <a:pt x="387" y="109"/>
                      <a:pt x="385" y="110"/>
                      <a:pt x="385" y="109"/>
                    </a:cubicBezTo>
                    <a:cubicBezTo>
                      <a:pt x="385" y="109"/>
                      <a:pt x="387" y="109"/>
                      <a:pt x="388" y="108"/>
                    </a:cubicBezTo>
                    <a:cubicBezTo>
                      <a:pt x="388" y="109"/>
                      <a:pt x="388" y="109"/>
                      <a:pt x="387" y="109"/>
                    </a:cubicBezTo>
                    <a:cubicBezTo>
                      <a:pt x="388" y="109"/>
                      <a:pt x="389" y="108"/>
                      <a:pt x="389" y="108"/>
                    </a:cubicBezTo>
                    <a:cubicBezTo>
                      <a:pt x="390" y="107"/>
                      <a:pt x="390" y="108"/>
                      <a:pt x="390" y="108"/>
                    </a:cubicBezTo>
                    <a:cubicBezTo>
                      <a:pt x="390" y="108"/>
                      <a:pt x="390" y="108"/>
                      <a:pt x="390" y="108"/>
                    </a:cubicBezTo>
                    <a:cubicBezTo>
                      <a:pt x="390" y="108"/>
                      <a:pt x="390" y="109"/>
                      <a:pt x="390" y="109"/>
                    </a:cubicBezTo>
                    <a:cubicBezTo>
                      <a:pt x="391" y="109"/>
                      <a:pt x="392" y="109"/>
                      <a:pt x="391" y="110"/>
                    </a:cubicBezTo>
                    <a:cubicBezTo>
                      <a:pt x="393" y="109"/>
                      <a:pt x="394" y="108"/>
                      <a:pt x="395" y="108"/>
                    </a:cubicBezTo>
                    <a:cubicBezTo>
                      <a:pt x="395" y="108"/>
                      <a:pt x="394" y="108"/>
                      <a:pt x="394" y="109"/>
                    </a:cubicBezTo>
                    <a:cubicBezTo>
                      <a:pt x="394" y="109"/>
                      <a:pt x="394" y="110"/>
                      <a:pt x="394" y="110"/>
                    </a:cubicBezTo>
                    <a:cubicBezTo>
                      <a:pt x="394" y="110"/>
                      <a:pt x="395" y="110"/>
                      <a:pt x="395" y="110"/>
                    </a:cubicBezTo>
                    <a:cubicBezTo>
                      <a:pt x="396" y="110"/>
                      <a:pt x="396" y="110"/>
                      <a:pt x="397" y="110"/>
                    </a:cubicBezTo>
                    <a:cubicBezTo>
                      <a:pt x="397" y="109"/>
                      <a:pt x="399" y="108"/>
                      <a:pt x="399" y="107"/>
                    </a:cubicBezTo>
                    <a:close/>
                    <a:moveTo>
                      <a:pt x="430" y="117"/>
                    </a:moveTo>
                    <a:cubicBezTo>
                      <a:pt x="429" y="117"/>
                      <a:pt x="428" y="117"/>
                      <a:pt x="427" y="117"/>
                    </a:cubicBezTo>
                    <a:cubicBezTo>
                      <a:pt x="427" y="117"/>
                      <a:pt x="426" y="118"/>
                      <a:pt x="426" y="117"/>
                    </a:cubicBezTo>
                    <a:cubicBezTo>
                      <a:pt x="426" y="117"/>
                      <a:pt x="425" y="117"/>
                      <a:pt x="425" y="117"/>
                    </a:cubicBezTo>
                    <a:cubicBezTo>
                      <a:pt x="426" y="117"/>
                      <a:pt x="426" y="116"/>
                      <a:pt x="426" y="116"/>
                    </a:cubicBezTo>
                    <a:cubicBezTo>
                      <a:pt x="426" y="116"/>
                      <a:pt x="426" y="116"/>
                      <a:pt x="426" y="116"/>
                    </a:cubicBezTo>
                    <a:cubicBezTo>
                      <a:pt x="426" y="115"/>
                      <a:pt x="427" y="115"/>
                      <a:pt x="427" y="115"/>
                    </a:cubicBezTo>
                    <a:cubicBezTo>
                      <a:pt x="427" y="115"/>
                      <a:pt x="427" y="114"/>
                      <a:pt x="427" y="114"/>
                    </a:cubicBezTo>
                    <a:cubicBezTo>
                      <a:pt x="426" y="114"/>
                      <a:pt x="425" y="116"/>
                      <a:pt x="424" y="116"/>
                    </a:cubicBezTo>
                    <a:cubicBezTo>
                      <a:pt x="424" y="115"/>
                      <a:pt x="426" y="114"/>
                      <a:pt x="426" y="114"/>
                    </a:cubicBezTo>
                    <a:cubicBezTo>
                      <a:pt x="427" y="113"/>
                      <a:pt x="424" y="112"/>
                      <a:pt x="424" y="111"/>
                    </a:cubicBezTo>
                    <a:cubicBezTo>
                      <a:pt x="423" y="111"/>
                      <a:pt x="423" y="110"/>
                      <a:pt x="422" y="110"/>
                    </a:cubicBezTo>
                    <a:cubicBezTo>
                      <a:pt x="422" y="109"/>
                      <a:pt x="420" y="111"/>
                      <a:pt x="421" y="110"/>
                    </a:cubicBezTo>
                    <a:cubicBezTo>
                      <a:pt x="421" y="109"/>
                      <a:pt x="422" y="110"/>
                      <a:pt x="422" y="109"/>
                    </a:cubicBezTo>
                    <a:cubicBezTo>
                      <a:pt x="422" y="109"/>
                      <a:pt x="421" y="109"/>
                      <a:pt x="421" y="109"/>
                    </a:cubicBezTo>
                    <a:cubicBezTo>
                      <a:pt x="421" y="108"/>
                      <a:pt x="421" y="108"/>
                      <a:pt x="421" y="108"/>
                    </a:cubicBezTo>
                    <a:cubicBezTo>
                      <a:pt x="421" y="108"/>
                      <a:pt x="420" y="108"/>
                      <a:pt x="420" y="108"/>
                    </a:cubicBezTo>
                    <a:cubicBezTo>
                      <a:pt x="420" y="107"/>
                      <a:pt x="419" y="108"/>
                      <a:pt x="418" y="108"/>
                    </a:cubicBezTo>
                    <a:cubicBezTo>
                      <a:pt x="417" y="109"/>
                      <a:pt x="417" y="109"/>
                      <a:pt x="416" y="109"/>
                    </a:cubicBezTo>
                    <a:cubicBezTo>
                      <a:pt x="415" y="109"/>
                      <a:pt x="415" y="110"/>
                      <a:pt x="414" y="110"/>
                    </a:cubicBezTo>
                    <a:cubicBezTo>
                      <a:pt x="415" y="111"/>
                      <a:pt x="414" y="111"/>
                      <a:pt x="415" y="112"/>
                    </a:cubicBezTo>
                    <a:cubicBezTo>
                      <a:pt x="415" y="112"/>
                      <a:pt x="415" y="112"/>
                      <a:pt x="414" y="112"/>
                    </a:cubicBezTo>
                    <a:cubicBezTo>
                      <a:pt x="415" y="112"/>
                      <a:pt x="414" y="112"/>
                      <a:pt x="414" y="111"/>
                    </a:cubicBezTo>
                    <a:cubicBezTo>
                      <a:pt x="414" y="111"/>
                      <a:pt x="414" y="111"/>
                      <a:pt x="413" y="111"/>
                    </a:cubicBezTo>
                    <a:cubicBezTo>
                      <a:pt x="413" y="110"/>
                      <a:pt x="412" y="111"/>
                      <a:pt x="412" y="111"/>
                    </a:cubicBezTo>
                    <a:cubicBezTo>
                      <a:pt x="412" y="111"/>
                      <a:pt x="412" y="111"/>
                      <a:pt x="412" y="111"/>
                    </a:cubicBezTo>
                    <a:cubicBezTo>
                      <a:pt x="412" y="112"/>
                      <a:pt x="411" y="111"/>
                      <a:pt x="411" y="112"/>
                    </a:cubicBezTo>
                    <a:cubicBezTo>
                      <a:pt x="411" y="112"/>
                      <a:pt x="412" y="113"/>
                      <a:pt x="411" y="113"/>
                    </a:cubicBezTo>
                    <a:cubicBezTo>
                      <a:pt x="411" y="114"/>
                      <a:pt x="409" y="113"/>
                      <a:pt x="409" y="114"/>
                    </a:cubicBezTo>
                    <a:cubicBezTo>
                      <a:pt x="408" y="114"/>
                      <a:pt x="408" y="114"/>
                      <a:pt x="407" y="114"/>
                    </a:cubicBezTo>
                    <a:cubicBezTo>
                      <a:pt x="407" y="114"/>
                      <a:pt x="406" y="114"/>
                      <a:pt x="406" y="115"/>
                    </a:cubicBezTo>
                    <a:cubicBezTo>
                      <a:pt x="405" y="115"/>
                      <a:pt x="403" y="114"/>
                      <a:pt x="402" y="115"/>
                    </a:cubicBezTo>
                    <a:cubicBezTo>
                      <a:pt x="402" y="115"/>
                      <a:pt x="400" y="115"/>
                      <a:pt x="400" y="116"/>
                    </a:cubicBezTo>
                    <a:cubicBezTo>
                      <a:pt x="401" y="116"/>
                      <a:pt x="400" y="117"/>
                      <a:pt x="400" y="117"/>
                    </a:cubicBezTo>
                    <a:cubicBezTo>
                      <a:pt x="400" y="117"/>
                      <a:pt x="401" y="117"/>
                      <a:pt x="401" y="117"/>
                    </a:cubicBezTo>
                    <a:cubicBezTo>
                      <a:pt x="402" y="117"/>
                      <a:pt x="402" y="117"/>
                      <a:pt x="402" y="117"/>
                    </a:cubicBezTo>
                    <a:cubicBezTo>
                      <a:pt x="403" y="117"/>
                      <a:pt x="402" y="117"/>
                      <a:pt x="403" y="117"/>
                    </a:cubicBezTo>
                    <a:cubicBezTo>
                      <a:pt x="403" y="117"/>
                      <a:pt x="403" y="117"/>
                      <a:pt x="403" y="117"/>
                    </a:cubicBezTo>
                    <a:cubicBezTo>
                      <a:pt x="403" y="117"/>
                      <a:pt x="403" y="116"/>
                      <a:pt x="404" y="116"/>
                    </a:cubicBezTo>
                    <a:cubicBezTo>
                      <a:pt x="404" y="116"/>
                      <a:pt x="405" y="116"/>
                      <a:pt x="405" y="117"/>
                    </a:cubicBezTo>
                    <a:cubicBezTo>
                      <a:pt x="405" y="117"/>
                      <a:pt x="404" y="117"/>
                      <a:pt x="404" y="117"/>
                    </a:cubicBezTo>
                    <a:cubicBezTo>
                      <a:pt x="403" y="118"/>
                      <a:pt x="405" y="118"/>
                      <a:pt x="405" y="118"/>
                    </a:cubicBezTo>
                    <a:cubicBezTo>
                      <a:pt x="405" y="118"/>
                      <a:pt x="405" y="118"/>
                      <a:pt x="406" y="118"/>
                    </a:cubicBezTo>
                    <a:cubicBezTo>
                      <a:pt x="406" y="118"/>
                      <a:pt x="406" y="118"/>
                      <a:pt x="407" y="117"/>
                    </a:cubicBezTo>
                    <a:cubicBezTo>
                      <a:pt x="407" y="117"/>
                      <a:pt x="408" y="117"/>
                      <a:pt x="408" y="118"/>
                    </a:cubicBezTo>
                    <a:cubicBezTo>
                      <a:pt x="407" y="118"/>
                      <a:pt x="407" y="118"/>
                      <a:pt x="407" y="119"/>
                    </a:cubicBezTo>
                    <a:cubicBezTo>
                      <a:pt x="407" y="119"/>
                      <a:pt x="408" y="119"/>
                      <a:pt x="408" y="119"/>
                    </a:cubicBezTo>
                    <a:cubicBezTo>
                      <a:pt x="408" y="119"/>
                      <a:pt x="410" y="119"/>
                      <a:pt x="410" y="119"/>
                    </a:cubicBezTo>
                    <a:cubicBezTo>
                      <a:pt x="410" y="120"/>
                      <a:pt x="411" y="120"/>
                      <a:pt x="411" y="120"/>
                    </a:cubicBezTo>
                    <a:cubicBezTo>
                      <a:pt x="412" y="120"/>
                      <a:pt x="412" y="120"/>
                      <a:pt x="413" y="120"/>
                    </a:cubicBezTo>
                    <a:cubicBezTo>
                      <a:pt x="413" y="120"/>
                      <a:pt x="413" y="120"/>
                      <a:pt x="414" y="120"/>
                    </a:cubicBezTo>
                    <a:cubicBezTo>
                      <a:pt x="414" y="120"/>
                      <a:pt x="414" y="120"/>
                      <a:pt x="414" y="120"/>
                    </a:cubicBezTo>
                    <a:cubicBezTo>
                      <a:pt x="414" y="120"/>
                      <a:pt x="415" y="121"/>
                      <a:pt x="415" y="121"/>
                    </a:cubicBezTo>
                    <a:cubicBezTo>
                      <a:pt x="417" y="121"/>
                      <a:pt x="418" y="121"/>
                      <a:pt x="420" y="120"/>
                    </a:cubicBezTo>
                    <a:cubicBezTo>
                      <a:pt x="420" y="120"/>
                      <a:pt x="421" y="119"/>
                      <a:pt x="422" y="119"/>
                    </a:cubicBezTo>
                    <a:cubicBezTo>
                      <a:pt x="422" y="119"/>
                      <a:pt x="423" y="120"/>
                      <a:pt x="423" y="120"/>
                    </a:cubicBezTo>
                    <a:cubicBezTo>
                      <a:pt x="423" y="119"/>
                      <a:pt x="423" y="119"/>
                      <a:pt x="424" y="119"/>
                    </a:cubicBezTo>
                    <a:cubicBezTo>
                      <a:pt x="424" y="119"/>
                      <a:pt x="424" y="118"/>
                      <a:pt x="425" y="118"/>
                    </a:cubicBezTo>
                    <a:cubicBezTo>
                      <a:pt x="425" y="118"/>
                      <a:pt x="425" y="118"/>
                      <a:pt x="426" y="118"/>
                    </a:cubicBezTo>
                    <a:cubicBezTo>
                      <a:pt x="426" y="118"/>
                      <a:pt x="426" y="119"/>
                      <a:pt x="426" y="119"/>
                    </a:cubicBezTo>
                    <a:cubicBezTo>
                      <a:pt x="426" y="119"/>
                      <a:pt x="430" y="117"/>
                      <a:pt x="430" y="117"/>
                    </a:cubicBezTo>
                    <a:close/>
                    <a:moveTo>
                      <a:pt x="357" y="120"/>
                    </a:moveTo>
                    <a:cubicBezTo>
                      <a:pt x="357" y="121"/>
                      <a:pt x="358" y="122"/>
                      <a:pt x="359" y="122"/>
                    </a:cubicBezTo>
                    <a:cubicBezTo>
                      <a:pt x="360" y="122"/>
                      <a:pt x="360" y="121"/>
                      <a:pt x="360" y="121"/>
                    </a:cubicBezTo>
                    <a:cubicBezTo>
                      <a:pt x="361" y="121"/>
                      <a:pt x="361" y="120"/>
                      <a:pt x="360" y="120"/>
                    </a:cubicBezTo>
                    <a:cubicBezTo>
                      <a:pt x="359" y="120"/>
                      <a:pt x="358" y="120"/>
                      <a:pt x="357" y="120"/>
                    </a:cubicBezTo>
                    <a:close/>
                    <a:moveTo>
                      <a:pt x="573" y="124"/>
                    </a:moveTo>
                    <a:cubicBezTo>
                      <a:pt x="573" y="123"/>
                      <a:pt x="572" y="124"/>
                      <a:pt x="571" y="124"/>
                    </a:cubicBezTo>
                    <a:cubicBezTo>
                      <a:pt x="570" y="125"/>
                      <a:pt x="569" y="124"/>
                      <a:pt x="568" y="125"/>
                    </a:cubicBezTo>
                    <a:cubicBezTo>
                      <a:pt x="568" y="126"/>
                      <a:pt x="568" y="127"/>
                      <a:pt x="569" y="127"/>
                    </a:cubicBezTo>
                    <a:cubicBezTo>
                      <a:pt x="570" y="128"/>
                      <a:pt x="571" y="127"/>
                      <a:pt x="572" y="127"/>
                    </a:cubicBezTo>
                    <a:cubicBezTo>
                      <a:pt x="574" y="127"/>
                      <a:pt x="575" y="128"/>
                      <a:pt x="576" y="127"/>
                    </a:cubicBezTo>
                    <a:cubicBezTo>
                      <a:pt x="577" y="127"/>
                      <a:pt x="577" y="127"/>
                      <a:pt x="578" y="126"/>
                    </a:cubicBezTo>
                    <a:cubicBezTo>
                      <a:pt x="578" y="125"/>
                      <a:pt x="577" y="125"/>
                      <a:pt x="576" y="125"/>
                    </a:cubicBezTo>
                    <a:cubicBezTo>
                      <a:pt x="576" y="125"/>
                      <a:pt x="576" y="125"/>
                      <a:pt x="575" y="125"/>
                    </a:cubicBezTo>
                    <a:cubicBezTo>
                      <a:pt x="575" y="125"/>
                      <a:pt x="575" y="125"/>
                      <a:pt x="574" y="125"/>
                    </a:cubicBezTo>
                    <a:cubicBezTo>
                      <a:pt x="574" y="125"/>
                      <a:pt x="572" y="125"/>
                      <a:pt x="572" y="124"/>
                    </a:cubicBezTo>
                    <a:cubicBezTo>
                      <a:pt x="572" y="124"/>
                      <a:pt x="574" y="124"/>
                      <a:pt x="573" y="124"/>
                    </a:cubicBezTo>
                    <a:close/>
                    <a:moveTo>
                      <a:pt x="450" y="54"/>
                    </a:moveTo>
                    <a:cubicBezTo>
                      <a:pt x="449" y="54"/>
                      <a:pt x="448" y="54"/>
                      <a:pt x="447" y="54"/>
                    </a:cubicBezTo>
                    <a:cubicBezTo>
                      <a:pt x="447" y="54"/>
                      <a:pt x="444" y="54"/>
                      <a:pt x="444" y="55"/>
                    </a:cubicBezTo>
                    <a:cubicBezTo>
                      <a:pt x="444" y="55"/>
                      <a:pt x="444" y="55"/>
                      <a:pt x="444" y="55"/>
                    </a:cubicBezTo>
                    <a:cubicBezTo>
                      <a:pt x="443" y="55"/>
                      <a:pt x="442" y="55"/>
                      <a:pt x="441" y="56"/>
                    </a:cubicBezTo>
                    <a:cubicBezTo>
                      <a:pt x="442" y="57"/>
                      <a:pt x="444" y="56"/>
                      <a:pt x="446" y="56"/>
                    </a:cubicBezTo>
                    <a:cubicBezTo>
                      <a:pt x="447" y="56"/>
                      <a:pt x="448" y="55"/>
                      <a:pt x="449" y="55"/>
                    </a:cubicBezTo>
                    <a:cubicBezTo>
                      <a:pt x="450" y="54"/>
                      <a:pt x="451" y="54"/>
                      <a:pt x="452" y="54"/>
                    </a:cubicBezTo>
                    <a:cubicBezTo>
                      <a:pt x="452" y="54"/>
                      <a:pt x="452" y="54"/>
                      <a:pt x="452" y="54"/>
                    </a:cubicBezTo>
                    <a:cubicBezTo>
                      <a:pt x="452" y="54"/>
                      <a:pt x="452" y="54"/>
                      <a:pt x="451" y="54"/>
                    </a:cubicBezTo>
                    <a:cubicBezTo>
                      <a:pt x="452" y="54"/>
                      <a:pt x="450" y="54"/>
                      <a:pt x="450" y="54"/>
                    </a:cubicBezTo>
                    <a:close/>
                    <a:moveTo>
                      <a:pt x="424" y="62"/>
                    </a:moveTo>
                    <a:cubicBezTo>
                      <a:pt x="426" y="62"/>
                      <a:pt x="427" y="62"/>
                      <a:pt x="429" y="62"/>
                    </a:cubicBezTo>
                    <a:cubicBezTo>
                      <a:pt x="430" y="62"/>
                      <a:pt x="431" y="62"/>
                      <a:pt x="432" y="61"/>
                    </a:cubicBezTo>
                    <a:cubicBezTo>
                      <a:pt x="433" y="61"/>
                      <a:pt x="433" y="60"/>
                      <a:pt x="434" y="59"/>
                    </a:cubicBezTo>
                    <a:cubicBezTo>
                      <a:pt x="433" y="59"/>
                      <a:pt x="433" y="59"/>
                      <a:pt x="432" y="59"/>
                    </a:cubicBezTo>
                    <a:cubicBezTo>
                      <a:pt x="431" y="59"/>
                      <a:pt x="430" y="59"/>
                      <a:pt x="429" y="59"/>
                    </a:cubicBezTo>
                    <a:cubicBezTo>
                      <a:pt x="429" y="59"/>
                      <a:pt x="426" y="60"/>
                      <a:pt x="427" y="60"/>
                    </a:cubicBezTo>
                    <a:cubicBezTo>
                      <a:pt x="426" y="60"/>
                      <a:pt x="425" y="61"/>
                      <a:pt x="424" y="61"/>
                    </a:cubicBezTo>
                    <a:cubicBezTo>
                      <a:pt x="424" y="61"/>
                      <a:pt x="424" y="61"/>
                      <a:pt x="424" y="62"/>
                    </a:cubicBezTo>
                    <a:close/>
                    <a:moveTo>
                      <a:pt x="450" y="72"/>
                    </a:moveTo>
                    <a:cubicBezTo>
                      <a:pt x="450" y="72"/>
                      <a:pt x="451" y="73"/>
                      <a:pt x="451" y="72"/>
                    </a:cubicBezTo>
                    <a:cubicBezTo>
                      <a:pt x="451" y="72"/>
                      <a:pt x="451" y="72"/>
                      <a:pt x="451" y="72"/>
                    </a:cubicBezTo>
                    <a:cubicBezTo>
                      <a:pt x="452" y="73"/>
                      <a:pt x="454" y="72"/>
                      <a:pt x="455" y="72"/>
                    </a:cubicBezTo>
                    <a:cubicBezTo>
                      <a:pt x="456" y="72"/>
                      <a:pt x="457" y="71"/>
                      <a:pt x="459" y="71"/>
                    </a:cubicBezTo>
                    <a:cubicBezTo>
                      <a:pt x="459" y="71"/>
                      <a:pt x="460" y="71"/>
                      <a:pt x="461" y="70"/>
                    </a:cubicBezTo>
                    <a:cubicBezTo>
                      <a:pt x="459" y="69"/>
                      <a:pt x="458" y="70"/>
                      <a:pt x="456" y="70"/>
                    </a:cubicBezTo>
                    <a:cubicBezTo>
                      <a:pt x="454" y="71"/>
                      <a:pt x="453" y="70"/>
                      <a:pt x="451" y="71"/>
                    </a:cubicBezTo>
                    <a:cubicBezTo>
                      <a:pt x="450" y="71"/>
                      <a:pt x="449" y="71"/>
                      <a:pt x="448" y="71"/>
                    </a:cubicBezTo>
                    <a:cubicBezTo>
                      <a:pt x="448" y="71"/>
                      <a:pt x="447" y="72"/>
                      <a:pt x="447" y="72"/>
                    </a:cubicBezTo>
                    <a:cubicBezTo>
                      <a:pt x="447" y="72"/>
                      <a:pt x="450" y="73"/>
                      <a:pt x="450" y="72"/>
                    </a:cubicBezTo>
                    <a:cubicBezTo>
                      <a:pt x="450" y="72"/>
                      <a:pt x="450" y="72"/>
                      <a:pt x="450" y="73"/>
                    </a:cubicBezTo>
                    <a:cubicBezTo>
                      <a:pt x="450" y="72"/>
                      <a:pt x="450" y="72"/>
                      <a:pt x="450" y="72"/>
                    </a:cubicBezTo>
                    <a:close/>
                    <a:moveTo>
                      <a:pt x="450" y="73"/>
                    </a:moveTo>
                    <a:cubicBezTo>
                      <a:pt x="450" y="73"/>
                      <a:pt x="450" y="73"/>
                      <a:pt x="450" y="73"/>
                    </a:cubicBezTo>
                    <a:cubicBezTo>
                      <a:pt x="450" y="73"/>
                      <a:pt x="450" y="73"/>
                      <a:pt x="450" y="73"/>
                    </a:cubicBezTo>
                    <a:close/>
                    <a:moveTo>
                      <a:pt x="448" y="72"/>
                    </a:moveTo>
                    <a:cubicBezTo>
                      <a:pt x="449" y="73"/>
                      <a:pt x="449" y="73"/>
                      <a:pt x="450" y="73"/>
                    </a:cubicBezTo>
                    <a:cubicBezTo>
                      <a:pt x="449" y="73"/>
                      <a:pt x="449" y="72"/>
                      <a:pt x="448" y="72"/>
                    </a:cubicBezTo>
                    <a:close/>
                    <a:moveTo>
                      <a:pt x="554" y="124"/>
                    </a:moveTo>
                    <a:cubicBezTo>
                      <a:pt x="552" y="125"/>
                      <a:pt x="551" y="126"/>
                      <a:pt x="550" y="126"/>
                    </a:cubicBezTo>
                    <a:cubicBezTo>
                      <a:pt x="549" y="127"/>
                      <a:pt x="548" y="128"/>
                      <a:pt x="548" y="129"/>
                    </a:cubicBezTo>
                    <a:cubicBezTo>
                      <a:pt x="548" y="129"/>
                      <a:pt x="547" y="130"/>
                      <a:pt x="547" y="131"/>
                    </a:cubicBezTo>
                    <a:cubicBezTo>
                      <a:pt x="547" y="131"/>
                      <a:pt x="547" y="132"/>
                      <a:pt x="547" y="132"/>
                    </a:cubicBezTo>
                    <a:cubicBezTo>
                      <a:pt x="549" y="133"/>
                      <a:pt x="550" y="132"/>
                      <a:pt x="551" y="132"/>
                    </a:cubicBezTo>
                    <a:cubicBezTo>
                      <a:pt x="553" y="132"/>
                      <a:pt x="554" y="132"/>
                      <a:pt x="555" y="132"/>
                    </a:cubicBezTo>
                    <a:cubicBezTo>
                      <a:pt x="555" y="132"/>
                      <a:pt x="556" y="132"/>
                      <a:pt x="556" y="132"/>
                    </a:cubicBezTo>
                    <a:cubicBezTo>
                      <a:pt x="557" y="132"/>
                      <a:pt x="558" y="132"/>
                      <a:pt x="558" y="131"/>
                    </a:cubicBezTo>
                    <a:cubicBezTo>
                      <a:pt x="559" y="131"/>
                      <a:pt x="560" y="131"/>
                      <a:pt x="560" y="131"/>
                    </a:cubicBezTo>
                    <a:cubicBezTo>
                      <a:pt x="561" y="130"/>
                      <a:pt x="561" y="130"/>
                      <a:pt x="562" y="130"/>
                    </a:cubicBezTo>
                    <a:cubicBezTo>
                      <a:pt x="563" y="130"/>
                      <a:pt x="564" y="129"/>
                      <a:pt x="564" y="128"/>
                    </a:cubicBezTo>
                    <a:cubicBezTo>
                      <a:pt x="564" y="128"/>
                      <a:pt x="565" y="127"/>
                      <a:pt x="565" y="127"/>
                    </a:cubicBezTo>
                    <a:cubicBezTo>
                      <a:pt x="565" y="127"/>
                      <a:pt x="565" y="126"/>
                      <a:pt x="565" y="126"/>
                    </a:cubicBezTo>
                    <a:cubicBezTo>
                      <a:pt x="565" y="125"/>
                      <a:pt x="567" y="125"/>
                      <a:pt x="567" y="124"/>
                    </a:cubicBezTo>
                    <a:cubicBezTo>
                      <a:pt x="568" y="124"/>
                      <a:pt x="567" y="123"/>
                      <a:pt x="566" y="123"/>
                    </a:cubicBezTo>
                    <a:cubicBezTo>
                      <a:pt x="565" y="123"/>
                      <a:pt x="565" y="122"/>
                      <a:pt x="564" y="122"/>
                    </a:cubicBezTo>
                    <a:cubicBezTo>
                      <a:pt x="564" y="122"/>
                      <a:pt x="563" y="122"/>
                      <a:pt x="563" y="122"/>
                    </a:cubicBezTo>
                    <a:cubicBezTo>
                      <a:pt x="562" y="122"/>
                      <a:pt x="560" y="123"/>
                      <a:pt x="560" y="122"/>
                    </a:cubicBezTo>
                    <a:cubicBezTo>
                      <a:pt x="560" y="122"/>
                      <a:pt x="558" y="123"/>
                      <a:pt x="558" y="123"/>
                    </a:cubicBezTo>
                    <a:cubicBezTo>
                      <a:pt x="556" y="123"/>
                      <a:pt x="555" y="124"/>
                      <a:pt x="554" y="124"/>
                    </a:cubicBezTo>
                    <a:close/>
                    <a:moveTo>
                      <a:pt x="481" y="144"/>
                    </a:moveTo>
                    <a:cubicBezTo>
                      <a:pt x="481" y="144"/>
                      <a:pt x="480" y="144"/>
                      <a:pt x="480" y="144"/>
                    </a:cubicBezTo>
                    <a:cubicBezTo>
                      <a:pt x="480" y="144"/>
                      <a:pt x="480" y="144"/>
                      <a:pt x="480" y="144"/>
                    </a:cubicBezTo>
                    <a:cubicBezTo>
                      <a:pt x="479" y="144"/>
                      <a:pt x="479" y="145"/>
                      <a:pt x="478" y="146"/>
                    </a:cubicBezTo>
                    <a:cubicBezTo>
                      <a:pt x="478" y="146"/>
                      <a:pt x="478" y="146"/>
                      <a:pt x="478" y="147"/>
                    </a:cubicBezTo>
                    <a:cubicBezTo>
                      <a:pt x="478" y="147"/>
                      <a:pt x="479" y="147"/>
                      <a:pt x="479" y="148"/>
                    </a:cubicBezTo>
                    <a:cubicBezTo>
                      <a:pt x="479" y="148"/>
                      <a:pt x="478" y="149"/>
                      <a:pt x="479" y="149"/>
                    </a:cubicBezTo>
                    <a:cubicBezTo>
                      <a:pt x="479" y="148"/>
                      <a:pt x="480" y="148"/>
                      <a:pt x="480" y="148"/>
                    </a:cubicBezTo>
                    <a:cubicBezTo>
                      <a:pt x="481" y="148"/>
                      <a:pt x="481" y="146"/>
                      <a:pt x="481" y="145"/>
                    </a:cubicBezTo>
                    <a:cubicBezTo>
                      <a:pt x="480" y="145"/>
                      <a:pt x="481" y="145"/>
                      <a:pt x="481" y="144"/>
                    </a:cubicBezTo>
                    <a:close/>
                    <a:moveTo>
                      <a:pt x="540" y="109"/>
                    </a:moveTo>
                    <a:cubicBezTo>
                      <a:pt x="540" y="109"/>
                      <a:pt x="539" y="109"/>
                      <a:pt x="538" y="109"/>
                    </a:cubicBezTo>
                    <a:cubicBezTo>
                      <a:pt x="537" y="109"/>
                      <a:pt x="538" y="110"/>
                      <a:pt x="538" y="110"/>
                    </a:cubicBezTo>
                    <a:cubicBezTo>
                      <a:pt x="539" y="110"/>
                      <a:pt x="541" y="110"/>
                      <a:pt x="540" y="111"/>
                    </a:cubicBezTo>
                    <a:cubicBezTo>
                      <a:pt x="540" y="111"/>
                      <a:pt x="541" y="110"/>
                      <a:pt x="541" y="110"/>
                    </a:cubicBezTo>
                    <a:cubicBezTo>
                      <a:pt x="541" y="110"/>
                      <a:pt x="541" y="111"/>
                      <a:pt x="541" y="111"/>
                    </a:cubicBezTo>
                    <a:cubicBezTo>
                      <a:pt x="541" y="111"/>
                      <a:pt x="541" y="111"/>
                      <a:pt x="542" y="111"/>
                    </a:cubicBezTo>
                    <a:cubicBezTo>
                      <a:pt x="543" y="111"/>
                      <a:pt x="542" y="111"/>
                      <a:pt x="542" y="110"/>
                    </a:cubicBezTo>
                    <a:cubicBezTo>
                      <a:pt x="542" y="110"/>
                      <a:pt x="543" y="110"/>
                      <a:pt x="544" y="110"/>
                    </a:cubicBezTo>
                    <a:cubicBezTo>
                      <a:pt x="545" y="110"/>
                      <a:pt x="546" y="110"/>
                      <a:pt x="547" y="110"/>
                    </a:cubicBezTo>
                    <a:cubicBezTo>
                      <a:pt x="547" y="110"/>
                      <a:pt x="549" y="109"/>
                      <a:pt x="548" y="109"/>
                    </a:cubicBezTo>
                    <a:cubicBezTo>
                      <a:pt x="549" y="108"/>
                      <a:pt x="546" y="108"/>
                      <a:pt x="546" y="109"/>
                    </a:cubicBezTo>
                    <a:cubicBezTo>
                      <a:pt x="545" y="109"/>
                      <a:pt x="545" y="109"/>
                      <a:pt x="544" y="109"/>
                    </a:cubicBezTo>
                    <a:cubicBezTo>
                      <a:pt x="544" y="109"/>
                      <a:pt x="544" y="109"/>
                      <a:pt x="543" y="109"/>
                    </a:cubicBezTo>
                    <a:cubicBezTo>
                      <a:pt x="543" y="109"/>
                      <a:pt x="543" y="109"/>
                      <a:pt x="543" y="109"/>
                    </a:cubicBezTo>
                    <a:cubicBezTo>
                      <a:pt x="543" y="109"/>
                      <a:pt x="543" y="109"/>
                      <a:pt x="543" y="109"/>
                    </a:cubicBezTo>
                    <a:cubicBezTo>
                      <a:pt x="542" y="108"/>
                      <a:pt x="542" y="109"/>
                      <a:pt x="542" y="109"/>
                    </a:cubicBezTo>
                    <a:cubicBezTo>
                      <a:pt x="542" y="108"/>
                      <a:pt x="539" y="109"/>
                      <a:pt x="541" y="109"/>
                    </a:cubicBezTo>
                    <a:cubicBezTo>
                      <a:pt x="541" y="109"/>
                      <a:pt x="540" y="110"/>
                      <a:pt x="540" y="110"/>
                    </a:cubicBezTo>
                    <a:cubicBezTo>
                      <a:pt x="540" y="110"/>
                      <a:pt x="540" y="109"/>
                      <a:pt x="540" y="109"/>
                    </a:cubicBezTo>
                    <a:close/>
                    <a:moveTo>
                      <a:pt x="554" y="110"/>
                    </a:moveTo>
                    <a:cubicBezTo>
                      <a:pt x="554" y="110"/>
                      <a:pt x="553" y="110"/>
                      <a:pt x="553" y="110"/>
                    </a:cubicBezTo>
                    <a:cubicBezTo>
                      <a:pt x="552" y="110"/>
                      <a:pt x="550" y="111"/>
                      <a:pt x="550" y="112"/>
                    </a:cubicBezTo>
                    <a:cubicBezTo>
                      <a:pt x="550" y="112"/>
                      <a:pt x="552" y="111"/>
                      <a:pt x="552" y="111"/>
                    </a:cubicBezTo>
                    <a:cubicBezTo>
                      <a:pt x="552" y="112"/>
                      <a:pt x="554" y="111"/>
                      <a:pt x="554" y="111"/>
                    </a:cubicBezTo>
                    <a:cubicBezTo>
                      <a:pt x="555" y="111"/>
                      <a:pt x="559" y="110"/>
                      <a:pt x="557" y="109"/>
                    </a:cubicBezTo>
                    <a:cubicBezTo>
                      <a:pt x="556" y="109"/>
                      <a:pt x="556" y="110"/>
                      <a:pt x="555" y="110"/>
                    </a:cubicBezTo>
                    <a:cubicBezTo>
                      <a:pt x="555" y="109"/>
                      <a:pt x="555" y="110"/>
                      <a:pt x="554" y="110"/>
                    </a:cubicBezTo>
                    <a:close/>
                    <a:moveTo>
                      <a:pt x="657" y="137"/>
                    </a:moveTo>
                    <a:cubicBezTo>
                      <a:pt x="657" y="139"/>
                      <a:pt x="656" y="138"/>
                      <a:pt x="655" y="139"/>
                    </a:cubicBezTo>
                    <a:cubicBezTo>
                      <a:pt x="654" y="139"/>
                      <a:pt x="654" y="138"/>
                      <a:pt x="653" y="138"/>
                    </a:cubicBezTo>
                    <a:cubicBezTo>
                      <a:pt x="653" y="138"/>
                      <a:pt x="652" y="138"/>
                      <a:pt x="652" y="138"/>
                    </a:cubicBezTo>
                    <a:cubicBezTo>
                      <a:pt x="651" y="138"/>
                      <a:pt x="651" y="138"/>
                      <a:pt x="650" y="138"/>
                    </a:cubicBezTo>
                    <a:cubicBezTo>
                      <a:pt x="651" y="139"/>
                      <a:pt x="651" y="138"/>
                      <a:pt x="652" y="138"/>
                    </a:cubicBezTo>
                    <a:cubicBezTo>
                      <a:pt x="652" y="138"/>
                      <a:pt x="653" y="138"/>
                      <a:pt x="653" y="139"/>
                    </a:cubicBezTo>
                    <a:cubicBezTo>
                      <a:pt x="654" y="140"/>
                      <a:pt x="653" y="140"/>
                      <a:pt x="653" y="140"/>
                    </a:cubicBezTo>
                    <a:cubicBezTo>
                      <a:pt x="652" y="140"/>
                      <a:pt x="651" y="140"/>
                      <a:pt x="651" y="140"/>
                    </a:cubicBezTo>
                    <a:cubicBezTo>
                      <a:pt x="651" y="141"/>
                      <a:pt x="652" y="140"/>
                      <a:pt x="652" y="140"/>
                    </a:cubicBezTo>
                    <a:cubicBezTo>
                      <a:pt x="653" y="140"/>
                      <a:pt x="653" y="140"/>
                      <a:pt x="654" y="141"/>
                    </a:cubicBezTo>
                    <a:cubicBezTo>
                      <a:pt x="653" y="141"/>
                      <a:pt x="652" y="141"/>
                      <a:pt x="651" y="141"/>
                    </a:cubicBezTo>
                    <a:cubicBezTo>
                      <a:pt x="650" y="141"/>
                      <a:pt x="650" y="141"/>
                      <a:pt x="649" y="141"/>
                    </a:cubicBezTo>
                    <a:cubicBezTo>
                      <a:pt x="648" y="141"/>
                      <a:pt x="648" y="141"/>
                      <a:pt x="648" y="141"/>
                    </a:cubicBezTo>
                    <a:cubicBezTo>
                      <a:pt x="649" y="140"/>
                      <a:pt x="649" y="140"/>
                      <a:pt x="648" y="140"/>
                    </a:cubicBezTo>
                    <a:cubicBezTo>
                      <a:pt x="647" y="140"/>
                      <a:pt x="646" y="140"/>
                      <a:pt x="645" y="140"/>
                    </a:cubicBezTo>
                    <a:cubicBezTo>
                      <a:pt x="646" y="141"/>
                      <a:pt x="646" y="140"/>
                      <a:pt x="647" y="140"/>
                    </a:cubicBezTo>
                    <a:cubicBezTo>
                      <a:pt x="647" y="140"/>
                      <a:pt x="647" y="141"/>
                      <a:pt x="647" y="141"/>
                    </a:cubicBezTo>
                    <a:cubicBezTo>
                      <a:pt x="647" y="142"/>
                      <a:pt x="645" y="142"/>
                      <a:pt x="645" y="142"/>
                    </a:cubicBezTo>
                    <a:cubicBezTo>
                      <a:pt x="644" y="142"/>
                      <a:pt x="644" y="141"/>
                      <a:pt x="643" y="141"/>
                    </a:cubicBezTo>
                    <a:cubicBezTo>
                      <a:pt x="644" y="141"/>
                      <a:pt x="644" y="142"/>
                      <a:pt x="644" y="142"/>
                    </a:cubicBezTo>
                    <a:cubicBezTo>
                      <a:pt x="644" y="143"/>
                      <a:pt x="645" y="142"/>
                      <a:pt x="645" y="142"/>
                    </a:cubicBezTo>
                    <a:cubicBezTo>
                      <a:pt x="645" y="142"/>
                      <a:pt x="646" y="142"/>
                      <a:pt x="646" y="142"/>
                    </a:cubicBezTo>
                    <a:cubicBezTo>
                      <a:pt x="647" y="143"/>
                      <a:pt x="647" y="143"/>
                      <a:pt x="648" y="143"/>
                    </a:cubicBezTo>
                    <a:cubicBezTo>
                      <a:pt x="648" y="143"/>
                      <a:pt x="647" y="143"/>
                      <a:pt x="648" y="143"/>
                    </a:cubicBezTo>
                    <a:cubicBezTo>
                      <a:pt x="648" y="143"/>
                      <a:pt x="648" y="143"/>
                      <a:pt x="648" y="143"/>
                    </a:cubicBezTo>
                    <a:cubicBezTo>
                      <a:pt x="648" y="143"/>
                      <a:pt x="648" y="143"/>
                      <a:pt x="648" y="144"/>
                    </a:cubicBezTo>
                    <a:cubicBezTo>
                      <a:pt x="648" y="144"/>
                      <a:pt x="648" y="144"/>
                      <a:pt x="648" y="144"/>
                    </a:cubicBezTo>
                    <a:cubicBezTo>
                      <a:pt x="648" y="144"/>
                      <a:pt x="649" y="144"/>
                      <a:pt x="648" y="144"/>
                    </a:cubicBezTo>
                    <a:cubicBezTo>
                      <a:pt x="647" y="144"/>
                      <a:pt x="646" y="144"/>
                      <a:pt x="645" y="144"/>
                    </a:cubicBezTo>
                    <a:cubicBezTo>
                      <a:pt x="645" y="144"/>
                      <a:pt x="644" y="144"/>
                      <a:pt x="644" y="144"/>
                    </a:cubicBezTo>
                    <a:cubicBezTo>
                      <a:pt x="643" y="144"/>
                      <a:pt x="643" y="144"/>
                      <a:pt x="642" y="144"/>
                    </a:cubicBezTo>
                    <a:cubicBezTo>
                      <a:pt x="642" y="144"/>
                      <a:pt x="642" y="143"/>
                      <a:pt x="642" y="143"/>
                    </a:cubicBezTo>
                    <a:cubicBezTo>
                      <a:pt x="642" y="143"/>
                      <a:pt x="641" y="143"/>
                      <a:pt x="641" y="143"/>
                    </a:cubicBezTo>
                    <a:cubicBezTo>
                      <a:pt x="641" y="143"/>
                      <a:pt x="642" y="143"/>
                      <a:pt x="642" y="143"/>
                    </a:cubicBezTo>
                    <a:cubicBezTo>
                      <a:pt x="642" y="144"/>
                      <a:pt x="642" y="144"/>
                      <a:pt x="643" y="144"/>
                    </a:cubicBezTo>
                    <a:cubicBezTo>
                      <a:pt x="643" y="144"/>
                      <a:pt x="644" y="144"/>
                      <a:pt x="645" y="144"/>
                    </a:cubicBezTo>
                    <a:cubicBezTo>
                      <a:pt x="645" y="145"/>
                      <a:pt x="645" y="145"/>
                      <a:pt x="644" y="145"/>
                    </a:cubicBezTo>
                    <a:cubicBezTo>
                      <a:pt x="644" y="145"/>
                      <a:pt x="645" y="145"/>
                      <a:pt x="645" y="145"/>
                    </a:cubicBezTo>
                    <a:cubicBezTo>
                      <a:pt x="645" y="145"/>
                      <a:pt x="645" y="146"/>
                      <a:pt x="645" y="146"/>
                    </a:cubicBezTo>
                    <a:cubicBezTo>
                      <a:pt x="645" y="146"/>
                      <a:pt x="644" y="146"/>
                      <a:pt x="644" y="146"/>
                    </a:cubicBezTo>
                    <a:cubicBezTo>
                      <a:pt x="643" y="146"/>
                      <a:pt x="643" y="146"/>
                      <a:pt x="642" y="146"/>
                    </a:cubicBezTo>
                    <a:cubicBezTo>
                      <a:pt x="642" y="146"/>
                      <a:pt x="642" y="146"/>
                      <a:pt x="642" y="145"/>
                    </a:cubicBezTo>
                    <a:cubicBezTo>
                      <a:pt x="642" y="145"/>
                      <a:pt x="641" y="145"/>
                      <a:pt x="641" y="145"/>
                    </a:cubicBezTo>
                    <a:cubicBezTo>
                      <a:pt x="641" y="146"/>
                      <a:pt x="642" y="146"/>
                      <a:pt x="642" y="146"/>
                    </a:cubicBezTo>
                    <a:cubicBezTo>
                      <a:pt x="643" y="147"/>
                      <a:pt x="641" y="147"/>
                      <a:pt x="641" y="147"/>
                    </a:cubicBezTo>
                    <a:cubicBezTo>
                      <a:pt x="641" y="147"/>
                      <a:pt x="641" y="147"/>
                      <a:pt x="641" y="147"/>
                    </a:cubicBezTo>
                    <a:cubicBezTo>
                      <a:pt x="642" y="147"/>
                      <a:pt x="642" y="147"/>
                      <a:pt x="642" y="147"/>
                    </a:cubicBezTo>
                    <a:cubicBezTo>
                      <a:pt x="642" y="148"/>
                      <a:pt x="641" y="148"/>
                      <a:pt x="641" y="148"/>
                    </a:cubicBezTo>
                    <a:cubicBezTo>
                      <a:pt x="641" y="148"/>
                      <a:pt x="641" y="148"/>
                      <a:pt x="641" y="148"/>
                    </a:cubicBezTo>
                    <a:cubicBezTo>
                      <a:pt x="641" y="148"/>
                      <a:pt x="640" y="149"/>
                      <a:pt x="640" y="148"/>
                    </a:cubicBezTo>
                    <a:cubicBezTo>
                      <a:pt x="640" y="148"/>
                      <a:pt x="640" y="146"/>
                      <a:pt x="640" y="147"/>
                    </a:cubicBezTo>
                    <a:cubicBezTo>
                      <a:pt x="640" y="147"/>
                      <a:pt x="639" y="148"/>
                      <a:pt x="638" y="148"/>
                    </a:cubicBezTo>
                    <a:cubicBezTo>
                      <a:pt x="638" y="148"/>
                      <a:pt x="639" y="148"/>
                      <a:pt x="638" y="148"/>
                    </a:cubicBezTo>
                    <a:cubicBezTo>
                      <a:pt x="638" y="148"/>
                      <a:pt x="637" y="148"/>
                      <a:pt x="637" y="147"/>
                    </a:cubicBezTo>
                    <a:cubicBezTo>
                      <a:pt x="637" y="147"/>
                      <a:pt x="637" y="146"/>
                      <a:pt x="637" y="146"/>
                    </a:cubicBezTo>
                    <a:cubicBezTo>
                      <a:pt x="637" y="146"/>
                      <a:pt x="637" y="145"/>
                      <a:pt x="637" y="145"/>
                    </a:cubicBezTo>
                    <a:cubicBezTo>
                      <a:pt x="636" y="145"/>
                      <a:pt x="636" y="147"/>
                      <a:pt x="636" y="147"/>
                    </a:cubicBezTo>
                    <a:cubicBezTo>
                      <a:pt x="636" y="148"/>
                      <a:pt x="634" y="147"/>
                      <a:pt x="634" y="147"/>
                    </a:cubicBezTo>
                    <a:cubicBezTo>
                      <a:pt x="633" y="148"/>
                      <a:pt x="636" y="147"/>
                      <a:pt x="636" y="148"/>
                    </a:cubicBezTo>
                    <a:cubicBezTo>
                      <a:pt x="636" y="149"/>
                      <a:pt x="635" y="149"/>
                      <a:pt x="635" y="149"/>
                    </a:cubicBezTo>
                    <a:cubicBezTo>
                      <a:pt x="634" y="149"/>
                      <a:pt x="634" y="148"/>
                      <a:pt x="634" y="148"/>
                    </a:cubicBezTo>
                    <a:cubicBezTo>
                      <a:pt x="634" y="148"/>
                      <a:pt x="634" y="149"/>
                      <a:pt x="634" y="149"/>
                    </a:cubicBezTo>
                    <a:cubicBezTo>
                      <a:pt x="634" y="149"/>
                      <a:pt x="634" y="149"/>
                      <a:pt x="634" y="149"/>
                    </a:cubicBezTo>
                    <a:cubicBezTo>
                      <a:pt x="634" y="149"/>
                      <a:pt x="635" y="149"/>
                      <a:pt x="635" y="150"/>
                    </a:cubicBezTo>
                    <a:cubicBezTo>
                      <a:pt x="635" y="149"/>
                      <a:pt x="634" y="150"/>
                      <a:pt x="634" y="149"/>
                    </a:cubicBezTo>
                    <a:cubicBezTo>
                      <a:pt x="634" y="149"/>
                      <a:pt x="633" y="149"/>
                      <a:pt x="633" y="149"/>
                    </a:cubicBezTo>
                    <a:cubicBezTo>
                      <a:pt x="633" y="150"/>
                      <a:pt x="634" y="150"/>
                      <a:pt x="634" y="150"/>
                    </a:cubicBezTo>
                    <a:cubicBezTo>
                      <a:pt x="634" y="150"/>
                      <a:pt x="634" y="150"/>
                      <a:pt x="633" y="150"/>
                    </a:cubicBezTo>
                    <a:cubicBezTo>
                      <a:pt x="634" y="150"/>
                      <a:pt x="634" y="151"/>
                      <a:pt x="634" y="151"/>
                    </a:cubicBezTo>
                    <a:cubicBezTo>
                      <a:pt x="634" y="151"/>
                      <a:pt x="633" y="151"/>
                      <a:pt x="633" y="151"/>
                    </a:cubicBezTo>
                    <a:cubicBezTo>
                      <a:pt x="634" y="151"/>
                      <a:pt x="634" y="151"/>
                      <a:pt x="634" y="151"/>
                    </a:cubicBezTo>
                    <a:cubicBezTo>
                      <a:pt x="634" y="152"/>
                      <a:pt x="633" y="151"/>
                      <a:pt x="633" y="152"/>
                    </a:cubicBezTo>
                    <a:cubicBezTo>
                      <a:pt x="633" y="152"/>
                      <a:pt x="634" y="152"/>
                      <a:pt x="634" y="152"/>
                    </a:cubicBezTo>
                    <a:cubicBezTo>
                      <a:pt x="634" y="152"/>
                      <a:pt x="633" y="152"/>
                      <a:pt x="632" y="152"/>
                    </a:cubicBezTo>
                    <a:cubicBezTo>
                      <a:pt x="633" y="152"/>
                      <a:pt x="633" y="152"/>
                      <a:pt x="633" y="152"/>
                    </a:cubicBezTo>
                    <a:cubicBezTo>
                      <a:pt x="633" y="152"/>
                      <a:pt x="633" y="152"/>
                      <a:pt x="632" y="152"/>
                    </a:cubicBezTo>
                    <a:cubicBezTo>
                      <a:pt x="633" y="152"/>
                      <a:pt x="633" y="152"/>
                      <a:pt x="633" y="152"/>
                    </a:cubicBezTo>
                    <a:cubicBezTo>
                      <a:pt x="633" y="153"/>
                      <a:pt x="633" y="153"/>
                      <a:pt x="632" y="153"/>
                    </a:cubicBezTo>
                    <a:cubicBezTo>
                      <a:pt x="633" y="153"/>
                      <a:pt x="633" y="153"/>
                      <a:pt x="633" y="153"/>
                    </a:cubicBezTo>
                    <a:cubicBezTo>
                      <a:pt x="632" y="153"/>
                      <a:pt x="632" y="153"/>
                      <a:pt x="632" y="153"/>
                    </a:cubicBezTo>
                    <a:cubicBezTo>
                      <a:pt x="633" y="153"/>
                      <a:pt x="632" y="154"/>
                      <a:pt x="631" y="154"/>
                    </a:cubicBezTo>
                    <a:cubicBezTo>
                      <a:pt x="631" y="154"/>
                      <a:pt x="631" y="155"/>
                      <a:pt x="630" y="155"/>
                    </a:cubicBezTo>
                    <a:cubicBezTo>
                      <a:pt x="630" y="155"/>
                      <a:pt x="631" y="154"/>
                      <a:pt x="630" y="154"/>
                    </a:cubicBezTo>
                    <a:cubicBezTo>
                      <a:pt x="630" y="154"/>
                      <a:pt x="629" y="154"/>
                      <a:pt x="629" y="154"/>
                    </a:cubicBezTo>
                    <a:cubicBezTo>
                      <a:pt x="629" y="154"/>
                      <a:pt x="630" y="154"/>
                      <a:pt x="630" y="153"/>
                    </a:cubicBezTo>
                    <a:cubicBezTo>
                      <a:pt x="630" y="153"/>
                      <a:pt x="629" y="154"/>
                      <a:pt x="629" y="153"/>
                    </a:cubicBezTo>
                    <a:cubicBezTo>
                      <a:pt x="628" y="153"/>
                      <a:pt x="630" y="152"/>
                      <a:pt x="630" y="152"/>
                    </a:cubicBezTo>
                    <a:cubicBezTo>
                      <a:pt x="630" y="152"/>
                      <a:pt x="629" y="152"/>
                      <a:pt x="629" y="152"/>
                    </a:cubicBezTo>
                    <a:cubicBezTo>
                      <a:pt x="629" y="153"/>
                      <a:pt x="628" y="153"/>
                      <a:pt x="628" y="153"/>
                    </a:cubicBezTo>
                    <a:cubicBezTo>
                      <a:pt x="628" y="153"/>
                      <a:pt x="627" y="154"/>
                      <a:pt x="627" y="153"/>
                    </a:cubicBezTo>
                    <a:cubicBezTo>
                      <a:pt x="627" y="153"/>
                      <a:pt x="626" y="153"/>
                      <a:pt x="626" y="153"/>
                    </a:cubicBezTo>
                    <a:cubicBezTo>
                      <a:pt x="627" y="152"/>
                      <a:pt x="628" y="152"/>
                      <a:pt x="628" y="152"/>
                    </a:cubicBezTo>
                    <a:cubicBezTo>
                      <a:pt x="627" y="152"/>
                      <a:pt x="627" y="152"/>
                      <a:pt x="626" y="152"/>
                    </a:cubicBezTo>
                    <a:cubicBezTo>
                      <a:pt x="626" y="151"/>
                      <a:pt x="627" y="152"/>
                      <a:pt x="627" y="151"/>
                    </a:cubicBezTo>
                    <a:cubicBezTo>
                      <a:pt x="627" y="151"/>
                      <a:pt x="626" y="151"/>
                      <a:pt x="626" y="151"/>
                    </a:cubicBezTo>
                    <a:cubicBezTo>
                      <a:pt x="627" y="151"/>
                      <a:pt x="628" y="150"/>
                      <a:pt x="628" y="150"/>
                    </a:cubicBezTo>
                    <a:cubicBezTo>
                      <a:pt x="628" y="150"/>
                      <a:pt x="626" y="151"/>
                      <a:pt x="626" y="151"/>
                    </a:cubicBezTo>
                    <a:cubicBezTo>
                      <a:pt x="625" y="152"/>
                      <a:pt x="625" y="153"/>
                      <a:pt x="624" y="153"/>
                    </a:cubicBezTo>
                    <a:cubicBezTo>
                      <a:pt x="624" y="153"/>
                      <a:pt x="624" y="153"/>
                      <a:pt x="624" y="153"/>
                    </a:cubicBezTo>
                    <a:cubicBezTo>
                      <a:pt x="624" y="152"/>
                      <a:pt x="624" y="152"/>
                      <a:pt x="624" y="152"/>
                    </a:cubicBezTo>
                    <a:cubicBezTo>
                      <a:pt x="624" y="152"/>
                      <a:pt x="624" y="152"/>
                      <a:pt x="623" y="152"/>
                    </a:cubicBezTo>
                    <a:cubicBezTo>
                      <a:pt x="624" y="152"/>
                      <a:pt x="624" y="152"/>
                      <a:pt x="624" y="151"/>
                    </a:cubicBezTo>
                    <a:cubicBezTo>
                      <a:pt x="624" y="151"/>
                      <a:pt x="624" y="151"/>
                      <a:pt x="623" y="151"/>
                    </a:cubicBezTo>
                    <a:cubicBezTo>
                      <a:pt x="623" y="152"/>
                      <a:pt x="622" y="151"/>
                      <a:pt x="623" y="151"/>
                    </a:cubicBezTo>
                    <a:cubicBezTo>
                      <a:pt x="623" y="151"/>
                      <a:pt x="623" y="151"/>
                      <a:pt x="623" y="151"/>
                    </a:cubicBezTo>
                    <a:cubicBezTo>
                      <a:pt x="623" y="151"/>
                      <a:pt x="624" y="151"/>
                      <a:pt x="625" y="151"/>
                    </a:cubicBezTo>
                    <a:cubicBezTo>
                      <a:pt x="624" y="151"/>
                      <a:pt x="624" y="151"/>
                      <a:pt x="623" y="151"/>
                    </a:cubicBezTo>
                    <a:cubicBezTo>
                      <a:pt x="624" y="150"/>
                      <a:pt x="625" y="150"/>
                      <a:pt x="625" y="150"/>
                    </a:cubicBezTo>
                    <a:cubicBezTo>
                      <a:pt x="626" y="149"/>
                      <a:pt x="627" y="150"/>
                      <a:pt x="627" y="149"/>
                    </a:cubicBezTo>
                    <a:cubicBezTo>
                      <a:pt x="627" y="149"/>
                      <a:pt x="627" y="150"/>
                      <a:pt x="627" y="150"/>
                    </a:cubicBezTo>
                    <a:cubicBezTo>
                      <a:pt x="627" y="149"/>
                      <a:pt x="625" y="150"/>
                      <a:pt x="624" y="150"/>
                    </a:cubicBezTo>
                    <a:cubicBezTo>
                      <a:pt x="624" y="150"/>
                      <a:pt x="623" y="150"/>
                      <a:pt x="623" y="150"/>
                    </a:cubicBezTo>
                    <a:cubicBezTo>
                      <a:pt x="623" y="150"/>
                      <a:pt x="622" y="150"/>
                      <a:pt x="622" y="150"/>
                    </a:cubicBezTo>
                    <a:cubicBezTo>
                      <a:pt x="621" y="150"/>
                      <a:pt x="622" y="149"/>
                      <a:pt x="623" y="149"/>
                    </a:cubicBezTo>
                    <a:cubicBezTo>
                      <a:pt x="624" y="149"/>
                      <a:pt x="625" y="149"/>
                      <a:pt x="625" y="148"/>
                    </a:cubicBezTo>
                    <a:cubicBezTo>
                      <a:pt x="625" y="148"/>
                      <a:pt x="626" y="148"/>
                      <a:pt x="626" y="148"/>
                    </a:cubicBezTo>
                    <a:cubicBezTo>
                      <a:pt x="625" y="147"/>
                      <a:pt x="624" y="148"/>
                      <a:pt x="623" y="149"/>
                    </a:cubicBezTo>
                    <a:cubicBezTo>
                      <a:pt x="623" y="149"/>
                      <a:pt x="621" y="149"/>
                      <a:pt x="622" y="148"/>
                    </a:cubicBezTo>
                    <a:cubicBezTo>
                      <a:pt x="622" y="148"/>
                      <a:pt x="622" y="148"/>
                      <a:pt x="621" y="148"/>
                    </a:cubicBezTo>
                    <a:cubicBezTo>
                      <a:pt x="621" y="149"/>
                      <a:pt x="622" y="148"/>
                      <a:pt x="622" y="148"/>
                    </a:cubicBezTo>
                    <a:cubicBezTo>
                      <a:pt x="623" y="148"/>
                      <a:pt x="623" y="148"/>
                      <a:pt x="624" y="147"/>
                    </a:cubicBezTo>
                    <a:cubicBezTo>
                      <a:pt x="624" y="147"/>
                      <a:pt x="626" y="147"/>
                      <a:pt x="626" y="147"/>
                    </a:cubicBezTo>
                    <a:cubicBezTo>
                      <a:pt x="626" y="147"/>
                      <a:pt x="624" y="147"/>
                      <a:pt x="624" y="147"/>
                    </a:cubicBezTo>
                    <a:cubicBezTo>
                      <a:pt x="623" y="147"/>
                      <a:pt x="623" y="148"/>
                      <a:pt x="622" y="147"/>
                    </a:cubicBezTo>
                    <a:cubicBezTo>
                      <a:pt x="622" y="147"/>
                      <a:pt x="621" y="147"/>
                      <a:pt x="621" y="147"/>
                    </a:cubicBezTo>
                    <a:cubicBezTo>
                      <a:pt x="621" y="147"/>
                      <a:pt x="622" y="147"/>
                      <a:pt x="622" y="146"/>
                    </a:cubicBezTo>
                    <a:cubicBezTo>
                      <a:pt x="622" y="146"/>
                      <a:pt x="621" y="147"/>
                      <a:pt x="621" y="147"/>
                    </a:cubicBezTo>
                    <a:cubicBezTo>
                      <a:pt x="621" y="147"/>
                      <a:pt x="622" y="146"/>
                      <a:pt x="622" y="146"/>
                    </a:cubicBezTo>
                    <a:cubicBezTo>
                      <a:pt x="622" y="145"/>
                      <a:pt x="623" y="145"/>
                      <a:pt x="624" y="145"/>
                    </a:cubicBezTo>
                    <a:cubicBezTo>
                      <a:pt x="625" y="145"/>
                      <a:pt x="626" y="144"/>
                      <a:pt x="627" y="144"/>
                    </a:cubicBezTo>
                    <a:cubicBezTo>
                      <a:pt x="627" y="144"/>
                      <a:pt x="628" y="145"/>
                      <a:pt x="628" y="144"/>
                    </a:cubicBezTo>
                    <a:cubicBezTo>
                      <a:pt x="628" y="144"/>
                      <a:pt x="627" y="144"/>
                      <a:pt x="628" y="144"/>
                    </a:cubicBezTo>
                    <a:cubicBezTo>
                      <a:pt x="628" y="143"/>
                      <a:pt x="629" y="143"/>
                      <a:pt x="629" y="142"/>
                    </a:cubicBezTo>
                    <a:cubicBezTo>
                      <a:pt x="630" y="142"/>
                      <a:pt x="631" y="142"/>
                      <a:pt x="631" y="141"/>
                    </a:cubicBezTo>
                    <a:cubicBezTo>
                      <a:pt x="632" y="141"/>
                      <a:pt x="633" y="141"/>
                      <a:pt x="633" y="141"/>
                    </a:cubicBezTo>
                    <a:cubicBezTo>
                      <a:pt x="632" y="141"/>
                      <a:pt x="632" y="141"/>
                      <a:pt x="632" y="141"/>
                    </a:cubicBezTo>
                    <a:cubicBezTo>
                      <a:pt x="631" y="141"/>
                      <a:pt x="631" y="141"/>
                      <a:pt x="630" y="142"/>
                    </a:cubicBezTo>
                    <a:cubicBezTo>
                      <a:pt x="629" y="142"/>
                      <a:pt x="629" y="142"/>
                      <a:pt x="628" y="143"/>
                    </a:cubicBezTo>
                    <a:cubicBezTo>
                      <a:pt x="627" y="143"/>
                      <a:pt x="626" y="144"/>
                      <a:pt x="626" y="144"/>
                    </a:cubicBezTo>
                    <a:cubicBezTo>
                      <a:pt x="625" y="144"/>
                      <a:pt x="625" y="144"/>
                      <a:pt x="624" y="144"/>
                    </a:cubicBezTo>
                    <a:cubicBezTo>
                      <a:pt x="624" y="144"/>
                      <a:pt x="624" y="144"/>
                      <a:pt x="623" y="144"/>
                    </a:cubicBezTo>
                    <a:cubicBezTo>
                      <a:pt x="623" y="145"/>
                      <a:pt x="621" y="144"/>
                      <a:pt x="621" y="145"/>
                    </a:cubicBezTo>
                    <a:cubicBezTo>
                      <a:pt x="620" y="145"/>
                      <a:pt x="619" y="145"/>
                      <a:pt x="620" y="144"/>
                    </a:cubicBezTo>
                    <a:cubicBezTo>
                      <a:pt x="620" y="143"/>
                      <a:pt x="621" y="143"/>
                      <a:pt x="622" y="143"/>
                    </a:cubicBezTo>
                    <a:cubicBezTo>
                      <a:pt x="623" y="142"/>
                      <a:pt x="624" y="141"/>
                      <a:pt x="625" y="141"/>
                    </a:cubicBezTo>
                    <a:cubicBezTo>
                      <a:pt x="624" y="141"/>
                      <a:pt x="625" y="141"/>
                      <a:pt x="625" y="140"/>
                    </a:cubicBezTo>
                    <a:cubicBezTo>
                      <a:pt x="624" y="141"/>
                      <a:pt x="624" y="141"/>
                      <a:pt x="623" y="142"/>
                    </a:cubicBezTo>
                    <a:cubicBezTo>
                      <a:pt x="622" y="142"/>
                      <a:pt x="622" y="142"/>
                      <a:pt x="621" y="143"/>
                    </a:cubicBezTo>
                    <a:cubicBezTo>
                      <a:pt x="620" y="143"/>
                      <a:pt x="620" y="143"/>
                      <a:pt x="619" y="143"/>
                    </a:cubicBezTo>
                    <a:cubicBezTo>
                      <a:pt x="618" y="143"/>
                      <a:pt x="619" y="142"/>
                      <a:pt x="618" y="142"/>
                    </a:cubicBezTo>
                    <a:cubicBezTo>
                      <a:pt x="619" y="142"/>
                      <a:pt x="619" y="142"/>
                      <a:pt x="619" y="142"/>
                    </a:cubicBezTo>
                    <a:cubicBezTo>
                      <a:pt x="619" y="142"/>
                      <a:pt x="618" y="142"/>
                      <a:pt x="618" y="142"/>
                    </a:cubicBezTo>
                    <a:cubicBezTo>
                      <a:pt x="618" y="142"/>
                      <a:pt x="617" y="142"/>
                      <a:pt x="617" y="142"/>
                    </a:cubicBezTo>
                    <a:cubicBezTo>
                      <a:pt x="617" y="142"/>
                      <a:pt x="618" y="142"/>
                      <a:pt x="617" y="142"/>
                    </a:cubicBezTo>
                    <a:cubicBezTo>
                      <a:pt x="616" y="142"/>
                      <a:pt x="616" y="142"/>
                      <a:pt x="617" y="142"/>
                    </a:cubicBezTo>
                    <a:cubicBezTo>
                      <a:pt x="617" y="141"/>
                      <a:pt x="617" y="142"/>
                      <a:pt x="617" y="141"/>
                    </a:cubicBezTo>
                    <a:cubicBezTo>
                      <a:pt x="617" y="141"/>
                      <a:pt x="617" y="141"/>
                      <a:pt x="617" y="141"/>
                    </a:cubicBezTo>
                    <a:cubicBezTo>
                      <a:pt x="618" y="141"/>
                      <a:pt x="617" y="141"/>
                      <a:pt x="617" y="141"/>
                    </a:cubicBezTo>
                    <a:cubicBezTo>
                      <a:pt x="617" y="141"/>
                      <a:pt x="618" y="140"/>
                      <a:pt x="618" y="140"/>
                    </a:cubicBezTo>
                    <a:cubicBezTo>
                      <a:pt x="617" y="140"/>
                      <a:pt x="617" y="141"/>
                      <a:pt x="616" y="141"/>
                    </a:cubicBezTo>
                    <a:cubicBezTo>
                      <a:pt x="616" y="141"/>
                      <a:pt x="616" y="140"/>
                      <a:pt x="617" y="140"/>
                    </a:cubicBezTo>
                    <a:cubicBezTo>
                      <a:pt x="616" y="140"/>
                      <a:pt x="616" y="140"/>
                      <a:pt x="616" y="140"/>
                    </a:cubicBezTo>
                    <a:cubicBezTo>
                      <a:pt x="616" y="140"/>
                      <a:pt x="617" y="139"/>
                      <a:pt x="616" y="139"/>
                    </a:cubicBezTo>
                    <a:cubicBezTo>
                      <a:pt x="616" y="139"/>
                      <a:pt x="617" y="139"/>
                      <a:pt x="617" y="139"/>
                    </a:cubicBezTo>
                    <a:cubicBezTo>
                      <a:pt x="617" y="138"/>
                      <a:pt x="616" y="139"/>
                      <a:pt x="616" y="138"/>
                    </a:cubicBezTo>
                    <a:cubicBezTo>
                      <a:pt x="616" y="138"/>
                      <a:pt x="615" y="138"/>
                      <a:pt x="615" y="138"/>
                    </a:cubicBezTo>
                    <a:cubicBezTo>
                      <a:pt x="615" y="138"/>
                      <a:pt x="616" y="139"/>
                      <a:pt x="616" y="139"/>
                    </a:cubicBezTo>
                    <a:cubicBezTo>
                      <a:pt x="615" y="139"/>
                      <a:pt x="614" y="139"/>
                      <a:pt x="614" y="139"/>
                    </a:cubicBezTo>
                    <a:cubicBezTo>
                      <a:pt x="615" y="139"/>
                      <a:pt x="614" y="140"/>
                      <a:pt x="613" y="139"/>
                    </a:cubicBezTo>
                    <a:cubicBezTo>
                      <a:pt x="614" y="139"/>
                      <a:pt x="612" y="139"/>
                      <a:pt x="613" y="139"/>
                    </a:cubicBezTo>
                    <a:cubicBezTo>
                      <a:pt x="612" y="139"/>
                      <a:pt x="612" y="139"/>
                      <a:pt x="612" y="139"/>
                    </a:cubicBezTo>
                    <a:cubicBezTo>
                      <a:pt x="612" y="139"/>
                      <a:pt x="612" y="138"/>
                      <a:pt x="611" y="138"/>
                    </a:cubicBezTo>
                    <a:cubicBezTo>
                      <a:pt x="611" y="138"/>
                      <a:pt x="612" y="139"/>
                      <a:pt x="611" y="139"/>
                    </a:cubicBezTo>
                    <a:cubicBezTo>
                      <a:pt x="611" y="139"/>
                      <a:pt x="610" y="138"/>
                      <a:pt x="610" y="139"/>
                    </a:cubicBezTo>
                    <a:cubicBezTo>
                      <a:pt x="610" y="139"/>
                      <a:pt x="611" y="139"/>
                      <a:pt x="612" y="139"/>
                    </a:cubicBezTo>
                    <a:cubicBezTo>
                      <a:pt x="613" y="139"/>
                      <a:pt x="612" y="140"/>
                      <a:pt x="613" y="140"/>
                    </a:cubicBezTo>
                    <a:cubicBezTo>
                      <a:pt x="613" y="140"/>
                      <a:pt x="613" y="141"/>
                      <a:pt x="612" y="141"/>
                    </a:cubicBezTo>
                    <a:cubicBezTo>
                      <a:pt x="612" y="141"/>
                      <a:pt x="611" y="140"/>
                      <a:pt x="611" y="140"/>
                    </a:cubicBezTo>
                    <a:cubicBezTo>
                      <a:pt x="611" y="140"/>
                      <a:pt x="612" y="141"/>
                      <a:pt x="612" y="141"/>
                    </a:cubicBezTo>
                    <a:cubicBezTo>
                      <a:pt x="612" y="141"/>
                      <a:pt x="612" y="141"/>
                      <a:pt x="612" y="141"/>
                    </a:cubicBezTo>
                    <a:cubicBezTo>
                      <a:pt x="612" y="141"/>
                      <a:pt x="612" y="141"/>
                      <a:pt x="611" y="142"/>
                    </a:cubicBezTo>
                    <a:cubicBezTo>
                      <a:pt x="611" y="141"/>
                      <a:pt x="610" y="141"/>
                      <a:pt x="610" y="141"/>
                    </a:cubicBezTo>
                    <a:cubicBezTo>
                      <a:pt x="610" y="141"/>
                      <a:pt x="610" y="141"/>
                      <a:pt x="610" y="141"/>
                    </a:cubicBezTo>
                    <a:cubicBezTo>
                      <a:pt x="610" y="140"/>
                      <a:pt x="610" y="140"/>
                      <a:pt x="610" y="140"/>
                    </a:cubicBezTo>
                    <a:cubicBezTo>
                      <a:pt x="609" y="140"/>
                      <a:pt x="608" y="140"/>
                      <a:pt x="608" y="139"/>
                    </a:cubicBezTo>
                    <a:cubicBezTo>
                      <a:pt x="608" y="140"/>
                      <a:pt x="608" y="139"/>
                      <a:pt x="607" y="139"/>
                    </a:cubicBezTo>
                    <a:cubicBezTo>
                      <a:pt x="608" y="140"/>
                      <a:pt x="608" y="140"/>
                      <a:pt x="608" y="140"/>
                    </a:cubicBezTo>
                    <a:cubicBezTo>
                      <a:pt x="608" y="140"/>
                      <a:pt x="608" y="140"/>
                      <a:pt x="608" y="141"/>
                    </a:cubicBezTo>
                    <a:cubicBezTo>
                      <a:pt x="608" y="141"/>
                      <a:pt x="608" y="141"/>
                      <a:pt x="608" y="141"/>
                    </a:cubicBezTo>
                    <a:cubicBezTo>
                      <a:pt x="608" y="141"/>
                      <a:pt x="608" y="142"/>
                      <a:pt x="608" y="142"/>
                    </a:cubicBezTo>
                    <a:cubicBezTo>
                      <a:pt x="608" y="142"/>
                      <a:pt x="609" y="142"/>
                      <a:pt x="609" y="143"/>
                    </a:cubicBezTo>
                    <a:cubicBezTo>
                      <a:pt x="609" y="143"/>
                      <a:pt x="610" y="143"/>
                      <a:pt x="610" y="143"/>
                    </a:cubicBezTo>
                    <a:cubicBezTo>
                      <a:pt x="610" y="144"/>
                      <a:pt x="610" y="144"/>
                      <a:pt x="611" y="144"/>
                    </a:cubicBezTo>
                    <a:cubicBezTo>
                      <a:pt x="610" y="144"/>
                      <a:pt x="610" y="144"/>
                      <a:pt x="609" y="144"/>
                    </a:cubicBezTo>
                    <a:cubicBezTo>
                      <a:pt x="610" y="144"/>
                      <a:pt x="610" y="145"/>
                      <a:pt x="610" y="145"/>
                    </a:cubicBezTo>
                    <a:cubicBezTo>
                      <a:pt x="609" y="145"/>
                      <a:pt x="609" y="145"/>
                      <a:pt x="608" y="145"/>
                    </a:cubicBezTo>
                    <a:cubicBezTo>
                      <a:pt x="608" y="145"/>
                      <a:pt x="607" y="145"/>
                      <a:pt x="607" y="145"/>
                    </a:cubicBezTo>
                    <a:cubicBezTo>
                      <a:pt x="607" y="145"/>
                      <a:pt x="606" y="145"/>
                      <a:pt x="606" y="145"/>
                    </a:cubicBezTo>
                    <a:cubicBezTo>
                      <a:pt x="606" y="145"/>
                      <a:pt x="606" y="145"/>
                      <a:pt x="605" y="145"/>
                    </a:cubicBezTo>
                    <a:cubicBezTo>
                      <a:pt x="605" y="145"/>
                      <a:pt x="604" y="145"/>
                      <a:pt x="604" y="145"/>
                    </a:cubicBezTo>
                    <a:cubicBezTo>
                      <a:pt x="604" y="144"/>
                      <a:pt x="604" y="144"/>
                      <a:pt x="605" y="143"/>
                    </a:cubicBezTo>
                    <a:cubicBezTo>
                      <a:pt x="605" y="143"/>
                      <a:pt x="604" y="143"/>
                      <a:pt x="604" y="143"/>
                    </a:cubicBezTo>
                    <a:cubicBezTo>
                      <a:pt x="603" y="143"/>
                      <a:pt x="604" y="142"/>
                      <a:pt x="604" y="142"/>
                    </a:cubicBezTo>
                    <a:cubicBezTo>
                      <a:pt x="603" y="142"/>
                      <a:pt x="603" y="142"/>
                      <a:pt x="603" y="143"/>
                    </a:cubicBezTo>
                    <a:cubicBezTo>
                      <a:pt x="602" y="143"/>
                      <a:pt x="603" y="142"/>
                      <a:pt x="603" y="142"/>
                    </a:cubicBezTo>
                    <a:cubicBezTo>
                      <a:pt x="603" y="141"/>
                      <a:pt x="602" y="141"/>
                      <a:pt x="602" y="142"/>
                    </a:cubicBezTo>
                    <a:cubicBezTo>
                      <a:pt x="602" y="142"/>
                      <a:pt x="602" y="142"/>
                      <a:pt x="602" y="142"/>
                    </a:cubicBezTo>
                    <a:cubicBezTo>
                      <a:pt x="601" y="142"/>
                      <a:pt x="600" y="142"/>
                      <a:pt x="599" y="142"/>
                    </a:cubicBezTo>
                    <a:cubicBezTo>
                      <a:pt x="600" y="143"/>
                      <a:pt x="602" y="142"/>
                      <a:pt x="602" y="143"/>
                    </a:cubicBezTo>
                    <a:cubicBezTo>
                      <a:pt x="602" y="143"/>
                      <a:pt x="603" y="144"/>
                      <a:pt x="603" y="143"/>
                    </a:cubicBezTo>
                    <a:cubicBezTo>
                      <a:pt x="603" y="143"/>
                      <a:pt x="604" y="144"/>
                      <a:pt x="605" y="144"/>
                    </a:cubicBezTo>
                    <a:cubicBezTo>
                      <a:pt x="604" y="144"/>
                      <a:pt x="604" y="144"/>
                      <a:pt x="604" y="144"/>
                    </a:cubicBezTo>
                    <a:cubicBezTo>
                      <a:pt x="604" y="144"/>
                      <a:pt x="603" y="144"/>
                      <a:pt x="603" y="144"/>
                    </a:cubicBezTo>
                    <a:cubicBezTo>
                      <a:pt x="603" y="144"/>
                      <a:pt x="603" y="144"/>
                      <a:pt x="603" y="145"/>
                    </a:cubicBezTo>
                    <a:cubicBezTo>
                      <a:pt x="603" y="145"/>
                      <a:pt x="602" y="144"/>
                      <a:pt x="602" y="144"/>
                    </a:cubicBezTo>
                    <a:cubicBezTo>
                      <a:pt x="602" y="144"/>
                      <a:pt x="603" y="145"/>
                      <a:pt x="603" y="145"/>
                    </a:cubicBezTo>
                    <a:cubicBezTo>
                      <a:pt x="602" y="145"/>
                      <a:pt x="602" y="144"/>
                      <a:pt x="601" y="145"/>
                    </a:cubicBezTo>
                    <a:cubicBezTo>
                      <a:pt x="601" y="145"/>
                      <a:pt x="603" y="145"/>
                      <a:pt x="603" y="145"/>
                    </a:cubicBezTo>
                    <a:cubicBezTo>
                      <a:pt x="603" y="145"/>
                      <a:pt x="602" y="145"/>
                      <a:pt x="602" y="146"/>
                    </a:cubicBezTo>
                    <a:cubicBezTo>
                      <a:pt x="602" y="146"/>
                      <a:pt x="602" y="146"/>
                      <a:pt x="603" y="146"/>
                    </a:cubicBezTo>
                    <a:cubicBezTo>
                      <a:pt x="602" y="146"/>
                      <a:pt x="602" y="146"/>
                      <a:pt x="602" y="146"/>
                    </a:cubicBezTo>
                    <a:cubicBezTo>
                      <a:pt x="602" y="146"/>
                      <a:pt x="603" y="146"/>
                      <a:pt x="603" y="146"/>
                    </a:cubicBezTo>
                    <a:cubicBezTo>
                      <a:pt x="603" y="146"/>
                      <a:pt x="604" y="146"/>
                      <a:pt x="604" y="146"/>
                    </a:cubicBezTo>
                    <a:cubicBezTo>
                      <a:pt x="604" y="146"/>
                      <a:pt x="603" y="147"/>
                      <a:pt x="603" y="147"/>
                    </a:cubicBezTo>
                    <a:cubicBezTo>
                      <a:pt x="603" y="147"/>
                      <a:pt x="603" y="147"/>
                      <a:pt x="603" y="147"/>
                    </a:cubicBezTo>
                    <a:cubicBezTo>
                      <a:pt x="603" y="148"/>
                      <a:pt x="602" y="148"/>
                      <a:pt x="602" y="148"/>
                    </a:cubicBezTo>
                    <a:cubicBezTo>
                      <a:pt x="602" y="148"/>
                      <a:pt x="602" y="148"/>
                      <a:pt x="602" y="148"/>
                    </a:cubicBezTo>
                    <a:cubicBezTo>
                      <a:pt x="602" y="148"/>
                      <a:pt x="602" y="148"/>
                      <a:pt x="601" y="148"/>
                    </a:cubicBezTo>
                    <a:cubicBezTo>
                      <a:pt x="601" y="148"/>
                      <a:pt x="602" y="148"/>
                      <a:pt x="602" y="148"/>
                    </a:cubicBezTo>
                    <a:cubicBezTo>
                      <a:pt x="602" y="148"/>
                      <a:pt x="601" y="149"/>
                      <a:pt x="601" y="149"/>
                    </a:cubicBezTo>
                    <a:cubicBezTo>
                      <a:pt x="602" y="149"/>
                      <a:pt x="602" y="148"/>
                      <a:pt x="603" y="148"/>
                    </a:cubicBezTo>
                    <a:cubicBezTo>
                      <a:pt x="604" y="148"/>
                      <a:pt x="604" y="147"/>
                      <a:pt x="605" y="148"/>
                    </a:cubicBezTo>
                    <a:cubicBezTo>
                      <a:pt x="606" y="148"/>
                      <a:pt x="607" y="147"/>
                      <a:pt x="607" y="148"/>
                    </a:cubicBezTo>
                    <a:cubicBezTo>
                      <a:pt x="608" y="148"/>
                      <a:pt x="607" y="148"/>
                      <a:pt x="607" y="148"/>
                    </a:cubicBezTo>
                    <a:cubicBezTo>
                      <a:pt x="606" y="148"/>
                      <a:pt x="607" y="148"/>
                      <a:pt x="607" y="149"/>
                    </a:cubicBezTo>
                    <a:cubicBezTo>
                      <a:pt x="607" y="149"/>
                      <a:pt x="606" y="149"/>
                      <a:pt x="606" y="149"/>
                    </a:cubicBezTo>
                    <a:cubicBezTo>
                      <a:pt x="606" y="149"/>
                      <a:pt x="606" y="149"/>
                      <a:pt x="606" y="149"/>
                    </a:cubicBezTo>
                    <a:cubicBezTo>
                      <a:pt x="606" y="149"/>
                      <a:pt x="606" y="149"/>
                      <a:pt x="605" y="149"/>
                    </a:cubicBezTo>
                    <a:cubicBezTo>
                      <a:pt x="605" y="149"/>
                      <a:pt x="606" y="149"/>
                      <a:pt x="606" y="150"/>
                    </a:cubicBezTo>
                    <a:cubicBezTo>
                      <a:pt x="606" y="149"/>
                      <a:pt x="607" y="149"/>
                      <a:pt x="608" y="149"/>
                    </a:cubicBezTo>
                    <a:cubicBezTo>
                      <a:pt x="608" y="150"/>
                      <a:pt x="608" y="150"/>
                      <a:pt x="607" y="150"/>
                    </a:cubicBezTo>
                    <a:cubicBezTo>
                      <a:pt x="608" y="150"/>
                      <a:pt x="607" y="150"/>
                      <a:pt x="607" y="150"/>
                    </a:cubicBezTo>
                    <a:cubicBezTo>
                      <a:pt x="606" y="150"/>
                      <a:pt x="605" y="150"/>
                      <a:pt x="605" y="151"/>
                    </a:cubicBezTo>
                    <a:cubicBezTo>
                      <a:pt x="605" y="151"/>
                      <a:pt x="605" y="151"/>
                      <a:pt x="605" y="151"/>
                    </a:cubicBezTo>
                    <a:cubicBezTo>
                      <a:pt x="606" y="150"/>
                      <a:pt x="606" y="151"/>
                      <a:pt x="607" y="151"/>
                    </a:cubicBezTo>
                    <a:cubicBezTo>
                      <a:pt x="606" y="151"/>
                      <a:pt x="606" y="151"/>
                      <a:pt x="606" y="151"/>
                    </a:cubicBezTo>
                    <a:cubicBezTo>
                      <a:pt x="606" y="151"/>
                      <a:pt x="606" y="151"/>
                      <a:pt x="606" y="151"/>
                    </a:cubicBezTo>
                    <a:cubicBezTo>
                      <a:pt x="606" y="151"/>
                      <a:pt x="606" y="152"/>
                      <a:pt x="606" y="152"/>
                    </a:cubicBezTo>
                    <a:cubicBezTo>
                      <a:pt x="606" y="152"/>
                      <a:pt x="606" y="152"/>
                      <a:pt x="606" y="152"/>
                    </a:cubicBezTo>
                    <a:cubicBezTo>
                      <a:pt x="606" y="152"/>
                      <a:pt x="606" y="152"/>
                      <a:pt x="607" y="152"/>
                    </a:cubicBezTo>
                    <a:cubicBezTo>
                      <a:pt x="607" y="152"/>
                      <a:pt x="607" y="152"/>
                      <a:pt x="607" y="152"/>
                    </a:cubicBezTo>
                    <a:cubicBezTo>
                      <a:pt x="607" y="152"/>
                      <a:pt x="607" y="152"/>
                      <a:pt x="607" y="152"/>
                    </a:cubicBezTo>
                    <a:cubicBezTo>
                      <a:pt x="607" y="152"/>
                      <a:pt x="607" y="152"/>
                      <a:pt x="607" y="153"/>
                    </a:cubicBezTo>
                    <a:cubicBezTo>
                      <a:pt x="607" y="153"/>
                      <a:pt x="606" y="153"/>
                      <a:pt x="606" y="153"/>
                    </a:cubicBezTo>
                    <a:cubicBezTo>
                      <a:pt x="606" y="153"/>
                      <a:pt x="606" y="153"/>
                      <a:pt x="605" y="153"/>
                    </a:cubicBezTo>
                    <a:cubicBezTo>
                      <a:pt x="605" y="153"/>
                      <a:pt x="606" y="153"/>
                      <a:pt x="606" y="153"/>
                    </a:cubicBezTo>
                    <a:cubicBezTo>
                      <a:pt x="607" y="153"/>
                      <a:pt x="608" y="152"/>
                      <a:pt x="609" y="152"/>
                    </a:cubicBezTo>
                    <a:cubicBezTo>
                      <a:pt x="608" y="153"/>
                      <a:pt x="608" y="153"/>
                      <a:pt x="608" y="153"/>
                    </a:cubicBezTo>
                    <a:cubicBezTo>
                      <a:pt x="607" y="153"/>
                      <a:pt x="607" y="153"/>
                      <a:pt x="607" y="153"/>
                    </a:cubicBezTo>
                    <a:cubicBezTo>
                      <a:pt x="607" y="153"/>
                      <a:pt x="607" y="153"/>
                      <a:pt x="607" y="153"/>
                    </a:cubicBezTo>
                    <a:cubicBezTo>
                      <a:pt x="607" y="154"/>
                      <a:pt x="607" y="153"/>
                      <a:pt x="608" y="153"/>
                    </a:cubicBezTo>
                    <a:cubicBezTo>
                      <a:pt x="608" y="153"/>
                      <a:pt x="607" y="154"/>
                      <a:pt x="607" y="154"/>
                    </a:cubicBezTo>
                    <a:cubicBezTo>
                      <a:pt x="607" y="154"/>
                      <a:pt x="607" y="154"/>
                      <a:pt x="607" y="154"/>
                    </a:cubicBezTo>
                    <a:cubicBezTo>
                      <a:pt x="607" y="154"/>
                      <a:pt x="607" y="154"/>
                      <a:pt x="607" y="155"/>
                    </a:cubicBezTo>
                    <a:cubicBezTo>
                      <a:pt x="607" y="155"/>
                      <a:pt x="607" y="155"/>
                      <a:pt x="607" y="155"/>
                    </a:cubicBezTo>
                    <a:cubicBezTo>
                      <a:pt x="607" y="155"/>
                      <a:pt x="607" y="155"/>
                      <a:pt x="607" y="155"/>
                    </a:cubicBezTo>
                    <a:cubicBezTo>
                      <a:pt x="606" y="156"/>
                      <a:pt x="607" y="156"/>
                      <a:pt x="607" y="156"/>
                    </a:cubicBezTo>
                    <a:cubicBezTo>
                      <a:pt x="607" y="155"/>
                      <a:pt x="608" y="155"/>
                      <a:pt x="608" y="154"/>
                    </a:cubicBezTo>
                    <a:cubicBezTo>
                      <a:pt x="608" y="153"/>
                      <a:pt x="609" y="154"/>
                      <a:pt x="609" y="154"/>
                    </a:cubicBezTo>
                    <a:cubicBezTo>
                      <a:pt x="609" y="154"/>
                      <a:pt x="609" y="154"/>
                      <a:pt x="609" y="154"/>
                    </a:cubicBezTo>
                    <a:cubicBezTo>
                      <a:pt x="609" y="154"/>
                      <a:pt x="609" y="154"/>
                      <a:pt x="609" y="154"/>
                    </a:cubicBezTo>
                    <a:cubicBezTo>
                      <a:pt x="609" y="154"/>
                      <a:pt x="609" y="154"/>
                      <a:pt x="609" y="154"/>
                    </a:cubicBezTo>
                    <a:cubicBezTo>
                      <a:pt x="609" y="155"/>
                      <a:pt x="610" y="154"/>
                      <a:pt x="610" y="154"/>
                    </a:cubicBezTo>
                    <a:cubicBezTo>
                      <a:pt x="610" y="155"/>
                      <a:pt x="610" y="155"/>
                      <a:pt x="610" y="155"/>
                    </a:cubicBezTo>
                    <a:cubicBezTo>
                      <a:pt x="610" y="155"/>
                      <a:pt x="610" y="155"/>
                      <a:pt x="611" y="155"/>
                    </a:cubicBezTo>
                    <a:cubicBezTo>
                      <a:pt x="611" y="155"/>
                      <a:pt x="611" y="155"/>
                      <a:pt x="611" y="155"/>
                    </a:cubicBezTo>
                    <a:cubicBezTo>
                      <a:pt x="611" y="155"/>
                      <a:pt x="610" y="156"/>
                      <a:pt x="610" y="156"/>
                    </a:cubicBezTo>
                    <a:cubicBezTo>
                      <a:pt x="610" y="156"/>
                      <a:pt x="609" y="156"/>
                      <a:pt x="609" y="156"/>
                    </a:cubicBezTo>
                    <a:cubicBezTo>
                      <a:pt x="609" y="156"/>
                      <a:pt x="610" y="156"/>
                      <a:pt x="610" y="156"/>
                    </a:cubicBezTo>
                    <a:cubicBezTo>
                      <a:pt x="610" y="156"/>
                      <a:pt x="609" y="157"/>
                      <a:pt x="610" y="157"/>
                    </a:cubicBezTo>
                    <a:cubicBezTo>
                      <a:pt x="610" y="157"/>
                      <a:pt x="611" y="155"/>
                      <a:pt x="612" y="155"/>
                    </a:cubicBezTo>
                    <a:cubicBezTo>
                      <a:pt x="612" y="155"/>
                      <a:pt x="611" y="157"/>
                      <a:pt x="611" y="157"/>
                    </a:cubicBezTo>
                    <a:cubicBezTo>
                      <a:pt x="611" y="157"/>
                      <a:pt x="612" y="156"/>
                      <a:pt x="612" y="156"/>
                    </a:cubicBezTo>
                    <a:cubicBezTo>
                      <a:pt x="612" y="156"/>
                      <a:pt x="612" y="158"/>
                      <a:pt x="612" y="157"/>
                    </a:cubicBezTo>
                    <a:cubicBezTo>
                      <a:pt x="612" y="157"/>
                      <a:pt x="612" y="156"/>
                      <a:pt x="612" y="156"/>
                    </a:cubicBezTo>
                    <a:cubicBezTo>
                      <a:pt x="612" y="156"/>
                      <a:pt x="613" y="154"/>
                      <a:pt x="613" y="155"/>
                    </a:cubicBezTo>
                    <a:cubicBezTo>
                      <a:pt x="613" y="155"/>
                      <a:pt x="614" y="155"/>
                      <a:pt x="614" y="155"/>
                    </a:cubicBezTo>
                    <a:cubicBezTo>
                      <a:pt x="614" y="155"/>
                      <a:pt x="613" y="156"/>
                      <a:pt x="613" y="156"/>
                    </a:cubicBezTo>
                    <a:cubicBezTo>
                      <a:pt x="613" y="156"/>
                      <a:pt x="614" y="155"/>
                      <a:pt x="614" y="156"/>
                    </a:cubicBezTo>
                    <a:cubicBezTo>
                      <a:pt x="614" y="156"/>
                      <a:pt x="613" y="156"/>
                      <a:pt x="613" y="157"/>
                    </a:cubicBezTo>
                    <a:cubicBezTo>
                      <a:pt x="614" y="156"/>
                      <a:pt x="615" y="156"/>
                      <a:pt x="614" y="157"/>
                    </a:cubicBezTo>
                    <a:cubicBezTo>
                      <a:pt x="614" y="157"/>
                      <a:pt x="612" y="158"/>
                      <a:pt x="612" y="159"/>
                    </a:cubicBezTo>
                    <a:cubicBezTo>
                      <a:pt x="612" y="159"/>
                      <a:pt x="614" y="158"/>
                      <a:pt x="614" y="159"/>
                    </a:cubicBezTo>
                    <a:cubicBezTo>
                      <a:pt x="614" y="159"/>
                      <a:pt x="615" y="158"/>
                      <a:pt x="615" y="158"/>
                    </a:cubicBezTo>
                    <a:cubicBezTo>
                      <a:pt x="615" y="159"/>
                      <a:pt x="614" y="159"/>
                      <a:pt x="614" y="159"/>
                    </a:cubicBezTo>
                    <a:cubicBezTo>
                      <a:pt x="614" y="159"/>
                      <a:pt x="614" y="159"/>
                      <a:pt x="615" y="159"/>
                    </a:cubicBezTo>
                    <a:cubicBezTo>
                      <a:pt x="615" y="159"/>
                      <a:pt x="615" y="159"/>
                      <a:pt x="615" y="159"/>
                    </a:cubicBezTo>
                    <a:cubicBezTo>
                      <a:pt x="616" y="159"/>
                      <a:pt x="616" y="158"/>
                      <a:pt x="616" y="158"/>
                    </a:cubicBezTo>
                    <a:cubicBezTo>
                      <a:pt x="616" y="159"/>
                      <a:pt x="616" y="159"/>
                      <a:pt x="616" y="159"/>
                    </a:cubicBezTo>
                    <a:cubicBezTo>
                      <a:pt x="616" y="159"/>
                      <a:pt x="616" y="159"/>
                      <a:pt x="617" y="159"/>
                    </a:cubicBezTo>
                    <a:cubicBezTo>
                      <a:pt x="616" y="159"/>
                      <a:pt x="616" y="159"/>
                      <a:pt x="616" y="159"/>
                    </a:cubicBezTo>
                    <a:cubicBezTo>
                      <a:pt x="618" y="159"/>
                      <a:pt x="615" y="160"/>
                      <a:pt x="615" y="160"/>
                    </a:cubicBezTo>
                    <a:cubicBezTo>
                      <a:pt x="616" y="160"/>
                      <a:pt x="614" y="161"/>
                      <a:pt x="614" y="161"/>
                    </a:cubicBezTo>
                    <a:cubicBezTo>
                      <a:pt x="614" y="161"/>
                      <a:pt x="613" y="161"/>
                      <a:pt x="613" y="160"/>
                    </a:cubicBezTo>
                    <a:cubicBezTo>
                      <a:pt x="612" y="160"/>
                      <a:pt x="612" y="161"/>
                      <a:pt x="611" y="161"/>
                    </a:cubicBezTo>
                    <a:cubicBezTo>
                      <a:pt x="612" y="161"/>
                      <a:pt x="613" y="160"/>
                      <a:pt x="613" y="161"/>
                    </a:cubicBezTo>
                    <a:cubicBezTo>
                      <a:pt x="613" y="161"/>
                      <a:pt x="612" y="161"/>
                      <a:pt x="612" y="161"/>
                    </a:cubicBezTo>
                    <a:cubicBezTo>
                      <a:pt x="612" y="161"/>
                      <a:pt x="613" y="161"/>
                      <a:pt x="613" y="161"/>
                    </a:cubicBezTo>
                    <a:cubicBezTo>
                      <a:pt x="613" y="162"/>
                      <a:pt x="614" y="161"/>
                      <a:pt x="614" y="162"/>
                    </a:cubicBezTo>
                    <a:cubicBezTo>
                      <a:pt x="613" y="162"/>
                      <a:pt x="613" y="162"/>
                      <a:pt x="613" y="162"/>
                    </a:cubicBezTo>
                    <a:cubicBezTo>
                      <a:pt x="613" y="162"/>
                      <a:pt x="613" y="162"/>
                      <a:pt x="614" y="162"/>
                    </a:cubicBezTo>
                    <a:cubicBezTo>
                      <a:pt x="614" y="162"/>
                      <a:pt x="614" y="162"/>
                      <a:pt x="614" y="162"/>
                    </a:cubicBezTo>
                    <a:cubicBezTo>
                      <a:pt x="614" y="163"/>
                      <a:pt x="614" y="163"/>
                      <a:pt x="614" y="163"/>
                    </a:cubicBezTo>
                    <a:cubicBezTo>
                      <a:pt x="614" y="163"/>
                      <a:pt x="614" y="163"/>
                      <a:pt x="615" y="163"/>
                    </a:cubicBezTo>
                    <a:cubicBezTo>
                      <a:pt x="614" y="163"/>
                      <a:pt x="614" y="163"/>
                      <a:pt x="613" y="163"/>
                    </a:cubicBezTo>
                    <a:cubicBezTo>
                      <a:pt x="614" y="164"/>
                      <a:pt x="615" y="163"/>
                      <a:pt x="615" y="164"/>
                    </a:cubicBezTo>
                    <a:cubicBezTo>
                      <a:pt x="615" y="164"/>
                      <a:pt x="615" y="164"/>
                      <a:pt x="615" y="164"/>
                    </a:cubicBezTo>
                    <a:cubicBezTo>
                      <a:pt x="615" y="164"/>
                      <a:pt x="616" y="163"/>
                      <a:pt x="616" y="163"/>
                    </a:cubicBezTo>
                    <a:cubicBezTo>
                      <a:pt x="616" y="163"/>
                      <a:pt x="616" y="164"/>
                      <a:pt x="616" y="163"/>
                    </a:cubicBezTo>
                    <a:cubicBezTo>
                      <a:pt x="617" y="163"/>
                      <a:pt x="617" y="163"/>
                      <a:pt x="617" y="163"/>
                    </a:cubicBezTo>
                    <a:cubicBezTo>
                      <a:pt x="618" y="163"/>
                      <a:pt x="615" y="165"/>
                      <a:pt x="615" y="165"/>
                    </a:cubicBezTo>
                    <a:cubicBezTo>
                      <a:pt x="614" y="165"/>
                      <a:pt x="613" y="165"/>
                      <a:pt x="614" y="166"/>
                    </a:cubicBezTo>
                    <a:cubicBezTo>
                      <a:pt x="615" y="166"/>
                      <a:pt x="616" y="166"/>
                      <a:pt x="616" y="166"/>
                    </a:cubicBezTo>
                    <a:cubicBezTo>
                      <a:pt x="616" y="167"/>
                      <a:pt x="616" y="167"/>
                      <a:pt x="615" y="167"/>
                    </a:cubicBezTo>
                    <a:cubicBezTo>
                      <a:pt x="616" y="168"/>
                      <a:pt x="615" y="169"/>
                      <a:pt x="615" y="169"/>
                    </a:cubicBezTo>
                    <a:cubicBezTo>
                      <a:pt x="615" y="169"/>
                      <a:pt x="615" y="169"/>
                      <a:pt x="614" y="169"/>
                    </a:cubicBezTo>
                    <a:cubicBezTo>
                      <a:pt x="614" y="169"/>
                      <a:pt x="614" y="169"/>
                      <a:pt x="614" y="169"/>
                    </a:cubicBezTo>
                    <a:cubicBezTo>
                      <a:pt x="614" y="170"/>
                      <a:pt x="615" y="169"/>
                      <a:pt x="615" y="170"/>
                    </a:cubicBezTo>
                    <a:cubicBezTo>
                      <a:pt x="614" y="170"/>
                      <a:pt x="614" y="170"/>
                      <a:pt x="614" y="170"/>
                    </a:cubicBezTo>
                    <a:cubicBezTo>
                      <a:pt x="613" y="170"/>
                      <a:pt x="614" y="171"/>
                      <a:pt x="614" y="171"/>
                    </a:cubicBezTo>
                    <a:cubicBezTo>
                      <a:pt x="614" y="171"/>
                      <a:pt x="613" y="171"/>
                      <a:pt x="613" y="170"/>
                    </a:cubicBezTo>
                    <a:cubicBezTo>
                      <a:pt x="612" y="170"/>
                      <a:pt x="613" y="169"/>
                      <a:pt x="613" y="168"/>
                    </a:cubicBezTo>
                    <a:cubicBezTo>
                      <a:pt x="613" y="168"/>
                      <a:pt x="613" y="168"/>
                      <a:pt x="613" y="167"/>
                    </a:cubicBezTo>
                    <a:cubicBezTo>
                      <a:pt x="613" y="167"/>
                      <a:pt x="613" y="167"/>
                      <a:pt x="612" y="167"/>
                    </a:cubicBezTo>
                    <a:cubicBezTo>
                      <a:pt x="612" y="167"/>
                      <a:pt x="612" y="166"/>
                      <a:pt x="612" y="166"/>
                    </a:cubicBezTo>
                    <a:cubicBezTo>
                      <a:pt x="612" y="166"/>
                      <a:pt x="612" y="166"/>
                      <a:pt x="612" y="166"/>
                    </a:cubicBezTo>
                    <a:cubicBezTo>
                      <a:pt x="612" y="165"/>
                      <a:pt x="611" y="165"/>
                      <a:pt x="611" y="166"/>
                    </a:cubicBezTo>
                    <a:cubicBezTo>
                      <a:pt x="612" y="166"/>
                      <a:pt x="612" y="166"/>
                      <a:pt x="612" y="166"/>
                    </a:cubicBezTo>
                    <a:cubicBezTo>
                      <a:pt x="612" y="167"/>
                      <a:pt x="612" y="167"/>
                      <a:pt x="612" y="167"/>
                    </a:cubicBezTo>
                    <a:cubicBezTo>
                      <a:pt x="612" y="168"/>
                      <a:pt x="611" y="168"/>
                      <a:pt x="611" y="168"/>
                    </a:cubicBezTo>
                    <a:cubicBezTo>
                      <a:pt x="611" y="168"/>
                      <a:pt x="611" y="168"/>
                      <a:pt x="611" y="169"/>
                    </a:cubicBezTo>
                    <a:cubicBezTo>
                      <a:pt x="611" y="169"/>
                      <a:pt x="611" y="169"/>
                      <a:pt x="610" y="169"/>
                    </a:cubicBezTo>
                    <a:cubicBezTo>
                      <a:pt x="610" y="169"/>
                      <a:pt x="611" y="169"/>
                      <a:pt x="611" y="169"/>
                    </a:cubicBezTo>
                    <a:cubicBezTo>
                      <a:pt x="611" y="169"/>
                      <a:pt x="610" y="169"/>
                      <a:pt x="610" y="169"/>
                    </a:cubicBezTo>
                    <a:cubicBezTo>
                      <a:pt x="611" y="169"/>
                      <a:pt x="611" y="169"/>
                      <a:pt x="611" y="170"/>
                    </a:cubicBezTo>
                    <a:cubicBezTo>
                      <a:pt x="611" y="170"/>
                      <a:pt x="611" y="171"/>
                      <a:pt x="611" y="171"/>
                    </a:cubicBezTo>
                    <a:cubicBezTo>
                      <a:pt x="611" y="171"/>
                      <a:pt x="610" y="170"/>
                      <a:pt x="610" y="170"/>
                    </a:cubicBezTo>
                    <a:cubicBezTo>
                      <a:pt x="610" y="170"/>
                      <a:pt x="611" y="171"/>
                      <a:pt x="610" y="171"/>
                    </a:cubicBezTo>
                    <a:cubicBezTo>
                      <a:pt x="610" y="171"/>
                      <a:pt x="609" y="170"/>
                      <a:pt x="609" y="171"/>
                    </a:cubicBezTo>
                    <a:cubicBezTo>
                      <a:pt x="609" y="171"/>
                      <a:pt x="610" y="171"/>
                      <a:pt x="610" y="171"/>
                    </a:cubicBezTo>
                    <a:cubicBezTo>
                      <a:pt x="610" y="171"/>
                      <a:pt x="610" y="171"/>
                      <a:pt x="610" y="171"/>
                    </a:cubicBezTo>
                    <a:cubicBezTo>
                      <a:pt x="610" y="171"/>
                      <a:pt x="609" y="171"/>
                      <a:pt x="609" y="171"/>
                    </a:cubicBezTo>
                    <a:cubicBezTo>
                      <a:pt x="609" y="172"/>
                      <a:pt x="610" y="172"/>
                      <a:pt x="611" y="172"/>
                    </a:cubicBezTo>
                    <a:cubicBezTo>
                      <a:pt x="611" y="172"/>
                      <a:pt x="611" y="172"/>
                      <a:pt x="610" y="172"/>
                    </a:cubicBezTo>
                    <a:cubicBezTo>
                      <a:pt x="611" y="172"/>
                      <a:pt x="611" y="172"/>
                      <a:pt x="611" y="172"/>
                    </a:cubicBezTo>
                    <a:cubicBezTo>
                      <a:pt x="611" y="172"/>
                      <a:pt x="611" y="172"/>
                      <a:pt x="610" y="172"/>
                    </a:cubicBezTo>
                    <a:cubicBezTo>
                      <a:pt x="610" y="173"/>
                      <a:pt x="611" y="173"/>
                      <a:pt x="611" y="173"/>
                    </a:cubicBezTo>
                    <a:cubicBezTo>
                      <a:pt x="611" y="173"/>
                      <a:pt x="611" y="173"/>
                      <a:pt x="610" y="173"/>
                    </a:cubicBezTo>
                    <a:cubicBezTo>
                      <a:pt x="610" y="173"/>
                      <a:pt x="611" y="173"/>
                      <a:pt x="610" y="173"/>
                    </a:cubicBezTo>
                    <a:cubicBezTo>
                      <a:pt x="610" y="174"/>
                      <a:pt x="610" y="174"/>
                      <a:pt x="610" y="174"/>
                    </a:cubicBezTo>
                    <a:cubicBezTo>
                      <a:pt x="610" y="174"/>
                      <a:pt x="610" y="174"/>
                      <a:pt x="610" y="174"/>
                    </a:cubicBezTo>
                    <a:cubicBezTo>
                      <a:pt x="611" y="174"/>
                      <a:pt x="611" y="174"/>
                      <a:pt x="611" y="174"/>
                    </a:cubicBezTo>
                    <a:cubicBezTo>
                      <a:pt x="611" y="174"/>
                      <a:pt x="610" y="175"/>
                      <a:pt x="610" y="175"/>
                    </a:cubicBezTo>
                    <a:cubicBezTo>
                      <a:pt x="609" y="175"/>
                      <a:pt x="608" y="175"/>
                      <a:pt x="608" y="174"/>
                    </a:cubicBezTo>
                    <a:cubicBezTo>
                      <a:pt x="608" y="174"/>
                      <a:pt x="608" y="173"/>
                      <a:pt x="608" y="173"/>
                    </a:cubicBezTo>
                    <a:cubicBezTo>
                      <a:pt x="607" y="174"/>
                      <a:pt x="607" y="174"/>
                      <a:pt x="607" y="174"/>
                    </a:cubicBezTo>
                    <a:cubicBezTo>
                      <a:pt x="607" y="174"/>
                      <a:pt x="607" y="174"/>
                      <a:pt x="607" y="173"/>
                    </a:cubicBezTo>
                    <a:cubicBezTo>
                      <a:pt x="606" y="174"/>
                      <a:pt x="607" y="174"/>
                      <a:pt x="607" y="174"/>
                    </a:cubicBezTo>
                    <a:cubicBezTo>
                      <a:pt x="607" y="174"/>
                      <a:pt x="607" y="174"/>
                      <a:pt x="607" y="175"/>
                    </a:cubicBezTo>
                    <a:cubicBezTo>
                      <a:pt x="607" y="175"/>
                      <a:pt x="607" y="176"/>
                      <a:pt x="607" y="177"/>
                    </a:cubicBezTo>
                    <a:cubicBezTo>
                      <a:pt x="607" y="177"/>
                      <a:pt x="606" y="177"/>
                      <a:pt x="606" y="178"/>
                    </a:cubicBezTo>
                    <a:cubicBezTo>
                      <a:pt x="605" y="178"/>
                      <a:pt x="605" y="178"/>
                      <a:pt x="605" y="178"/>
                    </a:cubicBezTo>
                    <a:cubicBezTo>
                      <a:pt x="605" y="177"/>
                      <a:pt x="605" y="176"/>
                      <a:pt x="605" y="176"/>
                    </a:cubicBezTo>
                    <a:cubicBezTo>
                      <a:pt x="605" y="176"/>
                      <a:pt x="605" y="176"/>
                      <a:pt x="604" y="177"/>
                    </a:cubicBezTo>
                    <a:cubicBezTo>
                      <a:pt x="604" y="176"/>
                      <a:pt x="605" y="176"/>
                      <a:pt x="606" y="176"/>
                    </a:cubicBezTo>
                    <a:cubicBezTo>
                      <a:pt x="606" y="175"/>
                      <a:pt x="605" y="176"/>
                      <a:pt x="605" y="175"/>
                    </a:cubicBezTo>
                    <a:cubicBezTo>
                      <a:pt x="605" y="175"/>
                      <a:pt x="606" y="175"/>
                      <a:pt x="606" y="175"/>
                    </a:cubicBezTo>
                    <a:cubicBezTo>
                      <a:pt x="606" y="175"/>
                      <a:pt x="606" y="175"/>
                      <a:pt x="605" y="175"/>
                    </a:cubicBezTo>
                    <a:cubicBezTo>
                      <a:pt x="606" y="175"/>
                      <a:pt x="606" y="174"/>
                      <a:pt x="606" y="174"/>
                    </a:cubicBezTo>
                    <a:cubicBezTo>
                      <a:pt x="605" y="174"/>
                      <a:pt x="605" y="175"/>
                      <a:pt x="604" y="175"/>
                    </a:cubicBezTo>
                    <a:cubicBezTo>
                      <a:pt x="604" y="175"/>
                      <a:pt x="603" y="176"/>
                      <a:pt x="603" y="174"/>
                    </a:cubicBezTo>
                    <a:cubicBezTo>
                      <a:pt x="602" y="175"/>
                      <a:pt x="604" y="173"/>
                      <a:pt x="604" y="173"/>
                    </a:cubicBezTo>
                    <a:cubicBezTo>
                      <a:pt x="603" y="173"/>
                      <a:pt x="603" y="173"/>
                      <a:pt x="603" y="174"/>
                    </a:cubicBezTo>
                    <a:cubicBezTo>
                      <a:pt x="603" y="174"/>
                      <a:pt x="602" y="174"/>
                      <a:pt x="602" y="174"/>
                    </a:cubicBezTo>
                    <a:cubicBezTo>
                      <a:pt x="602" y="174"/>
                      <a:pt x="602" y="175"/>
                      <a:pt x="602" y="175"/>
                    </a:cubicBezTo>
                    <a:cubicBezTo>
                      <a:pt x="602" y="174"/>
                      <a:pt x="602" y="174"/>
                      <a:pt x="601" y="174"/>
                    </a:cubicBezTo>
                    <a:cubicBezTo>
                      <a:pt x="601" y="174"/>
                      <a:pt x="603" y="173"/>
                      <a:pt x="603" y="173"/>
                    </a:cubicBezTo>
                    <a:cubicBezTo>
                      <a:pt x="602" y="173"/>
                      <a:pt x="602" y="173"/>
                      <a:pt x="602" y="174"/>
                    </a:cubicBezTo>
                    <a:cubicBezTo>
                      <a:pt x="601" y="174"/>
                      <a:pt x="601" y="173"/>
                      <a:pt x="601" y="173"/>
                    </a:cubicBezTo>
                    <a:cubicBezTo>
                      <a:pt x="601" y="173"/>
                      <a:pt x="601" y="173"/>
                      <a:pt x="600" y="173"/>
                    </a:cubicBezTo>
                    <a:cubicBezTo>
                      <a:pt x="600" y="173"/>
                      <a:pt x="600" y="172"/>
                      <a:pt x="600" y="172"/>
                    </a:cubicBezTo>
                    <a:cubicBezTo>
                      <a:pt x="600" y="172"/>
                      <a:pt x="600" y="174"/>
                      <a:pt x="600" y="174"/>
                    </a:cubicBezTo>
                    <a:cubicBezTo>
                      <a:pt x="600" y="174"/>
                      <a:pt x="600" y="174"/>
                      <a:pt x="599" y="174"/>
                    </a:cubicBezTo>
                    <a:cubicBezTo>
                      <a:pt x="599" y="173"/>
                      <a:pt x="598" y="174"/>
                      <a:pt x="598" y="173"/>
                    </a:cubicBezTo>
                    <a:cubicBezTo>
                      <a:pt x="598" y="173"/>
                      <a:pt x="598" y="173"/>
                      <a:pt x="598" y="172"/>
                    </a:cubicBezTo>
                    <a:cubicBezTo>
                      <a:pt x="598" y="172"/>
                      <a:pt x="598" y="171"/>
                      <a:pt x="598" y="171"/>
                    </a:cubicBezTo>
                    <a:cubicBezTo>
                      <a:pt x="598" y="171"/>
                      <a:pt x="598" y="171"/>
                      <a:pt x="598" y="170"/>
                    </a:cubicBezTo>
                    <a:cubicBezTo>
                      <a:pt x="598" y="170"/>
                      <a:pt x="599" y="170"/>
                      <a:pt x="599" y="170"/>
                    </a:cubicBezTo>
                    <a:cubicBezTo>
                      <a:pt x="599" y="170"/>
                      <a:pt x="597" y="170"/>
                      <a:pt x="598" y="171"/>
                    </a:cubicBezTo>
                    <a:cubicBezTo>
                      <a:pt x="598" y="171"/>
                      <a:pt x="598" y="171"/>
                      <a:pt x="598" y="172"/>
                    </a:cubicBezTo>
                    <a:cubicBezTo>
                      <a:pt x="598" y="172"/>
                      <a:pt x="597" y="173"/>
                      <a:pt x="597" y="172"/>
                    </a:cubicBezTo>
                    <a:cubicBezTo>
                      <a:pt x="597" y="173"/>
                      <a:pt x="597" y="173"/>
                      <a:pt x="597" y="173"/>
                    </a:cubicBezTo>
                    <a:cubicBezTo>
                      <a:pt x="597" y="173"/>
                      <a:pt x="596" y="173"/>
                      <a:pt x="596" y="173"/>
                    </a:cubicBezTo>
                    <a:cubicBezTo>
                      <a:pt x="596" y="172"/>
                      <a:pt x="597" y="171"/>
                      <a:pt x="597" y="171"/>
                    </a:cubicBezTo>
                    <a:cubicBezTo>
                      <a:pt x="596" y="171"/>
                      <a:pt x="596" y="173"/>
                      <a:pt x="595" y="171"/>
                    </a:cubicBezTo>
                    <a:cubicBezTo>
                      <a:pt x="595" y="171"/>
                      <a:pt x="595" y="171"/>
                      <a:pt x="596" y="170"/>
                    </a:cubicBezTo>
                    <a:cubicBezTo>
                      <a:pt x="596" y="170"/>
                      <a:pt x="596" y="169"/>
                      <a:pt x="596" y="169"/>
                    </a:cubicBezTo>
                    <a:cubicBezTo>
                      <a:pt x="595" y="169"/>
                      <a:pt x="595" y="171"/>
                      <a:pt x="594" y="170"/>
                    </a:cubicBezTo>
                    <a:cubicBezTo>
                      <a:pt x="594" y="171"/>
                      <a:pt x="594" y="170"/>
                      <a:pt x="594" y="170"/>
                    </a:cubicBezTo>
                    <a:cubicBezTo>
                      <a:pt x="594" y="170"/>
                      <a:pt x="593" y="169"/>
                      <a:pt x="593" y="169"/>
                    </a:cubicBezTo>
                    <a:cubicBezTo>
                      <a:pt x="593" y="169"/>
                      <a:pt x="593" y="169"/>
                      <a:pt x="593" y="169"/>
                    </a:cubicBezTo>
                    <a:cubicBezTo>
                      <a:pt x="593" y="169"/>
                      <a:pt x="593" y="169"/>
                      <a:pt x="593" y="169"/>
                    </a:cubicBezTo>
                    <a:cubicBezTo>
                      <a:pt x="593" y="168"/>
                      <a:pt x="592" y="167"/>
                      <a:pt x="593" y="167"/>
                    </a:cubicBezTo>
                    <a:cubicBezTo>
                      <a:pt x="592" y="167"/>
                      <a:pt x="592" y="167"/>
                      <a:pt x="592" y="167"/>
                    </a:cubicBezTo>
                    <a:cubicBezTo>
                      <a:pt x="591" y="167"/>
                      <a:pt x="592" y="167"/>
                      <a:pt x="592" y="167"/>
                    </a:cubicBezTo>
                    <a:cubicBezTo>
                      <a:pt x="592" y="166"/>
                      <a:pt x="591" y="166"/>
                      <a:pt x="591" y="166"/>
                    </a:cubicBezTo>
                    <a:cubicBezTo>
                      <a:pt x="591" y="166"/>
                      <a:pt x="591" y="167"/>
                      <a:pt x="591" y="167"/>
                    </a:cubicBezTo>
                    <a:cubicBezTo>
                      <a:pt x="591" y="167"/>
                      <a:pt x="591" y="168"/>
                      <a:pt x="591" y="168"/>
                    </a:cubicBezTo>
                    <a:cubicBezTo>
                      <a:pt x="591" y="168"/>
                      <a:pt x="591" y="169"/>
                      <a:pt x="591" y="169"/>
                    </a:cubicBezTo>
                    <a:cubicBezTo>
                      <a:pt x="591" y="170"/>
                      <a:pt x="590" y="170"/>
                      <a:pt x="590" y="169"/>
                    </a:cubicBezTo>
                    <a:cubicBezTo>
                      <a:pt x="590" y="169"/>
                      <a:pt x="589" y="168"/>
                      <a:pt x="589" y="167"/>
                    </a:cubicBezTo>
                    <a:cubicBezTo>
                      <a:pt x="589" y="168"/>
                      <a:pt x="588" y="167"/>
                      <a:pt x="588" y="167"/>
                    </a:cubicBezTo>
                    <a:cubicBezTo>
                      <a:pt x="588" y="167"/>
                      <a:pt x="589" y="167"/>
                      <a:pt x="588" y="167"/>
                    </a:cubicBezTo>
                    <a:cubicBezTo>
                      <a:pt x="588" y="166"/>
                      <a:pt x="588" y="167"/>
                      <a:pt x="587" y="167"/>
                    </a:cubicBezTo>
                    <a:cubicBezTo>
                      <a:pt x="587" y="167"/>
                      <a:pt x="587" y="166"/>
                      <a:pt x="587" y="166"/>
                    </a:cubicBezTo>
                    <a:cubicBezTo>
                      <a:pt x="587" y="166"/>
                      <a:pt x="585" y="166"/>
                      <a:pt x="585" y="166"/>
                    </a:cubicBezTo>
                    <a:cubicBezTo>
                      <a:pt x="585" y="166"/>
                      <a:pt x="583" y="166"/>
                      <a:pt x="583" y="166"/>
                    </a:cubicBezTo>
                    <a:cubicBezTo>
                      <a:pt x="584" y="167"/>
                      <a:pt x="584" y="167"/>
                      <a:pt x="583" y="167"/>
                    </a:cubicBezTo>
                    <a:cubicBezTo>
                      <a:pt x="584" y="168"/>
                      <a:pt x="584" y="169"/>
                      <a:pt x="585" y="169"/>
                    </a:cubicBezTo>
                    <a:cubicBezTo>
                      <a:pt x="585" y="169"/>
                      <a:pt x="585" y="169"/>
                      <a:pt x="585" y="170"/>
                    </a:cubicBezTo>
                    <a:cubicBezTo>
                      <a:pt x="585" y="170"/>
                      <a:pt x="585" y="170"/>
                      <a:pt x="586" y="170"/>
                    </a:cubicBezTo>
                    <a:cubicBezTo>
                      <a:pt x="586" y="170"/>
                      <a:pt x="586" y="170"/>
                      <a:pt x="586" y="170"/>
                    </a:cubicBezTo>
                    <a:cubicBezTo>
                      <a:pt x="586" y="170"/>
                      <a:pt x="586" y="171"/>
                      <a:pt x="586" y="171"/>
                    </a:cubicBezTo>
                    <a:cubicBezTo>
                      <a:pt x="586" y="171"/>
                      <a:pt x="586" y="172"/>
                      <a:pt x="586" y="172"/>
                    </a:cubicBezTo>
                    <a:cubicBezTo>
                      <a:pt x="586" y="172"/>
                      <a:pt x="587" y="172"/>
                      <a:pt x="587" y="172"/>
                    </a:cubicBezTo>
                    <a:cubicBezTo>
                      <a:pt x="588" y="172"/>
                      <a:pt x="587" y="172"/>
                      <a:pt x="587" y="173"/>
                    </a:cubicBezTo>
                    <a:cubicBezTo>
                      <a:pt x="587" y="173"/>
                      <a:pt x="588" y="172"/>
                      <a:pt x="588" y="172"/>
                    </a:cubicBezTo>
                    <a:cubicBezTo>
                      <a:pt x="588" y="173"/>
                      <a:pt x="590" y="172"/>
                      <a:pt x="590" y="172"/>
                    </a:cubicBezTo>
                    <a:cubicBezTo>
                      <a:pt x="590" y="173"/>
                      <a:pt x="589" y="173"/>
                      <a:pt x="589" y="173"/>
                    </a:cubicBezTo>
                    <a:cubicBezTo>
                      <a:pt x="588" y="173"/>
                      <a:pt x="588" y="174"/>
                      <a:pt x="588" y="174"/>
                    </a:cubicBezTo>
                    <a:cubicBezTo>
                      <a:pt x="588" y="174"/>
                      <a:pt x="588" y="173"/>
                      <a:pt x="589" y="173"/>
                    </a:cubicBezTo>
                    <a:cubicBezTo>
                      <a:pt x="589" y="173"/>
                      <a:pt x="589" y="173"/>
                      <a:pt x="590" y="173"/>
                    </a:cubicBezTo>
                    <a:cubicBezTo>
                      <a:pt x="590" y="173"/>
                      <a:pt x="590" y="173"/>
                      <a:pt x="590" y="173"/>
                    </a:cubicBezTo>
                    <a:cubicBezTo>
                      <a:pt x="589" y="174"/>
                      <a:pt x="589" y="174"/>
                      <a:pt x="588" y="174"/>
                    </a:cubicBezTo>
                    <a:cubicBezTo>
                      <a:pt x="589" y="174"/>
                      <a:pt x="589" y="174"/>
                      <a:pt x="590" y="174"/>
                    </a:cubicBezTo>
                    <a:cubicBezTo>
                      <a:pt x="590" y="174"/>
                      <a:pt x="590" y="173"/>
                      <a:pt x="590" y="174"/>
                    </a:cubicBezTo>
                    <a:cubicBezTo>
                      <a:pt x="591" y="174"/>
                      <a:pt x="591" y="174"/>
                      <a:pt x="590" y="174"/>
                    </a:cubicBezTo>
                    <a:cubicBezTo>
                      <a:pt x="591" y="174"/>
                      <a:pt x="591" y="174"/>
                      <a:pt x="591" y="174"/>
                    </a:cubicBezTo>
                    <a:cubicBezTo>
                      <a:pt x="591" y="175"/>
                      <a:pt x="590" y="175"/>
                      <a:pt x="590" y="175"/>
                    </a:cubicBezTo>
                    <a:cubicBezTo>
                      <a:pt x="591" y="175"/>
                      <a:pt x="591" y="174"/>
                      <a:pt x="592" y="175"/>
                    </a:cubicBezTo>
                    <a:cubicBezTo>
                      <a:pt x="592" y="175"/>
                      <a:pt x="591" y="175"/>
                      <a:pt x="591" y="175"/>
                    </a:cubicBezTo>
                    <a:cubicBezTo>
                      <a:pt x="591" y="175"/>
                      <a:pt x="592" y="175"/>
                      <a:pt x="591" y="176"/>
                    </a:cubicBezTo>
                    <a:cubicBezTo>
                      <a:pt x="592" y="175"/>
                      <a:pt x="592" y="176"/>
                      <a:pt x="592" y="176"/>
                    </a:cubicBezTo>
                    <a:cubicBezTo>
                      <a:pt x="592" y="176"/>
                      <a:pt x="592" y="176"/>
                      <a:pt x="593" y="176"/>
                    </a:cubicBezTo>
                    <a:cubicBezTo>
                      <a:pt x="592" y="176"/>
                      <a:pt x="592" y="177"/>
                      <a:pt x="592" y="177"/>
                    </a:cubicBezTo>
                    <a:cubicBezTo>
                      <a:pt x="592" y="177"/>
                      <a:pt x="593" y="176"/>
                      <a:pt x="594" y="177"/>
                    </a:cubicBezTo>
                    <a:cubicBezTo>
                      <a:pt x="594" y="177"/>
                      <a:pt x="594" y="177"/>
                      <a:pt x="593" y="177"/>
                    </a:cubicBezTo>
                    <a:cubicBezTo>
                      <a:pt x="594" y="177"/>
                      <a:pt x="594" y="177"/>
                      <a:pt x="594" y="177"/>
                    </a:cubicBezTo>
                    <a:cubicBezTo>
                      <a:pt x="593" y="177"/>
                      <a:pt x="594" y="177"/>
                      <a:pt x="594" y="177"/>
                    </a:cubicBezTo>
                    <a:cubicBezTo>
                      <a:pt x="594" y="177"/>
                      <a:pt x="594" y="178"/>
                      <a:pt x="594" y="178"/>
                    </a:cubicBezTo>
                    <a:cubicBezTo>
                      <a:pt x="595" y="178"/>
                      <a:pt x="595" y="178"/>
                      <a:pt x="594" y="179"/>
                    </a:cubicBezTo>
                    <a:cubicBezTo>
                      <a:pt x="595" y="179"/>
                      <a:pt x="595" y="179"/>
                      <a:pt x="595" y="179"/>
                    </a:cubicBezTo>
                    <a:cubicBezTo>
                      <a:pt x="595" y="179"/>
                      <a:pt x="595" y="179"/>
                      <a:pt x="595" y="180"/>
                    </a:cubicBezTo>
                    <a:cubicBezTo>
                      <a:pt x="595" y="180"/>
                      <a:pt x="594" y="180"/>
                      <a:pt x="594" y="180"/>
                    </a:cubicBezTo>
                    <a:cubicBezTo>
                      <a:pt x="594" y="180"/>
                      <a:pt x="594" y="181"/>
                      <a:pt x="595" y="181"/>
                    </a:cubicBezTo>
                    <a:cubicBezTo>
                      <a:pt x="595" y="181"/>
                      <a:pt x="595" y="180"/>
                      <a:pt x="595" y="180"/>
                    </a:cubicBezTo>
                    <a:cubicBezTo>
                      <a:pt x="595" y="180"/>
                      <a:pt x="596" y="180"/>
                      <a:pt x="596" y="180"/>
                    </a:cubicBezTo>
                    <a:cubicBezTo>
                      <a:pt x="596" y="181"/>
                      <a:pt x="596" y="181"/>
                      <a:pt x="595" y="181"/>
                    </a:cubicBezTo>
                    <a:cubicBezTo>
                      <a:pt x="595" y="181"/>
                      <a:pt x="596" y="181"/>
                      <a:pt x="597" y="181"/>
                    </a:cubicBezTo>
                    <a:cubicBezTo>
                      <a:pt x="597" y="181"/>
                      <a:pt x="597" y="181"/>
                      <a:pt x="597" y="181"/>
                    </a:cubicBezTo>
                    <a:cubicBezTo>
                      <a:pt x="597" y="181"/>
                      <a:pt x="597" y="181"/>
                      <a:pt x="597" y="181"/>
                    </a:cubicBezTo>
                    <a:cubicBezTo>
                      <a:pt x="596" y="182"/>
                      <a:pt x="596" y="182"/>
                      <a:pt x="596" y="182"/>
                    </a:cubicBezTo>
                    <a:cubicBezTo>
                      <a:pt x="596" y="182"/>
                      <a:pt x="596" y="183"/>
                      <a:pt x="595" y="183"/>
                    </a:cubicBezTo>
                    <a:cubicBezTo>
                      <a:pt x="595" y="182"/>
                      <a:pt x="595" y="182"/>
                      <a:pt x="595" y="182"/>
                    </a:cubicBezTo>
                    <a:cubicBezTo>
                      <a:pt x="595" y="182"/>
                      <a:pt x="595" y="183"/>
                      <a:pt x="595" y="183"/>
                    </a:cubicBezTo>
                    <a:cubicBezTo>
                      <a:pt x="595" y="183"/>
                      <a:pt x="595" y="184"/>
                      <a:pt x="595" y="184"/>
                    </a:cubicBezTo>
                    <a:cubicBezTo>
                      <a:pt x="595" y="184"/>
                      <a:pt x="595" y="184"/>
                      <a:pt x="595" y="184"/>
                    </a:cubicBezTo>
                    <a:cubicBezTo>
                      <a:pt x="594" y="184"/>
                      <a:pt x="594" y="185"/>
                      <a:pt x="593" y="185"/>
                    </a:cubicBezTo>
                    <a:cubicBezTo>
                      <a:pt x="593" y="185"/>
                      <a:pt x="590" y="184"/>
                      <a:pt x="590" y="184"/>
                    </a:cubicBezTo>
                    <a:cubicBezTo>
                      <a:pt x="590" y="184"/>
                      <a:pt x="590" y="184"/>
                      <a:pt x="591" y="184"/>
                    </a:cubicBezTo>
                    <a:cubicBezTo>
                      <a:pt x="590" y="184"/>
                      <a:pt x="590" y="183"/>
                      <a:pt x="590" y="183"/>
                    </a:cubicBezTo>
                    <a:cubicBezTo>
                      <a:pt x="590" y="183"/>
                      <a:pt x="589" y="183"/>
                      <a:pt x="589" y="183"/>
                    </a:cubicBezTo>
                    <a:cubicBezTo>
                      <a:pt x="589" y="183"/>
                      <a:pt x="588" y="183"/>
                      <a:pt x="588" y="183"/>
                    </a:cubicBezTo>
                    <a:cubicBezTo>
                      <a:pt x="587" y="183"/>
                      <a:pt x="587" y="183"/>
                      <a:pt x="587" y="182"/>
                    </a:cubicBezTo>
                    <a:cubicBezTo>
                      <a:pt x="587" y="182"/>
                      <a:pt x="586" y="183"/>
                      <a:pt x="586" y="182"/>
                    </a:cubicBezTo>
                    <a:cubicBezTo>
                      <a:pt x="586" y="182"/>
                      <a:pt x="586" y="182"/>
                      <a:pt x="586" y="182"/>
                    </a:cubicBezTo>
                    <a:cubicBezTo>
                      <a:pt x="586" y="182"/>
                      <a:pt x="585" y="182"/>
                      <a:pt x="585" y="182"/>
                    </a:cubicBezTo>
                    <a:cubicBezTo>
                      <a:pt x="584" y="181"/>
                      <a:pt x="583" y="182"/>
                      <a:pt x="583" y="181"/>
                    </a:cubicBezTo>
                    <a:cubicBezTo>
                      <a:pt x="583" y="181"/>
                      <a:pt x="582" y="181"/>
                      <a:pt x="582" y="181"/>
                    </a:cubicBezTo>
                    <a:cubicBezTo>
                      <a:pt x="581" y="181"/>
                      <a:pt x="581" y="181"/>
                      <a:pt x="580" y="181"/>
                    </a:cubicBezTo>
                    <a:cubicBezTo>
                      <a:pt x="580" y="181"/>
                      <a:pt x="576" y="181"/>
                      <a:pt x="577" y="180"/>
                    </a:cubicBezTo>
                    <a:cubicBezTo>
                      <a:pt x="577" y="180"/>
                      <a:pt x="576" y="180"/>
                      <a:pt x="576" y="180"/>
                    </a:cubicBezTo>
                    <a:cubicBezTo>
                      <a:pt x="576" y="179"/>
                      <a:pt x="576" y="180"/>
                      <a:pt x="576" y="180"/>
                    </a:cubicBezTo>
                    <a:cubicBezTo>
                      <a:pt x="575" y="179"/>
                      <a:pt x="574" y="179"/>
                      <a:pt x="574" y="179"/>
                    </a:cubicBezTo>
                    <a:cubicBezTo>
                      <a:pt x="573" y="178"/>
                      <a:pt x="573" y="178"/>
                      <a:pt x="574" y="178"/>
                    </a:cubicBezTo>
                    <a:cubicBezTo>
                      <a:pt x="574" y="178"/>
                      <a:pt x="574" y="177"/>
                      <a:pt x="574" y="177"/>
                    </a:cubicBezTo>
                    <a:cubicBezTo>
                      <a:pt x="574" y="177"/>
                      <a:pt x="574" y="178"/>
                      <a:pt x="573" y="178"/>
                    </a:cubicBezTo>
                    <a:cubicBezTo>
                      <a:pt x="573" y="178"/>
                      <a:pt x="573" y="177"/>
                      <a:pt x="573" y="177"/>
                    </a:cubicBezTo>
                    <a:cubicBezTo>
                      <a:pt x="573" y="177"/>
                      <a:pt x="573" y="178"/>
                      <a:pt x="573" y="178"/>
                    </a:cubicBezTo>
                    <a:cubicBezTo>
                      <a:pt x="573" y="178"/>
                      <a:pt x="572" y="177"/>
                      <a:pt x="572" y="177"/>
                    </a:cubicBezTo>
                    <a:cubicBezTo>
                      <a:pt x="572" y="176"/>
                      <a:pt x="573" y="176"/>
                      <a:pt x="574" y="176"/>
                    </a:cubicBezTo>
                    <a:cubicBezTo>
                      <a:pt x="573" y="176"/>
                      <a:pt x="573" y="176"/>
                      <a:pt x="573" y="176"/>
                    </a:cubicBezTo>
                    <a:cubicBezTo>
                      <a:pt x="573" y="176"/>
                      <a:pt x="574" y="176"/>
                      <a:pt x="574" y="176"/>
                    </a:cubicBezTo>
                    <a:cubicBezTo>
                      <a:pt x="574" y="176"/>
                      <a:pt x="573" y="176"/>
                      <a:pt x="573" y="176"/>
                    </a:cubicBezTo>
                    <a:cubicBezTo>
                      <a:pt x="573" y="176"/>
                      <a:pt x="573" y="175"/>
                      <a:pt x="573" y="175"/>
                    </a:cubicBezTo>
                    <a:cubicBezTo>
                      <a:pt x="573" y="176"/>
                      <a:pt x="572" y="176"/>
                      <a:pt x="572" y="176"/>
                    </a:cubicBezTo>
                    <a:cubicBezTo>
                      <a:pt x="572" y="176"/>
                      <a:pt x="572" y="175"/>
                      <a:pt x="571" y="175"/>
                    </a:cubicBezTo>
                    <a:cubicBezTo>
                      <a:pt x="571" y="175"/>
                      <a:pt x="571" y="176"/>
                      <a:pt x="571" y="176"/>
                    </a:cubicBezTo>
                    <a:cubicBezTo>
                      <a:pt x="571" y="176"/>
                      <a:pt x="571" y="176"/>
                      <a:pt x="571" y="176"/>
                    </a:cubicBezTo>
                    <a:cubicBezTo>
                      <a:pt x="570" y="176"/>
                      <a:pt x="570" y="175"/>
                      <a:pt x="570" y="176"/>
                    </a:cubicBezTo>
                    <a:cubicBezTo>
                      <a:pt x="569" y="176"/>
                      <a:pt x="569" y="176"/>
                      <a:pt x="568" y="176"/>
                    </a:cubicBezTo>
                    <a:cubicBezTo>
                      <a:pt x="567" y="176"/>
                      <a:pt x="567" y="175"/>
                      <a:pt x="567" y="175"/>
                    </a:cubicBezTo>
                    <a:cubicBezTo>
                      <a:pt x="566" y="174"/>
                      <a:pt x="565" y="175"/>
                      <a:pt x="564" y="174"/>
                    </a:cubicBezTo>
                    <a:cubicBezTo>
                      <a:pt x="564" y="174"/>
                      <a:pt x="564" y="174"/>
                      <a:pt x="565" y="174"/>
                    </a:cubicBezTo>
                    <a:cubicBezTo>
                      <a:pt x="564" y="174"/>
                      <a:pt x="564" y="174"/>
                      <a:pt x="563" y="174"/>
                    </a:cubicBezTo>
                    <a:cubicBezTo>
                      <a:pt x="563" y="174"/>
                      <a:pt x="564" y="174"/>
                      <a:pt x="564" y="174"/>
                    </a:cubicBezTo>
                    <a:cubicBezTo>
                      <a:pt x="564" y="174"/>
                      <a:pt x="564" y="173"/>
                      <a:pt x="564" y="173"/>
                    </a:cubicBezTo>
                    <a:cubicBezTo>
                      <a:pt x="564" y="173"/>
                      <a:pt x="562" y="174"/>
                      <a:pt x="563" y="173"/>
                    </a:cubicBezTo>
                    <a:cubicBezTo>
                      <a:pt x="563" y="173"/>
                      <a:pt x="565" y="173"/>
                      <a:pt x="566" y="172"/>
                    </a:cubicBezTo>
                    <a:cubicBezTo>
                      <a:pt x="566" y="172"/>
                      <a:pt x="565" y="172"/>
                      <a:pt x="565" y="172"/>
                    </a:cubicBezTo>
                    <a:cubicBezTo>
                      <a:pt x="565" y="172"/>
                      <a:pt x="565" y="172"/>
                      <a:pt x="565" y="172"/>
                    </a:cubicBezTo>
                    <a:cubicBezTo>
                      <a:pt x="565" y="172"/>
                      <a:pt x="563" y="173"/>
                      <a:pt x="563" y="172"/>
                    </a:cubicBezTo>
                    <a:cubicBezTo>
                      <a:pt x="563" y="173"/>
                      <a:pt x="562" y="173"/>
                      <a:pt x="562" y="173"/>
                    </a:cubicBezTo>
                    <a:cubicBezTo>
                      <a:pt x="562" y="173"/>
                      <a:pt x="561" y="173"/>
                      <a:pt x="561" y="173"/>
                    </a:cubicBezTo>
                    <a:cubicBezTo>
                      <a:pt x="561" y="173"/>
                      <a:pt x="561" y="172"/>
                      <a:pt x="561" y="172"/>
                    </a:cubicBezTo>
                    <a:cubicBezTo>
                      <a:pt x="561" y="172"/>
                      <a:pt x="560" y="172"/>
                      <a:pt x="559" y="172"/>
                    </a:cubicBezTo>
                    <a:cubicBezTo>
                      <a:pt x="560" y="172"/>
                      <a:pt x="560" y="171"/>
                      <a:pt x="560" y="171"/>
                    </a:cubicBezTo>
                    <a:cubicBezTo>
                      <a:pt x="560" y="171"/>
                      <a:pt x="560" y="171"/>
                      <a:pt x="559" y="171"/>
                    </a:cubicBezTo>
                    <a:cubicBezTo>
                      <a:pt x="560" y="171"/>
                      <a:pt x="560" y="171"/>
                      <a:pt x="560" y="171"/>
                    </a:cubicBezTo>
                    <a:cubicBezTo>
                      <a:pt x="560" y="171"/>
                      <a:pt x="560" y="171"/>
                      <a:pt x="560" y="171"/>
                    </a:cubicBezTo>
                    <a:cubicBezTo>
                      <a:pt x="560" y="171"/>
                      <a:pt x="560" y="170"/>
                      <a:pt x="560" y="170"/>
                    </a:cubicBezTo>
                    <a:cubicBezTo>
                      <a:pt x="560" y="170"/>
                      <a:pt x="560" y="170"/>
                      <a:pt x="560" y="169"/>
                    </a:cubicBezTo>
                    <a:cubicBezTo>
                      <a:pt x="560" y="169"/>
                      <a:pt x="559" y="170"/>
                      <a:pt x="559" y="169"/>
                    </a:cubicBezTo>
                    <a:cubicBezTo>
                      <a:pt x="559" y="169"/>
                      <a:pt x="559" y="169"/>
                      <a:pt x="558" y="169"/>
                    </a:cubicBezTo>
                    <a:cubicBezTo>
                      <a:pt x="558" y="169"/>
                      <a:pt x="558" y="169"/>
                      <a:pt x="558" y="169"/>
                    </a:cubicBezTo>
                    <a:cubicBezTo>
                      <a:pt x="559" y="169"/>
                      <a:pt x="560" y="169"/>
                      <a:pt x="560" y="169"/>
                    </a:cubicBezTo>
                    <a:cubicBezTo>
                      <a:pt x="562" y="169"/>
                      <a:pt x="563" y="169"/>
                      <a:pt x="564" y="168"/>
                    </a:cubicBezTo>
                    <a:cubicBezTo>
                      <a:pt x="564" y="168"/>
                      <a:pt x="565" y="167"/>
                      <a:pt x="566" y="167"/>
                    </a:cubicBezTo>
                    <a:cubicBezTo>
                      <a:pt x="565" y="167"/>
                      <a:pt x="565" y="168"/>
                      <a:pt x="564" y="168"/>
                    </a:cubicBezTo>
                    <a:cubicBezTo>
                      <a:pt x="565" y="167"/>
                      <a:pt x="565" y="167"/>
                      <a:pt x="564" y="168"/>
                    </a:cubicBezTo>
                    <a:cubicBezTo>
                      <a:pt x="564" y="168"/>
                      <a:pt x="563" y="168"/>
                      <a:pt x="563" y="168"/>
                    </a:cubicBezTo>
                    <a:cubicBezTo>
                      <a:pt x="563" y="167"/>
                      <a:pt x="564" y="167"/>
                      <a:pt x="564" y="167"/>
                    </a:cubicBezTo>
                    <a:cubicBezTo>
                      <a:pt x="564" y="167"/>
                      <a:pt x="564" y="167"/>
                      <a:pt x="563" y="167"/>
                    </a:cubicBezTo>
                    <a:cubicBezTo>
                      <a:pt x="564" y="167"/>
                      <a:pt x="564" y="167"/>
                      <a:pt x="564" y="166"/>
                    </a:cubicBezTo>
                    <a:cubicBezTo>
                      <a:pt x="564" y="166"/>
                      <a:pt x="564" y="166"/>
                      <a:pt x="564" y="166"/>
                    </a:cubicBezTo>
                    <a:cubicBezTo>
                      <a:pt x="564" y="166"/>
                      <a:pt x="563" y="166"/>
                      <a:pt x="563" y="167"/>
                    </a:cubicBezTo>
                    <a:cubicBezTo>
                      <a:pt x="563" y="167"/>
                      <a:pt x="563" y="167"/>
                      <a:pt x="563" y="167"/>
                    </a:cubicBezTo>
                    <a:cubicBezTo>
                      <a:pt x="563" y="166"/>
                      <a:pt x="563" y="166"/>
                      <a:pt x="563" y="166"/>
                    </a:cubicBezTo>
                    <a:cubicBezTo>
                      <a:pt x="563" y="166"/>
                      <a:pt x="563" y="166"/>
                      <a:pt x="562" y="167"/>
                    </a:cubicBezTo>
                    <a:cubicBezTo>
                      <a:pt x="563" y="166"/>
                      <a:pt x="562" y="166"/>
                      <a:pt x="562" y="165"/>
                    </a:cubicBezTo>
                    <a:cubicBezTo>
                      <a:pt x="562" y="165"/>
                      <a:pt x="561" y="166"/>
                      <a:pt x="561" y="166"/>
                    </a:cubicBezTo>
                    <a:cubicBezTo>
                      <a:pt x="561" y="166"/>
                      <a:pt x="561" y="166"/>
                      <a:pt x="562" y="166"/>
                    </a:cubicBezTo>
                    <a:cubicBezTo>
                      <a:pt x="562" y="166"/>
                      <a:pt x="561" y="167"/>
                      <a:pt x="560" y="167"/>
                    </a:cubicBezTo>
                    <a:cubicBezTo>
                      <a:pt x="561" y="167"/>
                      <a:pt x="561" y="167"/>
                      <a:pt x="561" y="166"/>
                    </a:cubicBezTo>
                    <a:cubicBezTo>
                      <a:pt x="561" y="166"/>
                      <a:pt x="560" y="167"/>
                      <a:pt x="560" y="167"/>
                    </a:cubicBezTo>
                    <a:cubicBezTo>
                      <a:pt x="560" y="167"/>
                      <a:pt x="560" y="166"/>
                      <a:pt x="560" y="166"/>
                    </a:cubicBezTo>
                    <a:cubicBezTo>
                      <a:pt x="560" y="166"/>
                      <a:pt x="560" y="166"/>
                      <a:pt x="560" y="166"/>
                    </a:cubicBezTo>
                    <a:cubicBezTo>
                      <a:pt x="559" y="166"/>
                      <a:pt x="559" y="166"/>
                      <a:pt x="559" y="167"/>
                    </a:cubicBezTo>
                    <a:cubicBezTo>
                      <a:pt x="559" y="167"/>
                      <a:pt x="558" y="167"/>
                      <a:pt x="558" y="167"/>
                    </a:cubicBezTo>
                    <a:cubicBezTo>
                      <a:pt x="558" y="166"/>
                      <a:pt x="559" y="166"/>
                      <a:pt x="558" y="166"/>
                    </a:cubicBezTo>
                    <a:cubicBezTo>
                      <a:pt x="559" y="166"/>
                      <a:pt x="559" y="166"/>
                      <a:pt x="559" y="165"/>
                    </a:cubicBezTo>
                    <a:cubicBezTo>
                      <a:pt x="560" y="165"/>
                      <a:pt x="560" y="165"/>
                      <a:pt x="561" y="164"/>
                    </a:cubicBezTo>
                    <a:cubicBezTo>
                      <a:pt x="561" y="165"/>
                      <a:pt x="560" y="165"/>
                      <a:pt x="560" y="164"/>
                    </a:cubicBezTo>
                    <a:cubicBezTo>
                      <a:pt x="560" y="164"/>
                      <a:pt x="560" y="164"/>
                      <a:pt x="560" y="165"/>
                    </a:cubicBezTo>
                    <a:cubicBezTo>
                      <a:pt x="560" y="165"/>
                      <a:pt x="559" y="165"/>
                      <a:pt x="559" y="165"/>
                    </a:cubicBezTo>
                    <a:cubicBezTo>
                      <a:pt x="558" y="165"/>
                      <a:pt x="558" y="165"/>
                      <a:pt x="558" y="166"/>
                    </a:cubicBezTo>
                    <a:cubicBezTo>
                      <a:pt x="558" y="166"/>
                      <a:pt x="557" y="166"/>
                      <a:pt x="557" y="166"/>
                    </a:cubicBezTo>
                    <a:cubicBezTo>
                      <a:pt x="557" y="166"/>
                      <a:pt x="558" y="165"/>
                      <a:pt x="558" y="165"/>
                    </a:cubicBezTo>
                    <a:cubicBezTo>
                      <a:pt x="558" y="165"/>
                      <a:pt x="557" y="165"/>
                      <a:pt x="557" y="165"/>
                    </a:cubicBezTo>
                    <a:cubicBezTo>
                      <a:pt x="557" y="165"/>
                      <a:pt x="558" y="164"/>
                      <a:pt x="558" y="163"/>
                    </a:cubicBezTo>
                    <a:cubicBezTo>
                      <a:pt x="558" y="163"/>
                      <a:pt x="558" y="163"/>
                      <a:pt x="558" y="163"/>
                    </a:cubicBezTo>
                    <a:cubicBezTo>
                      <a:pt x="558" y="163"/>
                      <a:pt x="558" y="163"/>
                      <a:pt x="558" y="163"/>
                    </a:cubicBezTo>
                    <a:cubicBezTo>
                      <a:pt x="557" y="163"/>
                      <a:pt x="558" y="164"/>
                      <a:pt x="557" y="164"/>
                    </a:cubicBezTo>
                    <a:cubicBezTo>
                      <a:pt x="557" y="164"/>
                      <a:pt x="557" y="164"/>
                      <a:pt x="557" y="164"/>
                    </a:cubicBezTo>
                    <a:cubicBezTo>
                      <a:pt x="557" y="163"/>
                      <a:pt x="556" y="164"/>
                      <a:pt x="556" y="163"/>
                    </a:cubicBezTo>
                    <a:cubicBezTo>
                      <a:pt x="555" y="163"/>
                      <a:pt x="556" y="163"/>
                      <a:pt x="556" y="163"/>
                    </a:cubicBezTo>
                    <a:cubicBezTo>
                      <a:pt x="557" y="162"/>
                      <a:pt x="556" y="162"/>
                      <a:pt x="556" y="162"/>
                    </a:cubicBezTo>
                    <a:cubicBezTo>
                      <a:pt x="556" y="162"/>
                      <a:pt x="556" y="161"/>
                      <a:pt x="556" y="161"/>
                    </a:cubicBezTo>
                    <a:cubicBezTo>
                      <a:pt x="556" y="161"/>
                      <a:pt x="556" y="161"/>
                      <a:pt x="556" y="161"/>
                    </a:cubicBezTo>
                    <a:cubicBezTo>
                      <a:pt x="556" y="161"/>
                      <a:pt x="556" y="161"/>
                      <a:pt x="556" y="161"/>
                    </a:cubicBezTo>
                    <a:cubicBezTo>
                      <a:pt x="556" y="161"/>
                      <a:pt x="555" y="161"/>
                      <a:pt x="555" y="160"/>
                    </a:cubicBezTo>
                    <a:cubicBezTo>
                      <a:pt x="555" y="160"/>
                      <a:pt x="555" y="161"/>
                      <a:pt x="555" y="161"/>
                    </a:cubicBezTo>
                    <a:cubicBezTo>
                      <a:pt x="555" y="161"/>
                      <a:pt x="554" y="161"/>
                      <a:pt x="554" y="161"/>
                    </a:cubicBezTo>
                    <a:cubicBezTo>
                      <a:pt x="554" y="160"/>
                      <a:pt x="554" y="160"/>
                      <a:pt x="555" y="160"/>
                    </a:cubicBezTo>
                    <a:cubicBezTo>
                      <a:pt x="555" y="160"/>
                      <a:pt x="556" y="160"/>
                      <a:pt x="555" y="160"/>
                    </a:cubicBezTo>
                    <a:cubicBezTo>
                      <a:pt x="555" y="160"/>
                      <a:pt x="554" y="160"/>
                      <a:pt x="554" y="160"/>
                    </a:cubicBezTo>
                    <a:cubicBezTo>
                      <a:pt x="554" y="159"/>
                      <a:pt x="555" y="159"/>
                      <a:pt x="556" y="159"/>
                    </a:cubicBezTo>
                    <a:cubicBezTo>
                      <a:pt x="555" y="159"/>
                      <a:pt x="555" y="159"/>
                      <a:pt x="555" y="159"/>
                    </a:cubicBezTo>
                    <a:cubicBezTo>
                      <a:pt x="555" y="159"/>
                      <a:pt x="557" y="158"/>
                      <a:pt x="558" y="158"/>
                    </a:cubicBezTo>
                    <a:cubicBezTo>
                      <a:pt x="557" y="158"/>
                      <a:pt x="556" y="158"/>
                      <a:pt x="557" y="158"/>
                    </a:cubicBezTo>
                    <a:cubicBezTo>
                      <a:pt x="557" y="157"/>
                      <a:pt x="557" y="157"/>
                      <a:pt x="557" y="157"/>
                    </a:cubicBezTo>
                    <a:cubicBezTo>
                      <a:pt x="556" y="158"/>
                      <a:pt x="556" y="159"/>
                      <a:pt x="555" y="159"/>
                    </a:cubicBezTo>
                    <a:cubicBezTo>
                      <a:pt x="555" y="158"/>
                      <a:pt x="555" y="158"/>
                      <a:pt x="555" y="158"/>
                    </a:cubicBezTo>
                    <a:cubicBezTo>
                      <a:pt x="555" y="158"/>
                      <a:pt x="555" y="158"/>
                      <a:pt x="556" y="158"/>
                    </a:cubicBezTo>
                    <a:cubicBezTo>
                      <a:pt x="555" y="158"/>
                      <a:pt x="555" y="158"/>
                      <a:pt x="556" y="158"/>
                    </a:cubicBezTo>
                    <a:cubicBezTo>
                      <a:pt x="555" y="157"/>
                      <a:pt x="555" y="158"/>
                      <a:pt x="555" y="158"/>
                    </a:cubicBezTo>
                    <a:cubicBezTo>
                      <a:pt x="555" y="158"/>
                      <a:pt x="555" y="157"/>
                      <a:pt x="554" y="157"/>
                    </a:cubicBezTo>
                    <a:cubicBezTo>
                      <a:pt x="554" y="157"/>
                      <a:pt x="554" y="158"/>
                      <a:pt x="554" y="158"/>
                    </a:cubicBezTo>
                    <a:cubicBezTo>
                      <a:pt x="554" y="158"/>
                      <a:pt x="553" y="158"/>
                      <a:pt x="553" y="158"/>
                    </a:cubicBezTo>
                    <a:cubicBezTo>
                      <a:pt x="552" y="158"/>
                      <a:pt x="553" y="158"/>
                      <a:pt x="552" y="158"/>
                    </a:cubicBezTo>
                    <a:cubicBezTo>
                      <a:pt x="552" y="157"/>
                      <a:pt x="552" y="159"/>
                      <a:pt x="552" y="159"/>
                    </a:cubicBezTo>
                    <a:cubicBezTo>
                      <a:pt x="552" y="159"/>
                      <a:pt x="552" y="159"/>
                      <a:pt x="552" y="159"/>
                    </a:cubicBezTo>
                    <a:cubicBezTo>
                      <a:pt x="552" y="159"/>
                      <a:pt x="551" y="159"/>
                      <a:pt x="551" y="159"/>
                    </a:cubicBezTo>
                    <a:cubicBezTo>
                      <a:pt x="551" y="159"/>
                      <a:pt x="550" y="160"/>
                      <a:pt x="550" y="160"/>
                    </a:cubicBezTo>
                    <a:cubicBezTo>
                      <a:pt x="550" y="160"/>
                      <a:pt x="549" y="160"/>
                      <a:pt x="549" y="160"/>
                    </a:cubicBezTo>
                    <a:cubicBezTo>
                      <a:pt x="549" y="160"/>
                      <a:pt x="550" y="160"/>
                      <a:pt x="549" y="159"/>
                    </a:cubicBezTo>
                    <a:cubicBezTo>
                      <a:pt x="550" y="159"/>
                      <a:pt x="550" y="160"/>
                      <a:pt x="550" y="159"/>
                    </a:cubicBezTo>
                    <a:cubicBezTo>
                      <a:pt x="550" y="158"/>
                      <a:pt x="551" y="159"/>
                      <a:pt x="551" y="158"/>
                    </a:cubicBezTo>
                    <a:cubicBezTo>
                      <a:pt x="551" y="158"/>
                      <a:pt x="550" y="158"/>
                      <a:pt x="550" y="158"/>
                    </a:cubicBezTo>
                    <a:cubicBezTo>
                      <a:pt x="550" y="158"/>
                      <a:pt x="551" y="158"/>
                      <a:pt x="551" y="158"/>
                    </a:cubicBezTo>
                    <a:cubicBezTo>
                      <a:pt x="552" y="158"/>
                      <a:pt x="551" y="158"/>
                      <a:pt x="551" y="157"/>
                    </a:cubicBezTo>
                    <a:cubicBezTo>
                      <a:pt x="551" y="157"/>
                      <a:pt x="551" y="157"/>
                      <a:pt x="552" y="157"/>
                    </a:cubicBezTo>
                    <a:cubicBezTo>
                      <a:pt x="552" y="156"/>
                      <a:pt x="551" y="156"/>
                      <a:pt x="551" y="157"/>
                    </a:cubicBezTo>
                    <a:cubicBezTo>
                      <a:pt x="551" y="157"/>
                      <a:pt x="551" y="157"/>
                      <a:pt x="551" y="157"/>
                    </a:cubicBezTo>
                    <a:cubicBezTo>
                      <a:pt x="550" y="157"/>
                      <a:pt x="550" y="157"/>
                      <a:pt x="550" y="158"/>
                    </a:cubicBezTo>
                    <a:cubicBezTo>
                      <a:pt x="550" y="158"/>
                      <a:pt x="550" y="158"/>
                      <a:pt x="549" y="158"/>
                    </a:cubicBezTo>
                    <a:cubicBezTo>
                      <a:pt x="549" y="157"/>
                      <a:pt x="550" y="157"/>
                      <a:pt x="550" y="157"/>
                    </a:cubicBezTo>
                    <a:cubicBezTo>
                      <a:pt x="550" y="157"/>
                      <a:pt x="549" y="157"/>
                      <a:pt x="549" y="157"/>
                    </a:cubicBezTo>
                    <a:cubicBezTo>
                      <a:pt x="549" y="158"/>
                      <a:pt x="549" y="157"/>
                      <a:pt x="549" y="157"/>
                    </a:cubicBezTo>
                    <a:cubicBezTo>
                      <a:pt x="549" y="157"/>
                      <a:pt x="549" y="158"/>
                      <a:pt x="549" y="158"/>
                    </a:cubicBezTo>
                    <a:cubicBezTo>
                      <a:pt x="548" y="158"/>
                      <a:pt x="548" y="158"/>
                      <a:pt x="548" y="158"/>
                    </a:cubicBezTo>
                    <a:cubicBezTo>
                      <a:pt x="548" y="158"/>
                      <a:pt x="547" y="157"/>
                      <a:pt x="547" y="156"/>
                    </a:cubicBezTo>
                    <a:cubicBezTo>
                      <a:pt x="547" y="156"/>
                      <a:pt x="549" y="156"/>
                      <a:pt x="549" y="155"/>
                    </a:cubicBezTo>
                    <a:cubicBezTo>
                      <a:pt x="549" y="155"/>
                      <a:pt x="549" y="155"/>
                      <a:pt x="549" y="155"/>
                    </a:cubicBezTo>
                    <a:cubicBezTo>
                      <a:pt x="549" y="155"/>
                      <a:pt x="549" y="155"/>
                      <a:pt x="549" y="155"/>
                    </a:cubicBezTo>
                    <a:cubicBezTo>
                      <a:pt x="549" y="154"/>
                      <a:pt x="548" y="155"/>
                      <a:pt x="548" y="155"/>
                    </a:cubicBezTo>
                    <a:cubicBezTo>
                      <a:pt x="548" y="155"/>
                      <a:pt x="548" y="156"/>
                      <a:pt x="547" y="156"/>
                    </a:cubicBezTo>
                    <a:cubicBezTo>
                      <a:pt x="547" y="156"/>
                      <a:pt x="547" y="156"/>
                      <a:pt x="547" y="156"/>
                    </a:cubicBezTo>
                    <a:cubicBezTo>
                      <a:pt x="546" y="156"/>
                      <a:pt x="547" y="156"/>
                      <a:pt x="546" y="156"/>
                    </a:cubicBezTo>
                    <a:cubicBezTo>
                      <a:pt x="546" y="156"/>
                      <a:pt x="545" y="156"/>
                      <a:pt x="545" y="156"/>
                    </a:cubicBezTo>
                    <a:cubicBezTo>
                      <a:pt x="546" y="156"/>
                      <a:pt x="546" y="157"/>
                      <a:pt x="547" y="157"/>
                    </a:cubicBezTo>
                    <a:cubicBezTo>
                      <a:pt x="547" y="157"/>
                      <a:pt x="548" y="158"/>
                      <a:pt x="547" y="158"/>
                    </a:cubicBezTo>
                    <a:cubicBezTo>
                      <a:pt x="547" y="158"/>
                      <a:pt x="546" y="158"/>
                      <a:pt x="546" y="158"/>
                    </a:cubicBezTo>
                    <a:cubicBezTo>
                      <a:pt x="546" y="158"/>
                      <a:pt x="547" y="158"/>
                      <a:pt x="547" y="159"/>
                    </a:cubicBezTo>
                    <a:cubicBezTo>
                      <a:pt x="547" y="159"/>
                      <a:pt x="545" y="159"/>
                      <a:pt x="547" y="159"/>
                    </a:cubicBezTo>
                    <a:cubicBezTo>
                      <a:pt x="546" y="159"/>
                      <a:pt x="545" y="160"/>
                      <a:pt x="545" y="160"/>
                    </a:cubicBezTo>
                    <a:cubicBezTo>
                      <a:pt x="544" y="160"/>
                      <a:pt x="545" y="159"/>
                      <a:pt x="544" y="160"/>
                    </a:cubicBezTo>
                    <a:cubicBezTo>
                      <a:pt x="544" y="160"/>
                      <a:pt x="544" y="160"/>
                      <a:pt x="543" y="159"/>
                    </a:cubicBezTo>
                    <a:cubicBezTo>
                      <a:pt x="543" y="159"/>
                      <a:pt x="543" y="160"/>
                      <a:pt x="543" y="159"/>
                    </a:cubicBezTo>
                    <a:cubicBezTo>
                      <a:pt x="543" y="159"/>
                      <a:pt x="542" y="159"/>
                      <a:pt x="542" y="159"/>
                    </a:cubicBezTo>
                    <a:cubicBezTo>
                      <a:pt x="542" y="159"/>
                      <a:pt x="542" y="160"/>
                      <a:pt x="541" y="159"/>
                    </a:cubicBezTo>
                    <a:cubicBezTo>
                      <a:pt x="541" y="159"/>
                      <a:pt x="541" y="159"/>
                      <a:pt x="540" y="158"/>
                    </a:cubicBezTo>
                    <a:cubicBezTo>
                      <a:pt x="540" y="158"/>
                      <a:pt x="540" y="158"/>
                      <a:pt x="540" y="158"/>
                    </a:cubicBezTo>
                    <a:cubicBezTo>
                      <a:pt x="539" y="158"/>
                      <a:pt x="539" y="158"/>
                      <a:pt x="539" y="158"/>
                    </a:cubicBezTo>
                    <a:cubicBezTo>
                      <a:pt x="538" y="158"/>
                      <a:pt x="538" y="158"/>
                      <a:pt x="538" y="158"/>
                    </a:cubicBezTo>
                    <a:cubicBezTo>
                      <a:pt x="538" y="158"/>
                      <a:pt x="538" y="158"/>
                      <a:pt x="538" y="158"/>
                    </a:cubicBezTo>
                    <a:cubicBezTo>
                      <a:pt x="538" y="158"/>
                      <a:pt x="538" y="158"/>
                      <a:pt x="538" y="158"/>
                    </a:cubicBezTo>
                    <a:cubicBezTo>
                      <a:pt x="537" y="158"/>
                      <a:pt x="538" y="159"/>
                      <a:pt x="538" y="159"/>
                    </a:cubicBezTo>
                    <a:cubicBezTo>
                      <a:pt x="538" y="159"/>
                      <a:pt x="537" y="159"/>
                      <a:pt x="538" y="159"/>
                    </a:cubicBezTo>
                    <a:cubicBezTo>
                      <a:pt x="537" y="159"/>
                      <a:pt x="537" y="159"/>
                      <a:pt x="536" y="159"/>
                    </a:cubicBezTo>
                    <a:cubicBezTo>
                      <a:pt x="537" y="159"/>
                      <a:pt x="537" y="160"/>
                      <a:pt x="537" y="160"/>
                    </a:cubicBezTo>
                    <a:cubicBezTo>
                      <a:pt x="537" y="160"/>
                      <a:pt x="536" y="160"/>
                      <a:pt x="536" y="160"/>
                    </a:cubicBezTo>
                    <a:cubicBezTo>
                      <a:pt x="536" y="159"/>
                      <a:pt x="535" y="160"/>
                      <a:pt x="534" y="160"/>
                    </a:cubicBezTo>
                    <a:cubicBezTo>
                      <a:pt x="534" y="160"/>
                      <a:pt x="532" y="160"/>
                      <a:pt x="532" y="160"/>
                    </a:cubicBezTo>
                    <a:cubicBezTo>
                      <a:pt x="532" y="161"/>
                      <a:pt x="533" y="160"/>
                      <a:pt x="533" y="161"/>
                    </a:cubicBezTo>
                    <a:cubicBezTo>
                      <a:pt x="533" y="161"/>
                      <a:pt x="532" y="161"/>
                      <a:pt x="532" y="161"/>
                    </a:cubicBezTo>
                    <a:cubicBezTo>
                      <a:pt x="532" y="161"/>
                      <a:pt x="531" y="160"/>
                      <a:pt x="531" y="161"/>
                    </a:cubicBezTo>
                    <a:cubicBezTo>
                      <a:pt x="532" y="160"/>
                      <a:pt x="531" y="161"/>
                      <a:pt x="531" y="161"/>
                    </a:cubicBezTo>
                    <a:cubicBezTo>
                      <a:pt x="531" y="161"/>
                      <a:pt x="531" y="161"/>
                      <a:pt x="530" y="161"/>
                    </a:cubicBezTo>
                    <a:cubicBezTo>
                      <a:pt x="530" y="161"/>
                      <a:pt x="530" y="161"/>
                      <a:pt x="529" y="161"/>
                    </a:cubicBezTo>
                    <a:cubicBezTo>
                      <a:pt x="529" y="160"/>
                      <a:pt x="529" y="161"/>
                      <a:pt x="529" y="161"/>
                    </a:cubicBezTo>
                    <a:cubicBezTo>
                      <a:pt x="529" y="162"/>
                      <a:pt x="528" y="162"/>
                      <a:pt x="528" y="162"/>
                    </a:cubicBezTo>
                    <a:cubicBezTo>
                      <a:pt x="528" y="161"/>
                      <a:pt x="527" y="161"/>
                      <a:pt x="526" y="161"/>
                    </a:cubicBezTo>
                    <a:cubicBezTo>
                      <a:pt x="526" y="161"/>
                      <a:pt x="525" y="161"/>
                      <a:pt x="524" y="161"/>
                    </a:cubicBezTo>
                    <a:cubicBezTo>
                      <a:pt x="524" y="161"/>
                      <a:pt x="524" y="161"/>
                      <a:pt x="524" y="161"/>
                    </a:cubicBezTo>
                    <a:cubicBezTo>
                      <a:pt x="524" y="161"/>
                      <a:pt x="524" y="161"/>
                      <a:pt x="524" y="160"/>
                    </a:cubicBezTo>
                    <a:cubicBezTo>
                      <a:pt x="524" y="160"/>
                      <a:pt x="523" y="161"/>
                      <a:pt x="523" y="160"/>
                    </a:cubicBezTo>
                    <a:cubicBezTo>
                      <a:pt x="523" y="160"/>
                      <a:pt x="524" y="160"/>
                      <a:pt x="524" y="160"/>
                    </a:cubicBezTo>
                    <a:cubicBezTo>
                      <a:pt x="524" y="160"/>
                      <a:pt x="523" y="160"/>
                      <a:pt x="523" y="160"/>
                    </a:cubicBezTo>
                    <a:cubicBezTo>
                      <a:pt x="523" y="160"/>
                      <a:pt x="523" y="161"/>
                      <a:pt x="522" y="160"/>
                    </a:cubicBezTo>
                    <a:cubicBezTo>
                      <a:pt x="522" y="160"/>
                      <a:pt x="521" y="160"/>
                      <a:pt x="521" y="160"/>
                    </a:cubicBezTo>
                    <a:cubicBezTo>
                      <a:pt x="521" y="160"/>
                      <a:pt x="522" y="159"/>
                      <a:pt x="522" y="159"/>
                    </a:cubicBezTo>
                    <a:cubicBezTo>
                      <a:pt x="521" y="159"/>
                      <a:pt x="521" y="160"/>
                      <a:pt x="521" y="160"/>
                    </a:cubicBezTo>
                    <a:cubicBezTo>
                      <a:pt x="520" y="159"/>
                      <a:pt x="521" y="159"/>
                      <a:pt x="521" y="159"/>
                    </a:cubicBezTo>
                    <a:cubicBezTo>
                      <a:pt x="521" y="159"/>
                      <a:pt x="520" y="159"/>
                      <a:pt x="521" y="158"/>
                    </a:cubicBezTo>
                    <a:cubicBezTo>
                      <a:pt x="521" y="158"/>
                      <a:pt x="520" y="158"/>
                      <a:pt x="520" y="158"/>
                    </a:cubicBezTo>
                    <a:cubicBezTo>
                      <a:pt x="520" y="158"/>
                      <a:pt x="521" y="158"/>
                      <a:pt x="521" y="158"/>
                    </a:cubicBezTo>
                    <a:cubicBezTo>
                      <a:pt x="521" y="157"/>
                      <a:pt x="521" y="157"/>
                      <a:pt x="521" y="157"/>
                    </a:cubicBezTo>
                    <a:cubicBezTo>
                      <a:pt x="521" y="157"/>
                      <a:pt x="521" y="157"/>
                      <a:pt x="520" y="157"/>
                    </a:cubicBezTo>
                    <a:cubicBezTo>
                      <a:pt x="521" y="157"/>
                      <a:pt x="521" y="157"/>
                      <a:pt x="521" y="157"/>
                    </a:cubicBezTo>
                    <a:cubicBezTo>
                      <a:pt x="522" y="156"/>
                      <a:pt x="523" y="156"/>
                      <a:pt x="523" y="155"/>
                    </a:cubicBezTo>
                    <a:cubicBezTo>
                      <a:pt x="523" y="154"/>
                      <a:pt x="524" y="154"/>
                      <a:pt x="525" y="154"/>
                    </a:cubicBezTo>
                    <a:cubicBezTo>
                      <a:pt x="526" y="153"/>
                      <a:pt x="528" y="153"/>
                      <a:pt x="530" y="152"/>
                    </a:cubicBezTo>
                    <a:cubicBezTo>
                      <a:pt x="530" y="152"/>
                      <a:pt x="531" y="152"/>
                      <a:pt x="531" y="152"/>
                    </a:cubicBezTo>
                    <a:cubicBezTo>
                      <a:pt x="531" y="151"/>
                      <a:pt x="530" y="150"/>
                      <a:pt x="531" y="150"/>
                    </a:cubicBezTo>
                    <a:cubicBezTo>
                      <a:pt x="532" y="150"/>
                      <a:pt x="533" y="151"/>
                      <a:pt x="532" y="150"/>
                    </a:cubicBezTo>
                    <a:cubicBezTo>
                      <a:pt x="531" y="149"/>
                      <a:pt x="533" y="149"/>
                      <a:pt x="533" y="149"/>
                    </a:cubicBezTo>
                    <a:cubicBezTo>
                      <a:pt x="533" y="150"/>
                      <a:pt x="533" y="149"/>
                      <a:pt x="534" y="150"/>
                    </a:cubicBezTo>
                    <a:cubicBezTo>
                      <a:pt x="534" y="150"/>
                      <a:pt x="534" y="150"/>
                      <a:pt x="535" y="150"/>
                    </a:cubicBezTo>
                    <a:cubicBezTo>
                      <a:pt x="535" y="150"/>
                      <a:pt x="535" y="150"/>
                      <a:pt x="536" y="150"/>
                    </a:cubicBezTo>
                    <a:cubicBezTo>
                      <a:pt x="536" y="150"/>
                      <a:pt x="536" y="150"/>
                      <a:pt x="537" y="150"/>
                    </a:cubicBezTo>
                    <a:cubicBezTo>
                      <a:pt x="538" y="150"/>
                      <a:pt x="538" y="150"/>
                      <a:pt x="539" y="151"/>
                    </a:cubicBezTo>
                    <a:cubicBezTo>
                      <a:pt x="540" y="151"/>
                      <a:pt x="541" y="151"/>
                      <a:pt x="541" y="151"/>
                    </a:cubicBezTo>
                    <a:cubicBezTo>
                      <a:pt x="542" y="152"/>
                      <a:pt x="542" y="151"/>
                      <a:pt x="542" y="152"/>
                    </a:cubicBezTo>
                    <a:cubicBezTo>
                      <a:pt x="542" y="153"/>
                      <a:pt x="543" y="152"/>
                      <a:pt x="543" y="153"/>
                    </a:cubicBezTo>
                    <a:cubicBezTo>
                      <a:pt x="544" y="153"/>
                      <a:pt x="544" y="154"/>
                      <a:pt x="543" y="154"/>
                    </a:cubicBezTo>
                    <a:cubicBezTo>
                      <a:pt x="543" y="154"/>
                      <a:pt x="542" y="154"/>
                      <a:pt x="541" y="154"/>
                    </a:cubicBezTo>
                    <a:cubicBezTo>
                      <a:pt x="541" y="154"/>
                      <a:pt x="541" y="155"/>
                      <a:pt x="541" y="155"/>
                    </a:cubicBezTo>
                    <a:cubicBezTo>
                      <a:pt x="541" y="155"/>
                      <a:pt x="542" y="155"/>
                      <a:pt x="542" y="155"/>
                    </a:cubicBezTo>
                    <a:cubicBezTo>
                      <a:pt x="542" y="156"/>
                      <a:pt x="541" y="156"/>
                      <a:pt x="541" y="156"/>
                    </a:cubicBezTo>
                    <a:cubicBezTo>
                      <a:pt x="541" y="156"/>
                      <a:pt x="542" y="156"/>
                      <a:pt x="542" y="156"/>
                    </a:cubicBezTo>
                    <a:cubicBezTo>
                      <a:pt x="542" y="157"/>
                      <a:pt x="543" y="157"/>
                      <a:pt x="543" y="156"/>
                    </a:cubicBezTo>
                    <a:cubicBezTo>
                      <a:pt x="542" y="155"/>
                      <a:pt x="543" y="155"/>
                      <a:pt x="543" y="155"/>
                    </a:cubicBezTo>
                    <a:cubicBezTo>
                      <a:pt x="543" y="155"/>
                      <a:pt x="543" y="155"/>
                      <a:pt x="543" y="155"/>
                    </a:cubicBezTo>
                    <a:cubicBezTo>
                      <a:pt x="542" y="155"/>
                      <a:pt x="542" y="155"/>
                      <a:pt x="542" y="155"/>
                    </a:cubicBezTo>
                    <a:cubicBezTo>
                      <a:pt x="542" y="155"/>
                      <a:pt x="543" y="154"/>
                      <a:pt x="544" y="154"/>
                    </a:cubicBezTo>
                    <a:cubicBezTo>
                      <a:pt x="544" y="154"/>
                      <a:pt x="546" y="153"/>
                      <a:pt x="546" y="153"/>
                    </a:cubicBezTo>
                    <a:cubicBezTo>
                      <a:pt x="546" y="153"/>
                      <a:pt x="544" y="154"/>
                      <a:pt x="544" y="154"/>
                    </a:cubicBezTo>
                    <a:cubicBezTo>
                      <a:pt x="544" y="154"/>
                      <a:pt x="544" y="153"/>
                      <a:pt x="544" y="153"/>
                    </a:cubicBezTo>
                    <a:cubicBezTo>
                      <a:pt x="544" y="152"/>
                      <a:pt x="543" y="152"/>
                      <a:pt x="543" y="152"/>
                    </a:cubicBezTo>
                    <a:cubicBezTo>
                      <a:pt x="543" y="152"/>
                      <a:pt x="542" y="151"/>
                      <a:pt x="542" y="151"/>
                    </a:cubicBezTo>
                    <a:cubicBezTo>
                      <a:pt x="541" y="151"/>
                      <a:pt x="542" y="151"/>
                      <a:pt x="542" y="151"/>
                    </a:cubicBezTo>
                    <a:cubicBezTo>
                      <a:pt x="543" y="151"/>
                      <a:pt x="544" y="151"/>
                      <a:pt x="544" y="151"/>
                    </a:cubicBezTo>
                    <a:cubicBezTo>
                      <a:pt x="544" y="151"/>
                      <a:pt x="544" y="151"/>
                      <a:pt x="544" y="151"/>
                    </a:cubicBezTo>
                    <a:cubicBezTo>
                      <a:pt x="544" y="151"/>
                      <a:pt x="545" y="151"/>
                      <a:pt x="545" y="151"/>
                    </a:cubicBezTo>
                    <a:cubicBezTo>
                      <a:pt x="546" y="151"/>
                      <a:pt x="547" y="151"/>
                      <a:pt x="547" y="151"/>
                    </a:cubicBezTo>
                    <a:cubicBezTo>
                      <a:pt x="548" y="151"/>
                      <a:pt x="548" y="150"/>
                      <a:pt x="549" y="150"/>
                    </a:cubicBezTo>
                    <a:cubicBezTo>
                      <a:pt x="549" y="150"/>
                      <a:pt x="550" y="150"/>
                      <a:pt x="551" y="150"/>
                    </a:cubicBezTo>
                    <a:cubicBezTo>
                      <a:pt x="551" y="150"/>
                      <a:pt x="551" y="150"/>
                      <a:pt x="551" y="150"/>
                    </a:cubicBezTo>
                    <a:cubicBezTo>
                      <a:pt x="552" y="150"/>
                      <a:pt x="552" y="150"/>
                      <a:pt x="551" y="150"/>
                    </a:cubicBezTo>
                    <a:cubicBezTo>
                      <a:pt x="552" y="150"/>
                      <a:pt x="551" y="150"/>
                      <a:pt x="552" y="151"/>
                    </a:cubicBezTo>
                    <a:cubicBezTo>
                      <a:pt x="552" y="151"/>
                      <a:pt x="552" y="151"/>
                      <a:pt x="553" y="150"/>
                    </a:cubicBezTo>
                    <a:cubicBezTo>
                      <a:pt x="553" y="150"/>
                      <a:pt x="553" y="150"/>
                      <a:pt x="554" y="150"/>
                    </a:cubicBezTo>
                    <a:cubicBezTo>
                      <a:pt x="554" y="150"/>
                      <a:pt x="555" y="149"/>
                      <a:pt x="555" y="149"/>
                    </a:cubicBezTo>
                    <a:cubicBezTo>
                      <a:pt x="556" y="149"/>
                      <a:pt x="557" y="149"/>
                      <a:pt x="557" y="149"/>
                    </a:cubicBezTo>
                    <a:cubicBezTo>
                      <a:pt x="557" y="149"/>
                      <a:pt x="557" y="149"/>
                      <a:pt x="558" y="149"/>
                    </a:cubicBezTo>
                    <a:cubicBezTo>
                      <a:pt x="558" y="149"/>
                      <a:pt x="559" y="149"/>
                      <a:pt x="559" y="149"/>
                    </a:cubicBezTo>
                    <a:cubicBezTo>
                      <a:pt x="559" y="149"/>
                      <a:pt x="561" y="150"/>
                      <a:pt x="561" y="149"/>
                    </a:cubicBezTo>
                    <a:cubicBezTo>
                      <a:pt x="561" y="148"/>
                      <a:pt x="561" y="148"/>
                      <a:pt x="561" y="148"/>
                    </a:cubicBezTo>
                    <a:cubicBezTo>
                      <a:pt x="561" y="148"/>
                      <a:pt x="561" y="148"/>
                      <a:pt x="561" y="148"/>
                    </a:cubicBezTo>
                    <a:cubicBezTo>
                      <a:pt x="560" y="147"/>
                      <a:pt x="561" y="147"/>
                      <a:pt x="561" y="146"/>
                    </a:cubicBezTo>
                    <a:cubicBezTo>
                      <a:pt x="561" y="146"/>
                      <a:pt x="560" y="146"/>
                      <a:pt x="560" y="146"/>
                    </a:cubicBezTo>
                    <a:cubicBezTo>
                      <a:pt x="559" y="146"/>
                      <a:pt x="559" y="145"/>
                      <a:pt x="559" y="145"/>
                    </a:cubicBezTo>
                    <a:cubicBezTo>
                      <a:pt x="559" y="144"/>
                      <a:pt x="558" y="144"/>
                      <a:pt x="558" y="143"/>
                    </a:cubicBezTo>
                    <a:cubicBezTo>
                      <a:pt x="558" y="142"/>
                      <a:pt x="559" y="142"/>
                      <a:pt x="560" y="142"/>
                    </a:cubicBezTo>
                    <a:cubicBezTo>
                      <a:pt x="561" y="141"/>
                      <a:pt x="562" y="141"/>
                      <a:pt x="563" y="141"/>
                    </a:cubicBezTo>
                    <a:cubicBezTo>
                      <a:pt x="564" y="140"/>
                      <a:pt x="565" y="140"/>
                      <a:pt x="566" y="140"/>
                    </a:cubicBezTo>
                    <a:cubicBezTo>
                      <a:pt x="567" y="139"/>
                      <a:pt x="568" y="139"/>
                      <a:pt x="569" y="138"/>
                    </a:cubicBezTo>
                    <a:cubicBezTo>
                      <a:pt x="570" y="138"/>
                      <a:pt x="571" y="137"/>
                      <a:pt x="572" y="137"/>
                    </a:cubicBezTo>
                    <a:cubicBezTo>
                      <a:pt x="573" y="137"/>
                      <a:pt x="574" y="138"/>
                      <a:pt x="575" y="138"/>
                    </a:cubicBezTo>
                    <a:cubicBezTo>
                      <a:pt x="577" y="138"/>
                      <a:pt x="578" y="138"/>
                      <a:pt x="579" y="138"/>
                    </a:cubicBezTo>
                    <a:cubicBezTo>
                      <a:pt x="580" y="138"/>
                      <a:pt x="581" y="138"/>
                      <a:pt x="582" y="139"/>
                    </a:cubicBezTo>
                    <a:cubicBezTo>
                      <a:pt x="582" y="139"/>
                      <a:pt x="583" y="139"/>
                      <a:pt x="584" y="139"/>
                    </a:cubicBezTo>
                    <a:cubicBezTo>
                      <a:pt x="584" y="140"/>
                      <a:pt x="583" y="140"/>
                      <a:pt x="583" y="141"/>
                    </a:cubicBezTo>
                    <a:cubicBezTo>
                      <a:pt x="583" y="141"/>
                      <a:pt x="584" y="140"/>
                      <a:pt x="584" y="141"/>
                    </a:cubicBezTo>
                    <a:cubicBezTo>
                      <a:pt x="584" y="141"/>
                      <a:pt x="583" y="141"/>
                      <a:pt x="583" y="141"/>
                    </a:cubicBezTo>
                    <a:cubicBezTo>
                      <a:pt x="583" y="142"/>
                      <a:pt x="583" y="142"/>
                      <a:pt x="583" y="142"/>
                    </a:cubicBezTo>
                    <a:cubicBezTo>
                      <a:pt x="583" y="142"/>
                      <a:pt x="582" y="143"/>
                      <a:pt x="582" y="143"/>
                    </a:cubicBezTo>
                    <a:cubicBezTo>
                      <a:pt x="582" y="143"/>
                      <a:pt x="581" y="143"/>
                      <a:pt x="581" y="143"/>
                    </a:cubicBezTo>
                    <a:cubicBezTo>
                      <a:pt x="581" y="144"/>
                      <a:pt x="582" y="143"/>
                      <a:pt x="582" y="143"/>
                    </a:cubicBezTo>
                    <a:cubicBezTo>
                      <a:pt x="582" y="144"/>
                      <a:pt x="581" y="144"/>
                      <a:pt x="581" y="144"/>
                    </a:cubicBezTo>
                    <a:cubicBezTo>
                      <a:pt x="581" y="144"/>
                      <a:pt x="581" y="144"/>
                      <a:pt x="580" y="144"/>
                    </a:cubicBezTo>
                    <a:cubicBezTo>
                      <a:pt x="580" y="144"/>
                      <a:pt x="580" y="144"/>
                      <a:pt x="580" y="145"/>
                    </a:cubicBezTo>
                    <a:cubicBezTo>
                      <a:pt x="581" y="145"/>
                      <a:pt x="583" y="144"/>
                      <a:pt x="584" y="143"/>
                    </a:cubicBezTo>
                    <a:cubicBezTo>
                      <a:pt x="584" y="143"/>
                      <a:pt x="587" y="142"/>
                      <a:pt x="587" y="141"/>
                    </a:cubicBezTo>
                    <a:cubicBezTo>
                      <a:pt x="587" y="141"/>
                      <a:pt x="587" y="141"/>
                      <a:pt x="587" y="141"/>
                    </a:cubicBezTo>
                    <a:cubicBezTo>
                      <a:pt x="588" y="141"/>
                      <a:pt x="587" y="142"/>
                      <a:pt x="587" y="142"/>
                    </a:cubicBezTo>
                    <a:cubicBezTo>
                      <a:pt x="587" y="142"/>
                      <a:pt x="588" y="141"/>
                      <a:pt x="588" y="142"/>
                    </a:cubicBezTo>
                    <a:cubicBezTo>
                      <a:pt x="588" y="142"/>
                      <a:pt x="589" y="142"/>
                      <a:pt x="588" y="142"/>
                    </a:cubicBezTo>
                    <a:cubicBezTo>
                      <a:pt x="589" y="143"/>
                      <a:pt x="590" y="142"/>
                      <a:pt x="590" y="142"/>
                    </a:cubicBezTo>
                    <a:cubicBezTo>
                      <a:pt x="591" y="142"/>
                      <a:pt x="591" y="142"/>
                      <a:pt x="591" y="142"/>
                    </a:cubicBezTo>
                    <a:cubicBezTo>
                      <a:pt x="592" y="142"/>
                      <a:pt x="592" y="142"/>
                      <a:pt x="592" y="142"/>
                    </a:cubicBezTo>
                    <a:cubicBezTo>
                      <a:pt x="592" y="142"/>
                      <a:pt x="593" y="142"/>
                      <a:pt x="593" y="142"/>
                    </a:cubicBezTo>
                    <a:cubicBezTo>
                      <a:pt x="593" y="142"/>
                      <a:pt x="594" y="142"/>
                      <a:pt x="594" y="142"/>
                    </a:cubicBezTo>
                    <a:cubicBezTo>
                      <a:pt x="593" y="142"/>
                      <a:pt x="594" y="142"/>
                      <a:pt x="595" y="142"/>
                    </a:cubicBezTo>
                    <a:cubicBezTo>
                      <a:pt x="594" y="142"/>
                      <a:pt x="594" y="142"/>
                      <a:pt x="594" y="142"/>
                    </a:cubicBezTo>
                    <a:cubicBezTo>
                      <a:pt x="594" y="142"/>
                      <a:pt x="595" y="142"/>
                      <a:pt x="595" y="142"/>
                    </a:cubicBezTo>
                    <a:cubicBezTo>
                      <a:pt x="595" y="141"/>
                      <a:pt x="596" y="141"/>
                      <a:pt x="596" y="141"/>
                    </a:cubicBezTo>
                    <a:cubicBezTo>
                      <a:pt x="596" y="141"/>
                      <a:pt x="597" y="141"/>
                      <a:pt x="598" y="141"/>
                    </a:cubicBezTo>
                    <a:cubicBezTo>
                      <a:pt x="598" y="141"/>
                      <a:pt x="599" y="140"/>
                      <a:pt x="598" y="140"/>
                    </a:cubicBezTo>
                    <a:cubicBezTo>
                      <a:pt x="598" y="140"/>
                      <a:pt x="597" y="140"/>
                      <a:pt x="597" y="140"/>
                    </a:cubicBezTo>
                    <a:cubicBezTo>
                      <a:pt x="596" y="140"/>
                      <a:pt x="597" y="140"/>
                      <a:pt x="596" y="140"/>
                    </a:cubicBezTo>
                    <a:cubicBezTo>
                      <a:pt x="596" y="140"/>
                      <a:pt x="595" y="140"/>
                      <a:pt x="595" y="140"/>
                    </a:cubicBezTo>
                    <a:cubicBezTo>
                      <a:pt x="595" y="140"/>
                      <a:pt x="596" y="140"/>
                      <a:pt x="596" y="140"/>
                    </a:cubicBezTo>
                    <a:cubicBezTo>
                      <a:pt x="596" y="140"/>
                      <a:pt x="596" y="140"/>
                      <a:pt x="596" y="140"/>
                    </a:cubicBezTo>
                    <a:cubicBezTo>
                      <a:pt x="596" y="140"/>
                      <a:pt x="599" y="139"/>
                      <a:pt x="599" y="139"/>
                    </a:cubicBezTo>
                    <a:cubicBezTo>
                      <a:pt x="598" y="138"/>
                      <a:pt x="597" y="139"/>
                      <a:pt x="596" y="139"/>
                    </a:cubicBezTo>
                    <a:cubicBezTo>
                      <a:pt x="596" y="139"/>
                      <a:pt x="597" y="139"/>
                      <a:pt x="597" y="139"/>
                    </a:cubicBezTo>
                    <a:cubicBezTo>
                      <a:pt x="598" y="138"/>
                      <a:pt x="595" y="139"/>
                      <a:pt x="596" y="138"/>
                    </a:cubicBezTo>
                    <a:cubicBezTo>
                      <a:pt x="595" y="138"/>
                      <a:pt x="595" y="138"/>
                      <a:pt x="594" y="138"/>
                    </a:cubicBezTo>
                    <a:cubicBezTo>
                      <a:pt x="595" y="137"/>
                      <a:pt x="592" y="137"/>
                      <a:pt x="592" y="137"/>
                    </a:cubicBezTo>
                    <a:cubicBezTo>
                      <a:pt x="592" y="138"/>
                      <a:pt x="590" y="137"/>
                      <a:pt x="591" y="137"/>
                    </a:cubicBezTo>
                    <a:cubicBezTo>
                      <a:pt x="590" y="137"/>
                      <a:pt x="591" y="136"/>
                      <a:pt x="591" y="136"/>
                    </a:cubicBezTo>
                    <a:cubicBezTo>
                      <a:pt x="590" y="136"/>
                      <a:pt x="591" y="136"/>
                      <a:pt x="591" y="136"/>
                    </a:cubicBezTo>
                    <a:cubicBezTo>
                      <a:pt x="591" y="136"/>
                      <a:pt x="590" y="135"/>
                      <a:pt x="590" y="135"/>
                    </a:cubicBezTo>
                    <a:cubicBezTo>
                      <a:pt x="590" y="135"/>
                      <a:pt x="591" y="135"/>
                      <a:pt x="591" y="135"/>
                    </a:cubicBezTo>
                    <a:cubicBezTo>
                      <a:pt x="590" y="135"/>
                      <a:pt x="590" y="135"/>
                      <a:pt x="589" y="135"/>
                    </a:cubicBezTo>
                    <a:cubicBezTo>
                      <a:pt x="589" y="134"/>
                      <a:pt x="589" y="134"/>
                      <a:pt x="589" y="134"/>
                    </a:cubicBezTo>
                    <a:cubicBezTo>
                      <a:pt x="588" y="134"/>
                      <a:pt x="588" y="134"/>
                      <a:pt x="588" y="134"/>
                    </a:cubicBezTo>
                    <a:cubicBezTo>
                      <a:pt x="587" y="134"/>
                      <a:pt x="587" y="135"/>
                      <a:pt x="587" y="135"/>
                    </a:cubicBezTo>
                    <a:cubicBezTo>
                      <a:pt x="588" y="135"/>
                      <a:pt x="586" y="136"/>
                      <a:pt x="585" y="137"/>
                    </a:cubicBezTo>
                    <a:cubicBezTo>
                      <a:pt x="585" y="137"/>
                      <a:pt x="584" y="138"/>
                      <a:pt x="583" y="138"/>
                    </a:cubicBezTo>
                    <a:cubicBezTo>
                      <a:pt x="581" y="138"/>
                      <a:pt x="580" y="138"/>
                      <a:pt x="578" y="138"/>
                    </a:cubicBezTo>
                    <a:cubicBezTo>
                      <a:pt x="578" y="138"/>
                      <a:pt x="577" y="137"/>
                      <a:pt x="576" y="137"/>
                    </a:cubicBezTo>
                    <a:cubicBezTo>
                      <a:pt x="575" y="137"/>
                      <a:pt x="574" y="138"/>
                      <a:pt x="573" y="137"/>
                    </a:cubicBezTo>
                    <a:cubicBezTo>
                      <a:pt x="572" y="137"/>
                      <a:pt x="574" y="136"/>
                      <a:pt x="574" y="136"/>
                    </a:cubicBezTo>
                    <a:cubicBezTo>
                      <a:pt x="575" y="135"/>
                      <a:pt x="576" y="134"/>
                      <a:pt x="578" y="134"/>
                    </a:cubicBezTo>
                    <a:cubicBezTo>
                      <a:pt x="578" y="134"/>
                      <a:pt x="579" y="134"/>
                      <a:pt x="580" y="133"/>
                    </a:cubicBezTo>
                    <a:cubicBezTo>
                      <a:pt x="581" y="133"/>
                      <a:pt x="581" y="132"/>
                      <a:pt x="582" y="132"/>
                    </a:cubicBezTo>
                    <a:cubicBezTo>
                      <a:pt x="582" y="132"/>
                      <a:pt x="581" y="132"/>
                      <a:pt x="581" y="131"/>
                    </a:cubicBezTo>
                    <a:cubicBezTo>
                      <a:pt x="581" y="131"/>
                      <a:pt x="582" y="131"/>
                      <a:pt x="581" y="130"/>
                    </a:cubicBezTo>
                    <a:cubicBezTo>
                      <a:pt x="581" y="130"/>
                      <a:pt x="582" y="130"/>
                      <a:pt x="582" y="130"/>
                    </a:cubicBezTo>
                    <a:cubicBezTo>
                      <a:pt x="582" y="129"/>
                      <a:pt x="582" y="129"/>
                      <a:pt x="582" y="129"/>
                    </a:cubicBezTo>
                    <a:cubicBezTo>
                      <a:pt x="581" y="129"/>
                      <a:pt x="581" y="128"/>
                      <a:pt x="582" y="128"/>
                    </a:cubicBezTo>
                    <a:cubicBezTo>
                      <a:pt x="582" y="128"/>
                      <a:pt x="582" y="127"/>
                      <a:pt x="582" y="127"/>
                    </a:cubicBezTo>
                    <a:cubicBezTo>
                      <a:pt x="582" y="127"/>
                      <a:pt x="582" y="126"/>
                      <a:pt x="582" y="127"/>
                    </a:cubicBezTo>
                    <a:cubicBezTo>
                      <a:pt x="581" y="127"/>
                      <a:pt x="581" y="126"/>
                      <a:pt x="581" y="126"/>
                    </a:cubicBezTo>
                    <a:cubicBezTo>
                      <a:pt x="581" y="126"/>
                      <a:pt x="581" y="126"/>
                      <a:pt x="581" y="125"/>
                    </a:cubicBezTo>
                    <a:cubicBezTo>
                      <a:pt x="582" y="125"/>
                      <a:pt x="582" y="125"/>
                      <a:pt x="582" y="125"/>
                    </a:cubicBezTo>
                    <a:cubicBezTo>
                      <a:pt x="582" y="124"/>
                      <a:pt x="582" y="123"/>
                      <a:pt x="582" y="123"/>
                    </a:cubicBezTo>
                    <a:cubicBezTo>
                      <a:pt x="582" y="123"/>
                      <a:pt x="582" y="123"/>
                      <a:pt x="582" y="123"/>
                    </a:cubicBezTo>
                    <a:cubicBezTo>
                      <a:pt x="581" y="123"/>
                      <a:pt x="581" y="123"/>
                      <a:pt x="581" y="123"/>
                    </a:cubicBezTo>
                    <a:cubicBezTo>
                      <a:pt x="582" y="123"/>
                      <a:pt x="581" y="123"/>
                      <a:pt x="581" y="123"/>
                    </a:cubicBezTo>
                    <a:cubicBezTo>
                      <a:pt x="580" y="123"/>
                      <a:pt x="580" y="123"/>
                      <a:pt x="580" y="123"/>
                    </a:cubicBezTo>
                    <a:cubicBezTo>
                      <a:pt x="580" y="123"/>
                      <a:pt x="580" y="123"/>
                      <a:pt x="579" y="123"/>
                    </a:cubicBezTo>
                    <a:cubicBezTo>
                      <a:pt x="580" y="122"/>
                      <a:pt x="580" y="122"/>
                      <a:pt x="581" y="122"/>
                    </a:cubicBezTo>
                    <a:cubicBezTo>
                      <a:pt x="581" y="122"/>
                      <a:pt x="581" y="122"/>
                      <a:pt x="581" y="122"/>
                    </a:cubicBezTo>
                    <a:cubicBezTo>
                      <a:pt x="581" y="122"/>
                      <a:pt x="582" y="122"/>
                      <a:pt x="582" y="122"/>
                    </a:cubicBezTo>
                    <a:cubicBezTo>
                      <a:pt x="582" y="121"/>
                      <a:pt x="581" y="122"/>
                      <a:pt x="581" y="122"/>
                    </a:cubicBezTo>
                    <a:cubicBezTo>
                      <a:pt x="580" y="122"/>
                      <a:pt x="580" y="122"/>
                      <a:pt x="580" y="122"/>
                    </a:cubicBezTo>
                    <a:cubicBezTo>
                      <a:pt x="579" y="122"/>
                      <a:pt x="578" y="123"/>
                      <a:pt x="578" y="123"/>
                    </a:cubicBezTo>
                    <a:cubicBezTo>
                      <a:pt x="578" y="122"/>
                      <a:pt x="578" y="122"/>
                      <a:pt x="579" y="122"/>
                    </a:cubicBezTo>
                    <a:cubicBezTo>
                      <a:pt x="578" y="122"/>
                      <a:pt x="576" y="122"/>
                      <a:pt x="577" y="121"/>
                    </a:cubicBezTo>
                    <a:cubicBezTo>
                      <a:pt x="578" y="121"/>
                      <a:pt x="580" y="120"/>
                      <a:pt x="579" y="120"/>
                    </a:cubicBezTo>
                    <a:cubicBezTo>
                      <a:pt x="579" y="120"/>
                      <a:pt x="580" y="120"/>
                      <a:pt x="580" y="119"/>
                    </a:cubicBezTo>
                    <a:cubicBezTo>
                      <a:pt x="580" y="119"/>
                      <a:pt x="580" y="119"/>
                      <a:pt x="579" y="119"/>
                    </a:cubicBezTo>
                    <a:cubicBezTo>
                      <a:pt x="580" y="119"/>
                      <a:pt x="580" y="119"/>
                      <a:pt x="580" y="119"/>
                    </a:cubicBezTo>
                    <a:cubicBezTo>
                      <a:pt x="579" y="119"/>
                      <a:pt x="581" y="119"/>
                      <a:pt x="580" y="119"/>
                    </a:cubicBezTo>
                    <a:cubicBezTo>
                      <a:pt x="579" y="119"/>
                      <a:pt x="579" y="119"/>
                      <a:pt x="579" y="119"/>
                    </a:cubicBezTo>
                    <a:cubicBezTo>
                      <a:pt x="579" y="118"/>
                      <a:pt x="577" y="119"/>
                      <a:pt x="577" y="119"/>
                    </a:cubicBezTo>
                    <a:cubicBezTo>
                      <a:pt x="578" y="119"/>
                      <a:pt x="578" y="119"/>
                      <a:pt x="578" y="120"/>
                    </a:cubicBezTo>
                    <a:cubicBezTo>
                      <a:pt x="578" y="120"/>
                      <a:pt x="577" y="121"/>
                      <a:pt x="577" y="121"/>
                    </a:cubicBezTo>
                    <a:cubicBezTo>
                      <a:pt x="577" y="120"/>
                      <a:pt x="577" y="120"/>
                      <a:pt x="577" y="120"/>
                    </a:cubicBezTo>
                    <a:cubicBezTo>
                      <a:pt x="577" y="120"/>
                      <a:pt x="576" y="121"/>
                      <a:pt x="576" y="120"/>
                    </a:cubicBezTo>
                    <a:cubicBezTo>
                      <a:pt x="576" y="120"/>
                      <a:pt x="575" y="120"/>
                      <a:pt x="575" y="120"/>
                    </a:cubicBezTo>
                    <a:cubicBezTo>
                      <a:pt x="575" y="120"/>
                      <a:pt x="575" y="120"/>
                      <a:pt x="574" y="120"/>
                    </a:cubicBezTo>
                    <a:cubicBezTo>
                      <a:pt x="574" y="120"/>
                      <a:pt x="574" y="119"/>
                      <a:pt x="574" y="119"/>
                    </a:cubicBezTo>
                    <a:cubicBezTo>
                      <a:pt x="574" y="119"/>
                      <a:pt x="574" y="118"/>
                      <a:pt x="574" y="118"/>
                    </a:cubicBezTo>
                    <a:cubicBezTo>
                      <a:pt x="574" y="118"/>
                      <a:pt x="575" y="118"/>
                      <a:pt x="576" y="118"/>
                    </a:cubicBezTo>
                    <a:cubicBezTo>
                      <a:pt x="575" y="117"/>
                      <a:pt x="575" y="118"/>
                      <a:pt x="574" y="118"/>
                    </a:cubicBezTo>
                    <a:cubicBezTo>
                      <a:pt x="575" y="118"/>
                      <a:pt x="575" y="118"/>
                      <a:pt x="574" y="118"/>
                    </a:cubicBezTo>
                    <a:cubicBezTo>
                      <a:pt x="574" y="118"/>
                      <a:pt x="573" y="118"/>
                      <a:pt x="572" y="118"/>
                    </a:cubicBezTo>
                    <a:cubicBezTo>
                      <a:pt x="573" y="118"/>
                      <a:pt x="573" y="117"/>
                      <a:pt x="574" y="117"/>
                    </a:cubicBezTo>
                    <a:cubicBezTo>
                      <a:pt x="574" y="117"/>
                      <a:pt x="574" y="117"/>
                      <a:pt x="575" y="117"/>
                    </a:cubicBezTo>
                    <a:cubicBezTo>
                      <a:pt x="575" y="117"/>
                      <a:pt x="575" y="117"/>
                      <a:pt x="575" y="117"/>
                    </a:cubicBezTo>
                    <a:cubicBezTo>
                      <a:pt x="575" y="116"/>
                      <a:pt x="573" y="117"/>
                      <a:pt x="573" y="117"/>
                    </a:cubicBezTo>
                    <a:cubicBezTo>
                      <a:pt x="573" y="116"/>
                      <a:pt x="574" y="117"/>
                      <a:pt x="574" y="117"/>
                    </a:cubicBezTo>
                    <a:cubicBezTo>
                      <a:pt x="574" y="116"/>
                      <a:pt x="573" y="117"/>
                      <a:pt x="573" y="117"/>
                    </a:cubicBezTo>
                    <a:cubicBezTo>
                      <a:pt x="573" y="116"/>
                      <a:pt x="574" y="116"/>
                      <a:pt x="574" y="116"/>
                    </a:cubicBezTo>
                    <a:cubicBezTo>
                      <a:pt x="574" y="116"/>
                      <a:pt x="573" y="116"/>
                      <a:pt x="573" y="116"/>
                    </a:cubicBezTo>
                    <a:cubicBezTo>
                      <a:pt x="573" y="116"/>
                      <a:pt x="575" y="116"/>
                      <a:pt x="576" y="116"/>
                    </a:cubicBezTo>
                    <a:cubicBezTo>
                      <a:pt x="575" y="116"/>
                      <a:pt x="575" y="116"/>
                      <a:pt x="575" y="116"/>
                    </a:cubicBezTo>
                    <a:cubicBezTo>
                      <a:pt x="575" y="116"/>
                      <a:pt x="577" y="116"/>
                      <a:pt x="576" y="115"/>
                    </a:cubicBezTo>
                    <a:cubicBezTo>
                      <a:pt x="575" y="115"/>
                      <a:pt x="574" y="116"/>
                      <a:pt x="573" y="116"/>
                    </a:cubicBezTo>
                    <a:cubicBezTo>
                      <a:pt x="572" y="117"/>
                      <a:pt x="571" y="117"/>
                      <a:pt x="571" y="116"/>
                    </a:cubicBezTo>
                    <a:cubicBezTo>
                      <a:pt x="570" y="115"/>
                      <a:pt x="569" y="117"/>
                      <a:pt x="569" y="117"/>
                    </a:cubicBezTo>
                    <a:cubicBezTo>
                      <a:pt x="568" y="117"/>
                      <a:pt x="567" y="117"/>
                      <a:pt x="565" y="118"/>
                    </a:cubicBezTo>
                    <a:cubicBezTo>
                      <a:pt x="564" y="118"/>
                      <a:pt x="563" y="118"/>
                      <a:pt x="562" y="119"/>
                    </a:cubicBezTo>
                    <a:cubicBezTo>
                      <a:pt x="561" y="119"/>
                      <a:pt x="561" y="119"/>
                      <a:pt x="560" y="119"/>
                    </a:cubicBezTo>
                    <a:cubicBezTo>
                      <a:pt x="559" y="118"/>
                      <a:pt x="561" y="118"/>
                      <a:pt x="561" y="118"/>
                    </a:cubicBezTo>
                    <a:cubicBezTo>
                      <a:pt x="561" y="118"/>
                      <a:pt x="562" y="117"/>
                      <a:pt x="562" y="117"/>
                    </a:cubicBezTo>
                    <a:cubicBezTo>
                      <a:pt x="562" y="117"/>
                      <a:pt x="561" y="117"/>
                      <a:pt x="561" y="117"/>
                    </a:cubicBezTo>
                    <a:cubicBezTo>
                      <a:pt x="562" y="116"/>
                      <a:pt x="563" y="115"/>
                      <a:pt x="564" y="115"/>
                    </a:cubicBezTo>
                    <a:cubicBezTo>
                      <a:pt x="565" y="115"/>
                      <a:pt x="566" y="116"/>
                      <a:pt x="568" y="116"/>
                    </a:cubicBezTo>
                    <a:cubicBezTo>
                      <a:pt x="568" y="115"/>
                      <a:pt x="569" y="115"/>
                      <a:pt x="569" y="115"/>
                    </a:cubicBezTo>
                    <a:cubicBezTo>
                      <a:pt x="570" y="115"/>
                      <a:pt x="570" y="115"/>
                      <a:pt x="571" y="114"/>
                    </a:cubicBezTo>
                    <a:cubicBezTo>
                      <a:pt x="571" y="113"/>
                      <a:pt x="570" y="113"/>
                      <a:pt x="569" y="113"/>
                    </a:cubicBezTo>
                    <a:cubicBezTo>
                      <a:pt x="569" y="112"/>
                      <a:pt x="569" y="112"/>
                      <a:pt x="568" y="112"/>
                    </a:cubicBezTo>
                    <a:cubicBezTo>
                      <a:pt x="568" y="112"/>
                      <a:pt x="567" y="112"/>
                      <a:pt x="567" y="112"/>
                    </a:cubicBezTo>
                    <a:cubicBezTo>
                      <a:pt x="567" y="112"/>
                      <a:pt x="567" y="112"/>
                      <a:pt x="566" y="111"/>
                    </a:cubicBezTo>
                    <a:cubicBezTo>
                      <a:pt x="566" y="111"/>
                      <a:pt x="566" y="111"/>
                      <a:pt x="567" y="110"/>
                    </a:cubicBezTo>
                    <a:cubicBezTo>
                      <a:pt x="567" y="110"/>
                      <a:pt x="568" y="110"/>
                      <a:pt x="569" y="110"/>
                    </a:cubicBezTo>
                    <a:cubicBezTo>
                      <a:pt x="569" y="110"/>
                      <a:pt x="569" y="110"/>
                      <a:pt x="569" y="110"/>
                    </a:cubicBezTo>
                    <a:cubicBezTo>
                      <a:pt x="569" y="110"/>
                      <a:pt x="570" y="110"/>
                      <a:pt x="570" y="110"/>
                    </a:cubicBezTo>
                    <a:cubicBezTo>
                      <a:pt x="570" y="110"/>
                      <a:pt x="569" y="110"/>
                      <a:pt x="569" y="110"/>
                    </a:cubicBezTo>
                    <a:cubicBezTo>
                      <a:pt x="569" y="110"/>
                      <a:pt x="569" y="109"/>
                      <a:pt x="568" y="109"/>
                    </a:cubicBezTo>
                    <a:cubicBezTo>
                      <a:pt x="568" y="109"/>
                      <a:pt x="567" y="109"/>
                      <a:pt x="567" y="110"/>
                    </a:cubicBezTo>
                    <a:cubicBezTo>
                      <a:pt x="567" y="110"/>
                      <a:pt x="567" y="110"/>
                      <a:pt x="567" y="110"/>
                    </a:cubicBezTo>
                    <a:cubicBezTo>
                      <a:pt x="567" y="110"/>
                      <a:pt x="566" y="111"/>
                      <a:pt x="566" y="111"/>
                    </a:cubicBezTo>
                    <a:cubicBezTo>
                      <a:pt x="565" y="111"/>
                      <a:pt x="564" y="110"/>
                      <a:pt x="565" y="110"/>
                    </a:cubicBezTo>
                    <a:cubicBezTo>
                      <a:pt x="565" y="110"/>
                      <a:pt x="564" y="111"/>
                      <a:pt x="563" y="110"/>
                    </a:cubicBezTo>
                    <a:cubicBezTo>
                      <a:pt x="563" y="110"/>
                      <a:pt x="562" y="110"/>
                      <a:pt x="563" y="110"/>
                    </a:cubicBezTo>
                    <a:cubicBezTo>
                      <a:pt x="563" y="109"/>
                      <a:pt x="564" y="110"/>
                      <a:pt x="565" y="109"/>
                    </a:cubicBezTo>
                    <a:cubicBezTo>
                      <a:pt x="565" y="109"/>
                      <a:pt x="565" y="110"/>
                      <a:pt x="565" y="110"/>
                    </a:cubicBezTo>
                    <a:cubicBezTo>
                      <a:pt x="565" y="110"/>
                      <a:pt x="566" y="109"/>
                      <a:pt x="566" y="109"/>
                    </a:cubicBezTo>
                    <a:cubicBezTo>
                      <a:pt x="566" y="109"/>
                      <a:pt x="566" y="109"/>
                      <a:pt x="566" y="109"/>
                    </a:cubicBezTo>
                    <a:cubicBezTo>
                      <a:pt x="566" y="109"/>
                      <a:pt x="567" y="108"/>
                      <a:pt x="567" y="108"/>
                    </a:cubicBezTo>
                    <a:cubicBezTo>
                      <a:pt x="567" y="108"/>
                      <a:pt x="565" y="108"/>
                      <a:pt x="565" y="108"/>
                    </a:cubicBezTo>
                    <a:cubicBezTo>
                      <a:pt x="565" y="108"/>
                      <a:pt x="565" y="108"/>
                      <a:pt x="565" y="108"/>
                    </a:cubicBezTo>
                    <a:cubicBezTo>
                      <a:pt x="565" y="108"/>
                      <a:pt x="565" y="108"/>
                      <a:pt x="564" y="108"/>
                    </a:cubicBezTo>
                    <a:cubicBezTo>
                      <a:pt x="564" y="108"/>
                      <a:pt x="564" y="108"/>
                      <a:pt x="563" y="108"/>
                    </a:cubicBezTo>
                    <a:cubicBezTo>
                      <a:pt x="564" y="107"/>
                      <a:pt x="565" y="108"/>
                      <a:pt x="566" y="107"/>
                    </a:cubicBezTo>
                    <a:cubicBezTo>
                      <a:pt x="565" y="107"/>
                      <a:pt x="565" y="107"/>
                      <a:pt x="564" y="108"/>
                    </a:cubicBezTo>
                    <a:cubicBezTo>
                      <a:pt x="563" y="108"/>
                      <a:pt x="562" y="108"/>
                      <a:pt x="561" y="108"/>
                    </a:cubicBezTo>
                    <a:cubicBezTo>
                      <a:pt x="561" y="108"/>
                      <a:pt x="562" y="108"/>
                      <a:pt x="562" y="108"/>
                    </a:cubicBezTo>
                    <a:cubicBezTo>
                      <a:pt x="562" y="108"/>
                      <a:pt x="559" y="110"/>
                      <a:pt x="561" y="108"/>
                    </a:cubicBezTo>
                    <a:cubicBezTo>
                      <a:pt x="561" y="107"/>
                      <a:pt x="562" y="107"/>
                      <a:pt x="562" y="106"/>
                    </a:cubicBezTo>
                    <a:cubicBezTo>
                      <a:pt x="563" y="106"/>
                      <a:pt x="563" y="105"/>
                      <a:pt x="563" y="105"/>
                    </a:cubicBezTo>
                    <a:cubicBezTo>
                      <a:pt x="563" y="105"/>
                      <a:pt x="563" y="105"/>
                      <a:pt x="563" y="104"/>
                    </a:cubicBezTo>
                    <a:cubicBezTo>
                      <a:pt x="562" y="105"/>
                      <a:pt x="562" y="104"/>
                      <a:pt x="561" y="105"/>
                    </a:cubicBezTo>
                    <a:cubicBezTo>
                      <a:pt x="561" y="105"/>
                      <a:pt x="561" y="104"/>
                      <a:pt x="560" y="104"/>
                    </a:cubicBezTo>
                    <a:cubicBezTo>
                      <a:pt x="561" y="105"/>
                      <a:pt x="559" y="105"/>
                      <a:pt x="560" y="105"/>
                    </a:cubicBezTo>
                    <a:cubicBezTo>
                      <a:pt x="559" y="105"/>
                      <a:pt x="559" y="105"/>
                      <a:pt x="559" y="105"/>
                    </a:cubicBezTo>
                    <a:cubicBezTo>
                      <a:pt x="558" y="105"/>
                      <a:pt x="559" y="104"/>
                      <a:pt x="558" y="104"/>
                    </a:cubicBezTo>
                    <a:cubicBezTo>
                      <a:pt x="558" y="104"/>
                      <a:pt x="559" y="104"/>
                      <a:pt x="559" y="104"/>
                    </a:cubicBezTo>
                    <a:cubicBezTo>
                      <a:pt x="559" y="103"/>
                      <a:pt x="558" y="103"/>
                      <a:pt x="558" y="104"/>
                    </a:cubicBezTo>
                    <a:cubicBezTo>
                      <a:pt x="558" y="104"/>
                      <a:pt x="557" y="103"/>
                      <a:pt x="558" y="103"/>
                    </a:cubicBezTo>
                    <a:cubicBezTo>
                      <a:pt x="557" y="103"/>
                      <a:pt x="558" y="103"/>
                      <a:pt x="558" y="103"/>
                    </a:cubicBezTo>
                    <a:cubicBezTo>
                      <a:pt x="557" y="103"/>
                      <a:pt x="557" y="103"/>
                      <a:pt x="557" y="102"/>
                    </a:cubicBezTo>
                    <a:cubicBezTo>
                      <a:pt x="557" y="102"/>
                      <a:pt x="557" y="103"/>
                      <a:pt x="556" y="103"/>
                    </a:cubicBezTo>
                    <a:cubicBezTo>
                      <a:pt x="557" y="103"/>
                      <a:pt x="556" y="102"/>
                      <a:pt x="556" y="102"/>
                    </a:cubicBezTo>
                    <a:cubicBezTo>
                      <a:pt x="556" y="102"/>
                      <a:pt x="556" y="102"/>
                      <a:pt x="556" y="102"/>
                    </a:cubicBezTo>
                    <a:cubicBezTo>
                      <a:pt x="556" y="102"/>
                      <a:pt x="556" y="102"/>
                      <a:pt x="556" y="102"/>
                    </a:cubicBezTo>
                    <a:cubicBezTo>
                      <a:pt x="556" y="102"/>
                      <a:pt x="556" y="102"/>
                      <a:pt x="556" y="102"/>
                    </a:cubicBezTo>
                    <a:cubicBezTo>
                      <a:pt x="556" y="102"/>
                      <a:pt x="557" y="102"/>
                      <a:pt x="557" y="102"/>
                    </a:cubicBezTo>
                    <a:cubicBezTo>
                      <a:pt x="557" y="102"/>
                      <a:pt x="557" y="102"/>
                      <a:pt x="557" y="102"/>
                    </a:cubicBezTo>
                    <a:cubicBezTo>
                      <a:pt x="557" y="101"/>
                      <a:pt x="558" y="101"/>
                      <a:pt x="558" y="101"/>
                    </a:cubicBezTo>
                    <a:cubicBezTo>
                      <a:pt x="558" y="101"/>
                      <a:pt x="558" y="102"/>
                      <a:pt x="559" y="102"/>
                    </a:cubicBezTo>
                    <a:cubicBezTo>
                      <a:pt x="558" y="101"/>
                      <a:pt x="559" y="101"/>
                      <a:pt x="558" y="101"/>
                    </a:cubicBezTo>
                    <a:cubicBezTo>
                      <a:pt x="558" y="101"/>
                      <a:pt x="558" y="101"/>
                      <a:pt x="557" y="101"/>
                    </a:cubicBezTo>
                    <a:cubicBezTo>
                      <a:pt x="557" y="101"/>
                      <a:pt x="558" y="101"/>
                      <a:pt x="558" y="100"/>
                    </a:cubicBezTo>
                    <a:cubicBezTo>
                      <a:pt x="557" y="100"/>
                      <a:pt x="556" y="101"/>
                      <a:pt x="556" y="101"/>
                    </a:cubicBezTo>
                    <a:cubicBezTo>
                      <a:pt x="556" y="101"/>
                      <a:pt x="557" y="101"/>
                      <a:pt x="557" y="101"/>
                    </a:cubicBezTo>
                    <a:cubicBezTo>
                      <a:pt x="557" y="102"/>
                      <a:pt x="556" y="101"/>
                      <a:pt x="555" y="102"/>
                    </a:cubicBezTo>
                    <a:cubicBezTo>
                      <a:pt x="555" y="103"/>
                      <a:pt x="555" y="103"/>
                      <a:pt x="554" y="103"/>
                    </a:cubicBezTo>
                    <a:cubicBezTo>
                      <a:pt x="554" y="103"/>
                      <a:pt x="554" y="102"/>
                      <a:pt x="554" y="102"/>
                    </a:cubicBezTo>
                    <a:cubicBezTo>
                      <a:pt x="554" y="102"/>
                      <a:pt x="553" y="102"/>
                      <a:pt x="553" y="102"/>
                    </a:cubicBezTo>
                    <a:cubicBezTo>
                      <a:pt x="553" y="103"/>
                      <a:pt x="553" y="103"/>
                      <a:pt x="552" y="103"/>
                    </a:cubicBezTo>
                    <a:cubicBezTo>
                      <a:pt x="552" y="103"/>
                      <a:pt x="551" y="103"/>
                      <a:pt x="552" y="103"/>
                    </a:cubicBezTo>
                    <a:cubicBezTo>
                      <a:pt x="552" y="103"/>
                      <a:pt x="553" y="103"/>
                      <a:pt x="553" y="103"/>
                    </a:cubicBezTo>
                    <a:cubicBezTo>
                      <a:pt x="553" y="104"/>
                      <a:pt x="554" y="104"/>
                      <a:pt x="554" y="104"/>
                    </a:cubicBezTo>
                    <a:cubicBezTo>
                      <a:pt x="555" y="104"/>
                      <a:pt x="555" y="103"/>
                      <a:pt x="555" y="104"/>
                    </a:cubicBezTo>
                    <a:cubicBezTo>
                      <a:pt x="556" y="104"/>
                      <a:pt x="556" y="105"/>
                      <a:pt x="555" y="105"/>
                    </a:cubicBezTo>
                    <a:cubicBezTo>
                      <a:pt x="555" y="106"/>
                      <a:pt x="555" y="106"/>
                      <a:pt x="555" y="106"/>
                    </a:cubicBezTo>
                    <a:cubicBezTo>
                      <a:pt x="555" y="106"/>
                      <a:pt x="555" y="106"/>
                      <a:pt x="555" y="106"/>
                    </a:cubicBezTo>
                    <a:cubicBezTo>
                      <a:pt x="554" y="109"/>
                      <a:pt x="550" y="107"/>
                      <a:pt x="549" y="108"/>
                    </a:cubicBezTo>
                    <a:cubicBezTo>
                      <a:pt x="548" y="108"/>
                      <a:pt x="547" y="108"/>
                      <a:pt x="546" y="108"/>
                    </a:cubicBezTo>
                    <a:cubicBezTo>
                      <a:pt x="546" y="107"/>
                      <a:pt x="546" y="107"/>
                      <a:pt x="546" y="107"/>
                    </a:cubicBezTo>
                    <a:cubicBezTo>
                      <a:pt x="546" y="107"/>
                      <a:pt x="545" y="107"/>
                      <a:pt x="545" y="107"/>
                    </a:cubicBezTo>
                    <a:cubicBezTo>
                      <a:pt x="545" y="107"/>
                      <a:pt x="545" y="107"/>
                      <a:pt x="545" y="107"/>
                    </a:cubicBezTo>
                    <a:cubicBezTo>
                      <a:pt x="545" y="107"/>
                      <a:pt x="544" y="107"/>
                      <a:pt x="544" y="107"/>
                    </a:cubicBezTo>
                    <a:cubicBezTo>
                      <a:pt x="543" y="107"/>
                      <a:pt x="543" y="107"/>
                      <a:pt x="542" y="106"/>
                    </a:cubicBezTo>
                    <a:cubicBezTo>
                      <a:pt x="541" y="106"/>
                      <a:pt x="540" y="106"/>
                      <a:pt x="539" y="106"/>
                    </a:cubicBezTo>
                    <a:cubicBezTo>
                      <a:pt x="538" y="106"/>
                      <a:pt x="537" y="106"/>
                      <a:pt x="536" y="106"/>
                    </a:cubicBezTo>
                    <a:cubicBezTo>
                      <a:pt x="536" y="106"/>
                      <a:pt x="534" y="105"/>
                      <a:pt x="534" y="106"/>
                    </a:cubicBezTo>
                    <a:cubicBezTo>
                      <a:pt x="534" y="106"/>
                      <a:pt x="535" y="106"/>
                      <a:pt x="536" y="106"/>
                    </a:cubicBezTo>
                    <a:cubicBezTo>
                      <a:pt x="536" y="107"/>
                      <a:pt x="537" y="106"/>
                      <a:pt x="537" y="107"/>
                    </a:cubicBezTo>
                    <a:cubicBezTo>
                      <a:pt x="537" y="107"/>
                      <a:pt x="537" y="107"/>
                      <a:pt x="537" y="107"/>
                    </a:cubicBezTo>
                    <a:cubicBezTo>
                      <a:pt x="538" y="108"/>
                      <a:pt x="538" y="108"/>
                      <a:pt x="538" y="108"/>
                    </a:cubicBezTo>
                    <a:cubicBezTo>
                      <a:pt x="539" y="109"/>
                      <a:pt x="537" y="109"/>
                      <a:pt x="537" y="109"/>
                    </a:cubicBezTo>
                    <a:cubicBezTo>
                      <a:pt x="537" y="109"/>
                      <a:pt x="537" y="109"/>
                      <a:pt x="536" y="109"/>
                    </a:cubicBezTo>
                    <a:cubicBezTo>
                      <a:pt x="536" y="109"/>
                      <a:pt x="536" y="108"/>
                      <a:pt x="536" y="108"/>
                    </a:cubicBezTo>
                    <a:cubicBezTo>
                      <a:pt x="535" y="108"/>
                      <a:pt x="535" y="108"/>
                      <a:pt x="535" y="107"/>
                    </a:cubicBezTo>
                    <a:cubicBezTo>
                      <a:pt x="534" y="107"/>
                      <a:pt x="534" y="107"/>
                      <a:pt x="534" y="107"/>
                    </a:cubicBezTo>
                    <a:cubicBezTo>
                      <a:pt x="534" y="107"/>
                      <a:pt x="534" y="107"/>
                      <a:pt x="534" y="107"/>
                    </a:cubicBezTo>
                    <a:cubicBezTo>
                      <a:pt x="534" y="107"/>
                      <a:pt x="533" y="107"/>
                      <a:pt x="533" y="107"/>
                    </a:cubicBezTo>
                    <a:cubicBezTo>
                      <a:pt x="532" y="106"/>
                      <a:pt x="532" y="106"/>
                      <a:pt x="531" y="105"/>
                    </a:cubicBezTo>
                    <a:cubicBezTo>
                      <a:pt x="530" y="105"/>
                      <a:pt x="529" y="105"/>
                      <a:pt x="529" y="105"/>
                    </a:cubicBezTo>
                    <a:cubicBezTo>
                      <a:pt x="528" y="105"/>
                      <a:pt x="528" y="104"/>
                      <a:pt x="528" y="104"/>
                    </a:cubicBezTo>
                    <a:cubicBezTo>
                      <a:pt x="527" y="104"/>
                      <a:pt x="527" y="104"/>
                      <a:pt x="527" y="104"/>
                    </a:cubicBezTo>
                    <a:cubicBezTo>
                      <a:pt x="527" y="104"/>
                      <a:pt x="527" y="105"/>
                      <a:pt x="528" y="105"/>
                    </a:cubicBezTo>
                    <a:cubicBezTo>
                      <a:pt x="528" y="105"/>
                      <a:pt x="529" y="105"/>
                      <a:pt x="530" y="105"/>
                    </a:cubicBezTo>
                    <a:cubicBezTo>
                      <a:pt x="531" y="106"/>
                      <a:pt x="531" y="106"/>
                      <a:pt x="532" y="106"/>
                    </a:cubicBezTo>
                    <a:cubicBezTo>
                      <a:pt x="532" y="107"/>
                      <a:pt x="533" y="107"/>
                      <a:pt x="533" y="107"/>
                    </a:cubicBezTo>
                    <a:cubicBezTo>
                      <a:pt x="533" y="107"/>
                      <a:pt x="533" y="108"/>
                      <a:pt x="532" y="108"/>
                    </a:cubicBezTo>
                    <a:cubicBezTo>
                      <a:pt x="532" y="108"/>
                      <a:pt x="531" y="108"/>
                      <a:pt x="531" y="108"/>
                    </a:cubicBezTo>
                    <a:cubicBezTo>
                      <a:pt x="531" y="108"/>
                      <a:pt x="530" y="108"/>
                      <a:pt x="529" y="108"/>
                    </a:cubicBezTo>
                    <a:cubicBezTo>
                      <a:pt x="529" y="109"/>
                      <a:pt x="529" y="109"/>
                      <a:pt x="529" y="109"/>
                    </a:cubicBezTo>
                    <a:cubicBezTo>
                      <a:pt x="529" y="109"/>
                      <a:pt x="528" y="109"/>
                      <a:pt x="528" y="108"/>
                    </a:cubicBezTo>
                    <a:cubicBezTo>
                      <a:pt x="529" y="108"/>
                      <a:pt x="529" y="108"/>
                      <a:pt x="528" y="108"/>
                    </a:cubicBezTo>
                    <a:cubicBezTo>
                      <a:pt x="528" y="108"/>
                      <a:pt x="529" y="108"/>
                      <a:pt x="529" y="108"/>
                    </a:cubicBezTo>
                    <a:cubicBezTo>
                      <a:pt x="528" y="108"/>
                      <a:pt x="528" y="108"/>
                      <a:pt x="527" y="108"/>
                    </a:cubicBezTo>
                    <a:cubicBezTo>
                      <a:pt x="527" y="108"/>
                      <a:pt x="527" y="108"/>
                      <a:pt x="526" y="108"/>
                    </a:cubicBezTo>
                    <a:cubicBezTo>
                      <a:pt x="526" y="107"/>
                      <a:pt x="526" y="108"/>
                      <a:pt x="525" y="107"/>
                    </a:cubicBezTo>
                    <a:cubicBezTo>
                      <a:pt x="525" y="107"/>
                      <a:pt x="524" y="107"/>
                      <a:pt x="524" y="107"/>
                    </a:cubicBezTo>
                    <a:cubicBezTo>
                      <a:pt x="523" y="107"/>
                      <a:pt x="522" y="107"/>
                      <a:pt x="521" y="107"/>
                    </a:cubicBezTo>
                    <a:cubicBezTo>
                      <a:pt x="519" y="107"/>
                      <a:pt x="517" y="107"/>
                      <a:pt x="515" y="107"/>
                    </a:cubicBezTo>
                    <a:cubicBezTo>
                      <a:pt x="514" y="107"/>
                      <a:pt x="513" y="107"/>
                      <a:pt x="513" y="107"/>
                    </a:cubicBezTo>
                    <a:cubicBezTo>
                      <a:pt x="512" y="106"/>
                      <a:pt x="513" y="106"/>
                      <a:pt x="513" y="106"/>
                    </a:cubicBezTo>
                    <a:cubicBezTo>
                      <a:pt x="513" y="106"/>
                      <a:pt x="512" y="106"/>
                      <a:pt x="512" y="106"/>
                    </a:cubicBezTo>
                    <a:cubicBezTo>
                      <a:pt x="511" y="106"/>
                      <a:pt x="511" y="106"/>
                      <a:pt x="510" y="106"/>
                    </a:cubicBezTo>
                    <a:cubicBezTo>
                      <a:pt x="509" y="106"/>
                      <a:pt x="509" y="106"/>
                      <a:pt x="508" y="106"/>
                    </a:cubicBezTo>
                    <a:cubicBezTo>
                      <a:pt x="508" y="106"/>
                      <a:pt x="505" y="105"/>
                      <a:pt x="505" y="106"/>
                    </a:cubicBezTo>
                    <a:cubicBezTo>
                      <a:pt x="506" y="106"/>
                      <a:pt x="508" y="106"/>
                      <a:pt x="509" y="107"/>
                    </a:cubicBezTo>
                    <a:cubicBezTo>
                      <a:pt x="508" y="107"/>
                      <a:pt x="507" y="107"/>
                      <a:pt x="506" y="107"/>
                    </a:cubicBezTo>
                    <a:cubicBezTo>
                      <a:pt x="505" y="107"/>
                      <a:pt x="504" y="106"/>
                      <a:pt x="503" y="106"/>
                    </a:cubicBezTo>
                    <a:cubicBezTo>
                      <a:pt x="500" y="103"/>
                      <a:pt x="506" y="103"/>
                      <a:pt x="506" y="102"/>
                    </a:cubicBezTo>
                    <a:cubicBezTo>
                      <a:pt x="506" y="102"/>
                      <a:pt x="505" y="102"/>
                      <a:pt x="505" y="102"/>
                    </a:cubicBezTo>
                    <a:cubicBezTo>
                      <a:pt x="505" y="102"/>
                      <a:pt x="504" y="103"/>
                      <a:pt x="503" y="103"/>
                    </a:cubicBezTo>
                    <a:cubicBezTo>
                      <a:pt x="502" y="103"/>
                      <a:pt x="502" y="104"/>
                      <a:pt x="502" y="104"/>
                    </a:cubicBezTo>
                    <a:cubicBezTo>
                      <a:pt x="501" y="104"/>
                      <a:pt x="500" y="104"/>
                      <a:pt x="500" y="104"/>
                    </a:cubicBezTo>
                    <a:cubicBezTo>
                      <a:pt x="500" y="103"/>
                      <a:pt x="501" y="103"/>
                      <a:pt x="502" y="103"/>
                    </a:cubicBezTo>
                    <a:cubicBezTo>
                      <a:pt x="501" y="103"/>
                      <a:pt x="501" y="103"/>
                      <a:pt x="500" y="103"/>
                    </a:cubicBezTo>
                    <a:cubicBezTo>
                      <a:pt x="501" y="103"/>
                      <a:pt x="501" y="103"/>
                      <a:pt x="501" y="103"/>
                    </a:cubicBezTo>
                    <a:cubicBezTo>
                      <a:pt x="501" y="103"/>
                      <a:pt x="500" y="103"/>
                      <a:pt x="500" y="103"/>
                    </a:cubicBezTo>
                    <a:cubicBezTo>
                      <a:pt x="500" y="103"/>
                      <a:pt x="501" y="103"/>
                      <a:pt x="501" y="102"/>
                    </a:cubicBezTo>
                    <a:cubicBezTo>
                      <a:pt x="501" y="102"/>
                      <a:pt x="498" y="103"/>
                      <a:pt x="498" y="103"/>
                    </a:cubicBezTo>
                    <a:cubicBezTo>
                      <a:pt x="499" y="103"/>
                      <a:pt x="499" y="103"/>
                      <a:pt x="500" y="103"/>
                    </a:cubicBezTo>
                    <a:cubicBezTo>
                      <a:pt x="500" y="104"/>
                      <a:pt x="499" y="104"/>
                      <a:pt x="498" y="104"/>
                    </a:cubicBezTo>
                    <a:cubicBezTo>
                      <a:pt x="498" y="104"/>
                      <a:pt x="494" y="103"/>
                      <a:pt x="494" y="104"/>
                    </a:cubicBezTo>
                    <a:cubicBezTo>
                      <a:pt x="494" y="104"/>
                      <a:pt x="494" y="104"/>
                      <a:pt x="495" y="104"/>
                    </a:cubicBezTo>
                    <a:cubicBezTo>
                      <a:pt x="493" y="105"/>
                      <a:pt x="492" y="104"/>
                      <a:pt x="491" y="104"/>
                    </a:cubicBezTo>
                    <a:cubicBezTo>
                      <a:pt x="491" y="103"/>
                      <a:pt x="493" y="104"/>
                      <a:pt x="493" y="104"/>
                    </a:cubicBezTo>
                    <a:cubicBezTo>
                      <a:pt x="493" y="103"/>
                      <a:pt x="491" y="103"/>
                      <a:pt x="490" y="103"/>
                    </a:cubicBezTo>
                    <a:cubicBezTo>
                      <a:pt x="489" y="103"/>
                      <a:pt x="488" y="102"/>
                      <a:pt x="488" y="101"/>
                    </a:cubicBezTo>
                    <a:cubicBezTo>
                      <a:pt x="488" y="101"/>
                      <a:pt x="488" y="100"/>
                      <a:pt x="488" y="100"/>
                    </a:cubicBezTo>
                    <a:cubicBezTo>
                      <a:pt x="487" y="100"/>
                      <a:pt x="487" y="99"/>
                      <a:pt x="487" y="99"/>
                    </a:cubicBezTo>
                    <a:cubicBezTo>
                      <a:pt x="487" y="98"/>
                      <a:pt x="489" y="98"/>
                      <a:pt x="489" y="98"/>
                    </a:cubicBezTo>
                    <a:cubicBezTo>
                      <a:pt x="489" y="98"/>
                      <a:pt x="489" y="98"/>
                      <a:pt x="489" y="98"/>
                    </a:cubicBezTo>
                    <a:cubicBezTo>
                      <a:pt x="489" y="97"/>
                      <a:pt x="488" y="97"/>
                      <a:pt x="488" y="97"/>
                    </a:cubicBezTo>
                    <a:cubicBezTo>
                      <a:pt x="488" y="97"/>
                      <a:pt x="490" y="97"/>
                      <a:pt x="490" y="97"/>
                    </a:cubicBezTo>
                    <a:cubicBezTo>
                      <a:pt x="490" y="98"/>
                      <a:pt x="491" y="97"/>
                      <a:pt x="492" y="97"/>
                    </a:cubicBezTo>
                    <a:cubicBezTo>
                      <a:pt x="493" y="97"/>
                      <a:pt x="495" y="97"/>
                      <a:pt x="495" y="98"/>
                    </a:cubicBezTo>
                    <a:cubicBezTo>
                      <a:pt x="495" y="98"/>
                      <a:pt x="499" y="98"/>
                      <a:pt x="499" y="98"/>
                    </a:cubicBezTo>
                    <a:cubicBezTo>
                      <a:pt x="500" y="98"/>
                      <a:pt x="501" y="98"/>
                      <a:pt x="502" y="98"/>
                    </a:cubicBezTo>
                    <a:cubicBezTo>
                      <a:pt x="503" y="98"/>
                      <a:pt x="503" y="98"/>
                      <a:pt x="503" y="97"/>
                    </a:cubicBezTo>
                    <a:cubicBezTo>
                      <a:pt x="504" y="97"/>
                      <a:pt x="504" y="98"/>
                      <a:pt x="505" y="98"/>
                    </a:cubicBezTo>
                    <a:cubicBezTo>
                      <a:pt x="504" y="97"/>
                      <a:pt x="504" y="97"/>
                      <a:pt x="503" y="97"/>
                    </a:cubicBezTo>
                    <a:cubicBezTo>
                      <a:pt x="503" y="97"/>
                      <a:pt x="503" y="97"/>
                      <a:pt x="502" y="97"/>
                    </a:cubicBezTo>
                    <a:cubicBezTo>
                      <a:pt x="502" y="97"/>
                      <a:pt x="501" y="97"/>
                      <a:pt x="501" y="96"/>
                    </a:cubicBezTo>
                    <a:cubicBezTo>
                      <a:pt x="500" y="96"/>
                      <a:pt x="501" y="95"/>
                      <a:pt x="501" y="95"/>
                    </a:cubicBezTo>
                    <a:cubicBezTo>
                      <a:pt x="501" y="95"/>
                      <a:pt x="500" y="95"/>
                      <a:pt x="499" y="96"/>
                    </a:cubicBezTo>
                    <a:cubicBezTo>
                      <a:pt x="498" y="96"/>
                      <a:pt x="497" y="95"/>
                      <a:pt x="496" y="95"/>
                    </a:cubicBezTo>
                    <a:cubicBezTo>
                      <a:pt x="494" y="95"/>
                      <a:pt x="492" y="95"/>
                      <a:pt x="490" y="95"/>
                    </a:cubicBezTo>
                    <a:cubicBezTo>
                      <a:pt x="489" y="95"/>
                      <a:pt x="487" y="95"/>
                      <a:pt x="488" y="93"/>
                    </a:cubicBezTo>
                    <a:cubicBezTo>
                      <a:pt x="489" y="93"/>
                      <a:pt x="489" y="92"/>
                      <a:pt x="490" y="92"/>
                    </a:cubicBezTo>
                    <a:cubicBezTo>
                      <a:pt x="490" y="91"/>
                      <a:pt x="491" y="91"/>
                      <a:pt x="492" y="91"/>
                    </a:cubicBezTo>
                    <a:cubicBezTo>
                      <a:pt x="492" y="91"/>
                      <a:pt x="491" y="90"/>
                      <a:pt x="492" y="90"/>
                    </a:cubicBezTo>
                    <a:cubicBezTo>
                      <a:pt x="491" y="90"/>
                      <a:pt x="492" y="90"/>
                      <a:pt x="491" y="89"/>
                    </a:cubicBezTo>
                    <a:cubicBezTo>
                      <a:pt x="491" y="89"/>
                      <a:pt x="493" y="88"/>
                      <a:pt x="493" y="88"/>
                    </a:cubicBezTo>
                    <a:cubicBezTo>
                      <a:pt x="494" y="88"/>
                      <a:pt x="494" y="88"/>
                      <a:pt x="495" y="88"/>
                    </a:cubicBezTo>
                    <a:cubicBezTo>
                      <a:pt x="495" y="87"/>
                      <a:pt x="496" y="88"/>
                      <a:pt x="497" y="87"/>
                    </a:cubicBezTo>
                    <a:cubicBezTo>
                      <a:pt x="497" y="87"/>
                      <a:pt x="496" y="87"/>
                      <a:pt x="495" y="87"/>
                    </a:cubicBezTo>
                    <a:cubicBezTo>
                      <a:pt x="494" y="86"/>
                      <a:pt x="497" y="85"/>
                      <a:pt x="497" y="85"/>
                    </a:cubicBezTo>
                    <a:cubicBezTo>
                      <a:pt x="497" y="85"/>
                      <a:pt x="497" y="85"/>
                      <a:pt x="497" y="85"/>
                    </a:cubicBezTo>
                    <a:cubicBezTo>
                      <a:pt x="497" y="85"/>
                      <a:pt x="498" y="85"/>
                      <a:pt x="498" y="84"/>
                    </a:cubicBezTo>
                    <a:cubicBezTo>
                      <a:pt x="499" y="84"/>
                      <a:pt x="499" y="84"/>
                      <a:pt x="499" y="83"/>
                    </a:cubicBezTo>
                    <a:cubicBezTo>
                      <a:pt x="500" y="83"/>
                      <a:pt x="502" y="83"/>
                      <a:pt x="502" y="82"/>
                    </a:cubicBezTo>
                    <a:cubicBezTo>
                      <a:pt x="502" y="82"/>
                      <a:pt x="502" y="82"/>
                      <a:pt x="502" y="82"/>
                    </a:cubicBezTo>
                    <a:cubicBezTo>
                      <a:pt x="502" y="82"/>
                      <a:pt x="502" y="82"/>
                      <a:pt x="502" y="82"/>
                    </a:cubicBezTo>
                    <a:cubicBezTo>
                      <a:pt x="503" y="82"/>
                      <a:pt x="503" y="82"/>
                      <a:pt x="504" y="82"/>
                    </a:cubicBezTo>
                    <a:cubicBezTo>
                      <a:pt x="504" y="82"/>
                      <a:pt x="504" y="82"/>
                      <a:pt x="505" y="82"/>
                    </a:cubicBezTo>
                    <a:cubicBezTo>
                      <a:pt x="504" y="81"/>
                      <a:pt x="504" y="81"/>
                      <a:pt x="505" y="81"/>
                    </a:cubicBezTo>
                    <a:cubicBezTo>
                      <a:pt x="505" y="81"/>
                      <a:pt x="505" y="80"/>
                      <a:pt x="506" y="80"/>
                    </a:cubicBezTo>
                    <a:cubicBezTo>
                      <a:pt x="506" y="80"/>
                      <a:pt x="506" y="80"/>
                      <a:pt x="507" y="80"/>
                    </a:cubicBezTo>
                    <a:cubicBezTo>
                      <a:pt x="506" y="79"/>
                      <a:pt x="508" y="78"/>
                      <a:pt x="509" y="78"/>
                    </a:cubicBezTo>
                    <a:cubicBezTo>
                      <a:pt x="508" y="78"/>
                      <a:pt x="509" y="78"/>
                      <a:pt x="509" y="78"/>
                    </a:cubicBezTo>
                    <a:cubicBezTo>
                      <a:pt x="510" y="78"/>
                      <a:pt x="510" y="78"/>
                      <a:pt x="511" y="78"/>
                    </a:cubicBezTo>
                    <a:cubicBezTo>
                      <a:pt x="511" y="78"/>
                      <a:pt x="510" y="78"/>
                      <a:pt x="510" y="78"/>
                    </a:cubicBezTo>
                    <a:cubicBezTo>
                      <a:pt x="510" y="77"/>
                      <a:pt x="513" y="77"/>
                      <a:pt x="513" y="77"/>
                    </a:cubicBezTo>
                    <a:cubicBezTo>
                      <a:pt x="513" y="77"/>
                      <a:pt x="512" y="77"/>
                      <a:pt x="513" y="76"/>
                    </a:cubicBezTo>
                    <a:cubicBezTo>
                      <a:pt x="514" y="76"/>
                      <a:pt x="515" y="76"/>
                      <a:pt x="516" y="75"/>
                    </a:cubicBezTo>
                    <a:cubicBezTo>
                      <a:pt x="517" y="75"/>
                      <a:pt x="517" y="75"/>
                      <a:pt x="518" y="75"/>
                    </a:cubicBezTo>
                    <a:cubicBezTo>
                      <a:pt x="519" y="74"/>
                      <a:pt x="520" y="74"/>
                      <a:pt x="520" y="74"/>
                    </a:cubicBezTo>
                    <a:cubicBezTo>
                      <a:pt x="522" y="74"/>
                      <a:pt x="524" y="73"/>
                      <a:pt x="525" y="73"/>
                    </a:cubicBezTo>
                    <a:cubicBezTo>
                      <a:pt x="527" y="73"/>
                      <a:pt x="528" y="73"/>
                      <a:pt x="529" y="72"/>
                    </a:cubicBezTo>
                    <a:cubicBezTo>
                      <a:pt x="531" y="72"/>
                      <a:pt x="532" y="72"/>
                      <a:pt x="534" y="72"/>
                    </a:cubicBezTo>
                    <a:cubicBezTo>
                      <a:pt x="535" y="72"/>
                      <a:pt x="537" y="72"/>
                      <a:pt x="538" y="72"/>
                    </a:cubicBezTo>
                    <a:cubicBezTo>
                      <a:pt x="539" y="72"/>
                      <a:pt x="540" y="72"/>
                      <a:pt x="541" y="73"/>
                    </a:cubicBezTo>
                    <a:cubicBezTo>
                      <a:pt x="541" y="73"/>
                      <a:pt x="542" y="73"/>
                      <a:pt x="542" y="73"/>
                    </a:cubicBezTo>
                    <a:cubicBezTo>
                      <a:pt x="542" y="74"/>
                      <a:pt x="541" y="74"/>
                      <a:pt x="540" y="74"/>
                    </a:cubicBezTo>
                    <a:cubicBezTo>
                      <a:pt x="538" y="75"/>
                      <a:pt x="537" y="75"/>
                      <a:pt x="536" y="75"/>
                    </a:cubicBezTo>
                    <a:cubicBezTo>
                      <a:pt x="534" y="76"/>
                      <a:pt x="531" y="77"/>
                      <a:pt x="529" y="78"/>
                    </a:cubicBezTo>
                    <a:cubicBezTo>
                      <a:pt x="528" y="78"/>
                      <a:pt x="527" y="79"/>
                      <a:pt x="526" y="79"/>
                    </a:cubicBezTo>
                    <a:cubicBezTo>
                      <a:pt x="525" y="80"/>
                      <a:pt x="524" y="80"/>
                      <a:pt x="523" y="81"/>
                    </a:cubicBezTo>
                    <a:cubicBezTo>
                      <a:pt x="522" y="81"/>
                      <a:pt x="521" y="82"/>
                      <a:pt x="521" y="82"/>
                    </a:cubicBezTo>
                    <a:cubicBezTo>
                      <a:pt x="521" y="83"/>
                      <a:pt x="521" y="83"/>
                      <a:pt x="521" y="83"/>
                    </a:cubicBezTo>
                    <a:cubicBezTo>
                      <a:pt x="521" y="83"/>
                      <a:pt x="521" y="83"/>
                      <a:pt x="521" y="84"/>
                    </a:cubicBezTo>
                    <a:cubicBezTo>
                      <a:pt x="523" y="85"/>
                      <a:pt x="520" y="86"/>
                      <a:pt x="519" y="86"/>
                    </a:cubicBezTo>
                    <a:cubicBezTo>
                      <a:pt x="518" y="87"/>
                      <a:pt x="518" y="88"/>
                      <a:pt x="517" y="88"/>
                    </a:cubicBezTo>
                    <a:cubicBezTo>
                      <a:pt x="517" y="89"/>
                      <a:pt x="518" y="89"/>
                      <a:pt x="517" y="89"/>
                    </a:cubicBezTo>
                    <a:cubicBezTo>
                      <a:pt x="517" y="89"/>
                      <a:pt x="517" y="90"/>
                      <a:pt x="518" y="90"/>
                    </a:cubicBezTo>
                    <a:cubicBezTo>
                      <a:pt x="518" y="91"/>
                      <a:pt x="518" y="91"/>
                      <a:pt x="519" y="92"/>
                    </a:cubicBezTo>
                    <a:cubicBezTo>
                      <a:pt x="519" y="92"/>
                      <a:pt x="519" y="92"/>
                      <a:pt x="519" y="93"/>
                    </a:cubicBezTo>
                    <a:cubicBezTo>
                      <a:pt x="519" y="93"/>
                      <a:pt x="519" y="93"/>
                      <a:pt x="520" y="93"/>
                    </a:cubicBezTo>
                    <a:cubicBezTo>
                      <a:pt x="520" y="93"/>
                      <a:pt x="521" y="93"/>
                      <a:pt x="521" y="94"/>
                    </a:cubicBezTo>
                    <a:cubicBezTo>
                      <a:pt x="522" y="94"/>
                      <a:pt x="523" y="94"/>
                      <a:pt x="522" y="94"/>
                    </a:cubicBezTo>
                    <a:cubicBezTo>
                      <a:pt x="522" y="94"/>
                      <a:pt x="522" y="95"/>
                      <a:pt x="522" y="95"/>
                    </a:cubicBezTo>
                    <a:cubicBezTo>
                      <a:pt x="522" y="95"/>
                      <a:pt x="521" y="95"/>
                      <a:pt x="521" y="95"/>
                    </a:cubicBezTo>
                    <a:cubicBezTo>
                      <a:pt x="521" y="95"/>
                      <a:pt x="519" y="95"/>
                      <a:pt x="519" y="95"/>
                    </a:cubicBezTo>
                    <a:cubicBezTo>
                      <a:pt x="519" y="95"/>
                      <a:pt x="519" y="95"/>
                      <a:pt x="520" y="95"/>
                    </a:cubicBezTo>
                    <a:cubicBezTo>
                      <a:pt x="519" y="96"/>
                      <a:pt x="518" y="95"/>
                      <a:pt x="517" y="96"/>
                    </a:cubicBezTo>
                    <a:cubicBezTo>
                      <a:pt x="517" y="96"/>
                      <a:pt x="518" y="96"/>
                      <a:pt x="518" y="96"/>
                    </a:cubicBezTo>
                    <a:cubicBezTo>
                      <a:pt x="518" y="96"/>
                      <a:pt x="517" y="96"/>
                      <a:pt x="517" y="96"/>
                    </a:cubicBezTo>
                    <a:cubicBezTo>
                      <a:pt x="516" y="96"/>
                      <a:pt x="516" y="96"/>
                      <a:pt x="516" y="96"/>
                    </a:cubicBezTo>
                    <a:cubicBezTo>
                      <a:pt x="514" y="96"/>
                      <a:pt x="513" y="96"/>
                      <a:pt x="512" y="96"/>
                    </a:cubicBezTo>
                    <a:cubicBezTo>
                      <a:pt x="511" y="97"/>
                      <a:pt x="510" y="97"/>
                      <a:pt x="509" y="97"/>
                    </a:cubicBezTo>
                    <a:cubicBezTo>
                      <a:pt x="508" y="97"/>
                      <a:pt x="507" y="97"/>
                      <a:pt x="506" y="98"/>
                    </a:cubicBezTo>
                    <a:cubicBezTo>
                      <a:pt x="508" y="99"/>
                      <a:pt x="511" y="97"/>
                      <a:pt x="513" y="97"/>
                    </a:cubicBezTo>
                    <a:cubicBezTo>
                      <a:pt x="514" y="96"/>
                      <a:pt x="516" y="96"/>
                      <a:pt x="517" y="96"/>
                    </a:cubicBezTo>
                    <a:cubicBezTo>
                      <a:pt x="518" y="96"/>
                      <a:pt x="518" y="96"/>
                      <a:pt x="519" y="96"/>
                    </a:cubicBezTo>
                    <a:cubicBezTo>
                      <a:pt x="519" y="96"/>
                      <a:pt x="519" y="96"/>
                      <a:pt x="519" y="96"/>
                    </a:cubicBezTo>
                    <a:cubicBezTo>
                      <a:pt x="519" y="96"/>
                      <a:pt x="520" y="96"/>
                      <a:pt x="520" y="96"/>
                    </a:cubicBezTo>
                    <a:cubicBezTo>
                      <a:pt x="520" y="96"/>
                      <a:pt x="521" y="96"/>
                      <a:pt x="521" y="96"/>
                    </a:cubicBezTo>
                    <a:cubicBezTo>
                      <a:pt x="520" y="97"/>
                      <a:pt x="519" y="97"/>
                      <a:pt x="518" y="97"/>
                    </a:cubicBezTo>
                    <a:cubicBezTo>
                      <a:pt x="519" y="97"/>
                      <a:pt x="519" y="97"/>
                      <a:pt x="519" y="97"/>
                    </a:cubicBezTo>
                    <a:cubicBezTo>
                      <a:pt x="519" y="97"/>
                      <a:pt x="519" y="97"/>
                      <a:pt x="519" y="97"/>
                    </a:cubicBezTo>
                    <a:cubicBezTo>
                      <a:pt x="520" y="97"/>
                      <a:pt x="518" y="98"/>
                      <a:pt x="518" y="98"/>
                    </a:cubicBezTo>
                    <a:cubicBezTo>
                      <a:pt x="520" y="98"/>
                      <a:pt x="520" y="98"/>
                      <a:pt x="521" y="97"/>
                    </a:cubicBezTo>
                    <a:cubicBezTo>
                      <a:pt x="521" y="96"/>
                      <a:pt x="521" y="96"/>
                      <a:pt x="522" y="96"/>
                    </a:cubicBezTo>
                    <a:cubicBezTo>
                      <a:pt x="522" y="96"/>
                      <a:pt x="522" y="96"/>
                      <a:pt x="523" y="96"/>
                    </a:cubicBezTo>
                    <a:cubicBezTo>
                      <a:pt x="523" y="95"/>
                      <a:pt x="522" y="95"/>
                      <a:pt x="522" y="95"/>
                    </a:cubicBezTo>
                    <a:cubicBezTo>
                      <a:pt x="522" y="95"/>
                      <a:pt x="523" y="94"/>
                      <a:pt x="524" y="94"/>
                    </a:cubicBezTo>
                    <a:cubicBezTo>
                      <a:pt x="524" y="93"/>
                      <a:pt x="525" y="94"/>
                      <a:pt x="526" y="93"/>
                    </a:cubicBezTo>
                    <a:cubicBezTo>
                      <a:pt x="526" y="93"/>
                      <a:pt x="526" y="93"/>
                      <a:pt x="526" y="92"/>
                    </a:cubicBezTo>
                    <a:cubicBezTo>
                      <a:pt x="526" y="92"/>
                      <a:pt x="526" y="92"/>
                      <a:pt x="527" y="92"/>
                    </a:cubicBezTo>
                    <a:cubicBezTo>
                      <a:pt x="527" y="91"/>
                      <a:pt x="525" y="92"/>
                      <a:pt x="525" y="92"/>
                    </a:cubicBezTo>
                    <a:cubicBezTo>
                      <a:pt x="525" y="92"/>
                      <a:pt x="524" y="92"/>
                      <a:pt x="524" y="92"/>
                    </a:cubicBezTo>
                    <a:cubicBezTo>
                      <a:pt x="523" y="92"/>
                      <a:pt x="522" y="92"/>
                      <a:pt x="522" y="91"/>
                    </a:cubicBezTo>
                    <a:cubicBezTo>
                      <a:pt x="522" y="91"/>
                      <a:pt x="522" y="91"/>
                      <a:pt x="521" y="90"/>
                    </a:cubicBezTo>
                    <a:cubicBezTo>
                      <a:pt x="522" y="90"/>
                      <a:pt x="523" y="91"/>
                      <a:pt x="522" y="90"/>
                    </a:cubicBezTo>
                    <a:cubicBezTo>
                      <a:pt x="522" y="89"/>
                      <a:pt x="520" y="89"/>
                      <a:pt x="520" y="89"/>
                    </a:cubicBezTo>
                    <a:cubicBezTo>
                      <a:pt x="520" y="89"/>
                      <a:pt x="520" y="88"/>
                      <a:pt x="520" y="88"/>
                    </a:cubicBezTo>
                    <a:cubicBezTo>
                      <a:pt x="520" y="89"/>
                      <a:pt x="520" y="89"/>
                      <a:pt x="520" y="89"/>
                    </a:cubicBezTo>
                    <a:cubicBezTo>
                      <a:pt x="520" y="89"/>
                      <a:pt x="520" y="88"/>
                      <a:pt x="520" y="88"/>
                    </a:cubicBezTo>
                    <a:cubicBezTo>
                      <a:pt x="521" y="88"/>
                      <a:pt x="521" y="89"/>
                      <a:pt x="522" y="88"/>
                    </a:cubicBezTo>
                    <a:cubicBezTo>
                      <a:pt x="521" y="88"/>
                      <a:pt x="523" y="88"/>
                      <a:pt x="524" y="88"/>
                    </a:cubicBezTo>
                    <a:cubicBezTo>
                      <a:pt x="524" y="88"/>
                      <a:pt x="524" y="88"/>
                      <a:pt x="524" y="87"/>
                    </a:cubicBezTo>
                    <a:cubicBezTo>
                      <a:pt x="524" y="87"/>
                      <a:pt x="525" y="87"/>
                      <a:pt x="525" y="87"/>
                    </a:cubicBezTo>
                    <a:cubicBezTo>
                      <a:pt x="525" y="87"/>
                      <a:pt x="525" y="87"/>
                      <a:pt x="525" y="87"/>
                    </a:cubicBezTo>
                    <a:cubicBezTo>
                      <a:pt x="525" y="86"/>
                      <a:pt x="526" y="87"/>
                      <a:pt x="526" y="86"/>
                    </a:cubicBezTo>
                    <a:cubicBezTo>
                      <a:pt x="526" y="86"/>
                      <a:pt x="526" y="86"/>
                      <a:pt x="525" y="86"/>
                    </a:cubicBezTo>
                    <a:cubicBezTo>
                      <a:pt x="526" y="86"/>
                      <a:pt x="526" y="86"/>
                      <a:pt x="526" y="86"/>
                    </a:cubicBezTo>
                    <a:cubicBezTo>
                      <a:pt x="527" y="86"/>
                      <a:pt x="527" y="86"/>
                      <a:pt x="527" y="86"/>
                    </a:cubicBezTo>
                    <a:cubicBezTo>
                      <a:pt x="527" y="86"/>
                      <a:pt x="529" y="86"/>
                      <a:pt x="528" y="87"/>
                    </a:cubicBezTo>
                    <a:cubicBezTo>
                      <a:pt x="528" y="87"/>
                      <a:pt x="529" y="86"/>
                      <a:pt x="529" y="87"/>
                    </a:cubicBezTo>
                    <a:cubicBezTo>
                      <a:pt x="530" y="87"/>
                      <a:pt x="530" y="87"/>
                      <a:pt x="531" y="87"/>
                    </a:cubicBezTo>
                    <a:cubicBezTo>
                      <a:pt x="531" y="88"/>
                      <a:pt x="531" y="88"/>
                      <a:pt x="532" y="88"/>
                    </a:cubicBezTo>
                    <a:cubicBezTo>
                      <a:pt x="532" y="88"/>
                      <a:pt x="531" y="89"/>
                      <a:pt x="532" y="89"/>
                    </a:cubicBezTo>
                    <a:cubicBezTo>
                      <a:pt x="532" y="89"/>
                      <a:pt x="532" y="89"/>
                      <a:pt x="532" y="88"/>
                    </a:cubicBezTo>
                    <a:cubicBezTo>
                      <a:pt x="533" y="88"/>
                      <a:pt x="531" y="88"/>
                      <a:pt x="532" y="87"/>
                    </a:cubicBezTo>
                    <a:cubicBezTo>
                      <a:pt x="531" y="87"/>
                      <a:pt x="531" y="87"/>
                      <a:pt x="530" y="87"/>
                    </a:cubicBezTo>
                    <a:cubicBezTo>
                      <a:pt x="531" y="87"/>
                      <a:pt x="531" y="86"/>
                      <a:pt x="531" y="86"/>
                    </a:cubicBezTo>
                    <a:cubicBezTo>
                      <a:pt x="530" y="86"/>
                      <a:pt x="530" y="86"/>
                      <a:pt x="530" y="86"/>
                    </a:cubicBezTo>
                    <a:cubicBezTo>
                      <a:pt x="530" y="86"/>
                      <a:pt x="531" y="85"/>
                      <a:pt x="531" y="85"/>
                    </a:cubicBezTo>
                    <a:cubicBezTo>
                      <a:pt x="532" y="85"/>
                      <a:pt x="533" y="86"/>
                      <a:pt x="534" y="85"/>
                    </a:cubicBezTo>
                    <a:cubicBezTo>
                      <a:pt x="533" y="85"/>
                      <a:pt x="532" y="85"/>
                      <a:pt x="531" y="85"/>
                    </a:cubicBezTo>
                    <a:cubicBezTo>
                      <a:pt x="531" y="85"/>
                      <a:pt x="532" y="85"/>
                      <a:pt x="532" y="85"/>
                    </a:cubicBezTo>
                    <a:cubicBezTo>
                      <a:pt x="531" y="85"/>
                      <a:pt x="530" y="85"/>
                      <a:pt x="529" y="85"/>
                    </a:cubicBezTo>
                    <a:cubicBezTo>
                      <a:pt x="530" y="85"/>
                      <a:pt x="528" y="85"/>
                      <a:pt x="528" y="85"/>
                    </a:cubicBezTo>
                    <a:cubicBezTo>
                      <a:pt x="528" y="85"/>
                      <a:pt x="527" y="85"/>
                      <a:pt x="527" y="84"/>
                    </a:cubicBezTo>
                    <a:cubicBezTo>
                      <a:pt x="527" y="84"/>
                      <a:pt x="528" y="84"/>
                      <a:pt x="528" y="83"/>
                    </a:cubicBezTo>
                    <a:cubicBezTo>
                      <a:pt x="528" y="83"/>
                      <a:pt x="528" y="83"/>
                      <a:pt x="527" y="83"/>
                    </a:cubicBezTo>
                    <a:cubicBezTo>
                      <a:pt x="527" y="83"/>
                      <a:pt x="528" y="82"/>
                      <a:pt x="528" y="82"/>
                    </a:cubicBezTo>
                    <a:cubicBezTo>
                      <a:pt x="529" y="81"/>
                      <a:pt x="530" y="80"/>
                      <a:pt x="532" y="80"/>
                    </a:cubicBezTo>
                    <a:cubicBezTo>
                      <a:pt x="534" y="80"/>
                      <a:pt x="535" y="81"/>
                      <a:pt x="537" y="81"/>
                    </a:cubicBezTo>
                    <a:cubicBezTo>
                      <a:pt x="537" y="81"/>
                      <a:pt x="538" y="82"/>
                      <a:pt x="539" y="82"/>
                    </a:cubicBezTo>
                    <a:cubicBezTo>
                      <a:pt x="539" y="82"/>
                      <a:pt x="540" y="82"/>
                      <a:pt x="540" y="82"/>
                    </a:cubicBezTo>
                    <a:cubicBezTo>
                      <a:pt x="540" y="82"/>
                      <a:pt x="540" y="82"/>
                      <a:pt x="539" y="82"/>
                    </a:cubicBezTo>
                    <a:cubicBezTo>
                      <a:pt x="539" y="81"/>
                      <a:pt x="538" y="81"/>
                      <a:pt x="538" y="81"/>
                    </a:cubicBezTo>
                    <a:cubicBezTo>
                      <a:pt x="537" y="81"/>
                      <a:pt x="537" y="81"/>
                      <a:pt x="536" y="80"/>
                    </a:cubicBezTo>
                    <a:cubicBezTo>
                      <a:pt x="536" y="80"/>
                      <a:pt x="535" y="80"/>
                      <a:pt x="534" y="80"/>
                    </a:cubicBezTo>
                    <a:cubicBezTo>
                      <a:pt x="535" y="80"/>
                      <a:pt x="534" y="79"/>
                      <a:pt x="534" y="80"/>
                    </a:cubicBezTo>
                    <a:cubicBezTo>
                      <a:pt x="533" y="80"/>
                      <a:pt x="532" y="80"/>
                      <a:pt x="532" y="79"/>
                    </a:cubicBezTo>
                    <a:cubicBezTo>
                      <a:pt x="532" y="79"/>
                      <a:pt x="533" y="79"/>
                      <a:pt x="533" y="79"/>
                    </a:cubicBezTo>
                    <a:cubicBezTo>
                      <a:pt x="534" y="78"/>
                      <a:pt x="534" y="79"/>
                      <a:pt x="534" y="79"/>
                    </a:cubicBezTo>
                    <a:cubicBezTo>
                      <a:pt x="534" y="79"/>
                      <a:pt x="535" y="79"/>
                      <a:pt x="535" y="79"/>
                    </a:cubicBezTo>
                    <a:cubicBezTo>
                      <a:pt x="535" y="78"/>
                      <a:pt x="535" y="78"/>
                      <a:pt x="535" y="78"/>
                    </a:cubicBezTo>
                    <a:cubicBezTo>
                      <a:pt x="537" y="79"/>
                      <a:pt x="538" y="79"/>
                      <a:pt x="540" y="79"/>
                    </a:cubicBezTo>
                    <a:cubicBezTo>
                      <a:pt x="541" y="79"/>
                      <a:pt x="541" y="79"/>
                      <a:pt x="542" y="79"/>
                    </a:cubicBezTo>
                    <a:cubicBezTo>
                      <a:pt x="543" y="79"/>
                      <a:pt x="544" y="80"/>
                      <a:pt x="544" y="80"/>
                    </a:cubicBezTo>
                    <a:cubicBezTo>
                      <a:pt x="543" y="79"/>
                      <a:pt x="541" y="79"/>
                      <a:pt x="540" y="79"/>
                    </a:cubicBezTo>
                    <a:cubicBezTo>
                      <a:pt x="539" y="79"/>
                      <a:pt x="538" y="78"/>
                      <a:pt x="537" y="78"/>
                    </a:cubicBezTo>
                    <a:cubicBezTo>
                      <a:pt x="537" y="78"/>
                      <a:pt x="535" y="78"/>
                      <a:pt x="536" y="77"/>
                    </a:cubicBezTo>
                    <a:cubicBezTo>
                      <a:pt x="537" y="77"/>
                      <a:pt x="539" y="76"/>
                      <a:pt x="540" y="76"/>
                    </a:cubicBezTo>
                    <a:cubicBezTo>
                      <a:pt x="540" y="76"/>
                      <a:pt x="540" y="77"/>
                      <a:pt x="540" y="77"/>
                    </a:cubicBezTo>
                    <a:cubicBezTo>
                      <a:pt x="540" y="77"/>
                      <a:pt x="540" y="77"/>
                      <a:pt x="541" y="77"/>
                    </a:cubicBezTo>
                    <a:cubicBezTo>
                      <a:pt x="541" y="77"/>
                      <a:pt x="542" y="78"/>
                      <a:pt x="541" y="78"/>
                    </a:cubicBezTo>
                    <a:cubicBezTo>
                      <a:pt x="541" y="77"/>
                      <a:pt x="541" y="77"/>
                      <a:pt x="541" y="77"/>
                    </a:cubicBezTo>
                    <a:cubicBezTo>
                      <a:pt x="541" y="76"/>
                      <a:pt x="541" y="76"/>
                      <a:pt x="542" y="76"/>
                    </a:cubicBezTo>
                    <a:cubicBezTo>
                      <a:pt x="542" y="76"/>
                      <a:pt x="543" y="76"/>
                      <a:pt x="544" y="76"/>
                    </a:cubicBezTo>
                    <a:cubicBezTo>
                      <a:pt x="545" y="75"/>
                      <a:pt x="545" y="76"/>
                      <a:pt x="546" y="76"/>
                    </a:cubicBezTo>
                    <a:cubicBezTo>
                      <a:pt x="547" y="76"/>
                      <a:pt x="547" y="76"/>
                      <a:pt x="547" y="76"/>
                    </a:cubicBezTo>
                    <a:cubicBezTo>
                      <a:pt x="546" y="77"/>
                      <a:pt x="547" y="77"/>
                      <a:pt x="547" y="77"/>
                    </a:cubicBezTo>
                    <a:cubicBezTo>
                      <a:pt x="547" y="77"/>
                      <a:pt x="547" y="77"/>
                      <a:pt x="547" y="76"/>
                    </a:cubicBezTo>
                    <a:cubicBezTo>
                      <a:pt x="548" y="76"/>
                      <a:pt x="548" y="76"/>
                      <a:pt x="548" y="76"/>
                    </a:cubicBezTo>
                    <a:cubicBezTo>
                      <a:pt x="547" y="75"/>
                      <a:pt x="547" y="75"/>
                      <a:pt x="546" y="75"/>
                    </a:cubicBezTo>
                    <a:cubicBezTo>
                      <a:pt x="547" y="75"/>
                      <a:pt x="548" y="75"/>
                      <a:pt x="549" y="75"/>
                    </a:cubicBezTo>
                    <a:cubicBezTo>
                      <a:pt x="549" y="74"/>
                      <a:pt x="550" y="74"/>
                      <a:pt x="550" y="74"/>
                    </a:cubicBezTo>
                    <a:cubicBezTo>
                      <a:pt x="551" y="74"/>
                      <a:pt x="552" y="74"/>
                      <a:pt x="553" y="74"/>
                    </a:cubicBezTo>
                    <a:cubicBezTo>
                      <a:pt x="554" y="74"/>
                      <a:pt x="555" y="73"/>
                      <a:pt x="556" y="73"/>
                    </a:cubicBezTo>
                    <a:cubicBezTo>
                      <a:pt x="557" y="73"/>
                      <a:pt x="559" y="73"/>
                      <a:pt x="560" y="73"/>
                    </a:cubicBezTo>
                    <a:cubicBezTo>
                      <a:pt x="561" y="73"/>
                      <a:pt x="562" y="73"/>
                      <a:pt x="564" y="73"/>
                    </a:cubicBezTo>
                    <a:cubicBezTo>
                      <a:pt x="564" y="73"/>
                      <a:pt x="564" y="73"/>
                      <a:pt x="565" y="74"/>
                    </a:cubicBezTo>
                    <a:cubicBezTo>
                      <a:pt x="565" y="74"/>
                      <a:pt x="564" y="74"/>
                      <a:pt x="565" y="74"/>
                    </a:cubicBezTo>
                    <a:cubicBezTo>
                      <a:pt x="566" y="76"/>
                      <a:pt x="562" y="77"/>
                      <a:pt x="564" y="78"/>
                    </a:cubicBezTo>
                    <a:cubicBezTo>
                      <a:pt x="564" y="78"/>
                      <a:pt x="565" y="78"/>
                      <a:pt x="565" y="78"/>
                    </a:cubicBezTo>
                    <a:cubicBezTo>
                      <a:pt x="566" y="79"/>
                      <a:pt x="565" y="79"/>
                      <a:pt x="565" y="79"/>
                    </a:cubicBezTo>
                    <a:cubicBezTo>
                      <a:pt x="564" y="80"/>
                      <a:pt x="564" y="80"/>
                      <a:pt x="564" y="81"/>
                    </a:cubicBezTo>
                    <a:cubicBezTo>
                      <a:pt x="564" y="81"/>
                      <a:pt x="564" y="81"/>
                      <a:pt x="564" y="81"/>
                    </a:cubicBezTo>
                    <a:cubicBezTo>
                      <a:pt x="565" y="81"/>
                      <a:pt x="565" y="81"/>
                      <a:pt x="565" y="82"/>
                    </a:cubicBezTo>
                    <a:cubicBezTo>
                      <a:pt x="565" y="82"/>
                      <a:pt x="564" y="82"/>
                      <a:pt x="563" y="83"/>
                    </a:cubicBezTo>
                    <a:cubicBezTo>
                      <a:pt x="562" y="83"/>
                      <a:pt x="562" y="83"/>
                      <a:pt x="561" y="84"/>
                    </a:cubicBezTo>
                    <a:cubicBezTo>
                      <a:pt x="558" y="84"/>
                      <a:pt x="556" y="86"/>
                      <a:pt x="553" y="86"/>
                    </a:cubicBezTo>
                    <a:cubicBezTo>
                      <a:pt x="555" y="86"/>
                      <a:pt x="556" y="86"/>
                      <a:pt x="557" y="85"/>
                    </a:cubicBezTo>
                    <a:cubicBezTo>
                      <a:pt x="558" y="85"/>
                      <a:pt x="559" y="84"/>
                      <a:pt x="560" y="84"/>
                    </a:cubicBezTo>
                    <a:cubicBezTo>
                      <a:pt x="562" y="84"/>
                      <a:pt x="560" y="85"/>
                      <a:pt x="560" y="85"/>
                    </a:cubicBezTo>
                    <a:cubicBezTo>
                      <a:pt x="559" y="86"/>
                      <a:pt x="558" y="86"/>
                      <a:pt x="558" y="86"/>
                    </a:cubicBezTo>
                    <a:cubicBezTo>
                      <a:pt x="557" y="86"/>
                      <a:pt x="557" y="87"/>
                      <a:pt x="556" y="87"/>
                    </a:cubicBezTo>
                    <a:cubicBezTo>
                      <a:pt x="556" y="87"/>
                      <a:pt x="557" y="87"/>
                      <a:pt x="557" y="88"/>
                    </a:cubicBezTo>
                    <a:cubicBezTo>
                      <a:pt x="558" y="88"/>
                      <a:pt x="557" y="88"/>
                      <a:pt x="557" y="88"/>
                    </a:cubicBezTo>
                    <a:cubicBezTo>
                      <a:pt x="556" y="88"/>
                      <a:pt x="556" y="88"/>
                      <a:pt x="556" y="88"/>
                    </a:cubicBezTo>
                    <a:cubicBezTo>
                      <a:pt x="555" y="88"/>
                      <a:pt x="554" y="88"/>
                      <a:pt x="554" y="88"/>
                    </a:cubicBezTo>
                    <a:cubicBezTo>
                      <a:pt x="554" y="88"/>
                      <a:pt x="555" y="88"/>
                      <a:pt x="556" y="88"/>
                    </a:cubicBezTo>
                    <a:cubicBezTo>
                      <a:pt x="556" y="88"/>
                      <a:pt x="555" y="89"/>
                      <a:pt x="555" y="89"/>
                    </a:cubicBezTo>
                    <a:cubicBezTo>
                      <a:pt x="554" y="89"/>
                      <a:pt x="554" y="89"/>
                      <a:pt x="553" y="90"/>
                    </a:cubicBezTo>
                    <a:cubicBezTo>
                      <a:pt x="554" y="90"/>
                      <a:pt x="556" y="89"/>
                      <a:pt x="557" y="88"/>
                    </a:cubicBezTo>
                    <a:cubicBezTo>
                      <a:pt x="557" y="88"/>
                      <a:pt x="558" y="88"/>
                      <a:pt x="559" y="88"/>
                    </a:cubicBezTo>
                    <a:cubicBezTo>
                      <a:pt x="560" y="88"/>
                      <a:pt x="559" y="88"/>
                      <a:pt x="559" y="87"/>
                    </a:cubicBezTo>
                    <a:cubicBezTo>
                      <a:pt x="559" y="87"/>
                      <a:pt x="560" y="87"/>
                      <a:pt x="560" y="87"/>
                    </a:cubicBezTo>
                    <a:cubicBezTo>
                      <a:pt x="561" y="87"/>
                      <a:pt x="561" y="87"/>
                      <a:pt x="561" y="86"/>
                    </a:cubicBezTo>
                    <a:cubicBezTo>
                      <a:pt x="561" y="86"/>
                      <a:pt x="561" y="86"/>
                      <a:pt x="562" y="86"/>
                    </a:cubicBezTo>
                    <a:cubicBezTo>
                      <a:pt x="562" y="86"/>
                      <a:pt x="562" y="87"/>
                      <a:pt x="562" y="87"/>
                    </a:cubicBezTo>
                    <a:cubicBezTo>
                      <a:pt x="563" y="87"/>
                      <a:pt x="563" y="87"/>
                      <a:pt x="564" y="87"/>
                    </a:cubicBezTo>
                    <a:cubicBezTo>
                      <a:pt x="564" y="87"/>
                      <a:pt x="562" y="86"/>
                      <a:pt x="562" y="86"/>
                    </a:cubicBezTo>
                    <a:cubicBezTo>
                      <a:pt x="563" y="85"/>
                      <a:pt x="564" y="85"/>
                      <a:pt x="565" y="85"/>
                    </a:cubicBezTo>
                    <a:cubicBezTo>
                      <a:pt x="565" y="85"/>
                      <a:pt x="565" y="85"/>
                      <a:pt x="565" y="84"/>
                    </a:cubicBezTo>
                    <a:cubicBezTo>
                      <a:pt x="566" y="84"/>
                      <a:pt x="566" y="84"/>
                      <a:pt x="566" y="84"/>
                    </a:cubicBezTo>
                    <a:cubicBezTo>
                      <a:pt x="566" y="84"/>
                      <a:pt x="566" y="84"/>
                      <a:pt x="566" y="84"/>
                    </a:cubicBezTo>
                    <a:cubicBezTo>
                      <a:pt x="566" y="85"/>
                      <a:pt x="565" y="85"/>
                      <a:pt x="566" y="85"/>
                    </a:cubicBezTo>
                    <a:cubicBezTo>
                      <a:pt x="566" y="86"/>
                      <a:pt x="566" y="86"/>
                      <a:pt x="565" y="86"/>
                    </a:cubicBezTo>
                    <a:cubicBezTo>
                      <a:pt x="565" y="86"/>
                      <a:pt x="564" y="86"/>
                      <a:pt x="564" y="87"/>
                    </a:cubicBezTo>
                    <a:cubicBezTo>
                      <a:pt x="564" y="87"/>
                      <a:pt x="567" y="85"/>
                      <a:pt x="566" y="87"/>
                    </a:cubicBezTo>
                    <a:cubicBezTo>
                      <a:pt x="566" y="87"/>
                      <a:pt x="566" y="86"/>
                      <a:pt x="566" y="86"/>
                    </a:cubicBezTo>
                    <a:cubicBezTo>
                      <a:pt x="567" y="86"/>
                      <a:pt x="567" y="86"/>
                      <a:pt x="568" y="85"/>
                    </a:cubicBezTo>
                    <a:cubicBezTo>
                      <a:pt x="568" y="85"/>
                      <a:pt x="569" y="85"/>
                      <a:pt x="569" y="85"/>
                    </a:cubicBezTo>
                    <a:cubicBezTo>
                      <a:pt x="569" y="86"/>
                      <a:pt x="570" y="86"/>
                      <a:pt x="570" y="86"/>
                    </a:cubicBezTo>
                    <a:cubicBezTo>
                      <a:pt x="570" y="87"/>
                      <a:pt x="569" y="87"/>
                      <a:pt x="568" y="88"/>
                    </a:cubicBezTo>
                    <a:cubicBezTo>
                      <a:pt x="568" y="88"/>
                      <a:pt x="566" y="89"/>
                      <a:pt x="566" y="89"/>
                    </a:cubicBezTo>
                    <a:cubicBezTo>
                      <a:pt x="566" y="89"/>
                      <a:pt x="567" y="89"/>
                      <a:pt x="567" y="89"/>
                    </a:cubicBezTo>
                    <a:cubicBezTo>
                      <a:pt x="567" y="89"/>
                      <a:pt x="568" y="89"/>
                      <a:pt x="568" y="89"/>
                    </a:cubicBezTo>
                    <a:cubicBezTo>
                      <a:pt x="569" y="89"/>
                      <a:pt x="570" y="90"/>
                      <a:pt x="570" y="90"/>
                    </a:cubicBezTo>
                    <a:cubicBezTo>
                      <a:pt x="569" y="89"/>
                      <a:pt x="570" y="89"/>
                      <a:pt x="570" y="89"/>
                    </a:cubicBezTo>
                    <a:cubicBezTo>
                      <a:pt x="569" y="89"/>
                      <a:pt x="569" y="89"/>
                      <a:pt x="568" y="89"/>
                    </a:cubicBezTo>
                    <a:cubicBezTo>
                      <a:pt x="568" y="88"/>
                      <a:pt x="570" y="87"/>
                      <a:pt x="570" y="87"/>
                    </a:cubicBezTo>
                    <a:cubicBezTo>
                      <a:pt x="571" y="87"/>
                      <a:pt x="571" y="87"/>
                      <a:pt x="572" y="88"/>
                    </a:cubicBezTo>
                    <a:cubicBezTo>
                      <a:pt x="572" y="88"/>
                      <a:pt x="572" y="89"/>
                      <a:pt x="571" y="89"/>
                    </a:cubicBezTo>
                    <a:cubicBezTo>
                      <a:pt x="571" y="90"/>
                      <a:pt x="573" y="91"/>
                      <a:pt x="573" y="91"/>
                    </a:cubicBezTo>
                    <a:cubicBezTo>
                      <a:pt x="573" y="90"/>
                      <a:pt x="572" y="90"/>
                      <a:pt x="572" y="89"/>
                    </a:cubicBezTo>
                    <a:cubicBezTo>
                      <a:pt x="572" y="89"/>
                      <a:pt x="573" y="89"/>
                      <a:pt x="573" y="89"/>
                    </a:cubicBezTo>
                    <a:cubicBezTo>
                      <a:pt x="573" y="89"/>
                      <a:pt x="573" y="90"/>
                      <a:pt x="573" y="90"/>
                    </a:cubicBezTo>
                    <a:cubicBezTo>
                      <a:pt x="574" y="90"/>
                      <a:pt x="574" y="90"/>
                      <a:pt x="574" y="91"/>
                    </a:cubicBezTo>
                    <a:cubicBezTo>
                      <a:pt x="574" y="91"/>
                      <a:pt x="575" y="90"/>
                      <a:pt x="575" y="90"/>
                    </a:cubicBezTo>
                    <a:cubicBezTo>
                      <a:pt x="574" y="90"/>
                      <a:pt x="573" y="90"/>
                      <a:pt x="573" y="89"/>
                    </a:cubicBezTo>
                    <a:cubicBezTo>
                      <a:pt x="573" y="89"/>
                      <a:pt x="573" y="89"/>
                      <a:pt x="573" y="89"/>
                    </a:cubicBezTo>
                    <a:cubicBezTo>
                      <a:pt x="572" y="89"/>
                      <a:pt x="572" y="89"/>
                      <a:pt x="572" y="88"/>
                    </a:cubicBezTo>
                    <a:cubicBezTo>
                      <a:pt x="573" y="87"/>
                      <a:pt x="572" y="87"/>
                      <a:pt x="571" y="87"/>
                    </a:cubicBezTo>
                    <a:cubicBezTo>
                      <a:pt x="569" y="86"/>
                      <a:pt x="571" y="86"/>
                      <a:pt x="571" y="86"/>
                    </a:cubicBezTo>
                    <a:cubicBezTo>
                      <a:pt x="571" y="85"/>
                      <a:pt x="572" y="86"/>
                      <a:pt x="572" y="86"/>
                    </a:cubicBezTo>
                    <a:cubicBezTo>
                      <a:pt x="572" y="86"/>
                      <a:pt x="573" y="85"/>
                      <a:pt x="573" y="85"/>
                    </a:cubicBezTo>
                    <a:cubicBezTo>
                      <a:pt x="574" y="86"/>
                      <a:pt x="572" y="87"/>
                      <a:pt x="573" y="87"/>
                    </a:cubicBezTo>
                    <a:cubicBezTo>
                      <a:pt x="573" y="87"/>
                      <a:pt x="573" y="87"/>
                      <a:pt x="573" y="86"/>
                    </a:cubicBezTo>
                    <a:cubicBezTo>
                      <a:pt x="573" y="86"/>
                      <a:pt x="574" y="86"/>
                      <a:pt x="574" y="86"/>
                    </a:cubicBezTo>
                    <a:cubicBezTo>
                      <a:pt x="575" y="86"/>
                      <a:pt x="575" y="86"/>
                      <a:pt x="576" y="86"/>
                    </a:cubicBezTo>
                    <a:cubicBezTo>
                      <a:pt x="576" y="86"/>
                      <a:pt x="577" y="86"/>
                      <a:pt x="576" y="86"/>
                    </a:cubicBezTo>
                    <a:cubicBezTo>
                      <a:pt x="577" y="86"/>
                      <a:pt x="578" y="86"/>
                      <a:pt x="578" y="87"/>
                    </a:cubicBezTo>
                    <a:cubicBezTo>
                      <a:pt x="578" y="87"/>
                      <a:pt x="578" y="88"/>
                      <a:pt x="578" y="88"/>
                    </a:cubicBezTo>
                    <a:cubicBezTo>
                      <a:pt x="578" y="88"/>
                      <a:pt x="578" y="87"/>
                      <a:pt x="578" y="87"/>
                    </a:cubicBezTo>
                    <a:cubicBezTo>
                      <a:pt x="579" y="87"/>
                      <a:pt x="579" y="87"/>
                      <a:pt x="579" y="87"/>
                    </a:cubicBezTo>
                    <a:cubicBezTo>
                      <a:pt x="580" y="87"/>
                      <a:pt x="581" y="87"/>
                      <a:pt x="582" y="87"/>
                    </a:cubicBezTo>
                    <a:cubicBezTo>
                      <a:pt x="581" y="87"/>
                      <a:pt x="580" y="87"/>
                      <a:pt x="579" y="87"/>
                    </a:cubicBezTo>
                    <a:cubicBezTo>
                      <a:pt x="578" y="86"/>
                      <a:pt x="577" y="86"/>
                      <a:pt x="576" y="86"/>
                    </a:cubicBezTo>
                    <a:cubicBezTo>
                      <a:pt x="575" y="86"/>
                      <a:pt x="574" y="85"/>
                      <a:pt x="574" y="85"/>
                    </a:cubicBezTo>
                    <a:cubicBezTo>
                      <a:pt x="574" y="84"/>
                      <a:pt x="575" y="84"/>
                      <a:pt x="576" y="83"/>
                    </a:cubicBezTo>
                    <a:cubicBezTo>
                      <a:pt x="577" y="83"/>
                      <a:pt x="579" y="83"/>
                      <a:pt x="581" y="82"/>
                    </a:cubicBezTo>
                    <a:cubicBezTo>
                      <a:pt x="581" y="82"/>
                      <a:pt x="582" y="82"/>
                      <a:pt x="583" y="82"/>
                    </a:cubicBezTo>
                    <a:cubicBezTo>
                      <a:pt x="584" y="82"/>
                      <a:pt x="585" y="82"/>
                      <a:pt x="587" y="82"/>
                    </a:cubicBezTo>
                    <a:cubicBezTo>
                      <a:pt x="587" y="82"/>
                      <a:pt x="589" y="82"/>
                      <a:pt x="588" y="83"/>
                    </a:cubicBezTo>
                    <a:cubicBezTo>
                      <a:pt x="589" y="83"/>
                      <a:pt x="592" y="83"/>
                      <a:pt x="591" y="84"/>
                    </a:cubicBezTo>
                    <a:cubicBezTo>
                      <a:pt x="590" y="84"/>
                      <a:pt x="591" y="85"/>
                      <a:pt x="592" y="84"/>
                    </a:cubicBezTo>
                    <a:cubicBezTo>
                      <a:pt x="592" y="83"/>
                      <a:pt x="594" y="83"/>
                      <a:pt x="595" y="84"/>
                    </a:cubicBezTo>
                    <a:cubicBezTo>
                      <a:pt x="595" y="84"/>
                      <a:pt x="596" y="84"/>
                      <a:pt x="596" y="84"/>
                    </a:cubicBezTo>
                    <a:cubicBezTo>
                      <a:pt x="596" y="84"/>
                      <a:pt x="597" y="84"/>
                      <a:pt x="597" y="84"/>
                    </a:cubicBezTo>
                    <a:cubicBezTo>
                      <a:pt x="597" y="85"/>
                      <a:pt x="597" y="85"/>
                      <a:pt x="597" y="86"/>
                    </a:cubicBezTo>
                    <a:cubicBezTo>
                      <a:pt x="597" y="86"/>
                      <a:pt x="597" y="87"/>
                      <a:pt x="596" y="87"/>
                    </a:cubicBezTo>
                    <a:cubicBezTo>
                      <a:pt x="595" y="87"/>
                      <a:pt x="594" y="87"/>
                      <a:pt x="592" y="87"/>
                    </a:cubicBezTo>
                    <a:cubicBezTo>
                      <a:pt x="591" y="87"/>
                      <a:pt x="589" y="88"/>
                      <a:pt x="588" y="88"/>
                    </a:cubicBezTo>
                    <a:cubicBezTo>
                      <a:pt x="588" y="88"/>
                      <a:pt x="587" y="89"/>
                      <a:pt x="586" y="89"/>
                    </a:cubicBezTo>
                    <a:cubicBezTo>
                      <a:pt x="586" y="89"/>
                      <a:pt x="585" y="90"/>
                      <a:pt x="584" y="90"/>
                    </a:cubicBezTo>
                    <a:cubicBezTo>
                      <a:pt x="585" y="90"/>
                      <a:pt x="586" y="89"/>
                      <a:pt x="586" y="89"/>
                    </a:cubicBezTo>
                    <a:cubicBezTo>
                      <a:pt x="587" y="89"/>
                      <a:pt x="588" y="88"/>
                      <a:pt x="589" y="88"/>
                    </a:cubicBezTo>
                    <a:cubicBezTo>
                      <a:pt x="590" y="87"/>
                      <a:pt x="592" y="87"/>
                      <a:pt x="593" y="88"/>
                    </a:cubicBezTo>
                    <a:cubicBezTo>
                      <a:pt x="594" y="88"/>
                      <a:pt x="593" y="88"/>
                      <a:pt x="593" y="88"/>
                    </a:cubicBezTo>
                    <a:cubicBezTo>
                      <a:pt x="592" y="88"/>
                      <a:pt x="591" y="88"/>
                      <a:pt x="590" y="89"/>
                    </a:cubicBezTo>
                    <a:cubicBezTo>
                      <a:pt x="590" y="90"/>
                      <a:pt x="589" y="90"/>
                      <a:pt x="588" y="90"/>
                    </a:cubicBezTo>
                    <a:cubicBezTo>
                      <a:pt x="587" y="91"/>
                      <a:pt x="586" y="91"/>
                      <a:pt x="585" y="91"/>
                    </a:cubicBezTo>
                    <a:cubicBezTo>
                      <a:pt x="587" y="91"/>
                      <a:pt x="588" y="91"/>
                      <a:pt x="589" y="90"/>
                    </a:cubicBezTo>
                    <a:cubicBezTo>
                      <a:pt x="590" y="90"/>
                      <a:pt x="591" y="89"/>
                      <a:pt x="592" y="89"/>
                    </a:cubicBezTo>
                    <a:cubicBezTo>
                      <a:pt x="593" y="88"/>
                      <a:pt x="593" y="88"/>
                      <a:pt x="594" y="88"/>
                    </a:cubicBezTo>
                    <a:cubicBezTo>
                      <a:pt x="594" y="88"/>
                      <a:pt x="595" y="88"/>
                      <a:pt x="596" y="87"/>
                    </a:cubicBezTo>
                    <a:cubicBezTo>
                      <a:pt x="596" y="87"/>
                      <a:pt x="597" y="88"/>
                      <a:pt x="598" y="88"/>
                    </a:cubicBezTo>
                    <a:cubicBezTo>
                      <a:pt x="599" y="88"/>
                      <a:pt x="599" y="88"/>
                      <a:pt x="600" y="88"/>
                    </a:cubicBezTo>
                    <a:cubicBezTo>
                      <a:pt x="600" y="88"/>
                      <a:pt x="601" y="88"/>
                      <a:pt x="601" y="89"/>
                    </a:cubicBezTo>
                    <a:cubicBezTo>
                      <a:pt x="601" y="89"/>
                      <a:pt x="600" y="89"/>
                      <a:pt x="600" y="89"/>
                    </a:cubicBezTo>
                    <a:cubicBezTo>
                      <a:pt x="599" y="90"/>
                      <a:pt x="597" y="91"/>
                      <a:pt x="597" y="90"/>
                    </a:cubicBezTo>
                    <a:cubicBezTo>
                      <a:pt x="597" y="90"/>
                      <a:pt x="596" y="91"/>
                      <a:pt x="596" y="91"/>
                    </a:cubicBezTo>
                    <a:cubicBezTo>
                      <a:pt x="595" y="91"/>
                      <a:pt x="594" y="91"/>
                      <a:pt x="593" y="91"/>
                    </a:cubicBezTo>
                    <a:cubicBezTo>
                      <a:pt x="592" y="91"/>
                      <a:pt x="591" y="91"/>
                      <a:pt x="590" y="91"/>
                    </a:cubicBezTo>
                    <a:cubicBezTo>
                      <a:pt x="591" y="91"/>
                      <a:pt x="591" y="91"/>
                      <a:pt x="592" y="91"/>
                    </a:cubicBezTo>
                    <a:cubicBezTo>
                      <a:pt x="593" y="91"/>
                      <a:pt x="593" y="92"/>
                      <a:pt x="592" y="92"/>
                    </a:cubicBezTo>
                    <a:cubicBezTo>
                      <a:pt x="591" y="92"/>
                      <a:pt x="590" y="92"/>
                      <a:pt x="589" y="93"/>
                    </a:cubicBezTo>
                    <a:cubicBezTo>
                      <a:pt x="590" y="93"/>
                      <a:pt x="591" y="92"/>
                      <a:pt x="593" y="92"/>
                    </a:cubicBezTo>
                    <a:cubicBezTo>
                      <a:pt x="593" y="92"/>
                      <a:pt x="595" y="91"/>
                      <a:pt x="595" y="91"/>
                    </a:cubicBezTo>
                    <a:cubicBezTo>
                      <a:pt x="595" y="92"/>
                      <a:pt x="594" y="92"/>
                      <a:pt x="593" y="92"/>
                    </a:cubicBezTo>
                    <a:cubicBezTo>
                      <a:pt x="592" y="93"/>
                      <a:pt x="591" y="93"/>
                      <a:pt x="590" y="93"/>
                    </a:cubicBezTo>
                    <a:cubicBezTo>
                      <a:pt x="591" y="93"/>
                      <a:pt x="591" y="93"/>
                      <a:pt x="592" y="93"/>
                    </a:cubicBezTo>
                    <a:cubicBezTo>
                      <a:pt x="593" y="93"/>
                      <a:pt x="592" y="93"/>
                      <a:pt x="591" y="93"/>
                    </a:cubicBezTo>
                    <a:cubicBezTo>
                      <a:pt x="592" y="93"/>
                      <a:pt x="592" y="93"/>
                      <a:pt x="592" y="94"/>
                    </a:cubicBezTo>
                    <a:cubicBezTo>
                      <a:pt x="593" y="94"/>
                      <a:pt x="592" y="94"/>
                      <a:pt x="591" y="94"/>
                    </a:cubicBezTo>
                    <a:cubicBezTo>
                      <a:pt x="591" y="95"/>
                      <a:pt x="589" y="95"/>
                      <a:pt x="588" y="96"/>
                    </a:cubicBezTo>
                    <a:cubicBezTo>
                      <a:pt x="589" y="96"/>
                      <a:pt x="591" y="95"/>
                      <a:pt x="592" y="95"/>
                    </a:cubicBezTo>
                    <a:cubicBezTo>
                      <a:pt x="592" y="95"/>
                      <a:pt x="593" y="94"/>
                      <a:pt x="593" y="94"/>
                    </a:cubicBezTo>
                    <a:cubicBezTo>
                      <a:pt x="593" y="94"/>
                      <a:pt x="593" y="93"/>
                      <a:pt x="593" y="93"/>
                    </a:cubicBezTo>
                    <a:cubicBezTo>
                      <a:pt x="593" y="92"/>
                      <a:pt x="594" y="93"/>
                      <a:pt x="595" y="92"/>
                    </a:cubicBezTo>
                    <a:cubicBezTo>
                      <a:pt x="595" y="92"/>
                      <a:pt x="596" y="92"/>
                      <a:pt x="596" y="91"/>
                    </a:cubicBezTo>
                    <a:cubicBezTo>
                      <a:pt x="597" y="91"/>
                      <a:pt x="597" y="91"/>
                      <a:pt x="598" y="91"/>
                    </a:cubicBezTo>
                    <a:cubicBezTo>
                      <a:pt x="598" y="91"/>
                      <a:pt x="599" y="91"/>
                      <a:pt x="599" y="91"/>
                    </a:cubicBezTo>
                    <a:cubicBezTo>
                      <a:pt x="598" y="92"/>
                      <a:pt x="598" y="92"/>
                      <a:pt x="597" y="92"/>
                    </a:cubicBezTo>
                    <a:cubicBezTo>
                      <a:pt x="597" y="92"/>
                      <a:pt x="597" y="93"/>
                      <a:pt x="597" y="93"/>
                    </a:cubicBezTo>
                    <a:cubicBezTo>
                      <a:pt x="597" y="93"/>
                      <a:pt x="597" y="92"/>
                      <a:pt x="597" y="92"/>
                    </a:cubicBezTo>
                    <a:cubicBezTo>
                      <a:pt x="597" y="92"/>
                      <a:pt x="598" y="92"/>
                      <a:pt x="598" y="92"/>
                    </a:cubicBezTo>
                    <a:cubicBezTo>
                      <a:pt x="599" y="91"/>
                      <a:pt x="600" y="91"/>
                      <a:pt x="600" y="91"/>
                    </a:cubicBezTo>
                    <a:cubicBezTo>
                      <a:pt x="601" y="91"/>
                      <a:pt x="603" y="90"/>
                      <a:pt x="602" y="91"/>
                    </a:cubicBezTo>
                    <a:cubicBezTo>
                      <a:pt x="602" y="91"/>
                      <a:pt x="602" y="91"/>
                      <a:pt x="603" y="91"/>
                    </a:cubicBezTo>
                    <a:cubicBezTo>
                      <a:pt x="602" y="91"/>
                      <a:pt x="602" y="91"/>
                      <a:pt x="601" y="91"/>
                    </a:cubicBezTo>
                    <a:cubicBezTo>
                      <a:pt x="600" y="92"/>
                      <a:pt x="600" y="92"/>
                      <a:pt x="599" y="92"/>
                    </a:cubicBezTo>
                    <a:cubicBezTo>
                      <a:pt x="599" y="93"/>
                      <a:pt x="598" y="93"/>
                      <a:pt x="598" y="93"/>
                    </a:cubicBezTo>
                    <a:cubicBezTo>
                      <a:pt x="597" y="94"/>
                      <a:pt x="596" y="94"/>
                      <a:pt x="595" y="94"/>
                    </a:cubicBezTo>
                    <a:cubicBezTo>
                      <a:pt x="596" y="94"/>
                      <a:pt x="597" y="93"/>
                      <a:pt x="597" y="94"/>
                    </a:cubicBezTo>
                    <a:cubicBezTo>
                      <a:pt x="597" y="94"/>
                      <a:pt x="597" y="94"/>
                      <a:pt x="597" y="94"/>
                    </a:cubicBezTo>
                    <a:cubicBezTo>
                      <a:pt x="596" y="95"/>
                      <a:pt x="596" y="95"/>
                      <a:pt x="596" y="95"/>
                    </a:cubicBezTo>
                    <a:cubicBezTo>
                      <a:pt x="596" y="95"/>
                      <a:pt x="596" y="95"/>
                      <a:pt x="596" y="95"/>
                    </a:cubicBezTo>
                    <a:cubicBezTo>
                      <a:pt x="596" y="95"/>
                      <a:pt x="595" y="95"/>
                      <a:pt x="594" y="96"/>
                    </a:cubicBezTo>
                    <a:cubicBezTo>
                      <a:pt x="595" y="96"/>
                      <a:pt x="597" y="95"/>
                      <a:pt x="598" y="94"/>
                    </a:cubicBezTo>
                    <a:cubicBezTo>
                      <a:pt x="599" y="93"/>
                      <a:pt x="599" y="93"/>
                      <a:pt x="600" y="93"/>
                    </a:cubicBezTo>
                    <a:cubicBezTo>
                      <a:pt x="600" y="92"/>
                      <a:pt x="602" y="92"/>
                      <a:pt x="601" y="93"/>
                    </a:cubicBezTo>
                    <a:cubicBezTo>
                      <a:pt x="601" y="93"/>
                      <a:pt x="601" y="93"/>
                      <a:pt x="600" y="93"/>
                    </a:cubicBezTo>
                    <a:cubicBezTo>
                      <a:pt x="600" y="94"/>
                      <a:pt x="600" y="94"/>
                      <a:pt x="600" y="94"/>
                    </a:cubicBezTo>
                    <a:cubicBezTo>
                      <a:pt x="600" y="94"/>
                      <a:pt x="601" y="94"/>
                      <a:pt x="601" y="94"/>
                    </a:cubicBezTo>
                    <a:cubicBezTo>
                      <a:pt x="601" y="94"/>
                      <a:pt x="602" y="94"/>
                      <a:pt x="602" y="94"/>
                    </a:cubicBezTo>
                    <a:cubicBezTo>
                      <a:pt x="601" y="94"/>
                      <a:pt x="601" y="94"/>
                      <a:pt x="601" y="94"/>
                    </a:cubicBezTo>
                    <a:cubicBezTo>
                      <a:pt x="600" y="95"/>
                      <a:pt x="599" y="95"/>
                      <a:pt x="598" y="96"/>
                    </a:cubicBezTo>
                    <a:cubicBezTo>
                      <a:pt x="598" y="96"/>
                      <a:pt x="597" y="97"/>
                      <a:pt x="597" y="97"/>
                    </a:cubicBezTo>
                    <a:cubicBezTo>
                      <a:pt x="597" y="97"/>
                      <a:pt x="596" y="97"/>
                      <a:pt x="596" y="97"/>
                    </a:cubicBezTo>
                    <a:cubicBezTo>
                      <a:pt x="596" y="97"/>
                      <a:pt x="597" y="97"/>
                      <a:pt x="598" y="96"/>
                    </a:cubicBezTo>
                    <a:cubicBezTo>
                      <a:pt x="598" y="96"/>
                      <a:pt x="599" y="96"/>
                      <a:pt x="599" y="95"/>
                    </a:cubicBezTo>
                    <a:cubicBezTo>
                      <a:pt x="600" y="95"/>
                      <a:pt x="601" y="94"/>
                      <a:pt x="602" y="95"/>
                    </a:cubicBezTo>
                    <a:cubicBezTo>
                      <a:pt x="602" y="95"/>
                      <a:pt x="603" y="95"/>
                      <a:pt x="602" y="95"/>
                    </a:cubicBezTo>
                    <a:cubicBezTo>
                      <a:pt x="602" y="95"/>
                      <a:pt x="601" y="95"/>
                      <a:pt x="601" y="96"/>
                    </a:cubicBezTo>
                    <a:cubicBezTo>
                      <a:pt x="601" y="96"/>
                      <a:pt x="600" y="97"/>
                      <a:pt x="599" y="97"/>
                    </a:cubicBezTo>
                    <a:cubicBezTo>
                      <a:pt x="599" y="97"/>
                      <a:pt x="598" y="97"/>
                      <a:pt x="599" y="98"/>
                    </a:cubicBezTo>
                    <a:cubicBezTo>
                      <a:pt x="598" y="97"/>
                      <a:pt x="600" y="97"/>
                      <a:pt x="600" y="97"/>
                    </a:cubicBezTo>
                    <a:cubicBezTo>
                      <a:pt x="601" y="97"/>
                      <a:pt x="601" y="96"/>
                      <a:pt x="602" y="96"/>
                    </a:cubicBezTo>
                    <a:cubicBezTo>
                      <a:pt x="602" y="95"/>
                      <a:pt x="602" y="96"/>
                      <a:pt x="603" y="95"/>
                    </a:cubicBezTo>
                    <a:cubicBezTo>
                      <a:pt x="603" y="95"/>
                      <a:pt x="604" y="95"/>
                      <a:pt x="604" y="95"/>
                    </a:cubicBezTo>
                    <a:cubicBezTo>
                      <a:pt x="604" y="94"/>
                      <a:pt x="604" y="94"/>
                      <a:pt x="604" y="94"/>
                    </a:cubicBezTo>
                    <a:cubicBezTo>
                      <a:pt x="605" y="94"/>
                      <a:pt x="605" y="94"/>
                      <a:pt x="606" y="94"/>
                    </a:cubicBezTo>
                    <a:cubicBezTo>
                      <a:pt x="607" y="94"/>
                      <a:pt x="606" y="93"/>
                      <a:pt x="607" y="93"/>
                    </a:cubicBezTo>
                    <a:cubicBezTo>
                      <a:pt x="607" y="93"/>
                      <a:pt x="608" y="93"/>
                      <a:pt x="608" y="92"/>
                    </a:cubicBezTo>
                    <a:cubicBezTo>
                      <a:pt x="609" y="91"/>
                      <a:pt x="610" y="92"/>
                      <a:pt x="611" y="92"/>
                    </a:cubicBezTo>
                    <a:cubicBezTo>
                      <a:pt x="612" y="92"/>
                      <a:pt x="613" y="92"/>
                      <a:pt x="614" y="93"/>
                    </a:cubicBezTo>
                    <a:cubicBezTo>
                      <a:pt x="614" y="93"/>
                      <a:pt x="615" y="93"/>
                      <a:pt x="615" y="93"/>
                    </a:cubicBezTo>
                    <a:cubicBezTo>
                      <a:pt x="615" y="94"/>
                      <a:pt x="616" y="94"/>
                      <a:pt x="616" y="95"/>
                    </a:cubicBezTo>
                    <a:cubicBezTo>
                      <a:pt x="616" y="95"/>
                      <a:pt x="615" y="96"/>
                      <a:pt x="615" y="96"/>
                    </a:cubicBezTo>
                    <a:cubicBezTo>
                      <a:pt x="614" y="96"/>
                      <a:pt x="613" y="97"/>
                      <a:pt x="612" y="97"/>
                    </a:cubicBezTo>
                    <a:cubicBezTo>
                      <a:pt x="611" y="97"/>
                      <a:pt x="610" y="97"/>
                      <a:pt x="609" y="97"/>
                    </a:cubicBezTo>
                    <a:cubicBezTo>
                      <a:pt x="609" y="97"/>
                      <a:pt x="608" y="97"/>
                      <a:pt x="607" y="98"/>
                    </a:cubicBezTo>
                    <a:cubicBezTo>
                      <a:pt x="606" y="98"/>
                      <a:pt x="606" y="98"/>
                      <a:pt x="605" y="99"/>
                    </a:cubicBezTo>
                    <a:cubicBezTo>
                      <a:pt x="604" y="99"/>
                      <a:pt x="603" y="99"/>
                      <a:pt x="602" y="99"/>
                    </a:cubicBezTo>
                    <a:cubicBezTo>
                      <a:pt x="603" y="99"/>
                      <a:pt x="603" y="99"/>
                      <a:pt x="604" y="99"/>
                    </a:cubicBezTo>
                    <a:cubicBezTo>
                      <a:pt x="605" y="99"/>
                      <a:pt x="606" y="99"/>
                      <a:pt x="606" y="99"/>
                    </a:cubicBezTo>
                    <a:cubicBezTo>
                      <a:pt x="606" y="99"/>
                      <a:pt x="605" y="100"/>
                      <a:pt x="604" y="100"/>
                    </a:cubicBezTo>
                    <a:cubicBezTo>
                      <a:pt x="604" y="100"/>
                      <a:pt x="604" y="100"/>
                      <a:pt x="603" y="100"/>
                    </a:cubicBezTo>
                    <a:cubicBezTo>
                      <a:pt x="603" y="101"/>
                      <a:pt x="602" y="101"/>
                      <a:pt x="601" y="101"/>
                    </a:cubicBezTo>
                    <a:cubicBezTo>
                      <a:pt x="603" y="101"/>
                      <a:pt x="605" y="100"/>
                      <a:pt x="606" y="99"/>
                    </a:cubicBezTo>
                    <a:cubicBezTo>
                      <a:pt x="607" y="99"/>
                      <a:pt x="609" y="99"/>
                      <a:pt x="610" y="99"/>
                    </a:cubicBezTo>
                    <a:cubicBezTo>
                      <a:pt x="610" y="99"/>
                      <a:pt x="611" y="99"/>
                      <a:pt x="611" y="99"/>
                    </a:cubicBezTo>
                    <a:cubicBezTo>
                      <a:pt x="612" y="99"/>
                      <a:pt x="613" y="99"/>
                      <a:pt x="613" y="99"/>
                    </a:cubicBezTo>
                    <a:cubicBezTo>
                      <a:pt x="613" y="99"/>
                      <a:pt x="613" y="98"/>
                      <a:pt x="613" y="98"/>
                    </a:cubicBezTo>
                    <a:cubicBezTo>
                      <a:pt x="613" y="98"/>
                      <a:pt x="613" y="98"/>
                      <a:pt x="614" y="98"/>
                    </a:cubicBezTo>
                    <a:cubicBezTo>
                      <a:pt x="614" y="97"/>
                      <a:pt x="616" y="97"/>
                      <a:pt x="616" y="97"/>
                    </a:cubicBezTo>
                    <a:cubicBezTo>
                      <a:pt x="617" y="97"/>
                      <a:pt x="618" y="96"/>
                      <a:pt x="618" y="97"/>
                    </a:cubicBezTo>
                    <a:cubicBezTo>
                      <a:pt x="618" y="98"/>
                      <a:pt x="618" y="99"/>
                      <a:pt x="617" y="99"/>
                    </a:cubicBezTo>
                    <a:cubicBezTo>
                      <a:pt x="616" y="99"/>
                      <a:pt x="615" y="100"/>
                      <a:pt x="614" y="100"/>
                    </a:cubicBezTo>
                    <a:cubicBezTo>
                      <a:pt x="614" y="100"/>
                      <a:pt x="613" y="100"/>
                      <a:pt x="613" y="101"/>
                    </a:cubicBezTo>
                    <a:cubicBezTo>
                      <a:pt x="612" y="101"/>
                      <a:pt x="612" y="101"/>
                      <a:pt x="611" y="101"/>
                    </a:cubicBezTo>
                    <a:cubicBezTo>
                      <a:pt x="610" y="101"/>
                      <a:pt x="610" y="101"/>
                      <a:pt x="609" y="101"/>
                    </a:cubicBezTo>
                    <a:cubicBezTo>
                      <a:pt x="609" y="101"/>
                      <a:pt x="608" y="101"/>
                      <a:pt x="608" y="102"/>
                    </a:cubicBezTo>
                    <a:cubicBezTo>
                      <a:pt x="607" y="102"/>
                      <a:pt x="607" y="102"/>
                      <a:pt x="606" y="102"/>
                    </a:cubicBezTo>
                    <a:cubicBezTo>
                      <a:pt x="606" y="103"/>
                      <a:pt x="605" y="103"/>
                      <a:pt x="605" y="103"/>
                    </a:cubicBezTo>
                    <a:cubicBezTo>
                      <a:pt x="605" y="103"/>
                      <a:pt x="606" y="103"/>
                      <a:pt x="606" y="103"/>
                    </a:cubicBezTo>
                    <a:cubicBezTo>
                      <a:pt x="606" y="103"/>
                      <a:pt x="605" y="104"/>
                      <a:pt x="605" y="104"/>
                    </a:cubicBezTo>
                    <a:cubicBezTo>
                      <a:pt x="606" y="104"/>
                      <a:pt x="606" y="103"/>
                      <a:pt x="607" y="102"/>
                    </a:cubicBezTo>
                    <a:cubicBezTo>
                      <a:pt x="607" y="102"/>
                      <a:pt x="608" y="102"/>
                      <a:pt x="608" y="102"/>
                    </a:cubicBezTo>
                    <a:cubicBezTo>
                      <a:pt x="609" y="102"/>
                      <a:pt x="609" y="101"/>
                      <a:pt x="609" y="101"/>
                    </a:cubicBezTo>
                    <a:cubicBezTo>
                      <a:pt x="609" y="102"/>
                      <a:pt x="609" y="102"/>
                      <a:pt x="609" y="102"/>
                    </a:cubicBezTo>
                    <a:cubicBezTo>
                      <a:pt x="610" y="102"/>
                      <a:pt x="610" y="101"/>
                      <a:pt x="611" y="102"/>
                    </a:cubicBezTo>
                    <a:cubicBezTo>
                      <a:pt x="611" y="102"/>
                      <a:pt x="610" y="103"/>
                      <a:pt x="610" y="103"/>
                    </a:cubicBezTo>
                    <a:cubicBezTo>
                      <a:pt x="609" y="103"/>
                      <a:pt x="608" y="104"/>
                      <a:pt x="608" y="104"/>
                    </a:cubicBezTo>
                    <a:cubicBezTo>
                      <a:pt x="608" y="105"/>
                      <a:pt x="607" y="105"/>
                      <a:pt x="606" y="106"/>
                    </a:cubicBezTo>
                    <a:cubicBezTo>
                      <a:pt x="607" y="105"/>
                      <a:pt x="606" y="106"/>
                      <a:pt x="606" y="106"/>
                    </a:cubicBezTo>
                    <a:cubicBezTo>
                      <a:pt x="605" y="106"/>
                      <a:pt x="605" y="106"/>
                      <a:pt x="605" y="106"/>
                    </a:cubicBezTo>
                    <a:cubicBezTo>
                      <a:pt x="606" y="106"/>
                      <a:pt x="608" y="105"/>
                      <a:pt x="609" y="104"/>
                    </a:cubicBezTo>
                    <a:cubicBezTo>
                      <a:pt x="610" y="103"/>
                      <a:pt x="611" y="102"/>
                      <a:pt x="612" y="102"/>
                    </a:cubicBezTo>
                    <a:cubicBezTo>
                      <a:pt x="611" y="101"/>
                      <a:pt x="614" y="101"/>
                      <a:pt x="614" y="101"/>
                    </a:cubicBezTo>
                    <a:cubicBezTo>
                      <a:pt x="615" y="100"/>
                      <a:pt x="616" y="100"/>
                      <a:pt x="617" y="100"/>
                    </a:cubicBezTo>
                    <a:cubicBezTo>
                      <a:pt x="618" y="99"/>
                      <a:pt x="619" y="99"/>
                      <a:pt x="621" y="99"/>
                    </a:cubicBezTo>
                    <a:cubicBezTo>
                      <a:pt x="621" y="99"/>
                      <a:pt x="623" y="98"/>
                      <a:pt x="623" y="99"/>
                    </a:cubicBezTo>
                    <a:cubicBezTo>
                      <a:pt x="622" y="100"/>
                      <a:pt x="620" y="100"/>
                      <a:pt x="619" y="101"/>
                    </a:cubicBezTo>
                    <a:cubicBezTo>
                      <a:pt x="618" y="101"/>
                      <a:pt x="617" y="101"/>
                      <a:pt x="616" y="101"/>
                    </a:cubicBezTo>
                    <a:cubicBezTo>
                      <a:pt x="616" y="101"/>
                      <a:pt x="616" y="101"/>
                      <a:pt x="616" y="102"/>
                    </a:cubicBezTo>
                    <a:cubicBezTo>
                      <a:pt x="616" y="102"/>
                      <a:pt x="615" y="102"/>
                      <a:pt x="615" y="102"/>
                    </a:cubicBezTo>
                    <a:cubicBezTo>
                      <a:pt x="615" y="102"/>
                      <a:pt x="616" y="102"/>
                      <a:pt x="617" y="102"/>
                    </a:cubicBezTo>
                    <a:cubicBezTo>
                      <a:pt x="617" y="102"/>
                      <a:pt x="616" y="101"/>
                      <a:pt x="617" y="101"/>
                    </a:cubicBezTo>
                    <a:cubicBezTo>
                      <a:pt x="617" y="101"/>
                      <a:pt x="618" y="101"/>
                      <a:pt x="619" y="101"/>
                    </a:cubicBezTo>
                    <a:cubicBezTo>
                      <a:pt x="619" y="102"/>
                      <a:pt x="619" y="101"/>
                      <a:pt x="620" y="101"/>
                    </a:cubicBezTo>
                    <a:cubicBezTo>
                      <a:pt x="620" y="101"/>
                      <a:pt x="620" y="101"/>
                      <a:pt x="621" y="100"/>
                    </a:cubicBezTo>
                    <a:cubicBezTo>
                      <a:pt x="621" y="100"/>
                      <a:pt x="621" y="100"/>
                      <a:pt x="622" y="100"/>
                    </a:cubicBezTo>
                    <a:cubicBezTo>
                      <a:pt x="622" y="100"/>
                      <a:pt x="622" y="101"/>
                      <a:pt x="622" y="100"/>
                    </a:cubicBezTo>
                    <a:cubicBezTo>
                      <a:pt x="623" y="100"/>
                      <a:pt x="624" y="99"/>
                      <a:pt x="625" y="99"/>
                    </a:cubicBezTo>
                    <a:cubicBezTo>
                      <a:pt x="625" y="99"/>
                      <a:pt x="626" y="99"/>
                      <a:pt x="626" y="100"/>
                    </a:cubicBezTo>
                    <a:cubicBezTo>
                      <a:pt x="626" y="100"/>
                      <a:pt x="626" y="100"/>
                      <a:pt x="627" y="100"/>
                    </a:cubicBezTo>
                    <a:cubicBezTo>
                      <a:pt x="628" y="101"/>
                      <a:pt x="628" y="101"/>
                      <a:pt x="629" y="101"/>
                    </a:cubicBezTo>
                    <a:cubicBezTo>
                      <a:pt x="630" y="101"/>
                      <a:pt x="631" y="101"/>
                      <a:pt x="630" y="102"/>
                    </a:cubicBezTo>
                    <a:cubicBezTo>
                      <a:pt x="630" y="103"/>
                      <a:pt x="629" y="103"/>
                      <a:pt x="628" y="103"/>
                    </a:cubicBezTo>
                    <a:cubicBezTo>
                      <a:pt x="628" y="103"/>
                      <a:pt x="628" y="102"/>
                      <a:pt x="628" y="102"/>
                    </a:cubicBezTo>
                    <a:cubicBezTo>
                      <a:pt x="628" y="102"/>
                      <a:pt x="627" y="103"/>
                      <a:pt x="627" y="103"/>
                    </a:cubicBezTo>
                    <a:cubicBezTo>
                      <a:pt x="627" y="104"/>
                      <a:pt x="627" y="104"/>
                      <a:pt x="626" y="104"/>
                    </a:cubicBezTo>
                    <a:cubicBezTo>
                      <a:pt x="625" y="104"/>
                      <a:pt x="623" y="104"/>
                      <a:pt x="622" y="104"/>
                    </a:cubicBezTo>
                    <a:cubicBezTo>
                      <a:pt x="620" y="105"/>
                      <a:pt x="619" y="105"/>
                      <a:pt x="617" y="105"/>
                    </a:cubicBezTo>
                    <a:cubicBezTo>
                      <a:pt x="617" y="106"/>
                      <a:pt x="616" y="106"/>
                      <a:pt x="616" y="106"/>
                    </a:cubicBezTo>
                    <a:cubicBezTo>
                      <a:pt x="615" y="106"/>
                      <a:pt x="615" y="106"/>
                      <a:pt x="614" y="107"/>
                    </a:cubicBezTo>
                    <a:cubicBezTo>
                      <a:pt x="615" y="107"/>
                      <a:pt x="615" y="106"/>
                      <a:pt x="616" y="106"/>
                    </a:cubicBezTo>
                    <a:cubicBezTo>
                      <a:pt x="617" y="106"/>
                      <a:pt x="617" y="107"/>
                      <a:pt x="616" y="107"/>
                    </a:cubicBezTo>
                    <a:cubicBezTo>
                      <a:pt x="615" y="107"/>
                      <a:pt x="615" y="107"/>
                      <a:pt x="614" y="107"/>
                    </a:cubicBezTo>
                    <a:cubicBezTo>
                      <a:pt x="613" y="107"/>
                      <a:pt x="612" y="108"/>
                      <a:pt x="611" y="108"/>
                    </a:cubicBezTo>
                    <a:cubicBezTo>
                      <a:pt x="612" y="108"/>
                      <a:pt x="613" y="107"/>
                      <a:pt x="614" y="107"/>
                    </a:cubicBezTo>
                    <a:cubicBezTo>
                      <a:pt x="615" y="107"/>
                      <a:pt x="617" y="107"/>
                      <a:pt x="617" y="106"/>
                    </a:cubicBezTo>
                    <a:cubicBezTo>
                      <a:pt x="617" y="106"/>
                      <a:pt x="619" y="105"/>
                      <a:pt x="620" y="105"/>
                    </a:cubicBezTo>
                    <a:cubicBezTo>
                      <a:pt x="620" y="105"/>
                      <a:pt x="621" y="105"/>
                      <a:pt x="622" y="105"/>
                    </a:cubicBezTo>
                    <a:cubicBezTo>
                      <a:pt x="622" y="105"/>
                      <a:pt x="623" y="105"/>
                      <a:pt x="623" y="105"/>
                    </a:cubicBezTo>
                    <a:cubicBezTo>
                      <a:pt x="623" y="105"/>
                      <a:pt x="623" y="105"/>
                      <a:pt x="623" y="105"/>
                    </a:cubicBezTo>
                    <a:cubicBezTo>
                      <a:pt x="623" y="104"/>
                      <a:pt x="625" y="105"/>
                      <a:pt x="626" y="105"/>
                    </a:cubicBezTo>
                    <a:cubicBezTo>
                      <a:pt x="626" y="105"/>
                      <a:pt x="625" y="106"/>
                      <a:pt x="625" y="106"/>
                    </a:cubicBezTo>
                    <a:cubicBezTo>
                      <a:pt x="625" y="106"/>
                      <a:pt x="625" y="106"/>
                      <a:pt x="625" y="106"/>
                    </a:cubicBezTo>
                    <a:cubicBezTo>
                      <a:pt x="624" y="106"/>
                      <a:pt x="624" y="106"/>
                      <a:pt x="624" y="106"/>
                    </a:cubicBezTo>
                    <a:cubicBezTo>
                      <a:pt x="623" y="107"/>
                      <a:pt x="622" y="107"/>
                      <a:pt x="621" y="107"/>
                    </a:cubicBezTo>
                    <a:cubicBezTo>
                      <a:pt x="620" y="108"/>
                      <a:pt x="619" y="108"/>
                      <a:pt x="618" y="108"/>
                    </a:cubicBezTo>
                    <a:cubicBezTo>
                      <a:pt x="617" y="108"/>
                      <a:pt x="616" y="108"/>
                      <a:pt x="615" y="109"/>
                    </a:cubicBezTo>
                    <a:cubicBezTo>
                      <a:pt x="614" y="109"/>
                      <a:pt x="613" y="109"/>
                      <a:pt x="613" y="110"/>
                    </a:cubicBezTo>
                    <a:cubicBezTo>
                      <a:pt x="614" y="110"/>
                      <a:pt x="615" y="108"/>
                      <a:pt x="617" y="108"/>
                    </a:cubicBezTo>
                    <a:cubicBezTo>
                      <a:pt x="618" y="108"/>
                      <a:pt x="618" y="109"/>
                      <a:pt x="619" y="108"/>
                    </a:cubicBezTo>
                    <a:cubicBezTo>
                      <a:pt x="620" y="108"/>
                      <a:pt x="621" y="107"/>
                      <a:pt x="622" y="107"/>
                    </a:cubicBezTo>
                    <a:cubicBezTo>
                      <a:pt x="623" y="107"/>
                      <a:pt x="624" y="107"/>
                      <a:pt x="624" y="107"/>
                    </a:cubicBezTo>
                    <a:cubicBezTo>
                      <a:pt x="625" y="107"/>
                      <a:pt x="625" y="107"/>
                      <a:pt x="625" y="107"/>
                    </a:cubicBezTo>
                    <a:cubicBezTo>
                      <a:pt x="625" y="107"/>
                      <a:pt x="625" y="107"/>
                      <a:pt x="626" y="106"/>
                    </a:cubicBezTo>
                    <a:cubicBezTo>
                      <a:pt x="627" y="106"/>
                      <a:pt x="628" y="106"/>
                      <a:pt x="629" y="106"/>
                    </a:cubicBezTo>
                    <a:cubicBezTo>
                      <a:pt x="629" y="105"/>
                      <a:pt x="628" y="105"/>
                      <a:pt x="628" y="105"/>
                    </a:cubicBezTo>
                    <a:cubicBezTo>
                      <a:pt x="628" y="105"/>
                      <a:pt x="628" y="105"/>
                      <a:pt x="628" y="105"/>
                    </a:cubicBezTo>
                    <a:cubicBezTo>
                      <a:pt x="629" y="105"/>
                      <a:pt x="630" y="104"/>
                      <a:pt x="631" y="104"/>
                    </a:cubicBezTo>
                    <a:cubicBezTo>
                      <a:pt x="632" y="104"/>
                      <a:pt x="633" y="105"/>
                      <a:pt x="634" y="106"/>
                    </a:cubicBezTo>
                    <a:cubicBezTo>
                      <a:pt x="634" y="107"/>
                      <a:pt x="634" y="107"/>
                      <a:pt x="634" y="107"/>
                    </a:cubicBezTo>
                    <a:cubicBezTo>
                      <a:pt x="634" y="107"/>
                      <a:pt x="634" y="107"/>
                      <a:pt x="634" y="107"/>
                    </a:cubicBezTo>
                    <a:cubicBezTo>
                      <a:pt x="634" y="108"/>
                      <a:pt x="634" y="108"/>
                      <a:pt x="634" y="108"/>
                    </a:cubicBezTo>
                    <a:cubicBezTo>
                      <a:pt x="634" y="108"/>
                      <a:pt x="634" y="108"/>
                      <a:pt x="634" y="108"/>
                    </a:cubicBezTo>
                    <a:cubicBezTo>
                      <a:pt x="634" y="109"/>
                      <a:pt x="634" y="109"/>
                      <a:pt x="633" y="109"/>
                    </a:cubicBezTo>
                    <a:cubicBezTo>
                      <a:pt x="632" y="109"/>
                      <a:pt x="632" y="109"/>
                      <a:pt x="631" y="109"/>
                    </a:cubicBezTo>
                    <a:cubicBezTo>
                      <a:pt x="629" y="109"/>
                      <a:pt x="628" y="109"/>
                      <a:pt x="626" y="109"/>
                    </a:cubicBezTo>
                    <a:cubicBezTo>
                      <a:pt x="626" y="109"/>
                      <a:pt x="625" y="110"/>
                      <a:pt x="624" y="110"/>
                    </a:cubicBezTo>
                    <a:cubicBezTo>
                      <a:pt x="624" y="110"/>
                      <a:pt x="623" y="110"/>
                      <a:pt x="622" y="110"/>
                    </a:cubicBezTo>
                    <a:cubicBezTo>
                      <a:pt x="621" y="110"/>
                      <a:pt x="619" y="111"/>
                      <a:pt x="617" y="111"/>
                    </a:cubicBezTo>
                    <a:cubicBezTo>
                      <a:pt x="616" y="111"/>
                      <a:pt x="616" y="111"/>
                      <a:pt x="615" y="111"/>
                    </a:cubicBezTo>
                    <a:cubicBezTo>
                      <a:pt x="614" y="111"/>
                      <a:pt x="613" y="111"/>
                      <a:pt x="612" y="111"/>
                    </a:cubicBezTo>
                    <a:cubicBezTo>
                      <a:pt x="613" y="112"/>
                      <a:pt x="614" y="111"/>
                      <a:pt x="614" y="111"/>
                    </a:cubicBezTo>
                    <a:cubicBezTo>
                      <a:pt x="615" y="111"/>
                      <a:pt x="616" y="111"/>
                      <a:pt x="617" y="111"/>
                    </a:cubicBezTo>
                    <a:cubicBezTo>
                      <a:pt x="619" y="111"/>
                      <a:pt x="621" y="110"/>
                      <a:pt x="623" y="111"/>
                    </a:cubicBezTo>
                    <a:cubicBezTo>
                      <a:pt x="624" y="111"/>
                      <a:pt x="625" y="111"/>
                      <a:pt x="626" y="112"/>
                    </a:cubicBezTo>
                    <a:cubicBezTo>
                      <a:pt x="627" y="112"/>
                      <a:pt x="628" y="111"/>
                      <a:pt x="629" y="112"/>
                    </a:cubicBezTo>
                    <a:cubicBezTo>
                      <a:pt x="630" y="112"/>
                      <a:pt x="631" y="111"/>
                      <a:pt x="632" y="112"/>
                    </a:cubicBezTo>
                    <a:cubicBezTo>
                      <a:pt x="632" y="112"/>
                      <a:pt x="633" y="112"/>
                      <a:pt x="634" y="113"/>
                    </a:cubicBezTo>
                    <a:cubicBezTo>
                      <a:pt x="634" y="114"/>
                      <a:pt x="634" y="114"/>
                      <a:pt x="633" y="115"/>
                    </a:cubicBezTo>
                    <a:cubicBezTo>
                      <a:pt x="632" y="115"/>
                      <a:pt x="631" y="114"/>
                      <a:pt x="631" y="114"/>
                    </a:cubicBezTo>
                    <a:cubicBezTo>
                      <a:pt x="630" y="114"/>
                      <a:pt x="630" y="115"/>
                      <a:pt x="629" y="114"/>
                    </a:cubicBezTo>
                    <a:cubicBezTo>
                      <a:pt x="628" y="114"/>
                      <a:pt x="627" y="114"/>
                      <a:pt x="627" y="114"/>
                    </a:cubicBezTo>
                    <a:cubicBezTo>
                      <a:pt x="626" y="114"/>
                      <a:pt x="625" y="114"/>
                      <a:pt x="624" y="113"/>
                    </a:cubicBezTo>
                    <a:cubicBezTo>
                      <a:pt x="623" y="113"/>
                      <a:pt x="622" y="113"/>
                      <a:pt x="622" y="113"/>
                    </a:cubicBezTo>
                    <a:cubicBezTo>
                      <a:pt x="620" y="113"/>
                      <a:pt x="617" y="112"/>
                      <a:pt x="616" y="113"/>
                    </a:cubicBezTo>
                    <a:cubicBezTo>
                      <a:pt x="616" y="113"/>
                      <a:pt x="617" y="113"/>
                      <a:pt x="618" y="113"/>
                    </a:cubicBezTo>
                    <a:cubicBezTo>
                      <a:pt x="618" y="113"/>
                      <a:pt x="619" y="113"/>
                      <a:pt x="620" y="113"/>
                    </a:cubicBezTo>
                    <a:cubicBezTo>
                      <a:pt x="621" y="113"/>
                      <a:pt x="622" y="113"/>
                      <a:pt x="622" y="113"/>
                    </a:cubicBezTo>
                    <a:cubicBezTo>
                      <a:pt x="623" y="113"/>
                      <a:pt x="623" y="113"/>
                      <a:pt x="623" y="113"/>
                    </a:cubicBezTo>
                    <a:cubicBezTo>
                      <a:pt x="624" y="114"/>
                      <a:pt x="624" y="114"/>
                      <a:pt x="623" y="114"/>
                    </a:cubicBezTo>
                    <a:cubicBezTo>
                      <a:pt x="623" y="114"/>
                      <a:pt x="622" y="114"/>
                      <a:pt x="622" y="114"/>
                    </a:cubicBezTo>
                    <a:cubicBezTo>
                      <a:pt x="620" y="114"/>
                      <a:pt x="619" y="114"/>
                      <a:pt x="618" y="114"/>
                    </a:cubicBezTo>
                    <a:cubicBezTo>
                      <a:pt x="618" y="114"/>
                      <a:pt x="620" y="114"/>
                      <a:pt x="621" y="114"/>
                    </a:cubicBezTo>
                    <a:cubicBezTo>
                      <a:pt x="619" y="115"/>
                      <a:pt x="617" y="114"/>
                      <a:pt x="616" y="115"/>
                    </a:cubicBezTo>
                    <a:cubicBezTo>
                      <a:pt x="616" y="115"/>
                      <a:pt x="617" y="115"/>
                      <a:pt x="617" y="115"/>
                    </a:cubicBezTo>
                    <a:cubicBezTo>
                      <a:pt x="617" y="116"/>
                      <a:pt x="616" y="116"/>
                      <a:pt x="616" y="116"/>
                    </a:cubicBezTo>
                    <a:cubicBezTo>
                      <a:pt x="616" y="116"/>
                      <a:pt x="617" y="115"/>
                      <a:pt x="617" y="115"/>
                    </a:cubicBezTo>
                    <a:cubicBezTo>
                      <a:pt x="618" y="115"/>
                      <a:pt x="619" y="115"/>
                      <a:pt x="620" y="114"/>
                    </a:cubicBezTo>
                    <a:cubicBezTo>
                      <a:pt x="621" y="114"/>
                      <a:pt x="622" y="114"/>
                      <a:pt x="623" y="115"/>
                    </a:cubicBezTo>
                    <a:cubicBezTo>
                      <a:pt x="623" y="115"/>
                      <a:pt x="625" y="116"/>
                      <a:pt x="625" y="116"/>
                    </a:cubicBezTo>
                    <a:cubicBezTo>
                      <a:pt x="625" y="116"/>
                      <a:pt x="622" y="116"/>
                      <a:pt x="622" y="116"/>
                    </a:cubicBezTo>
                    <a:cubicBezTo>
                      <a:pt x="621" y="116"/>
                      <a:pt x="620" y="115"/>
                      <a:pt x="619" y="116"/>
                    </a:cubicBezTo>
                    <a:cubicBezTo>
                      <a:pt x="619" y="116"/>
                      <a:pt x="620" y="116"/>
                      <a:pt x="621" y="116"/>
                    </a:cubicBezTo>
                    <a:cubicBezTo>
                      <a:pt x="621" y="116"/>
                      <a:pt x="623" y="117"/>
                      <a:pt x="622" y="117"/>
                    </a:cubicBezTo>
                    <a:cubicBezTo>
                      <a:pt x="623" y="117"/>
                      <a:pt x="622" y="117"/>
                      <a:pt x="621" y="117"/>
                    </a:cubicBezTo>
                    <a:cubicBezTo>
                      <a:pt x="621" y="117"/>
                      <a:pt x="620" y="117"/>
                      <a:pt x="619" y="117"/>
                    </a:cubicBezTo>
                    <a:cubicBezTo>
                      <a:pt x="619" y="117"/>
                      <a:pt x="621" y="117"/>
                      <a:pt x="621" y="117"/>
                    </a:cubicBezTo>
                    <a:cubicBezTo>
                      <a:pt x="622" y="118"/>
                      <a:pt x="623" y="118"/>
                      <a:pt x="623" y="118"/>
                    </a:cubicBezTo>
                    <a:cubicBezTo>
                      <a:pt x="621" y="119"/>
                      <a:pt x="619" y="117"/>
                      <a:pt x="618" y="117"/>
                    </a:cubicBezTo>
                    <a:cubicBezTo>
                      <a:pt x="618" y="117"/>
                      <a:pt x="618" y="118"/>
                      <a:pt x="618" y="118"/>
                    </a:cubicBezTo>
                    <a:cubicBezTo>
                      <a:pt x="618" y="118"/>
                      <a:pt x="616" y="118"/>
                      <a:pt x="616" y="118"/>
                    </a:cubicBezTo>
                    <a:cubicBezTo>
                      <a:pt x="615" y="118"/>
                      <a:pt x="613" y="117"/>
                      <a:pt x="612" y="117"/>
                    </a:cubicBezTo>
                    <a:cubicBezTo>
                      <a:pt x="613" y="117"/>
                      <a:pt x="613" y="117"/>
                      <a:pt x="614" y="117"/>
                    </a:cubicBezTo>
                    <a:cubicBezTo>
                      <a:pt x="613" y="118"/>
                      <a:pt x="613" y="117"/>
                      <a:pt x="612" y="118"/>
                    </a:cubicBezTo>
                    <a:cubicBezTo>
                      <a:pt x="613" y="118"/>
                      <a:pt x="614" y="118"/>
                      <a:pt x="615" y="118"/>
                    </a:cubicBezTo>
                    <a:cubicBezTo>
                      <a:pt x="615" y="118"/>
                      <a:pt x="615" y="118"/>
                      <a:pt x="614" y="118"/>
                    </a:cubicBezTo>
                    <a:cubicBezTo>
                      <a:pt x="615" y="118"/>
                      <a:pt x="615" y="118"/>
                      <a:pt x="615" y="118"/>
                    </a:cubicBezTo>
                    <a:cubicBezTo>
                      <a:pt x="616" y="118"/>
                      <a:pt x="616" y="118"/>
                      <a:pt x="617" y="118"/>
                    </a:cubicBezTo>
                    <a:cubicBezTo>
                      <a:pt x="617" y="118"/>
                      <a:pt x="618" y="118"/>
                      <a:pt x="619" y="118"/>
                    </a:cubicBezTo>
                    <a:cubicBezTo>
                      <a:pt x="619" y="118"/>
                      <a:pt x="620" y="119"/>
                      <a:pt x="621" y="119"/>
                    </a:cubicBezTo>
                    <a:cubicBezTo>
                      <a:pt x="620" y="119"/>
                      <a:pt x="620" y="119"/>
                      <a:pt x="620" y="119"/>
                    </a:cubicBezTo>
                    <a:cubicBezTo>
                      <a:pt x="620" y="119"/>
                      <a:pt x="620" y="119"/>
                      <a:pt x="620" y="119"/>
                    </a:cubicBezTo>
                    <a:cubicBezTo>
                      <a:pt x="620" y="119"/>
                      <a:pt x="618" y="119"/>
                      <a:pt x="618" y="119"/>
                    </a:cubicBezTo>
                    <a:cubicBezTo>
                      <a:pt x="617" y="119"/>
                      <a:pt x="617" y="119"/>
                      <a:pt x="617" y="119"/>
                    </a:cubicBezTo>
                    <a:cubicBezTo>
                      <a:pt x="617" y="119"/>
                      <a:pt x="617" y="119"/>
                      <a:pt x="617" y="119"/>
                    </a:cubicBezTo>
                    <a:cubicBezTo>
                      <a:pt x="617" y="120"/>
                      <a:pt x="615" y="120"/>
                      <a:pt x="615" y="120"/>
                    </a:cubicBezTo>
                    <a:cubicBezTo>
                      <a:pt x="615" y="120"/>
                      <a:pt x="617" y="120"/>
                      <a:pt x="617" y="120"/>
                    </a:cubicBezTo>
                    <a:cubicBezTo>
                      <a:pt x="618" y="120"/>
                      <a:pt x="620" y="120"/>
                      <a:pt x="619" y="120"/>
                    </a:cubicBezTo>
                    <a:cubicBezTo>
                      <a:pt x="620" y="120"/>
                      <a:pt x="620" y="120"/>
                      <a:pt x="621" y="120"/>
                    </a:cubicBezTo>
                    <a:cubicBezTo>
                      <a:pt x="620" y="120"/>
                      <a:pt x="620" y="121"/>
                      <a:pt x="620" y="121"/>
                    </a:cubicBezTo>
                    <a:cubicBezTo>
                      <a:pt x="620" y="121"/>
                      <a:pt x="620" y="121"/>
                      <a:pt x="619" y="121"/>
                    </a:cubicBezTo>
                    <a:cubicBezTo>
                      <a:pt x="620" y="121"/>
                      <a:pt x="620" y="121"/>
                      <a:pt x="621" y="120"/>
                    </a:cubicBezTo>
                    <a:cubicBezTo>
                      <a:pt x="621" y="120"/>
                      <a:pt x="622" y="120"/>
                      <a:pt x="623" y="120"/>
                    </a:cubicBezTo>
                    <a:cubicBezTo>
                      <a:pt x="623" y="120"/>
                      <a:pt x="624" y="120"/>
                      <a:pt x="623" y="120"/>
                    </a:cubicBezTo>
                    <a:cubicBezTo>
                      <a:pt x="623" y="121"/>
                      <a:pt x="622" y="121"/>
                      <a:pt x="622" y="122"/>
                    </a:cubicBezTo>
                    <a:cubicBezTo>
                      <a:pt x="622" y="122"/>
                      <a:pt x="623" y="121"/>
                      <a:pt x="623" y="121"/>
                    </a:cubicBezTo>
                    <a:cubicBezTo>
                      <a:pt x="624" y="121"/>
                      <a:pt x="624" y="121"/>
                      <a:pt x="625" y="121"/>
                    </a:cubicBezTo>
                    <a:cubicBezTo>
                      <a:pt x="625" y="121"/>
                      <a:pt x="625" y="121"/>
                      <a:pt x="625" y="121"/>
                    </a:cubicBezTo>
                    <a:cubicBezTo>
                      <a:pt x="625" y="121"/>
                      <a:pt x="625" y="121"/>
                      <a:pt x="625" y="121"/>
                    </a:cubicBezTo>
                    <a:cubicBezTo>
                      <a:pt x="625" y="121"/>
                      <a:pt x="624" y="121"/>
                      <a:pt x="624" y="121"/>
                    </a:cubicBezTo>
                    <a:cubicBezTo>
                      <a:pt x="624" y="121"/>
                      <a:pt x="625" y="122"/>
                      <a:pt x="626" y="121"/>
                    </a:cubicBezTo>
                    <a:cubicBezTo>
                      <a:pt x="626" y="121"/>
                      <a:pt x="626" y="121"/>
                      <a:pt x="626" y="121"/>
                    </a:cubicBezTo>
                    <a:cubicBezTo>
                      <a:pt x="627" y="121"/>
                      <a:pt x="628" y="121"/>
                      <a:pt x="629" y="121"/>
                    </a:cubicBezTo>
                    <a:cubicBezTo>
                      <a:pt x="628" y="121"/>
                      <a:pt x="628" y="121"/>
                      <a:pt x="627" y="121"/>
                    </a:cubicBezTo>
                    <a:cubicBezTo>
                      <a:pt x="627" y="121"/>
                      <a:pt x="626" y="122"/>
                      <a:pt x="626" y="122"/>
                    </a:cubicBezTo>
                    <a:cubicBezTo>
                      <a:pt x="625" y="122"/>
                      <a:pt x="625" y="122"/>
                      <a:pt x="624" y="122"/>
                    </a:cubicBezTo>
                    <a:cubicBezTo>
                      <a:pt x="623" y="122"/>
                      <a:pt x="623" y="122"/>
                      <a:pt x="622" y="122"/>
                    </a:cubicBezTo>
                    <a:cubicBezTo>
                      <a:pt x="622" y="122"/>
                      <a:pt x="619" y="122"/>
                      <a:pt x="619" y="123"/>
                    </a:cubicBezTo>
                    <a:cubicBezTo>
                      <a:pt x="619" y="123"/>
                      <a:pt x="620" y="122"/>
                      <a:pt x="620" y="122"/>
                    </a:cubicBezTo>
                    <a:cubicBezTo>
                      <a:pt x="621" y="122"/>
                      <a:pt x="621" y="122"/>
                      <a:pt x="622" y="122"/>
                    </a:cubicBezTo>
                    <a:cubicBezTo>
                      <a:pt x="622" y="122"/>
                      <a:pt x="622" y="122"/>
                      <a:pt x="621" y="123"/>
                    </a:cubicBezTo>
                    <a:cubicBezTo>
                      <a:pt x="622" y="122"/>
                      <a:pt x="624" y="122"/>
                      <a:pt x="623" y="122"/>
                    </a:cubicBezTo>
                    <a:cubicBezTo>
                      <a:pt x="624" y="122"/>
                      <a:pt x="624" y="122"/>
                      <a:pt x="624" y="122"/>
                    </a:cubicBezTo>
                    <a:cubicBezTo>
                      <a:pt x="625" y="122"/>
                      <a:pt x="625" y="122"/>
                      <a:pt x="626" y="122"/>
                    </a:cubicBezTo>
                    <a:cubicBezTo>
                      <a:pt x="625" y="122"/>
                      <a:pt x="624" y="122"/>
                      <a:pt x="623" y="123"/>
                    </a:cubicBezTo>
                    <a:cubicBezTo>
                      <a:pt x="623" y="123"/>
                      <a:pt x="622" y="124"/>
                      <a:pt x="622" y="124"/>
                    </a:cubicBezTo>
                    <a:cubicBezTo>
                      <a:pt x="622" y="124"/>
                      <a:pt x="621" y="124"/>
                      <a:pt x="621" y="124"/>
                    </a:cubicBezTo>
                    <a:cubicBezTo>
                      <a:pt x="622" y="125"/>
                      <a:pt x="623" y="124"/>
                      <a:pt x="623" y="123"/>
                    </a:cubicBezTo>
                    <a:cubicBezTo>
                      <a:pt x="625" y="122"/>
                      <a:pt x="626" y="123"/>
                      <a:pt x="627" y="123"/>
                    </a:cubicBezTo>
                    <a:cubicBezTo>
                      <a:pt x="627" y="123"/>
                      <a:pt x="626" y="124"/>
                      <a:pt x="626" y="124"/>
                    </a:cubicBezTo>
                    <a:cubicBezTo>
                      <a:pt x="625" y="124"/>
                      <a:pt x="624" y="125"/>
                      <a:pt x="624" y="125"/>
                    </a:cubicBezTo>
                    <a:cubicBezTo>
                      <a:pt x="624" y="125"/>
                      <a:pt x="627" y="124"/>
                      <a:pt x="627" y="124"/>
                    </a:cubicBezTo>
                    <a:cubicBezTo>
                      <a:pt x="627" y="124"/>
                      <a:pt x="626" y="125"/>
                      <a:pt x="626" y="125"/>
                    </a:cubicBezTo>
                    <a:cubicBezTo>
                      <a:pt x="626" y="125"/>
                      <a:pt x="627" y="125"/>
                      <a:pt x="627" y="124"/>
                    </a:cubicBezTo>
                    <a:cubicBezTo>
                      <a:pt x="628" y="124"/>
                      <a:pt x="629" y="124"/>
                      <a:pt x="629" y="124"/>
                    </a:cubicBezTo>
                    <a:cubicBezTo>
                      <a:pt x="629" y="124"/>
                      <a:pt x="629" y="124"/>
                      <a:pt x="628" y="124"/>
                    </a:cubicBezTo>
                    <a:cubicBezTo>
                      <a:pt x="629" y="125"/>
                      <a:pt x="629" y="124"/>
                      <a:pt x="629" y="124"/>
                    </a:cubicBezTo>
                    <a:cubicBezTo>
                      <a:pt x="630" y="125"/>
                      <a:pt x="629" y="125"/>
                      <a:pt x="629" y="125"/>
                    </a:cubicBezTo>
                    <a:cubicBezTo>
                      <a:pt x="628" y="126"/>
                      <a:pt x="628" y="126"/>
                      <a:pt x="627" y="126"/>
                    </a:cubicBezTo>
                    <a:cubicBezTo>
                      <a:pt x="626" y="127"/>
                      <a:pt x="626" y="126"/>
                      <a:pt x="625" y="126"/>
                    </a:cubicBezTo>
                    <a:cubicBezTo>
                      <a:pt x="625" y="127"/>
                      <a:pt x="627" y="127"/>
                      <a:pt x="627" y="127"/>
                    </a:cubicBezTo>
                    <a:cubicBezTo>
                      <a:pt x="627" y="127"/>
                      <a:pt x="627" y="127"/>
                      <a:pt x="627" y="127"/>
                    </a:cubicBezTo>
                    <a:cubicBezTo>
                      <a:pt x="628" y="126"/>
                      <a:pt x="628" y="126"/>
                      <a:pt x="629" y="126"/>
                    </a:cubicBezTo>
                    <a:cubicBezTo>
                      <a:pt x="629" y="125"/>
                      <a:pt x="631" y="125"/>
                      <a:pt x="632" y="125"/>
                    </a:cubicBezTo>
                    <a:cubicBezTo>
                      <a:pt x="632" y="124"/>
                      <a:pt x="632" y="124"/>
                      <a:pt x="632" y="124"/>
                    </a:cubicBezTo>
                    <a:cubicBezTo>
                      <a:pt x="633" y="124"/>
                      <a:pt x="632" y="124"/>
                      <a:pt x="632" y="124"/>
                    </a:cubicBezTo>
                    <a:cubicBezTo>
                      <a:pt x="633" y="125"/>
                      <a:pt x="631" y="125"/>
                      <a:pt x="631" y="125"/>
                    </a:cubicBezTo>
                    <a:cubicBezTo>
                      <a:pt x="631" y="125"/>
                      <a:pt x="631" y="125"/>
                      <a:pt x="630" y="126"/>
                    </a:cubicBezTo>
                    <a:cubicBezTo>
                      <a:pt x="630" y="126"/>
                      <a:pt x="631" y="126"/>
                      <a:pt x="631" y="126"/>
                    </a:cubicBezTo>
                    <a:cubicBezTo>
                      <a:pt x="631" y="127"/>
                      <a:pt x="630" y="127"/>
                      <a:pt x="630" y="127"/>
                    </a:cubicBezTo>
                    <a:cubicBezTo>
                      <a:pt x="629" y="128"/>
                      <a:pt x="629" y="128"/>
                      <a:pt x="629" y="129"/>
                    </a:cubicBezTo>
                    <a:cubicBezTo>
                      <a:pt x="629" y="129"/>
                      <a:pt x="630" y="128"/>
                      <a:pt x="630" y="127"/>
                    </a:cubicBezTo>
                    <a:cubicBezTo>
                      <a:pt x="630" y="127"/>
                      <a:pt x="631" y="127"/>
                      <a:pt x="631" y="127"/>
                    </a:cubicBezTo>
                    <a:cubicBezTo>
                      <a:pt x="632" y="127"/>
                      <a:pt x="632" y="126"/>
                      <a:pt x="632" y="126"/>
                    </a:cubicBezTo>
                    <a:cubicBezTo>
                      <a:pt x="632" y="126"/>
                      <a:pt x="632" y="126"/>
                      <a:pt x="632" y="126"/>
                    </a:cubicBezTo>
                    <a:cubicBezTo>
                      <a:pt x="633" y="125"/>
                      <a:pt x="634" y="125"/>
                      <a:pt x="635" y="125"/>
                    </a:cubicBezTo>
                    <a:cubicBezTo>
                      <a:pt x="634" y="126"/>
                      <a:pt x="633" y="127"/>
                      <a:pt x="632" y="127"/>
                    </a:cubicBezTo>
                    <a:cubicBezTo>
                      <a:pt x="632" y="127"/>
                      <a:pt x="633" y="128"/>
                      <a:pt x="633" y="128"/>
                    </a:cubicBezTo>
                    <a:cubicBezTo>
                      <a:pt x="633" y="130"/>
                      <a:pt x="634" y="128"/>
                      <a:pt x="633" y="128"/>
                    </a:cubicBezTo>
                    <a:cubicBezTo>
                      <a:pt x="632" y="127"/>
                      <a:pt x="633" y="127"/>
                      <a:pt x="634" y="127"/>
                    </a:cubicBezTo>
                    <a:cubicBezTo>
                      <a:pt x="634" y="126"/>
                      <a:pt x="634" y="126"/>
                      <a:pt x="635" y="126"/>
                    </a:cubicBezTo>
                    <a:cubicBezTo>
                      <a:pt x="635" y="126"/>
                      <a:pt x="636" y="126"/>
                      <a:pt x="636" y="126"/>
                    </a:cubicBezTo>
                    <a:cubicBezTo>
                      <a:pt x="637" y="126"/>
                      <a:pt x="637" y="125"/>
                      <a:pt x="637" y="125"/>
                    </a:cubicBezTo>
                    <a:cubicBezTo>
                      <a:pt x="637" y="125"/>
                      <a:pt x="638" y="125"/>
                      <a:pt x="638" y="125"/>
                    </a:cubicBezTo>
                    <a:cubicBezTo>
                      <a:pt x="639" y="125"/>
                      <a:pt x="640" y="125"/>
                      <a:pt x="640" y="125"/>
                    </a:cubicBezTo>
                    <a:cubicBezTo>
                      <a:pt x="640" y="126"/>
                      <a:pt x="637" y="126"/>
                      <a:pt x="637" y="126"/>
                    </a:cubicBezTo>
                    <a:cubicBezTo>
                      <a:pt x="637" y="126"/>
                      <a:pt x="638" y="126"/>
                      <a:pt x="638" y="126"/>
                    </a:cubicBezTo>
                    <a:cubicBezTo>
                      <a:pt x="637" y="127"/>
                      <a:pt x="636" y="126"/>
                      <a:pt x="636" y="127"/>
                    </a:cubicBezTo>
                    <a:cubicBezTo>
                      <a:pt x="636" y="127"/>
                      <a:pt x="636" y="127"/>
                      <a:pt x="637" y="127"/>
                    </a:cubicBezTo>
                    <a:cubicBezTo>
                      <a:pt x="637" y="127"/>
                      <a:pt x="636" y="127"/>
                      <a:pt x="636" y="127"/>
                    </a:cubicBezTo>
                    <a:cubicBezTo>
                      <a:pt x="636" y="128"/>
                      <a:pt x="634" y="128"/>
                      <a:pt x="635" y="129"/>
                    </a:cubicBezTo>
                    <a:cubicBezTo>
                      <a:pt x="634" y="128"/>
                      <a:pt x="637" y="127"/>
                      <a:pt x="637" y="127"/>
                    </a:cubicBezTo>
                    <a:cubicBezTo>
                      <a:pt x="638" y="127"/>
                      <a:pt x="638" y="128"/>
                      <a:pt x="637" y="128"/>
                    </a:cubicBezTo>
                    <a:cubicBezTo>
                      <a:pt x="638" y="128"/>
                      <a:pt x="638" y="127"/>
                      <a:pt x="639" y="127"/>
                    </a:cubicBezTo>
                    <a:cubicBezTo>
                      <a:pt x="639" y="127"/>
                      <a:pt x="641" y="127"/>
                      <a:pt x="641" y="127"/>
                    </a:cubicBezTo>
                    <a:cubicBezTo>
                      <a:pt x="641" y="127"/>
                      <a:pt x="641" y="127"/>
                      <a:pt x="641" y="127"/>
                    </a:cubicBezTo>
                    <a:cubicBezTo>
                      <a:pt x="641" y="128"/>
                      <a:pt x="639" y="128"/>
                      <a:pt x="639" y="128"/>
                    </a:cubicBezTo>
                    <a:cubicBezTo>
                      <a:pt x="639" y="128"/>
                      <a:pt x="640" y="128"/>
                      <a:pt x="641" y="128"/>
                    </a:cubicBezTo>
                    <a:cubicBezTo>
                      <a:pt x="642" y="128"/>
                      <a:pt x="642" y="129"/>
                      <a:pt x="641" y="129"/>
                    </a:cubicBezTo>
                    <a:cubicBezTo>
                      <a:pt x="641" y="129"/>
                      <a:pt x="642" y="129"/>
                      <a:pt x="642" y="129"/>
                    </a:cubicBezTo>
                    <a:cubicBezTo>
                      <a:pt x="643" y="129"/>
                      <a:pt x="642" y="129"/>
                      <a:pt x="642" y="130"/>
                    </a:cubicBezTo>
                    <a:cubicBezTo>
                      <a:pt x="642" y="130"/>
                      <a:pt x="639" y="130"/>
                      <a:pt x="639" y="130"/>
                    </a:cubicBezTo>
                    <a:cubicBezTo>
                      <a:pt x="639" y="131"/>
                      <a:pt x="641" y="130"/>
                      <a:pt x="641" y="130"/>
                    </a:cubicBezTo>
                    <a:cubicBezTo>
                      <a:pt x="642" y="130"/>
                      <a:pt x="642" y="131"/>
                      <a:pt x="641" y="132"/>
                    </a:cubicBezTo>
                    <a:cubicBezTo>
                      <a:pt x="641" y="132"/>
                      <a:pt x="642" y="132"/>
                      <a:pt x="642" y="132"/>
                    </a:cubicBezTo>
                    <a:cubicBezTo>
                      <a:pt x="641" y="132"/>
                      <a:pt x="640" y="132"/>
                      <a:pt x="639" y="132"/>
                    </a:cubicBezTo>
                    <a:cubicBezTo>
                      <a:pt x="638" y="132"/>
                      <a:pt x="637" y="131"/>
                      <a:pt x="636" y="131"/>
                    </a:cubicBezTo>
                    <a:cubicBezTo>
                      <a:pt x="637" y="132"/>
                      <a:pt x="638" y="132"/>
                      <a:pt x="639" y="132"/>
                    </a:cubicBezTo>
                    <a:cubicBezTo>
                      <a:pt x="638" y="133"/>
                      <a:pt x="637" y="132"/>
                      <a:pt x="637" y="132"/>
                    </a:cubicBezTo>
                    <a:cubicBezTo>
                      <a:pt x="636" y="132"/>
                      <a:pt x="635" y="133"/>
                      <a:pt x="635" y="133"/>
                    </a:cubicBezTo>
                    <a:cubicBezTo>
                      <a:pt x="635" y="133"/>
                      <a:pt x="637" y="133"/>
                      <a:pt x="637" y="133"/>
                    </a:cubicBezTo>
                    <a:cubicBezTo>
                      <a:pt x="637" y="132"/>
                      <a:pt x="638" y="132"/>
                      <a:pt x="638" y="132"/>
                    </a:cubicBezTo>
                    <a:cubicBezTo>
                      <a:pt x="639" y="132"/>
                      <a:pt x="640" y="132"/>
                      <a:pt x="641" y="132"/>
                    </a:cubicBezTo>
                    <a:cubicBezTo>
                      <a:pt x="641" y="133"/>
                      <a:pt x="640" y="133"/>
                      <a:pt x="640" y="133"/>
                    </a:cubicBezTo>
                    <a:cubicBezTo>
                      <a:pt x="639" y="133"/>
                      <a:pt x="638" y="133"/>
                      <a:pt x="638" y="133"/>
                    </a:cubicBezTo>
                    <a:cubicBezTo>
                      <a:pt x="636" y="133"/>
                      <a:pt x="635" y="133"/>
                      <a:pt x="634" y="135"/>
                    </a:cubicBezTo>
                    <a:cubicBezTo>
                      <a:pt x="635" y="135"/>
                      <a:pt x="635" y="134"/>
                      <a:pt x="635" y="134"/>
                    </a:cubicBezTo>
                    <a:cubicBezTo>
                      <a:pt x="636" y="133"/>
                      <a:pt x="638" y="133"/>
                      <a:pt x="638" y="133"/>
                    </a:cubicBezTo>
                    <a:cubicBezTo>
                      <a:pt x="639" y="133"/>
                      <a:pt x="640" y="133"/>
                      <a:pt x="641" y="133"/>
                    </a:cubicBezTo>
                    <a:cubicBezTo>
                      <a:pt x="642" y="132"/>
                      <a:pt x="643" y="133"/>
                      <a:pt x="643" y="132"/>
                    </a:cubicBezTo>
                    <a:cubicBezTo>
                      <a:pt x="645" y="132"/>
                      <a:pt x="644" y="133"/>
                      <a:pt x="643" y="134"/>
                    </a:cubicBezTo>
                    <a:cubicBezTo>
                      <a:pt x="643" y="134"/>
                      <a:pt x="640" y="134"/>
                      <a:pt x="641" y="135"/>
                    </a:cubicBezTo>
                    <a:cubicBezTo>
                      <a:pt x="642" y="134"/>
                      <a:pt x="643" y="134"/>
                      <a:pt x="644" y="133"/>
                    </a:cubicBezTo>
                    <a:cubicBezTo>
                      <a:pt x="644" y="133"/>
                      <a:pt x="646" y="131"/>
                      <a:pt x="647" y="132"/>
                    </a:cubicBezTo>
                    <a:cubicBezTo>
                      <a:pt x="647" y="132"/>
                      <a:pt x="646" y="132"/>
                      <a:pt x="646" y="132"/>
                    </a:cubicBezTo>
                    <a:cubicBezTo>
                      <a:pt x="647" y="132"/>
                      <a:pt x="647" y="132"/>
                      <a:pt x="648" y="132"/>
                    </a:cubicBezTo>
                    <a:cubicBezTo>
                      <a:pt x="648" y="132"/>
                      <a:pt x="648" y="132"/>
                      <a:pt x="648" y="133"/>
                    </a:cubicBezTo>
                    <a:cubicBezTo>
                      <a:pt x="648" y="133"/>
                      <a:pt x="647" y="133"/>
                      <a:pt x="647" y="133"/>
                    </a:cubicBezTo>
                    <a:cubicBezTo>
                      <a:pt x="646" y="133"/>
                      <a:pt x="645" y="133"/>
                      <a:pt x="645" y="134"/>
                    </a:cubicBezTo>
                    <a:cubicBezTo>
                      <a:pt x="645" y="135"/>
                      <a:pt x="645" y="135"/>
                      <a:pt x="644" y="135"/>
                    </a:cubicBezTo>
                    <a:cubicBezTo>
                      <a:pt x="643" y="135"/>
                      <a:pt x="642" y="135"/>
                      <a:pt x="642" y="136"/>
                    </a:cubicBezTo>
                    <a:cubicBezTo>
                      <a:pt x="641" y="137"/>
                      <a:pt x="640" y="136"/>
                      <a:pt x="640" y="136"/>
                    </a:cubicBezTo>
                    <a:cubicBezTo>
                      <a:pt x="640" y="137"/>
                      <a:pt x="642" y="137"/>
                      <a:pt x="642" y="136"/>
                    </a:cubicBezTo>
                    <a:cubicBezTo>
                      <a:pt x="642" y="136"/>
                      <a:pt x="643" y="135"/>
                      <a:pt x="643" y="136"/>
                    </a:cubicBezTo>
                    <a:cubicBezTo>
                      <a:pt x="643" y="136"/>
                      <a:pt x="642" y="137"/>
                      <a:pt x="642" y="137"/>
                    </a:cubicBezTo>
                    <a:cubicBezTo>
                      <a:pt x="642" y="138"/>
                      <a:pt x="643" y="136"/>
                      <a:pt x="643" y="136"/>
                    </a:cubicBezTo>
                    <a:cubicBezTo>
                      <a:pt x="643" y="136"/>
                      <a:pt x="647" y="135"/>
                      <a:pt x="647" y="135"/>
                    </a:cubicBezTo>
                    <a:cubicBezTo>
                      <a:pt x="647" y="136"/>
                      <a:pt x="647" y="136"/>
                      <a:pt x="647" y="137"/>
                    </a:cubicBezTo>
                    <a:cubicBezTo>
                      <a:pt x="646" y="137"/>
                      <a:pt x="645" y="137"/>
                      <a:pt x="645" y="138"/>
                    </a:cubicBezTo>
                    <a:cubicBezTo>
                      <a:pt x="646" y="138"/>
                      <a:pt x="646" y="137"/>
                      <a:pt x="647" y="137"/>
                    </a:cubicBezTo>
                    <a:cubicBezTo>
                      <a:pt x="647" y="137"/>
                      <a:pt x="647" y="136"/>
                      <a:pt x="648" y="135"/>
                    </a:cubicBezTo>
                    <a:cubicBezTo>
                      <a:pt x="648" y="135"/>
                      <a:pt x="649" y="135"/>
                      <a:pt x="649" y="135"/>
                    </a:cubicBezTo>
                    <a:cubicBezTo>
                      <a:pt x="649" y="136"/>
                      <a:pt x="649" y="136"/>
                      <a:pt x="649" y="136"/>
                    </a:cubicBezTo>
                    <a:cubicBezTo>
                      <a:pt x="649" y="136"/>
                      <a:pt x="650" y="136"/>
                      <a:pt x="650" y="137"/>
                    </a:cubicBezTo>
                    <a:cubicBezTo>
                      <a:pt x="650" y="137"/>
                      <a:pt x="650" y="138"/>
                      <a:pt x="650" y="137"/>
                    </a:cubicBezTo>
                    <a:cubicBezTo>
                      <a:pt x="650" y="137"/>
                      <a:pt x="649" y="136"/>
                      <a:pt x="650" y="136"/>
                    </a:cubicBezTo>
                    <a:cubicBezTo>
                      <a:pt x="651" y="135"/>
                      <a:pt x="651" y="135"/>
                      <a:pt x="652" y="135"/>
                    </a:cubicBezTo>
                    <a:cubicBezTo>
                      <a:pt x="652" y="134"/>
                      <a:pt x="653" y="134"/>
                      <a:pt x="654" y="134"/>
                    </a:cubicBezTo>
                    <a:cubicBezTo>
                      <a:pt x="653" y="135"/>
                      <a:pt x="653" y="135"/>
                      <a:pt x="653" y="135"/>
                    </a:cubicBezTo>
                    <a:cubicBezTo>
                      <a:pt x="653" y="136"/>
                      <a:pt x="653" y="135"/>
                      <a:pt x="654" y="135"/>
                    </a:cubicBezTo>
                    <a:cubicBezTo>
                      <a:pt x="654" y="135"/>
                      <a:pt x="655" y="135"/>
                      <a:pt x="654" y="135"/>
                    </a:cubicBezTo>
                    <a:cubicBezTo>
                      <a:pt x="655" y="135"/>
                      <a:pt x="655" y="135"/>
                      <a:pt x="655" y="135"/>
                    </a:cubicBezTo>
                    <a:cubicBezTo>
                      <a:pt x="655" y="135"/>
                      <a:pt x="655" y="136"/>
                      <a:pt x="655" y="136"/>
                    </a:cubicBezTo>
                    <a:cubicBezTo>
                      <a:pt x="654" y="136"/>
                      <a:pt x="653" y="135"/>
                      <a:pt x="653" y="136"/>
                    </a:cubicBezTo>
                    <a:cubicBezTo>
                      <a:pt x="654" y="136"/>
                      <a:pt x="654" y="136"/>
                      <a:pt x="655" y="136"/>
                    </a:cubicBezTo>
                    <a:cubicBezTo>
                      <a:pt x="656" y="136"/>
                      <a:pt x="655" y="136"/>
                      <a:pt x="655" y="136"/>
                    </a:cubicBezTo>
                    <a:cubicBezTo>
                      <a:pt x="656" y="137"/>
                      <a:pt x="656" y="136"/>
                      <a:pt x="657" y="137"/>
                    </a:cubicBezTo>
                    <a:close/>
                    <a:moveTo>
                      <a:pt x="616" y="119"/>
                    </a:moveTo>
                    <a:cubicBezTo>
                      <a:pt x="615" y="119"/>
                      <a:pt x="615" y="119"/>
                      <a:pt x="614" y="120"/>
                    </a:cubicBezTo>
                    <a:cubicBezTo>
                      <a:pt x="615" y="120"/>
                      <a:pt x="615" y="119"/>
                      <a:pt x="616" y="119"/>
                    </a:cubicBezTo>
                    <a:close/>
                    <a:moveTo>
                      <a:pt x="620" y="123"/>
                    </a:moveTo>
                    <a:cubicBezTo>
                      <a:pt x="620" y="123"/>
                      <a:pt x="621" y="123"/>
                      <a:pt x="621" y="123"/>
                    </a:cubicBezTo>
                    <a:cubicBezTo>
                      <a:pt x="621" y="123"/>
                      <a:pt x="620" y="123"/>
                      <a:pt x="620" y="123"/>
                    </a:cubicBezTo>
                    <a:close/>
                    <a:moveTo>
                      <a:pt x="487" y="144"/>
                    </a:moveTo>
                    <a:cubicBezTo>
                      <a:pt x="487" y="144"/>
                      <a:pt x="487" y="143"/>
                      <a:pt x="487" y="143"/>
                    </a:cubicBezTo>
                    <a:cubicBezTo>
                      <a:pt x="486" y="143"/>
                      <a:pt x="485" y="142"/>
                      <a:pt x="485" y="143"/>
                    </a:cubicBezTo>
                    <a:cubicBezTo>
                      <a:pt x="485" y="144"/>
                      <a:pt x="485" y="144"/>
                      <a:pt x="485" y="144"/>
                    </a:cubicBezTo>
                    <a:cubicBezTo>
                      <a:pt x="485" y="144"/>
                      <a:pt x="486" y="144"/>
                      <a:pt x="486" y="144"/>
                    </a:cubicBezTo>
                    <a:cubicBezTo>
                      <a:pt x="486" y="145"/>
                      <a:pt x="486" y="145"/>
                      <a:pt x="486" y="145"/>
                    </a:cubicBezTo>
                    <a:cubicBezTo>
                      <a:pt x="486" y="145"/>
                      <a:pt x="486" y="145"/>
                      <a:pt x="486" y="145"/>
                    </a:cubicBezTo>
                    <a:cubicBezTo>
                      <a:pt x="486" y="145"/>
                      <a:pt x="486" y="146"/>
                      <a:pt x="486" y="146"/>
                    </a:cubicBezTo>
                    <a:cubicBezTo>
                      <a:pt x="485" y="146"/>
                      <a:pt x="485" y="146"/>
                      <a:pt x="485" y="146"/>
                    </a:cubicBezTo>
                    <a:cubicBezTo>
                      <a:pt x="485" y="147"/>
                      <a:pt x="486" y="147"/>
                      <a:pt x="486" y="147"/>
                    </a:cubicBezTo>
                    <a:cubicBezTo>
                      <a:pt x="487" y="147"/>
                      <a:pt x="487" y="146"/>
                      <a:pt x="488" y="146"/>
                    </a:cubicBezTo>
                    <a:cubicBezTo>
                      <a:pt x="487" y="146"/>
                      <a:pt x="487" y="146"/>
                      <a:pt x="487" y="147"/>
                    </a:cubicBezTo>
                    <a:cubicBezTo>
                      <a:pt x="487" y="147"/>
                      <a:pt x="488" y="146"/>
                      <a:pt x="488" y="147"/>
                    </a:cubicBezTo>
                    <a:cubicBezTo>
                      <a:pt x="488" y="147"/>
                      <a:pt x="486" y="147"/>
                      <a:pt x="486" y="148"/>
                    </a:cubicBezTo>
                    <a:cubicBezTo>
                      <a:pt x="486" y="148"/>
                      <a:pt x="487" y="147"/>
                      <a:pt x="487" y="147"/>
                    </a:cubicBezTo>
                    <a:cubicBezTo>
                      <a:pt x="487" y="147"/>
                      <a:pt x="487" y="148"/>
                      <a:pt x="487" y="148"/>
                    </a:cubicBezTo>
                    <a:cubicBezTo>
                      <a:pt x="488" y="148"/>
                      <a:pt x="488" y="147"/>
                      <a:pt x="488" y="147"/>
                    </a:cubicBezTo>
                    <a:cubicBezTo>
                      <a:pt x="488" y="147"/>
                      <a:pt x="488" y="147"/>
                      <a:pt x="488" y="147"/>
                    </a:cubicBezTo>
                    <a:cubicBezTo>
                      <a:pt x="488" y="148"/>
                      <a:pt x="488" y="147"/>
                      <a:pt x="489" y="147"/>
                    </a:cubicBezTo>
                    <a:cubicBezTo>
                      <a:pt x="489" y="148"/>
                      <a:pt x="489" y="148"/>
                      <a:pt x="489" y="148"/>
                    </a:cubicBezTo>
                    <a:cubicBezTo>
                      <a:pt x="490" y="148"/>
                      <a:pt x="490" y="147"/>
                      <a:pt x="491" y="147"/>
                    </a:cubicBezTo>
                    <a:cubicBezTo>
                      <a:pt x="490" y="147"/>
                      <a:pt x="489" y="147"/>
                      <a:pt x="489" y="147"/>
                    </a:cubicBezTo>
                    <a:cubicBezTo>
                      <a:pt x="489" y="147"/>
                      <a:pt x="488" y="146"/>
                      <a:pt x="488" y="146"/>
                    </a:cubicBezTo>
                    <a:cubicBezTo>
                      <a:pt x="488" y="146"/>
                      <a:pt x="489" y="146"/>
                      <a:pt x="489" y="145"/>
                    </a:cubicBezTo>
                    <a:cubicBezTo>
                      <a:pt x="490" y="145"/>
                      <a:pt x="489" y="145"/>
                      <a:pt x="488" y="144"/>
                    </a:cubicBezTo>
                    <a:cubicBezTo>
                      <a:pt x="487" y="144"/>
                      <a:pt x="488" y="144"/>
                      <a:pt x="488" y="143"/>
                    </a:cubicBezTo>
                    <a:cubicBezTo>
                      <a:pt x="488" y="143"/>
                      <a:pt x="488" y="144"/>
                      <a:pt x="487" y="144"/>
                    </a:cubicBezTo>
                    <a:close/>
                    <a:moveTo>
                      <a:pt x="606" y="179"/>
                    </a:moveTo>
                    <a:cubicBezTo>
                      <a:pt x="606" y="179"/>
                      <a:pt x="607" y="179"/>
                      <a:pt x="608" y="179"/>
                    </a:cubicBezTo>
                    <a:cubicBezTo>
                      <a:pt x="608" y="180"/>
                      <a:pt x="609" y="180"/>
                      <a:pt x="609" y="179"/>
                    </a:cubicBezTo>
                    <a:cubicBezTo>
                      <a:pt x="609" y="179"/>
                      <a:pt x="610" y="179"/>
                      <a:pt x="610" y="179"/>
                    </a:cubicBezTo>
                    <a:cubicBezTo>
                      <a:pt x="610" y="179"/>
                      <a:pt x="610" y="179"/>
                      <a:pt x="610" y="179"/>
                    </a:cubicBezTo>
                    <a:cubicBezTo>
                      <a:pt x="610" y="179"/>
                      <a:pt x="610" y="179"/>
                      <a:pt x="610" y="179"/>
                    </a:cubicBezTo>
                    <a:cubicBezTo>
                      <a:pt x="610" y="178"/>
                      <a:pt x="611" y="178"/>
                      <a:pt x="611" y="178"/>
                    </a:cubicBezTo>
                    <a:cubicBezTo>
                      <a:pt x="611" y="178"/>
                      <a:pt x="610" y="178"/>
                      <a:pt x="610" y="178"/>
                    </a:cubicBezTo>
                    <a:cubicBezTo>
                      <a:pt x="611" y="177"/>
                      <a:pt x="609" y="178"/>
                      <a:pt x="609" y="178"/>
                    </a:cubicBezTo>
                    <a:cubicBezTo>
                      <a:pt x="608" y="178"/>
                      <a:pt x="608" y="178"/>
                      <a:pt x="608" y="178"/>
                    </a:cubicBezTo>
                    <a:cubicBezTo>
                      <a:pt x="607" y="178"/>
                      <a:pt x="607" y="178"/>
                      <a:pt x="608" y="178"/>
                    </a:cubicBezTo>
                    <a:cubicBezTo>
                      <a:pt x="607" y="178"/>
                      <a:pt x="606" y="178"/>
                      <a:pt x="606" y="179"/>
                    </a:cubicBezTo>
                    <a:close/>
                    <a:moveTo>
                      <a:pt x="500" y="166"/>
                    </a:moveTo>
                    <a:cubicBezTo>
                      <a:pt x="501" y="165"/>
                      <a:pt x="497" y="165"/>
                      <a:pt x="497" y="165"/>
                    </a:cubicBezTo>
                    <a:cubicBezTo>
                      <a:pt x="497" y="165"/>
                      <a:pt x="498" y="164"/>
                      <a:pt x="498" y="164"/>
                    </a:cubicBezTo>
                    <a:cubicBezTo>
                      <a:pt x="498" y="164"/>
                      <a:pt x="499" y="163"/>
                      <a:pt x="498" y="163"/>
                    </a:cubicBezTo>
                    <a:cubicBezTo>
                      <a:pt x="498" y="163"/>
                      <a:pt x="497" y="163"/>
                      <a:pt x="497" y="162"/>
                    </a:cubicBezTo>
                    <a:cubicBezTo>
                      <a:pt x="497" y="162"/>
                      <a:pt x="497" y="162"/>
                      <a:pt x="496" y="163"/>
                    </a:cubicBezTo>
                    <a:cubicBezTo>
                      <a:pt x="496" y="163"/>
                      <a:pt x="496" y="163"/>
                      <a:pt x="496" y="163"/>
                    </a:cubicBezTo>
                    <a:cubicBezTo>
                      <a:pt x="496" y="164"/>
                      <a:pt x="495" y="164"/>
                      <a:pt x="495" y="163"/>
                    </a:cubicBezTo>
                    <a:cubicBezTo>
                      <a:pt x="495" y="163"/>
                      <a:pt x="494" y="163"/>
                      <a:pt x="494" y="163"/>
                    </a:cubicBezTo>
                    <a:cubicBezTo>
                      <a:pt x="494" y="163"/>
                      <a:pt x="493" y="163"/>
                      <a:pt x="493" y="163"/>
                    </a:cubicBezTo>
                    <a:cubicBezTo>
                      <a:pt x="493" y="163"/>
                      <a:pt x="492" y="163"/>
                      <a:pt x="492" y="163"/>
                    </a:cubicBezTo>
                    <a:cubicBezTo>
                      <a:pt x="491" y="163"/>
                      <a:pt x="491" y="163"/>
                      <a:pt x="490" y="163"/>
                    </a:cubicBezTo>
                    <a:cubicBezTo>
                      <a:pt x="490" y="163"/>
                      <a:pt x="488" y="164"/>
                      <a:pt x="488" y="164"/>
                    </a:cubicBezTo>
                    <a:cubicBezTo>
                      <a:pt x="488" y="163"/>
                      <a:pt x="490" y="163"/>
                      <a:pt x="491" y="163"/>
                    </a:cubicBezTo>
                    <a:cubicBezTo>
                      <a:pt x="491" y="162"/>
                      <a:pt x="492" y="162"/>
                      <a:pt x="492" y="162"/>
                    </a:cubicBezTo>
                    <a:cubicBezTo>
                      <a:pt x="492" y="161"/>
                      <a:pt x="492" y="161"/>
                      <a:pt x="492" y="161"/>
                    </a:cubicBezTo>
                    <a:cubicBezTo>
                      <a:pt x="492" y="160"/>
                      <a:pt x="492" y="160"/>
                      <a:pt x="492" y="160"/>
                    </a:cubicBezTo>
                    <a:cubicBezTo>
                      <a:pt x="493" y="159"/>
                      <a:pt x="493" y="159"/>
                      <a:pt x="493" y="159"/>
                    </a:cubicBezTo>
                    <a:cubicBezTo>
                      <a:pt x="493" y="158"/>
                      <a:pt x="493" y="158"/>
                      <a:pt x="492" y="158"/>
                    </a:cubicBezTo>
                    <a:cubicBezTo>
                      <a:pt x="492" y="157"/>
                      <a:pt x="492" y="157"/>
                      <a:pt x="492" y="157"/>
                    </a:cubicBezTo>
                    <a:cubicBezTo>
                      <a:pt x="492" y="157"/>
                      <a:pt x="491" y="157"/>
                      <a:pt x="491" y="157"/>
                    </a:cubicBezTo>
                    <a:cubicBezTo>
                      <a:pt x="492" y="156"/>
                      <a:pt x="490" y="156"/>
                      <a:pt x="490" y="156"/>
                    </a:cubicBezTo>
                    <a:cubicBezTo>
                      <a:pt x="490" y="156"/>
                      <a:pt x="489" y="156"/>
                      <a:pt x="489" y="156"/>
                    </a:cubicBezTo>
                    <a:cubicBezTo>
                      <a:pt x="489" y="156"/>
                      <a:pt x="489" y="156"/>
                      <a:pt x="489" y="156"/>
                    </a:cubicBezTo>
                    <a:cubicBezTo>
                      <a:pt x="488" y="156"/>
                      <a:pt x="488" y="156"/>
                      <a:pt x="488" y="156"/>
                    </a:cubicBezTo>
                    <a:cubicBezTo>
                      <a:pt x="488" y="156"/>
                      <a:pt x="488" y="155"/>
                      <a:pt x="488" y="155"/>
                    </a:cubicBezTo>
                    <a:cubicBezTo>
                      <a:pt x="488" y="155"/>
                      <a:pt x="487" y="155"/>
                      <a:pt x="486" y="155"/>
                    </a:cubicBezTo>
                    <a:cubicBezTo>
                      <a:pt x="486" y="154"/>
                      <a:pt x="485" y="154"/>
                      <a:pt x="485" y="154"/>
                    </a:cubicBezTo>
                    <a:cubicBezTo>
                      <a:pt x="485" y="153"/>
                      <a:pt x="486" y="153"/>
                      <a:pt x="485" y="153"/>
                    </a:cubicBezTo>
                    <a:cubicBezTo>
                      <a:pt x="485" y="152"/>
                      <a:pt x="484" y="152"/>
                      <a:pt x="484" y="152"/>
                    </a:cubicBezTo>
                    <a:cubicBezTo>
                      <a:pt x="484" y="152"/>
                      <a:pt x="482" y="152"/>
                      <a:pt x="482" y="152"/>
                    </a:cubicBezTo>
                    <a:cubicBezTo>
                      <a:pt x="482" y="152"/>
                      <a:pt x="481" y="152"/>
                      <a:pt x="481" y="152"/>
                    </a:cubicBezTo>
                    <a:cubicBezTo>
                      <a:pt x="480" y="151"/>
                      <a:pt x="481" y="151"/>
                      <a:pt x="482" y="151"/>
                    </a:cubicBezTo>
                    <a:cubicBezTo>
                      <a:pt x="481" y="150"/>
                      <a:pt x="480" y="150"/>
                      <a:pt x="480" y="150"/>
                    </a:cubicBezTo>
                    <a:cubicBezTo>
                      <a:pt x="481" y="149"/>
                      <a:pt x="480" y="149"/>
                      <a:pt x="479" y="149"/>
                    </a:cubicBezTo>
                    <a:cubicBezTo>
                      <a:pt x="479" y="149"/>
                      <a:pt x="478" y="150"/>
                      <a:pt x="478" y="150"/>
                    </a:cubicBezTo>
                    <a:cubicBezTo>
                      <a:pt x="477" y="150"/>
                      <a:pt x="476" y="152"/>
                      <a:pt x="475" y="152"/>
                    </a:cubicBezTo>
                    <a:cubicBezTo>
                      <a:pt x="475" y="152"/>
                      <a:pt x="475" y="151"/>
                      <a:pt x="475" y="151"/>
                    </a:cubicBezTo>
                    <a:cubicBezTo>
                      <a:pt x="475" y="150"/>
                      <a:pt x="476" y="150"/>
                      <a:pt x="476" y="150"/>
                    </a:cubicBezTo>
                    <a:cubicBezTo>
                      <a:pt x="475" y="149"/>
                      <a:pt x="474" y="149"/>
                      <a:pt x="475" y="148"/>
                    </a:cubicBezTo>
                    <a:cubicBezTo>
                      <a:pt x="476" y="148"/>
                      <a:pt x="477" y="148"/>
                      <a:pt x="477" y="147"/>
                    </a:cubicBezTo>
                    <a:cubicBezTo>
                      <a:pt x="477" y="147"/>
                      <a:pt x="477" y="147"/>
                      <a:pt x="477" y="147"/>
                    </a:cubicBezTo>
                    <a:cubicBezTo>
                      <a:pt x="477" y="147"/>
                      <a:pt x="477" y="147"/>
                      <a:pt x="477" y="146"/>
                    </a:cubicBezTo>
                    <a:cubicBezTo>
                      <a:pt x="477" y="146"/>
                      <a:pt x="477" y="146"/>
                      <a:pt x="476" y="146"/>
                    </a:cubicBezTo>
                    <a:cubicBezTo>
                      <a:pt x="476" y="146"/>
                      <a:pt x="475" y="146"/>
                      <a:pt x="475" y="146"/>
                    </a:cubicBezTo>
                    <a:cubicBezTo>
                      <a:pt x="475" y="146"/>
                      <a:pt x="476" y="145"/>
                      <a:pt x="476" y="145"/>
                    </a:cubicBezTo>
                    <a:cubicBezTo>
                      <a:pt x="476" y="145"/>
                      <a:pt x="476" y="145"/>
                      <a:pt x="475" y="145"/>
                    </a:cubicBezTo>
                    <a:cubicBezTo>
                      <a:pt x="475" y="145"/>
                      <a:pt x="474" y="145"/>
                      <a:pt x="474" y="145"/>
                    </a:cubicBezTo>
                    <a:cubicBezTo>
                      <a:pt x="472" y="146"/>
                      <a:pt x="471" y="147"/>
                      <a:pt x="470" y="148"/>
                    </a:cubicBezTo>
                    <a:cubicBezTo>
                      <a:pt x="469" y="148"/>
                      <a:pt x="468" y="149"/>
                      <a:pt x="468" y="150"/>
                    </a:cubicBezTo>
                    <a:cubicBezTo>
                      <a:pt x="468" y="150"/>
                      <a:pt x="467" y="150"/>
                      <a:pt x="467" y="151"/>
                    </a:cubicBezTo>
                    <a:cubicBezTo>
                      <a:pt x="467" y="151"/>
                      <a:pt x="466" y="152"/>
                      <a:pt x="466" y="152"/>
                    </a:cubicBezTo>
                    <a:cubicBezTo>
                      <a:pt x="465" y="153"/>
                      <a:pt x="465" y="153"/>
                      <a:pt x="464" y="153"/>
                    </a:cubicBezTo>
                    <a:cubicBezTo>
                      <a:pt x="464" y="154"/>
                      <a:pt x="464" y="155"/>
                      <a:pt x="463" y="155"/>
                    </a:cubicBezTo>
                    <a:cubicBezTo>
                      <a:pt x="463" y="155"/>
                      <a:pt x="463" y="155"/>
                      <a:pt x="463" y="155"/>
                    </a:cubicBezTo>
                    <a:cubicBezTo>
                      <a:pt x="462" y="156"/>
                      <a:pt x="462" y="156"/>
                      <a:pt x="461" y="156"/>
                    </a:cubicBezTo>
                    <a:cubicBezTo>
                      <a:pt x="461" y="157"/>
                      <a:pt x="460" y="157"/>
                      <a:pt x="460" y="158"/>
                    </a:cubicBezTo>
                    <a:cubicBezTo>
                      <a:pt x="459" y="158"/>
                      <a:pt x="459" y="158"/>
                      <a:pt x="459" y="158"/>
                    </a:cubicBezTo>
                    <a:cubicBezTo>
                      <a:pt x="459" y="159"/>
                      <a:pt x="459" y="159"/>
                      <a:pt x="458" y="159"/>
                    </a:cubicBezTo>
                    <a:cubicBezTo>
                      <a:pt x="458" y="160"/>
                      <a:pt x="459" y="159"/>
                      <a:pt x="458" y="160"/>
                    </a:cubicBezTo>
                    <a:cubicBezTo>
                      <a:pt x="458" y="160"/>
                      <a:pt x="458" y="160"/>
                      <a:pt x="458" y="160"/>
                    </a:cubicBezTo>
                    <a:cubicBezTo>
                      <a:pt x="458" y="160"/>
                      <a:pt x="457" y="161"/>
                      <a:pt x="458" y="162"/>
                    </a:cubicBezTo>
                    <a:cubicBezTo>
                      <a:pt x="458" y="162"/>
                      <a:pt x="458" y="162"/>
                      <a:pt x="457" y="163"/>
                    </a:cubicBezTo>
                    <a:cubicBezTo>
                      <a:pt x="456" y="163"/>
                      <a:pt x="455" y="163"/>
                      <a:pt x="454" y="163"/>
                    </a:cubicBezTo>
                    <a:cubicBezTo>
                      <a:pt x="452" y="164"/>
                      <a:pt x="451" y="164"/>
                      <a:pt x="449" y="165"/>
                    </a:cubicBezTo>
                    <a:cubicBezTo>
                      <a:pt x="448" y="166"/>
                      <a:pt x="447" y="166"/>
                      <a:pt x="446" y="167"/>
                    </a:cubicBezTo>
                    <a:cubicBezTo>
                      <a:pt x="446" y="169"/>
                      <a:pt x="450" y="167"/>
                      <a:pt x="450" y="167"/>
                    </a:cubicBezTo>
                    <a:cubicBezTo>
                      <a:pt x="451" y="167"/>
                      <a:pt x="451" y="167"/>
                      <a:pt x="451" y="167"/>
                    </a:cubicBezTo>
                    <a:cubicBezTo>
                      <a:pt x="452" y="167"/>
                      <a:pt x="453" y="167"/>
                      <a:pt x="454" y="167"/>
                    </a:cubicBezTo>
                    <a:cubicBezTo>
                      <a:pt x="455" y="167"/>
                      <a:pt x="455" y="167"/>
                      <a:pt x="456" y="167"/>
                    </a:cubicBezTo>
                    <a:cubicBezTo>
                      <a:pt x="457" y="166"/>
                      <a:pt x="458" y="166"/>
                      <a:pt x="459" y="166"/>
                    </a:cubicBezTo>
                    <a:cubicBezTo>
                      <a:pt x="458" y="166"/>
                      <a:pt x="458" y="166"/>
                      <a:pt x="458" y="167"/>
                    </a:cubicBezTo>
                    <a:cubicBezTo>
                      <a:pt x="458" y="167"/>
                      <a:pt x="458" y="167"/>
                      <a:pt x="458" y="167"/>
                    </a:cubicBezTo>
                    <a:cubicBezTo>
                      <a:pt x="458" y="167"/>
                      <a:pt x="458" y="168"/>
                      <a:pt x="457" y="168"/>
                    </a:cubicBezTo>
                    <a:cubicBezTo>
                      <a:pt x="457" y="169"/>
                      <a:pt x="454" y="171"/>
                      <a:pt x="455" y="172"/>
                    </a:cubicBezTo>
                    <a:cubicBezTo>
                      <a:pt x="456" y="172"/>
                      <a:pt x="457" y="172"/>
                      <a:pt x="458" y="172"/>
                    </a:cubicBezTo>
                    <a:cubicBezTo>
                      <a:pt x="459" y="172"/>
                      <a:pt x="460" y="172"/>
                      <a:pt x="461" y="171"/>
                    </a:cubicBezTo>
                    <a:cubicBezTo>
                      <a:pt x="462" y="171"/>
                      <a:pt x="463" y="170"/>
                      <a:pt x="465" y="170"/>
                    </a:cubicBezTo>
                    <a:cubicBezTo>
                      <a:pt x="465" y="169"/>
                      <a:pt x="465" y="169"/>
                      <a:pt x="466" y="169"/>
                    </a:cubicBezTo>
                    <a:cubicBezTo>
                      <a:pt x="467" y="168"/>
                      <a:pt x="467" y="167"/>
                      <a:pt x="468" y="167"/>
                    </a:cubicBezTo>
                    <a:cubicBezTo>
                      <a:pt x="469" y="167"/>
                      <a:pt x="470" y="167"/>
                      <a:pt x="470" y="167"/>
                    </a:cubicBezTo>
                    <a:cubicBezTo>
                      <a:pt x="471" y="167"/>
                      <a:pt x="472" y="166"/>
                      <a:pt x="473" y="166"/>
                    </a:cubicBezTo>
                    <a:cubicBezTo>
                      <a:pt x="473" y="166"/>
                      <a:pt x="474" y="166"/>
                      <a:pt x="474" y="166"/>
                    </a:cubicBezTo>
                    <a:cubicBezTo>
                      <a:pt x="475" y="165"/>
                      <a:pt x="475" y="165"/>
                      <a:pt x="475" y="165"/>
                    </a:cubicBezTo>
                    <a:cubicBezTo>
                      <a:pt x="475" y="165"/>
                      <a:pt x="476" y="164"/>
                      <a:pt x="475" y="164"/>
                    </a:cubicBezTo>
                    <a:cubicBezTo>
                      <a:pt x="475" y="164"/>
                      <a:pt x="475" y="163"/>
                      <a:pt x="476" y="163"/>
                    </a:cubicBezTo>
                    <a:cubicBezTo>
                      <a:pt x="476" y="163"/>
                      <a:pt x="477" y="162"/>
                      <a:pt x="478" y="162"/>
                    </a:cubicBezTo>
                    <a:cubicBezTo>
                      <a:pt x="478" y="162"/>
                      <a:pt x="479" y="162"/>
                      <a:pt x="480" y="162"/>
                    </a:cubicBezTo>
                    <a:cubicBezTo>
                      <a:pt x="480" y="162"/>
                      <a:pt x="481" y="162"/>
                      <a:pt x="482" y="162"/>
                    </a:cubicBezTo>
                    <a:cubicBezTo>
                      <a:pt x="482" y="163"/>
                      <a:pt x="480" y="163"/>
                      <a:pt x="480" y="163"/>
                    </a:cubicBezTo>
                    <a:cubicBezTo>
                      <a:pt x="479" y="163"/>
                      <a:pt x="479" y="164"/>
                      <a:pt x="480" y="164"/>
                    </a:cubicBezTo>
                    <a:cubicBezTo>
                      <a:pt x="481" y="164"/>
                      <a:pt x="482" y="164"/>
                      <a:pt x="484" y="164"/>
                    </a:cubicBezTo>
                    <a:cubicBezTo>
                      <a:pt x="486" y="164"/>
                      <a:pt x="483" y="165"/>
                      <a:pt x="482" y="166"/>
                    </a:cubicBezTo>
                    <a:cubicBezTo>
                      <a:pt x="481" y="166"/>
                      <a:pt x="482" y="167"/>
                      <a:pt x="483" y="167"/>
                    </a:cubicBezTo>
                    <a:cubicBezTo>
                      <a:pt x="484" y="167"/>
                      <a:pt x="484" y="166"/>
                      <a:pt x="485" y="167"/>
                    </a:cubicBezTo>
                    <a:cubicBezTo>
                      <a:pt x="486" y="167"/>
                      <a:pt x="487" y="167"/>
                      <a:pt x="487" y="167"/>
                    </a:cubicBezTo>
                    <a:cubicBezTo>
                      <a:pt x="487" y="168"/>
                      <a:pt x="488" y="168"/>
                      <a:pt x="488" y="168"/>
                    </a:cubicBezTo>
                    <a:cubicBezTo>
                      <a:pt x="488" y="168"/>
                      <a:pt x="489" y="168"/>
                      <a:pt x="489" y="168"/>
                    </a:cubicBezTo>
                    <a:cubicBezTo>
                      <a:pt x="490" y="168"/>
                      <a:pt x="491" y="169"/>
                      <a:pt x="492" y="169"/>
                    </a:cubicBezTo>
                    <a:cubicBezTo>
                      <a:pt x="492" y="169"/>
                      <a:pt x="492" y="168"/>
                      <a:pt x="492" y="168"/>
                    </a:cubicBezTo>
                    <a:cubicBezTo>
                      <a:pt x="493" y="168"/>
                      <a:pt x="493" y="168"/>
                      <a:pt x="494" y="168"/>
                    </a:cubicBezTo>
                    <a:cubicBezTo>
                      <a:pt x="495" y="167"/>
                      <a:pt x="496" y="167"/>
                      <a:pt x="497" y="166"/>
                    </a:cubicBezTo>
                    <a:cubicBezTo>
                      <a:pt x="498" y="166"/>
                      <a:pt x="499" y="166"/>
                      <a:pt x="500" y="166"/>
                    </a:cubicBezTo>
                    <a:close/>
                    <a:moveTo>
                      <a:pt x="513" y="168"/>
                    </a:moveTo>
                    <a:cubicBezTo>
                      <a:pt x="512" y="169"/>
                      <a:pt x="511" y="169"/>
                      <a:pt x="510" y="169"/>
                    </a:cubicBezTo>
                    <a:cubicBezTo>
                      <a:pt x="510" y="169"/>
                      <a:pt x="509" y="169"/>
                      <a:pt x="510" y="170"/>
                    </a:cubicBezTo>
                    <a:cubicBezTo>
                      <a:pt x="510" y="170"/>
                      <a:pt x="511" y="171"/>
                      <a:pt x="511" y="171"/>
                    </a:cubicBezTo>
                    <a:cubicBezTo>
                      <a:pt x="512" y="173"/>
                      <a:pt x="514" y="172"/>
                      <a:pt x="515" y="171"/>
                    </a:cubicBezTo>
                    <a:cubicBezTo>
                      <a:pt x="516" y="171"/>
                      <a:pt x="517" y="171"/>
                      <a:pt x="516" y="170"/>
                    </a:cubicBezTo>
                    <a:cubicBezTo>
                      <a:pt x="516" y="170"/>
                      <a:pt x="516" y="170"/>
                      <a:pt x="516" y="169"/>
                    </a:cubicBezTo>
                    <a:cubicBezTo>
                      <a:pt x="516" y="169"/>
                      <a:pt x="516" y="169"/>
                      <a:pt x="516" y="169"/>
                    </a:cubicBezTo>
                    <a:cubicBezTo>
                      <a:pt x="516" y="169"/>
                      <a:pt x="515" y="169"/>
                      <a:pt x="515" y="169"/>
                    </a:cubicBezTo>
                    <a:cubicBezTo>
                      <a:pt x="515" y="169"/>
                      <a:pt x="513" y="169"/>
                      <a:pt x="513" y="168"/>
                    </a:cubicBezTo>
                    <a:close/>
                    <a:moveTo>
                      <a:pt x="571" y="200"/>
                    </a:moveTo>
                    <a:cubicBezTo>
                      <a:pt x="572" y="200"/>
                      <a:pt x="573" y="199"/>
                      <a:pt x="573" y="199"/>
                    </a:cubicBezTo>
                    <a:cubicBezTo>
                      <a:pt x="573" y="198"/>
                      <a:pt x="572" y="198"/>
                      <a:pt x="572" y="198"/>
                    </a:cubicBezTo>
                    <a:cubicBezTo>
                      <a:pt x="571" y="197"/>
                      <a:pt x="570" y="199"/>
                      <a:pt x="569" y="199"/>
                    </a:cubicBezTo>
                    <a:cubicBezTo>
                      <a:pt x="569" y="199"/>
                      <a:pt x="567" y="201"/>
                      <a:pt x="567" y="201"/>
                    </a:cubicBezTo>
                    <a:cubicBezTo>
                      <a:pt x="568" y="201"/>
                      <a:pt x="570" y="200"/>
                      <a:pt x="571" y="200"/>
                    </a:cubicBezTo>
                    <a:close/>
                    <a:moveTo>
                      <a:pt x="565" y="176"/>
                    </a:moveTo>
                    <a:cubicBezTo>
                      <a:pt x="565" y="175"/>
                      <a:pt x="565" y="175"/>
                      <a:pt x="564" y="175"/>
                    </a:cubicBezTo>
                    <a:cubicBezTo>
                      <a:pt x="564" y="175"/>
                      <a:pt x="563" y="175"/>
                      <a:pt x="563" y="175"/>
                    </a:cubicBezTo>
                    <a:cubicBezTo>
                      <a:pt x="563" y="175"/>
                      <a:pt x="561" y="174"/>
                      <a:pt x="561" y="174"/>
                    </a:cubicBezTo>
                    <a:cubicBezTo>
                      <a:pt x="561" y="175"/>
                      <a:pt x="562" y="175"/>
                      <a:pt x="562" y="175"/>
                    </a:cubicBezTo>
                    <a:cubicBezTo>
                      <a:pt x="562" y="175"/>
                      <a:pt x="561" y="175"/>
                      <a:pt x="561" y="175"/>
                    </a:cubicBezTo>
                    <a:cubicBezTo>
                      <a:pt x="561" y="175"/>
                      <a:pt x="564" y="175"/>
                      <a:pt x="564" y="176"/>
                    </a:cubicBezTo>
                    <a:cubicBezTo>
                      <a:pt x="564" y="176"/>
                      <a:pt x="563" y="176"/>
                      <a:pt x="563" y="176"/>
                    </a:cubicBezTo>
                    <a:cubicBezTo>
                      <a:pt x="563" y="176"/>
                      <a:pt x="562" y="177"/>
                      <a:pt x="563" y="177"/>
                    </a:cubicBezTo>
                    <a:cubicBezTo>
                      <a:pt x="562" y="178"/>
                      <a:pt x="564" y="178"/>
                      <a:pt x="564" y="178"/>
                    </a:cubicBezTo>
                    <a:cubicBezTo>
                      <a:pt x="564" y="178"/>
                      <a:pt x="565" y="178"/>
                      <a:pt x="566" y="178"/>
                    </a:cubicBezTo>
                    <a:cubicBezTo>
                      <a:pt x="566" y="178"/>
                      <a:pt x="567" y="178"/>
                      <a:pt x="567" y="177"/>
                    </a:cubicBezTo>
                    <a:cubicBezTo>
                      <a:pt x="567" y="177"/>
                      <a:pt x="566" y="177"/>
                      <a:pt x="566" y="177"/>
                    </a:cubicBezTo>
                    <a:cubicBezTo>
                      <a:pt x="567" y="176"/>
                      <a:pt x="566" y="176"/>
                      <a:pt x="565" y="176"/>
                    </a:cubicBezTo>
                    <a:close/>
                    <a:moveTo>
                      <a:pt x="466" y="181"/>
                    </a:moveTo>
                    <a:cubicBezTo>
                      <a:pt x="466" y="181"/>
                      <a:pt x="467" y="182"/>
                      <a:pt x="467" y="181"/>
                    </a:cubicBezTo>
                    <a:cubicBezTo>
                      <a:pt x="468" y="181"/>
                      <a:pt x="470" y="180"/>
                      <a:pt x="471" y="180"/>
                    </a:cubicBezTo>
                    <a:cubicBezTo>
                      <a:pt x="472" y="179"/>
                      <a:pt x="473" y="179"/>
                      <a:pt x="474" y="179"/>
                    </a:cubicBezTo>
                    <a:cubicBezTo>
                      <a:pt x="475" y="178"/>
                      <a:pt x="475" y="178"/>
                      <a:pt x="477" y="177"/>
                    </a:cubicBezTo>
                    <a:cubicBezTo>
                      <a:pt x="477" y="177"/>
                      <a:pt x="478" y="177"/>
                      <a:pt x="478" y="177"/>
                    </a:cubicBezTo>
                    <a:cubicBezTo>
                      <a:pt x="479" y="177"/>
                      <a:pt x="479" y="176"/>
                      <a:pt x="479" y="176"/>
                    </a:cubicBezTo>
                    <a:cubicBezTo>
                      <a:pt x="480" y="176"/>
                      <a:pt x="480" y="175"/>
                      <a:pt x="480" y="175"/>
                    </a:cubicBezTo>
                    <a:cubicBezTo>
                      <a:pt x="481" y="175"/>
                      <a:pt x="481" y="174"/>
                      <a:pt x="481" y="174"/>
                    </a:cubicBezTo>
                    <a:cubicBezTo>
                      <a:pt x="481" y="174"/>
                      <a:pt x="479" y="173"/>
                      <a:pt x="479" y="174"/>
                    </a:cubicBezTo>
                    <a:cubicBezTo>
                      <a:pt x="478" y="174"/>
                      <a:pt x="478" y="174"/>
                      <a:pt x="477" y="174"/>
                    </a:cubicBezTo>
                    <a:cubicBezTo>
                      <a:pt x="477" y="174"/>
                      <a:pt x="476" y="174"/>
                      <a:pt x="476" y="174"/>
                    </a:cubicBezTo>
                    <a:cubicBezTo>
                      <a:pt x="474" y="174"/>
                      <a:pt x="473" y="175"/>
                      <a:pt x="472" y="175"/>
                    </a:cubicBezTo>
                    <a:cubicBezTo>
                      <a:pt x="471" y="175"/>
                      <a:pt x="472" y="174"/>
                      <a:pt x="471" y="174"/>
                    </a:cubicBezTo>
                    <a:cubicBezTo>
                      <a:pt x="470" y="174"/>
                      <a:pt x="469" y="175"/>
                      <a:pt x="468" y="175"/>
                    </a:cubicBezTo>
                    <a:cubicBezTo>
                      <a:pt x="467" y="176"/>
                      <a:pt x="466" y="177"/>
                      <a:pt x="465" y="177"/>
                    </a:cubicBezTo>
                    <a:cubicBezTo>
                      <a:pt x="464" y="178"/>
                      <a:pt x="463" y="178"/>
                      <a:pt x="463" y="179"/>
                    </a:cubicBezTo>
                    <a:cubicBezTo>
                      <a:pt x="462" y="179"/>
                      <a:pt x="463" y="180"/>
                      <a:pt x="463" y="181"/>
                    </a:cubicBezTo>
                    <a:cubicBezTo>
                      <a:pt x="463" y="181"/>
                      <a:pt x="461" y="182"/>
                      <a:pt x="462" y="182"/>
                    </a:cubicBezTo>
                    <a:cubicBezTo>
                      <a:pt x="463" y="182"/>
                      <a:pt x="464" y="181"/>
                      <a:pt x="465" y="181"/>
                    </a:cubicBezTo>
                    <a:cubicBezTo>
                      <a:pt x="465" y="181"/>
                      <a:pt x="466" y="181"/>
                      <a:pt x="466" y="181"/>
                    </a:cubicBezTo>
                    <a:close/>
                    <a:moveTo>
                      <a:pt x="496" y="182"/>
                    </a:moveTo>
                    <a:cubicBezTo>
                      <a:pt x="496" y="181"/>
                      <a:pt x="496" y="181"/>
                      <a:pt x="496" y="180"/>
                    </a:cubicBezTo>
                    <a:cubicBezTo>
                      <a:pt x="496" y="180"/>
                      <a:pt x="496" y="179"/>
                      <a:pt x="495" y="179"/>
                    </a:cubicBezTo>
                    <a:cubicBezTo>
                      <a:pt x="495" y="179"/>
                      <a:pt x="494" y="180"/>
                      <a:pt x="494" y="179"/>
                    </a:cubicBezTo>
                    <a:cubicBezTo>
                      <a:pt x="493" y="179"/>
                      <a:pt x="492" y="179"/>
                      <a:pt x="491" y="180"/>
                    </a:cubicBezTo>
                    <a:cubicBezTo>
                      <a:pt x="490" y="180"/>
                      <a:pt x="490" y="181"/>
                      <a:pt x="489" y="181"/>
                    </a:cubicBezTo>
                    <a:cubicBezTo>
                      <a:pt x="489" y="181"/>
                      <a:pt x="488" y="182"/>
                      <a:pt x="488" y="182"/>
                    </a:cubicBezTo>
                    <a:cubicBezTo>
                      <a:pt x="487" y="183"/>
                      <a:pt x="485" y="185"/>
                      <a:pt x="486" y="185"/>
                    </a:cubicBezTo>
                    <a:cubicBezTo>
                      <a:pt x="486" y="186"/>
                      <a:pt x="487" y="186"/>
                      <a:pt x="487" y="186"/>
                    </a:cubicBezTo>
                    <a:cubicBezTo>
                      <a:pt x="487" y="186"/>
                      <a:pt x="487" y="186"/>
                      <a:pt x="487" y="186"/>
                    </a:cubicBezTo>
                    <a:cubicBezTo>
                      <a:pt x="487" y="187"/>
                      <a:pt x="487" y="187"/>
                      <a:pt x="487" y="188"/>
                    </a:cubicBezTo>
                    <a:cubicBezTo>
                      <a:pt x="488" y="187"/>
                      <a:pt x="489" y="187"/>
                      <a:pt x="490" y="186"/>
                    </a:cubicBezTo>
                    <a:cubicBezTo>
                      <a:pt x="490" y="186"/>
                      <a:pt x="491" y="186"/>
                      <a:pt x="491" y="185"/>
                    </a:cubicBezTo>
                    <a:cubicBezTo>
                      <a:pt x="492" y="185"/>
                      <a:pt x="492" y="185"/>
                      <a:pt x="492" y="184"/>
                    </a:cubicBezTo>
                    <a:cubicBezTo>
                      <a:pt x="493" y="184"/>
                      <a:pt x="493" y="184"/>
                      <a:pt x="493" y="184"/>
                    </a:cubicBezTo>
                    <a:cubicBezTo>
                      <a:pt x="493" y="184"/>
                      <a:pt x="494" y="183"/>
                      <a:pt x="494" y="183"/>
                    </a:cubicBezTo>
                    <a:cubicBezTo>
                      <a:pt x="494" y="183"/>
                      <a:pt x="494" y="183"/>
                      <a:pt x="494" y="183"/>
                    </a:cubicBezTo>
                    <a:cubicBezTo>
                      <a:pt x="494" y="183"/>
                      <a:pt x="495" y="183"/>
                      <a:pt x="495" y="182"/>
                    </a:cubicBezTo>
                    <a:cubicBezTo>
                      <a:pt x="495" y="182"/>
                      <a:pt x="496" y="182"/>
                      <a:pt x="496" y="182"/>
                    </a:cubicBezTo>
                    <a:close/>
                    <a:moveTo>
                      <a:pt x="598" y="187"/>
                    </a:moveTo>
                    <a:cubicBezTo>
                      <a:pt x="597" y="187"/>
                      <a:pt x="598" y="188"/>
                      <a:pt x="598" y="188"/>
                    </a:cubicBezTo>
                    <a:cubicBezTo>
                      <a:pt x="599" y="188"/>
                      <a:pt x="599" y="189"/>
                      <a:pt x="599" y="189"/>
                    </a:cubicBezTo>
                    <a:cubicBezTo>
                      <a:pt x="599" y="189"/>
                      <a:pt x="600" y="189"/>
                      <a:pt x="600" y="189"/>
                    </a:cubicBezTo>
                    <a:cubicBezTo>
                      <a:pt x="600" y="189"/>
                      <a:pt x="600" y="190"/>
                      <a:pt x="600" y="190"/>
                    </a:cubicBezTo>
                    <a:cubicBezTo>
                      <a:pt x="600" y="190"/>
                      <a:pt x="601" y="190"/>
                      <a:pt x="601" y="189"/>
                    </a:cubicBezTo>
                    <a:cubicBezTo>
                      <a:pt x="601" y="189"/>
                      <a:pt x="603" y="188"/>
                      <a:pt x="603" y="188"/>
                    </a:cubicBezTo>
                    <a:cubicBezTo>
                      <a:pt x="603" y="188"/>
                      <a:pt x="602" y="188"/>
                      <a:pt x="603" y="188"/>
                    </a:cubicBezTo>
                    <a:cubicBezTo>
                      <a:pt x="603" y="187"/>
                      <a:pt x="603" y="187"/>
                      <a:pt x="603" y="187"/>
                    </a:cubicBezTo>
                    <a:cubicBezTo>
                      <a:pt x="603" y="187"/>
                      <a:pt x="604" y="187"/>
                      <a:pt x="604" y="187"/>
                    </a:cubicBezTo>
                    <a:cubicBezTo>
                      <a:pt x="603" y="187"/>
                      <a:pt x="603" y="187"/>
                      <a:pt x="603" y="187"/>
                    </a:cubicBezTo>
                    <a:cubicBezTo>
                      <a:pt x="603" y="187"/>
                      <a:pt x="603" y="187"/>
                      <a:pt x="603" y="187"/>
                    </a:cubicBezTo>
                    <a:cubicBezTo>
                      <a:pt x="603" y="187"/>
                      <a:pt x="603" y="187"/>
                      <a:pt x="603" y="187"/>
                    </a:cubicBezTo>
                    <a:cubicBezTo>
                      <a:pt x="601" y="186"/>
                      <a:pt x="599" y="186"/>
                      <a:pt x="598" y="187"/>
                    </a:cubicBezTo>
                    <a:close/>
                    <a:moveTo>
                      <a:pt x="392" y="119"/>
                    </a:moveTo>
                    <a:cubicBezTo>
                      <a:pt x="392" y="119"/>
                      <a:pt x="392" y="118"/>
                      <a:pt x="393" y="118"/>
                    </a:cubicBezTo>
                    <a:cubicBezTo>
                      <a:pt x="393" y="118"/>
                      <a:pt x="394" y="118"/>
                      <a:pt x="394" y="118"/>
                    </a:cubicBezTo>
                    <a:cubicBezTo>
                      <a:pt x="394" y="117"/>
                      <a:pt x="395" y="117"/>
                      <a:pt x="395" y="117"/>
                    </a:cubicBezTo>
                    <a:cubicBezTo>
                      <a:pt x="395" y="117"/>
                      <a:pt x="394" y="116"/>
                      <a:pt x="395" y="116"/>
                    </a:cubicBezTo>
                    <a:cubicBezTo>
                      <a:pt x="395" y="115"/>
                      <a:pt x="393" y="116"/>
                      <a:pt x="393" y="116"/>
                    </a:cubicBezTo>
                    <a:cubicBezTo>
                      <a:pt x="393" y="116"/>
                      <a:pt x="393" y="116"/>
                      <a:pt x="392" y="117"/>
                    </a:cubicBezTo>
                    <a:cubicBezTo>
                      <a:pt x="392" y="117"/>
                      <a:pt x="392" y="117"/>
                      <a:pt x="392" y="117"/>
                    </a:cubicBezTo>
                    <a:cubicBezTo>
                      <a:pt x="391" y="117"/>
                      <a:pt x="390" y="118"/>
                      <a:pt x="391" y="118"/>
                    </a:cubicBezTo>
                    <a:cubicBezTo>
                      <a:pt x="391" y="118"/>
                      <a:pt x="392" y="118"/>
                      <a:pt x="392" y="118"/>
                    </a:cubicBezTo>
                    <a:cubicBezTo>
                      <a:pt x="392" y="118"/>
                      <a:pt x="391" y="118"/>
                      <a:pt x="392" y="119"/>
                    </a:cubicBezTo>
                    <a:close/>
                    <a:moveTo>
                      <a:pt x="570" y="119"/>
                    </a:moveTo>
                    <a:cubicBezTo>
                      <a:pt x="570" y="119"/>
                      <a:pt x="570" y="118"/>
                      <a:pt x="569" y="119"/>
                    </a:cubicBezTo>
                    <a:cubicBezTo>
                      <a:pt x="569" y="119"/>
                      <a:pt x="568" y="120"/>
                      <a:pt x="567" y="120"/>
                    </a:cubicBezTo>
                    <a:cubicBezTo>
                      <a:pt x="567" y="121"/>
                      <a:pt x="570" y="121"/>
                      <a:pt x="569" y="122"/>
                    </a:cubicBezTo>
                    <a:cubicBezTo>
                      <a:pt x="569" y="122"/>
                      <a:pt x="570" y="122"/>
                      <a:pt x="570" y="122"/>
                    </a:cubicBezTo>
                    <a:cubicBezTo>
                      <a:pt x="570" y="122"/>
                      <a:pt x="571" y="122"/>
                      <a:pt x="570" y="122"/>
                    </a:cubicBezTo>
                    <a:cubicBezTo>
                      <a:pt x="570" y="122"/>
                      <a:pt x="571" y="122"/>
                      <a:pt x="571" y="121"/>
                    </a:cubicBezTo>
                    <a:cubicBezTo>
                      <a:pt x="571" y="121"/>
                      <a:pt x="571" y="121"/>
                      <a:pt x="570" y="121"/>
                    </a:cubicBezTo>
                    <a:cubicBezTo>
                      <a:pt x="571" y="121"/>
                      <a:pt x="571" y="121"/>
                      <a:pt x="572" y="121"/>
                    </a:cubicBezTo>
                    <a:cubicBezTo>
                      <a:pt x="572" y="120"/>
                      <a:pt x="571" y="120"/>
                      <a:pt x="571" y="119"/>
                    </a:cubicBezTo>
                    <a:cubicBezTo>
                      <a:pt x="571" y="119"/>
                      <a:pt x="571" y="119"/>
                      <a:pt x="570" y="119"/>
                    </a:cubicBezTo>
                    <a:close/>
                    <a:moveTo>
                      <a:pt x="252" y="89"/>
                    </a:moveTo>
                    <a:cubicBezTo>
                      <a:pt x="253" y="89"/>
                      <a:pt x="254" y="89"/>
                      <a:pt x="254" y="89"/>
                    </a:cubicBezTo>
                    <a:cubicBezTo>
                      <a:pt x="254" y="89"/>
                      <a:pt x="252" y="89"/>
                      <a:pt x="252" y="89"/>
                    </a:cubicBezTo>
                    <a:cubicBezTo>
                      <a:pt x="253" y="89"/>
                      <a:pt x="253" y="89"/>
                      <a:pt x="253" y="89"/>
                    </a:cubicBezTo>
                    <a:cubicBezTo>
                      <a:pt x="254" y="90"/>
                      <a:pt x="254" y="90"/>
                      <a:pt x="254" y="90"/>
                    </a:cubicBezTo>
                    <a:cubicBezTo>
                      <a:pt x="255" y="90"/>
                      <a:pt x="255" y="91"/>
                      <a:pt x="256" y="91"/>
                    </a:cubicBezTo>
                    <a:cubicBezTo>
                      <a:pt x="256" y="91"/>
                      <a:pt x="258" y="91"/>
                      <a:pt x="258" y="92"/>
                    </a:cubicBezTo>
                    <a:cubicBezTo>
                      <a:pt x="257" y="93"/>
                      <a:pt x="258" y="93"/>
                      <a:pt x="258" y="94"/>
                    </a:cubicBezTo>
                    <a:cubicBezTo>
                      <a:pt x="257" y="94"/>
                      <a:pt x="257" y="94"/>
                      <a:pt x="257" y="95"/>
                    </a:cubicBezTo>
                    <a:cubicBezTo>
                      <a:pt x="257" y="95"/>
                      <a:pt x="256" y="97"/>
                      <a:pt x="257" y="97"/>
                    </a:cubicBezTo>
                    <a:cubicBezTo>
                      <a:pt x="258" y="97"/>
                      <a:pt x="259" y="97"/>
                      <a:pt x="259" y="97"/>
                    </a:cubicBezTo>
                    <a:cubicBezTo>
                      <a:pt x="260" y="97"/>
                      <a:pt x="261" y="96"/>
                      <a:pt x="261" y="96"/>
                    </a:cubicBezTo>
                    <a:cubicBezTo>
                      <a:pt x="263" y="96"/>
                      <a:pt x="264" y="95"/>
                      <a:pt x="266" y="95"/>
                    </a:cubicBezTo>
                    <a:cubicBezTo>
                      <a:pt x="267" y="95"/>
                      <a:pt x="269" y="94"/>
                      <a:pt x="270" y="94"/>
                    </a:cubicBezTo>
                    <a:cubicBezTo>
                      <a:pt x="270" y="93"/>
                      <a:pt x="271" y="93"/>
                      <a:pt x="272" y="93"/>
                    </a:cubicBezTo>
                    <a:cubicBezTo>
                      <a:pt x="272" y="94"/>
                      <a:pt x="271" y="94"/>
                      <a:pt x="271" y="94"/>
                    </a:cubicBezTo>
                    <a:cubicBezTo>
                      <a:pt x="273" y="94"/>
                      <a:pt x="275" y="94"/>
                      <a:pt x="277" y="93"/>
                    </a:cubicBezTo>
                    <a:cubicBezTo>
                      <a:pt x="279" y="93"/>
                      <a:pt x="281" y="92"/>
                      <a:pt x="283" y="91"/>
                    </a:cubicBezTo>
                    <a:cubicBezTo>
                      <a:pt x="283" y="91"/>
                      <a:pt x="285" y="90"/>
                      <a:pt x="285" y="89"/>
                    </a:cubicBezTo>
                    <a:cubicBezTo>
                      <a:pt x="285" y="89"/>
                      <a:pt x="287" y="88"/>
                      <a:pt x="287" y="88"/>
                    </a:cubicBezTo>
                    <a:cubicBezTo>
                      <a:pt x="288" y="88"/>
                      <a:pt x="289" y="88"/>
                      <a:pt x="289" y="87"/>
                    </a:cubicBezTo>
                    <a:cubicBezTo>
                      <a:pt x="290" y="86"/>
                      <a:pt x="290" y="86"/>
                      <a:pt x="291" y="86"/>
                    </a:cubicBezTo>
                    <a:cubicBezTo>
                      <a:pt x="290" y="86"/>
                      <a:pt x="290" y="86"/>
                      <a:pt x="290" y="86"/>
                    </a:cubicBezTo>
                    <a:cubicBezTo>
                      <a:pt x="292" y="87"/>
                      <a:pt x="293" y="86"/>
                      <a:pt x="295" y="86"/>
                    </a:cubicBezTo>
                    <a:cubicBezTo>
                      <a:pt x="297" y="86"/>
                      <a:pt x="298" y="85"/>
                      <a:pt x="299" y="84"/>
                    </a:cubicBezTo>
                    <a:cubicBezTo>
                      <a:pt x="301" y="83"/>
                      <a:pt x="302" y="83"/>
                      <a:pt x="303" y="82"/>
                    </a:cubicBezTo>
                    <a:cubicBezTo>
                      <a:pt x="305" y="82"/>
                      <a:pt x="307" y="82"/>
                      <a:pt x="308" y="81"/>
                    </a:cubicBezTo>
                    <a:cubicBezTo>
                      <a:pt x="310" y="81"/>
                      <a:pt x="313" y="80"/>
                      <a:pt x="315" y="80"/>
                    </a:cubicBezTo>
                    <a:cubicBezTo>
                      <a:pt x="316" y="80"/>
                      <a:pt x="318" y="79"/>
                      <a:pt x="319" y="79"/>
                    </a:cubicBezTo>
                    <a:cubicBezTo>
                      <a:pt x="323" y="78"/>
                      <a:pt x="326" y="78"/>
                      <a:pt x="330" y="77"/>
                    </a:cubicBezTo>
                    <a:cubicBezTo>
                      <a:pt x="332" y="77"/>
                      <a:pt x="333" y="76"/>
                      <a:pt x="335" y="76"/>
                    </a:cubicBezTo>
                    <a:cubicBezTo>
                      <a:pt x="336" y="76"/>
                      <a:pt x="338" y="76"/>
                      <a:pt x="337" y="74"/>
                    </a:cubicBezTo>
                    <a:cubicBezTo>
                      <a:pt x="337" y="74"/>
                      <a:pt x="337" y="74"/>
                      <a:pt x="337" y="74"/>
                    </a:cubicBezTo>
                    <a:cubicBezTo>
                      <a:pt x="336" y="74"/>
                      <a:pt x="336" y="74"/>
                      <a:pt x="336" y="73"/>
                    </a:cubicBezTo>
                    <a:cubicBezTo>
                      <a:pt x="336" y="73"/>
                      <a:pt x="335" y="73"/>
                      <a:pt x="335" y="72"/>
                    </a:cubicBezTo>
                    <a:cubicBezTo>
                      <a:pt x="334" y="72"/>
                      <a:pt x="334" y="72"/>
                      <a:pt x="334" y="71"/>
                    </a:cubicBezTo>
                    <a:cubicBezTo>
                      <a:pt x="334" y="71"/>
                      <a:pt x="334" y="70"/>
                      <a:pt x="333" y="70"/>
                    </a:cubicBezTo>
                    <a:cubicBezTo>
                      <a:pt x="332" y="69"/>
                      <a:pt x="331" y="69"/>
                      <a:pt x="329" y="69"/>
                    </a:cubicBezTo>
                    <a:cubicBezTo>
                      <a:pt x="328" y="69"/>
                      <a:pt x="326" y="69"/>
                      <a:pt x="324" y="69"/>
                    </a:cubicBezTo>
                    <a:cubicBezTo>
                      <a:pt x="323" y="69"/>
                      <a:pt x="323" y="69"/>
                      <a:pt x="322" y="69"/>
                    </a:cubicBezTo>
                    <a:cubicBezTo>
                      <a:pt x="322" y="69"/>
                      <a:pt x="321" y="69"/>
                      <a:pt x="321" y="70"/>
                    </a:cubicBezTo>
                    <a:cubicBezTo>
                      <a:pt x="321" y="70"/>
                      <a:pt x="321" y="70"/>
                      <a:pt x="321" y="70"/>
                    </a:cubicBezTo>
                    <a:cubicBezTo>
                      <a:pt x="320" y="70"/>
                      <a:pt x="319" y="70"/>
                      <a:pt x="319" y="71"/>
                    </a:cubicBezTo>
                    <a:cubicBezTo>
                      <a:pt x="318" y="71"/>
                      <a:pt x="318" y="71"/>
                      <a:pt x="317" y="71"/>
                    </a:cubicBezTo>
                    <a:cubicBezTo>
                      <a:pt x="317" y="71"/>
                      <a:pt x="319" y="70"/>
                      <a:pt x="319" y="70"/>
                    </a:cubicBezTo>
                    <a:cubicBezTo>
                      <a:pt x="319" y="70"/>
                      <a:pt x="320" y="69"/>
                      <a:pt x="320" y="69"/>
                    </a:cubicBezTo>
                    <a:cubicBezTo>
                      <a:pt x="320" y="69"/>
                      <a:pt x="318" y="69"/>
                      <a:pt x="318" y="69"/>
                    </a:cubicBezTo>
                    <a:cubicBezTo>
                      <a:pt x="317" y="69"/>
                      <a:pt x="317" y="69"/>
                      <a:pt x="316" y="70"/>
                    </a:cubicBezTo>
                    <a:cubicBezTo>
                      <a:pt x="315" y="70"/>
                      <a:pt x="315" y="70"/>
                      <a:pt x="314" y="70"/>
                    </a:cubicBezTo>
                    <a:cubicBezTo>
                      <a:pt x="313" y="71"/>
                      <a:pt x="313" y="70"/>
                      <a:pt x="314" y="70"/>
                    </a:cubicBezTo>
                    <a:cubicBezTo>
                      <a:pt x="315" y="70"/>
                      <a:pt x="315" y="70"/>
                      <a:pt x="316" y="69"/>
                    </a:cubicBezTo>
                    <a:cubicBezTo>
                      <a:pt x="316" y="69"/>
                      <a:pt x="317" y="69"/>
                      <a:pt x="317" y="69"/>
                    </a:cubicBezTo>
                    <a:cubicBezTo>
                      <a:pt x="317" y="69"/>
                      <a:pt x="317" y="69"/>
                      <a:pt x="318" y="69"/>
                    </a:cubicBezTo>
                    <a:cubicBezTo>
                      <a:pt x="316" y="69"/>
                      <a:pt x="315" y="69"/>
                      <a:pt x="314" y="68"/>
                    </a:cubicBezTo>
                    <a:cubicBezTo>
                      <a:pt x="312" y="68"/>
                      <a:pt x="312" y="67"/>
                      <a:pt x="310" y="67"/>
                    </a:cubicBezTo>
                    <a:cubicBezTo>
                      <a:pt x="312" y="66"/>
                      <a:pt x="308" y="66"/>
                      <a:pt x="307" y="66"/>
                    </a:cubicBezTo>
                    <a:cubicBezTo>
                      <a:pt x="306" y="66"/>
                      <a:pt x="304" y="67"/>
                      <a:pt x="303" y="67"/>
                    </a:cubicBezTo>
                    <a:cubicBezTo>
                      <a:pt x="301" y="67"/>
                      <a:pt x="300" y="67"/>
                      <a:pt x="298" y="67"/>
                    </a:cubicBezTo>
                    <a:cubicBezTo>
                      <a:pt x="296" y="67"/>
                      <a:pt x="293" y="67"/>
                      <a:pt x="291" y="67"/>
                    </a:cubicBezTo>
                    <a:cubicBezTo>
                      <a:pt x="290" y="68"/>
                      <a:pt x="290" y="68"/>
                      <a:pt x="289" y="68"/>
                    </a:cubicBezTo>
                    <a:cubicBezTo>
                      <a:pt x="289" y="68"/>
                      <a:pt x="287" y="68"/>
                      <a:pt x="286" y="68"/>
                    </a:cubicBezTo>
                    <a:cubicBezTo>
                      <a:pt x="285" y="68"/>
                      <a:pt x="284" y="68"/>
                      <a:pt x="284" y="68"/>
                    </a:cubicBezTo>
                    <a:cubicBezTo>
                      <a:pt x="284" y="68"/>
                      <a:pt x="285" y="68"/>
                      <a:pt x="285" y="68"/>
                    </a:cubicBezTo>
                    <a:cubicBezTo>
                      <a:pt x="285" y="68"/>
                      <a:pt x="284" y="68"/>
                      <a:pt x="284" y="69"/>
                    </a:cubicBezTo>
                    <a:cubicBezTo>
                      <a:pt x="285" y="69"/>
                      <a:pt x="285" y="68"/>
                      <a:pt x="284" y="69"/>
                    </a:cubicBezTo>
                    <a:cubicBezTo>
                      <a:pt x="284" y="70"/>
                      <a:pt x="284" y="70"/>
                      <a:pt x="283" y="70"/>
                    </a:cubicBezTo>
                    <a:cubicBezTo>
                      <a:pt x="283" y="70"/>
                      <a:pt x="283" y="71"/>
                      <a:pt x="283" y="71"/>
                    </a:cubicBezTo>
                    <a:cubicBezTo>
                      <a:pt x="283" y="71"/>
                      <a:pt x="282" y="72"/>
                      <a:pt x="282" y="72"/>
                    </a:cubicBezTo>
                    <a:cubicBezTo>
                      <a:pt x="282" y="73"/>
                      <a:pt x="284" y="72"/>
                      <a:pt x="284" y="73"/>
                    </a:cubicBezTo>
                    <a:cubicBezTo>
                      <a:pt x="283" y="73"/>
                      <a:pt x="282" y="74"/>
                      <a:pt x="281" y="74"/>
                    </a:cubicBezTo>
                    <a:cubicBezTo>
                      <a:pt x="280" y="74"/>
                      <a:pt x="279" y="75"/>
                      <a:pt x="278" y="75"/>
                    </a:cubicBezTo>
                    <a:cubicBezTo>
                      <a:pt x="277" y="76"/>
                      <a:pt x="276" y="76"/>
                      <a:pt x="275" y="76"/>
                    </a:cubicBezTo>
                    <a:cubicBezTo>
                      <a:pt x="275" y="76"/>
                      <a:pt x="274" y="77"/>
                      <a:pt x="274" y="77"/>
                    </a:cubicBezTo>
                    <a:cubicBezTo>
                      <a:pt x="273" y="77"/>
                      <a:pt x="272" y="77"/>
                      <a:pt x="271" y="78"/>
                    </a:cubicBezTo>
                    <a:cubicBezTo>
                      <a:pt x="270" y="78"/>
                      <a:pt x="269" y="78"/>
                      <a:pt x="269" y="79"/>
                    </a:cubicBezTo>
                    <a:cubicBezTo>
                      <a:pt x="268" y="79"/>
                      <a:pt x="268" y="79"/>
                      <a:pt x="268" y="79"/>
                    </a:cubicBezTo>
                    <a:cubicBezTo>
                      <a:pt x="268" y="80"/>
                      <a:pt x="269" y="79"/>
                      <a:pt x="269" y="80"/>
                    </a:cubicBezTo>
                    <a:cubicBezTo>
                      <a:pt x="269" y="80"/>
                      <a:pt x="269" y="80"/>
                      <a:pt x="269" y="80"/>
                    </a:cubicBezTo>
                    <a:cubicBezTo>
                      <a:pt x="269" y="80"/>
                      <a:pt x="269" y="80"/>
                      <a:pt x="268" y="80"/>
                    </a:cubicBezTo>
                    <a:cubicBezTo>
                      <a:pt x="268" y="81"/>
                      <a:pt x="268" y="81"/>
                      <a:pt x="267" y="81"/>
                    </a:cubicBezTo>
                    <a:cubicBezTo>
                      <a:pt x="266" y="81"/>
                      <a:pt x="266" y="81"/>
                      <a:pt x="265" y="81"/>
                    </a:cubicBezTo>
                    <a:cubicBezTo>
                      <a:pt x="264" y="81"/>
                      <a:pt x="264" y="81"/>
                      <a:pt x="264" y="81"/>
                    </a:cubicBezTo>
                    <a:cubicBezTo>
                      <a:pt x="264" y="82"/>
                      <a:pt x="263" y="82"/>
                      <a:pt x="263" y="82"/>
                    </a:cubicBezTo>
                    <a:cubicBezTo>
                      <a:pt x="263" y="82"/>
                      <a:pt x="263" y="82"/>
                      <a:pt x="263" y="82"/>
                    </a:cubicBezTo>
                    <a:cubicBezTo>
                      <a:pt x="263" y="82"/>
                      <a:pt x="261" y="83"/>
                      <a:pt x="261" y="83"/>
                    </a:cubicBezTo>
                    <a:cubicBezTo>
                      <a:pt x="261" y="83"/>
                      <a:pt x="262" y="83"/>
                      <a:pt x="262" y="83"/>
                    </a:cubicBezTo>
                    <a:cubicBezTo>
                      <a:pt x="261" y="84"/>
                      <a:pt x="259" y="84"/>
                      <a:pt x="258" y="84"/>
                    </a:cubicBezTo>
                    <a:cubicBezTo>
                      <a:pt x="258" y="84"/>
                      <a:pt x="257" y="85"/>
                      <a:pt x="256" y="85"/>
                    </a:cubicBezTo>
                    <a:cubicBezTo>
                      <a:pt x="256" y="85"/>
                      <a:pt x="255" y="86"/>
                      <a:pt x="254" y="86"/>
                    </a:cubicBezTo>
                    <a:cubicBezTo>
                      <a:pt x="255" y="86"/>
                      <a:pt x="254" y="86"/>
                      <a:pt x="254" y="86"/>
                    </a:cubicBezTo>
                    <a:cubicBezTo>
                      <a:pt x="254" y="86"/>
                      <a:pt x="253" y="86"/>
                      <a:pt x="253" y="86"/>
                    </a:cubicBezTo>
                    <a:cubicBezTo>
                      <a:pt x="253" y="86"/>
                      <a:pt x="252" y="87"/>
                      <a:pt x="253" y="87"/>
                    </a:cubicBezTo>
                    <a:cubicBezTo>
                      <a:pt x="252" y="87"/>
                      <a:pt x="251" y="87"/>
                      <a:pt x="251" y="88"/>
                    </a:cubicBezTo>
                    <a:cubicBezTo>
                      <a:pt x="251" y="88"/>
                      <a:pt x="250" y="88"/>
                      <a:pt x="250" y="88"/>
                    </a:cubicBezTo>
                    <a:cubicBezTo>
                      <a:pt x="249" y="89"/>
                      <a:pt x="249" y="89"/>
                      <a:pt x="249" y="89"/>
                    </a:cubicBezTo>
                    <a:cubicBezTo>
                      <a:pt x="248" y="89"/>
                      <a:pt x="248" y="89"/>
                      <a:pt x="247" y="89"/>
                    </a:cubicBezTo>
                    <a:cubicBezTo>
                      <a:pt x="249" y="89"/>
                      <a:pt x="251" y="89"/>
                      <a:pt x="252" y="89"/>
                    </a:cubicBezTo>
                    <a:close/>
                    <a:moveTo>
                      <a:pt x="127" y="111"/>
                    </a:moveTo>
                    <a:cubicBezTo>
                      <a:pt x="128" y="111"/>
                      <a:pt x="128" y="111"/>
                      <a:pt x="129" y="110"/>
                    </a:cubicBezTo>
                    <a:cubicBezTo>
                      <a:pt x="129" y="110"/>
                      <a:pt x="130" y="111"/>
                      <a:pt x="130" y="110"/>
                    </a:cubicBezTo>
                    <a:cubicBezTo>
                      <a:pt x="129" y="110"/>
                      <a:pt x="127" y="110"/>
                      <a:pt x="126" y="111"/>
                    </a:cubicBezTo>
                    <a:cubicBezTo>
                      <a:pt x="127" y="110"/>
                      <a:pt x="127" y="111"/>
                      <a:pt x="127" y="111"/>
                    </a:cubicBezTo>
                    <a:close/>
                    <a:moveTo>
                      <a:pt x="396" y="116"/>
                    </a:moveTo>
                    <a:cubicBezTo>
                      <a:pt x="397" y="116"/>
                      <a:pt x="398" y="116"/>
                      <a:pt x="397" y="115"/>
                    </a:cubicBezTo>
                    <a:cubicBezTo>
                      <a:pt x="397" y="115"/>
                      <a:pt x="394" y="116"/>
                      <a:pt x="396" y="116"/>
                    </a:cubicBezTo>
                    <a:close/>
                    <a:moveTo>
                      <a:pt x="314" y="121"/>
                    </a:moveTo>
                    <a:cubicBezTo>
                      <a:pt x="315" y="121"/>
                      <a:pt x="315" y="121"/>
                      <a:pt x="316" y="121"/>
                    </a:cubicBezTo>
                    <a:cubicBezTo>
                      <a:pt x="317" y="121"/>
                      <a:pt x="317" y="120"/>
                      <a:pt x="316" y="120"/>
                    </a:cubicBezTo>
                    <a:cubicBezTo>
                      <a:pt x="316" y="120"/>
                      <a:pt x="316" y="120"/>
                      <a:pt x="315" y="120"/>
                    </a:cubicBezTo>
                    <a:cubicBezTo>
                      <a:pt x="315" y="120"/>
                      <a:pt x="314" y="120"/>
                      <a:pt x="314" y="121"/>
                    </a:cubicBezTo>
                    <a:close/>
                    <a:moveTo>
                      <a:pt x="596" y="198"/>
                    </a:moveTo>
                    <a:cubicBezTo>
                      <a:pt x="595" y="199"/>
                      <a:pt x="597" y="200"/>
                      <a:pt x="597" y="200"/>
                    </a:cubicBezTo>
                    <a:cubicBezTo>
                      <a:pt x="598" y="201"/>
                      <a:pt x="598" y="200"/>
                      <a:pt x="598" y="200"/>
                    </a:cubicBezTo>
                    <a:cubicBezTo>
                      <a:pt x="598" y="200"/>
                      <a:pt x="599" y="199"/>
                      <a:pt x="599" y="199"/>
                    </a:cubicBezTo>
                    <a:cubicBezTo>
                      <a:pt x="598" y="199"/>
                      <a:pt x="598" y="199"/>
                      <a:pt x="598" y="199"/>
                    </a:cubicBezTo>
                    <a:cubicBezTo>
                      <a:pt x="598" y="199"/>
                      <a:pt x="598" y="198"/>
                      <a:pt x="597" y="198"/>
                    </a:cubicBezTo>
                    <a:cubicBezTo>
                      <a:pt x="597" y="198"/>
                      <a:pt x="596" y="198"/>
                      <a:pt x="596" y="198"/>
                    </a:cubicBezTo>
                    <a:close/>
                    <a:moveTo>
                      <a:pt x="430" y="113"/>
                    </a:moveTo>
                    <a:cubicBezTo>
                      <a:pt x="431" y="113"/>
                      <a:pt x="435" y="112"/>
                      <a:pt x="434" y="111"/>
                    </a:cubicBezTo>
                    <a:cubicBezTo>
                      <a:pt x="433" y="111"/>
                      <a:pt x="433" y="110"/>
                      <a:pt x="433" y="110"/>
                    </a:cubicBezTo>
                    <a:cubicBezTo>
                      <a:pt x="433" y="110"/>
                      <a:pt x="432" y="110"/>
                      <a:pt x="431" y="110"/>
                    </a:cubicBezTo>
                    <a:cubicBezTo>
                      <a:pt x="431" y="111"/>
                      <a:pt x="430" y="111"/>
                      <a:pt x="430" y="111"/>
                    </a:cubicBezTo>
                    <a:cubicBezTo>
                      <a:pt x="430" y="111"/>
                      <a:pt x="429" y="112"/>
                      <a:pt x="429" y="112"/>
                    </a:cubicBezTo>
                    <a:cubicBezTo>
                      <a:pt x="429" y="112"/>
                      <a:pt x="429" y="112"/>
                      <a:pt x="428" y="113"/>
                    </a:cubicBezTo>
                    <a:cubicBezTo>
                      <a:pt x="429" y="113"/>
                      <a:pt x="430" y="112"/>
                      <a:pt x="431" y="112"/>
                    </a:cubicBezTo>
                    <a:cubicBezTo>
                      <a:pt x="431" y="111"/>
                      <a:pt x="431" y="110"/>
                      <a:pt x="432" y="111"/>
                    </a:cubicBezTo>
                    <a:cubicBezTo>
                      <a:pt x="433" y="111"/>
                      <a:pt x="430" y="113"/>
                      <a:pt x="430" y="113"/>
                    </a:cubicBezTo>
                    <a:close/>
                    <a:moveTo>
                      <a:pt x="538" y="177"/>
                    </a:moveTo>
                    <a:cubicBezTo>
                      <a:pt x="538" y="177"/>
                      <a:pt x="539" y="177"/>
                      <a:pt x="539" y="177"/>
                    </a:cubicBezTo>
                    <a:cubicBezTo>
                      <a:pt x="539" y="177"/>
                      <a:pt x="539" y="177"/>
                      <a:pt x="538" y="177"/>
                    </a:cubicBezTo>
                    <a:cubicBezTo>
                      <a:pt x="538" y="176"/>
                      <a:pt x="537" y="176"/>
                      <a:pt x="537" y="176"/>
                    </a:cubicBezTo>
                    <a:cubicBezTo>
                      <a:pt x="536" y="177"/>
                      <a:pt x="536" y="176"/>
                      <a:pt x="536" y="176"/>
                    </a:cubicBezTo>
                    <a:cubicBezTo>
                      <a:pt x="536" y="176"/>
                      <a:pt x="535" y="176"/>
                      <a:pt x="534" y="176"/>
                    </a:cubicBezTo>
                    <a:cubicBezTo>
                      <a:pt x="534" y="176"/>
                      <a:pt x="535" y="177"/>
                      <a:pt x="535" y="177"/>
                    </a:cubicBezTo>
                    <a:cubicBezTo>
                      <a:pt x="536" y="177"/>
                      <a:pt x="537" y="177"/>
                      <a:pt x="538" y="177"/>
                    </a:cubicBezTo>
                    <a:close/>
                    <a:moveTo>
                      <a:pt x="603" y="184"/>
                    </a:moveTo>
                    <a:cubicBezTo>
                      <a:pt x="602" y="184"/>
                      <a:pt x="602" y="185"/>
                      <a:pt x="602" y="185"/>
                    </a:cubicBezTo>
                    <a:cubicBezTo>
                      <a:pt x="602" y="184"/>
                      <a:pt x="602" y="184"/>
                      <a:pt x="602" y="184"/>
                    </a:cubicBezTo>
                    <a:cubicBezTo>
                      <a:pt x="601" y="184"/>
                      <a:pt x="600" y="185"/>
                      <a:pt x="601" y="185"/>
                    </a:cubicBezTo>
                    <a:cubicBezTo>
                      <a:pt x="602" y="186"/>
                      <a:pt x="602" y="186"/>
                      <a:pt x="603" y="186"/>
                    </a:cubicBezTo>
                    <a:cubicBezTo>
                      <a:pt x="603" y="185"/>
                      <a:pt x="603" y="185"/>
                      <a:pt x="603" y="185"/>
                    </a:cubicBezTo>
                    <a:cubicBezTo>
                      <a:pt x="603" y="185"/>
                      <a:pt x="603" y="184"/>
                      <a:pt x="603" y="184"/>
                    </a:cubicBezTo>
                    <a:close/>
                    <a:moveTo>
                      <a:pt x="408" y="102"/>
                    </a:moveTo>
                    <a:cubicBezTo>
                      <a:pt x="408" y="102"/>
                      <a:pt x="409" y="103"/>
                      <a:pt x="409" y="102"/>
                    </a:cubicBezTo>
                    <a:cubicBezTo>
                      <a:pt x="409" y="101"/>
                      <a:pt x="409" y="102"/>
                      <a:pt x="410" y="102"/>
                    </a:cubicBezTo>
                    <a:cubicBezTo>
                      <a:pt x="410" y="101"/>
                      <a:pt x="409" y="101"/>
                      <a:pt x="409" y="101"/>
                    </a:cubicBezTo>
                    <a:cubicBezTo>
                      <a:pt x="409" y="100"/>
                      <a:pt x="405" y="101"/>
                      <a:pt x="408" y="102"/>
                    </a:cubicBezTo>
                    <a:close/>
                    <a:moveTo>
                      <a:pt x="524" y="167"/>
                    </a:moveTo>
                    <a:cubicBezTo>
                      <a:pt x="523" y="167"/>
                      <a:pt x="523" y="167"/>
                      <a:pt x="522" y="167"/>
                    </a:cubicBezTo>
                    <a:cubicBezTo>
                      <a:pt x="521" y="167"/>
                      <a:pt x="520" y="166"/>
                      <a:pt x="520" y="167"/>
                    </a:cubicBezTo>
                    <a:cubicBezTo>
                      <a:pt x="519" y="167"/>
                      <a:pt x="520" y="167"/>
                      <a:pt x="520" y="167"/>
                    </a:cubicBezTo>
                    <a:cubicBezTo>
                      <a:pt x="520" y="167"/>
                      <a:pt x="519" y="167"/>
                      <a:pt x="519" y="168"/>
                    </a:cubicBezTo>
                    <a:cubicBezTo>
                      <a:pt x="520" y="168"/>
                      <a:pt x="520" y="168"/>
                      <a:pt x="521" y="169"/>
                    </a:cubicBezTo>
                    <a:cubicBezTo>
                      <a:pt x="521" y="169"/>
                      <a:pt x="521" y="169"/>
                      <a:pt x="521" y="169"/>
                    </a:cubicBezTo>
                    <a:cubicBezTo>
                      <a:pt x="522" y="169"/>
                      <a:pt x="522" y="169"/>
                      <a:pt x="522" y="169"/>
                    </a:cubicBezTo>
                    <a:cubicBezTo>
                      <a:pt x="522" y="170"/>
                      <a:pt x="523" y="170"/>
                      <a:pt x="523" y="170"/>
                    </a:cubicBezTo>
                    <a:cubicBezTo>
                      <a:pt x="524" y="169"/>
                      <a:pt x="524" y="169"/>
                      <a:pt x="525" y="169"/>
                    </a:cubicBezTo>
                    <a:cubicBezTo>
                      <a:pt x="525" y="169"/>
                      <a:pt x="524" y="169"/>
                      <a:pt x="524" y="169"/>
                    </a:cubicBezTo>
                    <a:cubicBezTo>
                      <a:pt x="524" y="169"/>
                      <a:pt x="525" y="168"/>
                      <a:pt x="525" y="168"/>
                    </a:cubicBezTo>
                    <a:cubicBezTo>
                      <a:pt x="525" y="168"/>
                      <a:pt x="524" y="168"/>
                      <a:pt x="524" y="167"/>
                    </a:cubicBezTo>
                    <a:close/>
                    <a:moveTo>
                      <a:pt x="441" y="53"/>
                    </a:moveTo>
                    <a:cubicBezTo>
                      <a:pt x="441" y="53"/>
                      <a:pt x="440" y="53"/>
                      <a:pt x="440" y="53"/>
                    </a:cubicBezTo>
                    <a:cubicBezTo>
                      <a:pt x="442" y="54"/>
                      <a:pt x="445" y="53"/>
                      <a:pt x="447" y="53"/>
                    </a:cubicBezTo>
                    <a:cubicBezTo>
                      <a:pt x="448" y="53"/>
                      <a:pt x="448" y="53"/>
                      <a:pt x="449" y="53"/>
                    </a:cubicBezTo>
                    <a:cubicBezTo>
                      <a:pt x="449" y="53"/>
                      <a:pt x="450" y="52"/>
                      <a:pt x="450" y="52"/>
                    </a:cubicBezTo>
                    <a:cubicBezTo>
                      <a:pt x="451" y="52"/>
                      <a:pt x="451" y="52"/>
                      <a:pt x="451" y="52"/>
                    </a:cubicBezTo>
                    <a:cubicBezTo>
                      <a:pt x="452" y="52"/>
                      <a:pt x="451" y="52"/>
                      <a:pt x="451" y="51"/>
                    </a:cubicBezTo>
                    <a:cubicBezTo>
                      <a:pt x="451" y="51"/>
                      <a:pt x="450" y="51"/>
                      <a:pt x="449" y="51"/>
                    </a:cubicBezTo>
                    <a:cubicBezTo>
                      <a:pt x="448" y="51"/>
                      <a:pt x="447" y="51"/>
                      <a:pt x="446" y="51"/>
                    </a:cubicBezTo>
                    <a:cubicBezTo>
                      <a:pt x="444" y="52"/>
                      <a:pt x="442" y="52"/>
                      <a:pt x="440" y="52"/>
                    </a:cubicBezTo>
                    <a:cubicBezTo>
                      <a:pt x="440" y="52"/>
                      <a:pt x="438" y="52"/>
                      <a:pt x="438" y="53"/>
                    </a:cubicBezTo>
                    <a:cubicBezTo>
                      <a:pt x="438" y="54"/>
                      <a:pt x="440" y="53"/>
                      <a:pt x="441" y="53"/>
                    </a:cubicBezTo>
                    <a:close/>
                    <a:moveTo>
                      <a:pt x="326" y="129"/>
                    </a:moveTo>
                    <a:cubicBezTo>
                      <a:pt x="326" y="129"/>
                      <a:pt x="326" y="129"/>
                      <a:pt x="326" y="130"/>
                    </a:cubicBezTo>
                    <a:cubicBezTo>
                      <a:pt x="326" y="130"/>
                      <a:pt x="325" y="130"/>
                      <a:pt x="326" y="130"/>
                    </a:cubicBezTo>
                    <a:cubicBezTo>
                      <a:pt x="326" y="130"/>
                      <a:pt x="326" y="130"/>
                      <a:pt x="326" y="130"/>
                    </a:cubicBezTo>
                    <a:cubicBezTo>
                      <a:pt x="326" y="130"/>
                      <a:pt x="327" y="130"/>
                      <a:pt x="327" y="129"/>
                    </a:cubicBezTo>
                    <a:cubicBezTo>
                      <a:pt x="327" y="130"/>
                      <a:pt x="328" y="129"/>
                      <a:pt x="328" y="129"/>
                    </a:cubicBezTo>
                    <a:cubicBezTo>
                      <a:pt x="328" y="128"/>
                      <a:pt x="326" y="129"/>
                      <a:pt x="326" y="129"/>
                    </a:cubicBezTo>
                    <a:close/>
                    <a:moveTo>
                      <a:pt x="481" y="126"/>
                    </a:moveTo>
                    <a:cubicBezTo>
                      <a:pt x="480" y="126"/>
                      <a:pt x="480" y="127"/>
                      <a:pt x="481" y="127"/>
                    </a:cubicBezTo>
                    <a:cubicBezTo>
                      <a:pt x="481" y="127"/>
                      <a:pt x="481" y="128"/>
                      <a:pt x="481" y="128"/>
                    </a:cubicBezTo>
                    <a:cubicBezTo>
                      <a:pt x="481" y="128"/>
                      <a:pt x="481" y="128"/>
                      <a:pt x="482" y="128"/>
                    </a:cubicBezTo>
                    <a:cubicBezTo>
                      <a:pt x="482" y="128"/>
                      <a:pt x="483" y="127"/>
                      <a:pt x="484" y="127"/>
                    </a:cubicBezTo>
                    <a:cubicBezTo>
                      <a:pt x="485" y="126"/>
                      <a:pt x="486" y="125"/>
                      <a:pt x="486" y="124"/>
                    </a:cubicBezTo>
                    <a:cubicBezTo>
                      <a:pt x="487" y="123"/>
                      <a:pt x="487" y="123"/>
                      <a:pt x="486" y="123"/>
                    </a:cubicBezTo>
                    <a:cubicBezTo>
                      <a:pt x="485" y="122"/>
                      <a:pt x="485" y="123"/>
                      <a:pt x="484" y="123"/>
                    </a:cubicBezTo>
                    <a:cubicBezTo>
                      <a:pt x="484" y="123"/>
                      <a:pt x="483" y="123"/>
                      <a:pt x="483" y="124"/>
                    </a:cubicBezTo>
                    <a:cubicBezTo>
                      <a:pt x="482" y="124"/>
                      <a:pt x="482" y="124"/>
                      <a:pt x="482" y="125"/>
                    </a:cubicBezTo>
                    <a:cubicBezTo>
                      <a:pt x="482" y="125"/>
                      <a:pt x="483" y="125"/>
                      <a:pt x="482" y="125"/>
                    </a:cubicBezTo>
                    <a:cubicBezTo>
                      <a:pt x="482" y="126"/>
                      <a:pt x="481" y="126"/>
                      <a:pt x="481" y="126"/>
                    </a:cubicBezTo>
                    <a:close/>
                    <a:moveTo>
                      <a:pt x="518" y="164"/>
                    </a:moveTo>
                    <a:cubicBezTo>
                      <a:pt x="517" y="164"/>
                      <a:pt x="519" y="164"/>
                      <a:pt x="519" y="164"/>
                    </a:cubicBezTo>
                    <a:cubicBezTo>
                      <a:pt x="519" y="164"/>
                      <a:pt x="520" y="164"/>
                      <a:pt x="520" y="164"/>
                    </a:cubicBezTo>
                    <a:cubicBezTo>
                      <a:pt x="521" y="163"/>
                      <a:pt x="521" y="163"/>
                      <a:pt x="521" y="163"/>
                    </a:cubicBezTo>
                    <a:cubicBezTo>
                      <a:pt x="521" y="163"/>
                      <a:pt x="518" y="163"/>
                      <a:pt x="518" y="164"/>
                    </a:cubicBezTo>
                    <a:close/>
                    <a:moveTo>
                      <a:pt x="495" y="195"/>
                    </a:moveTo>
                    <a:cubicBezTo>
                      <a:pt x="494" y="195"/>
                      <a:pt x="493" y="195"/>
                      <a:pt x="493" y="195"/>
                    </a:cubicBezTo>
                    <a:cubicBezTo>
                      <a:pt x="492" y="195"/>
                      <a:pt x="490" y="196"/>
                      <a:pt x="491" y="196"/>
                    </a:cubicBezTo>
                    <a:cubicBezTo>
                      <a:pt x="491" y="196"/>
                      <a:pt x="492" y="196"/>
                      <a:pt x="492" y="196"/>
                    </a:cubicBezTo>
                    <a:cubicBezTo>
                      <a:pt x="493" y="196"/>
                      <a:pt x="494" y="196"/>
                      <a:pt x="494" y="195"/>
                    </a:cubicBezTo>
                    <a:cubicBezTo>
                      <a:pt x="494" y="195"/>
                      <a:pt x="494" y="195"/>
                      <a:pt x="494" y="195"/>
                    </a:cubicBezTo>
                    <a:cubicBezTo>
                      <a:pt x="494" y="195"/>
                      <a:pt x="494" y="195"/>
                      <a:pt x="495" y="195"/>
                    </a:cubicBezTo>
                    <a:cubicBezTo>
                      <a:pt x="495" y="195"/>
                      <a:pt x="495" y="195"/>
                      <a:pt x="495" y="195"/>
                    </a:cubicBezTo>
                    <a:close/>
                    <a:moveTo>
                      <a:pt x="455" y="240"/>
                    </a:moveTo>
                    <a:cubicBezTo>
                      <a:pt x="454" y="240"/>
                      <a:pt x="454" y="240"/>
                      <a:pt x="454" y="240"/>
                    </a:cubicBezTo>
                    <a:cubicBezTo>
                      <a:pt x="453" y="240"/>
                      <a:pt x="453" y="240"/>
                      <a:pt x="453" y="240"/>
                    </a:cubicBezTo>
                    <a:cubicBezTo>
                      <a:pt x="453" y="241"/>
                      <a:pt x="452" y="241"/>
                      <a:pt x="451" y="241"/>
                    </a:cubicBezTo>
                    <a:cubicBezTo>
                      <a:pt x="451" y="241"/>
                      <a:pt x="450" y="242"/>
                      <a:pt x="451" y="242"/>
                    </a:cubicBezTo>
                    <a:cubicBezTo>
                      <a:pt x="453" y="241"/>
                      <a:pt x="455" y="240"/>
                      <a:pt x="457" y="239"/>
                    </a:cubicBezTo>
                    <a:cubicBezTo>
                      <a:pt x="456" y="239"/>
                      <a:pt x="456" y="240"/>
                      <a:pt x="455" y="240"/>
                    </a:cubicBezTo>
                    <a:close/>
                    <a:moveTo>
                      <a:pt x="604" y="234"/>
                    </a:moveTo>
                    <a:cubicBezTo>
                      <a:pt x="604" y="234"/>
                      <a:pt x="604" y="234"/>
                      <a:pt x="604" y="234"/>
                    </a:cubicBezTo>
                    <a:cubicBezTo>
                      <a:pt x="603" y="234"/>
                      <a:pt x="603" y="235"/>
                      <a:pt x="603" y="235"/>
                    </a:cubicBezTo>
                    <a:cubicBezTo>
                      <a:pt x="602" y="235"/>
                      <a:pt x="601" y="236"/>
                      <a:pt x="601" y="236"/>
                    </a:cubicBezTo>
                    <a:cubicBezTo>
                      <a:pt x="601" y="237"/>
                      <a:pt x="601" y="237"/>
                      <a:pt x="601" y="237"/>
                    </a:cubicBezTo>
                    <a:cubicBezTo>
                      <a:pt x="601" y="237"/>
                      <a:pt x="601" y="237"/>
                      <a:pt x="601" y="237"/>
                    </a:cubicBezTo>
                    <a:cubicBezTo>
                      <a:pt x="602" y="237"/>
                      <a:pt x="602" y="237"/>
                      <a:pt x="602" y="237"/>
                    </a:cubicBezTo>
                    <a:cubicBezTo>
                      <a:pt x="602" y="238"/>
                      <a:pt x="602" y="238"/>
                      <a:pt x="603" y="237"/>
                    </a:cubicBezTo>
                    <a:cubicBezTo>
                      <a:pt x="603" y="237"/>
                      <a:pt x="603" y="237"/>
                      <a:pt x="603" y="237"/>
                    </a:cubicBezTo>
                    <a:cubicBezTo>
                      <a:pt x="603" y="237"/>
                      <a:pt x="603" y="237"/>
                      <a:pt x="603" y="237"/>
                    </a:cubicBezTo>
                    <a:cubicBezTo>
                      <a:pt x="603" y="237"/>
                      <a:pt x="604" y="236"/>
                      <a:pt x="603" y="236"/>
                    </a:cubicBezTo>
                    <a:cubicBezTo>
                      <a:pt x="603" y="236"/>
                      <a:pt x="602" y="236"/>
                      <a:pt x="602" y="236"/>
                    </a:cubicBezTo>
                    <a:cubicBezTo>
                      <a:pt x="601" y="236"/>
                      <a:pt x="603" y="236"/>
                      <a:pt x="603" y="236"/>
                    </a:cubicBezTo>
                    <a:cubicBezTo>
                      <a:pt x="603" y="236"/>
                      <a:pt x="604" y="235"/>
                      <a:pt x="603" y="236"/>
                    </a:cubicBezTo>
                    <a:cubicBezTo>
                      <a:pt x="604" y="235"/>
                      <a:pt x="604" y="235"/>
                      <a:pt x="604" y="235"/>
                    </a:cubicBezTo>
                    <a:cubicBezTo>
                      <a:pt x="604" y="235"/>
                      <a:pt x="604" y="235"/>
                      <a:pt x="604" y="235"/>
                    </a:cubicBezTo>
                    <a:cubicBezTo>
                      <a:pt x="604" y="235"/>
                      <a:pt x="604" y="235"/>
                      <a:pt x="604" y="235"/>
                    </a:cubicBezTo>
                    <a:cubicBezTo>
                      <a:pt x="605" y="234"/>
                      <a:pt x="604" y="235"/>
                      <a:pt x="604" y="234"/>
                    </a:cubicBezTo>
                    <a:close/>
                    <a:moveTo>
                      <a:pt x="456" y="245"/>
                    </a:moveTo>
                    <a:cubicBezTo>
                      <a:pt x="456" y="245"/>
                      <a:pt x="456" y="245"/>
                      <a:pt x="456" y="245"/>
                    </a:cubicBezTo>
                    <a:cubicBezTo>
                      <a:pt x="456" y="245"/>
                      <a:pt x="455" y="245"/>
                      <a:pt x="455" y="245"/>
                    </a:cubicBezTo>
                    <a:cubicBezTo>
                      <a:pt x="456" y="244"/>
                      <a:pt x="458" y="243"/>
                      <a:pt x="458" y="242"/>
                    </a:cubicBezTo>
                    <a:cubicBezTo>
                      <a:pt x="457" y="242"/>
                      <a:pt x="455" y="244"/>
                      <a:pt x="454" y="245"/>
                    </a:cubicBezTo>
                    <a:cubicBezTo>
                      <a:pt x="454" y="245"/>
                      <a:pt x="454" y="245"/>
                      <a:pt x="453" y="245"/>
                    </a:cubicBezTo>
                    <a:cubicBezTo>
                      <a:pt x="453" y="245"/>
                      <a:pt x="453" y="245"/>
                      <a:pt x="453" y="245"/>
                    </a:cubicBezTo>
                    <a:cubicBezTo>
                      <a:pt x="452" y="245"/>
                      <a:pt x="451" y="246"/>
                      <a:pt x="451" y="246"/>
                    </a:cubicBezTo>
                    <a:cubicBezTo>
                      <a:pt x="451" y="245"/>
                      <a:pt x="452" y="245"/>
                      <a:pt x="453" y="244"/>
                    </a:cubicBezTo>
                    <a:cubicBezTo>
                      <a:pt x="453" y="244"/>
                      <a:pt x="455" y="243"/>
                      <a:pt x="455" y="243"/>
                    </a:cubicBezTo>
                    <a:cubicBezTo>
                      <a:pt x="454" y="243"/>
                      <a:pt x="453" y="244"/>
                      <a:pt x="452" y="244"/>
                    </a:cubicBezTo>
                    <a:cubicBezTo>
                      <a:pt x="452" y="245"/>
                      <a:pt x="451" y="246"/>
                      <a:pt x="450" y="246"/>
                    </a:cubicBezTo>
                    <a:cubicBezTo>
                      <a:pt x="450" y="245"/>
                      <a:pt x="450" y="245"/>
                      <a:pt x="449" y="245"/>
                    </a:cubicBezTo>
                    <a:cubicBezTo>
                      <a:pt x="449" y="245"/>
                      <a:pt x="450" y="245"/>
                      <a:pt x="450" y="245"/>
                    </a:cubicBezTo>
                    <a:cubicBezTo>
                      <a:pt x="451" y="244"/>
                      <a:pt x="453" y="243"/>
                      <a:pt x="455" y="242"/>
                    </a:cubicBezTo>
                    <a:cubicBezTo>
                      <a:pt x="456" y="241"/>
                      <a:pt x="456" y="240"/>
                      <a:pt x="457" y="240"/>
                    </a:cubicBezTo>
                    <a:cubicBezTo>
                      <a:pt x="457" y="239"/>
                      <a:pt x="457" y="238"/>
                      <a:pt x="458" y="238"/>
                    </a:cubicBezTo>
                    <a:cubicBezTo>
                      <a:pt x="457" y="239"/>
                      <a:pt x="457" y="240"/>
                      <a:pt x="456" y="241"/>
                    </a:cubicBezTo>
                    <a:cubicBezTo>
                      <a:pt x="456" y="242"/>
                      <a:pt x="454" y="242"/>
                      <a:pt x="454" y="243"/>
                    </a:cubicBezTo>
                    <a:cubicBezTo>
                      <a:pt x="454" y="243"/>
                      <a:pt x="455" y="242"/>
                      <a:pt x="455" y="242"/>
                    </a:cubicBezTo>
                    <a:cubicBezTo>
                      <a:pt x="455" y="242"/>
                      <a:pt x="455" y="242"/>
                      <a:pt x="456" y="242"/>
                    </a:cubicBezTo>
                    <a:cubicBezTo>
                      <a:pt x="456" y="242"/>
                      <a:pt x="457" y="241"/>
                      <a:pt x="457" y="240"/>
                    </a:cubicBezTo>
                    <a:cubicBezTo>
                      <a:pt x="458" y="240"/>
                      <a:pt x="458" y="239"/>
                      <a:pt x="459" y="239"/>
                    </a:cubicBezTo>
                    <a:cubicBezTo>
                      <a:pt x="459" y="239"/>
                      <a:pt x="460" y="237"/>
                      <a:pt x="460" y="238"/>
                    </a:cubicBezTo>
                    <a:cubicBezTo>
                      <a:pt x="460" y="238"/>
                      <a:pt x="460" y="238"/>
                      <a:pt x="460" y="238"/>
                    </a:cubicBezTo>
                    <a:cubicBezTo>
                      <a:pt x="461" y="238"/>
                      <a:pt x="460" y="239"/>
                      <a:pt x="461" y="240"/>
                    </a:cubicBezTo>
                    <a:cubicBezTo>
                      <a:pt x="461" y="240"/>
                      <a:pt x="461" y="239"/>
                      <a:pt x="461" y="240"/>
                    </a:cubicBezTo>
                    <a:cubicBezTo>
                      <a:pt x="461" y="240"/>
                      <a:pt x="461" y="240"/>
                      <a:pt x="460" y="241"/>
                    </a:cubicBezTo>
                    <a:cubicBezTo>
                      <a:pt x="461" y="241"/>
                      <a:pt x="461" y="241"/>
                      <a:pt x="461" y="241"/>
                    </a:cubicBezTo>
                    <a:cubicBezTo>
                      <a:pt x="459" y="242"/>
                      <a:pt x="457" y="244"/>
                      <a:pt x="456" y="245"/>
                    </a:cubicBezTo>
                    <a:close/>
                    <a:moveTo>
                      <a:pt x="458" y="243"/>
                    </a:moveTo>
                    <a:cubicBezTo>
                      <a:pt x="458" y="243"/>
                      <a:pt x="458" y="243"/>
                      <a:pt x="459" y="242"/>
                    </a:cubicBezTo>
                    <a:cubicBezTo>
                      <a:pt x="459" y="242"/>
                      <a:pt x="460" y="242"/>
                      <a:pt x="460" y="241"/>
                    </a:cubicBezTo>
                    <a:cubicBezTo>
                      <a:pt x="460" y="241"/>
                      <a:pt x="460" y="240"/>
                      <a:pt x="461" y="240"/>
                    </a:cubicBezTo>
                    <a:cubicBezTo>
                      <a:pt x="460" y="240"/>
                      <a:pt x="459" y="241"/>
                      <a:pt x="459" y="242"/>
                    </a:cubicBezTo>
                    <a:cubicBezTo>
                      <a:pt x="459" y="242"/>
                      <a:pt x="459" y="242"/>
                      <a:pt x="459" y="242"/>
                    </a:cubicBezTo>
                    <a:cubicBezTo>
                      <a:pt x="459" y="242"/>
                      <a:pt x="458" y="243"/>
                      <a:pt x="458" y="243"/>
                    </a:cubicBezTo>
                    <a:close/>
                    <a:moveTo>
                      <a:pt x="462" y="242"/>
                    </a:moveTo>
                    <a:cubicBezTo>
                      <a:pt x="463" y="242"/>
                      <a:pt x="463" y="240"/>
                      <a:pt x="463" y="240"/>
                    </a:cubicBezTo>
                    <a:cubicBezTo>
                      <a:pt x="464" y="239"/>
                      <a:pt x="462" y="240"/>
                      <a:pt x="462" y="240"/>
                    </a:cubicBezTo>
                    <a:cubicBezTo>
                      <a:pt x="461" y="241"/>
                      <a:pt x="460" y="242"/>
                      <a:pt x="459" y="243"/>
                    </a:cubicBezTo>
                    <a:cubicBezTo>
                      <a:pt x="460" y="243"/>
                      <a:pt x="460" y="242"/>
                      <a:pt x="461" y="242"/>
                    </a:cubicBezTo>
                    <a:cubicBezTo>
                      <a:pt x="461" y="242"/>
                      <a:pt x="462" y="242"/>
                      <a:pt x="462" y="242"/>
                    </a:cubicBezTo>
                    <a:close/>
                    <a:moveTo>
                      <a:pt x="424" y="273"/>
                    </a:moveTo>
                    <a:cubicBezTo>
                      <a:pt x="424" y="272"/>
                      <a:pt x="420" y="273"/>
                      <a:pt x="419" y="273"/>
                    </a:cubicBezTo>
                    <a:cubicBezTo>
                      <a:pt x="419" y="273"/>
                      <a:pt x="418" y="273"/>
                      <a:pt x="417" y="273"/>
                    </a:cubicBezTo>
                    <a:cubicBezTo>
                      <a:pt x="417" y="274"/>
                      <a:pt x="416" y="274"/>
                      <a:pt x="416" y="274"/>
                    </a:cubicBezTo>
                    <a:cubicBezTo>
                      <a:pt x="415" y="275"/>
                      <a:pt x="416" y="276"/>
                      <a:pt x="417" y="276"/>
                    </a:cubicBezTo>
                    <a:cubicBezTo>
                      <a:pt x="418" y="276"/>
                      <a:pt x="419" y="277"/>
                      <a:pt x="420" y="277"/>
                    </a:cubicBezTo>
                    <a:cubicBezTo>
                      <a:pt x="420" y="277"/>
                      <a:pt x="421" y="277"/>
                      <a:pt x="421" y="277"/>
                    </a:cubicBezTo>
                    <a:cubicBezTo>
                      <a:pt x="421" y="277"/>
                      <a:pt x="421" y="277"/>
                      <a:pt x="422" y="278"/>
                    </a:cubicBezTo>
                    <a:cubicBezTo>
                      <a:pt x="422" y="278"/>
                      <a:pt x="423" y="278"/>
                      <a:pt x="423" y="278"/>
                    </a:cubicBezTo>
                    <a:cubicBezTo>
                      <a:pt x="424" y="278"/>
                      <a:pt x="424" y="279"/>
                      <a:pt x="425" y="278"/>
                    </a:cubicBezTo>
                    <a:cubicBezTo>
                      <a:pt x="425" y="278"/>
                      <a:pt x="425" y="278"/>
                      <a:pt x="425" y="277"/>
                    </a:cubicBezTo>
                    <a:cubicBezTo>
                      <a:pt x="425" y="276"/>
                      <a:pt x="425" y="276"/>
                      <a:pt x="425" y="275"/>
                    </a:cubicBezTo>
                    <a:cubicBezTo>
                      <a:pt x="425" y="275"/>
                      <a:pt x="424" y="274"/>
                      <a:pt x="424" y="273"/>
                    </a:cubicBezTo>
                    <a:close/>
                    <a:moveTo>
                      <a:pt x="557" y="316"/>
                    </a:moveTo>
                    <a:cubicBezTo>
                      <a:pt x="558" y="316"/>
                      <a:pt x="559" y="316"/>
                      <a:pt x="561" y="317"/>
                    </a:cubicBezTo>
                    <a:cubicBezTo>
                      <a:pt x="562" y="317"/>
                      <a:pt x="563" y="317"/>
                      <a:pt x="564" y="317"/>
                    </a:cubicBezTo>
                    <a:cubicBezTo>
                      <a:pt x="565" y="317"/>
                      <a:pt x="567" y="316"/>
                      <a:pt x="566" y="315"/>
                    </a:cubicBezTo>
                    <a:cubicBezTo>
                      <a:pt x="565" y="314"/>
                      <a:pt x="565" y="314"/>
                      <a:pt x="564" y="314"/>
                    </a:cubicBezTo>
                    <a:cubicBezTo>
                      <a:pt x="564" y="313"/>
                      <a:pt x="563" y="313"/>
                      <a:pt x="563" y="313"/>
                    </a:cubicBezTo>
                    <a:cubicBezTo>
                      <a:pt x="562" y="313"/>
                      <a:pt x="563" y="313"/>
                      <a:pt x="562" y="313"/>
                    </a:cubicBezTo>
                    <a:cubicBezTo>
                      <a:pt x="562" y="312"/>
                      <a:pt x="562" y="312"/>
                      <a:pt x="562" y="312"/>
                    </a:cubicBezTo>
                    <a:cubicBezTo>
                      <a:pt x="561" y="312"/>
                      <a:pt x="561" y="312"/>
                      <a:pt x="561" y="311"/>
                    </a:cubicBezTo>
                    <a:cubicBezTo>
                      <a:pt x="560" y="311"/>
                      <a:pt x="560" y="311"/>
                      <a:pt x="559" y="310"/>
                    </a:cubicBezTo>
                    <a:cubicBezTo>
                      <a:pt x="559" y="310"/>
                      <a:pt x="558" y="310"/>
                      <a:pt x="558" y="310"/>
                    </a:cubicBezTo>
                    <a:cubicBezTo>
                      <a:pt x="558" y="310"/>
                      <a:pt x="557" y="310"/>
                      <a:pt x="557" y="310"/>
                    </a:cubicBezTo>
                    <a:cubicBezTo>
                      <a:pt x="556" y="309"/>
                      <a:pt x="555" y="309"/>
                      <a:pt x="554" y="309"/>
                    </a:cubicBezTo>
                    <a:cubicBezTo>
                      <a:pt x="551" y="308"/>
                      <a:pt x="549" y="307"/>
                      <a:pt x="547" y="308"/>
                    </a:cubicBezTo>
                    <a:cubicBezTo>
                      <a:pt x="546" y="308"/>
                      <a:pt x="545" y="308"/>
                      <a:pt x="546" y="309"/>
                    </a:cubicBezTo>
                    <a:cubicBezTo>
                      <a:pt x="546" y="309"/>
                      <a:pt x="546" y="309"/>
                      <a:pt x="546" y="309"/>
                    </a:cubicBezTo>
                    <a:cubicBezTo>
                      <a:pt x="546" y="309"/>
                      <a:pt x="547" y="309"/>
                      <a:pt x="547" y="309"/>
                    </a:cubicBezTo>
                    <a:cubicBezTo>
                      <a:pt x="548" y="310"/>
                      <a:pt x="549" y="310"/>
                      <a:pt x="550" y="311"/>
                    </a:cubicBezTo>
                    <a:cubicBezTo>
                      <a:pt x="550" y="311"/>
                      <a:pt x="551" y="312"/>
                      <a:pt x="551" y="312"/>
                    </a:cubicBezTo>
                    <a:cubicBezTo>
                      <a:pt x="551" y="312"/>
                      <a:pt x="551" y="313"/>
                      <a:pt x="551" y="313"/>
                    </a:cubicBezTo>
                    <a:cubicBezTo>
                      <a:pt x="551" y="314"/>
                      <a:pt x="553" y="314"/>
                      <a:pt x="553" y="314"/>
                    </a:cubicBezTo>
                    <a:cubicBezTo>
                      <a:pt x="554" y="315"/>
                      <a:pt x="555" y="315"/>
                      <a:pt x="557" y="316"/>
                    </a:cubicBezTo>
                    <a:close/>
                    <a:moveTo>
                      <a:pt x="341" y="319"/>
                    </a:moveTo>
                    <a:cubicBezTo>
                      <a:pt x="341" y="319"/>
                      <a:pt x="340" y="320"/>
                      <a:pt x="340" y="320"/>
                    </a:cubicBezTo>
                    <a:cubicBezTo>
                      <a:pt x="340" y="321"/>
                      <a:pt x="340" y="321"/>
                      <a:pt x="340" y="320"/>
                    </a:cubicBezTo>
                    <a:cubicBezTo>
                      <a:pt x="341" y="320"/>
                      <a:pt x="341" y="320"/>
                      <a:pt x="342" y="320"/>
                    </a:cubicBezTo>
                    <a:cubicBezTo>
                      <a:pt x="342" y="320"/>
                      <a:pt x="342" y="320"/>
                      <a:pt x="342" y="320"/>
                    </a:cubicBezTo>
                    <a:cubicBezTo>
                      <a:pt x="343" y="320"/>
                      <a:pt x="343" y="320"/>
                      <a:pt x="343" y="319"/>
                    </a:cubicBezTo>
                    <a:cubicBezTo>
                      <a:pt x="343" y="319"/>
                      <a:pt x="342" y="319"/>
                      <a:pt x="341" y="319"/>
                    </a:cubicBezTo>
                    <a:close/>
                    <a:moveTo>
                      <a:pt x="629" y="326"/>
                    </a:moveTo>
                    <a:cubicBezTo>
                      <a:pt x="629" y="326"/>
                      <a:pt x="630" y="326"/>
                      <a:pt x="630" y="326"/>
                    </a:cubicBezTo>
                    <a:cubicBezTo>
                      <a:pt x="631" y="326"/>
                      <a:pt x="631" y="326"/>
                      <a:pt x="632" y="326"/>
                    </a:cubicBezTo>
                    <a:cubicBezTo>
                      <a:pt x="632" y="325"/>
                      <a:pt x="633" y="325"/>
                      <a:pt x="633" y="325"/>
                    </a:cubicBezTo>
                    <a:cubicBezTo>
                      <a:pt x="634" y="325"/>
                      <a:pt x="634" y="324"/>
                      <a:pt x="634" y="324"/>
                    </a:cubicBezTo>
                    <a:cubicBezTo>
                      <a:pt x="635" y="324"/>
                      <a:pt x="635" y="325"/>
                      <a:pt x="636" y="324"/>
                    </a:cubicBezTo>
                    <a:cubicBezTo>
                      <a:pt x="636" y="324"/>
                      <a:pt x="636" y="324"/>
                      <a:pt x="637" y="323"/>
                    </a:cubicBezTo>
                    <a:cubicBezTo>
                      <a:pt x="637" y="323"/>
                      <a:pt x="638" y="322"/>
                      <a:pt x="638" y="321"/>
                    </a:cubicBezTo>
                    <a:cubicBezTo>
                      <a:pt x="637" y="321"/>
                      <a:pt x="637" y="321"/>
                      <a:pt x="637" y="321"/>
                    </a:cubicBezTo>
                    <a:cubicBezTo>
                      <a:pt x="636" y="322"/>
                      <a:pt x="636" y="322"/>
                      <a:pt x="635" y="322"/>
                    </a:cubicBezTo>
                    <a:cubicBezTo>
                      <a:pt x="635" y="323"/>
                      <a:pt x="635" y="322"/>
                      <a:pt x="635" y="322"/>
                    </a:cubicBezTo>
                    <a:cubicBezTo>
                      <a:pt x="635" y="322"/>
                      <a:pt x="635" y="322"/>
                      <a:pt x="634" y="322"/>
                    </a:cubicBezTo>
                    <a:cubicBezTo>
                      <a:pt x="634" y="322"/>
                      <a:pt x="634" y="322"/>
                      <a:pt x="633" y="322"/>
                    </a:cubicBezTo>
                    <a:cubicBezTo>
                      <a:pt x="633" y="323"/>
                      <a:pt x="632" y="323"/>
                      <a:pt x="632" y="324"/>
                    </a:cubicBezTo>
                    <a:cubicBezTo>
                      <a:pt x="632" y="324"/>
                      <a:pt x="632" y="323"/>
                      <a:pt x="632" y="323"/>
                    </a:cubicBezTo>
                    <a:cubicBezTo>
                      <a:pt x="632" y="323"/>
                      <a:pt x="632" y="323"/>
                      <a:pt x="632" y="323"/>
                    </a:cubicBezTo>
                    <a:cubicBezTo>
                      <a:pt x="632" y="323"/>
                      <a:pt x="632" y="323"/>
                      <a:pt x="632" y="323"/>
                    </a:cubicBezTo>
                    <a:cubicBezTo>
                      <a:pt x="631" y="324"/>
                      <a:pt x="631" y="324"/>
                      <a:pt x="631" y="324"/>
                    </a:cubicBezTo>
                    <a:cubicBezTo>
                      <a:pt x="631" y="324"/>
                      <a:pt x="632" y="323"/>
                      <a:pt x="632" y="323"/>
                    </a:cubicBezTo>
                    <a:cubicBezTo>
                      <a:pt x="632" y="323"/>
                      <a:pt x="632" y="323"/>
                      <a:pt x="632" y="323"/>
                    </a:cubicBezTo>
                    <a:cubicBezTo>
                      <a:pt x="631" y="322"/>
                      <a:pt x="630" y="324"/>
                      <a:pt x="630" y="324"/>
                    </a:cubicBezTo>
                    <a:cubicBezTo>
                      <a:pt x="630" y="324"/>
                      <a:pt x="629" y="324"/>
                      <a:pt x="629" y="324"/>
                    </a:cubicBezTo>
                    <a:cubicBezTo>
                      <a:pt x="630" y="324"/>
                      <a:pt x="630" y="323"/>
                      <a:pt x="630" y="323"/>
                    </a:cubicBezTo>
                    <a:cubicBezTo>
                      <a:pt x="630" y="323"/>
                      <a:pt x="627" y="324"/>
                      <a:pt x="627" y="324"/>
                    </a:cubicBezTo>
                    <a:cubicBezTo>
                      <a:pt x="627" y="324"/>
                      <a:pt x="628" y="324"/>
                      <a:pt x="628" y="324"/>
                    </a:cubicBezTo>
                    <a:cubicBezTo>
                      <a:pt x="628" y="324"/>
                      <a:pt x="629" y="324"/>
                      <a:pt x="629" y="323"/>
                    </a:cubicBezTo>
                    <a:cubicBezTo>
                      <a:pt x="630" y="323"/>
                      <a:pt x="630" y="323"/>
                      <a:pt x="630" y="323"/>
                    </a:cubicBezTo>
                    <a:cubicBezTo>
                      <a:pt x="631" y="323"/>
                      <a:pt x="631" y="322"/>
                      <a:pt x="631" y="323"/>
                    </a:cubicBezTo>
                    <a:cubicBezTo>
                      <a:pt x="631" y="322"/>
                      <a:pt x="631" y="322"/>
                      <a:pt x="631" y="322"/>
                    </a:cubicBezTo>
                    <a:cubicBezTo>
                      <a:pt x="631" y="322"/>
                      <a:pt x="630" y="322"/>
                      <a:pt x="629" y="322"/>
                    </a:cubicBezTo>
                    <a:cubicBezTo>
                      <a:pt x="630" y="322"/>
                      <a:pt x="633" y="321"/>
                      <a:pt x="633" y="321"/>
                    </a:cubicBezTo>
                    <a:cubicBezTo>
                      <a:pt x="633" y="321"/>
                      <a:pt x="632" y="321"/>
                      <a:pt x="632" y="321"/>
                    </a:cubicBezTo>
                    <a:cubicBezTo>
                      <a:pt x="632" y="321"/>
                      <a:pt x="632" y="321"/>
                      <a:pt x="632" y="321"/>
                    </a:cubicBezTo>
                    <a:cubicBezTo>
                      <a:pt x="632" y="321"/>
                      <a:pt x="630" y="321"/>
                      <a:pt x="631" y="320"/>
                    </a:cubicBezTo>
                    <a:cubicBezTo>
                      <a:pt x="630" y="321"/>
                      <a:pt x="630" y="321"/>
                      <a:pt x="631" y="321"/>
                    </a:cubicBezTo>
                    <a:cubicBezTo>
                      <a:pt x="631" y="321"/>
                      <a:pt x="630" y="322"/>
                      <a:pt x="630" y="322"/>
                    </a:cubicBezTo>
                    <a:cubicBezTo>
                      <a:pt x="630" y="321"/>
                      <a:pt x="630" y="321"/>
                      <a:pt x="630" y="321"/>
                    </a:cubicBezTo>
                    <a:cubicBezTo>
                      <a:pt x="630" y="320"/>
                      <a:pt x="630" y="320"/>
                      <a:pt x="629" y="320"/>
                    </a:cubicBezTo>
                    <a:cubicBezTo>
                      <a:pt x="630" y="320"/>
                      <a:pt x="631" y="321"/>
                      <a:pt x="631" y="320"/>
                    </a:cubicBezTo>
                    <a:cubicBezTo>
                      <a:pt x="631" y="320"/>
                      <a:pt x="630" y="320"/>
                      <a:pt x="631" y="320"/>
                    </a:cubicBezTo>
                    <a:cubicBezTo>
                      <a:pt x="631" y="320"/>
                      <a:pt x="632" y="319"/>
                      <a:pt x="631" y="319"/>
                    </a:cubicBezTo>
                    <a:cubicBezTo>
                      <a:pt x="630" y="319"/>
                      <a:pt x="630" y="320"/>
                      <a:pt x="630" y="320"/>
                    </a:cubicBezTo>
                    <a:cubicBezTo>
                      <a:pt x="630" y="320"/>
                      <a:pt x="630" y="320"/>
                      <a:pt x="630" y="320"/>
                    </a:cubicBezTo>
                    <a:cubicBezTo>
                      <a:pt x="629" y="320"/>
                      <a:pt x="629" y="320"/>
                      <a:pt x="628" y="320"/>
                    </a:cubicBezTo>
                    <a:cubicBezTo>
                      <a:pt x="628" y="320"/>
                      <a:pt x="629" y="319"/>
                      <a:pt x="630" y="319"/>
                    </a:cubicBezTo>
                    <a:cubicBezTo>
                      <a:pt x="630" y="319"/>
                      <a:pt x="631" y="319"/>
                      <a:pt x="631" y="319"/>
                    </a:cubicBezTo>
                    <a:cubicBezTo>
                      <a:pt x="631" y="319"/>
                      <a:pt x="631" y="319"/>
                      <a:pt x="630" y="319"/>
                    </a:cubicBezTo>
                    <a:cubicBezTo>
                      <a:pt x="631" y="319"/>
                      <a:pt x="632" y="319"/>
                      <a:pt x="632" y="318"/>
                    </a:cubicBezTo>
                    <a:cubicBezTo>
                      <a:pt x="632" y="318"/>
                      <a:pt x="631" y="318"/>
                      <a:pt x="631" y="318"/>
                    </a:cubicBezTo>
                    <a:cubicBezTo>
                      <a:pt x="631" y="318"/>
                      <a:pt x="633" y="318"/>
                      <a:pt x="633" y="317"/>
                    </a:cubicBezTo>
                    <a:cubicBezTo>
                      <a:pt x="633" y="317"/>
                      <a:pt x="632" y="317"/>
                      <a:pt x="632" y="317"/>
                    </a:cubicBezTo>
                    <a:cubicBezTo>
                      <a:pt x="633" y="317"/>
                      <a:pt x="634" y="318"/>
                      <a:pt x="634" y="317"/>
                    </a:cubicBezTo>
                    <a:cubicBezTo>
                      <a:pt x="634" y="316"/>
                      <a:pt x="634" y="316"/>
                      <a:pt x="635" y="316"/>
                    </a:cubicBezTo>
                    <a:cubicBezTo>
                      <a:pt x="635" y="316"/>
                      <a:pt x="635" y="315"/>
                      <a:pt x="636" y="315"/>
                    </a:cubicBezTo>
                    <a:cubicBezTo>
                      <a:pt x="636" y="315"/>
                      <a:pt x="635" y="314"/>
                      <a:pt x="635" y="314"/>
                    </a:cubicBezTo>
                    <a:cubicBezTo>
                      <a:pt x="634" y="313"/>
                      <a:pt x="634" y="313"/>
                      <a:pt x="633" y="313"/>
                    </a:cubicBezTo>
                    <a:cubicBezTo>
                      <a:pt x="633" y="313"/>
                      <a:pt x="632" y="313"/>
                      <a:pt x="632" y="313"/>
                    </a:cubicBezTo>
                    <a:cubicBezTo>
                      <a:pt x="632" y="313"/>
                      <a:pt x="632" y="313"/>
                      <a:pt x="632" y="313"/>
                    </a:cubicBezTo>
                    <a:cubicBezTo>
                      <a:pt x="631" y="312"/>
                      <a:pt x="631" y="313"/>
                      <a:pt x="630" y="314"/>
                    </a:cubicBezTo>
                    <a:cubicBezTo>
                      <a:pt x="630" y="313"/>
                      <a:pt x="630" y="314"/>
                      <a:pt x="630" y="314"/>
                    </a:cubicBezTo>
                    <a:cubicBezTo>
                      <a:pt x="630" y="313"/>
                      <a:pt x="630" y="313"/>
                      <a:pt x="630" y="313"/>
                    </a:cubicBezTo>
                    <a:cubicBezTo>
                      <a:pt x="630" y="314"/>
                      <a:pt x="629" y="313"/>
                      <a:pt x="629" y="313"/>
                    </a:cubicBezTo>
                    <a:cubicBezTo>
                      <a:pt x="628" y="314"/>
                      <a:pt x="628" y="314"/>
                      <a:pt x="627" y="315"/>
                    </a:cubicBezTo>
                    <a:cubicBezTo>
                      <a:pt x="627" y="314"/>
                      <a:pt x="628" y="314"/>
                      <a:pt x="628" y="314"/>
                    </a:cubicBezTo>
                    <a:cubicBezTo>
                      <a:pt x="628" y="314"/>
                      <a:pt x="628" y="314"/>
                      <a:pt x="628" y="314"/>
                    </a:cubicBezTo>
                    <a:cubicBezTo>
                      <a:pt x="628" y="313"/>
                      <a:pt x="628" y="313"/>
                      <a:pt x="629" y="313"/>
                    </a:cubicBezTo>
                    <a:cubicBezTo>
                      <a:pt x="628" y="313"/>
                      <a:pt x="628" y="313"/>
                      <a:pt x="628" y="313"/>
                    </a:cubicBezTo>
                    <a:cubicBezTo>
                      <a:pt x="628" y="312"/>
                      <a:pt x="628" y="312"/>
                      <a:pt x="629" y="312"/>
                    </a:cubicBezTo>
                    <a:cubicBezTo>
                      <a:pt x="627" y="312"/>
                      <a:pt x="626" y="313"/>
                      <a:pt x="625" y="314"/>
                    </a:cubicBezTo>
                    <a:cubicBezTo>
                      <a:pt x="625" y="314"/>
                      <a:pt x="625" y="314"/>
                      <a:pt x="625" y="314"/>
                    </a:cubicBezTo>
                    <a:cubicBezTo>
                      <a:pt x="625" y="314"/>
                      <a:pt x="625" y="314"/>
                      <a:pt x="625" y="315"/>
                    </a:cubicBezTo>
                    <a:cubicBezTo>
                      <a:pt x="625" y="314"/>
                      <a:pt x="625" y="314"/>
                      <a:pt x="625" y="313"/>
                    </a:cubicBezTo>
                    <a:cubicBezTo>
                      <a:pt x="625" y="313"/>
                      <a:pt x="624" y="314"/>
                      <a:pt x="624" y="314"/>
                    </a:cubicBezTo>
                    <a:cubicBezTo>
                      <a:pt x="625" y="315"/>
                      <a:pt x="624" y="314"/>
                      <a:pt x="624" y="314"/>
                    </a:cubicBezTo>
                    <a:cubicBezTo>
                      <a:pt x="623" y="314"/>
                      <a:pt x="623" y="315"/>
                      <a:pt x="623" y="315"/>
                    </a:cubicBezTo>
                    <a:cubicBezTo>
                      <a:pt x="623" y="315"/>
                      <a:pt x="623" y="315"/>
                      <a:pt x="623" y="314"/>
                    </a:cubicBezTo>
                    <a:cubicBezTo>
                      <a:pt x="623" y="314"/>
                      <a:pt x="623" y="314"/>
                      <a:pt x="623" y="314"/>
                    </a:cubicBezTo>
                    <a:cubicBezTo>
                      <a:pt x="622" y="314"/>
                      <a:pt x="623" y="314"/>
                      <a:pt x="622" y="315"/>
                    </a:cubicBezTo>
                    <a:cubicBezTo>
                      <a:pt x="622" y="315"/>
                      <a:pt x="621" y="315"/>
                      <a:pt x="621" y="315"/>
                    </a:cubicBezTo>
                    <a:cubicBezTo>
                      <a:pt x="621" y="315"/>
                      <a:pt x="620" y="316"/>
                      <a:pt x="621" y="316"/>
                    </a:cubicBezTo>
                    <a:cubicBezTo>
                      <a:pt x="620" y="316"/>
                      <a:pt x="620" y="316"/>
                      <a:pt x="620" y="316"/>
                    </a:cubicBezTo>
                    <a:cubicBezTo>
                      <a:pt x="620" y="317"/>
                      <a:pt x="621" y="316"/>
                      <a:pt x="621" y="316"/>
                    </a:cubicBezTo>
                    <a:cubicBezTo>
                      <a:pt x="620" y="317"/>
                      <a:pt x="620" y="317"/>
                      <a:pt x="619" y="317"/>
                    </a:cubicBezTo>
                    <a:cubicBezTo>
                      <a:pt x="619" y="317"/>
                      <a:pt x="620" y="316"/>
                      <a:pt x="620" y="316"/>
                    </a:cubicBezTo>
                    <a:cubicBezTo>
                      <a:pt x="620" y="315"/>
                      <a:pt x="621" y="315"/>
                      <a:pt x="621" y="315"/>
                    </a:cubicBezTo>
                    <a:cubicBezTo>
                      <a:pt x="621" y="314"/>
                      <a:pt x="621" y="314"/>
                      <a:pt x="622" y="314"/>
                    </a:cubicBezTo>
                    <a:cubicBezTo>
                      <a:pt x="622" y="313"/>
                      <a:pt x="623" y="313"/>
                      <a:pt x="623" y="312"/>
                    </a:cubicBezTo>
                    <a:cubicBezTo>
                      <a:pt x="622" y="312"/>
                      <a:pt x="622" y="312"/>
                      <a:pt x="622" y="312"/>
                    </a:cubicBezTo>
                    <a:cubicBezTo>
                      <a:pt x="622" y="312"/>
                      <a:pt x="622" y="312"/>
                      <a:pt x="622" y="312"/>
                    </a:cubicBezTo>
                    <a:cubicBezTo>
                      <a:pt x="621" y="312"/>
                      <a:pt x="621" y="312"/>
                      <a:pt x="621" y="312"/>
                    </a:cubicBezTo>
                    <a:cubicBezTo>
                      <a:pt x="621" y="313"/>
                      <a:pt x="622" y="313"/>
                      <a:pt x="621" y="314"/>
                    </a:cubicBezTo>
                    <a:cubicBezTo>
                      <a:pt x="621" y="314"/>
                      <a:pt x="621" y="314"/>
                      <a:pt x="621" y="314"/>
                    </a:cubicBezTo>
                    <a:cubicBezTo>
                      <a:pt x="620" y="314"/>
                      <a:pt x="621" y="314"/>
                      <a:pt x="621" y="313"/>
                    </a:cubicBezTo>
                    <a:cubicBezTo>
                      <a:pt x="621" y="314"/>
                      <a:pt x="621" y="314"/>
                      <a:pt x="621" y="313"/>
                    </a:cubicBezTo>
                    <a:cubicBezTo>
                      <a:pt x="621" y="313"/>
                      <a:pt x="620" y="314"/>
                      <a:pt x="620" y="314"/>
                    </a:cubicBezTo>
                    <a:cubicBezTo>
                      <a:pt x="620" y="314"/>
                      <a:pt x="620" y="314"/>
                      <a:pt x="620" y="314"/>
                    </a:cubicBezTo>
                    <a:cubicBezTo>
                      <a:pt x="620" y="313"/>
                      <a:pt x="621" y="313"/>
                      <a:pt x="621" y="313"/>
                    </a:cubicBezTo>
                    <a:cubicBezTo>
                      <a:pt x="621" y="313"/>
                      <a:pt x="620" y="313"/>
                      <a:pt x="620" y="313"/>
                    </a:cubicBezTo>
                    <a:cubicBezTo>
                      <a:pt x="620" y="313"/>
                      <a:pt x="621" y="313"/>
                      <a:pt x="621" y="312"/>
                    </a:cubicBezTo>
                    <a:cubicBezTo>
                      <a:pt x="620" y="312"/>
                      <a:pt x="619" y="313"/>
                      <a:pt x="619" y="314"/>
                    </a:cubicBezTo>
                    <a:cubicBezTo>
                      <a:pt x="619" y="313"/>
                      <a:pt x="619" y="312"/>
                      <a:pt x="619" y="312"/>
                    </a:cubicBezTo>
                    <a:cubicBezTo>
                      <a:pt x="619" y="312"/>
                      <a:pt x="618" y="313"/>
                      <a:pt x="618" y="313"/>
                    </a:cubicBezTo>
                    <a:cubicBezTo>
                      <a:pt x="618" y="314"/>
                      <a:pt x="618" y="313"/>
                      <a:pt x="618" y="313"/>
                    </a:cubicBezTo>
                    <a:cubicBezTo>
                      <a:pt x="618" y="313"/>
                      <a:pt x="617" y="313"/>
                      <a:pt x="617" y="313"/>
                    </a:cubicBezTo>
                    <a:cubicBezTo>
                      <a:pt x="617" y="313"/>
                      <a:pt x="617" y="312"/>
                      <a:pt x="618" y="312"/>
                    </a:cubicBezTo>
                    <a:cubicBezTo>
                      <a:pt x="617" y="312"/>
                      <a:pt x="617" y="312"/>
                      <a:pt x="616" y="312"/>
                    </a:cubicBezTo>
                    <a:cubicBezTo>
                      <a:pt x="615" y="312"/>
                      <a:pt x="615" y="313"/>
                      <a:pt x="614" y="313"/>
                    </a:cubicBezTo>
                    <a:cubicBezTo>
                      <a:pt x="615" y="312"/>
                      <a:pt x="616" y="312"/>
                      <a:pt x="617" y="311"/>
                    </a:cubicBezTo>
                    <a:cubicBezTo>
                      <a:pt x="617" y="311"/>
                      <a:pt x="616" y="311"/>
                      <a:pt x="617" y="311"/>
                    </a:cubicBezTo>
                    <a:cubicBezTo>
                      <a:pt x="617" y="311"/>
                      <a:pt x="617" y="310"/>
                      <a:pt x="618" y="310"/>
                    </a:cubicBezTo>
                    <a:cubicBezTo>
                      <a:pt x="617" y="310"/>
                      <a:pt x="617" y="310"/>
                      <a:pt x="617" y="310"/>
                    </a:cubicBezTo>
                    <a:cubicBezTo>
                      <a:pt x="617" y="310"/>
                      <a:pt x="617" y="310"/>
                      <a:pt x="617" y="310"/>
                    </a:cubicBezTo>
                    <a:cubicBezTo>
                      <a:pt x="616" y="310"/>
                      <a:pt x="616" y="310"/>
                      <a:pt x="615" y="311"/>
                    </a:cubicBezTo>
                    <a:cubicBezTo>
                      <a:pt x="615" y="311"/>
                      <a:pt x="615" y="311"/>
                      <a:pt x="614" y="311"/>
                    </a:cubicBezTo>
                    <a:cubicBezTo>
                      <a:pt x="614" y="311"/>
                      <a:pt x="615" y="310"/>
                      <a:pt x="616" y="310"/>
                    </a:cubicBezTo>
                    <a:cubicBezTo>
                      <a:pt x="616" y="310"/>
                      <a:pt x="617" y="310"/>
                      <a:pt x="617" y="309"/>
                    </a:cubicBezTo>
                    <a:cubicBezTo>
                      <a:pt x="618" y="309"/>
                      <a:pt x="619" y="309"/>
                      <a:pt x="620" y="308"/>
                    </a:cubicBezTo>
                    <a:cubicBezTo>
                      <a:pt x="620" y="308"/>
                      <a:pt x="621" y="308"/>
                      <a:pt x="621" y="308"/>
                    </a:cubicBezTo>
                    <a:cubicBezTo>
                      <a:pt x="622" y="307"/>
                      <a:pt x="622" y="307"/>
                      <a:pt x="621" y="307"/>
                    </a:cubicBezTo>
                    <a:cubicBezTo>
                      <a:pt x="621" y="307"/>
                      <a:pt x="620" y="307"/>
                      <a:pt x="620" y="307"/>
                    </a:cubicBezTo>
                    <a:cubicBezTo>
                      <a:pt x="620" y="307"/>
                      <a:pt x="620" y="308"/>
                      <a:pt x="619" y="308"/>
                    </a:cubicBezTo>
                    <a:cubicBezTo>
                      <a:pt x="619" y="308"/>
                      <a:pt x="619" y="307"/>
                      <a:pt x="618" y="307"/>
                    </a:cubicBezTo>
                    <a:cubicBezTo>
                      <a:pt x="618" y="306"/>
                      <a:pt x="618" y="307"/>
                      <a:pt x="617" y="307"/>
                    </a:cubicBezTo>
                    <a:cubicBezTo>
                      <a:pt x="617" y="307"/>
                      <a:pt x="617" y="307"/>
                      <a:pt x="617" y="307"/>
                    </a:cubicBezTo>
                    <a:cubicBezTo>
                      <a:pt x="617" y="306"/>
                      <a:pt x="616" y="308"/>
                      <a:pt x="616" y="308"/>
                    </a:cubicBezTo>
                    <a:cubicBezTo>
                      <a:pt x="616" y="307"/>
                      <a:pt x="617" y="306"/>
                      <a:pt x="617" y="306"/>
                    </a:cubicBezTo>
                    <a:cubicBezTo>
                      <a:pt x="617" y="305"/>
                      <a:pt x="616" y="305"/>
                      <a:pt x="616" y="306"/>
                    </a:cubicBezTo>
                    <a:cubicBezTo>
                      <a:pt x="615" y="306"/>
                      <a:pt x="614" y="307"/>
                      <a:pt x="614" y="308"/>
                    </a:cubicBezTo>
                    <a:cubicBezTo>
                      <a:pt x="614" y="308"/>
                      <a:pt x="614" y="308"/>
                      <a:pt x="613" y="308"/>
                    </a:cubicBezTo>
                    <a:cubicBezTo>
                      <a:pt x="613" y="308"/>
                      <a:pt x="613" y="308"/>
                      <a:pt x="613" y="308"/>
                    </a:cubicBezTo>
                    <a:cubicBezTo>
                      <a:pt x="613" y="308"/>
                      <a:pt x="613" y="308"/>
                      <a:pt x="613" y="308"/>
                    </a:cubicBezTo>
                    <a:cubicBezTo>
                      <a:pt x="613" y="308"/>
                      <a:pt x="612" y="309"/>
                      <a:pt x="612" y="309"/>
                    </a:cubicBezTo>
                    <a:cubicBezTo>
                      <a:pt x="610" y="310"/>
                      <a:pt x="610" y="311"/>
                      <a:pt x="608" y="312"/>
                    </a:cubicBezTo>
                    <a:cubicBezTo>
                      <a:pt x="609" y="311"/>
                      <a:pt x="610" y="311"/>
                      <a:pt x="610" y="310"/>
                    </a:cubicBezTo>
                    <a:cubicBezTo>
                      <a:pt x="610" y="310"/>
                      <a:pt x="609" y="310"/>
                      <a:pt x="609" y="310"/>
                    </a:cubicBezTo>
                    <a:cubicBezTo>
                      <a:pt x="609" y="309"/>
                      <a:pt x="610" y="309"/>
                      <a:pt x="610" y="309"/>
                    </a:cubicBezTo>
                    <a:cubicBezTo>
                      <a:pt x="610" y="309"/>
                      <a:pt x="611" y="308"/>
                      <a:pt x="611" y="307"/>
                    </a:cubicBezTo>
                    <a:cubicBezTo>
                      <a:pt x="611" y="307"/>
                      <a:pt x="611" y="308"/>
                      <a:pt x="611" y="308"/>
                    </a:cubicBezTo>
                    <a:cubicBezTo>
                      <a:pt x="611" y="307"/>
                      <a:pt x="611" y="307"/>
                      <a:pt x="612" y="306"/>
                    </a:cubicBezTo>
                    <a:cubicBezTo>
                      <a:pt x="612" y="306"/>
                      <a:pt x="613" y="306"/>
                      <a:pt x="612" y="306"/>
                    </a:cubicBezTo>
                    <a:cubicBezTo>
                      <a:pt x="613" y="305"/>
                      <a:pt x="614" y="305"/>
                      <a:pt x="614" y="304"/>
                    </a:cubicBezTo>
                    <a:cubicBezTo>
                      <a:pt x="615" y="304"/>
                      <a:pt x="616" y="303"/>
                      <a:pt x="615" y="303"/>
                    </a:cubicBezTo>
                    <a:cubicBezTo>
                      <a:pt x="615" y="303"/>
                      <a:pt x="615" y="303"/>
                      <a:pt x="615" y="303"/>
                    </a:cubicBezTo>
                    <a:cubicBezTo>
                      <a:pt x="616" y="303"/>
                      <a:pt x="616" y="302"/>
                      <a:pt x="616" y="302"/>
                    </a:cubicBezTo>
                    <a:cubicBezTo>
                      <a:pt x="617" y="302"/>
                      <a:pt x="618" y="301"/>
                      <a:pt x="617" y="301"/>
                    </a:cubicBezTo>
                    <a:cubicBezTo>
                      <a:pt x="617" y="301"/>
                      <a:pt x="618" y="301"/>
                      <a:pt x="618" y="301"/>
                    </a:cubicBezTo>
                    <a:cubicBezTo>
                      <a:pt x="618" y="300"/>
                      <a:pt x="619" y="300"/>
                      <a:pt x="619" y="300"/>
                    </a:cubicBezTo>
                    <a:cubicBezTo>
                      <a:pt x="619" y="300"/>
                      <a:pt x="619" y="297"/>
                      <a:pt x="620" y="297"/>
                    </a:cubicBezTo>
                    <a:cubicBezTo>
                      <a:pt x="620" y="298"/>
                      <a:pt x="620" y="298"/>
                      <a:pt x="619" y="298"/>
                    </a:cubicBezTo>
                    <a:cubicBezTo>
                      <a:pt x="619" y="299"/>
                      <a:pt x="620" y="299"/>
                      <a:pt x="619" y="299"/>
                    </a:cubicBezTo>
                    <a:cubicBezTo>
                      <a:pt x="620" y="299"/>
                      <a:pt x="621" y="298"/>
                      <a:pt x="621" y="298"/>
                    </a:cubicBezTo>
                    <a:cubicBezTo>
                      <a:pt x="621" y="298"/>
                      <a:pt x="622" y="297"/>
                      <a:pt x="622" y="298"/>
                    </a:cubicBezTo>
                    <a:cubicBezTo>
                      <a:pt x="622" y="297"/>
                      <a:pt x="622" y="297"/>
                      <a:pt x="622" y="297"/>
                    </a:cubicBezTo>
                    <a:cubicBezTo>
                      <a:pt x="622" y="297"/>
                      <a:pt x="623" y="297"/>
                      <a:pt x="623" y="296"/>
                    </a:cubicBezTo>
                    <a:cubicBezTo>
                      <a:pt x="623" y="296"/>
                      <a:pt x="623" y="296"/>
                      <a:pt x="623" y="296"/>
                    </a:cubicBezTo>
                    <a:cubicBezTo>
                      <a:pt x="623" y="296"/>
                      <a:pt x="623" y="296"/>
                      <a:pt x="623" y="296"/>
                    </a:cubicBezTo>
                    <a:cubicBezTo>
                      <a:pt x="623" y="295"/>
                      <a:pt x="624" y="296"/>
                      <a:pt x="624" y="295"/>
                    </a:cubicBezTo>
                    <a:cubicBezTo>
                      <a:pt x="624" y="295"/>
                      <a:pt x="624" y="295"/>
                      <a:pt x="624" y="295"/>
                    </a:cubicBezTo>
                    <a:cubicBezTo>
                      <a:pt x="624" y="294"/>
                      <a:pt x="625" y="294"/>
                      <a:pt x="624" y="294"/>
                    </a:cubicBezTo>
                    <a:cubicBezTo>
                      <a:pt x="624" y="294"/>
                      <a:pt x="623" y="294"/>
                      <a:pt x="622" y="294"/>
                    </a:cubicBezTo>
                    <a:cubicBezTo>
                      <a:pt x="622" y="295"/>
                      <a:pt x="622" y="294"/>
                      <a:pt x="622" y="294"/>
                    </a:cubicBezTo>
                    <a:cubicBezTo>
                      <a:pt x="622" y="294"/>
                      <a:pt x="623" y="293"/>
                      <a:pt x="622" y="293"/>
                    </a:cubicBezTo>
                    <a:cubicBezTo>
                      <a:pt x="622" y="293"/>
                      <a:pt x="622" y="292"/>
                      <a:pt x="622" y="292"/>
                    </a:cubicBezTo>
                    <a:cubicBezTo>
                      <a:pt x="622" y="292"/>
                      <a:pt x="623" y="292"/>
                      <a:pt x="623" y="292"/>
                    </a:cubicBezTo>
                    <a:cubicBezTo>
                      <a:pt x="623" y="292"/>
                      <a:pt x="623" y="292"/>
                      <a:pt x="623" y="293"/>
                    </a:cubicBezTo>
                    <a:cubicBezTo>
                      <a:pt x="623" y="293"/>
                      <a:pt x="624" y="293"/>
                      <a:pt x="624" y="293"/>
                    </a:cubicBezTo>
                    <a:cubicBezTo>
                      <a:pt x="625" y="293"/>
                      <a:pt x="626" y="293"/>
                      <a:pt x="626" y="293"/>
                    </a:cubicBezTo>
                    <a:cubicBezTo>
                      <a:pt x="627" y="292"/>
                      <a:pt x="626" y="292"/>
                      <a:pt x="627" y="292"/>
                    </a:cubicBezTo>
                    <a:cubicBezTo>
                      <a:pt x="627" y="292"/>
                      <a:pt x="628" y="291"/>
                      <a:pt x="628" y="291"/>
                    </a:cubicBezTo>
                    <a:cubicBezTo>
                      <a:pt x="628" y="291"/>
                      <a:pt x="627" y="291"/>
                      <a:pt x="627" y="291"/>
                    </a:cubicBezTo>
                    <a:cubicBezTo>
                      <a:pt x="628" y="291"/>
                      <a:pt x="628" y="291"/>
                      <a:pt x="628" y="290"/>
                    </a:cubicBezTo>
                    <a:cubicBezTo>
                      <a:pt x="628" y="291"/>
                      <a:pt x="629" y="290"/>
                      <a:pt x="629" y="290"/>
                    </a:cubicBezTo>
                    <a:cubicBezTo>
                      <a:pt x="628" y="290"/>
                      <a:pt x="628" y="290"/>
                      <a:pt x="628" y="290"/>
                    </a:cubicBezTo>
                    <a:cubicBezTo>
                      <a:pt x="628" y="290"/>
                      <a:pt x="628" y="290"/>
                      <a:pt x="628" y="290"/>
                    </a:cubicBezTo>
                    <a:cubicBezTo>
                      <a:pt x="628" y="290"/>
                      <a:pt x="627" y="290"/>
                      <a:pt x="627" y="290"/>
                    </a:cubicBezTo>
                    <a:cubicBezTo>
                      <a:pt x="627" y="290"/>
                      <a:pt x="626" y="290"/>
                      <a:pt x="627" y="290"/>
                    </a:cubicBezTo>
                    <a:cubicBezTo>
                      <a:pt x="627" y="290"/>
                      <a:pt x="626" y="290"/>
                      <a:pt x="626" y="290"/>
                    </a:cubicBezTo>
                    <a:cubicBezTo>
                      <a:pt x="626" y="290"/>
                      <a:pt x="626" y="290"/>
                      <a:pt x="626" y="290"/>
                    </a:cubicBezTo>
                    <a:cubicBezTo>
                      <a:pt x="626" y="290"/>
                      <a:pt x="626" y="291"/>
                      <a:pt x="627" y="291"/>
                    </a:cubicBezTo>
                    <a:cubicBezTo>
                      <a:pt x="626" y="291"/>
                      <a:pt x="625" y="291"/>
                      <a:pt x="625" y="291"/>
                    </a:cubicBezTo>
                    <a:cubicBezTo>
                      <a:pt x="624" y="291"/>
                      <a:pt x="625" y="291"/>
                      <a:pt x="625" y="291"/>
                    </a:cubicBezTo>
                    <a:cubicBezTo>
                      <a:pt x="624" y="291"/>
                      <a:pt x="625" y="290"/>
                      <a:pt x="625" y="290"/>
                    </a:cubicBezTo>
                    <a:cubicBezTo>
                      <a:pt x="625" y="290"/>
                      <a:pt x="625" y="290"/>
                      <a:pt x="625" y="290"/>
                    </a:cubicBezTo>
                    <a:cubicBezTo>
                      <a:pt x="624" y="290"/>
                      <a:pt x="624" y="290"/>
                      <a:pt x="624" y="290"/>
                    </a:cubicBezTo>
                    <a:cubicBezTo>
                      <a:pt x="623" y="291"/>
                      <a:pt x="622" y="291"/>
                      <a:pt x="622" y="291"/>
                    </a:cubicBezTo>
                    <a:cubicBezTo>
                      <a:pt x="620" y="292"/>
                      <a:pt x="619" y="292"/>
                      <a:pt x="617" y="293"/>
                    </a:cubicBezTo>
                    <a:cubicBezTo>
                      <a:pt x="617" y="293"/>
                      <a:pt x="616" y="293"/>
                      <a:pt x="616" y="294"/>
                    </a:cubicBezTo>
                    <a:cubicBezTo>
                      <a:pt x="616" y="294"/>
                      <a:pt x="616" y="294"/>
                      <a:pt x="616" y="294"/>
                    </a:cubicBezTo>
                    <a:cubicBezTo>
                      <a:pt x="616" y="294"/>
                      <a:pt x="615" y="295"/>
                      <a:pt x="615" y="295"/>
                    </a:cubicBezTo>
                    <a:cubicBezTo>
                      <a:pt x="614" y="295"/>
                      <a:pt x="614" y="296"/>
                      <a:pt x="613" y="296"/>
                    </a:cubicBezTo>
                    <a:cubicBezTo>
                      <a:pt x="614" y="296"/>
                      <a:pt x="614" y="296"/>
                      <a:pt x="613" y="296"/>
                    </a:cubicBezTo>
                    <a:cubicBezTo>
                      <a:pt x="613" y="296"/>
                      <a:pt x="613" y="296"/>
                      <a:pt x="612" y="296"/>
                    </a:cubicBezTo>
                    <a:cubicBezTo>
                      <a:pt x="613" y="296"/>
                      <a:pt x="613" y="297"/>
                      <a:pt x="613" y="297"/>
                    </a:cubicBezTo>
                    <a:cubicBezTo>
                      <a:pt x="612" y="297"/>
                      <a:pt x="613" y="297"/>
                      <a:pt x="613" y="297"/>
                    </a:cubicBezTo>
                    <a:cubicBezTo>
                      <a:pt x="613" y="298"/>
                      <a:pt x="612" y="298"/>
                      <a:pt x="611" y="299"/>
                    </a:cubicBezTo>
                    <a:cubicBezTo>
                      <a:pt x="611" y="299"/>
                      <a:pt x="610" y="299"/>
                      <a:pt x="609" y="299"/>
                    </a:cubicBezTo>
                    <a:cubicBezTo>
                      <a:pt x="609" y="299"/>
                      <a:pt x="608" y="299"/>
                      <a:pt x="609" y="299"/>
                    </a:cubicBezTo>
                    <a:cubicBezTo>
                      <a:pt x="609" y="300"/>
                      <a:pt x="609" y="300"/>
                      <a:pt x="609" y="300"/>
                    </a:cubicBezTo>
                    <a:cubicBezTo>
                      <a:pt x="609" y="300"/>
                      <a:pt x="609" y="300"/>
                      <a:pt x="609" y="300"/>
                    </a:cubicBezTo>
                    <a:cubicBezTo>
                      <a:pt x="609" y="300"/>
                      <a:pt x="610" y="300"/>
                      <a:pt x="610" y="300"/>
                    </a:cubicBezTo>
                    <a:cubicBezTo>
                      <a:pt x="610" y="301"/>
                      <a:pt x="609" y="300"/>
                      <a:pt x="609" y="300"/>
                    </a:cubicBezTo>
                    <a:cubicBezTo>
                      <a:pt x="608" y="301"/>
                      <a:pt x="608" y="301"/>
                      <a:pt x="607" y="302"/>
                    </a:cubicBezTo>
                    <a:cubicBezTo>
                      <a:pt x="606" y="303"/>
                      <a:pt x="605" y="304"/>
                      <a:pt x="604" y="306"/>
                    </a:cubicBezTo>
                    <a:cubicBezTo>
                      <a:pt x="603" y="307"/>
                      <a:pt x="601" y="308"/>
                      <a:pt x="600" y="310"/>
                    </a:cubicBezTo>
                    <a:cubicBezTo>
                      <a:pt x="600" y="310"/>
                      <a:pt x="599" y="311"/>
                      <a:pt x="599" y="311"/>
                    </a:cubicBezTo>
                    <a:cubicBezTo>
                      <a:pt x="600" y="312"/>
                      <a:pt x="600" y="312"/>
                      <a:pt x="600" y="312"/>
                    </a:cubicBezTo>
                    <a:cubicBezTo>
                      <a:pt x="600" y="312"/>
                      <a:pt x="601" y="313"/>
                      <a:pt x="601" y="313"/>
                    </a:cubicBezTo>
                    <a:cubicBezTo>
                      <a:pt x="601" y="313"/>
                      <a:pt x="600" y="312"/>
                      <a:pt x="600" y="312"/>
                    </a:cubicBezTo>
                    <a:cubicBezTo>
                      <a:pt x="599" y="312"/>
                      <a:pt x="599" y="313"/>
                      <a:pt x="599" y="313"/>
                    </a:cubicBezTo>
                    <a:cubicBezTo>
                      <a:pt x="599" y="313"/>
                      <a:pt x="599" y="312"/>
                      <a:pt x="599" y="312"/>
                    </a:cubicBezTo>
                    <a:cubicBezTo>
                      <a:pt x="599" y="311"/>
                      <a:pt x="597" y="312"/>
                      <a:pt x="597" y="313"/>
                    </a:cubicBezTo>
                    <a:cubicBezTo>
                      <a:pt x="596" y="313"/>
                      <a:pt x="596" y="314"/>
                      <a:pt x="596" y="315"/>
                    </a:cubicBezTo>
                    <a:cubicBezTo>
                      <a:pt x="596" y="316"/>
                      <a:pt x="597" y="315"/>
                      <a:pt x="598" y="315"/>
                    </a:cubicBezTo>
                    <a:cubicBezTo>
                      <a:pt x="598" y="315"/>
                      <a:pt x="597" y="316"/>
                      <a:pt x="597" y="316"/>
                    </a:cubicBezTo>
                    <a:cubicBezTo>
                      <a:pt x="596" y="316"/>
                      <a:pt x="596" y="316"/>
                      <a:pt x="596" y="316"/>
                    </a:cubicBezTo>
                    <a:cubicBezTo>
                      <a:pt x="597" y="316"/>
                      <a:pt x="597" y="316"/>
                      <a:pt x="598" y="316"/>
                    </a:cubicBezTo>
                    <a:cubicBezTo>
                      <a:pt x="598" y="316"/>
                      <a:pt x="597" y="316"/>
                      <a:pt x="598" y="316"/>
                    </a:cubicBezTo>
                    <a:cubicBezTo>
                      <a:pt x="598" y="316"/>
                      <a:pt x="598" y="316"/>
                      <a:pt x="599" y="316"/>
                    </a:cubicBezTo>
                    <a:cubicBezTo>
                      <a:pt x="598" y="316"/>
                      <a:pt x="598" y="316"/>
                      <a:pt x="597" y="316"/>
                    </a:cubicBezTo>
                    <a:cubicBezTo>
                      <a:pt x="597" y="316"/>
                      <a:pt x="596" y="316"/>
                      <a:pt x="596" y="316"/>
                    </a:cubicBezTo>
                    <a:cubicBezTo>
                      <a:pt x="596" y="317"/>
                      <a:pt x="596" y="318"/>
                      <a:pt x="596" y="318"/>
                    </a:cubicBezTo>
                    <a:cubicBezTo>
                      <a:pt x="596" y="318"/>
                      <a:pt x="597" y="318"/>
                      <a:pt x="597" y="318"/>
                    </a:cubicBezTo>
                    <a:cubicBezTo>
                      <a:pt x="597" y="318"/>
                      <a:pt x="596" y="318"/>
                      <a:pt x="596" y="317"/>
                    </a:cubicBezTo>
                    <a:cubicBezTo>
                      <a:pt x="595" y="316"/>
                      <a:pt x="594" y="317"/>
                      <a:pt x="594" y="317"/>
                    </a:cubicBezTo>
                    <a:cubicBezTo>
                      <a:pt x="594" y="317"/>
                      <a:pt x="594" y="316"/>
                      <a:pt x="594" y="316"/>
                    </a:cubicBezTo>
                    <a:cubicBezTo>
                      <a:pt x="594" y="316"/>
                      <a:pt x="592" y="317"/>
                      <a:pt x="592" y="318"/>
                    </a:cubicBezTo>
                    <a:cubicBezTo>
                      <a:pt x="592" y="319"/>
                      <a:pt x="591" y="319"/>
                      <a:pt x="590" y="320"/>
                    </a:cubicBezTo>
                    <a:cubicBezTo>
                      <a:pt x="590" y="321"/>
                      <a:pt x="590" y="322"/>
                      <a:pt x="589" y="322"/>
                    </a:cubicBezTo>
                    <a:cubicBezTo>
                      <a:pt x="588" y="322"/>
                      <a:pt x="588" y="322"/>
                      <a:pt x="588" y="321"/>
                    </a:cubicBezTo>
                    <a:cubicBezTo>
                      <a:pt x="588" y="322"/>
                      <a:pt x="588" y="322"/>
                      <a:pt x="587" y="322"/>
                    </a:cubicBezTo>
                    <a:cubicBezTo>
                      <a:pt x="587" y="322"/>
                      <a:pt x="587" y="321"/>
                      <a:pt x="587" y="321"/>
                    </a:cubicBezTo>
                    <a:cubicBezTo>
                      <a:pt x="588" y="321"/>
                      <a:pt x="589" y="320"/>
                      <a:pt x="589" y="320"/>
                    </a:cubicBezTo>
                    <a:cubicBezTo>
                      <a:pt x="588" y="320"/>
                      <a:pt x="587" y="321"/>
                      <a:pt x="586" y="322"/>
                    </a:cubicBezTo>
                    <a:cubicBezTo>
                      <a:pt x="586" y="322"/>
                      <a:pt x="585" y="322"/>
                      <a:pt x="585" y="322"/>
                    </a:cubicBezTo>
                    <a:cubicBezTo>
                      <a:pt x="585" y="322"/>
                      <a:pt x="584" y="323"/>
                      <a:pt x="584" y="323"/>
                    </a:cubicBezTo>
                    <a:cubicBezTo>
                      <a:pt x="584" y="323"/>
                      <a:pt x="585" y="323"/>
                      <a:pt x="585" y="323"/>
                    </a:cubicBezTo>
                    <a:cubicBezTo>
                      <a:pt x="586" y="323"/>
                      <a:pt x="586" y="323"/>
                      <a:pt x="587" y="323"/>
                    </a:cubicBezTo>
                    <a:cubicBezTo>
                      <a:pt x="588" y="323"/>
                      <a:pt x="588" y="322"/>
                      <a:pt x="589" y="322"/>
                    </a:cubicBezTo>
                    <a:cubicBezTo>
                      <a:pt x="590" y="322"/>
                      <a:pt x="590" y="323"/>
                      <a:pt x="591" y="323"/>
                    </a:cubicBezTo>
                    <a:cubicBezTo>
                      <a:pt x="591" y="323"/>
                      <a:pt x="592" y="322"/>
                      <a:pt x="592" y="323"/>
                    </a:cubicBezTo>
                    <a:cubicBezTo>
                      <a:pt x="592" y="323"/>
                      <a:pt x="590" y="324"/>
                      <a:pt x="589" y="324"/>
                    </a:cubicBezTo>
                    <a:cubicBezTo>
                      <a:pt x="590" y="324"/>
                      <a:pt x="590" y="324"/>
                      <a:pt x="590" y="323"/>
                    </a:cubicBezTo>
                    <a:cubicBezTo>
                      <a:pt x="589" y="323"/>
                      <a:pt x="588" y="325"/>
                      <a:pt x="587" y="325"/>
                    </a:cubicBezTo>
                    <a:cubicBezTo>
                      <a:pt x="586" y="326"/>
                      <a:pt x="585" y="327"/>
                      <a:pt x="584" y="327"/>
                    </a:cubicBezTo>
                    <a:cubicBezTo>
                      <a:pt x="583" y="328"/>
                      <a:pt x="582" y="329"/>
                      <a:pt x="581" y="329"/>
                    </a:cubicBezTo>
                    <a:cubicBezTo>
                      <a:pt x="580" y="329"/>
                      <a:pt x="581" y="331"/>
                      <a:pt x="581" y="331"/>
                    </a:cubicBezTo>
                    <a:cubicBezTo>
                      <a:pt x="580" y="332"/>
                      <a:pt x="580" y="333"/>
                      <a:pt x="581" y="333"/>
                    </a:cubicBezTo>
                    <a:cubicBezTo>
                      <a:pt x="582" y="333"/>
                      <a:pt x="584" y="333"/>
                      <a:pt x="585" y="333"/>
                    </a:cubicBezTo>
                    <a:cubicBezTo>
                      <a:pt x="585" y="333"/>
                      <a:pt x="586" y="332"/>
                      <a:pt x="586" y="332"/>
                    </a:cubicBezTo>
                    <a:cubicBezTo>
                      <a:pt x="587" y="332"/>
                      <a:pt x="587" y="332"/>
                      <a:pt x="587" y="332"/>
                    </a:cubicBezTo>
                    <a:cubicBezTo>
                      <a:pt x="588" y="332"/>
                      <a:pt x="589" y="331"/>
                      <a:pt x="590" y="331"/>
                    </a:cubicBezTo>
                    <a:cubicBezTo>
                      <a:pt x="589" y="331"/>
                      <a:pt x="589" y="332"/>
                      <a:pt x="588" y="332"/>
                    </a:cubicBezTo>
                    <a:cubicBezTo>
                      <a:pt x="589" y="332"/>
                      <a:pt x="589" y="332"/>
                      <a:pt x="589" y="332"/>
                    </a:cubicBezTo>
                    <a:cubicBezTo>
                      <a:pt x="589" y="332"/>
                      <a:pt x="589" y="332"/>
                      <a:pt x="590" y="332"/>
                    </a:cubicBezTo>
                    <a:cubicBezTo>
                      <a:pt x="590" y="332"/>
                      <a:pt x="591" y="331"/>
                      <a:pt x="591" y="332"/>
                    </a:cubicBezTo>
                    <a:cubicBezTo>
                      <a:pt x="591" y="332"/>
                      <a:pt x="591" y="332"/>
                      <a:pt x="592" y="332"/>
                    </a:cubicBezTo>
                    <a:cubicBezTo>
                      <a:pt x="592" y="332"/>
                      <a:pt x="592" y="331"/>
                      <a:pt x="593" y="332"/>
                    </a:cubicBezTo>
                    <a:cubicBezTo>
                      <a:pt x="592" y="332"/>
                      <a:pt x="592" y="332"/>
                      <a:pt x="592" y="332"/>
                    </a:cubicBezTo>
                    <a:cubicBezTo>
                      <a:pt x="593" y="332"/>
                      <a:pt x="593" y="332"/>
                      <a:pt x="593" y="332"/>
                    </a:cubicBezTo>
                    <a:cubicBezTo>
                      <a:pt x="594" y="332"/>
                      <a:pt x="594" y="332"/>
                      <a:pt x="595" y="332"/>
                    </a:cubicBezTo>
                    <a:cubicBezTo>
                      <a:pt x="595" y="333"/>
                      <a:pt x="595" y="332"/>
                      <a:pt x="596" y="332"/>
                    </a:cubicBezTo>
                    <a:cubicBezTo>
                      <a:pt x="596" y="332"/>
                      <a:pt x="597" y="332"/>
                      <a:pt x="597" y="332"/>
                    </a:cubicBezTo>
                    <a:cubicBezTo>
                      <a:pt x="596" y="333"/>
                      <a:pt x="599" y="332"/>
                      <a:pt x="598" y="332"/>
                    </a:cubicBezTo>
                    <a:cubicBezTo>
                      <a:pt x="599" y="332"/>
                      <a:pt x="598" y="333"/>
                      <a:pt x="598" y="333"/>
                    </a:cubicBezTo>
                    <a:cubicBezTo>
                      <a:pt x="599" y="333"/>
                      <a:pt x="599" y="333"/>
                      <a:pt x="600" y="333"/>
                    </a:cubicBezTo>
                    <a:cubicBezTo>
                      <a:pt x="600" y="333"/>
                      <a:pt x="601" y="333"/>
                      <a:pt x="601" y="333"/>
                    </a:cubicBezTo>
                    <a:cubicBezTo>
                      <a:pt x="601" y="333"/>
                      <a:pt x="602" y="333"/>
                      <a:pt x="602" y="333"/>
                    </a:cubicBezTo>
                    <a:cubicBezTo>
                      <a:pt x="602" y="333"/>
                      <a:pt x="602" y="332"/>
                      <a:pt x="602" y="332"/>
                    </a:cubicBezTo>
                    <a:cubicBezTo>
                      <a:pt x="602" y="332"/>
                      <a:pt x="603" y="333"/>
                      <a:pt x="603" y="333"/>
                    </a:cubicBezTo>
                    <a:cubicBezTo>
                      <a:pt x="603" y="333"/>
                      <a:pt x="603" y="332"/>
                      <a:pt x="603" y="332"/>
                    </a:cubicBezTo>
                    <a:cubicBezTo>
                      <a:pt x="603" y="332"/>
                      <a:pt x="605" y="332"/>
                      <a:pt x="605" y="332"/>
                    </a:cubicBezTo>
                    <a:cubicBezTo>
                      <a:pt x="606" y="333"/>
                      <a:pt x="606" y="332"/>
                      <a:pt x="606" y="331"/>
                    </a:cubicBezTo>
                    <a:cubicBezTo>
                      <a:pt x="606" y="331"/>
                      <a:pt x="606" y="332"/>
                      <a:pt x="606" y="332"/>
                    </a:cubicBezTo>
                    <a:cubicBezTo>
                      <a:pt x="606" y="332"/>
                      <a:pt x="606" y="332"/>
                      <a:pt x="607" y="332"/>
                    </a:cubicBezTo>
                    <a:cubicBezTo>
                      <a:pt x="607" y="332"/>
                      <a:pt x="607" y="332"/>
                      <a:pt x="607" y="332"/>
                    </a:cubicBezTo>
                    <a:cubicBezTo>
                      <a:pt x="607" y="332"/>
                      <a:pt x="607" y="331"/>
                      <a:pt x="607" y="331"/>
                    </a:cubicBezTo>
                    <a:cubicBezTo>
                      <a:pt x="608" y="331"/>
                      <a:pt x="608" y="331"/>
                      <a:pt x="608" y="331"/>
                    </a:cubicBezTo>
                    <a:cubicBezTo>
                      <a:pt x="608" y="330"/>
                      <a:pt x="608" y="330"/>
                      <a:pt x="608" y="330"/>
                    </a:cubicBezTo>
                    <a:cubicBezTo>
                      <a:pt x="608" y="330"/>
                      <a:pt x="608" y="331"/>
                      <a:pt x="609" y="331"/>
                    </a:cubicBezTo>
                    <a:cubicBezTo>
                      <a:pt x="608" y="331"/>
                      <a:pt x="608" y="331"/>
                      <a:pt x="608" y="331"/>
                    </a:cubicBezTo>
                    <a:cubicBezTo>
                      <a:pt x="608" y="332"/>
                      <a:pt x="609" y="331"/>
                      <a:pt x="609" y="331"/>
                    </a:cubicBezTo>
                    <a:cubicBezTo>
                      <a:pt x="610" y="331"/>
                      <a:pt x="610" y="331"/>
                      <a:pt x="611" y="330"/>
                    </a:cubicBezTo>
                    <a:cubicBezTo>
                      <a:pt x="611" y="330"/>
                      <a:pt x="612" y="329"/>
                      <a:pt x="612" y="329"/>
                    </a:cubicBezTo>
                    <a:cubicBezTo>
                      <a:pt x="612" y="329"/>
                      <a:pt x="610" y="331"/>
                      <a:pt x="610" y="331"/>
                    </a:cubicBezTo>
                    <a:cubicBezTo>
                      <a:pt x="609" y="332"/>
                      <a:pt x="609" y="332"/>
                      <a:pt x="610" y="332"/>
                    </a:cubicBezTo>
                    <a:cubicBezTo>
                      <a:pt x="611" y="332"/>
                      <a:pt x="611" y="332"/>
                      <a:pt x="612" y="332"/>
                    </a:cubicBezTo>
                    <a:cubicBezTo>
                      <a:pt x="611" y="332"/>
                      <a:pt x="610" y="332"/>
                      <a:pt x="609" y="333"/>
                    </a:cubicBezTo>
                    <a:cubicBezTo>
                      <a:pt x="609" y="333"/>
                      <a:pt x="607" y="333"/>
                      <a:pt x="607" y="334"/>
                    </a:cubicBezTo>
                    <a:cubicBezTo>
                      <a:pt x="606" y="334"/>
                      <a:pt x="608" y="334"/>
                      <a:pt x="608" y="334"/>
                    </a:cubicBezTo>
                    <a:cubicBezTo>
                      <a:pt x="609" y="333"/>
                      <a:pt x="610" y="333"/>
                      <a:pt x="610" y="333"/>
                    </a:cubicBezTo>
                    <a:cubicBezTo>
                      <a:pt x="610" y="333"/>
                      <a:pt x="609" y="334"/>
                      <a:pt x="608" y="334"/>
                    </a:cubicBezTo>
                    <a:cubicBezTo>
                      <a:pt x="609" y="334"/>
                      <a:pt x="609" y="334"/>
                      <a:pt x="609" y="334"/>
                    </a:cubicBezTo>
                    <a:cubicBezTo>
                      <a:pt x="609" y="334"/>
                      <a:pt x="609" y="334"/>
                      <a:pt x="609" y="334"/>
                    </a:cubicBezTo>
                    <a:cubicBezTo>
                      <a:pt x="610" y="334"/>
                      <a:pt x="610" y="333"/>
                      <a:pt x="610" y="333"/>
                    </a:cubicBezTo>
                    <a:cubicBezTo>
                      <a:pt x="610" y="333"/>
                      <a:pt x="610" y="334"/>
                      <a:pt x="610" y="334"/>
                    </a:cubicBezTo>
                    <a:cubicBezTo>
                      <a:pt x="610" y="334"/>
                      <a:pt x="610" y="334"/>
                      <a:pt x="611" y="334"/>
                    </a:cubicBezTo>
                    <a:cubicBezTo>
                      <a:pt x="611" y="334"/>
                      <a:pt x="611" y="333"/>
                      <a:pt x="611" y="333"/>
                    </a:cubicBezTo>
                    <a:cubicBezTo>
                      <a:pt x="612" y="333"/>
                      <a:pt x="611" y="334"/>
                      <a:pt x="611" y="334"/>
                    </a:cubicBezTo>
                    <a:cubicBezTo>
                      <a:pt x="611" y="334"/>
                      <a:pt x="611" y="334"/>
                      <a:pt x="611" y="334"/>
                    </a:cubicBezTo>
                    <a:cubicBezTo>
                      <a:pt x="611" y="334"/>
                      <a:pt x="611" y="334"/>
                      <a:pt x="611" y="335"/>
                    </a:cubicBezTo>
                    <a:cubicBezTo>
                      <a:pt x="611" y="335"/>
                      <a:pt x="612" y="334"/>
                      <a:pt x="612" y="334"/>
                    </a:cubicBezTo>
                    <a:cubicBezTo>
                      <a:pt x="612" y="334"/>
                      <a:pt x="613" y="334"/>
                      <a:pt x="613" y="334"/>
                    </a:cubicBezTo>
                    <a:cubicBezTo>
                      <a:pt x="613" y="334"/>
                      <a:pt x="614" y="333"/>
                      <a:pt x="613" y="333"/>
                    </a:cubicBezTo>
                    <a:cubicBezTo>
                      <a:pt x="614" y="332"/>
                      <a:pt x="613" y="332"/>
                      <a:pt x="613" y="332"/>
                    </a:cubicBezTo>
                    <a:cubicBezTo>
                      <a:pt x="613" y="332"/>
                      <a:pt x="614" y="332"/>
                      <a:pt x="614" y="331"/>
                    </a:cubicBezTo>
                    <a:cubicBezTo>
                      <a:pt x="614" y="331"/>
                      <a:pt x="614" y="331"/>
                      <a:pt x="614" y="331"/>
                    </a:cubicBezTo>
                    <a:cubicBezTo>
                      <a:pt x="614" y="332"/>
                      <a:pt x="614" y="332"/>
                      <a:pt x="614" y="332"/>
                    </a:cubicBezTo>
                    <a:cubicBezTo>
                      <a:pt x="615" y="332"/>
                      <a:pt x="616" y="332"/>
                      <a:pt x="616" y="332"/>
                    </a:cubicBezTo>
                    <a:cubicBezTo>
                      <a:pt x="616" y="332"/>
                      <a:pt x="616" y="333"/>
                      <a:pt x="616" y="332"/>
                    </a:cubicBezTo>
                    <a:cubicBezTo>
                      <a:pt x="617" y="332"/>
                      <a:pt x="617" y="331"/>
                      <a:pt x="618" y="331"/>
                    </a:cubicBezTo>
                    <a:cubicBezTo>
                      <a:pt x="618" y="331"/>
                      <a:pt x="616" y="333"/>
                      <a:pt x="617" y="333"/>
                    </a:cubicBezTo>
                    <a:cubicBezTo>
                      <a:pt x="618" y="333"/>
                      <a:pt x="619" y="332"/>
                      <a:pt x="620" y="332"/>
                    </a:cubicBezTo>
                    <a:cubicBezTo>
                      <a:pt x="619" y="332"/>
                      <a:pt x="618" y="332"/>
                      <a:pt x="618" y="333"/>
                    </a:cubicBezTo>
                    <a:cubicBezTo>
                      <a:pt x="619" y="333"/>
                      <a:pt x="617" y="333"/>
                      <a:pt x="617" y="334"/>
                    </a:cubicBezTo>
                    <a:cubicBezTo>
                      <a:pt x="616" y="334"/>
                      <a:pt x="615" y="334"/>
                      <a:pt x="615" y="334"/>
                    </a:cubicBezTo>
                    <a:cubicBezTo>
                      <a:pt x="614" y="334"/>
                      <a:pt x="614" y="335"/>
                      <a:pt x="613" y="336"/>
                    </a:cubicBezTo>
                    <a:cubicBezTo>
                      <a:pt x="613" y="336"/>
                      <a:pt x="612" y="336"/>
                      <a:pt x="612" y="337"/>
                    </a:cubicBezTo>
                    <a:cubicBezTo>
                      <a:pt x="611" y="338"/>
                      <a:pt x="610" y="338"/>
                      <a:pt x="609" y="338"/>
                    </a:cubicBezTo>
                    <a:cubicBezTo>
                      <a:pt x="609" y="338"/>
                      <a:pt x="608" y="338"/>
                      <a:pt x="607" y="338"/>
                    </a:cubicBezTo>
                    <a:cubicBezTo>
                      <a:pt x="607" y="339"/>
                      <a:pt x="605" y="340"/>
                      <a:pt x="607" y="340"/>
                    </a:cubicBezTo>
                    <a:cubicBezTo>
                      <a:pt x="607" y="340"/>
                      <a:pt x="608" y="341"/>
                      <a:pt x="609" y="340"/>
                    </a:cubicBezTo>
                    <a:cubicBezTo>
                      <a:pt x="609" y="340"/>
                      <a:pt x="610" y="340"/>
                      <a:pt x="610" y="340"/>
                    </a:cubicBezTo>
                    <a:cubicBezTo>
                      <a:pt x="610" y="340"/>
                      <a:pt x="610" y="340"/>
                      <a:pt x="610" y="340"/>
                    </a:cubicBezTo>
                    <a:cubicBezTo>
                      <a:pt x="610" y="341"/>
                      <a:pt x="612" y="340"/>
                      <a:pt x="612" y="340"/>
                    </a:cubicBezTo>
                    <a:cubicBezTo>
                      <a:pt x="613" y="340"/>
                      <a:pt x="613" y="339"/>
                      <a:pt x="613" y="339"/>
                    </a:cubicBezTo>
                    <a:cubicBezTo>
                      <a:pt x="613" y="339"/>
                      <a:pt x="613" y="338"/>
                      <a:pt x="614" y="338"/>
                    </a:cubicBezTo>
                    <a:cubicBezTo>
                      <a:pt x="614" y="338"/>
                      <a:pt x="613" y="339"/>
                      <a:pt x="613" y="339"/>
                    </a:cubicBezTo>
                    <a:cubicBezTo>
                      <a:pt x="613" y="339"/>
                      <a:pt x="616" y="337"/>
                      <a:pt x="614" y="337"/>
                    </a:cubicBezTo>
                    <a:cubicBezTo>
                      <a:pt x="615" y="336"/>
                      <a:pt x="615" y="337"/>
                      <a:pt x="615" y="337"/>
                    </a:cubicBezTo>
                    <a:cubicBezTo>
                      <a:pt x="615" y="337"/>
                      <a:pt x="616" y="336"/>
                      <a:pt x="616" y="336"/>
                    </a:cubicBezTo>
                    <a:cubicBezTo>
                      <a:pt x="617" y="335"/>
                      <a:pt x="617" y="335"/>
                      <a:pt x="618" y="334"/>
                    </a:cubicBezTo>
                    <a:cubicBezTo>
                      <a:pt x="618" y="335"/>
                      <a:pt x="618" y="335"/>
                      <a:pt x="618" y="335"/>
                    </a:cubicBezTo>
                    <a:cubicBezTo>
                      <a:pt x="618" y="335"/>
                      <a:pt x="618" y="335"/>
                      <a:pt x="618" y="334"/>
                    </a:cubicBezTo>
                    <a:cubicBezTo>
                      <a:pt x="618" y="335"/>
                      <a:pt x="618" y="335"/>
                      <a:pt x="618" y="335"/>
                    </a:cubicBezTo>
                    <a:cubicBezTo>
                      <a:pt x="618" y="335"/>
                      <a:pt x="618" y="335"/>
                      <a:pt x="619" y="335"/>
                    </a:cubicBezTo>
                    <a:cubicBezTo>
                      <a:pt x="619" y="335"/>
                      <a:pt x="619" y="335"/>
                      <a:pt x="619" y="335"/>
                    </a:cubicBezTo>
                    <a:cubicBezTo>
                      <a:pt x="619" y="335"/>
                      <a:pt x="620" y="334"/>
                      <a:pt x="620" y="334"/>
                    </a:cubicBezTo>
                    <a:cubicBezTo>
                      <a:pt x="621" y="333"/>
                      <a:pt x="621" y="333"/>
                      <a:pt x="622" y="332"/>
                    </a:cubicBezTo>
                    <a:cubicBezTo>
                      <a:pt x="622" y="333"/>
                      <a:pt x="620" y="334"/>
                      <a:pt x="620" y="335"/>
                    </a:cubicBezTo>
                    <a:cubicBezTo>
                      <a:pt x="619" y="336"/>
                      <a:pt x="620" y="335"/>
                      <a:pt x="621" y="335"/>
                    </a:cubicBezTo>
                    <a:cubicBezTo>
                      <a:pt x="620" y="335"/>
                      <a:pt x="621" y="334"/>
                      <a:pt x="621" y="334"/>
                    </a:cubicBezTo>
                    <a:cubicBezTo>
                      <a:pt x="621" y="335"/>
                      <a:pt x="622" y="334"/>
                      <a:pt x="621" y="334"/>
                    </a:cubicBezTo>
                    <a:cubicBezTo>
                      <a:pt x="622" y="333"/>
                      <a:pt x="622" y="333"/>
                      <a:pt x="623" y="332"/>
                    </a:cubicBezTo>
                    <a:cubicBezTo>
                      <a:pt x="623" y="332"/>
                      <a:pt x="623" y="332"/>
                      <a:pt x="623" y="332"/>
                    </a:cubicBezTo>
                    <a:cubicBezTo>
                      <a:pt x="624" y="331"/>
                      <a:pt x="625" y="330"/>
                      <a:pt x="624" y="329"/>
                    </a:cubicBezTo>
                    <a:cubicBezTo>
                      <a:pt x="625" y="330"/>
                      <a:pt x="625" y="330"/>
                      <a:pt x="626" y="330"/>
                    </a:cubicBezTo>
                    <a:cubicBezTo>
                      <a:pt x="626" y="330"/>
                      <a:pt x="626" y="331"/>
                      <a:pt x="626" y="330"/>
                    </a:cubicBezTo>
                    <a:cubicBezTo>
                      <a:pt x="626" y="331"/>
                      <a:pt x="626" y="331"/>
                      <a:pt x="626" y="331"/>
                    </a:cubicBezTo>
                    <a:cubicBezTo>
                      <a:pt x="626" y="332"/>
                      <a:pt x="626" y="332"/>
                      <a:pt x="626" y="332"/>
                    </a:cubicBezTo>
                    <a:cubicBezTo>
                      <a:pt x="626" y="332"/>
                      <a:pt x="626" y="332"/>
                      <a:pt x="626" y="332"/>
                    </a:cubicBezTo>
                    <a:cubicBezTo>
                      <a:pt x="626" y="333"/>
                      <a:pt x="626" y="334"/>
                      <a:pt x="626" y="334"/>
                    </a:cubicBezTo>
                    <a:cubicBezTo>
                      <a:pt x="626" y="334"/>
                      <a:pt x="626" y="334"/>
                      <a:pt x="627" y="334"/>
                    </a:cubicBezTo>
                    <a:cubicBezTo>
                      <a:pt x="626" y="334"/>
                      <a:pt x="625" y="335"/>
                      <a:pt x="626" y="335"/>
                    </a:cubicBezTo>
                    <a:cubicBezTo>
                      <a:pt x="625" y="335"/>
                      <a:pt x="625" y="336"/>
                      <a:pt x="625" y="336"/>
                    </a:cubicBezTo>
                    <a:cubicBezTo>
                      <a:pt x="624" y="335"/>
                      <a:pt x="625" y="337"/>
                      <a:pt x="625" y="337"/>
                    </a:cubicBezTo>
                    <a:cubicBezTo>
                      <a:pt x="625" y="337"/>
                      <a:pt x="624" y="336"/>
                      <a:pt x="624" y="336"/>
                    </a:cubicBezTo>
                    <a:cubicBezTo>
                      <a:pt x="624" y="337"/>
                      <a:pt x="624" y="337"/>
                      <a:pt x="624" y="337"/>
                    </a:cubicBezTo>
                    <a:cubicBezTo>
                      <a:pt x="623" y="338"/>
                      <a:pt x="623" y="338"/>
                      <a:pt x="622" y="339"/>
                    </a:cubicBezTo>
                    <a:cubicBezTo>
                      <a:pt x="622" y="339"/>
                      <a:pt x="621" y="340"/>
                      <a:pt x="621" y="341"/>
                    </a:cubicBezTo>
                    <a:cubicBezTo>
                      <a:pt x="623" y="342"/>
                      <a:pt x="626" y="338"/>
                      <a:pt x="627" y="337"/>
                    </a:cubicBezTo>
                    <a:cubicBezTo>
                      <a:pt x="627" y="337"/>
                      <a:pt x="627" y="338"/>
                      <a:pt x="627" y="338"/>
                    </a:cubicBezTo>
                    <a:cubicBezTo>
                      <a:pt x="627" y="338"/>
                      <a:pt x="628" y="337"/>
                      <a:pt x="628" y="337"/>
                    </a:cubicBezTo>
                    <a:cubicBezTo>
                      <a:pt x="628" y="337"/>
                      <a:pt x="628" y="337"/>
                      <a:pt x="628" y="337"/>
                    </a:cubicBezTo>
                    <a:cubicBezTo>
                      <a:pt x="628" y="337"/>
                      <a:pt x="628" y="337"/>
                      <a:pt x="628" y="337"/>
                    </a:cubicBezTo>
                    <a:cubicBezTo>
                      <a:pt x="628" y="338"/>
                      <a:pt x="628" y="338"/>
                      <a:pt x="627" y="338"/>
                    </a:cubicBezTo>
                    <a:cubicBezTo>
                      <a:pt x="627" y="338"/>
                      <a:pt x="627" y="339"/>
                      <a:pt x="626" y="339"/>
                    </a:cubicBezTo>
                    <a:cubicBezTo>
                      <a:pt x="627" y="339"/>
                      <a:pt x="626" y="339"/>
                      <a:pt x="627" y="339"/>
                    </a:cubicBezTo>
                    <a:cubicBezTo>
                      <a:pt x="627" y="339"/>
                      <a:pt x="627" y="339"/>
                      <a:pt x="627" y="339"/>
                    </a:cubicBezTo>
                    <a:cubicBezTo>
                      <a:pt x="627" y="340"/>
                      <a:pt x="627" y="340"/>
                      <a:pt x="627" y="339"/>
                    </a:cubicBezTo>
                    <a:cubicBezTo>
                      <a:pt x="627" y="340"/>
                      <a:pt x="626" y="340"/>
                      <a:pt x="626" y="341"/>
                    </a:cubicBezTo>
                    <a:cubicBezTo>
                      <a:pt x="626" y="341"/>
                      <a:pt x="627" y="340"/>
                      <a:pt x="627" y="340"/>
                    </a:cubicBezTo>
                    <a:cubicBezTo>
                      <a:pt x="627" y="340"/>
                      <a:pt x="625" y="342"/>
                      <a:pt x="626" y="343"/>
                    </a:cubicBezTo>
                    <a:cubicBezTo>
                      <a:pt x="626" y="343"/>
                      <a:pt x="627" y="342"/>
                      <a:pt x="628" y="342"/>
                    </a:cubicBezTo>
                    <a:cubicBezTo>
                      <a:pt x="628" y="342"/>
                      <a:pt x="628" y="342"/>
                      <a:pt x="628" y="342"/>
                    </a:cubicBezTo>
                    <a:cubicBezTo>
                      <a:pt x="628" y="342"/>
                      <a:pt x="628" y="342"/>
                      <a:pt x="628" y="342"/>
                    </a:cubicBezTo>
                    <a:cubicBezTo>
                      <a:pt x="628" y="342"/>
                      <a:pt x="629" y="342"/>
                      <a:pt x="629" y="342"/>
                    </a:cubicBezTo>
                    <a:cubicBezTo>
                      <a:pt x="629" y="343"/>
                      <a:pt x="629" y="343"/>
                      <a:pt x="630" y="343"/>
                    </a:cubicBezTo>
                    <a:cubicBezTo>
                      <a:pt x="631" y="342"/>
                      <a:pt x="631" y="342"/>
                      <a:pt x="632" y="341"/>
                    </a:cubicBezTo>
                    <a:cubicBezTo>
                      <a:pt x="632" y="341"/>
                      <a:pt x="633" y="340"/>
                      <a:pt x="633" y="339"/>
                    </a:cubicBezTo>
                    <a:cubicBezTo>
                      <a:pt x="633" y="339"/>
                      <a:pt x="633" y="339"/>
                      <a:pt x="633" y="339"/>
                    </a:cubicBezTo>
                    <a:cubicBezTo>
                      <a:pt x="634" y="338"/>
                      <a:pt x="633" y="338"/>
                      <a:pt x="633" y="338"/>
                    </a:cubicBezTo>
                    <a:cubicBezTo>
                      <a:pt x="634" y="338"/>
                      <a:pt x="634" y="337"/>
                      <a:pt x="634" y="337"/>
                    </a:cubicBezTo>
                    <a:cubicBezTo>
                      <a:pt x="634" y="337"/>
                      <a:pt x="634" y="336"/>
                      <a:pt x="635" y="336"/>
                    </a:cubicBezTo>
                    <a:cubicBezTo>
                      <a:pt x="635" y="336"/>
                      <a:pt x="635" y="336"/>
                      <a:pt x="635" y="336"/>
                    </a:cubicBezTo>
                    <a:cubicBezTo>
                      <a:pt x="636" y="336"/>
                      <a:pt x="636" y="335"/>
                      <a:pt x="636" y="334"/>
                    </a:cubicBezTo>
                    <a:cubicBezTo>
                      <a:pt x="637" y="334"/>
                      <a:pt x="636" y="334"/>
                      <a:pt x="636" y="334"/>
                    </a:cubicBezTo>
                    <a:cubicBezTo>
                      <a:pt x="636" y="334"/>
                      <a:pt x="637" y="334"/>
                      <a:pt x="637" y="334"/>
                    </a:cubicBezTo>
                    <a:cubicBezTo>
                      <a:pt x="637" y="333"/>
                      <a:pt x="637" y="333"/>
                      <a:pt x="637" y="333"/>
                    </a:cubicBezTo>
                    <a:cubicBezTo>
                      <a:pt x="636" y="333"/>
                      <a:pt x="637" y="333"/>
                      <a:pt x="637" y="333"/>
                    </a:cubicBezTo>
                    <a:cubicBezTo>
                      <a:pt x="637" y="332"/>
                      <a:pt x="637" y="332"/>
                      <a:pt x="637" y="332"/>
                    </a:cubicBezTo>
                    <a:cubicBezTo>
                      <a:pt x="637" y="331"/>
                      <a:pt x="637" y="331"/>
                      <a:pt x="637" y="331"/>
                    </a:cubicBezTo>
                    <a:cubicBezTo>
                      <a:pt x="636" y="330"/>
                      <a:pt x="636" y="331"/>
                      <a:pt x="636" y="331"/>
                    </a:cubicBezTo>
                    <a:cubicBezTo>
                      <a:pt x="635" y="332"/>
                      <a:pt x="635" y="333"/>
                      <a:pt x="634" y="333"/>
                    </a:cubicBezTo>
                    <a:cubicBezTo>
                      <a:pt x="634" y="334"/>
                      <a:pt x="633" y="334"/>
                      <a:pt x="632" y="334"/>
                    </a:cubicBezTo>
                    <a:cubicBezTo>
                      <a:pt x="632" y="334"/>
                      <a:pt x="632" y="334"/>
                      <a:pt x="632" y="334"/>
                    </a:cubicBezTo>
                    <a:cubicBezTo>
                      <a:pt x="632" y="334"/>
                      <a:pt x="632" y="334"/>
                      <a:pt x="632" y="334"/>
                    </a:cubicBezTo>
                    <a:cubicBezTo>
                      <a:pt x="632" y="334"/>
                      <a:pt x="632" y="334"/>
                      <a:pt x="632" y="334"/>
                    </a:cubicBezTo>
                    <a:cubicBezTo>
                      <a:pt x="632" y="334"/>
                      <a:pt x="632" y="333"/>
                      <a:pt x="632" y="333"/>
                    </a:cubicBezTo>
                    <a:cubicBezTo>
                      <a:pt x="632" y="333"/>
                      <a:pt x="632" y="333"/>
                      <a:pt x="632" y="333"/>
                    </a:cubicBezTo>
                    <a:cubicBezTo>
                      <a:pt x="632" y="333"/>
                      <a:pt x="633" y="333"/>
                      <a:pt x="633" y="333"/>
                    </a:cubicBezTo>
                    <a:cubicBezTo>
                      <a:pt x="632" y="333"/>
                      <a:pt x="632" y="333"/>
                      <a:pt x="632" y="333"/>
                    </a:cubicBezTo>
                    <a:cubicBezTo>
                      <a:pt x="632" y="333"/>
                      <a:pt x="632" y="333"/>
                      <a:pt x="632" y="332"/>
                    </a:cubicBezTo>
                    <a:cubicBezTo>
                      <a:pt x="632" y="332"/>
                      <a:pt x="632" y="332"/>
                      <a:pt x="632" y="332"/>
                    </a:cubicBezTo>
                    <a:cubicBezTo>
                      <a:pt x="632" y="332"/>
                      <a:pt x="633" y="332"/>
                      <a:pt x="633" y="332"/>
                    </a:cubicBezTo>
                    <a:cubicBezTo>
                      <a:pt x="633" y="332"/>
                      <a:pt x="633" y="331"/>
                      <a:pt x="633" y="331"/>
                    </a:cubicBezTo>
                    <a:cubicBezTo>
                      <a:pt x="633" y="331"/>
                      <a:pt x="634" y="330"/>
                      <a:pt x="634" y="330"/>
                    </a:cubicBezTo>
                    <a:cubicBezTo>
                      <a:pt x="634" y="330"/>
                      <a:pt x="635" y="329"/>
                      <a:pt x="635" y="329"/>
                    </a:cubicBezTo>
                    <a:cubicBezTo>
                      <a:pt x="635" y="329"/>
                      <a:pt x="636" y="328"/>
                      <a:pt x="636" y="328"/>
                    </a:cubicBezTo>
                    <a:cubicBezTo>
                      <a:pt x="636" y="327"/>
                      <a:pt x="637" y="328"/>
                      <a:pt x="637" y="327"/>
                    </a:cubicBezTo>
                    <a:cubicBezTo>
                      <a:pt x="637" y="327"/>
                      <a:pt x="637" y="326"/>
                      <a:pt x="637" y="326"/>
                    </a:cubicBezTo>
                    <a:cubicBezTo>
                      <a:pt x="636" y="327"/>
                      <a:pt x="636" y="327"/>
                      <a:pt x="636" y="327"/>
                    </a:cubicBezTo>
                    <a:cubicBezTo>
                      <a:pt x="635" y="328"/>
                      <a:pt x="635" y="327"/>
                      <a:pt x="634" y="328"/>
                    </a:cubicBezTo>
                    <a:cubicBezTo>
                      <a:pt x="634" y="328"/>
                      <a:pt x="634" y="328"/>
                      <a:pt x="633" y="328"/>
                    </a:cubicBezTo>
                    <a:cubicBezTo>
                      <a:pt x="633" y="329"/>
                      <a:pt x="632" y="329"/>
                      <a:pt x="632" y="330"/>
                    </a:cubicBezTo>
                    <a:cubicBezTo>
                      <a:pt x="631" y="330"/>
                      <a:pt x="630" y="331"/>
                      <a:pt x="630" y="332"/>
                    </a:cubicBezTo>
                    <a:cubicBezTo>
                      <a:pt x="630" y="332"/>
                      <a:pt x="629" y="332"/>
                      <a:pt x="629" y="333"/>
                    </a:cubicBezTo>
                    <a:cubicBezTo>
                      <a:pt x="629" y="333"/>
                      <a:pt x="629" y="333"/>
                      <a:pt x="628" y="333"/>
                    </a:cubicBezTo>
                    <a:cubicBezTo>
                      <a:pt x="628" y="333"/>
                      <a:pt x="628" y="333"/>
                      <a:pt x="628" y="333"/>
                    </a:cubicBezTo>
                    <a:cubicBezTo>
                      <a:pt x="628" y="333"/>
                      <a:pt x="628" y="333"/>
                      <a:pt x="628" y="332"/>
                    </a:cubicBezTo>
                    <a:cubicBezTo>
                      <a:pt x="628" y="332"/>
                      <a:pt x="629" y="332"/>
                      <a:pt x="629" y="332"/>
                    </a:cubicBezTo>
                    <a:cubicBezTo>
                      <a:pt x="628" y="332"/>
                      <a:pt x="628" y="333"/>
                      <a:pt x="627" y="332"/>
                    </a:cubicBezTo>
                    <a:cubicBezTo>
                      <a:pt x="627" y="331"/>
                      <a:pt x="627" y="330"/>
                      <a:pt x="627" y="330"/>
                    </a:cubicBezTo>
                    <a:cubicBezTo>
                      <a:pt x="628" y="330"/>
                      <a:pt x="628" y="331"/>
                      <a:pt x="628" y="330"/>
                    </a:cubicBezTo>
                    <a:cubicBezTo>
                      <a:pt x="628" y="330"/>
                      <a:pt x="629" y="329"/>
                      <a:pt x="628" y="329"/>
                    </a:cubicBezTo>
                    <a:cubicBezTo>
                      <a:pt x="629" y="329"/>
                      <a:pt x="629" y="330"/>
                      <a:pt x="629" y="329"/>
                    </a:cubicBezTo>
                    <a:cubicBezTo>
                      <a:pt x="630" y="329"/>
                      <a:pt x="630" y="328"/>
                      <a:pt x="630" y="328"/>
                    </a:cubicBezTo>
                    <a:cubicBezTo>
                      <a:pt x="630" y="328"/>
                      <a:pt x="628" y="329"/>
                      <a:pt x="628" y="328"/>
                    </a:cubicBezTo>
                    <a:cubicBezTo>
                      <a:pt x="628" y="328"/>
                      <a:pt x="630" y="328"/>
                      <a:pt x="630" y="328"/>
                    </a:cubicBezTo>
                    <a:cubicBezTo>
                      <a:pt x="631" y="327"/>
                      <a:pt x="628" y="327"/>
                      <a:pt x="628" y="327"/>
                    </a:cubicBezTo>
                    <a:cubicBezTo>
                      <a:pt x="628" y="327"/>
                      <a:pt x="628" y="326"/>
                      <a:pt x="628" y="326"/>
                    </a:cubicBezTo>
                    <a:cubicBezTo>
                      <a:pt x="628" y="326"/>
                      <a:pt x="628" y="327"/>
                      <a:pt x="628" y="327"/>
                    </a:cubicBezTo>
                    <a:cubicBezTo>
                      <a:pt x="629" y="327"/>
                      <a:pt x="629" y="327"/>
                      <a:pt x="629" y="327"/>
                    </a:cubicBezTo>
                    <a:cubicBezTo>
                      <a:pt x="630" y="327"/>
                      <a:pt x="630" y="327"/>
                      <a:pt x="631" y="327"/>
                    </a:cubicBezTo>
                    <a:cubicBezTo>
                      <a:pt x="631" y="327"/>
                      <a:pt x="631" y="327"/>
                      <a:pt x="631" y="327"/>
                    </a:cubicBezTo>
                    <a:cubicBezTo>
                      <a:pt x="631" y="327"/>
                      <a:pt x="632" y="326"/>
                      <a:pt x="631" y="326"/>
                    </a:cubicBezTo>
                    <a:cubicBezTo>
                      <a:pt x="631" y="326"/>
                      <a:pt x="630" y="327"/>
                      <a:pt x="630" y="327"/>
                    </a:cubicBezTo>
                    <a:cubicBezTo>
                      <a:pt x="630" y="327"/>
                      <a:pt x="630" y="326"/>
                      <a:pt x="630" y="326"/>
                    </a:cubicBezTo>
                    <a:cubicBezTo>
                      <a:pt x="629" y="326"/>
                      <a:pt x="629" y="326"/>
                      <a:pt x="629" y="326"/>
                    </a:cubicBezTo>
                    <a:cubicBezTo>
                      <a:pt x="629" y="326"/>
                      <a:pt x="629" y="326"/>
                      <a:pt x="629" y="326"/>
                    </a:cubicBezTo>
                    <a:cubicBezTo>
                      <a:pt x="629" y="326"/>
                      <a:pt x="629" y="326"/>
                      <a:pt x="629" y="326"/>
                    </a:cubicBezTo>
                    <a:cubicBezTo>
                      <a:pt x="628" y="326"/>
                      <a:pt x="629" y="326"/>
                      <a:pt x="628" y="326"/>
                    </a:cubicBezTo>
                    <a:cubicBezTo>
                      <a:pt x="629" y="326"/>
                      <a:pt x="629" y="326"/>
                      <a:pt x="629" y="326"/>
                    </a:cubicBezTo>
                    <a:close/>
                    <a:moveTo>
                      <a:pt x="628" y="311"/>
                    </a:moveTo>
                    <a:cubicBezTo>
                      <a:pt x="628" y="311"/>
                      <a:pt x="628" y="311"/>
                      <a:pt x="628" y="311"/>
                    </a:cubicBezTo>
                    <a:cubicBezTo>
                      <a:pt x="627" y="311"/>
                      <a:pt x="627" y="312"/>
                      <a:pt x="627" y="312"/>
                    </a:cubicBezTo>
                    <a:cubicBezTo>
                      <a:pt x="626" y="312"/>
                      <a:pt x="626" y="312"/>
                      <a:pt x="626" y="312"/>
                    </a:cubicBezTo>
                    <a:cubicBezTo>
                      <a:pt x="626" y="311"/>
                      <a:pt x="626" y="311"/>
                      <a:pt x="626" y="311"/>
                    </a:cubicBezTo>
                    <a:cubicBezTo>
                      <a:pt x="626" y="311"/>
                      <a:pt x="626" y="311"/>
                      <a:pt x="626" y="311"/>
                    </a:cubicBezTo>
                    <a:cubicBezTo>
                      <a:pt x="625" y="311"/>
                      <a:pt x="625" y="311"/>
                      <a:pt x="625" y="312"/>
                    </a:cubicBezTo>
                    <a:cubicBezTo>
                      <a:pt x="625" y="312"/>
                      <a:pt x="626" y="312"/>
                      <a:pt x="625" y="312"/>
                    </a:cubicBezTo>
                    <a:cubicBezTo>
                      <a:pt x="625" y="312"/>
                      <a:pt x="625" y="312"/>
                      <a:pt x="625" y="312"/>
                    </a:cubicBezTo>
                    <a:cubicBezTo>
                      <a:pt x="626" y="313"/>
                      <a:pt x="626" y="312"/>
                      <a:pt x="627" y="312"/>
                    </a:cubicBezTo>
                    <a:cubicBezTo>
                      <a:pt x="628" y="312"/>
                      <a:pt x="628" y="312"/>
                      <a:pt x="628" y="311"/>
                    </a:cubicBezTo>
                    <a:cubicBezTo>
                      <a:pt x="628" y="311"/>
                      <a:pt x="628" y="311"/>
                      <a:pt x="628" y="311"/>
                    </a:cubicBezTo>
                    <a:cubicBezTo>
                      <a:pt x="628" y="311"/>
                      <a:pt x="628" y="310"/>
                      <a:pt x="628" y="310"/>
                    </a:cubicBezTo>
                    <a:cubicBezTo>
                      <a:pt x="628" y="311"/>
                      <a:pt x="628" y="311"/>
                      <a:pt x="628" y="311"/>
                    </a:cubicBezTo>
                    <a:close/>
                    <a:moveTo>
                      <a:pt x="622" y="255"/>
                    </a:moveTo>
                    <a:cubicBezTo>
                      <a:pt x="622" y="255"/>
                      <a:pt x="622" y="255"/>
                      <a:pt x="621" y="255"/>
                    </a:cubicBezTo>
                    <a:cubicBezTo>
                      <a:pt x="621" y="256"/>
                      <a:pt x="621" y="256"/>
                      <a:pt x="620" y="256"/>
                    </a:cubicBezTo>
                    <a:cubicBezTo>
                      <a:pt x="620" y="256"/>
                      <a:pt x="620" y="255"/>
                      <a:pt x="620" y="256"/>
                    </a:cubicBezTo>
                    <a:cubicBezTo>
                      <a:pt x="620" y="256"/>
                      <a:pt x="620" y="256"/>
                      <a:pt x="620" y="256"/>
                    </a:cubicBezTo>
                    <a:cubicBezTo>
                      <a:pt x="620" y="256"/>
                      <a:pt x="620" y="257"/>
                      <a:pt x="620" y="257"/>
                    </a:cubicBezTo>
                    <a:cubicBezTo>
                      <a:pt x="620" y="257"/>
                      <a:pt x="620" y="257"/>
                      <a:pt x="620" y="257"/>
                    </a:cubicBezTo>
                    <a:cubicBezTo>
                      <a:pt x="621" y="257"/>
                      <a:pt x="621" y="257"/>
                      <a:pt x="622" y="257"/>
                    </a:cubicBezTo>
                    <a:cubicBezTo>
                      <a:pt x="622" y="256"/>
                      <a:pt x="622" y="257"/>
                      <a:pt x="622" y="256"/>
                    </a:cubicBezTo>
                    <a:cubicBezTo>
                      <a:pt x="623" y="256"/>
                      <a:pt x="622" y="256"/>
                      <a:pt x="622" y="256"/>
                    </a:cubicBezTo>
                    <a:cubicBezTo>
                      <a:pt x="623" y="256"/>
                      <a:pt x="621" y="256"/>
                      <a:pt x="622" y="256"/>
                    </a:cubicBezTo>
                    <a:cubicBezTo>
                      <a:pt x="621" y="256"/>
                      <a:pt x="622" y="255"/>
                      <a:pt x="622" y="255"/>
                    </a:cubicBezTo>
                    <a:close/>
                    <a:moveTo>
                      <a:pt x="430" y="285"/>
                    </a:moveTo>
                    <a:cubicBezTo>
                      <a:pt x="430" y="285"/>
                      <a:pt x="430" y="285"/>
                      <a:pt x="429" y="286"/>
                    </a:cubicBezTo>
                    <a:cubicBezTo>
                      <a:pt x="429" y="286"/>
                      <a:pt x="429" y="286"/>
                      <a:pt x="429" y="287"/>
                    </a:cubicBezTo>
                    <a:cubicBezTo>
                      <a:pt x="429" y="287"/>
                      <a:pt x="430" y="286"/>
                      <a:pt x="431" y="286"/>
                    </a:cubicBezTo>
                    <a:cubicBezTo>
                      <a:pt x="431" y="286"/>
                      <a:pt x="431" y="286"/>
                      <a:pt x="432" y="286"/>
                    </a:cubicBezTo>
                    <a:cubicBezTo>
                      <a:pt x="432" y="286"/>
                      <a:pt x="433" y="285"/>
                      <a:pt x="433" y="285"/>
                    </a:cubicBezTo>
                    <a:cubicBezTo>
                      <a:pt x="432" y="284"/>
                      <a:pt x="431" y="285"/>
                      <a:pt x="430" y="285"/>
                    </a:cubicBezTo>
                    <a:close/>
                    <a:moveTo>
                      <a:pt x="630" y="311"/>
                    </a:moveTo>
                    <a:cubicBezTo>
                      <a:pt x="630" y="312"/>
                      <a:pt x="631" y="311"/>
                      <a:pt x="631" y="311"/>
                    </a:cubicBezTo>
                    <a:cubicBezTo>
                      <a:pt x="632" y="311"/>
                      <a:pt x="632" y="311"/>
                      <a:pt x="633" y="311"/>
                    </a:cubicBezTo>
                    <a:cubicBezTo>
                      <a:pt x="633" y="310"/>
                      <a:pt x="633" y="310"/>
                      <a:pt x="633" y="310"/>
                    </a:cubicBezTo>
                    <a:cubicBezTo>
                      <a:pt x="632" y="309"/>
                      <a:pt x="632" y="310"/>
                      <a:pt x="631" y="310"/>
                    </a:cubicBezTo>
                    <a:cubicBezTo>
                      <a:pt x="632" y="310"/>
                      <a:pt x="630" y="310"/>
                      <a:pt x="631" y="310"/>
                    </a:cubicBezTo>
                    <a:cubicBezTo>
                      <a:pt x="630" y="310"/>
                      <a:pt x="630" y="311"/>
                      <a:pt x="630" y="311"/>
                    </a:cubicBezTo>
                    <a:close/>
                    <a:moveTo>
                      <a:pt x="623" y="299"/>
                    </a:moveTo>
                    <a:cubicBezTo>
                      <a:pt x="623" y="300"/>
                      <a:pt x="625" y="299"/>
                      <a:pt x="625" y="299"/>
                    </a:cubicBezTo>
                    <a:cubicBezTo>
                      <a:pt x="626" y="298"/>
                      <a:pt x="624" y="299"/>
                      <a:pt x="624" y="299"/>
                    </a:cubicBezTo>
                    <a:cubicBezTo>
                      <a:pt x="624" y="299"/>
                      <a:pt x="623" y="298"/>
                      <a:pt x="623" y="299"/>
                    </a:cubicBezTo>
                    <a:close/>
                    <a:moveTo>
                      <a:pt x="366" y="350"/>
                    </a:moveTo>
                    <a:cubicBezTo>
                      <a:pt x="366" y="349"/>
                      <a:pt x="365" y="350"/>
                      <a:pt x="364" y="351"/>
                    </a:cubicBezTo>
                    <a:cubicBezTo>
                      <a:pt x="365" y="351"/>
                      <a:pt x="365" y="351"/>
                      <a:pt x="366" y="351"/>
                    </a:cubicBezTo>
                    <a:cubicBezTo>
                      <a:pt x="367" y="351"/>
                      <a:pt x="367" y="350"/>
                      <a:pt x="366" y="350"/>
                    </a:cubicBezTo>
                    <a:close/>
                    <a:moveTo>
                      <a:pt x="369" y="350"/>
                    </a:moveTo>
                    <a:cubicBezTo>
                      <a:pt x="369" y="351"/>
                      <a:pt x="369" y="350"/>
                      <a:pt x="368" y="350"/>
                    </a:cubicBezTo>
                    <a:cubicBezTo>
                      <a:pt x="368" y="351"/>
                      <a:pt x="368" y="350"/>
                      <a:pt x="367" y="350"/>
                    </a:cubicBezTo>
                    <a:cubicBezTo>
                      <a:pt x="366" y="351"/>
                      <a:pt x="368" y="351"/>
                      <a:pt x="368" y="351"/>
                    </a:cubicBezTo>
                    <a:cubicBezTo>
                      <a:pt x="368" y="351"/>
                      <a:pt x="369" y="351"/>
                      <a:pt x="369" y="352"/>
                    </a:cubicBezTo>
                    <a:cubicBezTo>
                      <a:pt x="369" y="352"/>
                      <a:pt x="370" y="352"/>
                      <a:pt x="371" y="352"/>
                    </a:cubicBezTo>
                    <a:cubicBezTo>
                      <a:pt x="371" y="352"/>
                      <a:pt x="372" y="352"/>
                      <a:pt x="372" y="353"/>
                    </a:cubicBezTo>
                    <a:cubicBezTo>
                      <a:pt x="372" y="353"/>
                      <a:pt x="373" y="353"/>
                      <a:pt x="373" y="353"/>
                    </a:cubicBezTo>
                    <a:cubicBezTo>
                      <a:pt x="373" y="353"/>
                      <a:pt x="373" y="353"/>
                      <a:pt x="374" y="353"/>
                    </a:cubicBezTo>
                    <a:cubicBezTo>
                      <a:pt x="374" y="353"/>
                      <a:pt x="374" y="354"/>
                      <a:pt x="375" y="354"/>
                    </a:cubicBezTo>
                    <a:cubicBezTo>
                      <a:pt x="375" y="354"/>
                      <a:pt x="375" y="354"/>
                      <a:pt x="375" y="354"/>
                    </a:cubicBezTo>
                    <a:cubicBezTo>
                      <a:pt x="375" y="354"/>
                      <a:pt x="375" y="354"/>
                      <a:pt x="376" y="354"/>
                    </a:cubicBezTo>
                    <a:cubicBezTo>
                      <a:pt x="376" y="354"/>
                      <a:pt x="378" y="353"/>
                      <a:pt x="378" y="353"/>
                    </a:cubicBezTo>
                    <a:cubicBezTo>
                      <a:pt x="379" y="353"/>
                      <a:pt x="377" y="354"/>
                      <a:pt x="377" y="354"/>
                    </a:cubicBezTo>
                    <a:cubicBezTo>
                      <a:pt x="377" y="354"/>
                      <a:pt x="376" y="354"/>
                      <a:pt x="376" y="354"/>
                    </a:cubicBezTo>
                    <a:cubicBezTo>
                      <a:pt x="376" y="354"/>
                      <a:pt x="376" y="354"/>
                      <a:pt x="376" y="354"/>
                    </a:cubicBezTo>
                    <a:cubicBezTo>
                      <a:pt x="376" y="354"/>
                      <a:pt x="376" y="355"/>
                      <a:pt x="377" y="355"/>
                    </a:cubicBezTo>
                    <a:cubicBezTo>
                      <a:pt x="378" y="354"/>
                      <a:pt x="379" y="353"/>
                      <a:pt x="380" y="353"/>
                    </a:cubicBezTo>
                    <a:cubicBezTo>
                      <a:pt x="381" y="351"/>
                      <a:pt x="380" y="352"/>
                      <a:pt x="380" y="352"/>
                    </a:cubicBezTo>
                    <a:cubicBezTo>
                      <a:pt x="380" y="352"/>
                      <a:pt x="380" y="351"/>
                      <a:pt x="380" y="351"/>
                    </a:cubicBezTo>
                    <a:cubicBezTo>
                      <a:pt x="380" y="351"/>
                      <a:pt x="379" y="351"/>
                      <a:pt x="379" y="351"/>
                    </a:cubicBezTo>
                    <a:cubicBezTo>
                      <a:pt x="379" y="351"/>
                      <a:pt x="378" y="353"/>
                      <a:pt x="378" y="353"/>
                    </a:cubicBezTo>
                    <a:cubicBezTo>
                      <a:pt x="378" y="353"/>
                      <a:pt x="379" y="351"/>
                      <a:pt x="379" y="351"/>
                    </a:cubicBezTo>
                    <a:cubicBezTo>
                      <a:pt x="379" y="351"/>
                      <a:pt x="378" y="351"/>
                      <a:pt x="378" y="351"/>
                    </a:cubicBezTo>
                    <a:cubicBezTo>
                      <a:pt x="378" y="351"/>
                      <a:pt x="379" y="350"/>
                      <a:pt x="378" y="350"/>
                    </a:cubicBezTo>
                    <a:cubicBezTo>
                      <a:pt x="378" y="349"/>
                      <a:pt x="377" y="351"/>
                      <a:pt x="376" y="351"/>
                    </a:cubicBezTo>
                    <a:cubicBezTo>
                      <a:pt x="376" y="352"/>
                      <a:pt x="375" y="351"/>
                      <a:pt x="376" y="350"/>
                    </a:cubicBezTo>
                    <a:cubicBezTo>
                      <a:pt x="375" y="351"/>
                      <a:pt x="375" y="350"/>
                      <a:pt x="375" y="350"/>
                    </a:cubicBezTo>
                    <a:cubicBezTo>
                      <a:pt x="375" y="350"/>
                      <a:pt x="374" y="350"/>
                      <a:pt x="374" y="350"/>
                    </a:cubicBezTo>
                    <a:cubicBezTo>
                      <a:pt x="373" y="350"/>
                      <a:pt x="372" y="351"/>
                      <a:pt x="372" y="351"/>
                    </a:cubicBezTo>
                    <a:cubicBezTo>
                      <a:pt x="373" y="351"/>
                      <a:pt x="373" y="352"/>
                      <a:pt x="372" y="352"/>
                    </a:cubicBezTo>
                    <a:cubicBezTo>
                      <a:pt x="372" y="351"/>
                      <a:pt x="372" y="352"/>
                      <a:pt x="371" y="351"/>
                    </a:cubicBezTo>
                    <a:cubicBezTo>
                      <a:pt x="371" y="351"/>
                      <a:pt x="372" y="351"/>
                      <a:pt x="371" y="351"/>
                    </a:cubicBezTo>
                    <a:cubicBezTo>
                      <a:pt x="371" y="351"/>
                      <a:pt x="371" y="351"/>
                      <a:pt x="371" y="351"/>
                    </a:cubicBezTo>
                    <a:cubicBezTo>
                      <a:pt x="371" y="351"/>
                      <a:pt x="371" y="351"/>
                      <a:pt x="370" y="351"/>
                    </a:cubicBezTo>
                    <a:cubicBezTo>
                      <a:pt x="370" y="351"/>
                      <a:pt x="370" y="350"/>
                      <a:pt x="371" y="350"/>
                    </a:cubicBezTo>
                    <a:cubicBezTo>
                      <a:pt x="371" y="349"/>
                      <a:pt x="370" y="350"/>
                      <a:pt x="369" y="350"/>
                    </a:cubicBezTo>
                    <a:close/>
                    <a:moveTo>
                      <a:pt x="362" y="349"/>
                    </a:moveTo>
                    <a:cubicBezTo>
                      <a:pt x="362" y="348"/>
                      <a:pt x="362" y="348"/>
                      <a:pt x="363" y="348"/>
                    </a:cubicBezTo>
                    <a:cubicBezTo>
                      <a:pt x="363" y="348"/>
                      <a:pt x="363" y="347"/>
                      <a:pt x="363" y="347"/>
                    </a:cubicBezTo>
                    <a:cubicBezTo>
                      <a:pt x="364" y="347"/>
                      <a:pt x="363" y="347"/>
                      <a:pt x="362" y="347"/>
                    </a:cubicBezTo>
                    <a:cubicBezTo>
                      <a:pt x="362" y="346"/>
                      <a:pt x="361" y="346"/>
                      <a:pt x="361" y="347"/>
                    </a:cubicBezTo>
                    <a:cubicBezTo>
                      <a:pt x="361" y="348"/>
                      <a:pt x="361" y="349"/>
                      <a:pt x="362" y="349"/>
                    </a:cubicBezTo>
                    <a:close/>
                    <a:moveTo>
                      <a:pt x="556" y="335"/>
                    </a:moveTo>
                    <a:cubicBezTo>
                      <a:pt x="556" y="336"/>
                      <a:pt x="555" y="337"/>
                      <a:pt x="556" y="337"/>
                    </a:cubicBezTo>
                    <a:cubicBezTo>
                      <a:pt x="556" y="337"/>
                      <a:pt x="557" y="337"/>
                      <a:pt x="557" y="336"/>
                    </a:cubicBezTo>
                    <a:cubicBezTo>
                      <a:pt x="557" y="336"/>
                      <a:pt x="556" y="336"/>
                      <a:pt x="556" y="336"/>
                    </a:cubicBezTo>
                    <a:cubicBezTo>
                      <a:pt x="556" y="336"/>
                      <a:pt x="557" y="335"/>
                      <a:pt x="558" y="335"/>
                    </a:cubicBezTo>
                    <a:cubicBezTo>
                      <a:pt x="558" y="334"/>
                      <a:pt x="558" y="335"/>
                      <a:pt x="558" y="335"/>
                    </a:cubicBezTo>
                    <a:cubicBezTo>
                      <a:pt x="558" y="335"/>
                      <a:pt x="559" y="334"/>
                      <a:pt x="559" y="334"/>
                    </a:cubicBezTo>
                    <a:cubicBezTo>
                      <a:pt x="559" y="334"/>
                      <a:pt x="560" y="333"/>
                      <a:pt x="560" y="333"/>
                    </a:cubicBezTo>
                    <a:cubicBezTo>
                      <a:pt x="559" y="333"/>
                      <a:pt x="559" y="335"/>
                      <a:pt x="558" y="334"/>
                    </a:cubicBezTo>
                    <a:cubicBezTo>
                      <a:pt x="558" y="334"/>
                      <a:pt x="558" y="334"/>
                      <a:pt x="558" y="334"/>
                    </a:cubicBezTo>
                    <a:cubicBezTo>
                      <a:pt x="558" y="334"/>
                      <a:pt x="558" y="334"/>
                      <a:pt x="558" y="334"/>
                    </a:cubicBezTo>
                    <a:cubicBezTo>
                      <a:pt x="557" y="335"/>
                      <a:pt x="557" y="335"/>
                      <a:pt x="556" y="335"/>
                    </a:cubicBezTo>
                    <a:close/>
                    <a:moveTo>
                      <a:pt x="560" y="333"/>
                    </a:moveTo>
                    <a:cubicBezTo>
                      <a:pt x="560" y="333"/>
                      <a:pt x="560" y="333"/>
                      <a:pt x="561" y="332"/>
                    </a:cubicBezTo>
                    <a:cubicBezTo>
                      <a:pt x="560" y="333"/>
                      <a:pt x="559" y="333"/>
                      <a:pt x="558" y="334"/>
                    </a:cubicBezTo>
                    <a:cubicBezTo>
                      <a:pt x="559" y="334"/>
                      <a:pt x="559" y="333"/>
                      <a:pt x="560" y="333"/>
                    </a:cubicBezTo>
                    <a:close/>
                    <a:moveTo>
                      <a:pt x="561" y="333"/>
                    </a:moveTo>
                    <a:cubicBezTo>
                      <a:pt x="561" y="333"/>
                      <a:pt x="562" y="333"/>
                      <a:pt x="562" y="332"/>
                    </a:cubicBezTo>
                    <a:cubicBezTo>
                      <a:pt x="562" y="332"/>
                      <a:pt x="562" y="332"/>
                      <a:pt x="561" y="332"/>
                    </a:cubicBezTo>
                    <a:cubicBezTo>
                      <a:pt x="561" y="332"/>
                      <a:pt x="561" y="332"/>
                      <a:pt x="562" y="332"/>
                    </a:cubicBezTo>
                    <a:cubicBezTo>
                      <a:pt x="561" y="333"/>
                      <a:pt x="561" y="333"/>
                      <a:pt x="561" y="333"/>
                    </a:cubicBezTo>
                    <a:close/>
                    <a:moveTo>
                      <a:pt x="560" y="372"/>
                    </a:moveTo>
                    <a:cubicBezTo>
                      <a:pt x="560" y="372"/>
                      <a:pt x="560" y="372"/>
                      <a:pt x="560" y="372"/>
                    </a:cubicBezTo>
                    <a:cubicBezTo>
                      <a:pt x="561" y="373"/>
                      <a:pt x="562" y="372"/>
                      <a:pt x="563" y="371"/>
                    </a:cubicBezTo>
                    <a:cubicBezTo>
                      <a:pt x="562" y="372"/>
                      <a:pt x="562" y="372"/>
                      <a:pt x="561" y="372"/>
                    </a:cubicBezTo>
                    <a:cubicBezTo>
                      <a:pt x="561" y="372"/>
                      <a:pt x="560" y="372"/>
                      <a:pt x="560" y="372"/>
                    </a:cubicBezTo>
                    <a:close/>
                    <a:moveTo>
                      <a:pt x="549" y="346"/>
                    </a:moveTo>
                    <a:cubicBezTo>
                      <a:pt x="549" y="346"/>
                      <a:pt x="550" y="346"/>
                      <a:pt x="550" y="346"/>
                    </a:cubicBezTo>
                    <a:cubicBezTo>
                      <a:pt x="550" y="346"/>
                      <a:pt x="551" y="346"/>
                      <a:pt x="552" y="345"/>
                    </a:cubicBezTo>
                    <a:cubicBezTo>
                      <a:pt x="552" y="345"/>
                      <a:pt x="553" y="345"/>
                      <a:pt x="553" y="345"/>
                    </a:cubicBezTo>
                    <a:cubicBezTo>
                      <a:pt x="552" y="344"/>
                      <a:pt x="550" y="345"/>
                      <a:pt x="550" y="345"/>
                    </a:cubicBezTo>
                    <a:cubicBezTo>
                      <a:pt x="549" y="345"/>
                      <a:pt x="548" y="345"/>
                      <a:pt x="547" y="345"/>
                    </a:cubicBezTo>
                    <a:cubicBezTo>
                      <a:pt x="547" y="345"/>
                      <a:pt x="547" y="345"/>
                      <a:pt x="547" y="345"/>
                    </a:cubicBezTo>
                    <a:cubicBezTo>
                      <a:pt x="547" y="345"/>
                      <a:pt x="546" y="345"/>
                      <a:pt x="546" y="345"/>
                    </a:cubicBezTo>
                    <a:cubicBezTo>
                      <a:pt x="546" y="345"/>
                      <a:pt x="545" y="345"/>
                      <a:pt x="545" y="345"/>
                    </a:cubicBezTo>
                    <a:cubicBezTo>
                      <a:pt x="544" y="345"/>
                      <a:pt x="543" y="345"/>
                      <a:pt x="543" y="345"/>
                    </a:cubicBezTo>
                    <a:cubicBezTo>
                      <a:pt x="542" y="345"/>
                      <a:pt x="541" y="346"/>
                      <a:pt x="541" y="345"/>
                    </a:cubicBezTo>
                    <a:cubicBezTo>
                      <a:pt x="541" y="344"/>
                      <a:pt x="540" y="344"/>
                      <a:pt x="540" y="344"/>
                    </a:cubicBezTo>
                    <a:cubicBezTo>
                      <a:pt x="541" y="344"/>
                      <a:pt x="540" y="345"/>
                      <a:pt x="540" y="345"/>
                    </a:cubicBezTo>
                    <a:cubicBezTo>
                      <a:pt x="540" y="344"/>
                      <a:pt x="540" y="344"/>
                      <a:pt x="540" y="344"/>
                    </a:cubicBezTo>
                    <a:cubicBezTo>
                      <a:pt x="540" y="344"/>
                      <a:pt x="538" y="343"/>
                      <a:pt x="538" y="344"/>
                    </a:cubicBezTo>
                    <a:cubicBezTo>
                      <a:pt x="538" y="344"/>
                      <a:pt x="538" y="344"/>
                      <a:pt x="538" y="344"/>
                    </a:cubicBezTo>
                    <a:cubicBezTo>
                      <a:pt x="538" y="345"/>
                      <a:pt x="538" y="345"/>
                      <a:pt x="537" y="345"/>
                    </a:cubicBezTo>
                    <a:cubicBezTo>
                      <a:pt x="536" y="345"/>
                      <a:pt x="537" y="345"/>
                      <a:pt x="537" y="344"/>
                    </a:cubicBezTo>
                    <a:cubicBezTo>
                      <a:pt x="537" y="344"/>
                      <a:pt x="536" y="345"/>
                      <a:pt x="536" y="345"/>
                    </a:cubicBezTo>
                    <a:cubicBezTo>
                      <a:pt x="536" y="344"/>
                      <a:pt x="537" y="344"/>
                      <a:pt x="537" y="343"/>
                    </a:cubicBezTo>
                    <a:cubicBezTo>
                      <a:pt x="537" y="343"/>
                      <a:pt x="537" y="343"/>
                      <a:pt x="537" y="343"/>
                    </a:cubicBezTo>
                    <a:cubicBezTo>
                      <a:pt x="537" y="343"/>
                      <a:pt x="537" y="342"/>
                      <a:pt x="537" y="342"/>
                    </a:cubicBezTo>
                    <a:cubicBezTo>
                      <a:pt x="537" y="342"/>
                      <a:pt x="537" y="342"/>
                      <a:pt x="537" y="342"/>
                    </a:cubicBezTo>
                    <a:cubicBezTo>
                      <a:pt x="536" y="342"/>
                      <a:pt x="536" y="342"/>
                      <a:pt x="536" y="342"/>
                    </a:cubicBezTo>
                    <a:cubicBezTo>
                      <a:pt x="536" y="341"/>
                      <a:pt x="537" y="340"/>
                      <a:pt x="537" y="340"/>
                    </a:cubicBezTo>
                    <a:cubicBezTo>
                      <a:pt x="537" y="340"/>
                      <a:pt x="538" y="339"/>
                      <a:pt x="538" y="338"/>
                    </a:cubicBezTo>
                    <a:cubicBezTo>
                      <a:pt x="537" y="339"/>
                      <a:pt x="536" y="339"/>
                      <a:pt x="535" y="340"/>
                    </a:cubicBezTo>
                    <a:cubicBezTo>
                      <a:pt x="534" y="341"/>
                      <a:pt x="534" y="341"/>
                      <a:pt x="533" y="342"/>
                    </a:cubicBezTo>
                    <a:cubicBezTo>
                      <a:pt x="532" y="343"/>
                      <a:pt x="533" y="343"/>
                      <a:pt x="534" y="343"/>
                    </a:cubicBezTo>
                    <a:cubicBezTo>
                      <a:pt x="534" y="343"/>
                      <a:pt x="534" y="343"/>
                      <a:pt x="535" y="343"/>
                    </a:cubicBezTo>
                    <a:cubicBezTo>
                      <a:pt x="535" y="343"/>
                      <a:pt x="535" y="343"/>
                      <a:pt x="535" y="343"/>
                    </a:cubicBezTo>
                    <a:cubicBezTo>
                      <a:pt x="535" y="343"/>
                      <a:pt x="535" y="343"/>
                      <a:pt x="535" y="344"/>
                    </a:cubicBezTo>
                    <a:cubicBezTo>
                      <a:pt x="535" y="344"/>
                      <a:pt x="535" y="344"/>
                      <a:pt x="535" y="344"/>
                    </a:cubicBezTo>
                    <a:cubicBezTo>
                      <a:pt x="534" y="344"/>
                      <a:pt x="534" y="345"/>
                      <a:pt x="534" y="345"/>
                    </a:cubicBezTo>
                    <a:cubicBezTo>
                      <a:pt x="534" y="346"/>
                      <a:pt x="535" y="345"/>
                      <a:pt x="536" y="345"/>
                    </a:cubicBezTo>
                    <a:cubicBezTo>
                      <a:pt x="536" y="345"/>
                      <a:pt x="537" y="345"/>
                      <a:pt x="537" y="346"/>
                    </a:cubicBezTo>
                    <a:cubicBezTo>
                      <a:pt x="537" y="346"/>
                      <a:pt x="537" y="346"/>
                      <a:pt x="537" y="346"/>
                    </a:cubicBezTo>
                    <a:cubicBezTo>
                      <a:pt x="537" y="346"/>
                      <a:pt x="537" y="346"/>
                      <a:pt x="537" y="346"/>
                    </a:cubicBezTo>
                    <a:cubicBezTo>
                      <a:pt x="537" y="346"/>
                      <a:pt x="536" y="346"/>
                      <a:pt x="537" y="346"/>
                    </a:cubicBezTo>
                    <a:cubicBezTo>
                      <a:pt x="537" y="346"/>
                      <a:pt x="537" y="347"/>
                      <a:pt x="537" y="347"/>
                    </a:cubicBezTo>
                    <a:cubicBezTo>
                      <a:pt x="537" y="347"/>
                      <a:pt x="538" y="347"/>
                      <a:pt x="538" y="347"/>
                    </a:cubicBezTo>
                    <a:cubicBezTo>
                      <a:pt x="539" y="347"/>
                      <a:pt x="540" y="348"/>
                      <a:pt x="540" y="348"/>
                    </a:cubicBezTo>
                    <a:cubicBezTo>
                      <a:pt x="540" y="348"/>
                      <a:pt x="542" y="348"/>
                      <a:pt x="542" y="348"/>
                    </a:cubicBezTo>
                    <a:cubicBezTo>
                      <a:pt x="541" y="347"/>
                      <a:pt x="541" y="348"/>
                      <a:pt x="541" y="348"/>
                    </a:cubicBezTo>
                    <a:cubicBezTo>
                      <a:pt x="541" y="348"/>
                      <a:pt x="541" y="347"/>
                      <a:pt x="542" y="347"/>
                    </a:cubicBezTo>
                    <a:cubicBezTo>
                      <a:pt x="542" y="347"/>
                      <a:pt x="541" y="347"/>
                      <a:pt x="542" y="347"/>
                    </a:cubicBezTo>
                    <a:cubicBezTo>
                      <a:pt x="542" y="347"/>
                      <a:pt x="542" y="347"/>
                      <a:pt x="542" y="347"/>
                    </a:cubicBezTo>
                    <a:cubicBezTo>
                      <a:pt x="542" y="347"/>
                      <a:pt x="542" y="347"/>
                      <a:pt x="542" y="347"/>
                    </a:cubicBezTo>
                    <a:cubicBezTo>
                      <a:pt x="543" y="347"/>
                      <a:pt x="543" y="346"/>
                      <a:pt x="544" y="346"/>
                    </a:cubicBezTo>
                    <a:cubicBezTo>
                      <a:pt x="544" y="346"/>
                      <a:pt x="542" y="347"/>
                      <a:pt x="542" y="348"/>
                    </a:cubicBezTo>
                    <a:cubicBezTo>
                      <a:pt x="542" y="348"/>
                      <a:pt x="543" y="348"/>
                      <a:pt x="543" y="348"/>
                    </a:cubicBezTo>
                    <a:cubicBezTo>
                      <a:pt x="544" y="348"/>
                      <a:pt x="543" y="348"/>
                      <a:pt x="543" y="348"/>
                    </a:cubicBezTo>
                    <a:cubicBezTo>
                      <a:pt x="543" y="348"/>
                      <a:pt x="544" y="348"/>
                      <a:pt x="544" y="348"/>
                    </a:cubicBezTo>
                    <a:cubicBezTo>
                      <a:pt x="544" y="349"/>
                      <a:pt x="543" y="349"/>
                      <a:pt x="542" y="349"/>
                    </a:cubicBezTo>
                    <a:cubicBezTo>
                      <a:pt x="543" y="349"/>
                      <a:pt x="543" y="349"/>
                      <a:pt x="543" y="349"/>
                    </a:cubicBezTo>
                    <a:cubicBezTo>
                      <a:pt x="543" y="349"/>
                      <a:pt x="543" y="349"/>
                      <a:pt x="543" y="349"/>
                    </a:cubicBezTo>
                    <a:cubicBezTo>
                      <a:pt x="543" y="349"/>
                      <a:pt x="543" y="350"/>
                      <a:pt x="543" y="350"/>
                    </a:cubicBezTo>
                    <a:cubicBezTo>
                      <a:pt x="544" y="350"/>
                      <a:pt x="546" y="350"/>
                      <a:pt x="547" y="350"/>
                    </a:cubicBezTo>
                    <a:cubicBezTo>
                      <a:pt x="547" y="350"/>
                      <a:pt x="546" y="349"/>
                      <a:pt x="546" y="349"/>
                    </a:cubicBezTo>
                    <a:cubicBezTo>
                      <a:pt x="546" y="349"/>
                      <a:pt x="547" y="349"/>
                      <a:pt x="547" y="349"/>
                    </a:cubicBezTo>
                    <a:cubicBezTo>
                      <a:pt x="547" y="348"/>
                      <a:pt x="547" y="348"/>
                      <a:pt x="547" y="348"/>
                    </a:cubicBezTo>
                    <a:cubicBezTo>
                      <a:pt x="547" y="348"/>
                      <a:pt x="547" y="348"/>
                      <a:pt x="547" y="348"/>
                    </a:cubicBezTo>
                    <a:cubicBezTo>
                      <a:pt x="546" y="348"/>
                      <a:pt x="547" y="348"/>
                      <a:pt x="546" y="348"/>
                    </a:cubicBezTo>
                    <a:cubicBezTo>
                      <a:pt x="546" y="348"/>
                      <a:pt x="547" y="348"/>
                      <a:pt x="547" y="348"/>
                    </a:cubicBezTo>
                    <a:cubicBezTo>
                      <a:pt x="547" y="348"/>
                      <a:pt x="546" y="348"/>
                      <a:pt x="547" y="348"/>
                    </a:cubicBezTo>
                    <a:cubicBezTo>
                      <a:pt x="547" y="348"/>
                      <a:pt x="547" y="348"/>
                      <a:pt x="547" y="348"/>
                    </a:cubicBezTo>
                    <a:cubicBezTo>
                      <a:pt x="547" y="348"/>
                      <a:pt x="547" y="347"/>
                      <a:pt x="547" y="347"/>
                    </a:cubicBezTo>
                    <a:cubicBezTo>
                      <a:pt x="547" y="347"/>
                      <a:pt x="548" y="347"/>
                      <a:pt x="548" y="347"/>
                    </a:cubicBezTo>
                    <a:cubicBezTo>
                      <a:pt x="548" y="347"/>
                      <a:pt x="548" y="347"/>
                      <a:pt x="548" y="347"/>
                    </a:cubicBezTo>
                    <a:cubicBezTo>
                      <a:pt x="548" y="347"/>
                      <a:pt x="549" y="347"/>
                      <a:pt x="549" y="346"/>
                    </a:cubicBezTo>
                    <a:cubicBezTo>
                      <a:pt x="549" y="347"/>
                      <a:pt x="549" y="346"/>
                      <a:pt x="549" y="346"/>
                    </a:cubicBezTo>
                    <a:close/>
                    <a:moveTo>
                      <a:pt x="547" y="348"/>
                    </a:moveTo>
                    <a:cubicBezTo>
                      <a:pt x="547" y="348"/>
                      <a:pt x="547" y="348"/>
                      <a:pt x="547" y="348"/>
                    </a:cubicBezTo>
                    <a:close/>
                    <a:moveTo>
                      <a:pt x="570" y="348"/>
                    </a:moveTo>
                    <a:cubicBezTo>
                      <a:pt x="570" y="348"/>
                      <a:pt x="570" y="348"/>
                      <a:pt x="569" y="348"/>
                    </a:cubicBezTo>
                    <a:cubicBezTo>
                      <a:pt x="570" y="347"/>
                      <a:pt x="569" y="348"/>
                      <a:pt x="568" y="347"/>
                    </a:cubicBezTo>
                    <a:cubicBezTo>
                      <a:pt x="569" y="347"/>
                      <a:pt x="568" y="347"/>
                      <a:pt x="567" y="347"/>
                    </a:cubicBezTo>
                    <a:cubicBezTo>
                      <a:pt x="567" y="348"/>
                      <a:pt x="567" y="348"/>
                      <a:pt x="567" y="348"/>
                    </a:cubicBezTo>
                    <a:cubicBezTo>
                      <a:pt x="567" y="348"/>
                      <a:pt x="567" y="348"/>
                      <a:pt x="566" y="348"/>
                    </a:cubicBezTo>
                    <a:cubicBezTo>
                      <a:pt x="567" y="347"/>
                      <a:pt x="567" y="348"/>
                      <a:pt x="567" y="347"/>
                    </a:cubicBezTo>
                    <a:cubicBezTo>
                      <a:pt x="567" y="346"/>
                      <a:pt x="566" y="346"/>
                      <a:pt x="566" y="346"/>
                    </a:cubicBezTo>
                    <a:cubicBezTo>
                      <a:pt x="565" y="347"/>
                      <a:pt x="565" y="347"/>
                      <a:pt x="564" y="348"/>
                    </a:cubicBezTo>
                    <a:cubicBezTo>
                      <a:pt x="564" y="348"/>
                      <a:pt x="563" y="348"/>
                      <a:pt x="563" y="349"/>
                    </a:cubicBezTo>
                    <a:cubicBezTo>
                      <a:pt x="563" y="349"/>
                      <a:pt x="564" y="349"/>
                      <a:pt x="564" y="349"/>
                    </a:cubicBezTo>
                    <a:cubicBezTo>
                      <a:pt x="564" y="348"/>
                      <a:pt x="565" y="348"/>
                      <a:pt x="565" y="348"/>
                    </a:cubicBezTo>
                    <a:cubicBezTo>
                      <a:pt x="566" y="347"/>
                      <a:pt x="566" y="347"/>
                      <a:pt x="566" y="347"/>
                    </a:cubicBezTo>
                    <a:cubicBezTo>
                      <a:pt x="566" y="348"/>
                      <a:pt x="566" y="348"/>
                      <a:pt x="565" y="348"/>
                    </a:cubicBezTo>
                    <a:cubicBezTo>
                      <a:pt x="565" y="348"/>
                      <a:pt x="564" y="349"/>
                      <a:pt x="564" y="349"/>
                    </a:cubicBezTo>
                    <a:cubicBezTo>
                      <a:pt x="563" y="349"/>
                      <a:pt x="563" y="350"/>
                      <a:pt x="562" y="350"/>
                    </a:cubicBezTo>
                    <a:cubicBezTo>
                      <a:pt x="562" y="350"/>
                      <a:pt x="561" y="350"/>
                      <a:pt x="561" y="350"/>
                    </a:cubicBezTo>
                    <a:cubicBezTo>
                      <a:pt x="562" y="350"/>
                      <a:pt x="561" y="351"/>
                      <a:pt x="562" y="351"/>
                    </a:cubicBezTo>
                    <a:cubicBezTo>
                      <a:pt x="563" y="350"/>
                      <a:pt x="564" y="350"/>
                      <a:pt x="565" y="350"/>
                    </a:cubicBezTo>
                    <a:cubicBezTo>
                      <a:pt x="564" y="351"/>
                      <a:pt x="561" y="351"/>
                      <a:pt x="561" y="352"/>
                    </a:cubicBezTo>
                    <a:cubicBezTo>
                      <a:pt x="561" y="353"/>
                      <a:pt x="561" y="353"/>
                      <a:pt x="560" y="353"/>
                    </a:cubicBezTo>
                    <a:cubicBezTo>
                      <a:pt x="560" y="353"/>
                      <a:pt x="559" y="354"/>
                      <a:pt x="560" y="354"/>
                    </a:cubicBezTo>
                    <a:cubicBezTo>
                      <a:pt x="560" y="353"/>
                      <a:pt x="561" y="352"/>
                      <a:pt x="559" y="352"/>
                    </a:cubicBezTo>
                    <a:cubicBezTo>
                      <a:pt x="559" y="352"/>
                      <a:pt x="558" y="353"/>
                      <a:pt x="557" y="353"/>
                    </a:cubicBezTo>
                    <a:cubicBezTo>
                      <a:pt x="557" y="352"/>
                      <a:pt x="560" y="352"/>
                      <a:pt x="559" y="351"/>
                    </a:cubicBezTo>
                    <a:cubicBezTo>
                      <a:pt x="559" y="351"/>
                      <a:pt x="559" y="351"/>
                      <a:pt x="560" y="351"/>
                    </a:cubicBezTo>
                    <a:cubicBezTo>
                      <a:pt x="560" y="351"/>
                      <a:pt x="558" y="351"/>
                      <a:pt x="558" y="351"/>
                    </a:cubicBezTo>
                    <a:cubicBezTo>
                      <a:pt x="558" y="351"/>
                      <a:pt x="559" y="351"/>
                      <a:pt x="559" y="351"/>
                    </a:cubicBezTo>
                    <a:cubicBezTo>
                      <a:pt x="559" y="351"/>
                      <a:pt x="560" y="351"/>
                      <a:pt x="560" y="351"/>
                    </a:cubicBezTo>
                    <a:cubicBezTo>
                      <a:pt x="561" y="351"/>
                      <a:pt x="562" y="349"/>
                      <a:pt x="562" y="349"/>
                    </a:cubicBezTo>
                    <a:cubicBezTo>
                      <a:pt x="561" y="349"/>
                      <a:pt x="559" y="351"/>
                      <a:pt x="558" y="350"/>
                    </a:cubicBezTo>
                    <a:cubicBezTo>
                      <a:pt x="558" y="351"/>
                      <a:pt x="561" y="349"/>
                      <a:pt x="561" y="349"/>
                    </a:cubicBezTo>
                    <a:cubicBezTo>
                      <a:pt x="560" y="349"/>
                      <a:pt x="562" y="349"/>
                      <a:pt x="562" y="349"/>
                    </a:cubicBezTo>
                    <a:cubicBezTo>
                      <a:pt x="562" y="349"/>
                      <a:pt x="563" y="349"/>
                      <a:pt x="563" y="349"/>
                    </a:cubicBezTo>
                    <a:cubicBezTo>
                      <a:pt x="564" y="348"/>
                      <a:pt x="564" y="348"/>
                      <a:pt x="565" y="347"/>
                    </a:cubicBezTo>
                    <a:cubicBezTo>
                      <a:pt x="565" y="347"/>
                      <a:pt x="566" y="346"/>
                      <a:pt x="565" y="346"/>
                    </a:cubicBezTo>
                    <a:cubicBezTo>
                      <a:pt x="565" y="346"/>
                      <a:pt x="564" y="347"/>
                      <a:pt x="564" y="348"/>
                    </a:cubicBezTo>
                    <a:cubicBezTo>
                      <a:pt x="564" y="347"/>
                      <a:pt x="565" y="346"/>
                      <a:pt x="566" y="345"/>
                    </a:cubicBezTo>
                    <a:cubicBezTo>
                      <a:pt x="566" y="344"/>
                      <a:pt x="567" y="344"/>
                      <a:pt x="567" y="343"/>
                    </a:cubicBezTo>
                    <a:cubicBezTo>
                      <a:pt x="568" y="343"/>
                      <a:pt x="567" y="343"/>
                      <a:pt x="567" y="343"/>
                    </a:cubicBezTo>
                    <a:cubicBezTo>
                      <a:pt x="567" y="343"/>
                      <a:pt x="569" y="341"/>
                      <a:pt x="569" y="341"/>
                    </a:cubicBezTo>
                    <a:cubicBezTo>
                      <a:pt x="569" y="341"/>
                      <a:pt x="567" y="340"/>
                      <a:pt x="567" y="340"/>
                    </a:cubicBezTo>
                    <a:cubicBezTo>
                      <a:pt x="567" y="340"/>
                      <a:pt x="569" y="339"/>
                      <a:pt x="569" y="339"/>
                    </a:cubicBezTo>
                    <a:cubicBezTo>
                      <a:pt x="568" y="339"/>
                      <a:pt x="568" y="339"/>
                      <a:pt x="568" y="339"/>
                    </a:cubicBezTo>
                    <a:cubicBezTo>
                      <a:pt x="567" y="339"/>
                      <a:pt x="567" y="339"/>
                      <a:pt x="567" y="339"/>
                    </a:cubicBezTo>
                    <a:cubicBezTo>
                      <a:pt x="566" y="339"/>
                      <a:pt x="566" y="340"/>
                      <a:pt x="565" y="340"/>
                    </a:cubicBezTo>
                    <a:cubicBezTo>
                      <a:pt x="565" y="341"/>
                      <a:pt x="564" y="341"/>
                      <a:pt x="563" y="342"/>
                    </a:cubicBezTo>
                    <a:cubicBezTo>
                      <a:pt x="563" y="342"/>
                      <a:pt x="562" y="343"/>
                      <a:pt x="562" y="343"/>
                    </a:cubicBezTo>
                    <a:cubicBezTo>
                      <a:pt x="562" y="343"/>
                      <a:pt x="562" y="343"/>
                      <a:pt x="562" y="343"/>
                    </a:cubicBezTo>
                    <a:cubicBezTo>
                      <a:pt x="561" y="343"/>
                      <a:pt x="561" y="344"/>
                      <a:pt x="561" y="344"/>
                    </a:cubicBezTo>
                    <a:cubicBezTo>
                      <a:pt x="560" y="345"/>
                      <a:pt x="560" y="346"/>
                      <a:pt x="559" y="346"/>
                    </a:cubicBezTo>
                    <a:cubicBezTo>
                      <a:pt x="558" y="347"/>
                      <a:pt x="558" y="347"/>
                      <a:pt x="557" y="348"/>
                    </a:cubicBezTo>
                    <a:cubicBezTo>
                      <a:pt x="556" y="348"/>
                      <a:pt x="556" y="349"/>
                      <a:pt x="555" y="349"/>
                    </a:cubicBezTo>
                    <a:cubicBezTo>
                      <a:pt x="555" y="350"/>
                      <a:pt x="555" y="350"/>
                      <a:pt x="555" y="351"/>
                    </a:cubicBezTo>
                    <a:cubicBezTo>
                      <a:pt x="555" y="352"/>
                      <a:pt x="554" y="352"/>
                      <a:pt x="555" y="353"/>
                    </a:cubicBezTo>
                    <a:cubicBezTo>
                      <a:pt x="555" y="354"/>
                      <a:pt x="555" y="355"/>
                      <a:pt x="556" y="354"/>
                    </a:cubicBezTo>
                    <a:cubicBezTo>
                      <a:pt x="556" y="354"/>
                      <a:pt x="557" y="354"/>
                      <a:pt x="556" y="355"/>
                    </a:cubicBezTo>
                    <a:cubicBezTo>
                      <a:pt x="557" y="354"/>
                      <a:pt x="558" y="354"/>
                      <a:pt x="558" y="354"/>
                    </a:cubicBezTo>
                    <a:cubicBezTo>
                      <a:pt x="558" y="354"/>
                      <a:pt x="559" y="354"/>
                      <a:pt x="559" y="354"/>
                    </a:cubicBezTo>
                    <a:cubicBezTo>
                      <a:pt x="559" y="354"/>
                      <a:pt x="559" y="354"/>
                      <a:pt x="559" y="354"/>
                    </a:cubicBezTo>
                    <a:cubicBezTo>
                      <a:pt x="560" y="354"/>
                      <a:pt x="560" y="354"/>
                      <a:pt x="560" y="354"/>
                    </a:cubicBezTo>
                    <a:cubicBezTo>
                      <a:pt x="560" y="355"/>
                      <a:pt x="561" y="354"/>
                      <a:pt x="561" y="354"/>
                    </a:cubicBezTo>
                    <a:cubicBezTo>
                      <a:pt x="563" y="353"/>
                      <a:pt x="564" y="354"/>
                      <a:pt x="565" y="353"/>
                    </a:cubicBezTo>
                    <a:cubicBezTo>
                      <a:pt x="566" y="353"/>
                      <a:pt x="566" y="352"/>
                      <a:pt x="567" y="352"/>
                    </a:cubicBezTo>
                    <a:cubicBezTo>
                      <a:pt x="567" y="352"/>
                      <a:pt x="566" y="352"/>
                      <a:pt x="566" y="352"/>
                    </a:cubicBezTo>
                    <a:cubicBezTo>
                      <a:pt x="566" y="351"/>
                      <a:pt x="568" y="351"/>
                      <a:pt x="568" y="351"/>
                    </a:cubicBezTo>
                    <a:cubicBezTo>
                      <a:pt x="568" y="351"/>
                      <a:pt x="570" y="350"/>
                      <a:pt x="570" y="350"/>
                    </a:cubicBezTo>
                    <a:cubicBezTo>
                      <a:pt x="570" y="349"/>
                      <a:pt x="569" y="350"/>
                      <a:pt x="569" y="350"/>
                    </a:cubicBezTo>
                    <a:cubicBezTo>
                      <a:pt x="568" y="350"/>
                      <a:pt x="570" y="349"/>
                      <a:pt x="570" y="349"/>
                    </a:cubicBezTo>
                    <a:cubicBezTo>
                      <a:pt x="570" y="349"/>
                      <a:pt x="570" y="349"/>
                      <a:pt x="569" y="349"/>
                    </a:cubicBezTo>
                    <a:cubicBezTo>
                      <a:pt x="570" y="348"/>
                      <a:pt x="570" y="348"/>
                      <a:pt x="570" y="348"/>
                    </a:cubicBezTo>
                    <a:close/>
                    <a:moveTo>
                      <a:pt x="504" y="363"/>
                    </a:moveTo>
                    <a:cubicBezTo>
                      <a:pt x="504" y="364"/>
                      <a:pt x="503" y="365"/>
                      <a:pt x="503" y="365"/>
                    </a:cubicBezTo>
                    <a:cubicBezTo>
                      <a:pt x="503" y="365"/>
                      <a:pt x="504" y="364"/>
                      <a:pt x="504" y="364"/>
                    </a:cubicBezTo>
                    <a:cubicBezTo>
                      <a:pt x="505" y="364"/>
                      <a:pt x="505" y="363"/>
                      <a:pt x="505" y="363"/>
                    </a:cubicBezTo>
                    <a:cubicBezTo>
                      <a:pt x="504" y="362"/>
                      <a:pt x="504" y="363"/>
                      <a:pt x="504" y="363"/>
                    </a:cubicBezTo>
                    <a:close/>
                    <a:moveTo>
                      <a:pt x="623" y="334"/>
                    </a:moveTo>
                    <a:cubicBezTo>
                      <a:pt x="622" y="334"/>
                      <a:pt x="621" y="335"/>
                      <a:pt x="622" y="335"/>
                    </a:cubicBezTo>
                    <a:cubicBezTo>
                      <a:pt x="623" y="335"/>
                      <a:pt x="624" y="333"/>
                      <a:pt x="625" y="332"/>
                    </a:cubicBezTo>
                    <a:cubicBezTo>
                      <a:pt x="625" y="332"/>
                      <a:pt x="625" y="332"/>
                      <a:pt x="625" y="332"/>
                    </a:cubicBezTo>
                    <a:cubicBezTo>
                      <a:pt x="624" y="332"/>
                      <a:pt x="624" y="332"/>
                      <a:pt x="624" y="333"/>
                    </a:cubicBezTo>
                    <a:cubicBezTo>
                      <a:pt x="624" y="333"/>
                      <a:pt x="624" y="332"/>
                      <a:pt x="624" y="332"/>
                    </a:cubicBezTo>
                    <a:cubicBezTo>
                      <a:pt x="624" y="333"/>
                      <a:pt x="624" y="333"/>
                      <a:pt x="623" y="333"/>
                    </a:cubicBezTo>
                    <a:cubicBezTo>
                      <a:pt x="623" y="333"/>
                      <a:pt x="624" y="333"/>
                      <a:pt x="624" y="333"/>
                    </a:cubicBezTo>
                    <a:cubicBezTo>
                      <a:pt x="623" y="333"/>
                      <a:pt x="623" y="334"/>
                      <a:pt x="623" y="334"/>
                    </a:cubicBezTo>
                    <a:close/>
                    <a:moveTo>
                      <a:pt x="535" y="331"/>
                    </a:moveTo>
                    <a:cubicBezTo>
                      <a:pt x="536" y="331"/>
                      <a:pt x="536" y="330"/>
                      <a:pt x="537" y="329"/>
                    </a:cubicBezTo>
                    <a:cubicBezTo>
                      <a:pt x="537" y="329"/>
                      <a:pt x="537" y="329"/>
                      <a:pt x="537" y="329"/>
                    </a:cubicBezTo>
                    <a:cubicBezTo>
                      <a:pt x="537" y="329"/>
                      <a:pt x="537" y="330"/>
                      <a:pt x="536" y="330"/>
                    </a:cubicBezTo>
                    <a:cubicBezTo>
                      <a:pt x="536" y="329"/>
                      <a:pt x="534" y="330"/>
                      <a:pt x="535" y="330"/>
                    </a:cubicBezTo>
                    <a:cubicBezTo>
                      <a:pt x="535" y="330"/>
                      <a:pt x="535" y="330"/>
                      <a:pt x="535" y="330"/>
                    </a:cubicBezTo>
                    <a:cubicBezTo>
                      <a:pt x="535" y="330"/>
                      <a:pt x="534" y="331"/>
                      <a:pt x="535" y="331"/>
                    </a:cubicBezTo>
                    <a:close/>
                    <a:moveTo>
                      <a:pt x="23" y="265"/>
                    </a:moveTo>
                    <a:cubicBezTo>
                      <a:pt x="23" y="265"/>
                      <a:pt x="22" y="267"/>
                      <a:pt x="23" y="266"/>
                    </a:cubicBezTo>
                    <a:cubicBezTo>
                      <a:pt x="23" y="266"/>
                      <a:pt x="23" y="266"/>
                      <a:pt x="23" y="266"/>
                    </a:cubicBezTo>
                    <a:cubicBezTo>
                      <a:pt x="23" y="265"/>
                      <a:pt x="23" y="265"/>
                      <a:pt x="23" y="265"/>
                    </a:cubicBezTo>
                    <a:cubicBezTo>
                      <a:pt x="23" y="265"/>
                      <a:pt x="24" y="265"/>
                      <a:pt x="24" y="265"/>
                    </a:cubicBezTo>
                    <a:cubicBezTo>
                      <a:pt x="24" y="265"/>
                      <a:pt x="24" y="266"/>
                      <a:pt x="24" y="266"/>
                    </a:cubicBezTo>
                    <a:cubicBezTo>
                      <a:pt x="25" y="266"/>
                      <a:pt x="26" y="265"/>
                      <a:pt x="26" y="265"/>
                    </a:cubicBezTo>
                    <a:cubicBezTo>
                      <a:pt x="26" y="266"/>
                      <a:pt x="24" y="265"/>
                      <a:pt x="24" y="266"/>
                    </a:cubicBezTo>
                    <a:cubicBezTo>
                      <a:pt x="24" y="266"/>
                      <a:pt x="24" y="266"/>
                      <a:pt x="25" y="266"/>
                    </a:cubicBezTo>
                    <a:cubicBezTo>
                      <a:pt x="24" y="267"/>
                      <a:pt x="26" y="266"/>
                      <a:pt x="26" y="266"/>
                    </a:cubicBezTo>
                    <a:cubicBezTo>
                      <a:pt x="27" y="265"/>
                      <a:pt x="27" y="265"/>
                      <a:pt x="27" y="264"/>
                    </a:cubicBezTo>
                    <a:cubicBezTo>
                      <a:pt x="27" y="263"/>
                      <a:pt x="23" y="265"/>
                      <a:pt x="23" y="265"/>
                    </a:cubicBezTo>
                    <a:close/>
                    <a:moveTo>
                      <a:pt x="21" y="269"/>
                    </a:moveTo>
                    <a:cubicBezTo>
                      <a:pt x="20" y="270"/>
                      <a:pt x="22" y="270"/>
                      <a:pt x="22" y="270"/>
                    </a:cubicBezTo>
                    <a:cubicBezTo>
                      <a:pt x="22" y="270"/>
                      <a:pt x="21" y="270"/>
                      <a:pt x="21" y="270"/>
                    </a:cubicBezTo>
                    <a:cubicBezTo>
                      <a:pt x="21" y="270"/>
                      <a:pt x="21" y="271"/>
                      <a:pt x="21" y="271"/>
                    </a:cubicBezTo>
                    <a:cubicBezTo>
                      <a:pt x="21" y="271"/>
                      <a:pt x="22" y="271"/>
                      <a:pt x="22" y="271"/>
                    </a:cubicBezTo>
                    <a:cubicBezTo>
                      <a:pt x="22" y="271"/>
                      <a:pt x="22" y="272"/>
                      <a:pt x="22" y="272"/>
                    </a:cubicBezTo>
                    <a:cubicBezTo>
                      <a:pt x="22" y="272"/>
                      <a:pt x="22" y="274"/>
                      <a:pt x="23" y="274"/>
                    </a:cubicBezTo>
                    <a:cubicBezTo>
                      <a:pt x="23" y="273"/>
                      <a:pt x="23" y="274"/>
                      <a:pt x="24" y="273"/>
                    </a:cubicBezTo>
                    <a:cubicBezTo>
                      <a:pt x="24" y="273"/>
                      <a:pt x="24" y="273"/>
                      <a:pt x="24" y="272"/>
                    </a:cubicBezTo>
                    <a:cubicBezTo>
                      <a:pt x="25" y="271"/>
                      <a:pt x="24" y="270"/>
                      <a:pt x="24" y="270"/>
                    </a:cubicBezTo>
                    <a:cubicBezTo>
                      <a:pt x="23" y="269"/>
                      <a:pt x="22" y="268"/>
                      <a:pt x="21" y="269"/>
                    </a:cubicBezTo>
                    <a:close/>
                    <a:moveTo>
                      <a:pt x="28" y="270"/>
                    </a:moveTo>
                    <a:cubicBezTo>
                      <a:pt x="29" y="269"/>
                      <a:pt x="28" y="269"/>
                      <a:pt x="28" y="268"/>
                    </a:cubicBezTo>
                    <a:cubicBezTo>
                      <a:pt x="28" y="268"/>
                      <a:pt x="27" y="266"/>
                      <a:pt x="27" y="266"/>
                    </a:cubicBezTo>
                    <a:cubicBezTo>
                      <a:pt x="27" y="266"/>
                      <a:pt x="25" y="266"/>
                      <a:pt x="25" y="267"/>
                    </a:cubicBezTo>
                    <a:cubicBezTo>
                      <a:pt x="26" y="267"/>
                      <a:pt x="25" y="267"/>
                      <a:pt x="25" y="267"/>
                    </a:cubicBezTo>
                    <a:cubicBezTo>
                      <a:pt x="25" y="267"/>
                      <a:pt x="25" y="267"/>
                      <a:pt x="25" y="267"/>
                    </a:cubicBezTo>
                    <a:cubicBezTo>
                      <a:pt x="25" y="267"/>
                      <a:pt x="25" y="267"/>
                      <a:pt x="25" y="267"/>
                    </a:cubicBezTo>
                    <a:cubicBezTo>
                      <a:pt x="25" y="267"/>
                      <a:pt x="25" y="267"/>
                      <a:pt x="24" y="267"/>
                    </a:cubicBezTo>
                    <a:cubicBezTo>
                      <a:pt x="24" y="268"/>
                      <a:pt x="23" y="268"/>
                      <a:pt x="23" y="268"/>
                    </a:cubicBezTo>
                    <a:cubicBezTo>
                      <a:pt x="23" y="269"/>
                      <a:pt x="24" y="269"/>
                      <a:pt x="24" y="269"/>
                    </a:cubicBezTo>
                    <a:cubicBezTo>
                      <a:pt x="25" y="269"/>
                      <a:pt x="25" y="268"/>
                      <a:pt x="25" y="268"/>
                    </a:cubicBezTo>
                    <a:cubicBezTo>
                      <a:pt x="25" y="268"/>
                      <a:pt x="25" y="268"/>
                      <a:pt x="25" y="267"/>
                    </a:cubicBezTo>
                    <a:cubicBezTo>
                      <a:pt x="25" y="268"/>
                      <a:pt x="25" y="268"/>
                      <a:pt x="25" y="268"/>
                    </a:cubicBezTo>
                    <a:cubicBezTo>
                      <a:pt x="26" y="268"/>
                      <a:pt x="25" y="268"/>
                      <a:pt x="25" y="268"/>
                    </a:cubicBezTo>
                    <a:cubicBezTo>
                      <a:pt x="25" y="269"/>
                      <a:pt x="27" y="268"/>
                      <a:pt x="27" y="268"/>
                    </a:cubicBezTo>
                    <a:cubicBezTo>
                      <a:pt x="27" y="268"/>
                      <a:pt x="26" y="269"/>
                      <a:pt x="25" y="269"/>
                    </a:cubicBezTo>
                    <a:cubicBezTo>
                      <a:pt x="25" y="269"/>
                      <a:pt x="25" y="269"/>
                      <a:pt x="25" y="269"/>
                    </a:cubicBezTo>
                    <a:cubicBezTo>
                      <a:pt x="26" y="269"/>
                      <a:pt x="26" y="269"/>
                      <a:pt x="26" y="269"/>
                    </a:cubicBezTo>
                    <a:cubicBezTo>
                      <a:pt x="26" y="269"/>
                      <a:pt x="26" y="269"/>
                      <a:pt x="26" y="269"/>
                    </a:cubicBezTo>
                    <a:cubicBezTo>
                      <a:pt x="26" y="269"/>
                      <a:pt x="26" y="269"/>
                      <a:pt x="26" y="269"/>
                    </a:cubicBezTo>
                    <a:cubicBezTo>
                      <a:pt x="26" y="269"/>
                      <a:pt x="25" y="271"/>
                      <a:pt x="26" y="270"/>
                    </a:cubicBezTo>
                    <a:cubicBezTo>
                      <a:pt x="26" y="270"/>
                      <a:pt x="25" y="271"/>
                      <a:pt x="25" y="271"/>
                    </a:cubicBezTo>
                    <a:cubicBezTo>
                      <a:pt x="25" y="272"/>
                      <a:pt x="26" y="272"/>
                      <a:pt x="26" y="272"/>
                    </a:cubicBezTo>
                    <a:cubicBezTo>
                      <a:pt x="26" y="272"/>
                      <a:pt x="26" y="272"/>
                      <a:pt x="26" y="273"/>
                    </a:cubicBezTo>
                    <a:cubicBezTo>
                      <a:pt x="26" y="273"/>
                      <a:pt x="26" y="273"/>
                      <a:pt x="27" y="273"/>
                    </a:cubicBezTo>
                    <a:cubicBezTo>
                      <a:pt x="27" y="272"/>
                      <a:pt x="27" y="272"/>
                      <a:pt x="27" y="272"/>
                    </a:cubicBezTo>
                    <a:cubicBezTo>
                      <a:pt x="27" y="272"/>
                      <a:pt x="28" y="272"/>
                      <a:pt x="28" y="272"/>
                    </a:cubicBezTo>
                    <a:cubicBezTo>
                      <a:pt x="28" y="271"/>
                      <a:pt x="28" y="271"/>
                      <a:pt x="29" y="271"/>
                    </a:cubicBezTo>
                    <a:cubicBezTo>
                      <a:pt x="29" y="270"/>
                      <a:pt x="28" y="270"/>
                      <a:pt x="28" y="270"/>
                    </a:cubicBezTo>
                    <a:cubicBezTo>
                      <a:pt x="28" y="270"/>
                      <a:pt x="28" y="270"/>
                      <a:pt x="28" y="270"/>
                    </a:cubicBezTo>
                    <a:close/>
                    <a:moveTo>
                      <a:pt x="14" y="264"/>
                    </a:moveTo>
                    <a:cubicBezTo>
                      <a:pt x="13" y="264"/>
                      <a:pt x="13" y="265"/>
                      <a:pt x="12" y="264"/>
                    </a:cubicBezTo>
                    <a:cubicBezTo>
                      <a:pt x="12" y="264"/>
                      <a:pt x="12" y="264"/>
                      <a:pt x="12" y="264"/>
                    </a:cubicBezTo>
                    <a:cubicBezTo>
                      <a:pt x="12" y="264"/>
                      <a:pt x="11" y="265"/>
                      <a:pt x="11" y="265"/>
                    </a:cubicBezTo>
                    <a:cubicBezTo>
                      <a:pt x="11" y="266"/>
                      <a:pt x="10" y="266"/>
                      <a:pt x="10" y="267"/>
                    </a:cubicBezTo>
                    <a:cubicBezTo>
                      <a:pt x="9" y="267"/>
                      <a:pt x="9" y="268"/>
                      <a:pt x="8" y="268"/>
                    </a:cubicBezTo>
                    <a:cubicBezTo>
                      <a:pt x="8" y="268"/>
                      <a:pt x="6" y="268"/>
                      <a:pt x="7" y="269"/>
                    </a:cubicBezTo>
                    <a:cubicBezTo>
                      <a:pt x="7" y="269"/>
                      <a:pt x="6" y="269"/>
                      <a:pt x="6" y="269"/>
                    </a:cubicBezTo>
                    <a:cubicBezTo>
                      <a:pt x="6" y="269"/>
                      <a:pt x="5" y="269"/>
                      <a:pt x="5" y="269"/>
                    </a:cubicBezTo>
                    <a:cubicBezTo>
                      <a:pt x="5" y="269"/>
                      <a:pt x="6" y="269"/>
                      <a:pt x="7" y="268"/>
                    </a:cubicBezTo>
                    <a:cubicBezTo>
                      <a:pt x="6" y="268"/>
                      <a:pt x="5" y="268"/>
                      <a:pt x="4" y="269"/>
                    </a:cubicBezTo>
                    <a:cubicBezTo>
                      <a:pt x="5" y="269"/>
                      <a:pt x="5" y="268"/>
                      <a:pt x="5" y="268"/>
                    </a:cubicBezTo>
                    <a:cubicBezTo>
                      <a:pt x="5" y="268"/>
                      <a:pt x="5" y="268"/>
                      <a:pt x="4" y="268"/>
                    </a:cubicBezTo>
                    <a:cubicBezTo>
                      <a:pt x="5" y="268"/>
                      <a:pt x="6" y="268"/>
                      <a:pt x="7" y="268"/>
                    </a:cubicBezTo>
                    <a:cubicBezTo>
                      <a:pt x="7" y="268"/>
                      <a:pt x="8" y="267"/>
                      <a:pt x="9" y="267"/>
                    </a:cubicBezTo>
                    <a:cubicBezTo>
                      <a:pt x="9" y="267"/>
                      <a:pt x="10" y="267"/>
                      <a:pt x="11" y="266"/>
                    </a:cubicBezTo>
                    <a:cubicBezTo>
                      <a:pt x="11" y="266"/>
                      <a:pt x="12" y="265"/>
                      <a:pt x="12" y="265"/>
                    </a:cubicBezTo>
                    <a:cubicBezTo>
                      <a:pt x="11" y="264"/>
                      <a:pt x="12" y="264"/>
                      <a:pt x="11" y="264"/>
                    </a:cubicBezTo>
                    <a:cubicBezTo>
                      <a:pt x="11" y="263"/>
                      <a:pt x="10" y="264"/>
                      <a:pt x="10" y="264"/>
                    </a:cubicBezTo>
                    <a:cubicBezTo>
                      <a:pt x="9" y="264"/>
                      <a:pt x="8" y="265"/>
                      <a:pt x="7" y="265"/>
                    </a:cubicBezTo>
                    <a:cubicBezTo>
                      <a:pt x="7" y="265"/>
                      <a:pt x="9" y="265"/>
                      <a:pt x="9" y="264"/>
                    </a:cubicBezTo>
                    <a:cubicBezTo>
                      <a:pt x="9" y="263"/>
                      <a:pt x="8" y="263"/>
                      <a:pt x="8" y="263"/>
                    </a:cubicBezTo>
                    <a:cubicBezTo>
                      <a:pt x="7" y="263"/>
                      <a:pt x="6" y="263"/>
                      <a:pt x="6" y="263"/>
                    </a:cubicBezTo>
                    <a:cubicBezTo>
                      <a:pt x="6" y="263"/>
                      <a:pt x="5" y="263"/>
                      <a:pt x="5" y="264"/>
                    </a:cubicBezTo>
                    <a:cubicBezTo>
                      <a:pt x="5" y="264"/>
                      <a:pt x="5" y="264"/>
                      <a:pt x="5" y="264"/>
                    </a:cubicBezTo>
                    <a:cubicBezTo>
                      <a:pt x="4" y="265"/>
                      <a:pt x="4" y="265"/>
                      <a:pt x="3" y="266"/>
                    </a:cubicBezTo>
                    <a:cubicBezTo>
                      <a:pt x="3" y="266"/>
                      <a:pt x="2" y="266"/>
                      <a:pt x="2" y="266"/>
                    </a:cubicBezTo>
                    <a:cubicBezTo>
                      <a:pt x="2" y="266"/>
                      <a:pt x="2" y="267"/>
                      <a:pt x="2" y="267"/>
                    </a:cubicBezTo>
                    <a:cubicBezTo>
                      <a:pt x="1" y="267"/>
                      <a:pt x="2" y="267"/>
                      <a:pt x="3" y="267"/>
                    </a:cubicBezTo>
                    <a:cubicBezTo>
                      <a:pt x="2" y="268"/>
                      <a:pt x="3" y="268"/>
                      <a:pt x="2" y="268"/>
                    </a:cubicBezTo>
                    <a:cubicBezTo>
                      <a:pt x="1" y="268"/>
                      <a:pt x="2" y="269"/>
                      <a:pt x="2" y="269"/>
                    </a:cubicBezTo>
                    <a:cubicBezTo>
                      <a:pt x="2" y="269"/>
                      <a:pt x="1" y="269"/>
                      <a:pt x="1" y="269"/>
                    </a:cubicBezTo>
                    <a:cubicBezTo>
                      <a:pt x="1" y="269"/>
                      <a:pt x="1" y="269"/>
                      <a:pt x="1" y="269"/>
                    </a:cubicBezTo>
                    <a:cubicBezTo>
                      <a:pt x="1" y="269"/>
                      <a:pt x="1" y="270"/>
                      <a:pt x="1" y="270"/>
                    </a:cubicBezTo>
                    <a:cubicBezTo>
                      <a:pt x="1" y="270"/>
                      <a:pt x="1" y="270"/>
                      <a:pt x="2" y="270"/>
                    </a:cubicBezTo>
                    <a:cubicBezTo>
                      <a:pt x="1" y="270"/>
                      <a:pt x="1" y="270"/>
                      <a:pt x="1" y="270"/>
                    </a:cubicBezTo>
                    <a:cubicBezTo>
                      <a:pt x="1" y="270"/>
                      <a:pt x="2" y="270"/>
                      <a:pt x="2" y="270"/>
                    </a:cubicBezTo>
                    <a:cubicBezTo>
                      <a:pt x="2" y="270"/>
                      <a:pt x="2" y="270"/>
                      <a:pt x="2" y="270"/>
                    </a:cubicBezTo>
                    <a:cubicBezTo>
                      <a:pt x="2" y="271"/>
                      <a:pt x="2" y="270"/>
                      <a:pt x="3" y="270"/>
                    </a:cubicBezTo>
                    <a:cubicBezTo>
                      <a:pt x="3" y="270"/>
                      <a:pt x="2" y="271"/>
                      <a:pt x="2" y="271"/>
                    </a:cubicBezTo>
                    <a:cubicBezTo>
                      <a:pt x="3" y="271"/>
                      <a:pt x="3" y="271"/>
                      <a:pt x="3" y="271"/>
                    </a:cubicBezTo>
                    <a:cubicBezTo>
                      <a:pt x="3" y="271"/>
                      <a:pt x="4" y="272"/>
                      <a:pt x="3" y="272"/>
                    </a:cubicBezTo>
                    <a:cubicBezTo>
                      <a:pt x="3" y="271"/>
                      <a:pt x="1" y="271"/>
                      <a:pt x="0" y="272"/>
                    </a:cubicBezTo>
                    <a:cubicBezTo>
                      <a:pt x="1" y="272"/>
                      <a:pt x="2" y="271"/>
                      <a:pt x="2" y="272"/>
                    </a:cubicBezTo>
                    <a:cubicBezTo>
                      <a:pt x="2" y="272"/>
                      <a:pt x="0" y="272"/>
                      <a:pt x="0" y="272"/>
                    </a:cubicBezTo>
                    <a:cubicBezTo>
                      <a:pt x="0" y="272"/>
                      <a:pt x="1" y="273"/>
                      <a:pt x="1" y="273"/>
                    </a:cubicBezTo>
                    <a:cubicBezTo>
                      <a:pt x="1" y="273"/>
                      <a:pt x="1" y="273"/>
                      <a:pt x="1" y="273"/>
                    </a:cubicBezTo>
                    <a:cubicBezTo>
                      <a:pt x="1" y="273"/>
                      <a:pt x="1" y="273"/>
                      <a:pt x="1" y="273"/>
                    </a:cubicBezTo>
                    <a:cubicBezTo>
                      <a:pt x="1" y="274"/>
                      <a:pt x="1" y="273"/>
                      <a:pt x="1" y="273"/>
                    </a:cubicBezTo>
                    <a:cubicBezTo>
                      <a:pt x="1" y="273"/>
                      <a:pt x="1" y="274"/>
                      <a:pt x="1" y="274"/>
                    </a:cubicBezTo>
                    <a:cubicBezTo>
                      <a:pt x="2" y="274"/>
                      <a:pt x="2" y="274"/>
                      <a:pt x="2" y="273"/>
                    </a:cubicBezTo>
                    <a:cubicBezTo>
                      <a:pt x="3" y="273"/>
                      <a:pt x="3" y="273"/>
                      <a:pt x="3" y="274"/>
                    </a:cubicBezTo>
                    <a:cubicBezTo>
                      <a:pt x="3" y="274"/>
                      <a:pt x="4" y="273"/>
                      <a:pt x="4" y="273"/>
                    </a:cubicBezTo>
                    <a:cubicBezTo>
                      <a:pt x="4" y="273"/>
                      <a:pt x="3" y="273"/>
                      <a:pt x="3" y="273"/>
                    </a:cubicBezTo>
                    <a:cubicBezTo>
                      <a:pt x="3" y="273"/>
                      <a:pt x="6" y="273"/>
                      <a:pt x="6" y="272"/>
                    </a:cubicBezTo>
                    <a:cubicBezTo>
                      <a:pt x="8" y="272"/>
                      <a:pt x="8" y="270"/>
                      <a:pt x="10" y="269"/>
                    </a:cubicBezTo>
                    <a:cubicBezTo>
                      <a:pt x="12" y="267"/>
                      <a:pt x="15" y="265"/>
                      <a:pt x="17" y="263"/>
                    </a:cubicBezTo>
                    <a:cubicBezTo>
                      <a:pt x="16" y="264"/>
                      <a:pt x="15" y="264"/>
                      <a:pt x="14" y="264"/>
                    </a:cubicBezTo>
                    <a:close/>
                    <a:moveTo>
                      <a:pt x="24" y="279"/>
                    </a:moveTo>
                    <a:cubicBezTo>
                      <a:pt x="23" y="280"/>
                      <a:pt x="23" y="280"/>
                      <a:pt x="24" y="280"/>
                    </a:cubicBezTo>
                    <a:cubicBezTo>
                      <a:pt x="24" y="280"/>
                      <a:pt x="24" y="281"/>
                      <a:pt x="24" y="281"/>
                    </a:cubicBezTo>
                    <a:cubicBezTo>
                      <a:pt x="24" y="281"/>
                      <a:pt x="25" y="280"/>
                      <a:pt x="25" y="279"/>
                    </a:cubicBezTo>
                    <a:cubicBezTo>
                      <a:pt x="25" y="279"/>
                      <a:pt x="25" y="278"/>
                      <a:pt x="25" y="277"/>
                    </a:cubicBezTo>
                    <a:cubicBezTo>
                      <a:pt x="24" y="277"/>
                      <a:pt x="24" y="277"/>
                      <a:pt x="24" y="278"/>
                    </a:cubicBezTo>
                    <a:cubicBezTo>
                      <a:pt x="24" y="278"/>
                      <a:pt x="24" y="278"/>
                      <a:pt x="24" y="278"/>
                    </a:cubicBezTo>
                    <a:cubicBezTo>
                      <a:pt x="24" y="278"/>
                      <a:pt x="24" y="278"/>
                      <a:pt x="24" y="279"/>
                    </a:cubicBezTo>
                    <a:cubicBezTo>
                      <a:pt x="24" y="279"/>
                      <a:pt x="23" y="279"/>
                      <a:pt x="24" y="279"/>
                    </a:cubicBezTo>
                    <a:close/>
                    <a:moveTo>
                      <a:pt x="29" y="274"/>
                    </a:moveTo>
                    <a:cubicBezTo>
                      <a:pt x="28" y="274"/>
                      <a:pt x="27" y="274"/>
                      <a:pt x="27" y="275"/>
                    </a:cubicBezTo>
                    <a:cubicBezTo>
                      <a:pt x="27" y="275"/>
                      <a:pt x="26" y="276"/>
                      <a:pt x="27" y="276"/>
                    </a:cubicBezTo>
                    <a:cubicBezTo>
                      <a:pt x="26" y="276"/>
                      <a:pt x="28" y="275"/>
                      <a:pt x="28" y="275"/>
                    </a:cubicBezTo>
                    <a:cubicBezTo>
                      <a:pt x="29" y="275"/>
                      <a:pt x="30" y="275"/>
                      <a:pt x="29" y="274"/>
                    </a:cubicBezTo>
                    <a:cubicBezTo>
                      <a:pt x="29" y="274"/>
                      <a:pt x="30" y="274"/>
                      <a:pt x="30" y="274"/>
                    </a:cubicBezTo>
                    <a:cubicBezTo>
                      <a:pt x="30" y="275"/>
                      <a:pt x="29" y="275"/>
                      <a:pt x="29" y="275"/>
                    </a:cubicBezTo>
                    <a:cubicBezTo>
                      <a:pt x="28" y="275"/>
                      <a:pt x="28" y="276"/>
                      <a:pt x="27" y="276"/>
                    </a:cubicBezTo>
                    <a:cubicBezTo>
                      <a:pt x="27" y="276"/>
                      <a:pt x="27" y="277"/>
                      <a:pt x="27" y="277"/>
                    </a:cubicBezTo>
                    <a:cubicBezTo>
                      <a:pt x="27" y="277"/>
                      <a:pt x="26" y="276"/>
                      <a:pt x="26" y="277"/>
                    </a:cubicBezTo>
                    <a:cubicBezTo>
                      <a:pt x="26" y="277"/>
                      <a:pt x="25" y="278"/>
                      <a:pt x="26" y="278"/>
                    </a:cubicBezTo>
                    <a:cubicBezTo>
                      <a:pt x="25" y="278"/>
                      <a:pt x="26" y="278"/>
                      <a:pt x="26" y="279"/>
                    </a:cubicBezTo>
                    <a:cubicBezTo>
                      <a:pt x="26" y="279"/>
                      <a:pt x="27" y="279"/>
                      <a:pt x="27" y="278"/>
                    </a:cubicBezTo>
                    <a:cubicBezTo>
                      <a:pt x="27" y="279"/>
                      <a:pt x="28" y="278"/>
                      <a:pt x="28" y="278"/>
                    </a:cubicBezTo>
                    <a:cubicBezTo>
                      <a:pt x="29" y="277"/>
                      <a:pt x="29" y="276"/>
                      <a:pt x="30" y="276"/>
                    </a:cubicBezTo>
                    <a:cubicBezTo>
                      <a:pt x="30" y="277"/>
                      <a:pt x="31" y="276"/>
                      <a:pt x="31" y="276"/>
                    </a:cubicBezTo>
                    <a:cubicBezTo>
                      <a:pt x="31" y="276"/>
                      <a:pt x="30" y="277"/>
                      <a:pt x="29" y="277"/>
                    </a:cubicBezTo>
                    <a:cubicBezTo>
                      <a:pt x="28" y="278"/>
                      <a:pt x="28" y="278"/>
                      <a:pt x="27" y="279"/>
                    </a:cubicBezTo>
                    <a:cubicBezTo>
                      <a:pt x="27" y="279"/>
                      <a:pt x="28" y="279"/>
                      <a:pt x="28" y="279"/>
                    </a:cubicBezTo>
                    <a:cubicBezTo>
                      <a:pt x="29" y="279"/>
                      <a:pt x="29" y="279"/>
                      <a:pt x="29" y="278"/>
                    </a:cubicBezTo>
                    <a:cubicBezTo>
                      <a:pt x="30" y="278"/>
                      <a:pt x="30" y="278"/>
                      <a:pt x="30" y="277"/>
                    </a:cubicBezTo>
                    <a:cubicBezTo>
                      <a:pt x="31" y="276"/>
                      <a:pt x="32" y="276"/>
                      <a:pt x="32" y="275"/>
                    </a:cubicBezTo>
                    <a:cubicBezTo>
                      <a:pt x="33" y="274"/>
                      <a:pt x="33" y="274"/>
                      <a:pt x="32" y="273"/>
                    </a:cubicBezTo>
                    <a:cubicBezTo>
                      <a:pt x="32" y="272"/>
                      <a:pt x="32" y="272"/>
                      <a:pt x="31" y="272"/>
                    </a:cubicBezTo>
                    <a:cubicBezTo>
                      <a:pt x="30" y="272"/>
                      <a:pt x="30" y="273"/>
                      <a:pt x="29" y="274"/>
                    </a:cubicBezTo>
                    <a:close/>
                    <a:moveTo>
                      <a:pt x="3" y="282"/>
                    </a:moveTo>
                    <a:cubicBezTo>
                      <a:pt x="3" y="282"/>
                      <a:pt x="3" y="282"/>
                      <a:pt x="3" y="282"/>
                    </a:cubicBezTo>
                    <a:cubicBezTo>
                      <a:pt x="3" y="282"/>
                      <a:pt x="5" y="282"/>
                      <a:pt x="3" y="282"/>
                    </a:cubicBezTo>
                    <a:cubicBezTo>
                      <a:pt x="4" y="282"/>
                      <a:pt x="4" y="281"/>
                      <a:pt x="5" y="281"/>
                    </a:cubicBezTo>
                    <a:cubicBezTo>
                      <a:pt x="4" y="281"/>
                      <a:pt x="3" y="281"/>
                      <a:pt x="3" y="282"/>
                    </a:cubicBezTo>
                    <a:close/>
                    <a:moveTo>
                      <a:pt x="7" y="273"/>
                    </a:moveTo>
                    <a:cubicBezTo>
                      <a:pt x="6" y="273"/>
                      <a:pt x="5" y="274"/>
                      <a:pt x="3" y="274"/>
                    </a:cubicBezTo>
                    <a:cubicBezTo>
                      <a:pt x="2" y="274"/>
                      <a:pt x="1" y="274"/>
                      <a:pt x="0" y="274"/>
                    </a:cubicBezTo>
                    <a:cubicBezTo>
                      <a:pt x="0" y="274"/>
                      <a:pt x="0" y="274"/>
                      <a:pt x="0" y="274"/>
                    </a:cubicBezTo>
                    <a:cubicBezTo>
                      <a:pt x="0" y="274"/>
                      <a:pt x="0" y="275"/>
                      <a:pt x="0" y="275"/>
                    </a:cubicBezTo>
                    <a:cubicBezTo>
                      <a:pt x="0" y="275"/>
                      <a:pt x="1" y="275"/>
                      <a:pt x="1" y="275"/>
                    </a:cubicBezTo>
                    <a:cubicBezTo>
                      <a:pt x="2" y="275"/>
                      <a:pt x="2" y="275"/>
                      <a:pt x="3" y="275"/>
                    </a:cubicBezTo>
                    <a:cubicBezTo>
                      <a:pt x="2" y="275"/>
                      <a:pt x="2" y="276"/>
                      <a:pt x="2" y="276"/>
                    </a:cubicBezTo>
                    <a:cubicBezTo>
                      <a:pt x="2" y="276"/>
                      <a:pt x="2" y="276"/>
                      <a:pt x="1" y="276"/>
                    </a:cubicBezTo>
                    <a:cubicBezTo>
                      <a:pt x="2" y="276"/>
                      <a:pt x="1" y="276"/>
                      <a:pt x="1" y="276"/>
                    </a:cubicBezTo>
                    <a:cubicBezTo>
                      <a:pt x="1" y="276"/>
                      <a:pt x="1" y="276"/>
                      <a:pt x="1" y="276"/>
                    </a:cubicBezTo>
                    <a:cubicBezTo>
                      <a:pt x="0" y="276"/>
                      <a:pt x="0" y="277"/>
                      <a:pt x="0" y="277"/>
                    </a:cubicBezTo>
                    <a:cubicBezTo>
                      <a:pt x="0" y="277"/>
                      <a:pt x="0" y="278"/>
                      <a:pt x="1" y="278"/>
                    </a:cubicBezTo>
                    <a:cubicBezTo>
                      <a:pt x="1" y="277"/>
                      <a:pt x="1" y="277"/>
                      <a:pt x="2" y="277"/>
                    </a:cubicBezTo>
                    <a:cubicBezTo>
                      <a:pt x="2" y="277"/>
                      <a:pt x="2" y="278"/>
                      <a:pt x="2" y="278"/>
                    </a:cubicBezTo>
                    <a:cubicBezTo>
                      <a:pt x="2" y="278"/>
                      <a:pt x="2" y="278"/>
                      <a:pt x="1" y="278"/>
                    </a:cubicBezTo>
                    <a:cubicBezTo>
                      <a:pt x="1" y="278"/>
                      <a:pt x="1" y="278"/>
                      <a:pt x="1" y="278"/>
                    </a:cubicBezTo>
                    <a:cubicBezTo>
                      <a:pt x="1" y="277"/>
                      <a:pt x="0" y="279"/>
                      <a:pt x="1" y="279"/>
                    </a:cubicBezTo>
                    <a:cubicBezTo>
                      <a:pt x="0" y="280"/>
                      <a:pt x="1" y="280"/>
                      <a:pt x="2" y="281"/>
                    </a:cubicBezTo>
                    <a:cubicBezTo>
                      <a:pt x="2" y="281"/>
                      <a:pt x="1" y="281"/>
                      <a:pt x="2" y="281"/>
                    </a:cubicBezTo>
                    <a:cubicBezTo>
                      <a:pt x="2" y="281"/>
                      <a:pt x="2" y="281"/>
                      <a:pt x="2" y="281"/>
                    </a:cubicBezTo>
                    <a:cubicBezTo>
                      <a:pt x="2" y="281"/>
                      <a:pt x="1" y="282"/>
                      <a:pt x="1" y="282"/>
                    </a:cubicBezTo>
                    <a:cubicBezTo>
                      <a:pt x="1" y="282"/>
                      <a:pt x="1" y="282"/>
                      <a:pt x="1" y="282"/>
                    </a:cubicBezTo>
                    <a:cubicBezTo>
                      <a:pt x="2" y="282"/>
                      <a:pt x="1" y="284"/>
                      <a:pt x="2" y="283"/>
                    </a:cubicBezTo>
                    <a:cubicBezTo>
                      <a:pt x="2" y="284"/>
                      <a:pt x="2" y="284"/>
                      <a:pt x="2" y="284"/>
                    </a:cubicBezTo>
                    <a:cubicBezTo>
                      <a:pt x="2" y="284"/>
                      <a:pt x="2" y="284"/>
                      <a:pt x="3" y="283"/>
                    </a:cubicBezTo>
                    <a:cubicBezTo>
                      <a:pt x="3" y="283"/>
                      <a:pt x="2" y="285"/>
                      <a:pt x="3" y="284"/>
                    </a:cubicBezTo>
                    <a:cubicBezTo>
                      <a:pt x="3" y="284"/>
                      <a:pt x="3" y="284"/>
                      <a:pt x="4" y="284"/>
                    </a:cubicBezTo>
                    <a:cubicBezTo>
                      <a:pt x="3" y="284"/>
                      <a:pt x="3" y="284"/>
                      <a:pt x="3" y="284"/>
                    </a:cubicBezTo>
                    <a:cubicBezTo>
                      <a:pt x="4" y="284"/>
                      <a:pt x="5" y="284"/>
                      <a:pt x="5" y="283"/>
                    </a:cubicBezTo>
                    <a:cubicBezTo>
                      <a:pt x="4" y="283"/>
                      <a:pt x="4" y="283"/>
                      <a:pt x="4" y="283"/>
                    </a:cubicBezTo>
                    <a:cubicBezTo>
                      <a:pt x="4" y="283"/>
                      <a:pt x="4" y="283"/>
                      <a:pt x="3" y="283"/>
                    </a:cubicBezTo>
                    <a:cubicBezTo>
                      <a:pt x="4" y="283"/>
                      <a:pt x="4" y="283"/>
                      <a:pt x="4" y="283"/>
                    </a:cubicBezTo>
                    <a:cubicBezTo>
                      <a:pt x="5" y="282"/>
                      <a:pt x="4" y="282"/>
                      <a:pt x="4" y="283"/>
                    </a:cubicBezTo>
                    <a:cubicBezTo>
                      <a:pt x="4" y="283"/>
                      <a:pt x="3" y="283"/>
                      <a:pt x="3" y="283"/>
                    </a:cubicBezTo>
                    <a:cubicBezTo>
                      <a:pt x="3" y="283"/>
                      <a:pt x="3" y="283"/>
                      <a:pt x="3" y="283"/>
                    </a:cubicBezTo>
                    <a:cubicBezTo>
                      <a:pt x="3" y="283"/>
                      <a:pt x="3" y="283"/>
                      <a:pt x="3" y="283"/>
                    </a:cubicBezTo>
                    <a:cubicBezTo>
                      <a:pt x="3" y="282"/>
                      <a:pt x="3" y="281"/>
                      <a:pt x="3" y="282"/>
                    </a:cubicBezTo>
                    <a:cubicBezTo>
                      <a:pt x="3" y="281"/>
                      <a:pt x="3" y="281"/>
                      <a:pt x="3" y="281"/>
                    </a:cubicBezTo>
                    <a:cubicBezTo>
                      <a:pt x="3" y="281"/>
                      <a:pt x="3" y="280"/>
                      <a:pt x="3" y="280"/>
                    </a:cubicBezTo>
                    <a:cubicBezTo>
                      <a:pt x="3" y="280"/>
                      <a:pt x="3" y="281"/>
                      <a:pt x="3" y="280"/>
                    </a:cubicBezTo>
                    <a:cubicBezTo>
                      <a:pt x="3" y="280"/>
                      <a:pt x="2" y="280"/>
                      <a:pt x="2" y="280"/>
                    </a:cubicBezTo>
                    <a:cubicBezTo>
                      <a:pt x="3" y="280"/>
                      <a:pt x="2" y="279"/>
                      <a:pt x="3" y="279"/>
                    </a:cubicBezTo>
                    <a:cubicBezTo>
                      <a:pt x="3" y="279"/>
                      <a:pt x="3" y="278"/>
                      <a:pt x="2" y="278"/>
                    </a:cubicBezTo>
                    <a:cubicBezTo>
                      <a:pt x="2" y="278"/>
                      <a:pt x="3" y="278"/>
                      <a:pt x="3" y="278"/>
                    </a:cubicBezTo>
                    <a:cubicBezTo>
                      <a:pt x="3" y="278"/>
                      <a:pt x="4" y="278"/>
                      <a:pt x="5" y="277"/>
                    </a:cubicBezTo>
                    <a:cubicBezTo>
                      <a:pt x="4" y="277"/>
                      <a:pt x="3" y="278"/>
                      <a:pt x="3" y="277"/>
                    </a:cubicBezTo>
                    <a:cubicBezTo>
                      <a:pt x="3" y="277"/>
                      <a:pt x="4" y="277"/>
                      <a:pt x="3" y="276"/>
                    </a:cubicBezTo>
                    <a:cubicBezTo>
                      <a:pt x="3" y="276"/>
                      <a:pt x="3" y="276"/>
                      <a:pt x="3" y="276"/>
                    </a:cubicBezTo>
                    <a:cubicBezTo>
                      <a:pt x="3" y="276"/>
                      <a:pt x="3" y="276"/>
                      <a:pt x="4" y="276"/>
                    </a:cubicBezTo>
                    <a:cubicBezTo>
                      <a:pt x="3" y="276"/>
                      <a:pt x="5" y="274"/>
                      <a:pt x="4" y="275"/>
                    </a:cubicBezTo>
                    <a:cubicBezTo>
                      <a:pt x="5" y="274"/>
                      <a:pt x="6" y="274"/>
                      <a:pt x="6" y="275"/>
                    </a:cubicBezTo>
                    <a:cubicBezTo>
                      <a:pt x="7" y="275"/>
                      <a:pt x="7" y="275"/>
                      <a:pt x="7" y="274"/>
                    </a:cubicBezTo>
                    <a:cubicBezTo>
                      <a:pt x="7" y="274"/>
                      <a:pt x="7" y="274"/>
                      <a:pt x="7" y="274"/>
                    </a:cubicBezTo>
                    <a:cubicBezTo>
                      <a:pt x="7" y="274"/>
                      <a:pt x="8" y="273"/>
                      <a:pt x="7" y="273"/>
                    </a:cubicBezTo>
                    <a:close/>
                    <a:moveTo>
                      <a:pt x="29" y="286"/>
                    </a:moveTo>
                    <a:cubicBezTo>
                      <a:pt x="29" y="286"/>
                      <a:pt x="30" y="286"/>
                      <a:pt x="30" y="286"/>
                    </a:cubicBezTo>
                    <a:cubicBezTo>
                      <a:pt x="31" y="285"/>
                      <a:pt x="31" y="284"/>
                      <a:pt x="32" y="284"/>
                    </a:cubicBezTo>
                    <a:cubicBezTo>
                      <a:pt x="33" y="284"/>
                      <a:pt x="34" y="284"/>
                      <a:pt x="34" y="283"/>
                    </a:cubicBezTo>
                    <a:cubicBezTo>
                      <a:pt x="35" y="283"/>
                      <a:pt x="35" y="283"/>
                      <a:pt x="36" y="283"/>
                    </a:cubicBezTo>
                    <a:cubicBezTo>
                      <a:pt x="36" y="283"/>
                      <a:pt x="37" y="283"/>
                      <a:pt x="37" y="282"/>
                    </a:cubicBezTo>
                    <a:cubicBezTo>
                      <a:pt x="37" y="282"/>
                      <a:pt x="38" y="281"/>
                      <a:pt x="38" y="281"/>
                    </a:cubicBezTo>
                    <a:cubicBezTo>
                      <a:pt x="38" y="281"/>
                      <a:pt x="36" y="282"/>
                      <a:pt x="35" y="282"/>
                    </a:cubicBezTo>
                    <a:cubicBezTo>
                      <a:pt x="34" y="282"/>
                      <a:pt x="34" y="283"/>
                      <a:pt x="33" y="283"/>
                    </a:cubicBezTo>
                    <a:cubicBezTo>
                      <a:pt x="31" y="283"/>
                      <a:pt x="30" y="284"/>
                      <a:pt x="29" y="286"/>
                    </a:cubicBezTo>
                    <a:cubicBezTo>
                      <a:pt x="28" y="286"/>
                      <a:pt x="28" y="286"/>
                      <a:pt x="29" y="286"/>
                    </a:cubicBezTo>
                    <a:close/>
                    <a:moveTo>
                      <a:pt x="37" y="309"/>
                    </a:moveTo>
                    <a:cubicBezTo>
                      <a:pt x="37" y="310"/>
                      <a:pt x="37" y="310"/>
                      <a:pt x="37" y="310"/>
                    </a:cubicBezTo>
                    <a:cubicBezTo>
                      <a:pt x="38" y="310"/>
                      <a:pt x="38" y="310"/>
                      <a:pt x="38" y="311"/>
                    </a:cubicBezTo>
                    <a:cubicBezTo>
                      <a:pt x="38" y="311"/>
                      <a:pt x="38" y="311"/>
                      <a:pt x="39" y="312"/>
                    </a:cubicBezTo>
                    <a:cubicBezTo>
                      <a:pt x="39" y="312"/>
                      <a:pt x="39" y="312"/>
                      <a:pt x="39" y="312"/>
                    </a:cubicBezTo>
                    <a:cubicBezTo>
                      <a:pt x="40" y="312"/>
                      <a:pt x="39" y="311"/>
                      <a:pt x="39" y="311"/>
                    </a:cubicBezTo>
                    <a:cubicBezTo>
                      <a:pt x="39" y="311"/>
                      <a:pt x="39" y="310"/>
                      <a:pt x="39" y="310"/>
                    </a:cubicBezTo>
                    <a:cubicBezTo>
                      <a:pt x="39" y="310"/>
                      <a:pt x="38" y="310"/>
                      <a:pt x="38" y="310"/>
                    </a:cubicBezTo>
                    <a:cubicBezTo>
                      <a:pt x="38" y="309"/>
                      <a:pt x="37" y="309"/>
                      <a:pt x="37" y="309"/>
                    </a:cubicBezTo>
                    <a:close/>
                    <a:moveTo>
                      <a:pt x="26" y="286"/>
                    </a:moveTo>
                    <a:cubicBezTo>
                      <a:pt x="26" y="286"/>
                      <a:pt x="24" y="288"/>
                      <a:pt x="25" y="287"/>
                    </a:cubicBezTo>
                    <a:cubicBezTo>
                      <a:pt x="25" y="287"/>
                      <a:pt x="24" y="288"/>
                      <a:pt x="24" y="288"/>
                    </a:cubicBezTo>
                    <a:cubicBezTo>
                      <a:pt x="24" y="289"/>
                      <a:pt x="26" y="288"/>
                      <a:pt x="26" y="288"/>
                    </a:cubicBezTo>
                    <a:cubicBezTo>
                      <a:pt x="27" y="287"/>
                      <a:pt x="28" y="286"/>
                      <a:pt x="28" y="285"/>
                    </a:cubicBezTo>
                    <a:cubicBezTo>
                      <a:pt x="28" y="285"/>
                      <a:pt x="26" y="285"/>
                      <a:pt x="26" y="286"/>
                    </a:cubicBezTo>
                    <a:close/>
                    <a:moveTo>
                      <a:pt x="39" y="321"/>
                    </a:moveTo>
                    <a:cubicBezTo>
                      <a:pt x="39" y="321"/>
                      <a:pt x="38" y="321"/>
                      <a:pt x="38" y="322"/>
                    </a:cubicBezTo>
                    <a:cubicBezTo>
                      <a:pt x="38" y="322"/>
                      <a:pt x="37" y="322"/>
                      <a:pt x="37" y="323"/>
                    </a:cubicBezTo>
                    <a:cubicBezTo>
                      <a:pt x="37" y="322"/>
                      <a:pt x="38" y="322"/>
                      <a:pt x="38" y="321"/>
                    </a:cubicBezTo>
                    <a:cubicBezTo>
                      <a:pt x="38" y="321"/>
                      <a:pt x="38" y="320"/>
                      <a:pt x="38" y="320"/>
                    </a:cubicBezTo>
                    <a:cubicBezTo>
                      <a:pt x="38" y="320"/>
                      <a:pt x="39" y="320"/>
                      <a:pt x="39" y="320"/>
                    </a:cubicBezTo>
                    <a:cubicBezTo>
                      <a:pt x="39" y="319"/>
                      <a:pt x="38" y="318"/>
                      <a:pt x="38" y="317"/>
                    </a:cubicBezTo>
                    <a:cubicBezTo>
                      <a:pt x="38" y="317"/>
                      <a:pt x="38" y="318"/>
                      <a:pt x="39" y="318"/>
                    </a:cubicBezTo>
                    <a:cubicBezTo>
                      <a:pt x="39" y="318"/>
                      <a:pt x="39" y="316"/>
                      <a:pt x="39" y="316"/>
                    </a:cubicBezTo>
                    <a:cubicBezTo>
                      <a:pt x="38" y="316"/>
                      <a:pt x="39" y="315"/>
                      <a:pt x="39" y="315"/>
                    </a:cubicBezTo>
                    <a:cubicBezTo>
                      <a:pt x="39" y="315"/>
                      <a:pt x="37" y="315"/>
                      <a:pt x="37" y="315"/>
                    </a:cubicBezTo>
                    <a:cubicBezTo>
                      <a:pt x="37" y="315"/>
                      <a:pt x="38" y="315"/>
                      <a:pt x="38" y="314"/>
                    </a:cubicBezTo>
                    <a:cubicBezTo>
                      <a:pt x="37" y="314"/>
                      <a:pt x="36" y="314"/>
                      <a:pt x="36" y="314"/>
                    </a:cubicBezTo>
                    <a:cubicBezTo>
                      <a:pt x="36" y="314"/>
                      <a:pt x="35" y="314"/>
                      <a:pt x="35" y="313"/>
                    </a:cubicBezTo>
                    <a:cubicBezTo>
                      <a:pt x="34" y="313"/>
                      <a:pt x="34" y="313"/>
                      <a:pt x="34" y="313"/>
                    </a:cubicBezTo>
                    <a:cubicBezTo>
                      <a:pt x="34" y="313"/>
                      <a:pt x="34" y="313"/>
                      <a:pt x="34" y="313"/>
                    </a:cubicBezTo>
                    <a:cubicBezTo>
                      <a:pt x="33" y="312"/>
                      <a:pt x="34" y="310"/>
                      <a:pt x="34" y="310"/>
                    </a:cubicBezTo>
                    <a:cubicBezTo>
                      <a:pt x="34" y="310"/>
                      <a:pt x="35" y="310"/>
                      <a:pt x="35" y="309"/>
                    </a:cubicBezTo>
                    <a:cubicBezTo>
                      <a:pt x="34" y="309"/>
                      <a:pt x="34" y="308"/>
                      <a:pt x="34" y="308"/>
                    </a:cubicBezTo>
                    <a:cubicBezTo>
                      <a:pt x="34" y="307"/>
                      <a:pt x="34" y="307"/>
                      <a:pt x="34" y="306"/>
                    </a:cubicBezTo>
                    <a:cubicBezTo>
                      <a:pt x="34" y="306"/>
                      <a:pt x="34" y="306"/>
                      <a:pt x="34" y="305"/>
                    </a:cubicBezTo>
                    <a:cubicBezTo>
                      <a:pt x="34" y="305"/>
                      <a:pt x="34" y="305"/>
                      <a:pt x="35" y="305"/>
                    </a:cubicBezTo>
                    <a:cubicBezTo>
                      <a:pt x="35" y="303"/>
                      <a:pt x="35" y="303"/>
                      <a:pt x="33" y="303"/>
                    </a:cubicBezTo>
                    <a:cubicBezTo>
                      <a:pt x="33" y="303"/>
                      <a:pt x="33" y="303"/>
                      <a:pt x="32" y="303"/>
                    </a:cubicBezTo>
                    <a:cubicBezTo>
                      <a:pt x="32" y="303"/>
                      <a:pt x="31" y="303"/>
                      <a:pt x="31" y="303"/>
                    </a:cubicBezTo>
                    <a:cubicBezTo>
                      <a:pt x="31" y="302"/>
                      <a:pt x="28" y="302"/>
                      <a:pt x="28" y="302"/>
                    </a:cubicBezTo>
                    <a:cubicBezTo>
                      <a:pt x="27" y="302"/>
                      <a:pt x="27" y="302"/>
                      <a:pt x="26" y="302"/>
                    </a:cubicBezTo>
                    <a:cubicBezTo>
                      <a:pt x="26" y="301"/>
                      <a:pt x="25" y="301"/>
                      <a:pt x="25" y="301"/>
                    </a:cubicBezTo>
                    <a:cubicBezTo>
                      <a:pt x="25" y="301"/>
                      <a:pt x="24" y="301"/>
                      <a:pt x="24" y="301"/>
                    </a:cubicBezTo>
                    <a:cubicBezTo>
                      <a:pt x="24" y="301"/>
                      <a:pt x="23" y="301"/>
                      <a:pt x="23" y="301"/>
                    </a:cubicBezTo>
                    <a:cubicBezTo>
                      <a:pt x="23" y="300"/>
                      <a:pt x="21" y="300"/>
                      <a:pt x="22" y="299"/>
                    </a:cubicBezTo>
                    <a:cubicBezTo>
                      <a:pt x="22" y="299"/>
                      <a:pt x="21" y="299"/>
                      <a:pt x="21" y="299"/>
                    </a:cubicBezTo>
                    <a:cubicBezTo>
                      <a:pt x="21" y="299"/>
                      <a:pt x="21" y="299"/>
                      <a:pt x="21" y="299"/>
                    </a:cubicBezTo>
                    <a:cubicBezTo>
                      <a:pt x="21" y="298"/>
                      <a:pt x="20" y="298"/>
                      <a:pt x="20" y="298"/>
                    </a:cubicBezTo>
                    <a:cubicBezTo>
                      <a:pt x="19" y="298"/>
                      <a:pt x="18" y="298"/>
                      <a:pt x="17" y="298"/>
                    </a:cubicBezTo>
                    <a:cubicBezTo>
                      <a:pt x="16" y="298"/>
                      <a:pt x="15" y="298"/>
                      <a:pt x="14" y="299"/>
                    </a:cubicBezTo>
                    <a:cubicBezTo>
                      <a:pt x="13" y="299"/>
                      <a:pt x="13" y="300"/>
                      <a:pt x="14" y="300"/>
                    </a:cubicBezTo>
                    <a:cubicBezTo>
                      <a:pt x="14" y="300"/>
                      <a:pt x="13" y="300"/>
                      <a:pt x="13" y="301"/>
                    </a:cubicBezTo>
                    <a:cubicBezTo>
                      <a:pt x="14" y="301"/>
                      <a:pt x="13" y="301"/>
                      <a:pt x="14" y="302"/>
                    </a:cubicBezTo>
                    <a:cubicBezTo>
                      <a:pt x="14" y="302"/>
                      <a:pt x="15" y="302"/>
                      <a:pt x="16" y="302"/>
                    </a:cubicBezTo>
                    <a:cubicBezTo>
                      <a:pt x="17" y="302"/>
                      <a:pt x="19" y="301"/>
                      <a:pt x="19" y="301"/>
                    </a:cubicBezTo>
                    <a:cubicBezTo>
                      <a:pt x="19" y="300"/>
                      <a:pt x="17" y="301"/>
                      <a:pt x="17" y="300"/>
                    </a:cubicBezTo>
                    <a:cubicBezTo>
                      <a:pt x="17" y="300"/>
                      <a:pt x="19" y="301"/>
                      <a:pt x="19" y="301"/>
                    </a:cubicBezTo>
                    <a:cubicBezTo>
                      <a:pt x="19" y="301"/>
                      <a:pt x="19" y="301"/>
                      <a:pt x="19" y="301"/>
                    </a:cubicBezTo>
                    <a:cubicBezTo>
                      <a:pt x="20" y="301"/>
                      <a:pt x="20" y="301"/>
                      <a:pt x="21" y="301"/>
                    </a:cubicBezTo>
                    <a:cubicBezTo>
                      <a:pt x="20" y="301"/>
                      <a:pt x="19" y="301"/>
                      <a:pt x="19" y="301"/>
                    </a:cubicBezTo>
                    <a:cubicBezTo>
                      <a:pt x="19" y="302"/>
                      <a:pt x="19" y="303"/>
                      <a:pt x="18" y="303"/>
                    </a:cubicBezTo>
                    <a:cubicBezTo>
                      <a:pt x="18" y="303"/>
                      <a:pt x="18" y="302"/>
                      <a:pt x="18" y="302"/>
                    </a:cubicBezTo>
                    <a:cubicBezTo>
                      <a:pt x="18" y="302"/>
                      <a:pt x="18" y="302"/>
                      <a:pt x="18" y="302"/>
                    </a:cubicBezTo>
                    <a:cubicBezTo>
                      <a:pt x="17" y="302"/>
                      <a:pt x="17" y="302"/>
                      <a:pt x="16" y="302"/>
                    </a:cubicBezTo>
                    <a:cubicBezTo>
                      <a:pt x="16" y="302"/>
                      <a:pt x="16" y="302"/>
                      <a:pt x="15" y="302"/>
                    </a:cubicBezTo>
                    <a:cubicBezTo>
                      <a:pt x="15" y="302"/>
                      <a:pt x="14" y="303"/>
                      <a:pt x="14" y="303"/>
                    </a:cubicBezTo>
                    <a:cubicBezTo>
                      <a:pt x="14" y="303"/>
                      <a:pt x="14" y="304"/>
                      <a:pt x="14" y="303"/>
                    </a:cubicBezTo>
                    <a:cubicBezTo>
                      <a:pt x="15" y="303"/>
                      <a:pt x="15" y="303"/>
                      <a:pt x="15" y="304"/>
                    </a:cubicBezTo>
                    <a:cubicBezTo>
                      <a:pt x="15" y="304"/>
                      <a:pt x="14" y="304"/>
                      <a:pt x="14" y="304"/>
                    </a:cubicBezTo>
                    <a:cubicBezTo>
                      <a:pt x="14" y="304"/>
                      <a:pt x="15" y="304"/>
                      <a:pt x="15" y="304"/>
                    </a:cubicBezTo>
                    <a:cubicBezTo>
                      <a:pt x="15" y="305"/>
                      <a:pt x="12" y="305"/>
                      <a:pt x="13" y="306"/>
                    </a:cubicBezTo>
                    <a:cubicBezTo>
                      <a:pt x="14" y="306"/>
                      <a:pt x="15" y="305"/>
                      <a:pt x="15" y="305"/>
                    </a:cubicBezTo>
                    <a:cubicBezTo>
                      <a:pt x="15" y="305"/>
                      <a:pt x="15" y="305"/>
                      <a:pt x="15" y="306"/>
                    </a:cubicBezTo>
                    <a:cubicBezTo>
                      <a:pt x="15" y="306"/>
                      <a:pt x="17" y="305"/>
                      <a:pt x="17" y="305"/>
                    </a:cubicBezTo>
                    <a:cubicBezTo>
                      <a:pt x="17" y="305"/>
                      <a:pt x="16" y="306"/>
                      <a:pt x="17" y="306"/>
                    </a:cubicBezTo>
                    <a:cubicBezTo>
                      <a:pt x="15" y="306"/>
                      <a:pt x="17" y="307"/>
                      <a:pt x="18" y="306"/>
                    </a:cubicBezTo>
                    <a:cubicBezTo>
                      <a:pt x="18" y="306"/>
                      <a:pt x="18" y="305"/>
                      <a:pt x="18" y="306"/>
                    </a:cubicBezTo>
                    <a:cubicBezTo>
                      <a:pt x="18" y="306"/>
                      <a:pt x="19" y="305"/>
                      <a:pt x="20" y="305"/>
                    </a:cubicBezTo>
                    <a:cubicBezTo>
                      <a:pt x="20" y="306"/>
                      <a:pt x="18" y="306"/>
                      <a:pt x="18" y="307"/>
                    </a:cubicBezTo>
                    <a:cubicBezTo>
                      <a:pt x="18" y="307"/>
                      <a:pt x="17" y="307"/>
                      <a:pt x="17" y="308"/>
                    </a:cubicBezTo>
                    <a:cubicBezTo>
                      <a:pt x="17" y="309"/>
                      <a:pt x="18" y="308"/>
                      <a:pt x="18" y="308"/>
                    </a:cubicBezTo>
                    <a:cubicBezTo>
                      <a:pt x="19" y="308"/>
                      <a:pt x="19" y="308"/>
                      <a:pt x="20" y="307"/>
                    </a:cubicBezTo>
                    <a:cubicBezTo>
                      <a:pt x="20" y="307"/>
                      <a:pt x="19" y="308"/>
                      <a:pt x="19" y="308"/>
                    </a:cubicBezTo>
                    <a:cubicBezTo>
                      <a:pt x="19" y="308"/>
                      <a:pt x="18" y="309"/>
                      <a:pt x="18" y="309"/>
                    </a:cubicBezTo>
                    <a:cubicBezTo>
                      <a:pt x="18" y="309"/>
                      <a:pt x="18" y="309"/>
                      <a:pt x="19" y="309"/>
                    </a:cubicBezTo>
                    <a:cubicBezTo>
                      <a:pt x="18" y="310"/>
                      <a:pt x="17" y="309"/>
                      <a:pt x="17" y="310"/>
                    </a:cubicBezTo>
                    <a:cubicBezTo>
                      <a:pt x="18" y="311"/>
                      <a:pt x="18" y="311"/>
                      <a:pt x="19" y="311"/>
                    </a:cubicBezTo>
                    <a:cubicBezTo>
                      <a:pt x="20" y="311"/>
                      <a:pt x="20" y="310"/>
                      <a:pt x="20" y="309"/>
                    </a:cubicBezTo>
                    <a:cubicBezTo>
                      <a:pt x="20" y="309"/>
                      <a:pt x="21" y="308"/>
                      <a:pt x="21" y="308"/>
                    </a:cubicBezTo>
                    <a:cubicBezTo>
                      <a:pt x="20" y="308"/>
                      <a:pt x="20" y="308"/>
                      <a:pt x="20" y="308"/>
                    </a:cubicBezTo>
                    <a:cubicBezTo>
                      <a:pt x="20" y="308"/>
                      <a:pt x="20" y="308"/>
                      <a:pt x="19" y="308"/>
                    </a:cubicBezTo>
                    <a:cubicBezTo>
                      <a:pt x="20" y="308"/>
                      <a:pt x="20" y="308"/>
                      <a:pt x="20" y="308"/>
                    </a:cubicBezTo>
                    <a:cubicBezTo>
                      <a:pt x="20" y="308"/>
                      <a:pt x="20" y="307"/>
                      <a:pt x="20" y="307"/>
                    </a:cubicBezTo>
                    <a:cubicBezTo>
                      <a:pt x="21" y="307"/>
                      <a:pt x="20" y="309"/>
                      <a:pt x="21" y="308"/>
                    </a:cubicBezTo>
                    <a:cubicBezTo>
                      <a:pt x="21" y="309"/>
                      <a:pt x="20" y="309"/>
                      <a:pt x="20" y="310"/>
                    </a:cubicBezTo>
                    <a:cubicBezTo>
                      <a:pt x="21" y="311"/>
                      <a:pt x="22" y="309"/>
                      <a:pt x="22" y="309"/>
                    </a:cubicBezTo>
                    <a:cubicBezTo>
                      <a:pt x="22" y="309"/>
                      <a:pt x="21" y="310"/>
                      <a:pt x="21" y="310"/>
                    </a:cubicBezTo>
                    <a:cubicBezTo>
                      <a:pt x="21" y="311"/>
                      <a:pt x="24" y="310"/>
                      <a:pt x="24" y="310"/>
                    </a:cubicBezTo>
                    <a:cubicBezTo>
                      <a:pt x="24" y="311"/>
                      <a:pt x="21" y="311"/>
                      <a:pt x="21" y="311"/>
                    </a:cubicBezTo>
                    <a:cubicBezTo>
                      <a:pt x="20" y="311"/>
                      <a:pt x="20" y="311"/>
                      <a:pt x="19" y="312"/>
                    </a:cubicBezTo>
                    <a:cubicBezTo>
                      <a:pt x="19" y="312"/>
                      <a:pt x="18" y="314"/>
                      <a:pt x="18" y="314"/>
                    </a:cubicBezTo>
                    <a:cubicBezTo>
                      <a:pt x="19" y="313"/>
                      <a:pt x="19" y="313"/>
                      <a:pt x="20" y="313"/>
                    </a:cubicBezTo>
                    <a:cubicBezTo>
                      <a:pt x="20" y="313"/>
                      <a:pt x="20" y="314"/>
                      <a:pt x="20" y="314"/>
                    </a:cubicBezTo>
                    <a:cubicBezTo>
                      <a:pt x="20" y="314"/>
                      <a:pt x="21" y="313"/>
                      <a:pt x="21" y="313"/>
                    </a:cubicBezTo>
                    <a:cubicBezTo>
                      <a:pt x="22" y="313"/>
                      <a:pt x="22" y="313"/>
                      <a:pt x="23" y="313"/>
                    </a:cubicBezTo>
                    <a:cubicBezTo>
                      <a:pt x="23" y="313"/>
                      <a:pt x="21" y="314"/>
                      <a:pt x="22" y="314"/>
                    </a:cubicBezTo>
                    <a:cubicBezTo>
                      <a:pt x="23" y="314"/>
                      <a:pt x="23" y="313"/>
                      <a:pt x="24" y="313"/>
                    </a:cubicBezTo>
                    <a:cubicBezTo>
                      <a:pt x="24" y="314"/>
                      <a:pt x="22" y="314"/>
                      <a:pt x="22" y="315"/>
                    </a:cubicBezTo>
                    <a:cubicBezTo>
                      <a:pt x="22" y="315"/>
                      <a:pt x="23" y="314"/>
                      <a:pt x="23" y="315"/>
                    </a:cubicBezTo>
                    <a:cubicBezTo>
                      <a:pt x="23" y="315"/>
                      <a:pt x="24" y="314"/>
                      <a:pt x="24" y="314"/>
                    </a:cubicBezTo>
                    <a:cubicBezTo>
                      <a:pt x="24" y="314"/>
                      <a:pt x="23" y="315"/>
                      <a:pt x="23" y="315"/>
                    </a:cubicBezTo>
                    <a:cubicBezTo>
                      <a:pt x="24" y="315"/>
                      <a:pt x="24" y="315"/>
                      <a:pt x="24" y="315"/>
                    </a:cubicBezTo>
                    <a:cubicBezTo>
                      <a:pt x="24" y="315"/>
                      <a:pt x="23" y="315"/>
                      <a:pt x="23" y="316"/>
                    </a:cubicBezTo>
                    <a:cubicBezTo>
                      <a:pt x="24" y="316"/>
                      <a:pt x="24" y="315"/>
                      <a:pt x="25" y="315"/>
                    </a:cubicBezTo>
                    <a:cubicBezTo>
                      <a:pt x="24" y="316"/>
                      <a:pt x="23" y="316"/>
                      <a:pt x="22" y="316"/>
                    </a:cubicBezTo>
                    <a:cubicBezTo>
                      <a:pt x="22" y="316"/>
                      <a:pt x="21" y="317"/>
                      <a:pt x="22" y="317"/>
                    </a:cubicBezTo>
                    <a:cubicBezTo>
                      <a:pt x="22" y="317"/>
                      <a:pt x="22" y="317"/>
                      <a:pt x="22" y="317"/>
                    </a:cubicBezTo>
                    <a:cubicBezTo>
                      <a:pt x="23" y="318"/>
                      <a:pt x="23" y="319"/>
                      <a:pt x="24" y="318"/>
                    </a:cubicBezTo>
                    <a:cubicBezTo>
                      <a:pt x="25" y="318"/>
                      <a:pt x="25" y="317"/>
                      <a:pt x="26" y="317"/>
                    </a:cubicBezTo>
                    <a:cubicBezTo>
                      <a:pt x="26" y="317"/>
                      <a:pt x="25" y="318"/>
                      <a:pt x="25" y="318"/>
                    </a:cubicBezTo>
                    <a:cubicBezTo>
                      <a:pt x="26" y="318"/>
                      <a:pt x="26" y="318"/>
                      <a:pt x="26" y="318"/>
                    </a:cubicBezTo>
                    <a:cubicBezTo>
                      <a:pt x="27" y="318"/>
                      <a:pt x="27" y="318"/>
                      <a:pt x="27" y="318"/>
                    </a:cubicBezTo>
                    <a:cubicBezTo>
                      <a:pt x="28" y="318"/>
                      <a:pt x="28" y="318"/>
                      <a:pt x="29" y="318"/>
                    </a:cubicBezTo>
                    <a:cubicBezTo>
                      <a:pt x="30" y="317"/>
                      <a:pt x="30" y="316"/>
                      <a:pt x="32" y="315"/>
                    </a:cubicBezTo>
                    <a:cubicBezTo>
                      <a:pt x="31" y="316"/>
                      <a:pt x="30" y="317"/>
                      <a:pt x="29" y="318"/>
                    </a:cubicBezTo>
                    <a:cubicBezTo>
                      <a:pt x="28" y="318"/>
                      <a:pt x="28" y="319"/>
                      <a:pt x="27" y="319"/>
                    </a:cubicBezTo>
                    <a:cubicBezTo>
                      <a:pt x="26" y="319"/>
                      <a:pt x="26" y="319"/>
                      <a:pt x="25" y="319"/>
                    </a:cubicBezTo>
                    <a:cubicBezTo>
                      <a:pt x="24" y="320"/>
                      <a:pt x="26" y="321"/>
                      <a:pt x="27" y="321"/>
                    </a:cubicBezTo>
                    <a:cubicBezTo>
                      <a:pt x="27" y="321"/>
                      <a:pt x="27" y="322"/>
                      <a:pt x="27" y="322"/>
                    </a:cubicBezTo>
                    <a:cubicBezTo>
                      <a:pt x="28" y="322"/>
                      <a:pt x="28" y="322"/>
                      <a:pt x="28" y="322"/>
                    </a:cubicBezTo>
                    <a:cubicBezTo>
                      <a:pt x="29" y="322"/>
                      <a:pt x="29" y="322"/>
                      <a:pt x="30" y="322"/>
                    </a:cubicBezTo>
                    <a:cubicBezTo>
                      <a:pt x="29" y="323"/>
                      <a:pt x="29" y="323"/>
                      <a:pt x="30" y="323"/>
                    </a:cubicBezTo>
                    <a:cubicBezTo>
                      <a:pt x="31" y="323"/>
                      <a:pt x="31" y="324"/>
                      <a:pt x="32" y="324"/>
                    </a:cubicBezTo>
                    <a:cubicBezTo>
                      <a:pt x="32" y="324"/>
                      <a:pt x="32" y="324"/>
                      <a:pt x="33" y="324"/>
                    </a:cubicBezTo>
                    <a:cubicBezTo>
                      <a:pt x="33" y="324"/>
                      <a:pt x="34" y="324"/>
                      <a:pt x="34" y="324"/>
                    </a:cubicBezTo>
                    <a:cubicBezTo>
                      <a:pt x="34" y="325"/>
                      <a:pt x="34" y="325"/>
                      <a:pt x="35" y="325"/>
                    </a:cubicBezTo>
                    <a:cubicBezTo>
                      <a:pt x="35" y="325"/>
                      <a:pt x="35" y="325"/>
                      <a:pt x="35" y="325"/>
                    </a:cubicBezTo>
                    <a:cubicBezTo>
                      <a:pt x="36" y="325"/>
                      <a:pt x="36" y="323"/>
                      <a:pt x="37" y="324"/>
                    </a:cubicBezTo>
                    <a:cubicBezTo>
                      <a:pt x="38" y="324"/>
                      <a:pt x="38" y="324"/>
                      <a:pt x="38" y="324"/>
                    </a:cubicBezTo>
                    <a:cubicBezTo>
                      <a:pt x="39" y="323"/>
                      <a:pt x="39" y="323"/>
                      <a:pt x="39" y="323"/>
                    </a:cubicBezTo>
                    <a:cubicBezTo>
                      <a:pt x="39" y="322"/>
                      <a:pt x="40" y="321"/>
                      <a:pt x="39" y="321"/>
                    </a:cubicBezTo>
                    <a:close/>
                    <a:moveTo>
                      <a:pt x="35" y="304"/>
                    </a:moveTo>
                    <a:cubicBezTo>
                      <a:pt x="36" y="304"/>
                      <a:pt x="36" y="303"/>
                      <a:pt x="37" y="304"/>
                    </a:cubicBezTo>
                    <a:cubicBezTo>
                      <a:pt x="37" y="305"/>
                      <a:pt x="36" y="305"/>
                      <a:pt x="36" y="306"/>
                    </a:cubicBezTo>
                    <a:cubicBezTo>
                      <a:pt x="37" y="305"/>
                      <a:pt x="38" y="303"/>
                      <a:pt x="37" y="302"/>
                    </a:cubicBezTo>
                    <a:cubicBezTo>
                      <a:pt x="37" y="302"/>
                      <a:pt x="35" y="304"/>
                      <a:pt x="35" y="304"/>
                    </a:cubicBezTo>
                    <a:close/>
                    <a:moveTo>
                      <a:pt x="38" y="304"/>
                    </a:moveTo>
                    <a:cubicBezTo>
                      <a:pt x="38" y="305"/>
                      <a:pt x="38" y="305"/>
                      <a:pt x="38" y="305"/>
                    </a:cubicBezTo>
                    <a:cubicBezTo>
                      <a:pt x="37" y="305"/>
                      <a:pt x="37" y="305"/>
                      <a:pt x="37" y="305"/>
                    </a:cubicBezTo>
                    <a:cubicBezTo>
                      <a:pt x="37" y="306"/>
                      <a:pt x="36" y="306"/>
                      <a:pt x="37" y="306"/>
                    </a:cubicBezTo>
                    <a:cubicBezTo>
                      <a:pt x="36" y="306"/>
                      <a:pt x="36" y="307"/>
                      <a:pt x="36" y="307"/>
                    </a:cubicBezTo>
                    <a:cubicBezTo>
                      <a:pt x="36" y="307"/>
                      <a:pt x="38" y="306"/>
                      <a:pt x="38" y="306"/>
                    </a:cubicBezTo>
                    <a:cubicBezTo>
                      <a:pt x="38" y="306"/>
                      <a:pt x="38" y="304"/>
                      <a:pt x="38" y="304"/>
                    </a:cubicBezTo>
                    <a:close/>
                    <a:moveTo>
                      <a:pt x="40" y="316"/>
                    </a:moveTo>
                    <a:cubicBezTo>
                      <a:pt x="40" y="316"/>
                      <a:pt x="40" y="317"/>
                      <a:pt x="40" y="318"/>
                    </a:cubicBezTo>
                    <a:cubicBezTo>
                      <a:pt x="40" y="317"/>
                      <a:pt x="40" y="316"/>
                      <a:pt x="40" y="316"/>
                    </a:cubicBezTo>
                    <a:close/>
                    <a:moveTo>
                      <a:pt x="40" y="319"/>
                    </a:moveTo>
                    <a:cubicBezTo>
                      <a:pt x="40" y="319"/>
                      <a:pt x="40" y="318"/>
                      <a:pt x="40" y="318"/>
                    </a:cubicBezTo>
                    <a:cubicBezTo>
                      <a:pt x="40" y="318"/>
                      <a:pt x="40" y="318"/>
                      <a:pt x="40" y="318"/>
                    </a:cubicBezTo>
                    <a:cubicBezTo>
                      <a:pt x="39" y="318"/>
                      <a:pt x="40" y="319"/>
                      <a:pt x="39" y="319"/>
                    </a:cubicBezTo>
                    <a:cubicBezTo>
                      <a:pt x="39" y="319"/>
                      <a:pt x="39" y="319"/>
                      <a:pt x="39" y="319"/>
                    </a:cubicBezTo>
                    <a:cubicBezTo>
                      <a:pt x="39" y="319"/>
                      <a:pt x="39" y="320"/>
                      <a:pt x="39" y="320"/>
                    </a:cubicBezTo>
                    <a:cubicBezTo>
                      <a:pt x="39" y="320"/>
                      <a:pt x="39" y="320"/>
                      <a:pt x="39" y="320"/>
                    </a:cubicBezTo>
                    <a:cubicBezTo>
                      <a:pt x="39" y="321"/>
                      <a:pt x="39" y="321"/>
                      <a:pt x="39" y="321"/>
                    </a:cubicBezTo>
                    <a:cubicBezTo>
                      <a:pt x="39" y="321"/>
                      <a:pt x="40" y="320"/>
                      <a:pt x="40" y="320"/>
                    </a:cubicBezTo>
                    <a:cubicBezTo>
                      <a:pt x="40" y="320"/>
                      <a:pt x="40" y="319"/>
                      <a:pt x="40" y="319"/>
                    </a:cubicBezTo>
                    <a:cubicBezTo>
                      <a:pt x="40" y="319"/>
                      <a:pt x="40" y="319"/>
                      <a:pt x="40" y="319"/>
                    </a:cubicBezTo>
                    <a:close/>
                    <a:moveTo>
                      <a:pt x="23" y="291"/>
                    </a:moveTo>
                    <a:cubicBezTo>
                      <a:pt x="23" y="293"/>
                      <a:pt x="24" y="291"/>
                      <a:pt x="24" y="291"/>
                    </a:cubicBezTo>
                    <a:cubicBezTo>
                      <a:pt x="25" y="290"/>
                      <a:pt x="25" y="290"/>
                      <a:pt x="25" y="290"/>
                    </a:cubicBezTo>
                    <a:cubicBezTo>
                      <a:pt x="25" y="289"/>
                      <a:pt x="25" y="289"/>
                      <a:pt x="25" y="289"/>
                    </a:cubicBezTo>
                    <a:cubicBezTo>
                      <a:pt x="25" y="289"/>
                      <a:pt x="23" y="290"/>
                      <a:pt x="23" y="290"/>
                    </a:cubicBezTo>
                    <a:cubicBezTo>
                      <a:pt x="23" y="290"/>
                      <a:pt x="22" y="292"/>
                      <a:pt x="23" y="291"/>
                    </a:cubicBezTo>
                    <a:close/>
                    <a:moveTo>
                      <a:pt x="40" y="318"/>
                    </a:moveTo>
                    <a:cubicBezTo>
                      <a:pt x="40" y="318"/>
                      <a:pt x="41" y="319"/>
                      <a:pt x="41" y="319"/>
                    </a:cubicBezTo>
                    <a:cubicBezTo>
                      <a:pt x="42" y="319"/>
                      <a:pt x="40" y="318"/>
                      <a:pt x="40" y="318"/>
                    </a:cubicBezTo>
                    <a:close/>
                    <a:moveTo>
                      <a:pt x="34" y="256"/>
                    </a:moveTo>
                    <a:cubicBezTo>
                      <a:pt x="35" y="256"/>
                      <a:pt x="36" y="255"/>
                      <a:pt x="37" y="255"/>
                    </a:cubicBezTo>
                    <a:cubicBezTo>
                      <a:pt x="37" y="255"/>
                      <a:pt x="37" y="255"/>
                      <a:pt x="37" y="254"/>
                    </a:cubicBezTo>
                    <a:cubicBezTo>
                      <a:pt x="37" y="254"/>
                      <a:pt x="36" y="255"/>
                      <a:pt x="35" y="255"/>
                    </a:cubicBezTo>
                    <a:cubicBezTo>
                      <a:pt x="35" y="255"/>
                      <a:pt x="34" y="256"/>
                      <a:pt x="33" y="256"/>
                    </a:cubicBezTo>
                    <a:cubicBezTo>
                      <a:pt x="33" y="256"/>
                      <a:pt x="33" y="257"/>
                      <a:pt x="34" y="257"/>
                    </a:cubicBezTo>
                    <a:cubicBezTo>
                      <a:pt x="34" y="256"/>
                      <a:pt x="34" y="256"/>
                      <a:pt x="34" y="256"/>
                    </a:cubicBezTo>
                    <a:close/>
                    <a:moveTo>
                      <a:pt x="35" y="306"/>
                    </a:moveTo>
                    <a:cubicBezTo>
                      <a:pt x="35" y="306"/>
                      <a:pt x="35" y="307"/>
                      <a:pt x="35" y="307"/>
                    </a:cubicBezTo>
                    <a:cubicBezTo>
                      <a:pt x="35" y="307"/>
                      <a:pt x="35" y="307"/>
                      <a:pt x="35" y="307"/>
                    </a:cubicBezTo>
                    <a:cubicBezTo>
                      <a:pt x="35" y="306"/>
                      <a:pt x="35" y="306"/>
                      <a:pt x="35" y="306"/>
                    </a:cubicBezTo>
                    <a:cubicBezTo>
                      <a:pt x="35" y="306"/>
                      <a:pt x="36" y="305"/>
                      <a:pt x="36" y="305"/>
                    </a:cubicBezTo>
                    <a:cubicBezTo>
                      <a:pt x="36" y="305"/>
                      <a:pt x="37" y="304"/>
                      <a:pt x="36" y="304"/>
                    </a:cubicBezTo>
                    <a:cubicBezTo>
                      <a:pt x="36" y="304"/>
                      <a:pt x="35" y="304"/>
                      <a:pt x="35" y="305"/>
                    </a:cubicBezTo>
                    <a:cubicBezTo>
                      <a:pt x="34" y="305"/>
                      <a:pt x="35" y="305"/>
                      <a:pt x="35" y="306"/>
                    </a:cubicBezTo>
                    <a:close/>
                    <a:moveTo>
                      <a:pt x="29" y="281"/>
                    </a:moveTo>
                    <a:cubicBezTo>
                      <a:pt x="30" y="280"/>
                      <a:pt x="31" y="279"/>
                      <a:pt x="32" y="277"/>
                    </a:cubicBezTo>
                    <a:cubicBezTo>
                      <a:pt x="31" y="277"/>
                      <a:pt x="29" y="279"/>
                      <a:pt x="29" y="280"/>
                    </a:cubicBezTo>
                    <a:cubicBezTo>
                      <a:pt x="29" y="280"/>
                      <a:pt x="29" y="281"/>
                      <a:pt x="28" y="281"/>
                    </a:cubicBezTo>
                    <a:cubicBezTo>
                      <a:pt x="28" y="281"/>
                      <a:pt x="27" y="282"/>
                      <a:pt x="27" y="282"/>
                    </a:cubicBezTo>
                    <a:cubicBezTo>
                      <a:pt x="28" y="282"/>
                      <a:pt x="29" y="281"/>
                      <a:pt x="29" y="281"/>
                    </a:cubicBezTo>
                    <a:close/>
                    <a:moveTo>
                      <a:pt x="33" y="270"/>
                    </a:moveTo>
                    <a:cubicBezTo>
                      <a:pt x="33" y="269"/>
                      <a:pt x="34" y="269"/>
                      <a:pt x="34" y="269"/>
                    </a:cubicBezTo>
                    <a:cubicBezTo>
                      <a:pt x="34" y="269"/>
                      <a:pt x="34" y="269"/>
                      <a:pt x="35" y="269"/>
                    </a:cubicBezTo>
                    <a:cubicBezTo>
                      <a:pt x="35" y="269"/>
                      <a:pt x="35" y="269"/>
                      <a:pt x="35" y="269"/>
                    </a:cubicBezTo>
                    <a:cubicBezTo>
                      <a:pt x="35" y="268"/>
                      <a:pt x="36" y="268"/>
                      <a:pt x="36" y="268"/>
                    </a:cubicBezTo>
                    <a:cubicBezTo>
                      <a:pt x="36" y="268"/>
                      <a:pt x="36" y="268"/>
                      <a:pt x="35" y="268"/>
                    </a:cubicBezTo>
                    <a:cubicBezTo>
                      <a:pt x="35" y="268"/>
                      <a:pt x="35" y="268"/>
                      <a:pt x="34" y="268"/>
                    </a:cubicBezTo>
                    <a:cubicBezTo>
                      <a:pt x="34" y="268"/>
                      <a:pt x="33" y="268"/>
                      <a:pt x="33" y="268"/>
                    </a:cubicBezTo>
                    <a:cubicBezTo>
                      <a:pt x="32" y="269"/>
                      <a:pt x="32" y="269"/>
                      <a:pt x="32" y="270"/>
                    </a:cubicBezTo>
                    <a:cubicBezTo>
                      <a:pt x="31" y="270"/>
                      <a:pt x="31" y="271"/>
                      <a:pt x="30" y="271"/>
                    </a:cubicBezTo>
                    <a:cubicBezTo>
                      <a:pt x="31" y="271"/>
                      <a:pt x="31" y="271"/>
                      <a:pt x="32" y="271"/>
                    </a:cubicBezTo>
                    <a:cubicBezTo>
                      <a:pt x="32" y="270"/>
                      <a:pt x="32" y="270"/>
                      <a:pt x="33" y="270"/>
                    </a:cubicBezTo>
                    <a:close/>
                    <a:moveTo>
                      <a:pt x="26" y="285"/>
                    </a:moveTo>
                    <a:cubicBezTo>
                      <a:pt x="26" y="286"/>
                      <a:pt x="28" y="284"/>
                      <a:pt x="28" y="284"/>
                    </a:cubicBezTo>
                    <a:cubicBezTo>
                      <a:pt x="28" y="283"/>
                      <a:pt x="25" y="285"/>
                      <a:pt x="26" y="285"/>
                    </a:cubicBezTo>
                    <a:close/>
                    <a:moveTo>
                      <a:pt x="31" y="300"/>
                    </a:moveTo>
                    <a:cubicBezTo>
                      <a:pt x="31" y="299"/>
                      <a:pt x="32" y="299"/>
                      <a:pt x="32" y="298"/>
                    </a:cubicBezTo>
                    <a:cubicBezTo>
                      <a:pt x="32" y="298"/>
                      <a:pt x="31" y="298"/>
                      <a:pt x="30" y="299"/>
                    </a:cubicBezTo>
                    <a:cubicBezTo>
                      <a:pt x="30" y="299"/>
                      <a:pt x="28" y="300"/>
                      <a:pt x="28" y="300"/>
                    </a:cubicBezTo>
                    <a:cubicBezTo>
                      <a:pt x="29" y="300"/>
                      <a:pt x="29" y="300"/>
                      <a:pt x="30" y="300"/>
                    </a:cubicBezTo>
                    <a:cubicBezTo>
                      <a:pt x="30" y="300"/>
                      <a:pt x="30" y="300"/>
                      <a:pt x="31" y="300"/>
                    </a:cubicBezTo>
                    <a:close/>
                    <a:moveTo>
                      <a:pt x="22" y="313"/>
                    </a:moveTo>
                    <a:cubicBezTo>
                      <a:pt x="21" y="313"/>
                      <a:pt x="19" y="314"/>
                      <a:pt x="20" y="315"/>
                    </a:cubicBezTo>
                    <a:cubicBezTo>
                      <a:pt x="21" y="315"/>
                      <a:pt x="22" y="314"/>
                      <a:pt x="22" y="313"/>
                    </a:cubicBezTo>
                    <a:close/>
                    <a:moveTo>
                      <a:pt x="28" y="281"/>
                    </a:moveTo>
                    <a:cubicBezTo>
                      <a:pt x="28" y="280"/>
                      <a:pt x="29" y="279"/>
                      <a:pt x="29" y="279"/>
                    </a:cubicBezTo>
                    <a:cubicBezTo>
                      <a:pt x="29" y="279"/>
                      <a:pt x="29" y="279"/>
                      <a:pt x="29" y="279"/>
                    </a:cubicBezTo>
                    <a:cubicBezTo>
                      <a:pt x="28" y="279"/>
                      <a:pt x="28" y="279"/>
                      <a:pt x="27" y="279"/>
                    </a:cubicBezTo>
                    <a:cubicBezTo>
                      <a:pt x="27" y="279"/>
                      <a:pt x="27" y="279"/>
                      <a:pt x="27" y="280"/>
                    </a:cubicBezTo>
                    <a:cubicBezTo>
                      <a:pt x="27" y="280"/>
                      <a:pt x="27" y="280"/>
                      <a:pt x="26" y="280"/>
                    </a:cubicBezTo>
                    <a:cubicBezTo>
                      <a:pt x="26" y="280"/>
                      <a:pt x="26" y="280"/>
                      <a:pt x="26" y="280"/>
                    </a:cubicBezTo>
                    <a:cubicBezTo>
                      <a:pt x="26" y="280"/>
                      <a:pt x="25" y="280"/>
                      <a:pt x="26" y="280"/>
                    </a:cubicBezTo>
                    <a:cubicBezTo>
                      <a:pt x="26" y="281"/>
                      <a:pt x="26" y="280"/>
                      <a:pt x="26" y="280"/>
                    </a:cubicBezTo>
                    <a:cubicBezTo>
                      <a:pt x="26" y="281"/>
                      <a:pt x="28" y="281"/>
                      <a:pt x="28" y="281"/>
                    </a:cubicBezTo>
                    <a:close/>
                    <a:moveTo>
                      <a:pt x="4" y="276"/>
                    </a:moveTo>
                    <a:cubicBezTo>
                      <a:pt x="4" y="277"/>
                      <a:pt x="6" y="276"/>
                      <a:pt x="7" y="276"/>
                    </a:cubicBezTo>
                    <a:cubicBezTo>
                      <a:pt x="7" y="275"/>
                      <a:pt x="6" y="275"/>
                      <a:pt x="6" y="275"/>
                    </a:cubicBezTo>
                    <a:cubicBezTo>
                      <a:pt x="5" y="275"/>
                      <a:pt x="4" y="275"/>
                      <a:pt x="4" y="27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0" name="Cameroon">
                <a:extLst>
                  <a:ext uri="{FF2B5EF4-FFF2-40B4-BE49-F238E27FC236}">
                    <a16:creationId xmlns:a16="http://schemas.microsoft.com/office/drawing/2014/main" id="{543A16C2-3FFF-503E-5B0F-4489D9C6DAE6}"/>
                  </a:ext>
                </a:extLst>
              </p:cNvPr>
              <p:cNvSpPr>
                <a:spLocks/>
              </p:cNvSpPr>
              <p:nvPr/>
            </p:nvSpPr>
            <p:spPr bwMode="auto">
              <a:xfrm>
                <a:off x="5987793" y="3533685"/>
                <a:ext cx="265625" cy="449895"/>
              </a:xfrm>
              <a:custGeom>
                <a:avLst/>
                <a:gdLst/>
                <a:ahLst/>
                <a:cxnLst>
                  <a:cxn ang="0">
                    <a:pos x="74" y="115"/>
                  </a:cxn>
                  <a:cxn ang="0">
                    <a:pos x="73" y="112"/>
                  </a:cxn>
                  <a:cxn ang="0">
                    <a:pos x="64" y="102"/>
                  </a:cxn>
                  <a:cxn ang="0">
                    <a:pos x="63" y="96"/>
                  </a:cxn>
                  <a:cxn ang="0">
                    <a:pos x="59" y="87"/>
                  </a:cxn>
                  <a:cxn ang="0">
                    <a:pos x="59" y="82"/>
                  </a:cxn>
                  <a:cxn ang="0">
                    <a:pos x="59" y="76"/>
                  </a:cxn>
                  <a:cxn ang="0">
                    <a:pos x="65" y="67"/>
                  </a:cxn>
                  <a:cxn ang="0">
                    <a:pos x="68" y="61"/>
                  </a:cxn>
                  <a:cxn ang="0">
                    <a:pos x="66" y="54"/>
                  </a:cxn>
                  <a:cxn ang="0">
                    <a:pos x="63" y="49"/>
                  </a:cxn>
                  <a:cxn ang="0">
                    <a:pos x="60" y="46"/>
                  </a:cxn>
                  <a:cxn ang="0">
                    <a:pos x="53" y="37"/>
                  </a:cxn>
                  <a:cxn ang="0">
                    <a:pos x="62" y="35"/>
                  </a:cxn>
                  <a:cxn ang="0">
                    <a:pos x="68" y="34"/>
                  </a:cxn>
                  <a:cxn ang="0">
                    <a:pos x="64" y="26"/>
                  </a:cxn>
                  <a:cxn ang="0">
                    <a:pos x="63" y="16"/>
                  </a:cxn>
                  <a:cxn ang="0">
                    <a:pos x="62" y="11"/>
                  </a:cxn>
                  <a:cxn ang="0">
                    <a:pos x="60" y="5"/>
                  </a:cxn>
                  <a:cxn ang="0">
                    <a:pos x="58" y="2"/>
                  </a:cxn>
                  <a:cxn ang="0">
                    <a:pos x="55" y="7"/>
                  </a:cxn>
                  <a:cxn ang="0">
                    <a:pos x="59" y="11"/>
                  </a:cxn>
                  <a:cxn ang="0">
                    <a:pos x="59" y="17"/>
                  </a:cxn>
                  <a:cxn ang="0">
                    <a:pos x="51" y="23"/>
                  </a:cxn>
                  <a:cxn ang="0">
                    <a:pos x="48" y="33"/>
                  </a:cxn>
                  <a:cxn ang="0">
                    <a:pos x="46" y="37"/>
                  </a:cxn>
                  <a:cxn ang="0">
                    <a:pos x="42" y="45"/>
                  </a:cxn>
                  <a:cxn ang="0">
                    <a:pos x="39" y="49"/>
                  </a:cxn>
                  <a:cxn ang="0">
                    <a:pos x="37" y="52"/>
                  </a:cxn>
                  <a:cxn ang="0">
                    <a:pos x="34" y="60"/>
                  </a:cxn>
                  <a:cxn ang="0">
                    <a:pos x="31" y="67"/>
                  </a:cxn>
                  <a:cxn ang="0">
                    <a:pos x="28" y="72"/>
                  </a:cxn>
                  <a:cxn ang="0">
                    <a:pos x="23" y="69"/>
                  </a:cxn>
                  <a:cxn ang="0">
                    <a:pos x="19" y="68"/>
                  </a:cxn>
                  <a:cxn ang="0">
                    <a:pos x="13" y="70"/>
                  </a:cxn>
                  <a:cxn ang="0">
                    <a:pos x="9" y="74"/>
                  </a:cxn>
                  <a:cxn ang="0">
                    <a:pos x="5" y="79"/>
                  </a:cxn>
                  <a:cxn ang="0">
                    <a:pos x="4" y="83"/>
                  </a:cxn>
                  <a:cxn ang="0">
                    <a:pos x="1" y="91"/>
                  </a:cxn>
                  <a:cxn ang="0">
                    <a:pos x="0" y="95"/>
                  </a:cxn>
                  <a:cxn ang="0">
                    <a:pos x="1" y="92"/>
                  </a:cxn>
                  <a:cxn ang="0">
                    <a:pos x="3" y="93"/>
                  </a:cxn>
                  <a:cxn ang="0">
                    <a:pos x="4" y="97"/>
                  </a:cxn>
                  <a:cxn ang="0">
                    <a:pos x="8" y="100"/>
                  </a:cxn>
                  <a:cxn ang="0">
                    <a:pos x="10" y="100"/>
                  </a:cxn>
                  <a:cxn ang="0">
                    <a:pos x="11" y="99"/>
                  </a:cxn>
                  <a:cxn ang="0">
                    <a:pos x="11" y="101"/>
                  </a:cxn>
                  <a:cxn ang="0">
                    <a:pos x="11" y="103"/>
                  </a:cxn>
                  <a:cxn ang="0">
                    <a:pos x="13" y="104"/>
                  </a:cxn>
                  <a:cxn ang="0">
                    <a:pos x="14" y="110"/>
                  </a:cxn>
                  <a:cxn ang="0">
                    <a:pos x="13" y="120"/>
                  </a:cxn>
                  <a:cxn ang="0">
                    <a:pos x="29" y="119"/>
                  </a:cxn>
                  <a:cxn ang="0">
                    <a:pos x="39" y="119"/>
                  </a:cxn>
                  <a:cxn ang="0">
                    <a:pos x="46" y="119"/>
                  </a:cxn>
                  <a:cxn ang="0">
                    <a:pos x="57" y="120"/>
                  </a:cxn>
                  <a:cxn ang="0">
                    <a:pos x="60" y="121"/>
                  </a:cxn>
                  <a:cxn ang="0">
                    <a:pos x="64" y="122"/>
                  </a:cxn>
                  <a:cxn ang="0">
                    <a:pos x="72" y="125"/>
                  </a:cxn>
                  <a:cxn ang="0">
                    <a:pos x="74" y="121"/>
                  </a:cxn>
                </a:cxnLst>
                <a:rect l="0" t="0" r="r" b="b"/>
                <a:pathLst>
                  <a:path w="75" h="127">
                    <a:moveTo>
                      <a:pt x="75" y="120"/>
                    </a:moveTo>
                    <a:cubicBezTo>
                      <a:pt x="75" y="120"/>
                      <a:pt x="74" y="119"/>
                      <a:pt x="74" y="118"/>
                    </a:cubicBezTo>
                    <a:cubicBezTo>
                      <a:pt x="74" y="118"/>
                      <a:pt x="74" y="117"/>
                      <a:pt x="74" y="116"/>
                    </a:cubicBezTo>
                    <a:cubicBezTo>
                      <a:pt x="74" y="115"/>
                      <a:pt x="74" y="115"/>
                      <a:pt x="74" y="115"/>
                    </a:cubicBezTo>
                    <a:cubicBezTo>
                      <a:pt x="74" y="114"/>
                      <a:pt x="74" y="115"/>
                      <a:pt x="73" y="115"/>
                    </a:cubicBezTo>
                    <a:cubicBezTo>
                      <a:pt x="73" y="114"/>
                      <a:pt x="73" y="114"/>
                      <a:pt x="74" y="113"/>
                    </a:cubicBezTo>
                    <a:cubicBezTo>
                      <a:pt x="74" y="113"/>
                      <a:pt x="74" y="113"/>
                      <a:pt x="74" y="112"/>
                    </a:cubicBezTo>
                    <a:cubicBezTo>
                      <a:pt x="74" y="112"/>
                      <a:pt x="73" y="112"/>
                      <a:pt x="73" y="112"/>
                    </a:cubicBezTo>
                    <a:cubicBezTo>
                      <a:pt x="73" y="111"/>
                      <a:pt x="73" y="112"/>
                      <a:pt x="72" y="111"/>
                    </a:cubicBezTo>
                    <a:cubicBezTo>
                      <a:pt x="72" y="110"/>
                      <a:pt x="71" y="111"/>
                      <a:pt x="71" y="110"/>
                    </a:cubicBezTo>
                    <a:cubicBezTo>
                      <a:pt x="70" y="110"/>
                      <a:pt x="70" y="109"/>
                      <a:pt x="69" y="108"/>
                    </a:cubicBezTo>
                    <a:cubicBezTo>
                      <a:pt x="68" y="106"/>
                      <a:pt x="66" y="104"/>
                      <a:pt x="64" y="102"/>
                    </a:cubicBezTo>
                    <a:cubicBezTo>
                      <a:pt x="64" y="102"/>
                      <a:pt x="64" y="101"/>
                      <a:pt x="63" y="100"/>
                    </a:cubicBezTo>
                    <a:cubicBezTo>
                      <a:pt x="63" y="100"/>
                      <a:pt x="64" y="100"/>
                      <a:pt x="65" y="100"/>
                    </a:cubicBezTo>
                    <a:cubicBezTo>
                      <a:pt x="64" y="100"/>
                      <a:pt x="64" y="99"/>
                      <a:pt x="64" y="99"/>
                    </a:cubicBezTo>
                    <a:cubicBezTo>
                      <a:pt x="64" y="98"/>
                      <a:pt x="64" y="97"/>
                      <a:pt x="63" y="96"/>
                    </a:cubicBezTo>
                    <a:cubicBezTo>
                      <a:pt x="63" y="96"/>
                      <a:pt x="62" y="95"/>
                      <a:pt x="62" y="95"/>
                    </a:cubicBezTo>
                    <a:cubicBezTo>
                      <a:pt x="60" y="94"/>
                      <a:pt x="60" y="93"/>
                      <a:pt x="60" y="91"/>
                    </a:cubicBezTo>
                    <a:cubicBezTo>
                      <a:pt x="60" y="90"/>
                      <a:pt x="60" y="90"/>
                      <a:pt x="60" y="89"/>
                    </a:cubicBezTo>
                    <a:cubicBezTo>
                      <a:pt x="60" y="88"/>
                      <a:pt x="60" y="87"/>
                      <a:pt x="59" y="87"/>
                    </a:cubicBezTo>
                    <a:cubicBezTo>
                      <a:pt x="59" y="87"/>
                      <a:pt x="58" y="86"/>
                      <a:pt x="59" y="86"/>
                    </a:cubicBezTo>
                    <a:cubicBezTo>
                      <a:pt x="59" y="85"/>
                      <a:pt x="59" y="85"/>
                      <a:pt x="59" y="84"/>
                    </a:cubicBezTo>
                    <a:cubicBezTo>
                      <a:pt x="59" y="83"/>
                      <a:pt x="59" y="83"/>
                      <a:pt x="59" y="83"/>
                    </a:cubicBezTo>
                    <a:cubicBezTo>
                      <a:pt x="59" y="82"/>
                      <a:pt x="59" y="82"/>
                      <a:pt x="59" y="82"/>
                    </a:cubicBezTo>
                    <a:cubicBezTo>
                      <a:pt x="59" y="81"/>
                      <a:pt x="59" y="80"/>
                      <a:pt x="59" y="80"/>
                    </a:cubicBezTo>
                    <a:cubicBezTo>
                      <a:pt x="59" y="79"/>
                      <a:pt x="59" y="79"/>
                      <a:pt x="58" y="79"/>
                    </a:cubicBezTo>
                    <a:cubicBezTo>
                      <a:pt x="58" y="79"/>
                      <a:pt x="58" y="79"/>
                      <a:pt x="57" y="78"/>
                    </a:cubicBezTo>
                    <a:cubicBezTo>
                      <a:pt x="57" y="77"/>
                      <a:pt x="59" y="76"/>
                      <a:pt x="59" y="76"/>
                    </a:cubicBezTo>
                    <a:cubicBezTo>
                      <a:pt x="61" y="75"/>
                      <a:pt x="61" y="74"/>
                      <a:pt x="62" y="73"/>
                    </a:cubicBezTo>
                    <a:cubicBezTo>
                      <a:pt x="62" y="72"/>
                      <a:pt x="62" y="71"/>
                      <a:pt x="63" y="70"/>
                    </a:cubicBezTo>
                    <a:cubicBezTo>
                      <a:pt x="63" y="70"/>
                      <a:pt x="64" y="69"/>
                      <a:pt x="64" y="68"/>
                    </a:cubicBezTo>
                    <a:cubicBezTo>
                      <a:pt x="64" y="68"/>
                      <a:pt x="64" y="67"/>
                      <a:pt x="65" y="67"/>
                    </a:cubicBezTo>
                    <a:cubicBezTo>
                      <a:pt x="65" y="66"/>
                      <a:pt x="65" y="65"/>
                      <a:pt x="65" y="65"/>
                    </a:cubicBezTo>
                    <a:cubicBezTo>
                      <a:pt x="66" y="64"/>
                      <a:pt x="67" y="64"/>
                      <a:pt x="67" y="63"/>
                    </a:cubicBezTo>
                    <a:cubicBezTo>
                      <a:pt x="67" y="63"/>
                      <a:pt x="67" y="63"/>
                      <a:pt x="67" y="62"/>
                    </a:cubicBezTo>
                    <a:cubicBezTo>
                      <a:pt x="67" y="62"/>
                      <a:pt x="68" y="62"/>
                      <a:pt x="68" y="61"/>
                    </a:cubicBezTo>
                    <a:cubicBezTo>
                      <a:pt x="68" y="61"/>
                      <a:pt x="69" y="60"/>
                      <a:pt x="68" y="59"/>
                    </a:cubicBezTo>
                    <a:cubicBezTo>
                      <a:pt x="68" y="59"/>
                      <a:pt x="68" y="59"/>
                      <a:pt x="68" y="59"/>
                    </a:cubicBezTo>
                    <a:cubicBezTo>
                      <a:pt x="67" y="58"/>
                      <a:pt x="67" y="57"/>
                      <a:pt x="67" y="56"/>
                    </a:cubicBezTo>
                    <a:cubicBezTo>
                      <a:pt x="67" y="56"/>
                      <a:pt x="66" y="55"/>
                      <a:pt x="66" y="54"/>
                    </a:cubicBezTo>
                    <a:cubicBezTo>
                      <a:pt x="66" y="53"/>
                      <a:pt x="65" y="53"/>
                      <a:pt x="65" y="52"/>
                    </a:cubicBezTo>
                    <a:cubicBezTo>
                      <a:pt x="65" y="51"/>
                      <a:pt x="64" y="51"/>
                      <a:pt x="64" y="50"/>
                    </a:cubicBezTo>
                    <a:cubicBezTo>
                      <a:pt x="64" y="50"/>
                      <a:pt x="64" y="49"/>
                      <a:pt x="63" y="49"/>
                    </a:cubicBezTo>
                    <a:cubicBezTo>
                      <a:pt x="63" y="49"/>
                      <a:pt x="63" y="49"/>
                      <a:pt x="63" y="49"/>
                    </a:cubicBezTo>
                    <a:cubicBezTo>
                      <a:pt x="62" y="49"/>
                      <a:pt x="63" y="48"/>
                      <a:pt x="62" y="48"/>
                    </a:cubicBezTo>
                    <a:cubicBezTo>
                      <a:pt x="62" y="48"/>
                      <a:pt x="62" y="48"/>
                      <a:pt x="62" y="47"/>
                    </a:cubicBezTo>
                    <a:cubicBezTo>
                      <a:pt x="61" y="47"/>
                      <a:pt x="61" y="47"/>
                      <a:pt x="61" y="47"/>
                    </a:cubicBezTo>
                    <a:cubicBezTo>
                      <a:pt x="60" y="47"/>
                      <a:pt x="60" y="47"/>
                      <a:pt x="60" y="46"/>
                    </a:cubicBezTo>
                    <a:cubicBezTo>
                      <a:pt x="59" y="46"/>
                      <a:pt x="58" y="44"/>
                      <a:pt x="57" y="43"/>
                    </a:cubicBezTo>
                    <a:cubicBezTo>
                      <a:pt x="56" y="42"/>
                      <a:pt x="56" y="42"/>
                      <a:pt x="55" y="40"/>
                    </a:cubicBezTo>
                    <a:cubicBezTo>
                      <a:pt x="54" y="40"/>
                      <a:pt x="54" y="39"/>
                      <a:pt x="53" y="38"/>
                    </a:cubicBezTo>
                    <a:cubicBezTo>
                      <a:pt x="53" y="38"/>
                      <a:pt x="53" y="38"/>
                      <a:pt x="53" y="37"/>
                    </a:cubicBezTo>
                    <a:cubicBezTo>
                      <a:pt x="54" y="37"/>
                      <a:pt x="54" y="36"/>
                      <a:pt x="55" y="35"/>
                    </a:cubicBezTo>
                    <a:cubicBezTo>
                      <a:pt x="55" y="35"/>
                      <a:pt x="55" y="35"/>
                      <a:pt x="55" y="35"/>
                    </a:cubicBezTo>
                    <a:cubicBezTo>
                      <a:pt x="57" y="34"/>
                      <a:pt x="59" y="35"/>
                      <a:pt x="60" y="35"/>
                    </a:cubicBezTo>
                    <a:cubicBezTo>
                      <a:pt x="61" y="35"/>
                      <a:pt x="62" y="35"/>
                      <a:pt x="62" y="35"/>
                    </a:cubicBezTo>
                    <a:cubicBezTo>
                      <a:pt x="63" y="35"/>
                      <a:pt x="64" y="35"/>
                      <a:pt x="64" y="35"/>
                    </a:cubicBezTo>
                    <a:cubicBezTo>
                      <a:pt x="65" y="34"/>
                      <a:pt x="67" y="35"/>
                      <a:pt x="68" y="35"/>
                    </a:cubicBezTo>
                    <a:cubicBezTo>
                      <a:pt x="68" y="35"/>
                      <a:pt x="69" y="35"/>
                      <a:pt x="69" y="34"/>
                    </a:cubicBezTo>
                    <a:cubicBezTo>
                      <a:pt x="69" y="34"/>
                      <a:pt x="69" y="34"/>
                      <a:pt x="68" y="34"/>
                    </a:cubicBezTo>
                    <a:cubicBezTo>
                      <a:pt x="67" y="33"/>
                      <a:pt x="67" y="32"/>
                      <a:pt x="66" y="31"/>
                    </a:cubicBezTo>
                    <a:cubicBezTo>
                      <a:pt x="65" y="30"/>
                      <a:pt x="65" y="30"/>
                      <a:pt x="65" y="29"/>
                    </a:cubicBezTo>
                    <a:cubicBezTo>
                      <a:pt x="64" y="29"/>
                      <a:pt x="64" y="29"/>
                      <a:pt x="64" y="28"/>
                    </a:cubicBezTo>
                    <a:cubicBezTo>
                      <a:pt x="64" y="27"/>
                      <a:pt x="64" y="27"/>
                      <a:pt x="64" y="26"/>
                    </a:cubicBezTo>
                    <a:cubicBezTo>
                      <a:pt x="63" y="25"/>
                      <a:pt x="63" y="25"/>
                      <a:pt x="63" y="24"/>
                    </a:cubicBezTo>
                    <a:cubicBezTo>
                      <a:pt x="63" y="22"/>
                      <a:pt x="63" y="21"/>
                      <a:pt x="63" y="19"/>
                    </a:cubicBezTo>
                    <a:cubicBezTo>
                      <a:pt x="63" y="18"/>
                      <a:pt x="64" y="18"/>
                      <a:pt x="64" y="17"/>
                    </a:cubicBezTo>
                    <a:cubicBezTo>
                      <a:pt x="64" y="17"/>
                      <a:pt x="63" y="16"/>
                      <a:pt x="63" y="16"/>
                    </a:cubicBezTo>
                    <a:cubicBezTo>
                      <a:pt x="63" y="15"/>
                      <a:pt x="64" y="15"/>
                      <a:pt x="63" y="14"/>
                    </a:cubicBezTo>
                    <a:cubicBezTo>
                      <a:pt x="63" y="14"/>
                      <a:pt x="63" y="13"/>
                      <a:pt x="63" y="13"/>
                    </a:cubicBezTo>
                    <a:cubicBezTo>
                      <a:pt x="63" y="13"/>
                      <a:pt x="63" y="12"/>
                      <a:pt x="63" y="12"/>
                    </a:cubicBezTo>
                    <a:cubicBezTo>
                      <a:pt x="63" y="11"/>
                      <a:pt x="62" y="12"/>
                      <a:pt x="62" y="11"/>
                    </a:cubicBezTo>
                    <a:cubicBezTo>
                      <a:pt x="62" y="11"/>
                      <a:pt x="62" y="10"/>
                      <a:pt x="62" y="9"/>
                    </a:cubicBezTo>
                    <a:cubicBezTo>
                      <a:pt x="62" y="8"/>
                      <a:pt x="61" y="8"/>
                      <a:pt x="61" y="7"/>
                    </a:cubicBezTo>
                    <a:cubicBezTo>
                      <a:pt x="61" y="7"/>
                      <a:pt x="61" y="6"/>
                      <a:pt x="61" y="5"/>
                    </a:cubicBezTo>
                    <a:cubicBezTo>
                      <a:pt x="61" y="5"/>
                      <a:pt x="60" y="5"/>
                      <a:pt x="60" y="5"/>
                    </a:cubicBezTo>
                    <a:cubicBezTo>
                      <a:pt x="60" y="5"/>
                      <a:pt x="60" y="5"/>
                      <a:pt x="59" y="5"/>
                    </a:cubicBezTo>
                    <a:cubicBezTo>
                      <a:pt x="59" y="4"/>
                      <a:pt x="59" y="4"/>
                      <a:pt x="59" y="4"/>
                    </a:cubicBezTo>
                    <a:cubicBezTo>
                      <a:pt x="59" y="4"/>
                      <a:pt x="58" y="4"/>
                      <a:pt x="58" y="4"/>
                    </a:cubicBezTo>
                    <a:cubicBezTo>
                      <a:pt x="58" y="3"/>
                      <a:pt x="58" y="3"/>
                      <a:pt x="58" y="2"/>
                    </a:cubicBezTo>
                    <a:cubicBezTo>
                      <a:pt x="58" y="2"/>
                      <a:pt x="58" y="1"/>
                      <a:pt x="57" y="1"/>
                    </a:cubicBezTo>
                    <a:cubicBezTo>
                      <a:pt x="56" y="0"/>
                      <a:pt x="55" y="0"/>
                      <a:pt x="54" y="0"/>
                    </a:cubicBezTo>
                    <a:cubicBezTo>
                      <a:pt x="54" y="2"/>
                      <a:pt x="54" y="4"/>
                      <a:pt x="55" y="5"/>
                    </a:cubicBezTo>
                    <a:cubicBezTo>
                      <a:pt x="55" y="6"/>
                      <a:pt x="55" y="7"/>
                      <a:pt x="55" y="7"/>
                    </a:cubicBezTo>
                    <a:cubicBezTo>
                      <a:pt x="55" y="8"/>
                      <a:pt x="55" y="8"/>
                      <a:pt x="55" y="9"/>
                    </a:cubicBezTo>
                    <a:cubicBezTo>
                      <a:pt x="56" y="9"/>
                      <a:pt x="58" y="8"/>
                      <a:pt x="58" y="9"/>
                    </a:cubicBezTo>
                    <a:cubicBezTo>
                      <a:pt x="58" y="10"/>
                      <a:pt x="58" y="10"/>
                      <a:pt x="59" y="10"/>
                    </a:cubicBezTo>
                    <a:cubicBezTo>
                      <a:pt x="59" y="10"/>
                      <a:pt x="60" y="11"/>
                      <a:pt x="59" y="11"/>
                    </a:cubicBezTo>
                    <a:cubicBezTo>
                      <a:pt x="59" y="12"/>
                      <a:pt x="59" y="12"/>
                      <a:pt x="59" y="13"/>
                    </a:cubicBezTo>
                    <a:cubicBezTo>
                      <a:pt x="59" y="13"/>
                      <a:pt x="59" y="14"/>
                      <a:pt x="59" y="15"/>
                    </a:cubicBezTo>
                    <a:cubicBezTo>
                      <a:pt x="59" y="15"/>
                      <a:pt x="58" y="16"/>
                      <a:pt x="59" y="16"/>
                    </a:cubicBezTo>
                    <a:cubicBezTo>
                      <a:pt x="59" y="16"/>
                      <a:pt x="59" y="17"/>
                      <a:pt x="59" y="17"/>
                    </a:cubicBezTo>
                    <a:cubicBezTo>
                      <a:pt x="59" y="18"/>
                      <a:pt x="57" y="19"/>
                      <a:pt x="57" y="19"/>
                    </a:cubicBezTo>
                    <a:cubicBezTo>
                      <a:pt x="56" y="20"/>
                      <a:pt x="56" y="20"/>
                      <a:pt x="55" y="21"/>
                    </a:cubicBezTo>
                    <a:cubicBezTo>
                      <a:pt x="55" y="21"/>
                      <a:pt x="54" y="21"/>
                      <a:pt x="54" y="20"/>
                    </a:cubicBezTo>
                    <a:cubicBezTo>
                      <a:pt x="52" y="20"/>
                      <a:pt x="52" y="22"/>
                      <a:pt x="51" y="23"/>
                    </a:cubicBezTo>
                    <a:cubicBezTo>
                      <a:pt x="51" y="23"/>
                      <a:pt x="51" y="23"/>
                      <a:pt x="51" y="24"/>
                    </a:cubicBezTo>
                    <a:cubicBezTo>
                      <a:pt x="51" y="24"/>
                      <a:pt x="50" y="25"/>
                      <a:pt x="50" y="25"/>
                    </a:cubicBezTo>
                    <a:cubicBezTo>
                      <a:pt x="49" y="27"/>
                      <a:pt x="49" y="28"/>
                      <a:pt x="48" y="29"/>
                    </a:cubicBezTo>
                    <a:cubicBezTo>
                      <a:pt x="48" y="30"/>
                      <a:pt x="48" y="32"/>
                      <a:pt x="48" y="33"/>
                    </a:cubicBezTo>
                    <a:cubicBezTo>
                      <a:pt x="47" y="33"/>
                      <a:pt x="47" y="33"/>
                      <a:pt x="46" y="33"/>
                    </a:cubicBezTo>
                    <a:cubicBezTo>
                      <a:pt x="46" y="34"/>
                      <a:pt x="46" y="34"/>
                      <a:pt x="46" y="34"/>
                    </a:cubicBezTo>
                    <a:cubicBezTo>
                      <a:pt x="46" y="35"/>
                      <a:pt x="46" y="35"/>
                      <a:pt x="46" y="36"/>
                    </a:cubicBezTo>
                    <a:cubicBezTo>
                      <a:pt x="46" y="36"/>
                      <a:pt x="46" y="36"/>
                      <a:pt x="46" y="37"/>
                    </a:cubicBezTo>
                    <a:cubicBezTo>
                      <a:pt x="46" y="38"/>
                      <a:pt x="46" y="40"/>
                      <a:pt x="45" y="40"/>
                    </a:cubicBezTo>
                    <a:cubicBezTo>
                      <a:pt x="44" y="40"/>
                      <a:pt x="44" y="40"/>
                      <a:pt x="43" y="40"/>
                    </a:cubicBezTo>
                    <a:cubicBezTo>
                      <a:pt x="43" y="41"/>
                      <a:pt x="42" y="41"/>
                      <a:pt x="42" y="41"/>
                    </a:cubicBezTo>
                    <a:cubicBezTo>
                      <a:pt x="43" y="42"/>
                      <a:pt x="42" y="44"/>
                      <a:pt x="42" y="45"/>
                    </a:cubicBezTo>
                    <a:cubicBezTo>
                      <a:pt x="42" y="46"/>
                      <a:pt x="42" y="47"/>
                      <a:pt x="42" y="48"/>
                    </a:cubicBezTo>
                    <a:cubicBezTo>
                      <a:pt x="42" y="48"/>
                      <a:pt x="41" y="48"/>
                      <a:pt x="41" y="48"/>
                    </a:cubicBezTo>
                    <a:cubicBezTo>
                      <a:pt x="41" y="49"/>
                      <a:pt x="41" y="49"/>
                      <a:pt x="40" y="49"/>
                    </a:cubicBezTo>
                    <a:cubicBezTo>
                      <a:pt x="40" y="50"/>
                      <a:pt x="39" y="50"/>
                      <a:pt x="39" y="49"/>
                    </a:cubicBezTo>
                    <a:cubicBezTo>
                      <a:pt x="38" y="49"/>
                      <a:pt x="38" y="50"/>
                      <a:pt x="38" y="50"/>
                    </a:cubicBezTo>
                    <a:cubicBezTo>
                      <a:pt x="38" y="50"/>
                      <a:pt x="38" y="51"/>
                      <a:pt x="38" y="51"/>
                    </a:cubicBezTo>
                    <a:cubicBezTo>
                      <a:pt x="38" y="51"/>
                      <a:pt x="37" y="52"/>
                      <a:pt x="37" y="52"/>
                    </a:cubicBezTo>
                    <a:cubicBezTo>
                      <a:pt x="37" y="52"/>
                      <a:pt x="37" y="52"/>
                      <a:pt x="37" y="52"/>
                    </a:cubicBezTo>
                    <a:cubicBezTo>
                      <a:pt x="36" y="52"/>
                      <a:pt x="36" y="53"/>
                      <a:pt x="36" y="54"/>
                    </a:cubicBezTo>
                    <a:cubicBezTo>
                      <a:pt x="36" y="54"/>
                      <a:pt x="36" y="55"/>
                      <a:pt x="36" y="55"/>
                    </a:cubicBezTo>
                    <a:cubicBezTo>
                      <a:pt x="36" y="56"/>
                      <a:pt x="36" y="56"/>
                      <a:pt x="36" y="57"/>
                    </a:cubicBezTo>
                    <a:cubicBezTo>
                      <a:pt x="35" y="58"/>
                      <a:pt x="34" y="59"/>
                      <a:pt x="34" y="60"/>
                    </a:cubicBezTo>
                    <a:cubicBezTo>
                      <a:pt x="35" y="61"/>
                      <a:pt x="33" y="62"/>
                      <a:pt x="33" y="63"/>
                    </a:cubicBezTo>
                    <a:cubicBezTo>
                      <a:pt x="32" y="63"/>
                      <a:pt x="31" y="64"/>
                      <a:pt x="32" y="65"/>
                    </a:cubicBezTo>
                    <a:cubicBezTo>
                      <a:pt x="32" y="65"/>
                      <a:pt x="33" y="66"/>
                      <a:pt x="32" y="67"/>
                    </a:cubicBezTo>
                    <a:cubicBezTo>
                      <a:pt x="32" y="67"/>
                      <a:pt x="32" y="67"/>
                      <a:pt x="31" y="67"/>
                    </a:cubicBezTo>
                    <a:cubicBezTo>
                      <a:pt x="31" y="67"/>
                      <a:pt x="30" y="68"/>
                      <a:pt x="30" y="68"/>
                    </a:cubicBezTo>
                    <a:cubicBezTo>
                      <a:pt x="29" y="69"/>
                      <a:pt x="30" y="70"/>
                      <a:pt x="30" y="71"/>
                    </a:cubicBezTo>
                    <a:cubicBezTo>
                      <a:pt x="30" y="71"/>
                      <a:pt x="29" y="72"/>
                      <a:pt x="29" y="72"/>
                    </a:cubicBezTo>
                    <a:cubicBezTo>
                      <a:pt x="29" y="72"/>
                      <a:pt x="28" y="72"/>
                      <a:pt x="28" y="72"/>
                    </a:cubicBezTo>
                    <a:cubicBezTo>
                      <a:pt x="28" y="73"/>
                      <a:pt x="28" y="73"/>
                      <a:pt x="27" y="74"/>
                    </a:cubicBezTo>
                    <a:cubicBezTo>
                      <a:pt x="26" y="74"/>
                      <a:pt x="25" y="74"/>
                      <a:pt x="25" y="73"/>
                    </a:cubicBezTo>
                    <a:cubicBezTo>
                      <a:pt x="25" y="72"/>
                      <a:pt x="25" y="71"/>
                      <a:pt x="25" y="70"/>
                    </a:cubicBezTo>
                    <a:cubicBezTo>
                      <a:pt x="24" y="70"/>
                      <a:pt x="23" y="70"/>
                      <a:pt x="23" y="69"/>
                    </a:cubicBezTo>
                    <a:cubicBezTo>
                      <a:pt x="23" y="68"/>
                      <a:pt x="23" y="68"/>
                      <a:pt x="22" y="67"/>
                    </a:cubicBezTo>
                    <a:cubicBezTo>
                      <a:pt x="22" y="67"/>
                      <a:pt x="20" y="66"/>
                      <a:pt x="20" y="66"/>
                    </a:cubicBezTo>
                    <a:cubicBezTo>
                      <a:pt x="20" y="66"/>
                      <a:pt x="20" y="67"/>
                      <a:pt x="20" y="67"/>
                    </a:cubicBezTo>
                    <a:cubicBezTo>
                      <a:pt x="20" y="68"/>
                      <a:pt x="20" y="68"/>
                      <a:pt x="19" y="68"/>
                    </a:cubicBezTo>
                    <a:cubicBezTo>
                      <a:pt x="19" y="69"/>
                      <a:pt x="17" y="69"/>
                      <a:pt x="17" y="69"/>
                    </a:cubicBezTo>
                    <a:cubicBezTo>
                      <a:pt x="16" y="68"/>
                      <a:pt x="17" y="67"/>
                      <a:pt x="16" y="67"/>
                    </a:cubicBezTo>
                    <a:cubicBezTo>
                      <a:pt x="15" y="68"/>
                      <a:pt x="14" y="69"/>
                      <a:pt x="14" y="69"/>
                    </a:cubicBezTo>
                    <a:cubicBezTo>
                      <a:pt x="13" y="70"/>
                      <a:pt x="13" y="69"/>
                      <a:pt x="13" y="70"/>
                    </a:cubicBezTo>
                    <a:cubicBezTo>
                      <a:pt x="12" y="70"/>
                      <a:pt x="12" y="70"/>
                      <a:pt x="12" y="71"/>
                    </a:cubicBezTo>
                    <a:cubicBezTo>
                      <a:pt x="12" y="71"/>
                      <a:pt x="12" y="72"/>
                      <a:pt x="12" y="73"/>
                    </a:cubicBezTo>
                    <a:cubicBezTo>
                      <a:pt x="11" y="73"/>
                      <a:pt x="11" y="72"/>
                      <a:pt x="10" y="73"/>
                    </a:cubicBezTo>
                    <a:cubicBezTo>
                      <a:pt x="10" y="74"/>
                      <a:pt x="10" y="74"/>
                      <a:pt x="9" y="74"/>
                    </a:cubicBezTo>
                    <a:cubicBezTo>
                      <a:pt x="9" y="74"/>
                      <a:pt x="9" y="75"/>
                      <a:pt x="8" y="75"/>
                    </a:cubicBezTo>
                    <a:cubicBezTo>
                      <a:pt x="8" y="75"/>
                      <a:pt x="8" y="75"/>
                      <a:pt x="8" y="76"/>
                    </a:cubicBezTo>
                    <a:cubicBezTo>
                      <a:pt x="7" y="77"/>
                      <a:pt x="6" y="78"/>
                      <a:pt x="5" y="79"/>
                    </a:cubicBezTo>
                    <a:cubicBezTo>
                      <a:pt x="5" y="79"/>
                      <a:pt x="5" y="80"/>
                      <a:pt x="5" y="79"/>
                    </a:cubicBezTo>
                    <a:cubicBezTo>
                      <a:pt x="4" y="79"/>
                      <a:pt x="4" y="79"/>
                      <a:pt x="4" y="80"/>
                    </a:cubicBezTo>
                    <a:cubicBezTo>
                      <a:pt x="3" y="80"/>
                      <a:pt x="4" y="80"/>
                      <a:pt x="4" y="81"/>
                    </a:cubicBezTo>
                    <a:cubicBezTo>
                      <a:pt x="3" y="81"/>
                      <a:pt x="3" y="81"/>
                      <a:pt x="3" y="82"/>
                    </a:cubicBezTo>
                    <a:cubicBezTo>
                      <a:pt x="3" y="82"/>
                      <a:pt x="4" y="82"/>
                      <a:pt x="4" y="83"/>
                    </a:cubicBezTo>
                    <a:cubicBezTo>
                      <a:pt x="4" y="83"/>
                      <a:pt x="4" y="83"/>
                      <a:pt x="4" y="84"/>
                    </a:cubicBezTo>
                    <a:cubicBezTo>
                      <a:pt x="3" y="85"/>
                      <a:pt x="3" y="86"/>
                      <a:pt x="3" y="88"/>
                    </a:cubicBezTo>
                    <a:cubicBezTo>
                      <a:pt x="2" y="89"/>
                      <a:pt x="2" y="89"/>
                      <a:pt x="1" y="90"/>
                    </a:cubicBezTo>
                    <a:cubicBezTo>
                      <a:pt x="1" y="91"/>
                      <a:pt x="1" y="91"/>
                      <a:pt x="1" y="91"/>
                    </a:cubicBezTo>
                    <a:cubicBezTo>
                      <a:pt x="1" y="91"/>
                      <a:pt x="1" y="92"/>
                      <a:pt x="1" y="92"/>
                    </a:cubicBezTo>
                    <a:cubicBezTo>
                      <a:pt x="1" y="92"/>
                      <a:pt x="1" y="92"/>
                      <a:pt x="1" y="93"/>
                    </a:cubicBezTo>
                    <a:cubicBezTo>
                      <a:pt x="0" y="93"/>
                      <a:pt x="0" y="94"/>
                      <a:pt x="0" y="94"/>
                    </a:cubicBezTo>
                    <a:cubicBezTo>
                      <a:pt x="0" y="94"/>
                      <a:pt x="0" y="94"/>
                      <a:pt x="0" y="95"/>
                    </a:cubicBezTo>
                    <a:cubicBezTo>
                      <a:pt x="0" y="95"/>
                      <a:pt x="0" y="94"/>
                      <a:pt x="1" y="94"/>
                    </a:cubicBezTo>
                    <a:cubicBezTo>
                      <a:pt x="1" y="94"/>
                      <a:pt x="1" y="95"/>
                      <a:pt x="1" y="95"/>
                    </a:cubicBezTo>
                    <a:cubicBezTo>
                      <a:pt x="1" y="95"/>
                      <a:pt x="3" y="95"/>
                      <a:pt x="2" y="94"/>
                    </a:cubicBezTo>
                    <a:cubicBezTo>
                      <a:pt x="1" y="94"/>
                      <a:pt x="1" y="93"/>
                      <a:pt x="1" y="92"/>
                    </a:cubicBezTo>
                    <a:cubicBezTo>
                      <a:pt x="1" y="93"/>
                      <a:pt x="2" y="94"/>
                      <a:pt x="2" y="94"/>
                    </a:cubicBezTo>
                    <a:cubicBezTo>
                      <a:pt x="3" y="94"/>
                      <a:pt x="3" y="94"/>
                      <a:pt x="3" y="94"/>
                    </a:cubicBezTo>
                    <a:cubicBezTo>
                      <a:pt x="3" y="94"/>
                      <a:pt x="3" y="94"/>
                      <a:pt x="3" y="94"/>
                    </a:cubicBezTo>
                    <a:cubicBezTo>
                      <a:pt x="4" y="94"/>
                      <a:pt x="3" y="93"/>
                      <a:pt x="3" y="93"/>
                    </a:cubicBezTo>
                    <a:cubicBezTo>
                      <a:pt x="3" y="94"/>
                      <a:pt x="4" y="94"/>
                      <a:pt x="4" y="94"/>
                    </a:cubicBezTo>
                    <a:cubicBezTo>
                      <a:pt x="4" y="95"/>
                      <a:pt x="4" y="95"/>
                      <a:pt x="4" y="94"/>
                    </a:cubicBezTo>
                    <a:cubicBezTo>
                      <a:pt x="4" y="95"/>
                      <a:pt x="4" y="95"/>
                      <a:pt x="4" y="96"/>
                    </a:cubicBezTo>
                    <a:cubicBezTo>
                      <a:pt x="4" y="97"/>
                      <a:pt x="4" y="97"/>
                      <a:pt x="4" y="97"/>
                    </a:cubicBezTo>
                    <a:cubicBezTo>
                      <a:pt x="4" y="98"/>
                      <a:pt x="5" y="98"/>
                      <a:pt x="5" y="99"/>
                    </a:cubicBezTo>
                    <a:cubicBezTo>
                      <a:pt x="5" y="99"/>
                      <a:pt x="5" y="99"/>
                      <a:pt x="5" y="99"/>
                    </a:cubicBezTo>
                    <a:cubicBezTo>
                      <a:pt x="5" y="100"/>
                      <a:pt x="7" y="100"/>
                      <a:pt x="7" y="100"/>
                    </a:cubicBezTo>
                    <a:cubicBezTo>
                      <a:pt x="7" y="101"/>
                      <a:pt x="8" y="100"/>
                      <a:pt x="8" y="100"/>
                    </a:cubicBezTo>
                    <a:cubicBezTo>
                      <a:pt x="8" y="100"/>
                      <a:pt x="8" y="101"/>
                      <a:pt x="8" y="101"/>
                    </a:cubicBezTo>
                    <a:cubicBezTo>
                      <a:pt x="8" y="101"/>
                      <a:pt x="9" y="102"/>
                      <a:pt x="9" y="101"/>
                    </a:cubicBezTo>
                    <a:cubicBezTo>
                      <a:pt x="10" y="101"/>
                      <a:pt x="9" y="100"/>
                      <a:pt x="9" y="100"/>
                    </a:cubicBezTo>
                    <a:cubicBezTo>
                      <a:pt x="9" y="100"/>
                      <a:pt x="10" y="101"/>
                      <a:pt x="10" y="100"/>
                    </a:cubicBezTo>
                    <a:cubicBezTo>
                      <a:pt x="10" y="100"/>
                      <a:pt x="9" y="100"/>
                      <a:pt x="9" y="99"/>
                    </a:cubicBezTo>
                    <a:cubicBezTo>
                      <a:pt x="9" y="99"/>
                      <a:pt x="9" y="99"/>
                      <a:pt x="10" y="99"/>
                    </a:cubicBezTo>
                    <a:cubicBezTo>
                      <a:pt x="10" y="99"/>
                      <a:pt x="9" y="100"/>
                      <a:pt x="10" y="100"/>
                    </a:cubicBezTo>
                    <a:cubicBezTo>
                      <a:pt x="11" y="100"/>
                      <a:pt x="11" y="99"/>
                      <a:pt x="11" y="99"/>
                    </a:cubicBezTo>
                    <a:cubicBezTo>
                      <a:pt x="12" y="99"/>
                      <a:pt x="12" y="99"/>
                      <a:pt x="12" y="99"/>
                    </a:cubicBezTo>
                    <a:cubicBezTo>
                      <a:pt x="12" y="99"/>
                      <a:pt x="10" y="100"/>
                      <a:pt x="11" y="101"/>
                    </a:cubicBezTo>
                    <a:cubicBezTo>
                      <a:pt x="11" y="101"/>
                      <a:pt x="12" y="101"/>
                      <a:pt x="12" y="101"/>
                    </a:cubicBezTo>
                    <a:cubicBezTo>
                      <a:pt x="12" y="101"/>
                      <a:pt x="11" y="101"/>
                      <a:pt x="11" y="101"/>
                    </a:cubicBezTo>
                    <a:cubicBezTo>
                      <a:pt x="11" y="102"/>
                      <a:pt x="12" y="102"/>
                      <a:pt x="12" y="102"/>
                    </a:cubicBezTo>
                    <a:cubicBezTo>
                      <a:pt x="12" y="102"/>
                      <a:pt x="11" y="102"/>
                      <a:pt x="11" y="102"/>
                    </a:cubicBezTo>
                    <a:cubicBezTo>
                      <a:pt x="11" y="102"/>
                      <a:pt x="11" y="102"/>
                      <a:pt x="11" y="102"/>
                    </a:cubicBezTo>
                    <a:cubicBezTo>
                      <a:pt x="10" y="102"/>
                      <a:pt x="11" y="103"/>
                      <a:pt x="11" y="103"/>
                    </a:cubicBezTo>
                    <a:cubicBezTo>
                      <a:pt x="10" y="103"/>
                      <a:pt x="11" y="103"/>
                      <a:pt x="10" y="102"/>
                    </a:cubicBezTo>
                    <a:cubicBezTo>
                      <a:pt x="10" y="103"/>
                      <a:pt x="11" y="103"/>
                      <a:pt x="11" y="104"/>
                    </a:cubicBezTo>
                    <a:cubicBezTo>
                      <a:pt x="11" y="104"/>
                      <a:pt x="11" y="105"/>
                      <a:pt x="11" y="105"/>
                    </a:cubicBezTo>
                    <a:cubicBezTo>
                      <a:pt x="11" y="105"/>
                      <a:pt x="12" y="104"/>
                      <a:pt x="13" y="104"/>
                    </a:cubicBezTo>
                    <a:cubicBezTo>
                      <a:pt x="12" y="105"/>
                      <a:pt x="12" y="105"/>
                      <a:pt x="11" y="105"/>
                    </a:cubicBezTo>
                    <a:cubicBezTo>
                      <a:pt x="12" y="106"/>
                      <a:pt x="12" y="106"/>
                      <a:pt x="13" y="107"/>
                    </a:cubicBezTo>
                    <a:cubicBezTo>
                      <a:pt x="13" y="107"/>
                      <a:pt x="13" y="108"/>
                      <a:pt x="14" y="108"/>
                    </a:cubicBezTo>
                    <a:cubicBezTo>
                      <a:pt x="13" y="109"/>
                      <a:pt x="14" y="110"/>
                      <a:pt x="14" y="110"/>
                    </a:cubicBezTo>
                    <a:cubicBezTo>
                      <a:pt x="14" y="111"/>
                      <a:pt x="14" y="111"/>
                      <a:pt x="14" y="112"/>
                    </a:cubicBezTo>
                    <a:cubicBezTo>
                      <a:pt x="13" y="112"/>
                      <a:pt x="13" y="113"/>
                      <a:pt x="13" y="114"/>
                    </a:cubicBezTo>
                    <a:cubicBezTo>
                      <a:pt x="13" y="115"/>
                      <a:pt x="13" y="116"/>
                      <a:pt x="13" y="117"/>
                    </a:cubicBezTo>
                    <a:cubicBezTo>
                      <a:pt x="13" y="118"/>
                      <a:pt x="12" y="119"/>
                      <a:pt x="13" y="120"/>
                    </a:cubicBezTo>
                    <a:cubicBezTo>
                      <a:pt x="15" y="121"/>
                      <a:pt x="18" y="120"/>
                      <a:pt x="20" y="120"/>
                    </a:cubicBezTo>
                    <a:cubicBezTo>
                      <a:pt x="21" y="120"/>
                      <a:pt x="27" y="121"/>
                      <a:pt x="28" y="120"/>
                    </a:cubicBezTo>
                    <a:cubicBezTo>
                      <a:pt x="28" y="120"/>
                      <a:pt x="28" y="119"/>
                      <a:pt x="28" y="119"/>
                    </a:cubicBezTo>
                    <a:cubicBezTo>
                      <a:pt x="28" y="119"/>
                      <a:pt x="29" y="119"/>
                      <a:pt x="29" y="119"/>
                    </a:cubicBezTo>
                    <a:cubicBezTo>
                      <a:pt x="31" y="119"/>
                      <a:pt x="32" y="119"/>
                      <a:pt x="33" y="119"/>
                    </a:cubicBezTo>
                    <a:cubicBezTo>
                      <a:pt x="34" y="119"/>
                      <a:pt x="35" y="119"/>
                      <a:pt x="35" y="119"/>
                    </a:cubicBezTo>
                    <a:cubicBezTo>
                      <a:pt x="36" y="119"/>
                      <a:pt x="37" y="119"/>
                      <a:pt x="37" y="119"/>
                    </a:cubicBezTo>
                    <a:cubicBezTo>
                      <a:pt x="38" y="119"/>
                      <a:pt x="38" y="119"/>
                      <a:pt x="39" y="119"/>
                    </a:cubicBezTo>
                    <a:cubicBezTo>
                      <a:pt x="40" y="119"/>
                      <a:pt x="41" y="120"/>
                      <a:pt x="41" y="120"/>
                    </a:cubicBezTo>
                    <a:cubicBezTo>
                      <a:pt x="42" y="119"/>
                      <a:pt x="42" y="120"/>
                      <a:pt x="43" y="120"/>
                    </a:cubicBezTo>
                    <a:cubicBezTo>
                      <a:pt x="44" y="120"/>
                      <a:pt x="44" y="120"/>
                      <a:pt x="45" y="119"/>
                    </a:cubicBezTo>
                    <a:cubicBezTo>
                      <a:pt x="45" y="119"/>
                      <a:pt x="46" y="119"/>
                      <a:pt x="46" y="119"/>
                    </a:cubicBezTo>
                    <a:cubicBezTo>
                      <a:pt x="47" y="120"/>
                      <a:pt x="46" y="120"/>
                      <a:pt x="46" y="120"/>
                    </a:cubicBezTo>
                    <a:cubicBezTo>
                      <a:pt x="47" y="121"/>
                      <a:pt x="49" y="121"/>
                      <a:pt x="50" y="121"/>
                    </a:cubicBezTo>
                    <a:cubicBezTo>
                      <a:pt x="51" y="121"/>
                      <a:pt x="53" y="121"/>
                      <a:pt x="55" y="121"/>
                    </a:cubicBezTo>
                    <a:cubicBezTo>
                      <a:pt x="56" y="121"/>
                      <a:pt x="56" y="120"/>
                      <a:pt x="57" y="120"/>
                    </a:cubicBezTo>
                    <a:cubicBezTo>
                      <a:pt x="58" y="121"/>
                      <a:pt x="58" y="121"/>
                      <a:pt x="59" y="120"/>
                    </a:cubicBezTo>
                    <a:cubicBezTo>
                      <a:pt x="59" y="120"/>
                      <a:pt x="59" y="121"/>
                      <a:pt x="60" y="121"/>
                    </a:cubicBezTo>
                    <a:cubicBezTo>
                      <a:pt x="60" y="121"/>
                      <a:pt x="60" y="121"/>
                      <a:pt x="60" y="121"/>
                    </a:cubicBezTo>
                    <a:cubicBezTo>
                      <a:pt x="60" y="121"/>
                      <a:pt x="60" y="121"/>
                      <a:pt x="60" y="121"/>
                    </a:cubicBezTo>
                    <a:cubicBezTo>
                      <a:pt x="61" y="121"/>
                      <a:pt x="61" y="122"/>
                      <a:pt x="62" y="121"/>
                    </a:cubicBezTo>
                    <a:cubicBezTo>
                      <a:pt x="62" y="121"/>
                      <a:pt x="62" y="123"/>
                      <a:pt x="62" y="122"/>
                    </a:cubicBezTo>
                    <a:cubicBezTo>
                      <a:pt x="63" y="122"/>
                      <a:pt x="63" y="122"/>
                      <a:pt x="63" y="122"/>
                    </a:cubicBezTo>
                    <a:cubicBezTo>
                      <a:pt x="63" y="122"/>
                      <a:pt x="64" y="122"/>
                      <a:pt x="64" y="122"/>
                    </a:cubicBezTo>
                    <a:cubicBezTo>
                      <a:pt x="65" y="122"/>
                      <a:pt x="65" y="122"/>
                      <a:pt x="66" y="123"/>
                    </a:cubicBezTo>
                    <a:cubicBezTo>
                      <a:pt x="66" y="123"/>
                      <a:pt x="66" y="123"/>
                      <a:pt x="67" y="123"/>
                    </a:cubicBezTo>
                    <a:cubicBezTo>
                      <a:pt x="68" y="122"/>
                      <a:pt x="69" y="123"/>
                      <a:pt x="70" y="123"/>
                    </a:cubicBezTo>
                    <a:cubicBezTo>
                      <a:pt x="71" y="123"/>
                      <a:pt x="71" y="124"/>
                      <a:pt x="72" y="125"/>
                    </a:cubicBezTo>
                    <a:cubicBezTo>
                      <a:pt x="72" y="125"/>
                      <a:pt x="73" y="124"/>
                      <a:pt x="73" y="125"/>
                    </a:cubicBezTo>
                    <a:cubicBezTo>
                      <a:pt x="73" y="127"/>
                      <a:pt x="74" y="125"/>
                      <a:pt x="74" y="125"/>
                    </a:cubicBezTo>
                    <a:cubicBezTo>
                      <a:pt x="74" y="124"/>
                      <a:pt x="74" y="123"/>
                      <a:pt x="74" y="123"/>
                    </a:cubicBezTo>
                    <a:cubicBezTo>
                      <a:pt x="73" y="122"/>
                      <a:pt x="74" y="121"/>
                      <a:pt x="74" y="121"/>
                    </a:cubicBezTo>
                    <a:cubicBezTo>
                      <a:pt x="74" y="120"/>
                      <a:pt x="74" y="120"/>
                      <a:pt x="75" y="12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1" name="Cambodia">
                <a:extLst>
                  <a:ext uri="{FF2B5EF4-FFF2-40B4-BE49-F238E27FC236}">
                    <a16:creationId xmlns:a16="http://schemas.microsoft.com/office/drawing/2014/main" id="{118E8F92-EFB2-8121-31D0-B3C5BE5D1B35}"/>
                  </a:ext>
                </a:extLst>
              </p:cNvPr>
              <p:cNvSpPr>
                <a:spLocks noEditPoints="1"/>
              </p:cNvSpPr>
              <p:nvPr/>
            </p:nvSpPr>
            <p:spPr bwMode="auto">
              <a:xfrm>
                <a:off x="9188028" y="3472914"/>
                <a:ext cx="181331" cy="166628"/>
              </a:xfrm>
              <a:custGeom>
                <a:avLst/>
                <a:gdLst/>
                <a:ahLst/>
                <a:cxnLst>
                  <a:cxn ang="0">
                    <a:pos x="50" y="17"/>
                  </a:cxn>
                  <a:cxn ang="0">
                    <a:pos x="49" y="10"/>
                  </a:cxn>
                  <a:cxn ang="0">
                    <a:pos x="47" y="7"/>
                  </a:cxn>
                  <a:cxn ang="0">
                    <a:pos x="47" y="3"/>
                  </a:cxn>
                  <a:cxn ang="0">
                    <a:pos x="48" y="0"/>
                  </a:cxn>
                  <a:cxn ang="0">
                    <a:pos x="45" y="2"/>
                  </a:cxn>
                  <a:cxn ang="0">
                    <a:pos x="44" y="3"/>
                  </a:cxn>
                  <a:cxn ang="0">
                    <a:pos x="41" y="3"/>
                  </a:cxn>
                  <a:cxn ang="0">
                    <a:pos x="38" y="2"/>
                  </a:cxn>
                  <a:cxn ang="0">
                    <a:pos x="35" y="3"/>
                  </a:cxn>
                  <a:cxn ang="0">
                    <a:pos x="35" y="5"/>
                  </a:cxn>
                  <a:cxn ang="0">
                    <a:pos x="35" y="8"/>
                  </a:cxn>
                  <a:cxn ang="0">
                    <a:pos x="32" y="6"/>
                  </a:cxn>
                  <a:cxn ang="0">
                    <a:pos x="26" y="4"/>
                  </a:cxn>
                  <a:cxn ang="0">
                    <a:pos x="23" y="3"/>
                  </a:cxn>
                  <a:cxn ang="0">
                    <a:pos x="21" y="3"/>
                  </a:cxn>
                  <a:cxn ang="0">
                    <a:pos x="20" y="3"/>
                  </a:cxn>
                  <a:cxn ang="0">
                    <a:pos x="17" y="3"/>
                  </a:cxn>
                  <a:cxn ang="0">
                    <a:pos x="14" y="3"/>
                  </a:cxn>
                  <a:cxn ang="0">
                    <a:pos x="11" y="3"/>
                  </a:cxn>
                  <a:cxn ang="0">
                    <a:pos x="8" y="3"/>
                  </a:cxn>
                  <a:cxn ang="0">
                    <a:pos x="4" y="7"/>
                  </a:cxn>
                  <a:cxn ang="0">
                    <a:pos x="2" y="12"/>
                  </a:cxn>
                  <a:cxn ang="0">
                    <a:pos x="0" y="15"/>
                  </a:cxn>
                  <a:cxn ang="0">
                    <a:pos x="2" y="19"/>
                  </a:cxn>
                  <a:cxn ang="0">
                    <a:pos x="4" y="24"/>
                  </a:cxn>
                  <a:cxn ang="0">
                    <a:pos x="5" y="26"/>
                  </a:cxn>
                  <a:cxn ang="0">
                    <a:pos x="7" y="34"/>
                  </a:cxn>
                  <a:cxn ang="0">
                    <a:pos x="8" y="33"/>
                  </a:cxn>
                  <a:cxn ang="0">
                    <a:pos x="8" y="34"/>
                  </a:cxn>
                  <a:cxn ang="0">
                    <a:pos x="10" y="36"/>
                  </a:cxn>
                  <a:cxn ang="0">
                    <a:pos x="10" y="37"/>
                  </a:cxn>
                  <a:cxn ang="0">
                    <a:pos x="10" y="42"/>
                  </a:cxn>
                  <a:cxn ang="0">
                    <a:pos x="13" y="40"/>
                  </a:cxn>
                  <a:cxn ang="0">
                    <a:pos x="13" y="39"/>
                  </a:cxn>
                  <a:cxn ang="0">
                    <a:pos x="15" y="43"/>
                  </a:cxn>
                  <a:cxn ang="0">
                    <a:pos x="15" y="45"/>
                  </a:cxn>
                  <a:cxn ang="0">
                    <a:pos x="16" y="45"/>
                  </a:cxn>
                  <a:cxn ang="0">
                    <a:pos x="20" y="45"/>
                  </a:cxn>
                  <a:cxn ang="0">
                    <a:pos x="23" y="47"/>
                  </a:cxn>
                  <a:cxn ang="0">
                    <a:pos x="27" y="45"/>
                  </a:cxn>
                  <a:cxn ang="0">
                    <a:pos x="28" y="41"/>
                  </a:cxn>
                  <a:cxn ang="0">
                    <a:pos x="31" y="42"/>
                  </a:cxn>
                  <a:cxn ang="0">
                    <a:pos x="34" y="40"/>
                  </a:cxn>
                  <a:cxn ang="0">
                    <a:pos x="38" y="42"/>
                  </a:cxn>
                  <a:cxn ang="0">
                    <a:pos x="39" y="41"/>
                  </a:cxn>
                  <a:cxn ang="0">
                    <a:pos x="37" y="38"/>
                  </a:cxn>
                  <a:cxn ang="0">
                    <a:pos x="35" y="34"/>
                  </a:cxn>
                  <a:cxn ang="0">
                    <a:pos x="39" y="32"/>
                  </a:cxn>
                  <a:cxn ang="0">
                    <a:pos x="41" y="33"/>
                  </a:cxn>
                  <a:cxn ang="0">
                    <a:pos x="43" y="30"/>
                  </a:cxn>
                  <a:cxn ang="0">
                    <a:pos x="48" y="26"/>
                  </a:cxn>
                  <a:cxn ang="0">
                    <a:pos x="51" y="25"/>
                  </a:cxn>
                  <a:cxn ang="0">
                    <a:pos x="7" y="33"/>
                  </a:cxn>
                  <a:cxn ang="0">
                    <a:pos x="7" y="33"/>
                  </a:cxn>
                  <a:cxn ang="0">
                    <a:pos x="8" y="36"/>
                  </a:cxn>
                </a:cxnLst>
                <a:rect l="0" t="0" r="r" b="b"/>
                <a:pathLst>
                  <a:path w="51" h="47">
                    <a:moveTo>
                      <a:pt x="51" y="23"/>
                    </a:moveTo>
                    <a:cubicBezTo>
                      <a:pt x="51" y="22"/>
                      <a:pt x="51" y="21"/>
                      <a:pt x="50" y="20"/>
                    </a:cubicBezTo>
                    <a:cubicBezTo>
                      <a:pt x="50" y="19"/>
                      <a:pt x="50" y="18"/>
                      <a:pt x="50" y="17"/>
                    </a:cubicBezTo>
                    <a:cubicBezTo>
                      <a:pt x="50" y="16"/>
                      <a:pt x="50" y="16"/>
                      <a:pt x="51" y="15"/>
                    </a:cubicBezTo>
                    <a:cubicBezTo>
                      <a:pt x="51" y="14"/>
                      <a:pt x="51" y="13"/>
                      <a:pt x="50" y="12"/>
                    </a:cubicBezTo>
                    <a:cubicBezTo>
                      <a:pt x="50" y="11"/>
                      <a:pt x="50" y="11"/>
                      <a:pt x="49" y="10"/>
                    </a:cubicBezTo>
                    <a:cubicBezTo>
                      <a:pt x="49" y="10"/>
                      <a:pt x="49" y="10"/>
                      <a:pt x="49" y="10"/>
                    </a:cubicBezTo>
                    <a:cubicBezTo>
                      <a:pt x="48" y="9"/>
                      <a:pt x="49" y="8"/>
                      <a:pt x="48" y="8"/>
                    </a:cubicBezTo>
                    <a:cubicBezTo>
                      <a:pt x="48" y="7"/>
                      <a:pt x="48" y="7"/>
                      <a:pt x="47" y="7"/>
                    </a:cubicBezTo>
                    <a:cubicBezTo>
                      <a:pt x="47" y="7"/>
                      <a:pt x="47" y="6"/>
                      <a:pt x="47" y="6"/>
                    </a:cubicBezTo>
                    <a:cubicBezTo>
                      <a:pt x="47" y="6"/>
                      <a:pt x="47" y="5"/>
                      <a:pt x="47" y="5"/>
                    </a:cubicBezTo>
                    <a:cubicBezTo>
                      <a:pt x="47" y="4"/>
                      <a:pt x="47" y="4"/>
                      <a:pt x="47" y="3"/>
                    </a:cubicBezTo>
                    <a:cubicBezTo>
                      <a:pt x="47" y="2"/>
                      <a:pt x="48" y="3"/>
                      <a:pt x="48" y="2"/>
                    </a:cubicBezTo>
                    <a:cubicBezTo>
                      <a:pt x="48" y="2"/>
                      <a:pt x="49" y="0"/>
                      <a:pt x="48" y="0"/>
                    </a:cubicBezTo>
                    <a:cubicBezTo>
                      <a:pt x="48" y="0"/>
                      <a:pt x="48" y="0"/>
                      <a:pt x="48" y="0"/>
                    </a:cubicBezTo>
                    <a:cubicBezTo>
                      <a:pt x="48" y="1"/>
                      <a:pt x="47" y="1"/>
                      <a:pt x="47" y="1"/>
                    </a:cubicBezTo>
                    <a:cubicBezTo>
                      <a:pt x="47" y="1"/>
                      <a:pt x="46" y="0"/>
                      <a:pt x="46" y="1"/>
                    </a:cubicBezTo>
                    <a:cubicBezTo>
                      <a:pt x="46" y="2"/>
                      <a:pt x="45" y="2"/>
                      <a:pt x="45" y="2"/>
                    </a:cubicBezTo>
                    <a:cubicBezTo>
                      <a:pt x="45" y="2"/>
                      <a:pt x="45" y="3"/>
                      <a:pt x="44" y="3"/>
                    </a:cubicBezTo>
                    <a:cubicBezTo>
                      <a:pt x="44" y="3"/>
                      <a:pt x="44" y="3"/>
                      <a:pt x="44" y="3"/>
                    </a:cubicBezTo>
                    <a:cubicBezTo>
                      <a:pt x="44" y="3"/>
                      <a:pt x="44" y="3"/>
                      <a:pt x="44" y="3"/>
                    </a:cubicBezTo>
                    <a:cubicBezTo>
                      <a:pt x="43" y="4"/>
                      <a:pt x="43" y="4"/>
                      <a:pt x="43" y="4"/>
                    </a:cubicBezTo>
                    <a:cubicBezTo>
                      <a:pt x="43" y="4"/>
                      <a:pt x="42" y="4"/>
                      <a:pt x="42" y="4"/>
                    </a:cubicBezTo>
                    <a:cubicBezTo>
                      <a:pt x="41" y="4"/>
                      <a:pt x="41" y="3"/>
                      <a:pt x="41" y="3"/>
                    </a:cubicBezTo>
                    <a:cubicBezTo>
                      <a:pt x="40" y="2"/>
                      <a:pt x="39" y="2"/>
                      <a:pt x="39" y="1"/>
                    </a:cubicBezTo>
                    <a:cubicBezTo>
                      <a:pt x="39" y="0"/>
                      <a:pt x="38" y="1"/>
                      <a:pt x="38" y="2"/>
                    </a:cubicBezTo>
                    <a:cubicBezTo>
                      <a:pt x="38" y="1"/>
                      <a:pt x="38" y="2"/>
                      <a:pt x="38" y="2"/>
                    </a:cubicBezTo>
                    <a:cubicBezTo>
                      <a:pt x="37" y="3"/>
                      <a:pt x="37" y="2"/>
                      <a:pt x="36" y="2"/>
                    </a:cubicBezTo>
                    <a:cubicBezTo>
                      <a:pt x="36" y="2"/>
                      <a:pt x="36" y="3"/>
                      <a:pt x="36" y="3"/>
                    </a:cubicBezTo>
                    <a:cubicBezTo>
                      <a:pt x="36" y="4"/>
                      <a:pt x="35" y="3"/>
                      <a:pt x="35" y="3"/>
                    </a:cubicBezTo>
                    <a:cubicBezTo>
                      <a:pt x="35" y="3"/>
                      <a:pt x="34" y="3"/>
                      <a:pt x="34" y="3"/>
                    </a:cubicBezTo>
                    <a:cubicBezTo>
                      <a:pt x="34" y="4"/>
                      <a:pt x="34" y="4"/>
                      <a:pt x="34" y="4"/>
                    </a:cubicBezTo>
                    <a:cubicBezTo>
                      <a:pt x="34" y="5"/>
                      <a:pt x="34" y="5"/>
                      <a:pt x="35" y="5"/>
                    </a:cubicBezTo>
                    <a:cubicBezTo>
                      <a:pt x="35" y="5"/>
                      <a:pt x="35" y="6"/>
                      <a:pt x="36" y="6"/>
                    </a:cubicBezTo>
                    <a:cubicBezTo>
                      <a:pt x="36" y="7"/>
                      <a:pt x="36" y="7"/>
                      <a:pt x="35" y="8"/>
                    </a:cubicBezTo>
                    <a:cubicBezTo>
                      <a:pt x="35" y="8"/>
                      <a:pt x="35" y="8"/>
                      <a:pt x="35" y="8"/>
                    </a:cubicBezTo>
                    <a:cubicBezTo>
                      <a:pt x="34" y="8"/>
                      <a:pt x="34" y="8"/>
                      <a:pt x="33" y="8"/>
                    </a:cubicBezTo>
                    <a:cubicBezTo>
                      <a:pt x="33" y="8"/>
                      <a:pt x="33" y="7"/>
                      <a:pt x="32" y="7"/>
                    </a:cubicBezTo>
                    <a:cubicBezTo>
                      <a:pt x="32" y="6"/>
                      <a:pt x="32" y="6"/>
                      <a:pt x="32" y="6"/>
                    </a:cubicBezTo>
                    <a:cubicBezTo>
                      <a:pt x="31" y="6"/>
                      <a:pt x="31" y="6"/>
                      <a:pt x="31" y="6"/>
                    </a:cubicBezTo>
                    <a:cubicBezTo>
                      <a:pt x="30" y="5"/>
                      <a:pt x="30" y="6"/>
                      <a:pt x="28" y="6"/>
                    </a:cubicBezTo>
                    <a:cubicBezTo>
                      <a:pt x="28" y="6"/>
                      <a:pt x="26" y="4"/>
                      <a:pt x="26" y="4"/>
                    </a:cubicBezTo>
                    <a:cubicBezTo>
                      <a:pt x="26" y="4"/>
                      <a:pt x="26" y="5"/>
                      <a:pt x="25" y="5"/>
                    </a:cubicBezTo>
                    <a:cubicBezTo>
                      <a:pt x="25" y="5"/>
                      <a:pt x="24" y="4"/>
                      <a:pt x="24" y="4"/>
                    </a:cubicBezTo>
                    <a:cubicBezTo>
                      <a:pt x="24" y="3"/>
                      <a:pt x="23" y="3"/>
                      <a:pt x="23" y="3"/>
                    </a:cubicBezTo>
                    <a:cubicBezTo>
                      <a:pt x="23" y="3"/>
                      <a:pt x="22" y="2"/>
                      <a:pt x="22" y="2"/>
                    </a:cubicBezTo>
                    <a:cubicBezTo>
                      <a:pt x="22" y="3"/>
                      <a:pt x="22" y="3"/>
                      <a:pt x="22" y="3"/>
                    </a:cubicBezTo>
                    <a:cubicBezTo>
                      <a:pt x="21" y="2"/>
                      <a:pt x="22" y="3"/>
                      <a:pt x="21" y="3"/>
                    </a:cubicBezTo>
                    <a:cubicBezTo>
                      <a:pt x="21" y="3"/>
                      <a:pt x="21" y="3"/>
                      <a:pt x="21" y="3"/>
                    </a:cubicBezTo>
                    <a:cubicBezTo>
                      <a:pt x="21" y="3"/>
                      <a:pt x="20" y="3"/>
                      <a:pt x="20" y="3"/>
                    </a:cubicBezTo>
                    <a:cubicBezTo>
                      <a:pt x="20" y="4"/>
                      <a:pt x="20" y="3"/>
                      <a:pt x="20" y="3"/>
                    </a:cubicBezTo>
                    <a:cubicBezTo>
                      <a:pt x="19" y="3"/>
                      <a:pt x="19" y="3"/>
                      <a:pt x="18" y="3"/>
                    </a:cubicBezTo>
                    <a:cubicBezTo>
                      <a:pt x="18" y="3"/>
                      <a:pt x="18" y="3"/>
                      <a:pt x="17" y="3"/>
                    </a:cubicBezTo>
                    <a:cubicBezTo>
                      <a:pt x="17" y="3"/>
                      <a:pt x="17" y="3"/>
                      <a:pt x="17" y="3"/>
                    </a:cubicBezTo>
                    <a:cubicBezTo>
                      <a:pt x="17" y="3"/>
                      <a:pt x="16" y="3"/>
                      <a:pt x="16" y="3"/>
                    </a:cubicBezTo>
                    <a:cubicBezTo>
                      <a:pt x="16" y="3"/>
                      <a:pt x="15" y="4"/>
                      <a:pt x="15" y="3"/>
                    </a:cubicBezTo>
                    <a:cubicBezTo>
                      <a:pt x="14" y="3"/>
                      <a:pt x="14" y="4"/>
                      <a:pt x="14" y="3"/>
                    </a:cubicBezTo>
                    <a:cubicBezTo>
                      <a:pt x="13" y="3"/>
                      <a:pt x="13" y="3"/>
                      <a:pt x="12" y="3"/>
                    </a:cubicBezTo>
                    <a:cubicBezTo>
                      <a:pt x="12" y="3"/>
                      <a:pt x="12" y="2"/>
                      <a:pt x="11" y="3"/>
                    </a:cubicBezTo>
                    <a:cubicBezTo>
                      <a:pt x="11" y="3"/>
                      <a:pt x="11" y="3"/>
                      <a:pt x="11" y="3"/>
                    </a:cubicBezTo>
                    <a:cubicBezTo>
                      <a:pt x="10" y="3"/>
                      <a:pt x="10" y="3"/>
                      <a:pt x="9" y="3"/>
                    </a:cubicBezTo>
                    <a:cubicBezTo>
                      <a:pt x="9" y="3"/>
                      <a:pt x="9" y="3"/>
                      <a:pt x="9" y="3"/>
                    </a:cubicBezTo>
                    <a:cubicBezTo>
                      <a:pt x="9" y="3"/>
                      <a:pt x="8" y="3"/>
                      <a:pt x="8" y="3"/>
                    </a:cubicBezTo>
                    <a:cubicBezTo>
                      <a:pt x="7" y="4"/>
                      <a:pt x="6" y="4"/>
                      <a:pt x="5" y="5"/>
                    </a:cubicBezTo>
                    <a:cubicBezTo>
                      <a:pt x="5" y="5"/>
                      <a:pt x="5" y="5"/>
                      <a:pt x="5" y="6"/>
                    </a:cubicBezTo>
                    <a:cubicBezTo>
                      <a:pt x="5" y="6"/>
                      <a:pt x="4" y="7"/>
                      <a:pt x="4" y="7"/>
                    </a:cubicBezTo>
                    <a:cubicBezTo>
                      <a:pt x="4" y="8"/>
                      <a:pt x="4" y="8"/>
                      <a:pt x="3" y="9"/>
                    </a:cubicBezTo>
                    <a:cubicBezTo>
                      <a:pt x="3" y="9"/>
                      <a:pt x="3" y="9"/>
                      <a:pt x="3" y="10"/>
                    </a:cubicBezTo>
                    <a:cubicBezTo>
                      <a:pt x="2" y="11"/>
                      <a:pt x="1" y="11"/>
                      <a:pt x="2" y="12"/>
                    </a:cubicBezTo>
                    <a:cubicBezTo>
                      <a:pt x="1" y="12"/>
                      <a:pt x="1" y="12"/>
                      <a:pt x="0" y="12"/>
                    </a:cubicBezTo>
                    <a:cubicBezTo>
                      <a:pt x="0" y="12"/>
                      <a:pt x="0" y="12"/>
                      <a:pt x="0" y="13"/>
                    </a:cubicBezTo>
                    <a:cubicBezTo>
                      <a:pt x="0" y="13"/>
                      <a:pt x="0" y="14"/>
                      <a:pt x="0" y="15"/>
                    </a:cubicBezTo>
                    <a:cubicBezTo>
                      <a:pt x="0" y="16"/>
                      <a:pt x="0" y="16"/>
                      <a:pt x="1" y="17"/>
                    </a:cubicBezTo>
                    <a:cubicBezTo>
                      <a:pt x="1" y="17"/>
                      <a:pt x="2" y="18"/>
                      <a:pt x="2" y="19"/>
                    </a:cubicBezTo>
                    <a:cubicBezTo>
                      <a:pt x="2" y="19"/>
                      <a:pt x="2" y="19"/>
                      <a:pt x="2" y="19"/>
                    </a:cubicBezTo>
                    <a:cubicBezTo>
                      <a:pt x="2" y="20"/>
                      <a:pt x="2" y="20"/>
                      <a:pt x="2" y="21"/>
                    </a:cubicBezTo>
                    <a:cubicBezTo>
                      <a:pt x="2" y="22"/>
                      <a:pt x="2" y="22"/>
                      <a:pt x="3" y="22"/>
                    </a:cubicBezTo>
                    <a:cubicBezTo>
                      <a:pt x="3" y="23"/>
                      <a:pt x="4" y="23"/>
                      <a:pt x="4" y="24"/>
                    </a:cubicBezTo>
                    <a:cubicBezTo>
                      <a:pt x="4" y="24"/>
                      <a:pt x="5" y="24"/>
                      <a:pt x="5" y="25"/>
                    </a:cubicBezTo>
                    <a:cubicBezTo>
                      <a:pt x="5" y="25"/>
                      <a:pt x="5" y="25"/>
                      <a:pt x="5" y="25"/>
                    </a:cubicBezTo>
                    <a:cubicBezTo>
                      <a:pt x="5" y="26"/>
                      <a:pt x="5" y="26"/>
                      <a:pt x="5" y="26"/>
                    </a:cubicBezTo>
                    <a:cubicBezTo>
                      <a:pt x="5" y="27"/>
                      <a:pt x="5" y="27"/>
                      <a:pt x="5" y="28"/>
                    </a:cubicBezTo>
                    <a:cubicBezTo>
                      <a:pt x="5" y="29"/>
                      <a:pt x="6" y="31"/>
                      <a:pt x="7" y="32"/>
                    </a:cubicBezTo>
                    <a:cubicBezTo>
                      <a:pt x="7" y="32"/>
                      <a:pt x="7" y="34"/>
                      <a:pt x="7" y="34"/>
                    </a:cubicBezTo>
                    <a:cubicBezTo>
                      <a:pt x="8" y="34"/>
                      <a:pt x="7" y="33"/>
                      <a:pt x="7" y="33"/>
                    </a:cubicBezTo>
                    <a:cubicBezTo>
                      <a:pt x="7" y="33"/>
                      <a:pt x="7" y="33"/>
                      <a:pt x="8" y="33"/>
                    </a:cubicBezTo>
                    <a:cubicBezTo>
                      <a:pt x="8" y="33"/>
                      <a:pt x="8" y="33"/>
                      <a:pt x="8" y="33"/>
                    </a:cubicBezTo>
                    <a:cubicBezTo>
                      <a:pt x="8" y="33"/>
                      <a:pt x="8" y="33"/>
                      <a:pt x="8" y="33"/>
                    </a:cubicBezTo>
                    <a:cubicBezTo>
                      <a:pt x="8" y="34"/>
                      <a:pt x="7" y="34"/>
                      <a:pt x="8" y="34"/>
                    </a:cubicBezTo>
                    <a:cubicBezTo>
                      <a:pt x="8" y="34"/>
                      <a:pt x="8" y="34"/>
                      <a:pt x="8" y="34"/>
                    </a:cubicBezTo>
                    <a:cubicBezTo>
                      <a:pt x="7" y="34"/>
                      <a:pt x="8" y="35"/>
                      <a:pt x="8" y="34"/>
                    </a:cubicBezTo>
                    <a:cubicBezTo>
                      <a:pt x="8" y="34"/>
                      <a:pt x="9" y="36"/>
                      <a:pt x="9" y="35"/>
                    </a:cubicBezTo>
                    <a:cubicBezTo>
                      <a:pt x="9" y="35"/>
                      <a:pt x="9" y="35"/>
                      <a:pt x="10" y="36"/>
                    </a:cubicBezTo>
                    <a:cubicBezTo>
                      <a:pt x="9" y="35"/>
                      <a:pt x="9" y="36"/>
                      <a:pt x="9" y="36"/>
                    </a:cubicBezTo>
                    <a:cubicBezTo>
                      <a:pt x="9" y="36"/>
                      <a:pt x="9" y="36"/>
                      <a:pt x="9" y="37"/>
                    </a:cubicBezTo>
                    <a:cubicBezTo>
                      <a:pt x="9" y="37"/>
                      <a:pt x="9" y="37"/>
                      <a:pt x="10" y="37"/>
                    </a:cubicBezTo>
                    <a:cubicBezTo>
                      <a:pt x="9" y="37"/>
                      <a:pt x="9" y="38"/>
                      <a:pt x="9" y="38"/>
                    </a:cubicBezTo>
                    <a:cubicBezTo>
                      <a:pt x="9" y="38"/>
                      <a:pt x="9" y="39"/>
                      <a:pt x="9" y="39"/>
                    </a:cubicBezTo>
                    <a:cubicBezTo>
                      <a:pt x="9" y="40"/>
                      <a:pt x="9" y="41"/>
                      <a:pt x="10" y="42"/>
                    </a:cubicBezTo>
                    <a:cubicBezTo>
                      <a:pt x="10" y="42"/>
                      <a:pt x="11" y="41"/>
                      <a:pt x="11" y="41"/>
                    </a:cubicBezTo>
                    <a:cubicBezTo>
                      <a:pt x="11" y="41"/>
                      <a:pt x="12" y="42"/>
                      <a:pt x="12" y="42"/>
                    </a:cubicBezTo>
                    <a:cubicBezTo>
                      <a:pt x="13" y="42"/>
                      <a:pt x="12" y="41"/>
                      <a:pt x="13" y="40"/>
                    </a:cubicBezTo>
                    <a:cubicBezTo>
                      <a:pt x="13" y="40"/>
                      <a:pt x="13" y="39"/>
                      <a:pt x="13" y="39"/>
                    </a:cubicBezTo>
                    <a:cubicBezTo>
                      <a:pt x="13" y="39"/>
                      <a:pt x="13" y="39"/>
                      <a:pt x="13" y="39"/>
                    </a:cubicBezTo>
                    <a:cubicBezTo>
                      <a:pt x="13" y="39"/>
                      <a:pt x="13" y="39"/>
                      <a:pt x="13" y="39"/>
                    </a:cubicBezTo>
                    <a:cubicBezTo>
                      <a:pt x="13" y="38"/>
                      <a:pt x="15" y="40"/>
                      <a:pt x="15" y="40"/>
                    </a:cubicBezTo>
                    <a:cubicBezTo>
                      <a:pt x="15" y="41"/>
                      <a:pt x="15" y="41"/>
                      <a:pt x="15" y="42"/>
                    </a:cubicBezTo>
                    <a:cubicBezTo>
                      <a:pt x="15" y="42"/>
                      <a:pt x="15" y="43"/>
                      <a:pt x="15" y="43"/>
                    </a:cubicBezTo>
                    <a:cubicBezTo>
                      <a:pt x="14" y="43"/>
                      <a:pt x="14" y="43"/>
                      <a:pt x="14" y="44"/>
                    </a:cubicBezTo>
                    <a:cubicBezTo>
                      <a:pt x="13" y="45"/>
                      <a:pt x="14" y="45"/>
                      <a:pt x="14" y="45"/>
                    </a:cubicBezTo>
                    <a:cubicBezTo>
                      <a:pt x="14" y="45"/>
                      <a:pt x="14" y="45"/>
                      <a:pt x="15" y="45"/>
                    </a:cubicBezTo>
                    <a:cubicBezTo>
                      <a:pt x="15" y="46"/>
                      <a:pt x="15" y="46"/>
                      <a:pt x="15" y="46"/>
                    </a:cubicBezTo>
                    <a:cubicBezTo>
                      <a:pt x="15" y="46"/>
                      <a:pt x="16" y="46"/>
                      <a:pt x="16" y="46"/>
                    </a:cubicBezTo>
                    <a:cubicBezTo>
                      <a:pt x="16" y="46"/>
                      <a:pt x="16" y="45"/>
                      <a:pt x="16" y="45"/>
                    </a:cubicBezTo>
                    <a:cubicBezTo>
                      <a:pt x="16" y="45"/>
                      <a:pt x="16" y="46"/>
                      <a:pt x="17" y="45"/>
                    </a:cubicBezTo>
                    <a:cubicBezTo>
                      <a:pt x="17" y="45"/>
                      <a:pt x="17" y="44"/>
                      <a:pt x="17" y="44"/>
                    </a:cubicBezTo>
                    <a:cubicBezTo>
                      <a:pt x="17" y="45"/>
                      <a:pt x="19" y="45"/>
                      <a:pt x="20" y="45"/>
                    </a:cubicBezTo>
                    <a:cubicBezTo>
                      <a:pt x="20" y="45"/>
                      <a:pt x="21" y="45"/>
                      <a:pt x="21" y="46"/>
                    </a:cubicBezTo>
                    <a:cubicBezTo>
                      <a:pt x="21" y="46"/>
                      <a:pt x="22" y="46"/>
                      <a:pt x="22" y="46"/>
                    </a:cubicBezTo>
                    <a:cubicBezTo>
                      <a:pt x="22" y="46"/>
                      <a:pt x="23" y="47"/>
                      <a:pt x="23" y="47"/>
                    </a:cubicBezTo>
                    <a:cubicBezTo>
                      <a:pt x="24" y="46"/>
                      <a:pt x="24" y="46"/>
                      <a:pt x="24" y="46"/>
                    </a:cubicBezTo>
                    <a:cubicBezTo>
                      <a:pt x="25" y="45"/>
                      <a:pt x="25" y="46"/>
                      <a:pt x="25" y="46"/>
                    </a:cubicBezTo>
                    <a:cubicBezTo>
                      <a:pt x="26" y="46"/>
                      <a:pt x="27" y="46"/>
                      <a:pt x="27" y="45"/>
                    </a:cubicBezTo>
                    <a:cubicBezTo>
                      <a:pt x="28" y="44"/>
                      <a:pt x="28" y="44"/>
                      <a:pt x="29" y="44"/>
                    </a:cubicBezTo>
                    <a:cubicBezTo>
                      <a:pt x="29" y="43"/>
                      <a:pt x="29" y="43"/>
                      <a:pt x="29" y="43"/>
                    </a:cubicBezTo>
                    <a:cubicBezTo>
                      <a:pt x="28" y="42"/>
                      <a:pt x="28" y="42"/>
                      <a:pt x="28" y="41"/>
                    </a:cubicBezTo>
                    <a:cubicBezTo>
                      <a:pt x="28" y="41"/>
                      <a:pt x="29" y="41"/>
                      <a:pt x="29" y="41"/>
                    </a:cubicBezTo>
                    <a:cubicBezTo>
                      <a:pt x="29" y="41"/>
                      <a:pt x="30" y="41"/>
                      <a:pt x="30" y="42"/>
                    </a:cubicBezTo>
                    <a:cubicBezTo>
                      <a:pt x="31" y="42"/>
                      <a:pt x="31" y="42"/>
                      <a:pt x="31" y="42"/>
                    </a:cubicBezTo>
                    <a:cubicBezTo>
                      <a:pt x="31" y="42"/>
                      <a:pt x="31" y="41"/>
                      <a:pt x="31" y="41"/>
                    </a:cubicBezTo>
                    <a:cubicBezTo>
                      <a:pt x="32" y="41"/>
                      <a:pt x="32" y="41"/>
                      <a:pt x="32" y="41"/>
                    </a:cubicBezTo>
                    <a:cubicBezTo>
                      <a:pt x="33" y="41"/>
                      <a:pt x="34" y="41"/>
                      <a:pt x="34" y="40"/>
                    </a:cubicBezTo>
                    <a:cubicBezTo>
                      <a:pt x="35" y="40"/>
                      <a:pt x="35" y="40"/>
                      <a:pt x="36" y="40"/>
                    </a:cubicBezTo>
                    <a:cubicBezTo>
                      <a:pt x="36" y="41"/>
                      <a:pt x="36" y="43"/>
                      <a:pt x="37" y="42"/>
                    </a:cubicBezTo>
                    <a:cubicBezTo>
                      <a:pt x="37" y="41"/>
                      <a:pt x="38" y="42"/>
                      <a:pt x="38" y="42"/>
                    </a:cubicBezTo>
                    <a:cubicBezTo>
                      <a:pt x="38" y="43"/>
                      <a:pt x="39" y="43"/>
                      <a:pt x="39" y="43"/>
                    </a:cubicBezTo>
                    <a:cubicBezTo>
                      <a:pt x="39" y="42"/>
                      <a:pt x="39" y="42"/>
                      <a:pt x="39" y="41"/>
                    </a:cubicBezTo>
                    <a:cubicBezTo>
                      <a:pt x="39" y="40"/>
                      <a:pt x="39" y="41"/>
                      <a:pt x="39" y="41"/>
                    </a:cubicBezTo>
                    <a:cubicBezTo>
                      <a:pt x="39" y="40"/>
                      <a:pt x="39" y="40"/>
                      <a:pt x="39" y="40"/>
                    </a:cubicBezTo>
                    <a:cubicBezTo>
                      <a:pt x="39" y="39"/>
                      <a:pt x="39" y="40"/>
                      <a:pt x="38" y="39"/>
                    </a:cubicBezTo>
                    <a:cubicBezTo>
                      <a:pt x="38" y="39"/>
                      <a:pt x="38" y="39"/>
                      <a:pt x="37" y="38"/>
                    </a:cubicBezTo>
                    <a:cubicBezTo>
                      <a:pt x="36" y="38"/>
                      <a:pt x="36" y="37"/>
                      <a:pt x="36" y="36"/>
                    </a:cubicBezTo>
                    <a:cubicBezTo>
                      <a:pt x="36" y="36"/>
                      <a:pt x="36" y="35"/>
                      <a:pt x="36" y="35"/>
                    </a:cubicBezTo>
                    <a:cubicBezTo>
                      <a:pt x="36" y="34"/>
                      <a:pt x="35" y="34"/>
                      <a:pt x="35" y="34"/>
                    </a:cubicBezTo>
                    <a:cubicBezTo>
                      <a:pt x="35" y="33"/>
                      <a:pt x="36" y="34"/>
                      <a:pt x="37" y="33"/>
                    </a:cubicBezTo>
                    <a:cubicBezTo>
                      <a:pt x="37" y="33"/>
                      <a:pt x="37" y="32"/>
                      <a:pt x="37" y="32"/>
                    </a:cubicBezTo>
                    <a:cubicBezTo>
                      <a:pt x="38" y="32"/>
                      <a:pt x="38" y="32"/>
                      <a:pt x="39" y="32"/>
                    </a:cubicBezTo>
                    <a:cubicBezTo>
                      <a:pt x="39" y="32"/>
                      <a:pt x="39" y="33"/>
                      <a:pt x="40" y="33"/>
                    </a:cubicBezTo>
                    <a:cubicBezTo>
                      <a:pt x="40" y="33"/>
                      <a:pt x="40" y="33"/>
                      <a:pt x="41" y="33"/>
                    </a:cubicBezTo>
                    <a:cubicBezTo>
                      <a:pt x="41" y="33"/>
                      <a:pt x="41" y="33"/>
                      <a:pt x="41" y="33"/>
                    </a:cubicBezTo>
                    <a:cubicBezTo>
                      <a:pt x="41" y="32"/>
                      <a:pt x="41" y="32"/>
                      <a:pt x="41" y="31"/>
                    </a:cubicBezTo>
                    <a:cubicBezTo>
                      <a:pt x="41" y="31"/>
                      <a:pt x="40" y="30"/>
                      <a:pt x="41" y="30"/>
                    </a:cubicBezTo>
                    <a:cubicBezTo>
                      <a:pt x="41" y="30"/>
                      <a:pt x="43" y="30"/>
                      <a:pt x="43" y="30"/>
                    </a:cubicBezTo>
                    <a:cubicBezTo>
                      <a:pt x="44" y="30"/>
                      <a:pt x="44" y="29"/>
                      <a:pt x="44" y="29"/>
                    </a:cubicBezTo>
                    <a:cubicBezTo>
                      <a:pt x="45" y="28"/>
                      <a:pt x="46" y="29"/>
                      <a:pt x="47" y="28"/>
                    </a:cubicBezTo>
                    <a:cubicBezTo>
                      <a:pt x="47" y="27"/>
                      <a:pt x="47" y="26"/>
                      <a:pt x="48" y="26"/>
                    </a:cubicBezTo>
                    <a:cubicBezTo>
                      <a:pt x="49" y="26"/>
                      <a:pt x="49" y="26"/>
                      <a:pt x="49" y="26"/>
                    </a:cubicBezTo>
                    <a:cubicBezTo>
                      <a:pt x="50" y="26"/>
                      <a:pt x="50" y="27"/>
                      <a:pt x="50" y="27"/>
                    </a:cubicBezTo>
                    <a:cubicBezTo>
                      <a:pt x="50" y="27"/>
                      <a:pt x="51" y="26"/>
                      <a:pt x="51" y="25"/>
                    </a:cubicBezTo>
                    <a:cubicBezTo>
                      <a:pt x="51" y="25"/>
                      <a:pt x="51" y="24"/>
                      <a:pt x="51" y="23"/>
                    </a:cubicBezTo>
                    <a:close/>
                    <a:moveTo>
                      <a:pt x="7" y="33"/>
                    </a:moveTo>
                    <a:cubicBezTo>
                      <a:pt x="7" y="33"/>
                      <a:pt x="7" y="33"/>
                      <a:pt x="7" y="33"/>
                    </a:cubicBezTo>
                    <a:cubicBezTo>
                      <a:pt x="7" y="32"/>
                      <a:pt x="7" y="32"/>
                      <a:pt x="7" y="31"/>
                    </a:cubicBezTo>
                    <a:cubicBezTo>
                      <a:pt x="7" y="32"/>
                      <a:pt x="8" y="33"/>
                      <a:pt x="9" y="32"/>
                    </a:cubicBezTo>
                    <a:cubicBezTo>
                      <a:pt x="8" y="33"/>
                      <a:pt x="8" y="33"/>
                      <a:pt x="7" y="33"/>
                    </a:cubicBezTo>
                    <a:close/>
                    <a:moveTo>
                      <a:pt x="8" y="36"/>
                    </a:moveTo>
                    <a:cubicBezTo>
                      <a:pt x="8" y="36"/>
                      <a:pt x="9" y="38"/>
                      <a:pt x="8" y="38"/>
                    </a:cubicBezTo>
                    <a:cubicBezTo>
                      <a:pt x="8" y="38"/>
                      <a:pt x="7" y="35"/>
                      <a:pt x="8" y="36"/>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2" name="Cabo Verde (or Cape Verde)">
                <a:extLst>
                  <a:ext uri="{FF2B5EF4-FFF2-40B4-BE49-F238E27FC236}">
                    <a16:creationId xmlns:a16="http://schemas.microsoft.com/office/drawing/2014/main" id="{F22F4901-8D00-2606-00D9-2D390FBB2854}"/>
                  </a:ext>
                </a:extLst>
              </p:cNvPr>
              <p:cNvSpPr>
                <a:spLocks noEditPoints="1"/>
              </p:cNvSpPr>
              <p:nvPr/>
            </p:nvSpPr>
            <p:spPr bwMode="auto">
              <a:xfrm>
                <a:off x="4837080" y="3373917"/>
                <a:ext cx="95076" cy="96056"/>
              </a:xfrm>
              <a:custGeom>
                <a:avLst/>
                <a:gdLst/>
                <a:ahLst/>
                <a:cxnLst>
                  <a:cxn ang="0">
                    <a:pos x="23" y="6"/>
                  </a:cxn>
                  <a:cxn ang="0">
                    <a:pos x="23" y="4"/>
                  </a:cxn>
                  <a:cxn ang="0">
                    <a:pos x="24" y="5"/>
                  </a:cxn>
                  <a:cxn ang="0">
                    <a:pos x="24" y="7"/>
                  </a:cxn>
                  <a:cxn ang="0">
                    <a:pos x="23" y="6"/>
                  </a:cxn>
                  <a:cxn ang="0">
                    <a:pos x="12" y="7"/>
                  </a:cxn>
                  <a:cxn ang="0">
                    <a:pos x="11" y="6"/>
                  </a:cxn>
                  <a:cxn ang="0">
                    <a:pos x="10" y="6"/>
                  </a:cxn>
                  <a:cxn ang="0">
                    <a:pos x="9" y="6"/>
                  </a:cxn>
                  <a:cxn ang="0">
                    <a:pos x="10" y="7"/>
                  </a:cxn>
                  <a:cxn ang="0">
                    <a:pos x="10" y="8"/>
                  </a:cxn>
                  <a:cxn ang="0">
                    <a:pos x="11" y="7"/>
                  </a:cxn>
                  <a:cxn ang="0">
                    <a:pos x="12" y="7"/>
                  </a:cxn>
                  <a:cxn ang="0">
                    <a:pos x="13" y="7"/>
                  </a:cxn>
                  <a:cxn ang="0">
                    <a:pos x="12" y="7"/>
                  </a:cxn>
                  <a:cxn ang="0">
                    <a:pos x="6" y="27"/>
                  </a:cxn>
                  <a:cxn ang="0">
                    <a:pos x="6" y="26"/>
                  </a:cxn>
                  <a:cxn ang="0">
                    <a:pos x="6" y="27"/>
                  </a:cxn>
                  <a:cxn ang="0">
                    <a:pos x="20" y="21"/>
                  </a:cxn>
                  <a:cxn ang="0">
                    <a:pos x="21" y="23"/>
                  </a:cxn>
                  <a:cxn ang="0">
                    <a:pos x="21" y="22"/>
                  </a:cxn>
                  <a:cxn ang="0">
                    <a:pos x="20" y="21"/>
                  </a:cxn>
                  <a:cxn ang="0">
                    <a:pos x="4" y="1"/>
                  </a:cxn>
                  <a:cxn ang="0">
                    <a:pos x="1" y="1"/>
                  </a:cxn>
                  <a:cxn ang="0">
                    <a:pos x="1" y="2"/>
                  </a:cxn>
                  <a:cxn ang="0">
                    <a:pos x="1" y="3"/>
                  </a:cxn>
                  <a:cxn ang="0">
                    <a:pos x="3" y="3"/>
                  </a:cxn>
                  <a:cxn ang="0">
                    <a:pos x="4" y="2"/>
                  </a:cxn>
                  <a:cxn ang="0">
                    <a:pos x="4" y="1"/>
                  </a:cxn>
                  <a:cxn ang="0">
                    <a:pos x="4" y="3"/>
                  </a:cxn>
                  <a:cxn ang="0">
                    <a:pos x="4" y="4"/>
                  </a:cxn>
                  <a:cxn ang="0">
                    <a:pos x="3" y="4"/>
                  </a:cxn>
                  <a:cxn ang="0">
                    <a:pos x="4" y="5"/>
                  </a:cxn>
                  <a:cxn ang="0">
                    <a:pos x="5" y="4"/>
                  </a:cxn>
                  <a:cxn ang="0">
                    <a:pos x="4" y="3"/>
                  </a:cxn>
                  <a:cxn ang="0">
                    <a:pos x="9" y="24"/>
                  </a:cxn>
                  <a:cxn ang="0">
                    <a:pos x="9" y="26"/>
                  </a:cxn>
                  <a:cxn ang="0">
                    <a:pos x="9" y="24"/>
                  </a:cxn>
                  <a:cxn ang="0">
                    <a:pos x="26" y="11"/>
                  </a:cxn>
                  <a:cxn ang="0">
                    <a:pos x="25" y="11"/>
                  </a:cxn>
                  <a:cxn ang="0">
                    <a:pos x="24" y="11"/>
                  </a:cxn>
                  <a:cxn ang="0">
                    <a:pos x="24" y="11"/>
                  </a:cxn>
                  <a:cxn ang="0">
                    <a:pos x="23" y="13"/>
                  </a:cxn>
                  <a:cxn ang="0">
                    <a:pos x="25" y="14"/>
                  </a:cxn>
                  <a:cxn ang="0">
                    <a:pos x="26" y="11"/>
                  </a:cxn>
                  <a:cxn ang="0">
                    <a:pos x="16" y="21"/>
                  </a:cxn>
                  <a:cxn ang="0">
                    <a:pos x="15" y="21"/>
                  </a:cxn>
                  <a:cxn ang="0">
                    <a:pos x="15" y="22"/>
                  </a:cxn>
                  <a:cxn ang="0">
                    <a:pos x="15" y="24"/>
                  </a:cxn>
                  <a:cxn ang="0">
                    <a:pos x="15" y="24"/>
                  </a:cxn>
                  <a:cxn ang="0">
                    <a:pos x="16" y="25"/>
                  </a:cxn>
                  <a:cxn ang="0">
                    <a:pos x="17" y="26"/>
                  </a:cxn>
                  <a:cxn ang="0">
                    <a:pos x="17" y="23"/>
                  </a:cxn>
                  <a:cxn ang="0">
                    <a:pos x="16" y="21"/>
                  </a:cxn>
                </a:cxnLst>
                <a:rect l="0" t="0" r="r" b="b"/>
                <a:pathLst>
                  <a:path w="27" h="27">
                    <a:moveTo>
                      <a:pt x="23" y="6"/>
                    </a:moveTo>
                    <a:cubicBezTo>
                      <a:pt x="23" y="6"/>
                      <a:pt x="23" y="5"/>
                      <a:pt x="23" y="4"/>
                    </a:cubicBezTo>
                    <a:cubicBezTo>
                      <a:pt x="24" y="4"/>
                      <a:pt x="24" y="5"/>
                      <a:pt x="24" y="5"/>
                    </a:cubicBezTo>
                    <a:cubicBezTo>
                      <a:pt x="24" y="6"/>
                      <a:pt x="24" y="7"/>
                      <a:pt x="24" y="7"/>
                    </a:cubicBezTo>
                    <a:cubicBezTo>
                      <a:pt x="24" y="7"/>
                      <a:pt x="24" y="6"/>
                      <a:pt x="23" y="6"/>
                    </a:cubicBezTo>
                    <a:close/>
                    <a:moveTo>
                      <a:pt x="12" y="7"/>
                    </a:moveTo>
                    <a:cubicBezTo>
                      <a:pt x="11" y="6"/>
                      <a:pt x="11" y="6"/>
                      <a:pt x="11" y="6"/>
                    </a:cubicBezTo>
                    <a:cubicBezTo>
                      <a:pt x="11" y="6"/>
                      <a:pt x="11" y="6"/>
                      <a:pt x="10" y="6"/>
                    </a:cubicBezTo>
                    <a:cubicBezTo>
                      <a:pt x="10" y="6"/>
                      <a:pt x="10" y="6"/>
                      <a:pt x="9" y="6"/>
                    </a:cubicBezTo>
                    <a:cubicBezTo>
                      <a:pt x="9" y="7"/>
                      <a:pt x="10" y="7"/>
                      <a:pt x="10" y="7"/>
                    </a:cubicBezTo>
                    <a:cubicBezTo>
                      <a:pt x="10" y="7"/>
                      <a:pt x="10" y="8"/>
                      <a:pt x="10" y="8"/>
                    </a:cubicBezTo>
                    <a:cubicBezTo>
                      <a:pt x="10" y="8"/>
                      <a:pt x="11" y="7"/>
                      <a:pt x="11" y="7"/>
                    </a:cubicBezTo>
                    <a:cubicBezTo>
                      <a:pt x="11" y="7"/>
                      <a:pt x="12" y="7"/>
                      <a:pt x="12" y="7"/>
                    </a:cubicBezTo>
                    <a:cubicBezTo>
                      <a:pt x="12" y="7"/>
                      <a:pt x="13" y="7"/>
                      <a:pt x="13" y="7"/>
                    </a:cubicBezTo>
                    <a:cubicBezTo>
                      <a:pt x="13" y="7"/>
                      <a:pt x="12" y="7"/>
                      <a:pt x="12" y="7"/>
                    </a:cubicBezTo>
                    <a:close/>
                    <a:moveTo>
                      <a:pt x="6" y="27"/>
                    </a:moveTo>
                    <a:cubicBezTo>
                      <a:pt x="6" y="26"/>
                      <a:pt x="6" y="26"/>
                      <a:pt x="6" y="26"/>
                    </a:cubicBezTo>
                    <a:cubicBezTo>
                      <a:pt x="5" y="25"/>
                      <a:pt x="5" y="26"/>
                      <a:pt x="6" y="27"/>
                    </a:cubicBezTo>
                    <a:close/>
                    <a:moveTo>
                      <a:pt x="20" y="21"/>
                    </a:moveTo>
                    <a:cubicBezTo>
                      <a:pt x="20" y="21"/>
                      <a:pt x="20" y="23"/>
                      <a:pt x="21" y="23"/>
                    </a:cubicBezTo>
                    <a:cubicBezTo>
                      <a:pt x="21" y="23"/>
                      <a:pt x="21" y="22"/>
                      <a:pt x="21" y="22"/>
                    </a:cubicBezTo>
                    <a:cubicBezTo>
                      <a:pt x="21" y="21"/>
                      <a:pt x="21" y="21"/>
                      <a:pt x="20" y="21"/>
                    </a:cubicBezTo>
                    <a:close/>
                    <a:moveTo>
                      <a:pt x="4" y="1"/>
                    </a:moveTo>
                    <a:cubicBezTo>
                      <a:pt x="3" y="0"/>
                      <a:pt x="2" y="1"/>
                      <a:pt x="1" y="1"/>
                    </a:cubicBezTo>
                    <a:cubicBezTo>
                      <a:pt x="0" y="2"/>
                      <a:pt x="1" y="2"/>
                      <a:pt x="1" y="2"/>
                    </a:cubicBezTo>
                    <a:cubicBezTo>
                      <a:pt x="1" y="3"/>
                      <a:pt x="1" y="3"/>
                      <a:pt x="1" y="3"/>
                    </a:cubicBezTo>
                    <a:cubicBezTo>
                      <a:pt x="2" y="3"/>
                      <a:pt x="2" y="3"/>
                      <a:pt x="3" y="3"/>
                    </a:cubicBezTo>
                    <a:cubicBezTo>
                      <a:pt x="3" y="3"/>
                      <a:pt x="4" y="2"/>
                      <a:pt x="4" y="2"/>
                    </a:cubicBezTo>
                    <a:cubicBezTo>
                      <a:pt x="4" y="2"/>
                      <a:pt x="4" y="1"/>
                      <a:pt x="4" y="1"/>
                    </a:cubicBezTo>
                    <a:close/>
                    <a:moveTo>
                      <a:pt x="4" y="3"/>
                    </a:moveTo>
                    <a:cubicBezTo>
                      <a:pt x="4" y="3"/>
                      <a:pt x="4" y="4"/>
                      <a:pt x="4" y="4"/>
                    </a:cubicBezTo>
                    <a:cubicBezTo>
                      <a:pt x="4" y="4"/>
                      <a:pt x="3" y="4"/>
                      <a:pt x="3" y="4"/>
                    </a:cubicBezTo>
                    <a:cubicBezTo>
                      <a:pt x="3" y="4"/>
                      <a:pt x="4" y="5"/>
                      <a:pt x="4" y="5"/>
                    </a:cubicBezTo>
                    <a:cubicBezTo>
                      <a:pt x="4" y="5"/>
                      <a:pt x="6" y="4"/>
                      <a:pt x="5" y="4"/>
                    </a:cubicBezTo>
                    <a:cubicBezTo>
                      <a:pt x="5" y="4"/>
                      <a:pt x="5" y="3"/>
                      <a:pt x="4" y="3"/>
                    </a:cubicBezTo>
                    <a:close/>
                    <a:moveTo>
                      <a:pt x="9" y="24"/>
                    </a:moveTo>
                    <a:cubicBezTo>
                      <a:pt x="8" y="24"/>
                      <a:pt x="7" y="26"/>
                      <a:pt x="9" y="26"/>
                    </a:cubicBezTo>
                    <a:cubicBezTo>
                      <a:pt x="10" y="26"/>
                      <a:pt x="10" y="24"/>
                      <a:pt x="9" y="24"/>
                    </a:cubicBezTo>
                    <a:close/>
                    <a:moveTo>
                      <a:pt x="26" y="11"/>
                    </a:moveTo>
                    <a:cubicBezTo>
                      <a:pt x="25" y="11"/>
                      <a:pt x="25" y="11"/>
                      <a:pt x="25" y="11"/>
                    </a:cubicBezTo>
                    <a:cubicBezTo>
                      <a:pt x="25" y="11"/>
                      <a:pt x="24" y="11"/>
                      <a:pt x="24" y="11"/>
                    </a:cubicBezTo>
                    <a:cubicBezTo>
                      <a:pt x="24" y="11"/>
                      <a:pt x="24" y="11"/>
                      <a:pt x="24" y="11"/>
                    </a:cubicBezTo>
                    <a:cubicBezTo>
                      <a:pt x="24" y="12"/>
                      <a:pt x="23" y="12"/>
                      <a:pt x="23" y="13"/>
                    </a:cubicBezTo>
                    <a:cubicBezTo>
                      <a:pt x="23" y="14"/>
                      <a:pt x="24" y="14"/>
                      <a:pt x="25" y="14"/>
                    </a:cubicBezTo>
                    <a:cubicBezTo>
                      <a:pt x="25" y="13"/>
                      <a:pt x="27" y="12"/>
                      <a:pt x="26" y="11"/>
                    </a:cubicBezTo>
                    <a:close/>
                    <a:moveTo>
                      <a:pt x="16" y="21"/>
                    </a:moveTo>
                    <a:cubicBezTo>
                      <a:pt x="16" y="21"/>
                      <a:pt x="15" y="21"/>
                      <a:pt x="15" y="21"/>
                    </a:cubicBezTo>
                    <a:cubicBezTo>
                      <a:pt x="15" y="21"/>
                      <a:pt x="15" y="22"/>
                      <a:pt x="15" y="22"/>
                    </a:cubicBezTo>
                    <a:cubicBezTo>
                      <a:pt x="15" y="23"/>
                      <a:pt x="15" y="23"/>
                      <a:pt x="15" y="24"/>
                    </a:cubicBezTo>
                    <a:cubicBezTo>
                      <a:pt x="15" y="24"/>
                      <a:pt x="15" y="24"/>
                      <a:pt x="15" y="24"/>
                    </a:cubicBezTo>
                    <a:cubicBezTo>
                      <a:pt x="15" y="25"/>
                      <a:pt x="15" y="25"/>
                      <a:pt x="16" y="25"/>
                    </a:cubicBezTo>
                    <a:cubicBezTo>
                      <a:pt x="16" y="25"/>
                      <a:pt x="17" y="25"/>
                      <a:pt x="17" y="26"/>
                    </a:cubicBezTo>
                    <a:cubicBezTo>
                      <a:pt x="19" y="25"/>
                      <a:pt x="18" y="23"/>
                      <a:pt x="17" y="23"/>
                    </a:cubicBezTo>
                    <a:cubicBezTo>
                      <a:pt x="17" y="22"/>
                      <a:pt x="16" y="22"/>
                      <a:pt x="16" y="2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3" name="Burundi">
                <a:extLst>
                  <a:ext uri="{FF2B5EF4-FFF2-40B4-BE49-F238E27FC236}">
                    <a16:creationId xmlns:a16="http://schemas.microsoft.com/office/drawing/2014/main" id="{AB92B9C3-1378-2988-D7D7-5ABF26AA1043}"/>
                  </a:ext>
                </a:extLst>
              </p:cNvPr>
              <p:cNvSpPr>
                <a:spLocks/>
              </p:cNvSpPr>
              <p:nvPr/>
            </p:nvSpPr>
            <p:spPr bwMode="auto">
              <a:xfrm>
                <a:off x="6692530" y="4132564"/>
                <a:ext cx="63711" cy="85275"/>
              </a:xfrm>
              <a:custGeom>
                <a:avLst/>
                <a:gdLst/>
                <a:ahLst/>
                <a:cxnLst>
                  <a:cxn ang="0">
                    <a:pos x="18" y="8"/>
                  </a:cxn>
                  <a:cxn ang="0">
                    <a:pos x="16" y="7"/>
                  </a:cxn>
                  <a:cxn ang="0">
                    <a:pos x="14" y="8"/>
                  </a:cxn>
                  <a:cxn ang="0">
                    <a:pos x="14" y="6"/>
                  </a:cxn>
                  <a:cxn ang="0">
                    <a:pos x="14" y="5"/>
                  </a:cxn>
                  <a:cxn ang="0">
                    <a:pos x="15" y="4"/>
                  </a:cxn>
                  <a:cxn ang="0">
                    <a:pos x="14" y="4"/>
                  </a:cxn>
                  <a:cxn ang="0">
                    <a:pos x="15" y="2"/>
                  </a:cxn>
                  <a:cxn ang="0">
                    <a:pos x="13" y="1"/>
                  </a:cxn>
                  <a:cxn ang="0">
                    <a:pos x="12" y="1"/>
                  </a:cxn>
                  <a:cxn ang="0">
                    <a:pos x="11" y="2"/>
                  </a:cxn>
                  <a:cxn ang="0">
                    <a:pos x="9" y="1"/>
                  </a:cxn>
                  <a:cxn ang="0">
                    <a:pos x="9" y="2"/>
                  </a:cxn>
                  <a:cxn ang="0">
                    <a:pos x="9" y="3"/>
                  </a:cxn>
                  <a:cxn ang="0">
                    <a:pos x="9" y="5"/>
                  </a:cxn>
                  <a:cxn ang="0">
                    <a:pos x="7" y="6"/>
                  </a:cxn>
                  <a:cxn ang="0">
                    <a:pos x="7" y="6"/>
                  </a:cxn>
                  <a:cxn ang="0">
                    <a:pos x="6" y="6"/>
                  </a:cxn>
                  <a:cxn ang="0">
                    <a:pos x="5" y="6"/>
                  </a:cxn>
                  <a:cxn ang="0">
                    <a:pos x="4" y="6"/>
                  </a:cxn>
                  <a:cxn ang="0">
                    <a:pos x="3" y="6"/>
                  </a:cxn>
                  <a:cxn ang="0">
                    <a:pos x="1" y="4"/>
                  </a:cxn>
                  <a:cxn ang="0">
                    <a:pos x="0" y="5"/>
                  </a:cxn>
                  <a:cxn ang="0">
                    <a:pos x="0" y="5"/>
                  </a:cxn>
                  <a:cxn ang="0">
                    <a:pos x="0" y="6"/>
                  </a:cxn>
                  <a:cxn ang="0">
                    <a:pos x="1" y="7"/>
                  </a:cxn>
                  <a:cxn ang="0">
                    <a:pos x="2" y="8"/>
                  </a:cxn>
                  <a:cxn ang="0">
                    <a:pos x="2" y="10"/>
                  </a:cxn>
                  <a:cxn ang="0">
                    <a:pos x="2" y="11"/>
                  </a:cxn>
                  <a:cxn ang="0">
                    <a:pos x="3" y="12"/>
                  </a:cxn>
                  <a:cxn ang="0">
                    <a:pos x="3" y="13"/>
                  </a:cxn>
                  <a:cxn ang="0">
                    <a:pos x="3" y="18"/>
                  </a:cxn>
                  <a:cxn ang="0">
                    <a:pos x="5" y="22"/>
                  </a:cxn>
                  <a:cxn ang="0">
                    <a:pos x="6" y="24"/>
                  </a:cxn>
                  <a:cxn ang="0">
                    <a:pos x="7" y="24"/>
                  </a:cxn>
                  <a:cxn ang="0">
                    <a:pos x="8" y="23"/>
                  </a:cxn>
                  <a:cxn ang="0">
                    <a:pos x="10" y="22"/>
                  </a:cxn>
                  <a:cxn ang="0">
                    <a:pos x="11" y="20"/>
                  </a:cxn>
                  <a:cxn ang="0">
                    <a:pos x="12" y="17"/>
                  </a:cxn>
                  <a:cxn ang="0">
                    <a:pos x="13" y="17"/>
                  </a:cxn>
                  <a:cxn ang="0">
                    <a:pos x="13" y="15"/>
                  </a:cxn>
                  <a:cxn ang="0">
                    <a:pos x="14" y="14"/>
                  </a:cxn>
                  <a:cxn ang="0">
                    <a:pos x="15" y="14"/>
                  </a:cxn>
                  <a:cxn ang="0">
                    <a:pos x="16" y="12"/>
                  </a:cxn>
                  <a:cxn ang="0">
                    <a:pos x="18" y="11"/>
                  </a:cxn>
                  <a:cxn ang="0">
                    <a:pos x="18" y="8"/>
                  </a:cxn>
                </a:cxnLst>
                <a:rect l="0" t="0" r="r" b="b"/>
                <a:pathLst>
                  <a:path w="18" h="24">
                    <a:moveTo>
                      <a:pt x="18" y="8"/>
                    </a:moveTo>
                    <a:cubicBezTo>
                      <a:pt x="17" y="8"/>
                      <a:pt x="16" y="8"/>
                      <a:pt x="16" y="7"/>
                    </a:cubicBezTo>
                    <a:cubicBezTo>
                      <a:pt x="15" y="7"/>
                      <a:pt x="14" y="8"/>
                      <a:pt x="14" y="8"/>
                    </a:cubicBezTo>
                    <a:cubicBezTo>
                      <a:pt x="14" y="7"/>
                      <a:pt x="13" y="7"/>
                      <a:pt x="14" y="6"/>
                    </a:cubicBezTo>
                    <a:cubicBezTo>
                      <a:pt x="14" y="6"/>
                      <a:pt x="14" y="5"/>
                      <a:pt x="14" y="5"/>
                    </a:cubicBezTo>
                    <a:cubicBezTo>
                      <a:pt x="14" y="5"/>
                      <a:pt x="15" y="5"/>
                      <a:pt x="15" y="4"/>
                    </a:cubicBezTo>
                    <a:cubicBezTo>
                      <a:pt x="14" y="5"/>
                      <a:pt x="13" y="5"/>
                      <a:pt x="14" y="4"/>
                    </a:cubicBezTo>
                    <a:cubicBezTo>
                      <a:pt x="15" y="3"/>
                      <a:pt x="15" y="2"/>
                      <a:pt x="15" y="2"/>
                    </a:cubicBezTo>
                    <a:cubicBezTo>
                      <a:pt x="15" y="2"/>
                      <a:pt x="13" y="0"/>
                      <a:pt x="13" y="1"/>
                    </a:cubicBezTo>
                    <a:cubicBezTo>
                      <a:pt x="13" y="1"/>
                      <a:pt x="12" y="1"/>
                      <a:pt x="12" y="1"/>
                    </a:cubicBezTo>
                    <a:cubicBezTo>
                      <a:pt x="11" y="1"/>
                      <a:pt x="11" y="2"/>
                      <a:pt x="11" y="2"/>
                    </a:cubicBezTo>
                    <a:cubicBezTo>
                      <a:pt x="11" y="2"/>
                      <a:pt x="9" y="1"/>
                      <a:pt x="9" y="1"/>
                    </a:cubicBezTo>
                    <a:cubicBezTo>
                      <a:pt x="9" y="1"/>
                      <a:pt x="9" y="2"/>
                      <a:pt x="9" y="2"/>
                    </a:cubicBezTo>
                    <a:cubicBezTo>
                      <a:pt x="9" y="2"/>
                      <a:pt x="9" y="3"/>
                      <a:pt x="9" y="3"/>
                    </a:cubicBezTo>
                    <a:cubicBezTo>
                      <a:pt x="9" y="4"/>
                      <a:pt x="9" y="4"/>
                      <a:pt x="9" y="5"/>
                    </a:cubicBezTo>
                    <a:cubicBezTo>
                      <a:pt x="8" y="5"/>
                      <a:pt x="8" y="6"/>
                      <a:pt x="7" y="6"/>
                    </a:cubicBezTo>
                    <a:cubicBezTo>
                      <a:pt x="7" y="5"/>
                      <a:pt x="7" y="6"/>
                      <a:pt x="7" y="6"/>
                    </a:cubicBezTo>
                    <a:cubicBezTo>
                      <a:pt x="7" y="6"/>
                      <a:pt x="7" y="6"/>
                      <a:pt x="6" y="6"/>
                    </a:cubicBezTo>
                    <a:cubicBezTo>
                      <a:pt x="6" y="6"/>
                      <a:pt x="6" y="6"/>
                      <a:pt x="5" y="6"/>
                    </a:cubicBezTo>
                    <a:cubicBezTo>
                      <a:pt x="5" y="6"/>
                      <a:pt x="5" y="6"/>
                      <a:pt x="4" y="6"/>
                    </a:cubicBezTo>
                    <a:cubicBezTo>
                      <a:pt x="4" y="6"/>
                      <a:pt x="3" y="7"/>
                      <a:pt x="3" y="6"/>
                    </a:cubicBezTo>
                    <a:cubicBezTo>
                      <a:pt x="3" y="4"/>
                      <a:pt x="3" y="4"/>
                      <a:pt x="1" y="4"/>
                    </a:cubicBezTo>
                    <a:cubicBezTo>
                      <a:pt x="1" y="4"/>
                      <a:pt x="0" y="4"/>
                      <a:pt x="0" y="5"/>
                    </a:cubicBezTo>
                    <a:cubicBezTo>
                      <a:pt x="0" y="5"/>
                      <a:pt x="0" y="5"/>
                      <a:pt x="0" y="5"/>
                    </a:cubicBezTo>
                    <a:cubicBezTo>
                      <a:pt x="0" y="6"/>
                      <a:pt x="0" y="6"/>
                      <a:pt x="0" y="6"/>
                    </a:cubicBezTo>
                    <a:cubicBezTo>
                      <a:pt x="0" y="6"/>
                      <a:pt x="0" y="7"/>
                      <a:pt x="1" y="7"/>
                    </a:cubicBezTo>
                    <a:cubicBezTo>
                      <a:pt x="1" y="7"/>
                      <a:pt x="1" y="8"/>
                      <a:pt x="2" y="8"/>
                    </a:cubicBezTo>
                    <a:cubicBezTo>
                      <a:pt x="3" y="9"/>
                      <a:pt x="2" y="10"/>
                      <a:pt x="2" y="10"/>
                    </a:cubicBezTo>
                    <a:cubicBezTo>
                      <a:pt x="2" y="11"/>
                      <a:pt x="2" y="11"/>
                      <a:pt x="2" y="11"/>
                    </a:cubicBezTo>
                    <a:cubicBezTo>
                      <a:pt x="2" y="12"/>
                      <a:pt x="2" y="12"/>
                      <a:pt x="3" y="12"/>
                    </a:cubicBezTo>
                    <a:cubicBezTo>
                      <a:pt x="3" y="12"/>
                      <a:pt x="3" y="13"/>
                      <a:pt x="3" y="13"/>
                    </a:cubicBezTo>
                    <a:cubicBezTo>
                      <a:pt x="3" y="15"/>
                      <a:pt x="3" y="17"/>
                      <a:pt x="3" y="18"/>
                    </a:cubicBezTo>
                    <a:cubicBezTo>
                      <a:pt x="4" y="20"/>
                      <a:pt x="5" y="21"/>
                      <a:pt x="5" y="22"/>
                    </a:cubicBezTo>
                    <a:cubicBezTo>
                      <a:pt x="5" y="23"/>
                      <a:pt x="6" y="24"/>
                      <a:pt x="6" y="24"/>
                    </a:cubicBezTo>
                    <a:cubicBezTo>
                      <a:pt x="7" y="24"/>
                      <a:pt x="7" y="24"/>
                      <a:pt x="7" y="24"/>
                    </a:cubicBezTo>
                    <a:cubicBezTo>
                      <a:pt x="7" y="23"/>
                      <a:pt x="8" y="24"/>
                      <a:pt x="8" y="23"/>
                    </a:cubicBezTo>
                    <a:cubicBezTo>
                      <a:pt x="9" y="23"/>
                      <a:pt x="9" y="23"/>
                      <a:pt x="10" y="22"/>
                    </a:cubicBezTo>
                    <a:cubicBezTo>
                      <a:pt x="10" y="21"/>
                      <a:pt x="11" y="20"/>
                      <a:pt x="11" y="20"/>
                    </a:cubicBezTo>
                    <a:cubicBezTo>
                      <a:pt x="12" y="19"/>
                      <a:pt x="12" y="18"/>
                      <a:pt x="12" y="17"/>
                    </a:cubicBezTo>
                    <a:cubicBezTo>
                      <a:pt x="12" y="17"/>
                      <a:pt x="13" y="16"/>
                      <a:pt x="13" y="17"/>
                    </a:cubicBezTo>
                    <a:cubicBezTo>
                      <a:pt x="13" y="17"/>
                      <a:pt x="13" y="16"/>
                      <a:pt x="13" y="15"/>
                    </a:cubicBezTo>
                    <a:cubicBezTo>
                      <a:pt x="14" y="15"/>
                      <a:pt x="14" y="14"/>
                      <a:pt x="14" y="14"/>
                    </a:cubicBezTo>
                    <a:cubicBezTo>
                      <a:pt x="14" y="14"/>
                      <a:pt x="15" y="14"/>
                      <a:pt x="15" y="14"/>
                    </a:cubicBezTo>
                    <a:cubicBezTo>
                      <a:pt x="15" y="13"/>
                      <a:pt x="17" y="12"/>
                      <a:pt x="16" y="12"/>
                    </a:cubicBezTo>
                    <a:cubicBezTo>
                      <a:pt x="16" y="11"/>
                      <a:pt x="17" y="12"/>
                      <a:pt x="18" y="11"/>
                    </a:cubicBezTo>
                    <a:cubicBezTo>
                      <a:pt x="18" y="9"/>
                      <a:pt x="17" y="9"/>
                      <a:pt x="18" y="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4" name="Burkina Faso">
                <a:extLst>
                  <a:ext uri="{FF2B5EF4-FFF2-40B4-BE49-F238E27FC236}">
                    <a16:creationId xmlns:a16="http://schemas.microsoft.com/office/drawing/2014/main" id="{ABE16C72-B38F-D817-0635-D3237245BAA5}"/>
                  </a:ext>
                </a:extLst>
              </p:cNvPr>
              <p:cNvSpPr>
                <a:spLocks/>
              </p:cNvSpPr>
              <p:nvPr/>
            </p:nvSpPr>
            <p:spPr bwMode="auto">
              <a:xfrm>
                <a:off x="5505552" y="3455272"/>
                <a:ext cx="273466" cy="223476"/>
              </a:xfrm>
              <a:custGeom>
                <a:avLst/>
                <a:gdLst/>
                <a:ahLst/>
                <a:cxnLst>
                  <a:cxn ang="0">
                    <a:pos x="76" y="30"/>
                  </a:cxn>
                  <a:cxn ang="0">
                    <a:pos x="72" y="28"/>
                  </a:cxn>
                  <a:cxn ang="0">
                    <a:pos x="64" y="20"/>
                  </a:cxn>
                  <a:cxn ang="0">
                    <a:pos x="66" y="19"/>
                  </a:cxn>
                  <a:cxn ang="0">
                    <a:pos x="62" y="16"/>
                  </a:cxn>
                  <a:cxn ang="0">
                    <a:pos x="60" y="15"/>
                  </a:cxn>
                  <a:cxn ang="0">
                    <a:pos x="58" y="11"/>
                  </a:cxn>
                  <a:cxn ang="0">
                    <a:pos x="57" y="4"/>
                  </a:cxn>
                  <a:cxn ang="0">
                    <a:pos x="53" y="1"/>
                  </a:cxn>
                  <a:cxn ang="0">
                    <a:pos x="45" y="3"/>
                  </a:cxn>
                  <a:cxn ang="0">
                    <a:pos x="36" y="7"/>
                  </a:cxn>
                  <a:cxn ang="0">
                    <a:pos x="30" y="9"/>
                  </a:cxn>
                  <a:cxn ang="0">
                    <a:pos x="26" y="15"/>
                  </a:cxn>
                  <a:cxn ang="0">
                    <a:pos x="25" y="17"/>
                  </a:cxn>
                  <a:cxn ang="0">
                    <a:pos x="23" y="16"/>
                  </a:cxn>
                  <a:cxn ang="0">
                    <a:pos x="21" y="21"/>
                  </a:cxn>
                  <a:cxn ang="0">
                    <a:pos x="16" y="19"/>
                  </a:cxn>
                  <a:cxn ang="0">
                    <a:pos x="14" y="20"/>
                  </a:cxn>
                  <a:cxn ang="0">
                    <a:pos x="13" y="23"/>
                  </a:cxn>
                  <a:cxn ang="0">
                    <a:pos x="11" y="26"/>
                  </a:cxn>
                  <a:cxn ang="0">
                    <a:pos x="12" y="31"/>
                  </a:cxn>
                  <a:cxn ang="0">
                    <a:pos x="10" y="33"/>
                  </a:cxn>
                  <a:cxn ang="0">
                    <a:pos x="8" y="34"/>
                  </a:cxn>
                  <a:cxn ang="0">
                    <a:pos x="2" y="36"/>
                  </a:cxn>
                  <a:cxn ang="0">
                    <a:pos x="3" y="41"/>
                  </a:cxn>
                  <a:cxn ang="0">
                    <a:pos x="2" y="44"/>
                  </a:cxn>
                  <a:cxn ang="0">
                    <a:pos x="2" y="47"/>
                  </a:cxn>
                  <a:cxn ang="0">
                    <a:pos x="1" y="52"/>
                  </a:cxn>
                  <a:cxn ang="0">
                    <a:pos x="5" y="54"/>
                  </a:cxn>
                  <a:cxn ang="0">
                    <a:pos x="6" y="56"/>
                  </a:cxn>
                  <a:cxn ang="0">
                    <a:pos x="9" y="60"/>
                  </a:cxn>
                  <a:cxn ang="0">
                    <a:pos x="10" y="60"/>
                  </a:cxn>
                  <a:cxn ang="0">
                    <a:pos x="12" y="60"/>
                  </a:cxn>
                  <a:cxn ang="0">
                    <a:pos x="14" y="58"/>
                  </a:cxn>
                  <a:cxn ang="0">
                    <a:pos x="17" y="57"/>
                  </a:cxn>
                  <a:cxn ang="0">
                    <a:pos x="21" y="57"/>
                  </a:cxn>
                  <a:cxn ang="0">
                    <a:pos x="23" y="57"/>
                  </a:cxn>
                  <a:cxn ang="0">
                    <a:pos x="24" y="59"/>
                  </a:cxn>
                  <a:cxn ang="0">
                    <a:pos x="27" y="63"/>
                  </a:cxn>
                  <a:cxn ang="0">
                    <a:pos x="27" y="58"/>
                  </a:cxn>
                  <a:cxn ang="0">
                    <a:pos x="27" y="54"/>
                  </a:cxn>
                  <a:cxn ang="0">
                    <a:pos x="26" y="51"/>
                  </a:cxn>
                  <a:cxn ang="0">
                    <a:pos x="27" y="45"/>
                  </a:cxn>
                  <a:cxn ang="0">
                    <a:pos x="41" y="45"/>
                  </a:cxn>
                  <a:cxn ang="0">
                    <a:pos x="47" y="45"/>
                  </a:cxn>
                  <a:cxn ang="0">
                    <a:pos x="50" y="44"/>
                  </a:cxn>
                  <a:cxn ang="0">
                    <a:pos x="53" y="44"/>
                  </a:cxn>
                  <a:cxn ang="0">
                    <a:pos x="61" y="45"/>
                  </a:cxn>
                  <a:cxn ang="0">
                    <a:pos x="65" y="45"/>
                  </a:cxn>
                  <a:cxn ang="0">
                    <a:pos x="66" y="43"/>
                  </a:cxn>
                  <a:cxn ang="0">
                    <a:pos x="68" y="40"/>
                  </a:cxn>
                  <a:cxn ang="0">
                    <a:pos x="72" y="41"/>
                  </a:cxn>
                  <a:cxn ang="0">
                    <a:pos x="76" y="37"/>
                  </a:cxn>
                </a:cxnLst>
                <a:rect l="0" t="0" r="r" b="b"/>
                <a:pathLst>
                  <a:path w="77" h="63">
                    <a:moveTo>
                      <a:pt x="75" y="32"/>
                    </a:moveTo>
                    <a:cubicBezTo>
                      <a:pt x="75" y="32"/>
                      <a:pt x="73" y="31"/>
                      <a:pt x="74" y="30"/>
                    </a:cubicBezTo>
                    <a:cubicBezTo>
                      <a:pt x="75" y="30"/>
                      <a:pt x="75" y="30"/>
                      <a:pt x="76" y="30"/>
                    </a:cubicBezTo>
                    <a:cubicBezTo>
                      <a:pt x="77" y="29"/>
                      <a:pt x="75" y="27"/>
                      <a:pt x="75" y="27"/>
                    </a:cubicBezTo>
                    <a:cubicBezTo>
                      <a:pt x="75" y="26"/>
                      <a:pt x="73" y="26"/>
                      <a:pt x="73" y="27"/>
                    </a:cubicBezTo>
                    <a:cubicBezTo>
                      <a:pt x="72" y="27"/>
                      <a:pt x="72" y="28"/>
                      <a:pt x="72" y="28"/>
                    </a:cubicBezTo>
                    <a:cubicBezTo>
                      <a:pt x="70" y="28"/>
                      <a:pt x="69" y="27"/>
                      <a:pt x="68" y="26"/>
                    </a:cubicBezTo>
                    <a:cubicBezTo>
                      <a:pt x="67" y="25"/>
                      <a:pt x="66" y="24"/>
                      <a:pt x="64" y="23"/>
                    </a:cubicBezTo>
                    <a:cubicBezTo>
                      <a:pt x="63" y="23"/>
                      <a:pt x="64" y="21"/>
                      <a:pt x="64" y="20"/>
                    </a:cubicBezTo>
                    <a:cubicBezTo>
                      <a:pt x="64" y="20"/>
                      <a:pt x="63" y="19"/>
                      <a:pt x="64" y="19"/>
                    </a:cubicBezTo>
                    <a:cubicBezTo>
                      <a:pt x="65" y="19"/>
                      <a:pt x="65" y="20"/>
                      <a:pt x="66" y="20"/>
                    </a:cubicBezTo>
                    <a:cubicBezTo>
                      <a:pt x="66" y="19"/>
                      <a:pt x="67" y="20"/>
                      <a:pt x="66" y="19"/>
                    </a:cubicBezTo>
                    <a:cubicBezTo>
                      <a:pt x="66" y="19"/>
                      <a:pt x="65" y="19"/>
                      <a:pt x="65" y="19"/>
                    </a:cubicBezTo>
                    <a:cubicBezTo>
                      <a:pt x="64" y="18"/>
                      <a:pt x="64" y="18"/>
                      <a:pt x="64" y="17"/>
                    </a:cubicBezTo>
                    <a:cubicBezTo>
                      <a:pt x="63" y="17"/>
                      <a:pt x="62" y="17"/>
                      <a:pt x="62" y="16"/>
                    </a:cubicBezTo>
                    <a:cubicBezTo>
                      <a:pt x="62" y="16"/>
                      <a:pt x="62" y="16"/>
                      <a:pt x="62" y="16"/>
                    </a:cubicBezTo>
                    <a:cubicBezTo>
                      <a:pt x="61" y="16"/>
                      <a:pt x="61" y="16"/>
                      <a:pt x="61" y="16"/>
                    </a:cubicBezTo>
                    <a:cubicBezTo>
                      <a:pt x="60" y="16"/>
                      <a:pt x="60" y="15"/>
                      <a:pt x="60" y="15"/>
                    </a:cubicBezTo>
                    <a:cubicBezTo>
                      <a:pt x="60" y="15"/>
                      <a:pt x="59" y="14"/>
                      <a:pt x="59" y="14"/>
                    </a:cubicBezTo>
                    <a:cubicBezTo>
                      <a:pt x="59" y="13"/>
                      <a:pt x="58" y="13"/>
                      <a:pt x="58" y="12"/>
                    </a:cubicBezTo>
                    <a:cubicBezTo>
                      <a:pt x="58" y="12"/>
                      <a:pt x="58" y="11"/>
                      <a:pt x="58" y="11"/>
                    </a:cubicBezTo>
                    <a:cubicBezTo>
                      <a:pt x="58" y="10"/>
                      <a:pt x="58" y="10"/>
                      <a:pt x="58" y="9"/>
                    </a:cubicBezTo>
                    <a:cubicBezTo>
                      <a:pt x="57" y="8"/>
                      <a:pt x="56" y="8"/>
                      <a:pt x="56" y="6"/>
                    </a:cubicBezTo>
                    <a:cubicBezTo>
                      <a:pt x="56" y="6"/>
                      <a:pt x="57" y="5"/>
                      <a:pt x="57" y="4"/>
                    </a:cubicBezTo>
                    <a:cubicBezTo>
                      <a:pt x="57" y="4"/>
                      <a:pt x="56" y="4"/>
                      <a:pt x="56" y="3"/>
                    </a:cubicBezTo>
                    <a:cubicBezTo>
                      <a:pt x="56" y="3"/>
                      <a:pt x="57" y="3"/>
                      <a:pt x="57" y="3"/>
                    </a:cubicBezTo>
                    <a:cubicBezTo>
                      <a:pt x="57" y="2"/>
                      <a:pt x="54" y="1"/>
                      <a:pt x="53" y="1"/>
                    </a:cubicBezTo>
                    <a:cubicBezTo>
                      <a:pt x="52" y="1"/>
                      <a:pt x="51" y="2"/>
                      <a:pt x="50" y="0"/>
                    </a:cubicBezTo>
                    <a:cubicBezTo>
                      <a:pt x="49" y="0"/>
                      <a:pt x="48" y="0"/>
                      <a:pt x="47" y="1"/>
                    </a:cubicBezTo>
                    <a:cubicBezTo>
                      <a:pt x="46" y="2"/>
                      <a:pt x="45" y="3"/>
                      <a:pt x="45" y="3"/>
                    </a:cubicBezTo>
                    <a:cubicBezTo>
                      <a:pt x="44" y="4"/>
                      <a:pt x="42" y="4"/>
                      <a:pt x="41" y="5"/>
                    </a:cubicBezTo>
                    <a:cubicBezTo>
                      <a:pt x="40" y="5"/>
                      <a:pt x="40" y="6"/>
                      <a:pt x="39" y="6"/>
                    </a:cubicBezTo>
                    <a:cubicBezTo>
                      <a:pt x="38" y="7"/>
                      <a:pt x="36" y="7"/>
                      <a:pt x="36" y="7"/>
                    </a:cubicBezTo>
                    <a:cubicBezTo>
                      <a:pt x="35" y="8"/>
                      <a:pt x="35" y="9"/>
                      <a:pt x="35" y="10"/>
                    </a:cubicBezTo>
                    <a:cubicBezTo>
                      <a:pt x="35" y="11"/>
                      <a:pt x="33" y="10"/>
                      <a:pt x="32" y="10"/>
                    </a:cubicBezTo>
                    <a:cubicBezTo>
                      <a:pt x="31" y="10"/>
                      <a:pt x="31" y="9"/>
                      <a:pt x="30" y="9"/>
                    </a:cubicBezTo>
                    <a:cubicBezTo>
                      <a:pt x="29" y="10"/>
                      <a:pt x="29" y="11"/>
                      <a:pt x="28" y="11"/>
                    </a:cubicBezTo>
                    <a:cubicBezTo>
                      <a:pt x="27" y="12"/>
                      <a:pt x="27" y="12"/>
                      <a:pt x="27" y="13"/>
                    </a:cubicBezTo>
                    <a:cubicBezTo>
                      <a:pt x="26" y="14"/>
                      <a:pt x="26" y="14"/>
                      <a:pt x="26" y="15"/>
                    </a:cubicBezTo>
                    <a:cubicBezTo>
                      <a:pt x="26" y="15"/>
                      <a:pt x="26" y="16"/>
                      <a:pt x="26" y="16"/>
                    </a:cubicBezTo>
                    <a:cubicBezTo>
                      <a:pt x="26" y="16"/>
                      <a:pt x="26" y="16"/>
                      <a:pt x="25" y="16"/>
                    </a:cubicBezTo>
                    <a:cubicBezTo>
                      <a:pt x="25" y="16"/>
                      <a:pt x="25" y="17"/>
                      <a:pt x="25" y="17"/>
                    </a:cubicBezTo>
                    <a:cubicBezTo>
                      <a:pt x="25" y="17"/>
                      <a:pt x="25" y="16"/>
                      <a:pt x="25" y="16"/>
                    </a:cubicBezTo>
                    <a:cubicBezTo>
                      <a:pt x="24" y="16"/>
                      <a:pt x="24" y="16"/>
                      <a:pt x="24" y="16"/>
                    </a:cubicBezTo>
                    <a:cubicBezTo>
                      <a:pt x="23" y="16"/>
                      <a:pt x="23" y="15"/>
                      <a:pt x="23" y="16"/>
                    </a:cubicBezTo>
                    <a:cubicBezTo>
                      <a:pt x="23" y="16"/>
                      <a:pt x="23" y="16"/>
                      <a:pt x="23" y="16"/>
                    </a:cubicBezTo>
                    <a:cubicBezTo>
                      <a:pt x="23" y="18"/>
                      <a:pt x="23" y="19"/>
                      <a:pt x="23" y="20"/>
                    </a:cubicBezTo>
                    <a:cubicBezTo>
                      <a:pt x="22" y="20"/>
                      <a:pt x="21" y="20"/>
                      <a:pt x="21" y="21"/>
                    </a:cubicBezTo>
                    <a:cubicBezTo>
                      <a:pt x="21" y="22"/>
                      <a:pt x="19" y="21"/>
                      <a:pt x="19" y="20"/>
                    </a:cubicBezTo>
                    <a:cubicBezTo>
                      <a:pt x="18" y="20"/>
                      <a:pt x="17" y="19"/>
                      <a:pt x="16" y="19"/>
                    </a:cubicBezTo>
                    <a:cubicBezTo>
                      <a:pt x="16" y="19"/>
                      <a:pt x="16" y="19"/>
                      <a:pt x="16" y="19"/>
                    </a:cubicBezTo>
                    <a:cubicBezTo>
                      <a:pt x="17" y="18"/>
                      <a:pt x="16" y="18"/>
                      <a:pt x="16" y="18"/>
                    </a:cubicBezTo>
                    <a:cubicBezTo>
                      <a:pt x="16" y="18"/>
                      <a:pt x="16" y="18"/>
                      <a:pt x="15" y="19"/>
                    </a:cubicBezTo>
                    <a:cubicBezTo>
                      <a:pt x="15" y="19"/>
                      <a:pt x="15" y="20"/>
                      <a:pt x="14" y="20"/>
                    </a:cubicBezTo>
                    <a:cubicBezTo>
                      <a:pt x="14" y="21"/>
                      <a:pt x="13" y="21"/>
                      <a:pt x="13" y="21"/>
                    </a:cubicBezTo>
                    <a:cubicBezTo>
                      <a:pt x="14" y="21"/>
                      <a:pt x="13" y="21"/>
                      <a:pt x="13" y="21"/>
                    </a:cubicBezTo>
                    <a:cubicBezTo>
                      <a:pt x="12" y="22"/>
                      <a:pt x="13" y="23"/>
                      <a:pt x="13" y="23"/>
                    </a:cubicBezTo>
                    <a:cubicBezTo>
                      <a:pt x="14" y="24"/>
                      <a:pt x="14" y="24"/>
                      <a:pt x="14" y="25"/>
                    </a:cubicBezTo>
                    <a:cubicBezTo>
                      <a:pt x="14" y="26"/>
                      <a:pt x="13" y="27"/>
                      <a:pt x="13" y="26"/>
                    </a:cubicBezTo>
                    <a:cubicBezTo>
                      <a:pt x="12" y="26"/>
                      <a:pt x="12" y="27"/>
                      <a:pt x="11" y="26"/>
                    </a:cubicBezTo>
                    <a:cubicBezTo>
                      <a:pt x="11" y="27"/>
                      <a:pt x="12" y="28"/>
                      <a:pt x="12" y="29"/>
                    </a:cubicBezTo>
                    <a:cubicBezTo>
                      <a:pt x="12" y="29"/>
                      <a:pt x="11" y="29"/>
                      <a:pt x="11" y="30"/>
                    </a:cubicBezTo>
                    <a:cubicBezTo>
                      <a:pt x="11" y="30"/>
                      <a:pt x="12" y="30"/>
                      <a:pt x="12" y="31"/>
                    </a:cubicBezTo>
                    <a:cubicBezTo>
                      <a:pt x="12" y="31"/>
                      <a:pt x="11" y="30"/>
                      <a:pt x="11" y="31"/>
                    </a:cubicBezTo>
                    <a:cubicBezTo>
                      <a:pt x="11" y="32"/>
                      <a:pt x="10" y="32"/>
                      <a:pt x="10" y="32"/>
                    </a:cubicBezTo>
                    <a:cubicBezTo>
                      <a:pt x="10" y="32"/>
                      <a:pt x="10" y="33"/>
                      <a:pt x="10" y="33"/>
                    </a:cubicBezTo>
                    <a:cubicBezTo>
                      <a:pt x="10" y="33"/>
                      <a:pt x="10" y="33"/>
                      <a:pt x="9" y="33"/>
                    </a:cubicBezTo>
                    <a:cubicBezTo>
                      <a:pt x="9" y="34"/>
                      <a:pt x="9" y="34"/>
                      <a:pt x="9" y="34"/>
                    </a:cubicBezTo>
                    <a:cubicBezTo>
                      <a:pt x="8" y="34"/>
                      <a:pt x="8" y="34"/>
                      <a:pt x="8" y="34"/>
                    </a:cubicBezTo>
                    <a:cubicBezTo>
                      <a:pt x="7" y="34"/>
                      <a:pt x="7" y="34"/>
                      <a:pt x="7" y="34"/>
                    </a:cubicBezTo>
                    <a:cubicBezTo>
                      <a:pt x="6" y="34"/>
                      <a:pt x="5" y="35"/>
                      <a:pt x="4" y="35"/>
                    </a:cubicBezTo>
                    <a:cubicBezTo>
                      <a:pt x="3" y="36"/>
                      <a:pt x="3" y="36"/>
                      <a:pt x="2" y="36"/>
                    </a:cubicBezTo>
                    <a:cubicBezTo>
                      <a:pt x="2" y="37"/>
                      <a:pt x="3" y="37"/>
                      <a:pt x="3" y="37"/>
                    </a:cubicBezTo>
                    <a:cubicBezTo>
                      <a:pt x="3" y="38"/>
                      <a:pt x="3" y="39"/>
                      <a:pt x="3" y="39"/>
                    </a:cubicBezTo>
                    <a:cubicBezTo>
                      <a:pt x="4" y="39"/>
                      <a:pt x="4" y="41"/>
                      <a:pt x="3" y="41"/>
                    </a:cubicBezTo>
                    <a:cubicBezTo>
                      <a:pt x="3" y="41"/>
                      <a:pt x="3" y="42"/>
                      <a:pt x="3" y="43"/>
                    </a:cubicBezTo>
                    <a:cubicBezTo>
                      <a:pt x="3" y="43"/>
                      <a:pt x="3" y="43"/>
                      <a:pt x="3" y="43"/>
                    </a:cubicBezTo>
                    <a:cubicBezTo>
                      <a:pt x="3" y="44"/>
                      <a:pt x="3" y="44"/>
                      <a:pt x="2" y="44"/>
                    </a:cubicBezTo>
                    <a:cubicBezTo>
                      <a:pt x="2" y="44"/>
                      <a:pt x="1" y="44"/>
                      <a:pt x="1" y="45"/>
                    </a:cubicBezTo>
                    <a:cubicBezTo>
                      <a:pt x="1" y="45"/>
                      <a:pt x="1" y="46"/>
                      <a:pt x="1" y="46"/>
                    </a:cubicBezTo>
                    <a:cubicBezTo>
                      <a:pt x="1" y="46"/>
                      <a:pt x="2" y="47"/>
                      <a:pt x="2" y="47"/>
                    </a:cubicBezTo>
                    <a:cubicBezTo>
                      <a:pt x="2" y="48"/>
                      <a:pt x="1" y="48"/>
                      <a:pt x="1" y="49"/>
                    </a:cubicBezTo>
                    <a:cubicBezTo>
                      <a:pt x="1" y="50"/>
                      <a:pt x="1" y="50"/>
                      <a:pt x="1" y="51"/>
                    </a:cubicBezTo>
                    <a:cubicBezTo>
                      <a:pt x="1" y="51"/>
                      <a:pt x="0" y="52"/>
                      <a:pt x="1" y="52"/>
                    </a:cubicBezTo>
                    <a:cubicBezTo>
                      <a:pt x="1" y="52"/>
                      <a:pt x="1" y="53"/>
                      <a:pt x="2" y="53"/>
                    </a:cubicBezTo>
                    <a:cubicBezTo>
                      <a:pt x="3" y="53"/>
                      <a:pt x="3" y="53"/>
                      <a:pt x="4" y="53"/>
                    </a:cubicBezTo>
                    <a:cubicBezTo>
                      <a:pt x="4" y="53"/>
                      <a:pt x="5" y="53"/>
                      <a:pt x="5" y="54"/>
                    </a:cubicBezTo>
                    <a:cubicBezTo>
                      <a:pt x="4" y="54"/>
                      <a:pt x="4" y="54"/>
                      <a:pt x="5" y="54"/>
                    </a:cubicBezTo>
                    <a:cubicBezTo>
                      <a:pt x="5" y="54"/>
                      <a:pt x="5" y="55"/>
                      <a:pt x="5" y="55"/>
                    </a:cubicBezTo>
                    <a:cubicBezTo>
                      <a:pt x="5" y="56"/>
                      <a:pt x="6" y="56"/>
                      <a:pt x="6" y="56"/>
                    </a:cubicBezTo>
                    <a:cubicBezTo>
                      <a:pt x="6" y="57"/>
                      <a:pt x="6" y="58"/>
                      <a:pt x="6" y="58"/>
                    </a:cubicBezTo>
                    <a:cubicBezTo>
                      <a:pt x="8" y="58"/>
                      <a:pt x="7" y="59"/>
                      <a:pt x="8" y="59"/>
                    </a:cubicBezTo>
                    <a:cubicBezTo>
                      <a:pt x="8" y="59"/>
                      <a:pt x="9" y="60"/>
                      <a:pt x="9" y="60"/>
                    </a:cubicBezTo>
                    <a:cubicBezTo>
                      <a:pt x="9" y="59"/>
                      <a:pt x="9" y="60"/>
                      <a:pt x="10" y="60"/>
                    </a:cubicBezTo>
                    <a:cubicBezTo>
                      <a:pt x="10" y="60"/>
                      <a:pt x="10" y="59"/>
                      <a:pt x="10" y="59"/>
                    </a:cubicBezTo>
                    <a:cubicBezTo>
                      <a:pt x="10" y="59"/>
                      <a:pt x="10" y="60"/>
                      <a:pt x="10" y="60"/>
                    </a:cubicBezTo>
                    <a:cubicBezTo>
                      <a:pt x="10" y="61"/>
                      <a:pt x="11" y="60"/>
                      <a:pt x="11" y="60"/>
                    </a:cubicBezTo>
                    <a:cubicBezTo>
                      <a:pt x="11" y="61"/>
                      <a:pt x="11" y="61"/>
                      <a:pt x="12" y="61"/>
                    </a:cubicBezTo>
                    <a:cubicBezTo>
                      <a:pt x="11" y="61"/>
                      <a:pt x="12" y="60"/>
                      <a:pt x="12" y="60"/>
                    </a:cubicBezTo>
                    <a:cubicBezTo>
                      <a:pt x="12" y="60"/>
                      <a:pt x="12" y="59"/>
                      <a:pt x="13" y="59"/>
                    </a:cubicBezTo>
                    <a:cubicBezTo>
                      <a:pt x="13" y="59"/>
                      <a:pt x="13" y="59"/>
                      <a:pt x="14" y="59"/>
                    </a:cubicBezTo>
                    <a:cubicBezTo>
                      <a:pt x="14" y="58"/>
                      <a:pt x="14" y="58"/>
                      <a:pt x="14" y="58"/>
                    </a:cubicBezTo>
                    <a:cubicBezTo>
                      <a:pt x="15" y="58"/>
                      <a:pt x="15" y="59"/>
                      <a:pt x="15" y="58"/>
                    </a:cubicBezTo>
                    <a:cubicBezTo>
                      <a:pt x="16" y="58"/>
                      <a:pt x="16" y="58"/>
                      <a:pt x="16" y="58"/>
                    </a:cubicBezTo>
                    <a:cubicBezTo>
                      <a:pt x="17" y="57"/>
                      <a:pt x="17" y="57"/>
                      <a:pt x="17" y="57"/>
                    </a:cubicBezTo>
                    <a:cubicBezTo>
                      <a:pt x="18" y="57"/>
                      <a:pt x="18" y="57"/>
                      <a:pt x="19" y="57"/>
                    </a:cubicBezTo>
                    <a:cubicBezTo>
                      <a:pt x="19" y="57"/>
                      <a:pt x="19" y="57"/>
                      <a:pt x="19" y="57"/>
                    </a:cubicBezTo>
                    <a:cubicBezTo>
                      <a:pt x="20" y="57"/>
                      <a:pt x="21" y="57"/>
                      <a:pt x="21" y="57"/>
                    </a:cubicBezTo>
                    <a:cubicBezTo>
                      <a:pt x="21" y="57"/>
                      <a:pt x="22" y="57"/>
                      <a:pt x="22" y="57"/>
                    </a:cubicBezTo>
                    <a:cubicBezTo>
                      <a:pt x="22" y="58"/>
                      <a:pt x="22" y="58"/>
                      <a:pt x="22" y="58"/>
                    </a:cubicBezTo>
                    <a:cubicBezTo>
                      <a:pt x="22" y="58"/>
                      <a:pt x="23" y="57"/>
                      <a:pt x="23" y="57"/>
                    </a:cubicBezTo>
                    <a:cubicBezTo>
                      <a:pt x="23" y="57"/>
                      <a:pt x="23" y="58"/>
                      <a:pt x="23" y="58"/>
                    </a:cubicBezTo>
                    <a:cubicBezTo>
                      <a:pt x="23" y="58"/>
                      <a:pt x="23" y="58"/>
                      <a:pt x="24" y="58"/>
                    </a:cubicBezTo>
                    <a:cubicBezTo>
                      <a:pt x="24" y="58"/>
                      <a:pt x="24" y="59"/>
                      <a:pt x="24" y="59"/>
                    </a:cubicBezTo>
                    <a:cubicBezTo>
                      <a:pt x="25" y="60"/>
                      <a:pt x="25" y="59"/>
                      <a:pt x="25" y="60"/>
                    </a:cubicBezTo>
                    <a:cubicBezTo>
                      <a:pt x="25" y="60"/>
                      <a:pt x="25" y="61"/>
                      <a:pt x="26" y="61"/>
                    </a:cubicBezTo>
                    <a:cubicBezTo>
                      <a:pt x="26" y="61"/>
                      <a:pt x="27" y="63"/>
                      <a:pt x="27" y="63"/>
                    </a:cubicBezTo>
                    <a:cubicBezTo>
                      <a:pt x="28" y="62"/>
                      <a:pt x="27" y="61"/>
                      <a:pt x="27" y="61"/>
                    </a:cubicBezTo>
                    <a:cubicBezTo>
                      <a:pt x="27" y="60"/>
                      <a:pt x="27" y="60"/>
                      <a:pt x="27" y="60"/>
                    </a:cubicBezTo>
                    <a:cubicBezTo>
                      <a:pt x="27" y="59"/>
                      <a:pt x="27" y="59"/>
                      <a:pt x="27" y="58"/>
                    </a:cubicBezTo>
                    <a:cubicBezTo>
                      <a:pt x="27" y="58"/>
                      <a:pt x="27" y="58"/>
                      <a:pt x="27" y="57"/>
                    </a:cubicBezTo>
                    <a:cubicBezTo>
                      <a:pt x="27" y="57"/>
                      <a:pt x="27" y="56"/>
                      <a:pt x="27" y="56"/>
                    </a:cubicBezTo>
                    <a:cubicBezTo>
                      <a:pt x="27" y="55"/>
                      <a:pt x="27" y="54"/>
                      <a:pt x="27" y="54"/>
                    </a:cubicBezTo>
                    <a:cubicBezTo>
                      <a:pt x="27" y="54"/>
                      <a:pt x="27" y="53"/>
                      <a:pt x="27" y="53"/>
                    </a:cubicBezTo>
                    <a:cubicBezTo>
                      <a:pt x="26" y="52"/>
                      <a:pt x="27" y="53"/>
                      <a:pt x="27" y="52"/>
                    </a:cubicBezTo>
                    <a:cubicBezTo>
                      <a:pt x="27" y="52"/>
                      <a:pt x="26" y="51"/>
                      <a:pt x="26" y="51"/>
                    </a:cubicBezTo>
                    <a:cubicBezTo>
                      <a:pt x="26" y="51"/>
                      <a:pt x="26" y="50"/>
                      <a:pt x="26" y="50"/>
                    </a:cubicBezTo>
                    <a:cubicBezTo>
                      <a:pt x="25" y="49"/>
                      <a:pt x="26" y="47"/>
                      <a:pt x="26" y="47"/>
                    </a:cubicBezTo>
                    <a:cubicBezTo>
                      <a:pt x="27" y="46"/>
                      <a:pt x="26" y="45"/>
                      <a:pt x="27" y="45"/>
                    </a:cubicBezTo>
                    <a:cubicBezTo>
                      <a:pt x="29" y="46"/>
                      <a:pt x="29" y="45"/>
                      <a:pt x="31" y="45"/>
                    </a:cubicBezTo>
                    <a:cubicBezTo>
                      <a:pt x="32" y="45"/>
                      <a:pt x="35" y="45"/>
                      <a:pt x="36" y="45"/>
                    </a:cubicBezTo>
                    <a:cubicBezTo>
                      <a:pt x="38" y="45"/>
                      <a:pt x="40" y="45"/>
                      <a:pt x="41" y="45"/>
                    </a:cubicBezTo>
                    <a:cubicBezTo>
                      <a:pt x="42" y="46"/>
                      <a:pt x="44" y="45"/>
                      <a:pt x="45" y="45"/>
                    </a:cubicBezTo>
                    <a:cubicBezTo>
                      <a:pt x="45" y="45"/>
                      <a:pt x="45" y="46"/>
                      <a:pt x="46" y="45"/>
                    </a:cubicBezTo>
                    <a:cubicBezTo>
                      <a:pt x="46" y="45"/>
                      <a:pt x="47" y="45"/>
                      <a:pt x="47" y="45"/>
                    </a:cubicBezTo>
                    <a:cubicBezTo>
                      <a:pt x="47" y="45"/>
                      <a:pt x="48" y="47"/>
                      <a:pt x="48" y="46"/>
                    </a:cubicBezTo>
                    <a:cubicBezTo>
                      <a:pt x="48" y="45"/>
                      <a:pt x="49" y="45"/>
                      <a:pt x="49" y="45"/>
                    </a:cubicBezTo>
                    <a:cubicBezTo>
                      <a:pt x="50" y="45"/>
                      <a:pt x="50" y="44"/>
                      <a:pt x="50" y="44"/>
                    </a:cubicBezTo>
                    <a:cubicBezTo>
                      <a:pt x="50" y="44"/>
                      <a:pt x="50" y="44"/>
                      <a:pt x="51" y="44"/>
                    </a:cubicBezTo>
                    <a:cubicBezTo>
                      <a:pt x="51" y="44"/>
                      <a:pt x="51" y="44"/>
                      <a:pt x="51" y="44"/>
                    </a:cubicBezTo>
                    <a:cubicBezTo>
                      <a:pt x="52" y="44"/>
                      <a:pt x="53" y="44"/>
                      <a:pt x="53" y="44"/>
                    </a:cubicBezTo>
                    <a:cubicBezTo>
                      <a:pt x="54" y="44"/>
                      <a:pt x="55" y="44"/>
                      <a:pt x="56" y="45"/>
                    </a:cubicBezTo>
                    <a:cubicBezTo>
                      <a:pt x="56" y="45"/>
                      <a:pt x="59" y="45"/>
                      <a:pt x="59" y="45"/>
                    </a:cubicBezTo>
                    <a:cubicBezTo>
                      <a:pt x="59" y="46"/>
                      <a:pt x="60" y="45"/>
                      <a:pt x="61" y="45"/>
                    </a:cubicBezTo>
                    <a:cubicBezTo>
                      <a:pt x="61" y="45"/>
                      <a:pt x="62" y="45"/>
                      <a:pt x="63" y="45"/>
                    </a:cubicBezTo>
                    <a:cubicBezTo>
                      <a:pt x="63" y="45"/>
                      <a:pt x="63" y="45"/>
                      <a:pt x="63" y="45"/>
                    </a:cubicBezTo>
                    <a:cubicBezTo>
                      <a:pt x="64" y="44"/>
                      <a:pt x="64" y="45"/>
                      <a:pt x="65" y="45"/>
                    </a:cubicBezTo>
                    <a:cubicBezTo>
                      <a:pt x="65" y="45"/>
                      <a:pt x="64" y="44"/>
                      <a:pt x="64" y="44"/>
                    </a:cubicBezTo>
                    <a:cubicBezTo>
                      <a:pt x="64" y="44"/>
                      <a:pt x="65" y="43"/>
                      <a:pt x="65" y="44"/>
                    </a:cubicBezTo>
                    <a:cubicBezTo>
                      <a:pt x="65" y="43"/>
                      <a:pt x="65" y="42"/>
                      <a:pt x="66" y="43"/>
                    </a:cubicBezTo>
                    <a:cubicBezTo>
                      <a:pt x="66" y="43"/>
                      <a:pt x="66" y="42"/>
                      <a:pt x="66" y="42"/>
                    </a:cubicBezTo>
                    <a:cubicBezTo>
                      <a:pt x="66" y="42"/>
                      <a:pt x="67" y="42"/>
                      <a:pt x="67" y="42"/>
                    </a:cubicBezTo>
                    <a:cubicBezTo>
                      <a:pt x="67" y="42"/>
                      <a:pt x="67" y="40"/>
                      <a:pt x="68" y="40"/>
                    </a:cubicBezTo>
                    <a:cubicBezTo>
                      <a:pt x="68" y="40"/>
                      <a:pt x="69" y="40"/>
                      <a:pt x="69" y="41"/>
                    </a:cubicBezTo>
                    <a:cubicBezTo>
                      <a:pt x="69" y="41"/>
                      <a:pt x="70" y="41"/>
                      <a:pt x="70" y="41"/>
                    </a:cubicBezTo>
                    <a:cubicBezTo>
                      <a:pt x="71" y="41"/>
                      <a:pt x="72" y="40"/>
                      <a:pt x="72" y="41"/>
                    </a:cubicBezTo>
                    <a:cubicBezTo>
                      <a:pt x="73" y="41"/>
                      <a:pt x="73" y="41"/>
                      <a:pt x="73" y="41"/>
                    </a:cubicBezTo>
                    <a:cubicBezTo>
                      <a:pt x="74" y="40"/>
                      <a:pt x="75" y="39"/>
                      <a:pt x="76" y="38"/>
                    </a:cubicBezTo>
                    <a:cubicBezTo>
                      <a:pt x="76" y="38"/>
                      <a:pt x="76" y="38"/>
                      <a:pt x="76" y="37"/>
                    </a:cubicBezTo>
                    <a:cubicBezTo>
                      <a:pt x="76" y="37"/>
                      <a:pt x="77" y="37"/>
                      <a:pt x="77" y="36"/>
                    </a:cubicBezTo>
                    <a:cubicBezTo>
                      <a:pt x="77" y="35"/>
                      <a:pt x="76" y="33"/>
                      <a:pt x="75" y="3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5" name="Bulgaria">
                <a:extLst>
                  <a:ext uri="{FF2B5EF4-FFF2-40B4-BE49-F238E27FC236}">
                    <a16:creationId xmlns:a16="http://schemas.microsoft.com/office/drawing/2014/main" id="{D0A990B8-04FE-838E-19F5-736DCD2F7377}"/>
                  </a:ext>
                </a:extLst>
              </p:cNvPr>
              <p:cNvSpPr>
                <a:spLocks/>
              </p:cNvSpPr>
              <p:nvPr/>
            </p:nvSpPr>
            <p:spPr bwMode="auto">
              <a:xfrm>
                <a:off x="6422985" y="2325142"/>
                <a:ext cx="195053" cy="112719"/>
              </a:xfrm>
              <a:custGeom>
                <a:avLst/>
                <a:gdLst/>
                <a:ahLst/>
                <a:cxnLst>
                  <a:cxn ang="0">
                    <a:pos x="51" y="5"/>
                  </a:cxn>
                  <a:cxn ang="0">
                    <a:pos x="49" y="3"/>
                  </a:cxn>
                  <a:cxn ang="0">
                    <a:pos x="46" y="2"/>
                  </a:cxn>
                  <a:cxn ang="0">
                    <a:pos x="43" y="2"/>
                  </a:cxn>
                  <a:cxn ang="0">
                    <a:pos x="40" y="1"/>
                  </a:cxn>
                  <a:cxn ang="0">
                    <a:pos x="35" y="2"/>
                  </a:cxn>
                  <a:cxn ang="0">
                    <a:pos x="31" y="4"/>
                  </a:cxn>
                  <a:cxn ang="0">
                    <a:pos x="28" y="6"/>
                  </a:cxn>
                  <a:cxn ang="0">
                    <a:pos x="23" y="6"/>
                  </a:cxn>
                  <a:cxn ang="0">
                    <a:pos x="20" y="5"/>
                  </a:cxn>
                  <a:cxn ang="0">
                    <a:pos x="17" y="6"/>
                  </a:cxn>
                  <a:cxn ang="0">
                    <a:pos x="12" y="5"/>
                  </a:cxn>
                  <a:cxn ang="0">
                    <a:pos x="9" y="4"/>
                  </a:cxn>
                  <a:cxn ang="0">
                    <a:pos x="4" y="3"/>
                  </a:cxn>
                  <a:cxn ang="0">
                    <a:pos x="5" y="1"/>
                  </a:cxn>
                  <a:cxn ang="0">
                    <a:pos x="2" y="0"/>
                  </a:cxn>
                  <a:cxn ang="0">
                    <a:pos x="1" y="2"/>
                  </a:cxn>
                  <a:cxn ang="0">
                    <a:pos x="1" y="7"/>
                  </a:cxn>
                  <a:cxn ang="0">
                    <a:pos x="4" y="9"/>
                  </a:cxn>
                  <a:cxn ang="0">
                    <a:pos x="6" y="12"/>
                  </a:cxn>
                  <a:cxn ang="0">
                    <a:pos x="3" y="14"/>
                  </a:cxn>
                  <a:cxn ang="0">
                    <a:pos x="2" y="16"/>
                  </a:cxn>
                  <a:cxn ang="0">
                    <a:pos x="2" y="19"/>
                  </a:cxn>
                  <a:cxn ang="0">
                    <a:pos x="2" y="22"/>
                  </a:cxn>
                  <a:cxn ang="0">
                    <a:pos x="5" y="24"/>
                  </a:cxn>
                  <a:cxn ang="0">
                    <a:pos x="7" y="27"/>
                  </a:cxn>
                  <a:cxn ang="0">
                    <a:pos x="6" y="31"/>
                  </a:cxn>
                  <a:cxn ang="0">
                    <a:pos x="10" y="31"/>
                  </a:cxn>
                  <a:cxn ang="0">
                    <a:pos x="13" y="31"/>
                  </a:cxn>
                  <a:cxn ang="0">
                    <a:pos x="14" y="30"/>
                  </a:cxn>
                  <a:cxn ang="0">
                    <a:pos x="16" y="30"/>
                  </a:cxn>
                  <a:cxn ang="0">
                    <a:pos x="17" y="29"/>
                  </a:cxn>
                  <a:cxn ang="0">
                    <a:pos x="20" y="29"/>
                  </a:cxn>
                  <a:cxn ang="0">
                    <a:pos x="22" y="30"/>
                  </a:cxn>
                  <a:cxn ang="0">
                    <a:pos x="24" y="30"/>
                  </a:cxn>
                  <a:cxn ang="0">
                    <a:pos x="27" y="32"/>
                  </a:cxn>
                  <a:cxn ang="0">
                    <a:pos x="29" y="32"/>
                  </a:cxn>
                  <a:cxn ang="0">
                    <a:pos x="31" y="32"/>
                  </a:cxn>
                  <a:cxn ang="0">
                    <a:pos x="32" y="31"/>
                  </a:cxn>
                  <a:cxn ang="0">
                    <a:pos x="35" y="30"/>
                  </a:cxn>
                  <a:cxn ang="0">
                    <a:pos x="35" y="28"/>
                  </a:cxn>
                  <a:cxn ang="0">
                    <a:pos x="37" y="27"/>
                  </a:cxn>
                  <a:cxn ang="0">
                    <a:pos x="38" y="26"/>
                  </a:cxn>
                  <a:cxn ang="0">
                    <a:pos x="41" y="24"/>
                  </a:cxn>
                  <a:cxn ang="0">
                    <a:pos x="43" y="23"/>
                  </a:cxn>
                  <a:cxn ang="0">
                    <a:pos x="46" y="24"/>
                  </a:cxn>
                  <a:cxn ang="0">
                    <a:pos x="48" y="25"/>
                  </a:cxn>
                  <a:cxn ang="0">
                    <a:pos x="49" y="25"/>
                  </a:cxn>
                  <a:cxn ang="0">
                    <a:pos x="51" y="24"/>
                  </a:cxn>
                  <a:cxn ang="0">
                    <a:pos x="49" y="20"/>
                  </a:cxn>
                  <a:cxn ang="0">
                    <a:pos x="48" y="20"/>
                  </a:cxn>
                  <a:cxn ang="0">
                    <a:pos x="47" y="19"/>
                  </a:cxn>
                  <a:cxn ang="0">
                    <a:pos x="46" y="19"/>
                  </a:cxn>
                  <a:cxn ang="0">
                    <a:pos x="48" y="17"/>
                  </a:cxn>
                  <a:cxn ang="0">
                    <a:pos x="49" y="15"/>
                  </a:cxn>
                  <a:cxn ang="0">
                    <a:pos x="49" y="12"/>
                  </a:cxn>
                  <a:cxn ang="0">
                    <a:pos x="50" y="11"/>
                  </a:cxn>
                  <a:cxn ang="0">
                    <a:pos x="52" y="9"/>
                  </a:cxn>
                  <a:cxn ang="0">
                    <a:pos x="55" y="8"/>
                  </a:cxn>
                </a:cxnLst>
                <a:rect l="0" t="0" r="r" b="b"/>
                <a:pathLst>
                  <a:path w="55" h="32">
                    <a:moveTo>
                      <a:pt x="54" y="5"/>
                    </a:moveTo>
                    <a:cubicBezTo>
                      <a:pt x="53" y="5"/>
                      <a:pt x="52" y="5"/>
                      <a:pt x="51" y="5"/>
                    </a:cubicBezTo>
                    <a:cubicBezTo>
                      <a:pt x="50" y="5"/>
                      <a:pt x="50" y="4"/>
                      <a:pt x="49" y="4"/>
                    </a:cubicBezTo>
                    <a:cubicBezTo>
                      <a:pt x="49" y="3"/>
                      <a:pt x="49" y="3"/>
                      <a:pt x="49" y="3"/>
                    </a:cubicBezTo>
                    <a:cubicBezTo>
                      <a:pt x="48" y="2"/>
                      <a:pt x="48" y="3"/>
                      <a:pt x="47" y="3"/>
                    </a:cubicBezTo>
                    <a:cubicBezTo>
                      <a:pt x="46" y="3"/>
                      <a:pt x="47" y="2"/>
                      <a:pt x="46" y="2"/>
                    </a:cubicBezTo>
                    <a:cubicBezTo>
                      <a:pt x="46" y="2"/>
                      <a:pt x="45" y="2"/>
                      <a:pt x="45" y="2"/>
                    </a:cubicBezTo>
                    <a:cubicBezTo>
                      <a:pt x="44" y="2"/>
                      <a:pt x="44" y="2"/>
                      <a:pt x="43" y="2"/>
                    </a:cubicBezTo>
                    <a:cubicBezTo>
                      <a:pt x="43" y="2"/>
                      <a:pt x="43" y="1"/>
                      <a:pt x="42" y="1"/>
                    </a:cubicBezTo>
                    <a:cubicBezTo>
                      <a:pt x="42" y="1"/>
                      <a:pt x="41" y="1"/>
                      <a:pt x="40" y="1"/>
                    </a:cubicBezTo>
                    <a:cubicBezTo>
                      <a:pt x="39" y="1"/>
                      <a:pt x="38" y="1"/>
                      <a:pt x="38" y="1"/>
                    </a:cubicBezTo>
                    <a:cubicBezTo>
                      <a:pt x="37" y="2"/>
                      <a:pt x="36" y="2"/>
                      <a:pt x="35" y="2"/>
                    </a:cubicBezTo>
                    <a:cubicBezTo>
                      <a:pt x="34" y="2"/>
                      <a:pt x="34" y="2"/>
                      <a:pt x="33" y="2"/>
                    </a:cubicBezTo>
                    <a:cubicBezTo>
                      <a:pt x="33" y="3"/>
                      <a:pt x="32" y="3"/>
                      <a:pt x="31" y="4"/>
                    </a:cubicBezTo>
                    <a:cubicBezTo>
                      <a:pt x="31" y="4"/>
                      <a:pt x="30" y="5"/>
                      <a:pt x="30" y="5"/>
                    </a:cubicBezTo>
                    <a:cubicBezTo>
                      <a:pt x="30" y="6"/>
                      <a:pt x="29" y="6"/>
                      <a:pt x="28" y="6"/>
                    </a:cubicBezTo>
                    <a:cubicBezTo>
                      <a:pt x="27" y="6"/>
                      <a:pt x="27" y="7"/>
                      <a:pt x="26" y="6"/>
                    </a:cubicBezTo>
                    <a:cubicBezTo>
                      <a:pt x="25" y="6"/>
                      <a:pt x="24" y="6"/>
                      <a:pt x="23" y="6"/>
                    </a:cubicBezTo>
                    <a:cubicBezTo>
                      <a:pt x="23" y="5"/>
                      <a:pt x="22" y="5"/>
                      <a:pt x="21" y="5"/>
                    </a:cubicBezTo>
                    <a:cubicBezTo>
                      <a:pt x="21" y="5"/>
                      <a:pt x="21" y="5"/>
                      <a:pt x="20" y="5"/>
                    </a:cubicBezTo>
                    <a:cubicBezTo>
                      <a:pt x="20" y="5"/>
                      <a:pt x="20" y="5"/>
                      <a:pt x="19" y="5"/>
                    </a:cubicBezTo>
                    <a:cubicBezTo>
                      <a:pt x="18" y="5"/>
                      <a:pt x="18" y="5"/>
                      <a:pt x="17" y="6"/>
                    </a:cubicBezTo>
                    <a:cubicBezTo>
                      <a:pt x="16" y="6"/>
                      <a:pt x="15" y="6"/>
                      <a:pt x="15" y="5"/>
                    </a:cubicBezTo>
                    <a:cubicBezTo>
                      <a:pt x="14" y="5"/>
                      <a:pt x="13" y="5"/>
                      <a:pt x="12" y="5"/>
                    </a:cubicBezTo>
                    <a:cubicBezTo>
                      <a:pt x="12" y="4"/>
                      <a:pt x="11" y="5"/>
                      <a:pt x="11" y="4"/>
                    </a:cubicBezTo>
                    <a:cubicBezTo>
                      <a:pt x="10" y="4"/>
                      <a:pt x="9" y="4"/>
                      <a:pt x="9" y="4"/>
                    </a:cubicBezTo>
                    <a:cubicBezTo>
                      <a:pt x="8" y="4"/>
                      <a:pt x="7" y="4"/>
                      <a:pt x="6" y="4"/>
                    </a:cubicBezTo>
                    <a:cubicBezTo>
                      <a:pt x="5" y="5"/>
                      <a:pt x="3" y="4"/>
                      <a:pt x="4" y="3"/>
                    </a:cubicBezTo>
                    <a:cubicBezTo>
                      <a:pt x="4" y="2"/>
                      <a:pt x="6" y="2"/>
                      <a:pt x="6" y="1"/>
                    </a:cubicBezTo>
                    <a:cubicBezTo>
                      <a:pt x="5" y="1"/>
                      <a:pt x="5" y="1"/>
                      <a:pt x="5" y="1"/>
                    </a:cubicBezTo>
                    <a:cubicBezTo>
                      <a:pt x="4" y="1"/>
                      <a:pt x="4" y="1"/>
                      <a:pt x="4" y="1"/>
                    </a:cubicBezTo>
                    <a:cubicBezTo>
                      <a:pt x="3" y="0"/>
                      <a:pt x="3" y="0"/>
                      <a:pt x="2" y="0"/>
                    </a:cubicBezTo>
                    <a:cubicBezTo>
                      <a:pt x="2" y="0"/>
                      <a:pt x="2" y="1"/>
                      <a:pt x="2" y="1"/>
                    </a:cubicBezTo>
                    <a:cubicBezTo>
                      <a:pt x="2" y="2"/>
                      <a:pt x="1" y="2"/>
                      <a:pt x="1" y="2"/>
                    </a:cubicBezTo>
                    <a:cubicBezTo>
                      <a:pt x="0" y="2"/>
                      <a:pt x="0" y="4"/>
                      <a:pt x="0" y="5"/>
                    </a:cubicBezTo>
                    <a:cubicBezTo>
                      <a:pt x="0" y="6"/>
                      <a:pt x="1" y="6"/>
                      <a:pt x="1" y="7"/>
                    </a:cubicBezTo>
                    <a:cubicBezTo>
                      <a:pt x="1" y="8"/>
                      <a:pt x="2" y="8"/>
                      <a:pt x="2" y="8"/>
                    </a:cubicBezTo>
                    <a:cubicBezTo>
                      <a:pt x="3" y="9"/>
                      <a:pt x="3" y="9"/>
                      <a:pt x="4" y="9"/>
                    </a:cubicBezTo>
                    <a:cubicBezTo>
                      <a:pt x="4" y="10"/>
                      <a:pt x="5" y="10"/>
                      <a:pt x="5" y="11"/>
                    </a:cubicBezTo>
                    <a:cubicBezTo>
                      <a:pt x="6" y="11"/>
                      <a:pt x="6" y="11"/>
                      <a:pt x="6" y="12"/>
                    </a:cubicBezTo>
                    <a:cubicBezTo>
                      <a:pt x="5" y="12"/>
                      <a:pt x="5" y="13"/>
                      <a:pt x="5" y="13"/>
                    </a:cubicBezTo>
                    <a:cubicBezTo>
                      <a:pt x="4" y="13"/>
                      <a:pt x="4" y="14"/>
                      <a:pt x="3" y="14"/>
                    </a:cubicBezTo>
                    <a:cubicBezTo>
                      <a:pt x="3" y="15"/>
                      <a:pt x="2" y="14"/>
                      <a:pt x="2" y="15"/>
                    </a:cubicBezTo>
                    <a:cubicBezTo>
                      <a:pt x="1" y="15"/>
                      <a:pt x="2" y="15"/>
                      <a:pt x="2" y="16"/>
                    </a:cubicBezTo>
                    <a:cubicBezTo>
                      <a:pt x="1" y="17"/>
                      <a:pt x="1" y="17"/>
                      <a:pt x="2" y="18"/>
                    </a:cubicBezTo>
                    <a:cubicBezTo>
                      <a:pt x="2" y="18"/>
                      <a:pt x="3" y="19"/>
                      <a:pt x="2" y="19"/>
                    </a:cubicBezTo>
                    <a:cubicBezTo>
                      <a:pt x="2" y="20"/>
                      <a:pt x="1" y="20"/>
                      <a:pt x="1" y="21"/>
                    </a:cubicBezTo>
                    <a:cubicBezTo>
                      <a:pt x="1" y="21"/>
                      <a:pt x="2" y="21"/>
                      <a:pt x="2" y="22"/>
                    </a:cubicBezTo>
                    <a:cubicBezTo>
                      <a:pt x="3" y="22"/>
                      <a:pt x="3" y="23"/>
                      <a:pt x="4" y="23"/>
                    </a:cubicBezTo>
                    <a:cubicBezTo>
                      <a:pt x="4" y="23"/>
                      <a:pt x="5" y="23"/>
                      <a:pt x="5" y="24"/>
                    </a:cubicBezTo>
                    <a:cubicBezTo>
                      <a:pt x="6" y="24"/>
                      <a:pt x="6" y="25"/>
                      <a:pt x="6" y="26"/>
                    </a:cubicBezTo>
                    <a:cubicBezTo>
                      <a:pt x="6" y="26"/>
                      <a:pt x="7" y="27"/>
                      <a:pt x="7" y="27"/>
                    </a:cubicBezTo>
                    <a:cubicBezTo>
                      <a:pt x="7" y="27"/>
                      <a:pt x="6" y="28"/>
                      <a:pt x="6" y="28"/>
                    </a:cubicBezTo>
                    <a:cubicBezTo>
                      <a:pt x="7" y="29"/>
                      <a:pt x="7" y="31"/>
                      <a:pt x="6" y="31"/>
                    </a:cubicBezTo>
                    <a:cubicBezTo>
                      <a:pt x="7" y="31"/>
                      <a:pt x="8" y="32"/>
                      <a:pt x="9" y="31"/>
                    </a:cubicBezTo>
                    <a:cubicBezTo>
                      <a:pt x="9" y="31"/>
                      <a:pt x="9" y="30"/>
                      <a:pt x="10" y="31"/>
                    </a:cubicBezTo>
                    <a:cubicBezTo>
                      <a:pt x="10" y="31"/>
                      <a:pt x="10" y="31"/>
                      <a:pt x="10" y="31"/>
                    </a:cubicBezTo>
                    <a:cubicBezTo>
                      <a:pt x="11" y="30"/>
                      <a:pt x="12" y="31"/>
                      <a:pt x="13" y="31"/>
                    </a:cubicBezTo>
                    <a:cubicBezTo>
                      <a:pt x="13" y="30"/>
                      <a:pt x="14" y="31"/>
                      <a:pt x="14" y="30"/>
                    </a:cubicBezTo>
                    <a:cubicBezTo>
                      <a:pt x="14" y="30"/>
                      <a:pt x="14" y="30"/>
                      <a:pt x="14" y="30"/>
                    </a:cubicBezTo>
                    <a:cubicBezTo>
                      <a:pt x="14" y="30"/>
                      <a:pt x="15" y="30"/>
                      <a:pt x="15" y="30"/>
                    </a:cubicBezTo>
                    <a:cubicBezTo>
                      <a:pt x="15" y="30"/>
                      <a:pt x="15" y="30"/>
                      <a:pt x="16" y="30"/>
                    </a:cubicBezTo>
                    <a:cubicBezTo>
                      <a:pt x="16" y="30"/>
                      <a:pt x="16" y="29"/>
                      <a:pt x="16" y="29"/>
                    </a:cubicBezTo>
                    <a:cubicBezTo>
                      <a:pt x="17" y="29"/>
                      <a:pt x="17" y="29"/>
                      <a:pt x="17" y="29"/>
                    </a:cubicBezTo>
                    <a:cubicBezTo>
                      <a:pt x="18" y="29"/>
                      <a:pt x="18" y="28"/>
                      <a:pt x="18" y="29"/>
                    </a:cubicBezTo>
                    <a:cubicBezTo>
                      <a:pt x="19" y="29"/>
                      <a:pt x="20" y="29"/>
                      <a:pt x="20" y="29"/>
                    </a:cubicBezTo>
                    <a:cubicBezTo>
                      <a:pt x="21" y="29"/>
                      <a:pt x="21" y="29"/>
                      <a:pt x="21" y="29"/>
                    </a:cubicBezTo>
                    <a:cubicBezTo>
                      <a:pt x="21" y="30"/>
                      <a:pt x="21" y="30"/>
                      <a:pt x="22" y="30"/>
                    </a:cubicBezTo>
                    <a:cubicBezTo>
                      <a:pt x="22" y="30"/>
                      <a:pt x="23" y="31"/>
                      <a:pt x="23" y="31"/>
                    </a:cubicBezTo>
                    <a:cubicBezTo>
                      <a:pt x="23" y="31"/>
                      <a:pt x="23" y="30"/>
                      <a:pt x="24" y="30"/>
                    </a:cubicBezTo>
                    <a:cubicBezTo>
                      <a:pt x="24" y="31"/>
                      <a:pt x="25" y="31"/>
                      <a:pt x="25" y="31"/>
                    </a:cubicBezTo>
                    <a:cubicBezTo>
                      <a:pt x="26" y="31"/>
                      <a:pt x="26" y="31"/>
                      <a:pt x="27" y="32"/>
                    </a:cubicBezTo>
                    <a:cubicBezTo>
                      <a:pt x="27" y="32"/>
                      <a:pt x="27" y="32"/>
                      <a:pt x="27" y="32"/>
                    </a:cubicBezTo>
                    <a:cubicBezTo>
                      <a:pt x="28" y="32"/>
                      <a:pt x="28" y="32"/>
                      <a:pt x="29" y="32"/>
                    </a:cubicBezTo>
                    <a:cubicBezTo>
                      <a:pt x="29" y="32"/>
                      <a:pt x="30" y="31"/>
                      <a:pt x="30" y="32"/>
                    </a:cubicBezTo>
                    <a:cubicBezTo>
                      <a:pt x="31" y="32"/>
                      <a:pt x="31" y="32"/>
                      <a:pt x="31" y="32"/>
                    </a:cubicBezTo>
                    <a:cubicBezTo>
                      <a:pt x="31" y="32"/>
                      <a:pt x="31" y="32"/>
                      <a:pt x="31" y="31"/>
                    </a:cubicBezTo>
                    <a:cubicBezTo>
                      <a:pt x="32" y="31"/>
                      <a:pt x="32" y="31"/>
                      <a:pt x="32" y="31"/>
                    </a:cubicBezTo>
                    <a:cubicBezTo>
                      <a:pt x="33" y="32"/>
                      <a:pt x="35" y="31"/>
                      <a:pt x="35" y="31"/>
                    </a:cubicBezTo>
                    <a:cubicBezTo>
                      <a:pt x="35" y="31"/>
                      <a:pt x="35" y="30"/>
                      <a:pt x="35" y="30"/>
                    </a:cubicBezTo>
                    <a:cubicBezTo>
                      <a:pt x="35" y="30"/>
                      <a:pt x="35" y="29"/>
                      <a:pt x="35" y="29"/>
                    </a:cubicBezTo>
                    <a:cubicBezTo>
                      <a:pt x="35" y="29"/>
                      <a:pt x="35" y="28"/>
                      <a:pt x="35" y="28"/>
                    </a:cubicBezTo>
                    <a:cubicBezTo>
                      <a:pt x="34" y="28"/>
                      <a:pt x="34" y="28"/>
                      <a:pt x="34" y="27"/>
                    </a:cubicBezTo>
                    <a:cubicBezTo>
                      <a:pt x="35" y="26"/>
                      <a:pt x="36" y="27"/>
                      <a:pt x="37" y="27"/>
                    </a:cubicBezTo>
                    <a:cubicBezTo>
                      <a:pt x="36" y="27"/>
                      <a:pt x="37" y="26"/>
                      <a:pt x="37" y="26"/>
                    </a:cubicBezTo>
                    <a:cubicBezTo>
                      <a:pt x="38" y="26"/>
                      <a:pt x="38" y="26"/>
                      <a:pt x="38" y="26"/>
                    </a:cubicBezTo>
                    <a:cubicBezTo>
                      <a:pt x="38" y="25"/>
                      <a:pt x="38" y="25"/>
                      <a:pt x="38" y="25"/>
                    </a:cubicBezTo>
                    <a:cubicBezTo>
                      <a:pt x="38" y="24"/>
                      <a:pt x="40" y="25"/>
                      <a:pt x="41" y="24"/>
                    </a:cubicBezTo>
                    <a:cubicBezTo>
                      <a:pt x="42" y="24"/>
                      <a:pt x="42" y="23"/>
                      <a:pt x="43" y="23"/>
                    </a:cubicBezTo>
                    <a:cubicBezTo>
                      <a:pt x="43" y="23"/>
                      <a:pt x="43" y="23"/>
                      <a:pt x="43" y="23"/>
                    </a:cubicBezTo>
                    <a:cubicBezTo>
                      <a:pt x="44" y="23"/>
                      <a:pt x="44" y="23"/>
                      <a:pt x="44" y="23"/>
                    </a:cubicBezTo>
                    <a:cubicBezTo>
                      <a:pt x="45" y="23"/>
                      <a:pt x="45" y="24"/>
                      <a:pt x="46" y="24"/>
                    </a:cubicBezTo>
                    <a:cubicBezTo>
                      <a:pt x="46" y="24"/>
                      <a:pt x="47" y="25"/>
                      <a:pt x="47" y="25"/>
                    </a:cubicBezTo>
                    <a:cubicBezTo>
                      <a:pt x="47" y="25"/>
                      <a:pt x="48" y="24"/>
                      <a:pt x="48" y="25"/>
                    </a:cubicBezTo>
                    <a:cubicBezTo>
                      <a:pt x="48" y="24"/>
                      <a:pt x="48" y="24"/>
                      <a:pt x="48" y="24"/>
                    </a:cubicBezTo>
                    <a:cubicBezTo>
                      <a:pt x="49" y="24"/>
                      <a:pt x="49" y="25"/>
                      <a:pt x="49" y="25"/>
                    </a:cubicBezTo>
                    <a:cubicBezTo>
                      <a:pt x="49" y="24"/>
                      <a:pt x="49" y="24"/>
                      <a:pt x="49" y="24"/>
                    </a:cubicBezTo>
                    <a:cubicBezTo>
                      <a:pt x="50" y="24"/>
                      <a:pt x="50" y="24"/>
                      <a:pt x="51" y="24"/>
                    </a:cubicBezTo>
                    <a:cubicBezTo>
                      <a:pt x="51" y="24"/>
                      <a:pt x="49" y="22"/>
                      <a:pt x="49" y="21"/>
                    </a:cubicBezTo>
                    <a:cubicBezTo>
                      <a:pt x="48" y="21"/>
                      <a:pt x="49" y="21"/>
                      <a:pt x="49" y="20"/>
                    </a:cubicBezTo>
                    <a:cubicBezTo>
                      <a:pt x="48" y="20"/>
                      <a:pt x="48" y="20"/>
                      <a:pt x="48" y="20"/>
                    </a:cubicBezTo>
                    <a:cubicBezTo>
                      <a:pt x="48" y="20"/>
                      <a:pt x="48" y="20"/>
                      <a:pt x="48" y="20"/>
                    </a:cubicBezTo>
                    <a:cubicBezTo>
                      <a:pt x="48" y="19"/>
                      <a:pt x="48" y="20"/>
                      <a:pt x="47" y="19"/>
                    </a:cubicBezTo>
                    <a:cubicBezTo>
                      <a:pt x="47" y="19"/>
                      <a:pt x="47" y="19"/>
                      <a:pt x="47" y="19"/>
                    </a:cubicBezTo>
                    <a:cubicBezTo>
                      <a:pt x="47" y="19"/>
                      <a:pt x="47" y="19"/>
                      <a:pt x="46" y="19"/>
                    </a:cubicBezTo>
                    <a:cubicBezTo>
                      <a:pt x="46" y="19"/>
                      <a:pt x="46" y="19"/>
                      <a:pt x="46" y="19"/>
                    </a:cubicBezTo>
                    <a:cubicBezTo>
                      <a:pt x="45" y="19"/>
                      <a:pt x="46" y="18"/>
                      <a:pt x="47" y="18"/>
                    </a:cubicBezTo>
                    <a:cubicBezTo>
                      <a:pt x="47" y="17"/>
                      <a:pt x="47" y="17"/>
                      <a:pt x="48" y="17"/>
                    </a:cubicBezTo>
                    <a:cubicBezTo>
                      <a:pt x="47" y="16"/>
                      <a:pt x="48" y="16"/>
                      <a:pt x="49" y="16"/>
                    </a:cubicBezTo>
                    <a:cubicBezTo>
                      <a:pt x="49" y="16"/>
                      <a:pt x="49" y="16"/>
                      <a:pt x="49" y="15"/>
                    </a:cubicBezTo>
                    <a:cubicBezTo>
                      <a:pt x="49" y="15"/>
                      <a:pt x="49" y="14"/>
                      <a:pt x="49" y="14"/>
                    </a:cubicBezTo>
                    <a:cubicBezTo>
                      <a:pt x="49" y="13"/>
                      <a:pt x="49" y="13"/>
                      <a:pt x="49" y="12"/>
                    </a:cubicBezTo>
                    <a:cubicBezTo>
                      <a:pt x="49" y="12"/>
                      <a:pt x="49" y="11"/>
                      <a:pt x="49" y="11"/>
                    </a:cubicBezTo>
                    <a:cubicBezTo>
                      <a:pt x="49" y="11"/>
                      <a:pt x="49" y="11"/>
                      <a:pt x="50" y="11"/>
                    </a:cubicBezTo>
                    <a:cubicBezTo>
                      <a:pt x="50" y="11"/>
                      <a:pt x="50" y="9"/>
                      <a:pt x="51" y="9"/>
                    </a:cubicBezTo>
                    <a:cubicBezTo>
                      <a:pt x="51" y="9"/>
                      <a:pt x="51" y="9"/>
                      <a:pt x="52" y="9"/>
                    </a:cubicBezTo>
                    <a:cubicBezTo>
                      <a:pt x="52" y="9"/>
                      <a:pt x="53" y="9"/>
                      <a:pt x="53" y="9"/>
                    </a:cubicBezTo>
                    <a:cubicBezTo>
                      <a:pt x="54" y="9"/>
                      <a:pt x="54" y="9"/>
                      <a:pt x="55" y="8"/>
                    </a:cubicBezTo>
                    <a:cubicBezTo>
                      <a:pt x="55" y="7"/>
                      <a:pt x="54" y="6"/>
                      <a:pt x="54" y="5"/>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6" name="Brunei">
                <a:extLst>
                  <a:ext uri="{FF2B5EF4-FFF2-40B4-BE49-F238E27FC236}">
                    <a16:creationId xmlns:a16="http://schemas.microsoft.com/office/drawing/2014/main" id="{F648FD15-68C7-3691-88B8-D936131FE3E0}"/>
                  </a:ext>
                </a:extLst>
              </p:cNvPr>
              <p:cNvSpPr>
                <a:spLocks noEditPoints="1"/>
              </p:cNvSpPr>
              <p:nvPr/>
            </p:nvSpPr>
            <p:spPr bwMode="auto">
              <a:xfrm>
                <a:off x="9613419" y="3845376"/>
                <a:ext cx="42147" cy="43128"/>
              </a:xfrm>
              <a:custGeom>
                <a:avLst/>
                <a:gdLst/>
                <a:ahLst/>
                <a:cxnLst>
                  <a:cxn ang="0">
                    <a:pos x="8" y="3"/>
                  </a:cxn>
                  <a:cxn ang="0">
                    <a:pos x="7" y="3"/>
                  </a:cxn>
                  <a:cxn ang="0">
                    <a:pos x="6" y="5"/>
                  </a:cxn>
                  <a:cxn ang="0">
                    <a:pos x="7" y="8"/>
                  </a:cxn>
                  <a:cxn ang="0">
                    <a:pos x="7" y="8"/>
                  </a:cxn>
                  <a:cxn ang="0">
                    <a:pos x="7" y="9"/>
                  </a:cxn>
                  <a:cxn ang="0">
                    <a:pos x="7" y="9"/>
                  </a:cxn>
                  <a:cxn ang="0">
                    <a:pos x="6" y="11"/>
                  </a:cxn>
                  <a:cxn ang="0">
                    <a:pos x="5" y="12"/>
                  </a:cxn>
                  <a:cxn ang="0">
                    <a:pos x="4" y="10"/>
                  </a:cxn>
                  <a:cxn ang="0">
                    <a:pos x="3" y="9"/>
                  </a:cxn>
                  <a:cxn ang="0">
                    <a:pos x="2" y="8"/>
                  </a:cxn>
                  <a:cxn ang="0">
                    <a:pos x="0" y="6"/>
                  </a:cxn>
                  <a:cxn ang="0">
                    <a:pos x="4" y="4"/>
                  </a:cxn>
                  <a:cxn ang="0">
                    <a:pos x="7" y="2"/>
                  </a:cxn>
                  <a:cxn ang="0">
                    <a:pos x="8" y="1"/>
                  </a:cxn>
                  <a:cxn ang="0">
                    <a:pos x="8" y="2"/>
                  </a:cxn>
                  <a:cxn ang="0">
                    <a:pos x="8" y="3"/>
                  </a:cxn>
                  <a:cxn ang="0">
                    <a:pos x="11" y="7"/>
                  </a:cxn>
                  <a:cxn ang="0">
                    <a:pos x="11" y="5"/>
                  </a:cxn>
                  <a:cxn ang="0">
                    <a:pos x="10" y="3"/>
                  </a:cxn>
                  <a:cxn ang="0">
                    <a:pos x="10" y="2"/>
                  </a:cxn>
                  <a:cxn ang="0">
                    <a:pos x="10" y="3"/>
                  </a:cxn>
                  <a:cxn ang="0">
                    <a:pos x="9" y="4"/>
                  </a:cxn>
                  <a:cxn ang="0">
                    <a:pos x="9" y="3"/>
                  </a:cxn>
                  <a:cxn ang="0">
                    <a:pos x="9" y="6"/>
                  </a:cxn>
                  <a:cxn ang="0">
                    <a:pos x="10" y="8"/>
                  </a:cxn>
                  <a:cxn ang="0">
                    <a:pos x="12" y="9"/>
                  </a:cxn>
                  <a:cxn ang="0">
                    <a:pos x="11" y="7"/>
                  </a:cxn>
                </a:cxnLst>
                <a:rect l="0" t="0" r="r" b="b"/>
                <a:pathLst>
                  <a:path w="12" h="12">
                    <a:moveTo>
                      <a:pt x="8" y="3"/>
                    </a:moveTo>
                    <a:cubicBezTo>
                      <a:pt x="8" y="3"/>
                      <a:pt x="8" y="3"/>
                      <a:pt x="7" y="3"/>
                    </a:cubicBezTo>
                    <a:cubicBezTo>
                      <a:pt x="7" y="4"/>
                      <a:pt x="6" y="4"/>
                      <a:pt x="6" y="5"/>
                    </a:cubicBezTo>
                    <a:cubicBezTo>
                      <a:pt x="7" y="6"/>
                      <a:pt x="7" y="7"/>
                      <a:pt x="7" y="8"/>
                    </a:cubicBezTo>
                    <a:cubicBezTo>
                      <a:pt x="7" y="8"/>
                      <a:pt x="7" y="7"/>
                      <a:pt x="7" y="8"/>
                    </a:cubicBezTo>
                    <a:cubicBezTo>
                      <a:pt x="7" y="8"/>
                      <a:pt x="7" y="9"/>
                      <a:pt x="7" y="9"/>
                    </a:cubicBezTo>
                    <a:cubicBezTo>
                      <a:pt x="7" y="9"/>
                      <a:pt x="7" y="9"/>
                      <a:pt x="7" y="9"/>
                    </a:cubicBezTo>
                    <a:cubicBezTo>
                      <a:pt x="7" y="10"/>
                      <a:pt x="7" y="11"/>
                      <a:pt x="6" y="11"/>
                    </a:cubicBezTo>
                    <a:cubicBezTo>
                      <a:pt x="6" y="12"/>
                      <a:pt x="5" y="12"/>
                      <a:pt x="5" y="12"/>
                    </a:cubicBezTo>
                    <a:cubicBezTo>
                      <a:pt x="4" y="11"/>
                      <a:pt x="4" y="11"/>
                      <a:pt x="4" y="10"/>
                    </a:cubicBezTo>
                    <a:cubicBezTo>
                      <a:pt x="3" y="9"/>
                      <a:pt x="3" y="9"/>
                      <a:pt x="3" y="9"/>
                    </a:cubicBezTo>
                    <a:cubicBezTo>
                      <a:pt x="2" y="9"/>
                      <a:pt x="2" y="9"/>
                      <a:pt x="2" y="8"/>
                    </a:cubicBezTo>
                    <a:cubicBezTo>
                      <a:pt x="2" y="7"/>
                      <a:pt x="1" y="6"/>
                      <a:pt x="0" y="6"/>
                    </a:cubicBezTo>
                    <a:cubicBezTo>
                      <a:pt x="1" y="6"/>
                      <a:pt x="3" y="5"/>
                      <a:pt x="4" y="4"/>
                    </a:cubicBezTo>
                    <a:cubicBezTo>
                      <a:pt x="5" y="3"/>
                      <a:pt x="6" y="3"/>
                      <a:pt x="7" y="2"/>
                    </a:cubicBezTo>
                    <a:cubicBezTo>
                      <a:pt x="7" y="1"/>
                      <a:pt x="8" y="1"/>
                      <a:pt x="8" y="1"/>
                    </a:cubicBezTo>
                    <a:cubicBezTo>
                      <a:pt x="10" y="0"/>
                      <a:pt x="9" y="2"/>
                      <a:pt x="8" y="2"/>
                    </a:cubicBezTo>
                    <a:cubicBezTo>
                      <a:pt x="9" y="2"/>
                      <a:pt x="8" y="3"/>
                      <a:pt x="8" y="3"/>
                    </a:cubicBezTo>
                    <a:close/>
                    <a:moveTo>
                      <a:pt x="11" y="7"/>
                    </a:moveTo>
                    <a:cubicBezTo>
                      <a:pt x="11" y="6"/>
                      <a:pt x="11" y="6"/>
                      <a:pt x="11" y="5"/>
                    </a:cubicBezTo>
                    <a:cubicBezTo>
                      <a:pt x="11" y="5"/>
                      <a:pt x="10" y="3"/>
                      <a:pt x="10" y="3"/>
                    </a:cubicBezTo>
                    <a:cubicBezTo>
                      <a:pt x="10" y="2"/>
                      <a:pt x="10" y="2"/>
                      <a:pt x="10" y="2"/>
                    </a:cubicBezTo>
                    <a:cubicBezTo>
                      <a:pt x="9" y="3"/>
                      <a:pt x="10" y="3"/>
                      <a:pt x="10" y="3"/>
                    </a:cubicBezTo>
                    <a:cubicBezTo>
                      <a:pt x="9" y="3"/>
                      <a:pt x="9" y="3"/>
                      <a:pt x="9" y="4"/>
                    </a:cubicBezTo>
                    <a:cubicBezTo>
                      <a:pt x="9" y="3"/>
                      <a:pt x="9" y="3"/>
                      <a:pt x="9" y="3"/>
                    </a:cubicBezTo>
                    <a:cubicBezTo>
                      <a:pt x="9" y="4"/>
                      <a:pt x="9" y="5"/>
                      <a:pt x="9" y="6"/>
                    </a:cubicBezTo>
                    <a:cubicBezTo>
                      <a:pt x="9" y="7"/>
                      <a:pt x="9" y="8"/>
                      <a:pt x="10" y="8"/>
                    </a:cubicBezTo>
                    <a:cubicBezTo>
                      <a:pt x="10" y="8"/>
                      <a:pt x="12" y="9"/>
                      <a:pt x="12" y="9"/>
                    </a:cubicBezTo>
                    <a:cubicBezTo>
                      <a:pt x="12" y="8"/>
                      <a:pt x="11" y="8"/>
                      <a:pt x="11" y="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7" name="British Virgin Islands">
                <a:extLst>
                  <a:ext uri="{FF2B5EF4-FFF2-40B4-BE49-F238E27FC236}">
                    <a16:creationId xmlns:a16="http://schemas.microsoft.com/office/drawing/2014/main" id="{87DCC82D-ADD5-4DEA-0E4B-D2FF667E5241}"/>
                  </a:ext>
                </a:extLst>
              </p:cNvPr>
              <p:cNvSpPr>
                <a:spLocks noEditPoints="1"/>
              </p:cNvSpPr>
              <p:nvPr/>
            </p:nvSpPr>
            <p:spPr bwMode="auto">
              <a:xfrm>
                <a:off x="3508958" y="3317068"/>
                <a:ext cx="14703" cy="10781"/>
              </a:xfrm>
              <a:custGeom>
                <a:avLst/>
                <a:gdLst/>
                <a:ahLst/>
                <a:cxnLst>
                  <a:cxn ang="0">
                    <a:pos x="2" y="2"/>
                  </a:cxn>
                  <a:cxn ang="0">
                    <a:pos x="1" y="3"/>
                  </a:cxn>
                  <a:cxn ang="0">
                    <a:pos x="2" y="2"/>
                  </a:cxn>
                  <a:cxn ang="0">
                    <a:pos x="4" y="0"/>
                  </a:cxn>
                  <a:cxn ang="0">
                    <a:pos x="3" y="0"/>
                  </a:cxn>
                  <a:cxn ang="0">
                    <a:pos x="3" y="1"/>
                  </a:cxn>
                  <a:cxn ang="0">
                    <a:pos x="4" y="1"/>
                  </a:cxn>
                  <a:cxn ang="0">
                    <a:pos x="4" y="0"/>
                  </a:cxn>
                </a:cxnLst>
                <a:rect l="0" t="0" r="r" b="b"/>
                <a:pathLst>
                  <a:path w="4" h="3">
                    <a:moveTo>
                      <a:pt x="2" y="2"/>
                    </a:moveTo>
                    <a:cubicBezTo>
                      <a:pt x="2" y="3"/>
                      <a:pt x="1" y="3"/>
                      <a:pt x="1" y="3"/>
                    </a:cubicBezTo>
                    <a:cubicBezTo>
                      <a:pt x="0" y="3"/>
                      <a:pt x="1" y="2"/>
                      <a:pt x="2" y="2"/>
                    </a:cubicBezTo>
                    <a:close/>
                    <a:moveTo>
                      <a:pt x="4" y="0"/>
                    </a:moveTo>
                    <a:cubicBezTo>
                      <a:pt x="3" y="0"/>
                      <a:pt x="3" y="0"/>
                      <a:pt x="3" y="0"/>
                    </a:cubicBezTo>
                    <a:cubicBezTo>
                      <a:pt x="3" y="0"/>
                      <a:pt x="3" y="1"/>
                      <a:pt x="3" y="1"/>
                    </a:cubicBezTo>
                    <a:cubicBezTo>
                      <a:pt x="3" y="0"/>
                      <a:pt x="4" y="0"/>
                      <a:pt x="4" y="1"/>
                    </a:cubicBezTo>
                    <a:cubicBezTo>
                      <a:pt x="4" y="0"/>
                      <a:pt x="4" y="0"/>
                      <a:pt x="4" y="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8" name="British Indian Ocean Territory">
                <a:extLst>
                  <a:ext uri="{FF2B5EF4-FFF2-40B4-BE49-F238E27FC236}">
                    <a16:creationId xmlns:a16="http://schemas.microsoft.com/office/drawing/2014/main" id="{8F21E965-73F8-0490-E28C-79A6B428C490}"/>
                  </a:ext>
                </a:extLst>
              </p:cNvPr>
              <p:cNvSpPr>
                <a:spLocks noEditPoints="1"/>
              </p:cNvSpPr>
              <p:nvPr/>
            </p:nvSpPr>
            <p:spPr bwMode="auto">
              <a:xfrm>
                <a:off x="8140233" y="4250184"/>
                <a:ext cx="39207" cy="84295"/>
              </a:xfrm>
              <a:custGeom>
                <a:avLst/>
                <a:gdLst/>
                <a:ahLst/>
                <a:cxnLst>
                  <a:cxn ang="0">
                    <a:pos x="10" y="1"/>
                  </a:cxn>
                  <a:cxn ang="0">
                    <a:pos x="10" y="1"/>
                  </a:cxn>
                  <a:cxn ang="0">
                    <a:pos x="10" y="1"/>
                  </a:cxn>
                  <a:cxn ang="0">
                    <a:pos x="5" y="0"/>
                  </a:cxn>
                  <a:cxn ang="0">
                    <a:pos x="5" y="0"/>
                  </a:cxn>
                  <a:cxn ang="0">
                    <a:pos x="5" y="0"/>
                  </a:cxn>
                  <a:cxn ang="0">
                    <a:pos x="5" y="2"/>
                  </a:cxn>
                  <a:cxn ang="0">
                    <a:pos x="5" y="2"/>
                  </a:cxn>
                  <a:cxn ang="0">
                    <a:pos x="5" y="2"/>
                  </a:cxn>
                  <a:cxn ang="0">
                    <a:pos x="1" y="10"/>
                  </a:cxn>
                  <a:cxn ang="0">
                    <a:pos x="1" y="10"/>
                  </a:cxn>
                  <a:cxn ang="0">
                    <a:pos x="1" y="10"/>
                  </a:cxn>
                  <a:cxn ang="0">
                    <a:pos x="0" y="12"/>
                  </a:cxn>
                  <a:cxn ang="0">
                    <a:pos x="0" y="12"/>
                  </a:cxn>
                  <a:cxn ang="0">
                    <a:pos x="0" y="12"/>
                  </a:cxn>
                  <a:cxn ang="0">
                    <a:pos x="1" y="15"/>
                  </a:cxn>
                  <a:cxn ang="0">
                    <a:pos x="0" y="15"/>
                  </a:cxn>
                  <a:cxn ang="0">
                    <a:pos x="1" y="15"/>
                  </a:cxn>
                  <a:cxn ang="0">
                    <a:pos x="6" y="1"/>
                  </a:cxn>
                  <a:cxn ang="0">
                    <a:pos x="6" y="1"/>
                  </a:cxn>
                  <a:cxn ang="0">
                    <a:pos x="6" y="1"/>
                  </a:cxn>
                  <a:cxn ang="0">
                    <a:pos x="6" y="1"/>
                  </a:cxn>
                  <a:cxn ang="0">
                    <a:pos x="6" y="1"/>
                  </a:cxn>
                  <a:cxn ang="0">
                    <a:pos x="9" y="1"/>
                  </a:cxn>
                  <a:cxn ang="0">
                    <a:pos x="9" y="1"/>
                  </a:cxn>
                  <a:cxn ang="0">
                    <a:pos x="9" y="1"/>
                  </a:cxn>
                  <a:cxn ang="0">
                    <a:pos x="11" y="23"/>
                  </a:cxn>
                  <a:cxn ang="0">
                    <a:pos x="11" y="24"/>
                  </a:cxn>
                  <a:cxn ang="0">
                    <a:pos x="10" y="22"/>
                  </a:cxn>
                  <a:cxn ang="0">
                    <a:pos x="11" y="23"/>
                  </a:cxn>
                  <a:cxn ang="0">
                    <a:pos x="11" y="23"/>
                  </a:cxn>
                  <a:cxn ang="0">
                    <a:pos x="11" y="24"/>
                  </a:cxn>
                  <a:cxn ang="0">
                    <a:pos x="11" y="23"/>
                  </a:cxn>
                </a:cxnLst>
                <a:rect l="0" t="0" r="r" b="b"/>
                <a:pathLst>
                  <a:path w="11" h="24">
                    <a:moveTo>
                      <a:pt x="10" y="1"/>
                    </a:moveTo>
                    <a:cubicBezTo>
                      <a:pt x="10" y="1"/>
                      <a:pt x="10" y="1"/>
                      <a:pt x="10" y="1"/>
                    </a:cubicBezTo>
                    <a:cubicBezTo>
                      <a:pt x="10" y="1"/>
                      <a:pt x="10" y="1"/>
                      <a:pt x="10" y="1"/>
                    </a:cubicBezTo>
                    <a:close/>
                    <a:moveTo>
                      <a:pt x="5" y="0"/>
                    </a:moveTo>
                    <a:cubicBezTo>
                      <a:pt x="5" y="0"/>
                      <a:pt x="5" y="0"/>
                      <a:pt x="5" y="0"/>
                    </a:cubicBezTo>
                    <a:cubicBezTo>
                      <a:pt x="5" y="0"/>
                      <a:pt x="5" y="0"/>
                      <a:pt x="5" y="0"/>
                    </a:cubicBezTo>
                    <a:close/>
                    <a:moveTo>
                      <a:pt x="5" y="2"/>
                    </a:moveTo>
                    <a:cubicBezTo>
                      <a:pt x="5" y="2"/>
                      <a:pt x="5" y="2"/>
                      <a:pt x="5" y="2"/>
                    </a:cubicBezTo>
                    <a:cubicBezTo>
                      <a:pt x="5" y="2"/>
                      <a:pt x="5" y="2"/>
                      <a:pt x="5" y="2"/>
                    </a:cubicBezTo>
                    <a:close/>
                    <a:moveTo>
                      <a:pt x="1" y="10"/>
                    </a:moveTo>
                    <a:cubicBezTo>
                      <a:pt x="1" y="10"/>
                      <a:pt x="1" y="10"/>
                      <a:pt x="1" y="10"/>
                    </a:cubicBezTo>
                    <a:cubicBezTo>
                      <a:pt x="1" y="10"/>
                      <a:pt x="1" y="10"/>
                      <a:pt x="1" y="10"/>
                    </a:cubicBezTo>
                    <a:close/>
                    <a:moveTo>
                      <a:pt x="0" y="12"/>
                    </a:moveTo>
                    <a:cubicBezTo>
                      <a:pt x="0" y="12"/>
                      <a:pt x="0" y="12"/>
                      <a:pt x="0" y="12"/>
                    </a:cubicBezTo>
                    <a:cubicBezTo>
                      <a:pt x="0" y="12"/>
                      <a:pt x="0" y="12"/>
                      <a:pt x="0" y="12"/>
                    </a:cubicBezTo>
                    <a:close/>
                    <a:moveTo>
                      <a:pt x="1" y="15"/>
                    </a:moveTo>
                    <a:cubicBezTo>
                      <a:pt x="1" y="15"/>
                      <a:pt x="1" y="15"/>
                      <a:pt x="0" y="15"/>
                    </a:cubicBezTo>
                    <a:cubicBezTo>
                      <a:pt x="0" y="15"/>
                      <a:pt x="1" y="15"/>
                      <a:pt x="1" y="15"/>
                    </a:cubicBezTo>
                    <a:close/>
                    <a:moveTo>
                      <a:pt x="6" y="1"/>
                    </a:moveTo>
                    <a:cubicBezTo>
                      <a:pt x="6" y="1"/>
                      <a:pt x="6" y="1"/>
                      <a:pt x="6" y="1"/>
                    </a:cubicBezTo>
                    <a:cubicBezTo>
                      <a:pt x="6" y="1"/>
                      <a:pt x="6" y="1"/>
                      <a:pt x="6" y="1"/>
                    </a:cubicBezTo>
                    <a:cubicBezTo>
                      <a:pt x="6" y="1"/>
                      <a:pt x="6" y="1"/>
                      <a:pt x="6" y="1"/>
                    </a:cubicBezTo>
                    <a:cubicBezTo>
                      <a:pt x="6" y="1"/>
                      <a:pt x="6" y="1"/>
                      <a:pt x="6" y="1"/>
                    </a:cubicBezTo>
                    <a:close/>
                    <a:moveTo>
                      <a:pt x="9" y="1"/>
                    </a:moveTo>
                    <a:cubicBezTo>
                      <a:pt x="9" y="1"/>
                      <a:pt x="9" y="1"/>
                      <a:pt x="9" y="1"/>
                    </a:cubicBezTo>
                    <a:cubicBezTo>
                      <a:pt x="9" y="1"/>
                      <a:pt x="9" y="1"/>
                      <a:pt x="9" y="1"/>
                    </a:cubicBezTo>
                    <a:close/>
                    <a:moveTo>
                      <a:pt x="11" y="23"/>
                    </a:moveTo>
                    <a:cubicBezTo>
                      <a:pt x="11" y="23"/>
                      <a:pt x="11" y="23"/>
                      <a:pt x="11" y="24"/>
                    </a:cubicBezTo>
                    <a:cubicBezTo>
                      <a:pt x="11" y="23"/>
                      <a:pt x="11" y="23"/>
                      <a:pt x="10" y="22"/>
                    </a:cubicBezTo>
                    <a:cubicBezTo>
                      <a:pt x="10" y="22"/>
                      <a:pt x="10" y="22"/>
                      <a:pt x="11" y="23"/>
                    </a:cubicBezTo>
                    <a:cubicBezTo>
                      <a:pt x="11" y="23"/>
                      <a:pt x="11" y="23"/>
                      <a:pt x="11" y="23"/>
                    </a:cubicBezTo>
                    <a:cubicBezTo>
                      <a:pt x="11" y="23"/>
                      <a:pt x="11" y="24"/>
                      <a:pt x="11" y="24"/>
                    </a:cubicBezTo>
                    <a:cubicBezTo>
                      <a:pt x="11" y="24"/>
                      <a:pt x="11" y="23"/>
                      <a:pt x="11" y="2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69" name="Brazil">
                <a:extLst>
                  <a:ext uri="{FF2B5EF4-FFF2-40B4-BE49-F238E27FC236}">
                    <a16:creationId xmlns:a16="http://schemas.microsoft.com/office/drawing/2014/main" id="{4718BCBC-36D5-D0C7-FAB7-43E56886AFB5}"/>
                  </a:ext>
                </a:extLst>
              </p:cNvPr>
              <p:cNvSpPr>
                <a:spLocks noEditPoints="1"/>
              </p:cNvSpPr>
              <p:nvPr/>
            </p:nvSpPr>
            <p:spPr bwMode="auto">
              <a:xfrm>
                <a:off x="3158060" y="3838515"/>
                <a:ext cx="1554541" cy="1521215"/>
              </a:xfrm>
              <a:custGeom>
                <a:avLst/>
                <a:gdLst/>
                <a:ahLst/>
                <a:cxnLst>
                  <a:cxn ang="0">
                    <a:pos x="228" y="55"/>
                  </a:cxn>
                  <a:cxn ang="0">
                    <a:pos x="219" y="69"/>
                  </a:cxn>
                  <a:cxn ang="0">
                    <a:pos x="223" y="70"/>
                  </a:cxn>
                  <a:cxn ang="0">
                    <a:pos x="245" y="67"/>
                  </a:cxn>
                  <a:cxn ang="0">
                    <a:pos x="369" y="114"/>
                  </a:cxn>
                  <a:cxn ang="0">
                    <a:pos x="331" y="92"/>
                  </a:cxn>
                  <a:cxn ang="0">
                    <a:pos x="302" y="87"/>
                  </a:cxn>
                  <a:cxn ang="0">
                    <a:pos x="289" y="89"/>
                  </a:cxn>
                  <a:cxn ang="0">
                    <a:pos x="284" y="92"/>
                  </a:cxn>
                  <a:cxn ang="0">
                    <a:pos x="281" y="83"/>
                  </a:cxn>
                  <a:cxn ang="0">
                    <a:pos x="280" y="76"/>
                  </a:cxn>
                  <a:cxn ang="0">
                    <a:pos x="275" y="74"/>
                  </a:cxn>
                  <a:cxn ang="0">
                    <a:pos x="270" y="72"/>
                  </a:cxn>
                  <a:cxn ang="0">
                    <a:pos x="264" y="69"/>
                  </a:cxn>
                  <a:cxn ang="0">
                    <a:pos x="258" y="65"/>
                  </a:cxn>
                  <a:cxn ang="0">
                    <a:pos x="249" y="74"/>
                  </a:cxn>
                  <a:cxn ang="0">
                    <a:pos x="233" y="79"/>
                  </a:cxn>
                  <a:cxn ang="0">
                    <a:pos x="214" y="74"/>
                  </a:cxn>
                  <a:cxn ang="0">
                    <a:pos x="228" y="50"/>
                  </a:cxn>
                  <a:cxn ang="0">
                    <a:pos x="220" y="16"/>
                  </a:cxn>
                  <a:cxn ang="0">
                    <a:pos x="199" y="33"/>
                  </a:cxn>
                  <a:cxn ang="0">
                    <a:pos x="173" y="31"/>
                  </a:cxn>
                  <a:cxn ang="0">
                    <a:pos x="149" y="44"/>
                  </a:cxn>
                  <a:cxn ang="0">
                    <a:pos x="137" y="10"/>
                  </a:cxn>
                  <a:cxn ang="0">
                    <a:pos x="114" y="13"/>
                  </a:cxn>
                  <a:cxn ang="0">
                    <a:pos x="94" y="19"/>
                  </a:cxn>
                  <a:cxn ang="0">
                    <a:pos x="83" y="48"/>
                  </a:cxn>
                  <a:cxn ang="0">
                    <a:pos x="40" y="39"/>
                  </a:cxn>
                  <a:cxn ang="0">
                    <a:pos x="38" y="62"/>
                  </a:cxn>
                  <a:cxn ang="0">
                    <a:pos x="26" y="106"/>
                  </a:cxn>
                  <a:cxn ang="0">
                    <a:pos x="5" y="132"/>
                  </a:cxn>
                  <a:cxn ang="0">
                    <a:pos x="11" y="159"/>
                  </a:cxn>
                  <a:cxn ang="0">
                    <a:pos x="36" y="179"/>
                  </a:cxn>
                  <a:cxn ang="0">
                    <a:pos x="76" y="166"/>
                  </a:cxn>
                  <a:cxn ang="0">
                    <a:pos x="86" y="182"/>
                  </a:cxn>
                  <a:cxn ang="0">
                    <a:pos x="110" y="198"/>
                  </a:cxn>
                  <a:cxn ang="0">
                    <a:pos x="137" y="219"/>
                  </a:cxn>
                  <a:cxn ang="0">
                    <a:pos x="166" y="255"/>
                  </a:cxn>
                  <a:cxn ang="0">
                    <a:pos x="167" y="287"/>
                  </a:cxn>
                  <a:cxn ang="0">
                    <a:pos x="178" y="303"/>
                  </a:cxn>
                  <a:cxn ang="0">
                    <a:pos x="204" y="321"/>
                  </a:cxn>
                  <a:cxn ang="0">
                    <a:pos x="214" y="346"/>
                  </a:cxn>
                  <a:cxn ang="0">
                    <a:pos x="203" y="364"/>
                  </a:cxn>
                  <a:cxn ang="0">
                    <a:pos x="187" y="385"/>
                  </a:cxn>
                  <a:cxn ang="0">
                    <a:pos x="210" y="402"/>
                  </a:cxn>
                  <a:cxn ang="0">
                    <a:pos x="239" y="411"/>
                  </a:cxn>
                  <a:cxn ang="0">
                    <a:pos x="243" y="394"/>
                  </a:cxn>
                  <a:cxn ang="0">
                    <a:pos x="249" y="392"/>
                  </a:cxn>
                  <a:cxn ang="0">
                    <a:pos x="250" y="397"/>
                  </a:cxn>
                  <a:cxn ang="0">
                    <a:pos x="263" y="356"/>
                  </a:cxn>
                  <a:cxn ang="0">
                    <a:pos x="261" y="339"/>
                  </a:cxn>
                  <a:cxn ang="0">
                    <a:pos x="272" y="328"/>
                  </a:cxn>
                  <a:cxn ang="0">
                    <a:pos x="293" y="315"/>
                  </a:cxn>
                  <a:cxn ang="0">
                    <a:pos x="302" y="312"/>
                  </a:cxn>
                  <a:cxn ang="0">
                    <a:pos x="328" y="296"/>
                  </a:cxn>
                  <a:cxn ang="0">
                    <a:pos x="342" y="254"/>
                  </a:cxn>
                  <a:cxn ang="0">
                    <a:pos x="341" y="211"/>
                  </a:cxn>
                  <a:cxn ang="0">
                    <a:pos x="346" y="200"/>
                  </a:cxn>
                  <a:cxn ang="0">
                    <a:pos x="359" y="179"/>
                  </a:cxn>
                  <a:cxn ang="0">
                    <a:pos x="378" y="154"/>
                  </a:cxn>
                  <a:cxn ang="0">
                    <a:pos x="230" y="58"/>
                  </a:cxn>
                  <a:cxn ang="0">
                    <a:pos x="291" y="322"/>
                  </a:cxn>
                  <a:cxn ang="0">
                    <a:pos x="299" y="312"/>
                  </a:cxn>
                </a:cxnLst>
                <a:rect l="0" t="0" r="r" b="b"/>
                <a:pathLst>
                  <a:path w="439" h="429">
                    <a:moveTo>
                      <a:pt x="229" y="50"/>
                    </a:moveTo>
                    <a:cubicBezTo>
                      <a:pt x="228" y="50"/>
                      <a:pt x="229" y="49"/>
                      <a:pt x="229" y="49"/>
                    </a:cubicBezTo>
                    <a:cubicBezTo>
                      <a:pt x="230" y="48"/>
                      <a:pt x="230" y="49"/>
                      <a:pt x="231" y="48"/>
                    </a:cubicBezTo>
                    <a:cubicBezTo>
                      <a:pt x="231" y="50"/>
                      <a:pt x="229" y="50"/>
                      <a:pt x="229" y="50"/>
                    </a:cubicBezTo>
                    <a:close/>
                    <a:moveTo>
                      <a:pt x="227" y="34"/>
                    </a:moveTo>
                    <a:cubicBezTo>
                      <a:pt x="226" y="34"/>
                      <a:pt x="226" y="35"/>
                      <a:pt x="226" y="35"/>
                    </a:cubicBezTo>
                    <a:cubicBezTo>
                      <a:pt x="227" y="35"/>
                      <a:pt x="228" y="34"/>
                      <a:pt x="227" y="34"/>
                    </a:cubicBezTo>
                    <a:close/>
                    <a:moveTo>
                      <a:pt x="225" y="57"/>
                    </a:moveTo>
                    <a:cubicBezTo>
                      <a:pt x="225" y="57"/>
                      <a:pt x="225" y="58"/>
                      <a:pt x="225" y="58"/>
                    </a:cubicBezTo>
                    <a:cubicBezTo>
                      <a:pt x="227" y="59"/>
                      <a:pt x="227" y="57"/>
                      <a:pt x="226" y="57"/>
                    </a:cubicBezTo>
                    <a:cubicBezTo>
                      <a:pt x="226" y="56"/>
                      <a:pt x="225" y="56"/>
                      <a:pt x="225" y="57"/>
                    </a:cubicBezTo>
                    <a:close/>
                    <a:moveTo>
                      <a:pt x="229" y="54"/>
                    </a:moveTo>
                    <a:cubicBezTo>
                      <a:pt x="229" y="54"/>
                      <a:pt x="230" y="53"/>
                      <a:pt x="231" y="52"/>
                    </a:cubicBezTo>
                    <a:cubicBezTo>
                      <a:pt x="231" y="52"/>
                      <a:pt x="231" y="51"/>
                      <a:pt x="230" y="51"/>
                    </a:cubicBezTo>
                    <a:cubicBezTo>
                      <a:pt x="230" y="51"/>
                      <a:pt x="230" y="52"/>
                      <a:pt x="230" y="52"/>
                    </a:cubicBezTo>
                    <a:cubicBezTo>
                      <a:pt x="230" y="52"/>
                      <a:pt x="229" y="52"/>
                      <a:pt x="229" y="52"/>
                    </a:cubicBezTo>
                    <a:cubicBezTo>
                      <a:pt x="229" y="52"/>
                      <a:pt x="228" y="52"/>
                      <a:pt x="228" y="53"/>
                    </a:cubicBezTo>
                    <a:cubicBezTo>
                      <a:pt x="228" y="53"/>
                      <a:pt x="228" y="55"/>
                      <a:pt x="229" y="54"/>
                    </a:cubicBezTo>
                    <a:close/>
                    <a:moveTo>
                      <a:pt x="227" y="38"/>
                    </a:moveTo>
                    <a:cubicBezTo>
                      <a:pt x="229" y="37"/>
                      <a:pt x="228" y="35"/>
                      <a:pt x="227" y="35"/>
                    </a:cubicBezTo>
                    <a:cubicBezTo>
                      <a:pt x="226" y="35"/>
                      <a:pt x="226" y="37"/>
                      <a:pt x="227" y="38"/>
                    </a:cubicBezTo>
                    <a:close/>
                    <a:moveTo>
                      <a:pt x="227" y="56"/>
                    </a:moveTo>
                    <a:cubicBezTo>
                      <a:pt x="227" y="56"/>
                      <a:pt x="227" y="56"/>
                      <a:pt x="228" y="55"/>
                    </a:cubicBezTo>
                    <a:cubicBezTo>
                      <a:pt x="228" y="55"/>
                      <a:pt x="228" y="54"/>
                      <a:pt x="228" y="54"/>
                    </a:cubicBezTo>
                    <a:cubicBezTo>
                      <a:pt x="228" y="54"/>
                      <a:pt x="228" y="51"/>
                      <a:pt x="227" y="52"/>
                    </a:cubicBezTo>
                    <a:cubicBezTo>
                      <a:pt x="227" y="52"/>
                      <a:pt x="227" y="53"/>
                      <a:pt x="227" y="53"/>
                    </a:cubicBezTo>
                    <a:cubicBezTo>
                      <a:pt x="227" y="54"/>
                      <a:pt x="227" y="54"/>
                      <a:pt x="226" y="55"/>
                    </a:cubicBezTo>
                    <a:cubicBezTo>
                      <a:pt x="226" y="56"/>
                      <a:pt x="225" y="56"/>
                      <a:pt x="227" y="56"/>
                    </a:cubicBezTo>
                    <a:close/>
                    <a:moveTo>
                      <a:pt x="233" y="60"/>
                    </a:moveTo>
                    <a:cubicBezTo>
                      <a:pt x="234" y="60"/>
                      <a:pt x="236" y="60"/>
                      <a:pt x="236" y="59"/>
                    </a:cubicBezTo>
                    <a:cubicBezTo>
                      <a:pt x="237" y="59"/>
                      <a:pt x="237" y="58"/>
                      <a:pt x="236" y="57"/>
                    </a:cubicBezTo>
                    <a:cubicBezTo>
                      <a:pt x="235" y="57"/>
                      <a:pt x="234" y="58"/>
                      <a:pt x="233" y="58"/>
                    </a:cubicBezTo>
                    <a:cubicBezTo>
                      <a:pt x="233" y="59"/>
                      <a:pt x="232" y="59"/>
                      <a:pt x="233" y="60"/>
                    </a:cubicBezTo>
                    <a:close/>
                    <a:moveTo>
                      <a:pt x="220" y="60"/>
                    </a:moveTo>
                    <a:cubicBezTo>
                      <a:pt x="220" y="60"/>
                      <a:pt x="220" y="60"/>
                      <a:pt x="220" y="60"/>
                    </a:cubicBezTo>
                    <a:cubicBezTo>
                      <a:pt x="219" y="60"/>
                      <a:pt x="219" y="61"/>
                      <a:pt x="219" y="61"/>
                    </a:cubicBezTo>
                    <a:cubicBezTo>
                      <a:pt x="218" y="62"/>
                      <a:pt x="218" y="62"/>
                      <a:pt x="218" y="63"/>
                    </a:cubicBezTo>
                    <a:cubicBezTo>
                      <a:pt x="218" y="63"/>
                      <a:pt x="217" y="63"/>
                      <a:pt x="218" y="64"/>
                    </a:cubicBezTo>
                    <a:cubicBezTo>
                      <a:pt x="219" y="63"/>
                      <a:pt x="219" y="62"/>
                      <a:pt x="220" y="61"/>
                    </a:cubicBezTo>
                    <a:cubicBezTo>
                      <a:pt x="221" y="61"/>
                      <a:pt x="220" y="61"/>
                      <a:pt x="220" y="60"/>
                    </a:cubicBezTo>
                    <a:close/>
                    <a:moveTo>
                      <a:pt x="213" y="71"/>
                    </a:moveTo>
                    <a:cubicBezTo>
                      <a:pt x="213" y="72"/>
                      <a:pt x="213" y="73"/>
                      <a:pt x="212" y="73"/>
                    </a:cubicBezTo>
                    <a:cubicBezTo>
                      <a:pt x="212" y="74"/>
                      <a:pt x="212" y="74"/>
                      <a:pt x="213" y="74"/>
                    </a:cubicBezTo>
                    <a:cubicBezTo>
                      <a:pt x="214" y="74"/>
                      <a:pt x="216" y="73"/>
                      <a:pt x="217" y="72"/>
                    </a:cubicBezTo>
                    <a:cubicBezTo>
                      <a:pt x="217" y="71"/>
                      <a:pt x="217" y="71"/>
                      <a:pt x="218" y="70"/>
                    </a:cubicBezTo>
                    <a:cubicBezTo>
                      <a:pt x="218" y="70"/>
                      <a:pt x="219" y="70"/>
                      <a:pt x="219" y="69"/>
                    </a:cubicBezTo>
                    <a:cubicBezTo>
                      <a:pt x="219" y="68"/>
                      <a:pt x="219" y="68"/>
                      <a:pt x="219" y="67"/>
                    </a:cubicBezTo>
                    <a:cubicBezTo>
                      <a:pt x="220" y="67"/>
                      <a:pt x="220" y="66"/>
                      <a:pt x="220" y="65"/>
                    </a:cubicBezTo>
                    <a:cubicBezTo>
                      <a:pt x="220" y="65"/>
                      <a:pt x="220" y="64"/>
                      <a:pt x="219" y="64"/>
                    </a:cubicBezTo>
                    <a:cubicBezTo>
                      <a:pt x="219" y="64"/>
                      <a:pt x="219" y="64"/>
                      <a:pt x="218" y="64"/>
                    </a:cubicBezTo>
                    <a:cubicBezTo>
                      <a:pt x="216" y="64"/>
                      <a:pt x="215" y="67"/>
                      <a:pt x="215" y="69"/>
                    </a:cubicBezTo>
                    <a:cubicBezTo>
                      <a:pt x="215" y="70"/>
                      <a:pt x="215" y="70"/>
                      <a:pt x="214" y="71"/>
                    </a:cubicBezTo>
                    <a:cubicBezTo>
                      <a:pt x="214" y="71"/>
                      <a:pt x="213" y="71"/>
                      <a:pt x="213" y="71"/>
                    </a:cubicBezTo>
                    <a:close/>
                    <a:moveTo>
                      <a:pt x="237" y="61"/>
                    </a:moveTo>
                    <a:cubicBezTo>
                      <a:pt x="236" y="61"/>
                      <a:pt x="236" y="61"/>
                      <a:pt x="235" y="61"/>
                    </a:cubicBezTo>
                    <a:cubicBezTo>
                      <a:pt x="234" y="61"/>
                      <a:pt x="233" y="61"/>
                      <a:pt x="233" y="60"/>
                    </a:cubicBezTo>
                    <a:cubicBezTo>
                      <a:pt x="231" y="60"/>
                      <a:pt x="229" y="59"/>
                      <a:pt x="227" y="59"/>
                    </a:cubicBezTo>
                    <a:cubicBezTo>
                      <a:pt x="225" y="60"/>
                      <a:pt x="224" y="61"/>
                      <a:pt x="224" y="63"/>
                    </a:cubicBezTo>
                    <a:cubicBezTo>
                      <a:pt x="224" y="63"/>
                      <a:pt x="224" y="64"/>
                      <a:pt x="224" y="65"/>
                    </a:cubicBezTo>
                    <a:cubicBezTo>
                      <a:pt x="225" y="65"/>
                      <a:pt x="225" y="65"/>
                      <a:pt x="226" y="66"/>
                    </a:cubicBezTo>
                    <a:cubicBezTo>
                      <a:pt x="225" y="66"/>
                      <a:pt x="225" y="66"/>
                      <a:pt x="224" y="65"/>
                    </a:cubicBezTo>
                    <a:cubicBezTo>
                      <a:pt x="224" y="65"/>
                      <a:pt x="224" y="64"/>
                      <a:pt x="224" y="64"/>
                    </a:cubicBezTo>
                    <a:cubicBezTo>
                      <a:pt x="223" y="65"/>
                      <a:pt x="223" y="66"/>
                      <a:pt x="224" y="67"/>
                    </a:cubicBezTo>
                    <a:cubicBezTo>
                      <a:pt x="223" y="67"/>
                      <a:pt x="223" y="70"/>
                      <a:pt x="224" y="70"/>
                    </a:cubicBezTo>
                    <a:cubicBezTo>
                      <a:pt x="224" y="71"/>
                      <a:pt x="226" y="69"/>
                      <a:pt x="226" y="70"/>
                    </a:cubicBezTo>
                    <a:cubicBezTo>
                      <a:pt x="226" y="70"/>
                      <a:pt x="226" y="70"/>
                      <a:pt x="226" y="70"/>
                    </a:cubicBezTo>
                    <a:cubicBezTo>
                      <a:pt x="226" y="70"/>
                      <a:pt x="225" y="71"/>
                      <a:pt x="225" y="71"/>
                    </a:cubicBezTo>
                    <a:cubicBezTo>
                      <a:pt x="225" y="71"/>
                      <a:pt x="226" y="71"/>
                      <a:pt x="226" y="71"/>
                    </a:cubicBezTo>
                    <a:cubicBezTo>
                      <a:pt x="225" y="71"/>
                      <a:pt x="223" y="70"/>
                      <a:pt x="223" y="70"/>
                    </a:cubicBezTo>
                    <a:cubicBezTo>
                      <a:pt x="223" y="72"/>
                      <a:pt x="223" y="73"/>
                      <a:pt x="224" y="74"/>
                    </a:cubicBezTo>
                    <a:cubicBezTo>
                      <a:pt x="224" y="75"/>
                      <a:pt x="225" y="76"/>
                      <a:pt x="225" y="77"/>
                    </a:cubicBezTo>
                    <a:cubicBezTo>
                      <a:pt x="225" y="77"/>
                      <a:pt x="225" y="78"/>
                      <a:pt x="226" y="78"/>
                    </a:cubicBezTo>
                    <a:cubicBezTo>
                      <a:pt x="226" y="78"/>
                      <a:pt x="227" y="78"/>
                      <a:pt x="228" y="78"/>
                    </a:cubicBezTo>
                    <a:cubicBezTo>
                      <a:pt x="228" y="78"/>
                      <a:pt x="228" y="78"/>
                      <a:pt x="228" y="78"/>
                    </a:cubicBezTo>
                    <a:cubicBezTo>
                      <a:pt x="228" y="78"/>
                      <a:pt x="230" y="78"/>
                      <a:pt x="230" y="77"/>
                    </a:cubicBezTo>
                    <a:cubicBezTo>
                      <a:pt x="231" y="77"/>
                      <a:pt x="231" y="78"/>
                      <a:pt x="232" y="78"/>
                    </a:cubicBezTo>
                    <a:cubicBezTo>
                      <a:pt x="232" y="78"/>
                      <a:pt x="233" y="79"/>
                      <a:pt x="233" y="78"/>
                    </a:cubicBezTo>
                    <a:cubicBezTo>
                      <a:pt x="234" y="78"/>
                      <a:pt x="233" y="76"/>
                      <a:pt x="233" y="76"/>
                    </a:cubicBezTo>
                    <a:cubicBezTo>
                      <a:pt x="234" y="77"/>
                      <a:pt x="234" y="78"/>
                      <a:pt x="234" y="78"/>
                    </a:cubicBezTo>
                    <a:cubicBezTo>
                      <a:pt x="235" y="77"/>
                      <a:pt x="236" y="76"/>
                      <a:pt x="236" y="75"/>
                    </a:cubicBezTo>
                    <a:cubicBezTo>
                      <a:pt x="236" y="75"/>
                      <a:pt x="237" y="77"/>
                      <a:pt x="237" y="76"/>
                    </a:cubicBezTo>
                    <a:cubicBezTo>
                      <a:pt x="238" y="76"/>
                      <a:pt x="238" y="76"/>
                      <a:pt x="239" y="76"/>
                    </a:cubicBezTo>
                    <a:cubicBezTo>
                      <a:pt x="239" y="76"/>
                      <a:pt x="240" y="76"/>
                      <a:pt x="240" y="75"/>
                    </a:cubicBezTo>
                    <a:cubicBezTo>
                      <a:pt x="241" y="75"/>
                      <a:pt x="242" y="75"/>
                      <a:pt x="242" y="75"/>
                    </a:cubicBezTo>
                    <a:cubicBezTo>
                      <a:pt x="242" y="74"/>
                      <a:pt x="242" y="74"/>
                      <a:pt x="242" y="74"/>
                    </a:cubicBezTo>
                    <a:cubicBezTo>
                      <a:pt x="243" y="73"/>
                      <a:pt x="243" y="73"/>
                      <a:pt x="243" y="72"/>
                    </a:cubicBezTo>
                    <a:cubicBezTo>
                      <a:pt x="243" y="72"/>
                      <a:pt x="243" y="71"/>
                      <a:pt x="243" y="71"/>
                    </a:cubicBezTo>
                    <a:cubicBezTo>
                      <a:pt x="243" y="71"/>
                      <a:pt x="244" y="71"/>
                      <a:pt x="244" y="71"/>
                    </a:cubicBezTo>
                    <a:cubicBezTo>
                      <a:pt x="244" y="70"/>
                      <a:pt x="244" y="70"/>
                      <a:pt x="244" y="70"/>
                    </a:cubicBezTo>
                    <a:cubicBezTo>
                      <a:pt x="244" y="70"/>
                      <a:pt x="244" y="70"/>
                      <a:pt x="244" y="70"/>
                    </a:cubicBezTo>
                    <a:cubicBezTo>
                      <a:pt x="244" y="69"/>
                      <a:pt x="244" y="69"/>
                      <a:pt x="245" y="68"/>
                    </a:cubicBezTo>
                    <a:cubicBezTo>
                      <a:pt x="245" y="68"/>
                      <a:pt x="245" y="67"/>
                      <a:pt x="245" y="67"/>
                    </a:cubicBezTo>
                    <a:cubicBezTo>
                      <a:pt x="245" y="67"/>
                      <a:pt x="245" y="66"/>
                      <a:pt x="245" y="66"/>
                    </a:cubicBezTo>
                    <a:cubicBezTo>
                      <a:pt x="246" y="67"/>
                      <a:pt x="246" y="66"/>
                      <a:pt x="246" y="65"/>
                    </a:cubicBezTo>
                    <a:cubicBezTo>
                      <a:pt x="246" y="64"/>
                      <a:pt x="246" y="64"/>
                      <a:pt x="246" y="63"/>
                    </a:cubicBezTo>
                    <a:cubicBezTo>
                      <a:pt x="247" y="61"/>
                      <a:pt x="246" y="61"/>
                      <a:pt x="245" y="61"/>
                    </a:cubicBezTo>
                    <a:cubicBezTo>
                      <a:pt x="244" y="61"/>
                      <a:pt x="243" y="61"/>
                      <a:pt x="242" y="61"/>
                    </a:cubicBezTo>
                    <a:cubicBezTo>
                      <a:pt x="241" y="61"/>
                      <a:pt x="241" y="60"/>
                      <a:pt x="240" y="60"/>
                    </a:cubicBezTo>
                    <a:cubicBezTo>
                      <a:pt x="240" y="60"/>
                      <a:pt x="239" y="60"/>
                      <a:pt x="239" y="60"/>
                    </a:cubicBezTo>
                    <a:cubicBezTo>
                      <a:pt x="239" y="59"/>
                      <a:pt x="239" y="60"/>
                      <a:pt x="238" y="60"/>
                    </a:cubicBezTo>
                    <a:cubicBezTo>
                      <a:pt x="238" y="60"/>
                      <a:pt x="236" y="60"/>
                      <a:pt x="237" y="61"/>
                    </a:cubicBezTo>
                    <a:close/>
                    <a:moveTo>
                      <a:pt x="380" y="139"/>
                    </a:moveTo>
                    <a:cubicBezTo>
                      <a:pt x="380" y="138"/>
                      <a:pt x="380" y="136"/>
                      <a:pt x="379" y="135"/>
                    </a:cubicBezTo>
                    <a:cubicBezTo>
                      <a:pt x="379" y="136"/>
                      <a:pt x="379" y="136"/>
                      <a:pt x="379" y="137"/>
                    </a:cubicBezTo>
                    <a:cubicBezTo>
                      <a:pt x="378" y="136"/>
                      <a:pt x="379" y="135"/>
                      <a:pt x="379" y="134"/>
                    </a:cubicBezTo>
                    <a:cubicBezTo>
                      <a:pt x="379" y="134"/>
                      <a:pt x="379" y="134"/>
                      <a:pt x="378" y="134"/>
                    </a:cubicBezTo>
                    <a:cubicBezTo>
                      <a:pt x="378" y="133"/>
                      <a:pt x="378" y="133"/>
                      <a:pt x="378" y="132"/>
                    </a:cubicBezTo>
                    <a:cubicBezTo>
                      <a:pt x="378" y="131"/>
                      <a:pt x="378" y="129"/>
                      <a:pt x="377" y="128"/>
                    </a:cubicBezTo>
                    <a:cubicBezTo>
                      <a:pt x="377" y="127"/>
                      <a:pt x="377" y="127"/>
                      <a:pt x="377" y="127"/>
                    </a:cubicBezTo>
                    <a:cubicBezTo>
                      <a:pt x="377" y="126"/>
                      <a:pt x="376" y="127"/>
                      <a:pt x="376" y="127"/>
                    </a:cubicBezTo>
                    <a:cubicBezTo>
                      <a:pt x="376" y="126"/>
                      <a:pt x="376" y="126"/>
                      <a:pt x="377" y="126"/>
                    </a:cubicBezTo>
                    <a:cubicBezTo>
                      <a:pt x="377" y="124"/>
                      <a:pt x="376" y="123"/>
                      <a:pt x="376" y="121"/>
                    </a:cubicBezTo>
                    <a:cubicBezTo>
                      <a:pt x="375" y="119"/>
                      <a:pt x="376" y="118"/>
                      <a:pt x="373" y="116"/>
                    </a:cubicBezTo>
                    <a:cubicBezTo>
                      <a:pt x="373" y="115"/>
                      <a:pt x="372" y="115"/>
                      <a:pt x="371" y="114"/>
                    </a:cubicBezTo>
                    <a:cubicBezTo>
                      <a:pt x="370" y="114"/>
                      <a:pt x="370" y="114"/>
                      <a:pt x="369" y="114"/>
                    </a:cubicBezTo>
                    <a:cubicBezTo>
                      <a:pt x="368" y="114"/>
                      <a:pt x="366" y="114"/>
                      <a:pt x="365" y="114"/>
                    </a:cubicBezTo>
                    <a:cubicBezTo>
                      <a:pt x="365" y="114"/>
                      <a:pt x="364" y="114"/>
                      <a:pt x="364" y="114"/>
                    </a:cubicBezTo>
                    <a:cubicBezTo>
                      <a:pt x="363" y="114"/>
                      <a:pt x="363" y="114"/>
                      <a:pt x="362" y="114"/>
                    </a:cubicBezTo>
                    <a:cubicBezTo>
                      <a:pt x="362" y="114"/>
                      <a:pt x="362" y="114"/>
                      <a:pt x="362" y="115"/>
                    </a:cubicBezTo>
                    <a:cubicBezTo>
                      <a:pt x="362" y="115"/>
                      <a:pt x="362" y="114"/>
                      <a:pt x="362" y="114"/>
                    </a:cubicBezTo>
                    <a:cubicBezTo>
                      <a:pt x="361" y="114"/>
                      <a:pt x="361" y="114"/>
                      <a:pt x="360" y="114"/>
                    </a:cubicBezTo>
                    <a:cubicBezTo>
                      <a:pt x="360" y="114"/>
                      <a:pt x="359" y="113"/>
                      <a:pt x="359" y="113"/>
                    </a:cubicBezTo>
                    <a:cubicBezTo>
                      <a:pt x="358" y="112"/>
                      <a:pt x="358" y="113"/>
                      <a:pt x="357" y="113"/>
                    </a:cubicBezTo>
                    <a:cubicBezTo>
                      <a:pt x="356" y="112"/>
                      <a:pt x="356" y="112"/>
                      <a:pt x="355" y="110"/>
                    </a:cubicBezTo>
                    <a:cubicBezTo>
                      <a:pt x="355" y="110"/>
                      <a:pt x="354" y="110"/>
                      <a:pt x="354" y="110"/>
                    </a:cubicBezTo>
                    <a:cubicBezTo>
                      <a:pt x="353" y="109"/>
                      <a:pt x="353" y="109"/>
                      <a:pt x="352" y="109"/>
                    </a:cubicBezTo>
                    <a:cubicBezTo>
                      <a:pt x="351" y="109"/>
                      <a:pt x="351" y="107"/>
                      <a:pt x="350" y="107"/>
                    </a:cubicBezTo>
                    <a:cubicBezTo>
                      <a:pt x="350" y="106"/>
                      <a:pt x="349" y="106"/>
                      <a:pt x="349" y="106"/>
                    </a:cubicBezTo>
                    <a:cubicBezTo>
                      <a:pt x="348" y="106"/>
                      <a:pt x="348" y="105"/>
                      <a:pt x="347" y="105"/>
                    </a:cubicBezTo>
                    <a:cubicBezTo>
                      <a:pt x="347" y="104"/>
                      <a:pt x="346" y="102"/>
                      <a:pt x="345" y="102"/>
                    </a:cubicBezTo>
                    <a:cubicBezTo>
                      <a:pt x="345" y="101"/>
                      <a:pt x="344" y="101"/>
                      <a:pt x="344" y="100"/>
                    </a:cubicBezTo>
                    <a:cubicBezTo>
                      <a:pt x="344" y="100"/>
                      <a:pt x="344" y="99"/>
                      <a:pt x="343" y="99"/>
                    </a:cubicBezTo>
                    <a:cubicBezTo>
                      <a:pt x="343" y="100"/>
                      <a:pt x="341" y="98"/>
                      <a:pt x="340" y="98"/>
                    </a:cubicBezTo>
                    <a:cubicBezTo>
                      <a:pt x="340" y="97"/>
                      <a:pt x="339" y="97"/>
                      <a:pt x="339" y="96"/>
                    </a:cubicBezTo>
                    <a:cubicBezTo>
                      <a:pt x="339" y="96"/>
                      <a:pt x="338" y="96"/>
                      <a:pt x="338" y="96"/>
                    </a:cubicBezTo>
                    <a:cubicBezTo>
                      <a:pt x="338" y="95"/>
                      <a:pt x="337" y="96"/>
                      <a:pt x="337" y="95"/>
                    </a:cubicBezTo>
                    <a:cubicBezTo>
                      <a:pt x="336" y="94"/>
                      <a:pt x="335" y="94"/>
                      <a:pt x="334" y="93"/>
                    </a:cubicBezTo>
                    <a:cubicBezTo>
                      <a:pt x="334" y="93"/>
                      <a:pt x="331" y="91"/>
                      <a:pt x="331" y="92"/>
                    </a:cubicBezTo>
                    <a:cubicBezTo>
                      <a:pt x="330" y="90"/>
                      <a:pt x="329" y="90"/>
                      <a:pt x="328" y="90"/>
                    </a:cubicBezTo>
                    <a:cubicBezTo>
                      <a:pt x="328" y="89"/>
                      <a:pt x="327" y="90"/>
                      <a:pt x="327" y="89"/>
                    </a:cubicBezTo>
                    <a:cubicBezTo>
                      <a:pt x="326" y="89"/>
                      <a:pt x="326" y="89"/>
                      <a:pt x="325" y="89"/>
                    </a:cubicBezTo>
                    <a:cubicBezTo>
                      <a:pt x="325" y="89"/>
                      <a:pt x="324" y="89"/>
                      <a:pt x="324" y="89"/>
                    </a:cubicBezTo>
                    <a:cubicBezTo>
                      <a:pt x="323" y="89"/>
                      <a:pt x="322" y="89"/>
                      <a:pt x="322" y="90"/>
                    </a:cubicBezTo>
                    <a:cubicBezTo>
                      <a:pt x="320" y="90"/>
                      <a:pt x="319" y="90"/>
                      <a:pt x="318" y="90"/>
                    </a:cubicBezTo>
                    <a:cubicBezTo>
                      <a:pt x="318" y="90"/>
                      <a:pt x="318" y="90"/>
                      <a:pt x="318" y="90"/>
                    </a:cubicBezTo>
                    <a:cubicBezTo>
                      <a:pt x="317" y="90"/>
                      <a:pt x="316" y="90"/>
                      <a:pt x="316" y="90"/>
                    </a:cubicBezTo>
                    <a:cubicBezTo>
                      <a:pt x="316" y="90"/>
                      <a:pt x="317" y="91"/>
                      <a:pt x="316" y="91"/>
                    </a:cubicBezTo>
                    <a:cubicBezTo>
                      <a:pt x="316" y="91"/>
                      <a:pt x="314" y="90"/>
                      <a:pt x="314" y="91"/>
                    </a:cubicBezTo>
                    <a:cubicBezTo>
                      <a:pt x="314" y="90"/>
                      <a:pt x="314" y="90"/>
                      <a:pt x="313" y="90"/>
                    </a:cubicBezTo>
                    <a:cubicBezTo>
                      <a:pt x="313" y="90"/>
                      <a:pt x="312" y="90"/>
                      <a:pt x="312" y="90"/>
                    </a:cubicBezTo>
                    <a:cubicBezTo>
                      <a:pt x="312" y="90"/>
                      <a:pt x="312" y="90"/>
                      <a:pt x="312" y="90"/>
                    </a:cubicBezTo>
                    <a:cubicBezTo>
                      <a:pt x="312" y="89"/>
                      <a:pt x="311" y="88"/>
                      <a:pt x="310" y="89"/>
                    </a:cubicBezTo>
                    <a:cubicBezTo>
                      <a:pt x="311" y="88"/>
                      <a:pt x="309" y="88"/>
                      <a:pt x="309" y="88"/>
                    </a:cubicBezTo>
                    <a:cubicBezTo>
                      <a:pt x="309" y="89"/>
                      <a:pt x="310" y="89"/>
                      <a:pt x="309" y="89"/>
                    </a:cubicBezTo>
                    <a:cubicBezTo>
                      <a:pt x="309" y="90"/>
                      <a:pt x="309" y="89"/>
                      <a:pt x="309" y="89"/>
                    </a:cubicBezTo>
                    <a:cubicBezTo>
                      <a:pt x="308" y="90"/>
                      <a:pt x="307" y="89"/>
                      <a:pt x="307" y="89"/>
                    </a:cubicBezTo>
                    <a:cubicBezTo>
                      <a:pt x="307" y="89"/>
                      <a:pt x="307" y="89"/>
                      <a:pt x="306" y="89"/>
                    </a:cubicBezTo>
                    <a:cubicBezTo>
                      <a:pt x="307" y="88"/>
                      <a:pt x="304" y="89"/>
                      <a:pt x="304" y="88"/>
                    </a:cubicBezTo>
                    <a:cubicBezTo>
                      <a:pt x="304" y="88"/>
                      <a:pt x="304" y="88"/>
                      <a:pt x="304" y="88"/>
                    </a:cubicBezTo>
                    <a:cubicBezTo>
                      <a:pt x="304" y="88"/>
                      <a:pt x="304" y="88"/>
                      <a:pt x="303" y="88"/>
                    </a:cubicBezTo>
                    <a:cubicBezTo>
                      <a:pt x="303" y="87"/>
                      <a:pt x="303" y="87"/>
                      <a:pt x="302" y="87"/>
                    </a:cubicBezTo>
                    <a:cubicBezTo>
                      <a:pt x="302" y="87"/>
                      <a:pt x="302" y="86"/>
                      <a:pt x="302" y="86"/>
                    </a:cubicBezTo>
                    <a:cubicBezTo>
                      <a:pt x="301" y="86"/>
                      <a:pt x="300" y="86"/>
                      <a:pt x="299" y="85"/>
                    </a:cubicBezTo>
                    <a:cubicBezTo>
                      <a:pt x="299" y="85"/>
                      <a:pt x="298" y="85"/>
                      <a:pt x="297" y="84"/>
                    </a:cubicBezTo>
                    <a:cubicBezTo>
                      <a:pt x="297" y="84"/>
                      <a:pt x="296" y="84"/>
                      <a:pt x="296" y="84"/>
                    </a:cubicBezTo>
                    <a:cubicBezTo>
                      <a:pt x="295" y="85"/>
                      <a:pt x="295" y="84"/>
                      <a:pt x="295" y="84"/>
                    </a:cubicBezTo>
                    <a:cubicBezTo>
                      <a:pt x="294" y="84"/>
                      <a:pt x="295" y="85"/>
                      <a:pt x="295" y="85"/>
                    </a:cubicBezTo>
                    <a:cubicBezTo>
                      <a:pt x="295" y="85"/>
                      <a:pt x="295" y="85"/>
                      <a:pt x="295" y="85"/>
                    </a:cubicBezTo>
                    <a:cubicBezTo>
                      <a:pt x="295" y="85"/>
                      <a:pt x="295" y="86"/>
                      <a:pt x="295" y="86"/>
                    </a:cubicBezTo>
                    <a:cubicBezTo>
                      <a:pt x="295" y="85"/>
                      <a:pt x="295" y="86"/>
                      <a:pt x="295" y="86"/>
                    </a:cubicBezTo>
                    <a:cubicBezTo>
                      <a:pt x="295" y="86"/>
                      <a:pt x="295" y="86"/>
                      <a:pt x="294" y="86"/>
                    </a:cubicBezTo>
                    <a:cubicBezTo>
                      <a:pt x="294" y="86"/>
                      <a:pt x="294" y="85"/>
                      <a:pt x="294" y="85"/>
                    </a:cubicBezTo>
                    <a:cubicBezTo>
                      <a:pt x="294" y="85"/>
                      <a:pt x="294" y="86"/>
                      <a:pt x="294" y="86"/>
                    </a:cubicBezTo>
                    <a:cubicBezTo>
                      <a:pt x="294" y="86"/>
                      <a:pt x="294" y="86"/>
                      <a:pt x="294" y="86"/>
                    </a:cubicBezTo>
                    <a:cubicBezTo>
                      <a:pt x="294" y="86"/>
                      <a:pt x="294" y="86"/>
                      <a:pt x="294" y="86"/>
                    </a:cubicBezTo>
                    <a:cubicBezTo>
                      <a:pt x="293" y="86"/>
                      <a:pt x="293" y="86"/>
                      <a:pt x="293" y="86"/>
                    </a:cubicBezTo>
                    <a:cubicBezTo>
                      <a:pt x="293" y="86"/>
                      <a:pt x="293" y="86"/>
                      <a:pt x="293" y="86"/>
                    </a:cubicBezTo>
                    <a:cubicBezTo>
                      <a:pt x="293" y="86"/>
                      <a:pt x="292" y="86"/>
                      <a:pt x="293" y="86"/>
                    </a:cubicBezTo>
                    <a:cubicBezTo>
                      <a:pt x="293" y="86"/>
                      <a:pt x="292" y="86"/>
                      <a:pt x="292" y="86"/>
                    </a:cubicBezTo>
                    <a:cubicBezTo>
                      <a:pt x="293" y="86"/>
                      <a:pt x="292" y="85"/>
                      <a:pt x="292" y="86"/>
                    </a:cubicBezTo>
                    <a:cubicBezTo>
                      <a:pt x="292" y="86"/>
                      <a:pt x="290" y="86"/>
                      <a:pt x="291" y="87"/>
                    </a:cubicBezTo>
                    <a:cubicBezTo>
                      <a:pt x="291" y="87"/>
                      <a:pt x="290" y="86"/>
                      <a:pt x="290" y="86"/>
                    </a:cubicBezTo>
                    <a:cubicBezTo>
                      <a:pt x="290" y="86"/>
                      <a:pt x="290" y="87"/>
                      <a:pt x="290" y="87"/>
                    </a:cubicBezTo>
                    <a:cubicBezTo>
                      <a:pt x="289" y="86"/>
                      <a:pt x="289" y="89"/>
                      <a:pt x="289" y="89"/>
                    </a:cubicBezTo>
                    <a:cubicBezTo>
                      <a:pt x="289" y="89"/>
                      <a:pt x="289" y="89"/>
                      <a:pt x="289" y="89"/>
                    </a:cubicBezTo>
                    <a:cubicBezTo>
                      <a:pt x="289" y="89"/>
                      <a:pt x="289" y="89"/>
                      <a:pt x="289" y="89"/>
                    </a:cubicBezTo>
                    <a:cubicBezTo>
                      <a:pt x="289" y="89"/>
                      <a:pt x="289" y="89"/>
                      <a:pt x="288" y="88"/>
                    </a:cubicBezTo>
                    <a:cubicBezTo>
                      <a:pt x="288" y="89"/>
                      <a:pt x="288" y="90"/>
                      <a:pt x="288" y="90"/>
                    </a:cubicBezTo>
                    <a:cubicBezTo>
                      <a:pt x="287" y="90"/>
                      <a:pt x="288" y="89"/>
                      <a:pt x="288" y="89"/>
                    </a:cubicBezTo>
                    <a:cubicBezTo>
                      <a:pt x="288" y="89"/>
                      <a:pt x="287" y="88"/>
                      <a:pt x="287" y="89"/>
                    </a:cubicBezTo>
                    <a:cubicBezTo>
                      <a:pt x="287" y="89"/>
                      <a:pt x="287" y="89"/>
                      <a:pt x="287" y="89"/>
                    </a:cubicBezTo>
                    <a:cubicBezTo>
                      <a:pt x="287" y="89"/>
                      <a:pt x="286" y="89"/>
                      <a:pt x="286" y="89"/>
                    </a:cubicBezTo>
                    <a:cubicBezTo>
                      <a:pt x="286" y="89"/>
                      <a:pt x="286" y="89"/>
                      <a:pt x="286" y="89"/>
                    </a:cubicBezTo>
                    <a:cubicBezTo>
                      <a:pt x="286" y="88"/>
                      <a:pt x="288" y="88"/>
                      <a:pt x="287" y="88"/>
                    </a:cubicBezTo>
                    <a:cubicBezTo>
                      <a:pt x="288" y="88"/>
                      <a:pt x="288" y="87"/>
                      <a:pt x="288" y="87"/>
                    </a:cubicBezTo>
                    <a:cubicBezTo>
                      <a:pt x="288" y="87"/>
                      <a:pt x="289" y="86"/>
                      <a:pt x="289" y="86"/>
                    </a:cubicBezTo>
                    <a:cubicBezTo>
                      <a:pt x="289" y="86"/>
                      <a:pt x="289" y="85"/>
                      <a:pt x="289" y="86"/>
                    </a:cubicBezTo>
                    <a:cubicBezTo>
                      <a:pt x="289" y="86"/>
                      <a:pt x="289" y="85"/>
                      <a:pt x="289" y="85"/>
                    </a:cubicBezTo>
                    <a:cubicBezTo>
                      <a:pt x="289" y="85"/>
                      <a:pt x="290" y="85"/>
                      <a:pt x="289" y="85"/>
                    </a:cubicBezTo>
                    <a:cubicBezTo>
                      <a:pt x="288" y="85"/>
                      <a:pt x="288" y="85"/>
                      <a:pt x="288" y="85"/>
                    </a:cubicBezTo>
                    <a:cubicBezTo>
                      <a:pt x="288" y="85"/>
                      <a:pt x="287" y="85"/>
                      <a:pt x="287" y="85"/>
                    </a:cubicBezTo>
                    <a:cubicBezTo>
                      <a:pt x="286" y="86"/>
                      <a:pt x="287" y="86"/>
                      <a:pt x="287" y="87"/>
                    </a:cubicBezTo>
                    <a:cubicBezTo>
                      <a:pt x="287" y="86"/>
                      <a:pt x="286" y="86"/>
                      <a:pt x="286" y="86"/>
                    </a:cubicBezTo>
                    <a:cubicBezTo>
                      <a:pt x="286" y="87"/>
                      <a:pt x="286" y="87"/>
                      <a:pt x="286" y="88"/>
                    </a:cubicBezTo>
                    <a:cubicBezTo>
                      <a:pt x="286" y="87"/>
                      <a:pt x="286" y="88"/>
                      <a:pt x="286" y="88"/>
                    </a:cubicBezTo>
                    <a:cubicBezTo>
                      <a:pt x="286" y="89"/>
                      <a:pt x="286" y="89"/>
                      <a:pt x="286" y="90"/>
                    </a:cubicBezTo>
                    <a:cubicBezTo>
                      <a:pt x="285" y="91"/>
                      <a:pt x="285" y="91"/>
                      <a:pt x="284" y="92"/>
                    </a:cubicBezTo>
                    <a:cubicBezTo>
                      <a:pt x="284" y="92"/>
                      <a:pt x="284" y="93"/>
                      <a:pt x="283" y="93"/>
                    </a:cubicBezTo>
                    <a:cubicBezTo>
                      <a:pt x="283" y="93"/>
                      <a:pt x="283" y="93"/>
                      <a:pt x="282" y="94"/>
                    </a:cubicBezTo>
                    <a:cubicBezTo>
                      <a:pt x="282" y="94"/>
                      <a:pt x="283" y="95"/>
                      <a:pt x="282" y="95"/>
                    </a:cubicBezTo>
                    <a:cubicBezTo>
                      <a:pt x="282" y="94"/>
                      <a:pt x="282" y="94"/>
                      <a:pt x="282" y="93"/>
                    </a:cubicBezTo>
                    <a:cubicBezTo>
                      <a:pt x="282" y="93"/>
                      <a:pt x="283" y="93"/>
                      <a:pt x="283" y="93"/>
                    </a:cubicBezTo>
                    <a:cubicBezTo>
                      <a:pt x="283" y="92"/>
                      <a:pt x="283" y="92"/>
                      <a:pt x="283" y="92"/>
                    </a:cubicBezTo>
                    <a:cubicBezTo>
                      <a:pt x="284" y="91"/>
                      <a:pt x="283" y="91"/>
                      <a:pt x="283" y="91"/>
                    </a:cubicBezTo>
                    <a:cubicBezTo>
                      <a:pt x="283" y="91"/>
                      <a:pt x="283" y="90"/>
                      <a:pt x="283" y="90"/>
                    </a:cubicBezTo>
                    <a:cubicBezTo>
                      <a:pt x="283" y="89"/>
                      <a:pt x="283" y="89"/>
                      <a:pt x="283" y="88"/>
                    </a:cubicBezTo>
                    <a:cubicBezTo>
                      <a:pt x="283" y="88"/>
                      <a:pt x="284" y="86"/>
                      <a:pt x="284" y="86"/>
                    </a:cubicBezTo>
                    <a:cubicBezTo>
                      <a:pt x="284" y="86"/>
                      <a:pt x="284" y="87"/>
                      <a:pt x="284" y="87"/>
                    </a:cubicBezTo>
                    <a:cubicBezTo>
                      <a:pt x="283" y="87"/>
                      <a:pt x="283" y="87"/>
                      <a:pt x="283" y="87"/>
                    </a:cubicBezTo>
                    <a:cubicBezTo>
                      <a:pt x="283" y="86"/>
                      <a:pt x="284" y="86"/>
                      <a:pt x="284" y="86"/>
                    </a:cubicBezTo>
                    <a:cubicBezTo>
                      <a:pt x="285" y="85"/>
                      <a:pt x="285" y="84"/>
                      <a:pt x="284" y="85"/>
                    </a:cubicBezTo>
                    <a:cubicBezTo>
                      <a:pt x="284" y="84"/>
                      <a:pt x="285" y="85"/>
                      <a:pt x="286" y="85"/>
                    </a:cubicBezTo>
                    <a:cubicBezTo>
                      <a:pt x="286" y="84"/>
                      <a:pt x="286" y="83"/>
                      <a:pt x="286" y="82"/>
                    </a:cubicBezTo>
                    <a:cubicBezTo>
                      <a:pt x="285" y="81"/>
                      <a:pt x="284" y="82"/>
                      <a:pt x="284" y="83"/>
                    </a:cubicBezTo>
                    <a:cubicBezTo>
                      <a:pt x="284" y="83"/>
                      <a:pt x="283" y="83"/>
                      <a:pt x="283" y="84"/>
                    </a:cubicBezTo>
                    <a:cubicBezTo>
                      <a:pt x="283" y="84"/>
                      <a:pt x="283" y="85"/>
                      <a:pt x="283" y="85"/>
                    </a:cubicBezTo>
                    <a:cubicBezTo>
                      <a:pt x="283" y="85"/>
                      <a:pt x="283" y="84"/>
                      <a:pt x="283" y="84"/>
                    </a:cubicBezTo>
                    <a:cubicBezTo>
                      <a:pt x="283" y="84"/>
                      <a:pt x="283" y="84"/>
                      <a:pt x="283" y="85"/>
                    </a:cubicBezTo>
                    <a:cubicBezTo>
                      <a:pt x="282" y="85"/>
                      <a:pt x="283" y="83"/>
                      <a:pt x="283" y="83"/>
                    </a:cubicBezTo>
                    <a:cubicBezTo>
                      <a:pt x="283" y="83"/>
                      <a:pt x="282" y="83"/>
                      <a:pt x="281" y="83"/>
                    </a:cubicBezTo>
                    <a:cubicBezTo>
                      <a:pt x="282" y="83"/>
                      <a:pt x="282" y="83"/>
                      <a:pt x="283" y="83"/>
                    </a:cubicBezTo>
                    <a:cubicBezTo>
                      <a:pt x="283" y="83"/>
                      <a:pt x="283" y="83"/>
                      <a:pt x="283" y="83"/>
                    </a:cubicBezTo>
                    <a:cubicBezTo>
                      <a:pt x="283" y="83"/>
                      <a:pt x="284" y="82"/>
                      <a:pt x="284" y="82"/>
                    </a:cubicBezTo>
                    <a:cubicBezTo>
                      <a:pt x="284" y="82"/>
                      <a:pt x="283" y="82"/>
                      <a:pt x="283" y="82"/>
                    </a:cubicBezTo>
                    <a:cubicBezTo>
                      <a:pt x="284" y="82"/>
                      <a:pt x="284" y="81"/>
                      <a:pt x="284" y="81"/>
                    </a:cubicBezTo>
                    <a:cubicBezTo>
                      <a:pt x="285" y="80"/>
                      <a:pt x="284" y="81"/>
                      <a:pt x="283" y="81"/>
                    </a:cubicBezTo>
                    <a:cubicBezTo>
                      <a:pt x="284" y="80"/>
                      <a:pt x="285" y="80"/>
                      <a:pt x="285" y="80"/>
                    </a:cubicBezTo>
                    <a:cubicBezTo>
                      <a:pt x="285" y="79"/>
                      <a:pt x="284" y="79"/>
                      <a:pt x="284" y="79"/>
                    </a:cubicBezTo>
                    <a:cubicBezTo>
                      <a:pt x="284" y="79"/>
                      <a:pt x="284" y="79"/>
                      <a:pt x="284" y="78"/>
                    </a:cubicBezTo>
                    <a:cubicBezTo>
                      <a:pt x="284" y="79"/>
                      <a:pt x="284" y="79"/>
                      <a:pt x="284" y="79"/>
                    </a:cubicBezTo>
                    <a:cubicBezTo>
                      <a:pt x="284" y="79"/>
                      <a:pt x="284" y="78"/>
                      <a:pt x="284" y="78"/>
                    </a:cubicBezTo>
                    <a:cubicBezTo>
                      <a:pt x="284" y="78"/>
                      <a:pt x="284" y="79"/>
                      <a:pt x="284" y="79"/>
                    </a:cubicBezTo>
                    <a:cubicBezTo>
                      <a:pt x="283" y="79"/>
                      <a:pt x="283" y="78"/>
                      <a:pt x="283" y="78"/>
                    </a:cubicBezTo>
                    <a:cubicBezTo>
                      <a:pt x="283" y="78"/>
                      <a:pt x="284" y="77"/>
                      <a:pt x="283" y="77"/>
                    </a:cubicBezTo>
                    <a:cubicBezTo>
                      <a:pt x="283" y="79"/>
                      <a:pt x="282" y="78"/>
                      <a:pt x="282" y="78"/>
                    </a:cubicBezTo>
                    <a:cubicBezTo>
                      <a:pt x="282" y="78"/>
                      <a:pt x="283" y="77"/>
                      <a:pt x="282" y="77"/>
                    </a:cubicBezTo>
                    <a:cubicBezTo>
                      <a:pt x="282" y="77"/>
                      <a:pt x="282" y="78"/>
                      <a:pt x="281" y="78"/>
                    </a:cubicBezTo>
                    <a:cubicBezTo>
                      <a:pt x="282" y="77"/>
                      <a:pt x="282" y="76"/>
                      <a:pt x="282" y="76"/>
                    </a:cubicBezTo>
                    <a:cubicBezTo>
                      <a:pt x="281" y="76"/>
                      <a:pt x="282" y="76"/>
                      <a:pt x="281" y="76"/>
                    </a:cubicBezTo>
                    <a:cubicBezTo>
                      <a:pt x="281" y="76"/>
                      <a:pt x="281" y="76"/>
                      <a:pt x="281" y="76"/>
                    </a:cubicBezTo>
                    <a:cubicBezTo>
                      <a:pt x="281" y="76"/>
                      <a:pt x="281" y="76"/>
                      <a:pt x="281" y="76"/>
                    </a:cubicBezTo>
                    <a:cubicBezTo>
                      <a:pt x="280" y="76"/>
                      <a:pt x="281" y="76"/>
                      <a:pt x="280" y="76"/>
                    </a:cubicBezTo>
                    <a:cubicBezTo>
                      <a:pt x="281" y="76"/>
                      <a:pt x="280" y="76"/>
                      <a:pt x="280" y="76"/>
                    </a:cubicBezTo>
                    <a:cubicBezTo>
                      <a:pt x="280" y="76"/>
                      <a:pt x="281" y="74"/>
                      <a:pt x="281" y="74"/>
                    </a:cubicBezTo>
                    <a:cubicBezTo>
                      <a:pt x="281" y="74"/>
                      <a:pt x="280" y="74"/>
                      <a:pt x="280" y="75"/>
                    </a:cubicBezTo>
                    <a:cubicBezTo>
                      <a:pt x="280" y="76"/>
                      <a:pt x="280" y="75"/>
                      <a:pt x="279" y="76"/>
                    </a:cubicBezTo>
                    <a:cubicBezTo>
                      <a:pt x="279" y="75"/>
                      <a:pt x="280" y="75"/>
                      <a:pt x="279" y="75"/>
                    </a:cubicBezTo>
                    <a:cubicBezTo>
                      <a:pt x="280" y="75"/>
                      <a:pt x="279" y="74"/>
                      <a:pt x="279" y="74"/>
                    </a:cubicBezTo>
                    <a:cubicBezTo>
                      <a:pt x="279" y="74"/>
                      <a:pt x="279" y="75"/>
                      <a:pt x="279" y="75"/>
                    </a:cubicBezTo>
                    <a:cubicBezTo>
                      <a:pt x="279" y="75"/>
                      <a:pt x="279" y="74"/>
                      <a:pt x="279" y="74"/>
                    </a:cubicBezTo>
                    <a:cubicBezTo>
                      <a:pt x="279" y="74"/>
                      <a:pt x="278" y="75"/>
                      <a:pt x="278" y="75"/>
                    </a:cubicBezTo>
                    <a:cubicBezTo>
                      <a:pt x="278" y="74"/>
                      <a:pt x="277" y="75"/>
                      <a:pt x="277" y="76"/>
                    </a:cubicBezTo>
                    <a:cubicBezTo>
                      <a:pt x="277" y="76"/>
                      <a:pt x="278" y="76"/>
                      <a:pt x="277" y="77"/>
                    </a:cubicBezTo>
                    <a:cubicBezTo>
                      <a:pt x="277" y="77"/>
                      <a:pt x="277" y="77"/>
                      <a:pt x="277" y="77"/>
                    </a:cubicBezTo>
                    <a:cubicBezTo>
                      <a:pt x="277" y="78"/>
                      <a:pt x="276" y="77"/>
                      <a:pt x="276" y="77"/>
                    </a:cubicBezTo>
                    <a:cubicBezTo>
                      <a:pt x="276" y="76"/>
                      <a:pt x="276" y="76"/>
                      <a:pt x="276" y="76"/>
                    </a:cubicBezTo>
                    <a:cubicBezTo>
                      <a:pt x="276" y="75"/>
                      <a:pt x="276" y="75"/>
                      <a:pt x="276" y="75"/>
                    </a:cubicBezTo>
                    <a:cubicBezTo>
                      <a:pt x="276" y="75"/>
                      <a:pt x="276" y="74"/>
                      <a:pt x="276" y="75"/>
                    </a:cubicBezTo>
                    <a:cubicBezTo>
                      <a:pt x="276" y="74"/>
                      <a:pt x="277" y="74"/>
                      <a:pt x="277" y="73"/>
                    </a:cubicBezTo>
                    <a:cubicBezTo>
                      <a:pt x="277" y="73"/>
                      <a:pt x="277" y="72"/>
                      <a:pt x="276" y="73"/>
                    </a:cubicBezTo>
                    <a:cubicBezTo>
                      <a:pt x="276" y="73"/>
                      <a:pt x="276" y="74"/>
                      <a:pt x="275" y="74"/>
                    </a:cubicBezTo>
                    <a:cubicBezTo>
                      <a:pt x="276" y="74"/>
                      <a:pt x="276" y="74"/>
                      <a:pt x="275" y="74"/>
                    </a:cubicBezTo>
                    <a:cubicBezTo>
                      <a:pt x="275" y="74"/>
                      <a:pt x="275" y="75"/>
                      <a:pt x="275" y="75"/>
                    </a:cubicBezTo>
                    <a:cubicBezTo>
                      <a:pt x="275" y="75"/>
                      <a:pt x="275" y="75"/>
                      <a:pt x="275" y="75"/>
                    </a:cubicBezTo>
                    <a:cubicBezTo>
                      <a:pt x="275" y="74"/>
                      <a:pt x="275" y="74"/>
                      <a:pt x="274" y="75"/>
                    </a:cubicBezTo>
                    <a:cubicBezTo>
                      <a:pt x="274" y="74"/>
                      <a:pt x="275" y="75"/>
                      <a:pt x="275" y="74"/>
                    </a:cubicBezTo>
                    <a:cubicBezTo>
                      <a:pt x="275" y="74"/>
                      <a:pt x="275" y="74"/>
                      <a:pt x="275" y="74"/>
                    </a:cubicBezTo>
                    <a:cubicBezTo>
                      <a:pt x="275" y="73"/>
                      <a:pt x="275" y="73"/>
                      <a:pt x="276" y="73"/>
                    </a:cubicBezTo>
                    <a:cubicBezTo>
                      <a:pt x="276" y="73"/>
                      <a:pt x="276" y="72"/>
                      <a:pt x="275" y="72"/>
                    </a:cubicBezTo>
                    <a:cubicBezTo>
                      <a:pt x="276" y="72"/>
                      <a:pt x="275" y="73"/>
                      <a:pt x="275" y="73"/>
                    </a:cubicBezTo>
                    <a:cubicBezTo>
                      <a:pt x="275" y="73"/>
                      <a:pt x="275" y="74"/>
                      <a:pt x="274" y="74"/>
                    </a:cubicBezTo>
                    <a:cubicBezTo>
                      <a:pt x="275" y="73"/>
                      <a:pt x="275" y="73"/>
                      <a:pt x="275" y="73"/>
                    </a:cubicBezTo>
                    <a:cubicBezTo>
                      <a:pt x="274" y="73"/>
                      <a:pt x="274" y="73"/>
                      <a:pt x="274" y="73"/>
                    </a:cubicBezTo>
                    <a:cubicBezTo>
                      <a:pt x="274" y="73"/>
                      <a:pt x="274" y="73"/>
                      <a:pt x="274" y="72"/>
                    </a:cubicBezTo>
                    <a:cubicBezTo>
                      <a:pt x="274" y="72"/>
                      <a:pt x="274" y="73"/>
                      <a:pt x="274" y="73"/>
                    </a:cubicBezTo>
                    <a:cubicBezTo>
                      <a:pt x="273" y="72"/>
                      <a:pt x="274" y="73"/>
                      <a:pt x="274" y="73"/>
                    </a:cubicBezTo>
                    <a:cubicBezTo>
                      <a:pt x="273" y="74"/>
                      <a:pt x="272" y="72"/>
                      <a:pt x="272" y="72"/>
                    </a:cubicBezTo>
                    <a:cubicBezTo>
                      <a:pt x="272" y="72"/>
                      <a:pt x="273" y="71"/>
                      <a:pt x="273" y="71"/>
                    </a:cubicBezTo>
                    <a:cubicBezTo>
                      <a:pt x="273" y="71"/>
                      <a:pt x="272" y="71"/>
                      <a:pt x="272" y="71"/>
                    </a:cubicBezTo>
                    <a:cubicBezTo>
                      <a:pt x="272" y="71"/>
                      <a:pt x="272" y="72"/>
                      <a:pt x="272" y="72"/>
                    </a:cubicBezTo>
                    <a:cubicBezTo>
                      <a:pt x="272" y="72"/>
                      <a:pt x="272" y="72"/>
                      <a:pt x="272" y="73"/>
                    </a:cubicBezTo>
                    <a:cubicBezTo>
                      <a:pt x="271" y="72"/>
                      <a:pt x="272" y="72"/>
                      <a:pt x="271" y="72"/>
                    </a:cubicBezTo>
                    <a:cubicBezTo>
                      <a:pt x="271" y="72"/>
                      <a:pt x="271" y="72"/>
                      <a:pt x="271" y="72"/>
                    </a:cubicBezTo>
                    <a:cubicBezTo>
                      <a:pt x="271" y="72"/>
                      <a:pt x="271" y="72"/>
                      <a:pt x="271" y="72"/>
                    </a:cubicBezTo>
                    <a:cubicBezTo>
                      <a:pt x="271" y="72"/>
                      <a:pt x="271" y="72"/>
                      <a:pt x="271" y="72"/>
                    </a:cubicBezTo>
                    <a:cubicBezTo>
                      <a:pt x="271" y="72"/>
                      <a:pt x="271" y="71"/>
                      <a:pt x="271" y="71"/>
                    </a:cubicBezTo>
                    <a:cubicBezTo>
                      <a:pt x="271" y="71"/>
                      <a:pt x="271" y="71"/>
                      <a:pt x="271" y="72"/>
                    </a:cubicBezTo>
                    <a:cubicBezTo>
                      <a:pt x="271" y="71"/>
                      <a:pt x="271" y="71"/>
                      <a:pt x="271" y="71"/>
                    </a:cubicBezTo>
                    <a:cubicBezTo>
                      <a:pt x="271" y="71"/>
                      <a:pt x="270" y="72"/>
                      <a:pt x="270" y="72"/>
                    </a:cubicBezTo>
                    <a:cubicBezTo>
                      <a:pt x="270" y="71"/>
                      <a:pt x="270" y="71"/>
                      <a:pt x="270" y="71"/>
                    </a:cubicBezTo>
                    <a:cubicBezTo>
                      <a:pt x="270" y="71"/>
                      <a:pt x="270" y="70"/>
                      <a:pt x="270" y="70"/>
                    </a:cubicBezTo>
                    <a:cubicBezTo>
                      <a:pt x="270" y="70"/>
                      <a:pt x="270" y="70"/>
                      <a:pt x="270" y="71"/>
                    </a:cubicBezTo>
                    <a:cubicBezTo>
                      <a:pt x="270" y="71"/>
                      <a:pt x="270" y="71"/>
                      <a:pt x="269" y="71"/>
                    </a:cubicBezTo>
                    <a:cubicBezTo>
                      <a:pt x="269" y="71"/>
                      <a:pt x="269" y="71"/>
                      <a:pt x="269" y="72"/>
                    </a:cubicBezTo>
                    <a:cubicBezTo>
                      <a:pt x="269" y="71"/>
                      <a:pt x="269" y="71"/>
                      <a:pt x="269" y="70"/>
                    </a:cubicBezTo>
                    <a:cubicBezTo>
                      <a:pt x="269" y="70"/>
                      <a:pt x="269" y="71"/>
                      <a:pt x="268" y="71"/>
                    </a:cubicBezTo>
                    <a:cubicBezTo>
                      <a:pt x="268" y="71"/>
                      <a:pt x="268" y="71"/>
                      <a:pt x="268" y="71"/>
                    </a:cubicBezTo>
                    <a:cubicBezTo>
                      <a:pt x="268" y="71"/>
                      <a:pt x="268" y="71"/>
                      <a:pt x="267" y="71"/>
                    </a:cubicBezTo>
                    <a:cubicBezTo>
                      <a:pt x="267" y="71"/>
                      <a:pt x="268" y="70"/>
                      <a:pt x="268" y="70"/>
                    </a:cubicBezTo>
                    <a:cubicBezTo>
                      <a:pt x="268" y="70"/>
                      <a:pt x="268" y="69"/>
                      <a:pt x="268" y="69"/>
                    </a:cubicBezTo>
                    <a:cubicBezTo>
                      <a:pt x="268" y="69"/>
                      <a:pt x="268" y="68"/>
                      <a:pt x="268" y="68"/>
                    </a:cubicBezTo>
                    <a:cubicBezTo>
                      <a:pt x="268" y="68"/>
                      <a:pt x="267" y="69"/>
                      <a:pt x="268" y="69"/>
                    </a:cubicBezTo>
                    <a:cubicBezTo>
                      <a:pt x="267" y="69"/>
                      <a:pt x="267" y="70"/>
                      <a:pt x="267" y="70"/>
                    </a:cubicBezTo>
                    <a:cubicBezTo>
                      <a:pt x="267" y="70"/>
                      <a:pt x="267" y="70"/>
                      <a:pt x="267" y="70"/>
                    </a:cubicBezTo>
                    <a:cubicBezTo>
                      <a:pt x="267" y="70"/>
                      <a:pt x="267" y="70"/>
                      <a:pt x="267" y="70"/>
                    </a:cubicBezTo>
                    <a:cubicBezTo>
                      <a:pt x="267" y="70"/>
                      <a:pt x="267" y="70"/>
                      <a:pt x="267" y="70"/>
                    </a:cubicBezTo>
                    <a:cubicBezTo>
                      <a:pt x="266" y="70"/>
                      <a:pt x="266" y="70"/>
                      <a:pt x="266" y="70"/>
                    </a:cubicBezTo>
                    <a:cubicBezTo>
                      <a:pt x="266" y="70"/>
                      <a:pt x="266" y="69"/>
                      <a:pt x="266" y="69"/>
                    </a:cubicBezTo>
                    <a:cubicBezTo>
                      <a:pt x="266" y="69"/>
                      <a:pt x="266" y="70"/>
                      <a:pt x="266" y="70"/>
                    </a:cubicBezTo>
                    <a:cubicBezTo>
                      <a:pt x="266" y="70"/>
                      <a:pt x="265" y="70"/>
                      <a:pt x="265" y="70"/>
                    </a:cubicBezTo>
                    <a:cubicBezTo>
                      <a:pt x="265" y="69"/>
                      <a:pt x="264" y="69"/>
                      <a:pt x="264" y="70"/>
                    </a:cubicBezTo>
                    <a:cubicBezTo>
                      <a:pt x="264" y="69"/>
                      <a:pt x="264" y="69"/>
                      <a:pt x="264" y="69"/>
                    </a:cubicBezTo>
                    <a:cubicBezTo>
                      <a:pt x="264" y="69"/>
                      <a:pt x="263" y="69"/>
                      <a:pt x="263" y="69"/>
                    </a:cubicBezTo>
                    <a:cubicBezTo>
                      <a:pt x="263" y="69"/>
                      <a:pt x="263" y="69"/>
                      <a:pt x="263" y="69"/>
                    </a:cubicBezTo>
                    <a:cubicBezTo>
                      <a:pt x="263" y="69"/>
                      <a:pt x="263" y="69"/>
                      <a:pt x="263" y="69"/>
                    </a:cubicBezTo>
                    <a:cubicBezTo>
                      <a:pt x="264" y="69"/>
                      <a:pt x="264" y="69"/>
                      <a:pt x="264" y="68"/>
                    </a:cubicBezTo>
                    <a:cubicBezTo>
                      <a:pt x="264" y="68"/>
                      <a:pt x="264" y="68"/>
                      <a:pt x="264" y="67"/>
                    </a:cubicBezTo>
                    <a:cubicBezTo>
                      <a:pt x="264" y="67"/>
                      <a:pt x="264" y="68"/>
                      <a:pt x="263" y="68"/>
                    </a:cubicBezTo>
                    <a:cubicBezTo>
                      <a:pt x="263" y="67"/>
                      <a:pt x="263" y="68"/>
                      <a:pt x="263" y="69"/>
                    </a:cubicBezTo>
                    <a:cubicBezTo>
                      <a:pt x="263" y="68"/>
                      <a:pt x="263" y="68"/>
                      <a:pt x="263" y="67"/>
                    </a:cubicBezTo>
                    <a:cubicBezTo>
                      <a:pt x="262" y="68"/>
                      <a:pt x="262" y="68"/>
                      <a:pt x="262" y="68"/>
                    </a:cubicBezTo>
                    <a:cubicBezTo>
                      <a:pt x="262" y="68"/>
                      <a:pt x="262" y="67"/>
                      <a:pt x="262" y="67"/>
                    </a:cubicBezTo>
                    <a:cubicBezTo>
                      <a:pt x="262" y="67"/>
                      <a:pt x="262" y="66"/>
                      <a:pt x="262" y="66"/>
                    </a:cubicBezTo>
                    <a:cubicBezTo>
                      <a:pt x="262" y="66"/>
                      <a:pt x="262" y="67"/>
                      <a:pt x="261" y="67"/>
                    </a:cubicBezTo>
                    <a:cubicBezTo>
                      <a:pt x="261" y="67"/>
                      <a:pt x="261" y="67"/>
                      <a:pt x="261" y="67"/>
                    </a:cubicBezTo>
                    <a:cubicBezTo>
                      <a:pt x="261" y="67"/>
                      <a:pt x="261" y="68"/>
                      <a:pt x="261" y="68"/>
                    </a:cubicBezTo>
                    <a:cubicBezTo>
                      <a:pt x="260" y="68"/>
                      <a:pt x="261" y="67"/>
                      <a:pt x="261" y="67"/>
                    </a:cubicBezTo>
                    <a:cubicBezTo>
                      <a:pt x="261" y="67"/>
                      <a:pt x="260" y="66"/>
                      <a:pt x="260" y="66"/>
                    </a:cubicBezTo>
                    <a:cubicBezTo>
                      <a:pt x="260" y="67"/>
                      <a:pt x="260" y="67"/>
                      <a:pt x="260" y="68"/>
                    </a:cubicBezTo>
                    <a:cubicBezTo>
                      <a:pt x="260" y="68"/>
                      <a:pt x="259" y="66"/>
                      <a:pt x="259" y="66"/>
                    </a:cubicBezTo>
                    <a:cubicBezTo>
                      <a:pt x="259" y="66"/>
                      <a:pt x="259" y="67"/>
                      <a:pt x="259" y="67"/>
                    </a:cubicBezTo>
                    <a:cubicBezTo>
                      <a:pt x="259" y="67"/>
                      <a:pt x="258" y="67"/>
                      <a:pt x="258" y="67"/>
                    </a:cubicBezTo>
                    <a:cubicBezTo>
                      <a:pt x="259" y="66"/>
                      <a:pt x="259" y="66"/>
                      <a:pt x="259" y="66"/>
                    </a:cubicBezTo>
                    <a:cubicBezTo>
                      <a:pt x="258" y="66"/>
                      <a:pt x="258" y="66"/>
                      <a:pt x="258" y="66"/>
                    </a:cubicBezTo>
                    <a:cubicBezTo>
                      <a:pt x="258" y="66"/>
                      <a:pt x="259" y="65"/>
                      <a:pt x="258" y="65"/>
                    </a:cubicBezTo>
                    <a:cubicBezTo>
                      <a:pt x="258" y="65"/>
                      <a:pt x="258" y="65"/>
                      <a:pt x="258" y="66"/>
                    </a:cubicBezTo>
                    <a:cubicBezTo>
                      <a:pt x="258" y="65"/>
                      <a:pt x="257" y="65"/>
                      <a:pt x="257" y="65"/>
                    </a:cubicBezTo>
                    <a:cubicBezTo>
                      <a:pt x="257" y="65"/>
                      <a:pt x="256" y="65"/>
                      <a:pt x="256" y="66"/>
                    </a:cubicBezTo>
                    <a:cubicBezTo>
                      <a:pt x="256" y="65"/>
                      <a:pt x="256" y="65"/>
                      <a:pt x="256" y="66"/>
                    </a:cubicBezTo>
                    <a:cubicBezTo>
                      <a:pt x="256" y="66"/>
                      <a:pt x="256" y="65"/>
                      <a:pt x="256" y="65"/>
                    </a:cubicBezTo>
                    <a:cubicBezTo>
                      <a:pt x="255" y="65"/>
                      <a:pt x="256" y="66"/>
                      <a:pt x="256" y="66"/>
                    </a:cubicBezTo>
                    <a:cubicBezTo>
                      <a:pt x="256" y="66"/>
                      <a:pt x="257" y="67"/>
                      <a:pt x="256" y="67"/>
                    </a:cubicBezTo>
                    <a:cubicBezTo>
                      <a:pt x="256" y="67"/>
                      <a:pt x="255" y="67"/>
                      <a:pt x="255" y="66"/>
                    </a:cubicBezTo>
                    <a:cubicBezTo>
                      <a:pt x="255" y="66"/>
                      <a:pt x="255" y="65"/>
                      <a:pt x="255" y="65"/>
                    </a:cubicBezTo>
                    <a:cubicBezTo>
                      <a:pt x="255" y="65"/>
                      <a:pt x="253" y="67"/>
                      <a:pt x="253" y="66"/>
                    </a:cubicBezTo>
                    <a:cubicBezTo>
                      <a:pt x="253" y="66"/>
                      <a:pt x="253" y="65"/>
                      <a:pt x="253" y="65"/>
                    </a:cubicBezTo>
                    <a:cubicBezTo>
                      <a:pt x="252" y="66"/>
                      <a:pt x="252" y="66"/>
                      <a:pt x="252" y="66"/>
                    </a:cubicBezTo>
                    <a:cubicBezTo>
                      <a:pt x="252" y="66"/>
                      <a:pt x="252" y="66"/>
                      <a:pt x="252" y="66"/>
                    </a:cubicBezTo>
                    <a:cubicBezTo>
                      <a:pt x="251" y="66"/>
                      <a:pt x="251" y="67"/>
                      <a:pt x="251" y="67"/>
                    </a:cubicBezTo>
                    <a:cubicBezTo>
                      <a:pt x="251" y="67"/>
                      <a:pt x="250" y="66"/>
                      <a:pt x="250" y="66"/>
                    </a:cubicBezTo>
                    <a:cubicBezTo>
                      <a:pt x="249" y="66"/>
                      <a:pt x="249" y="68"/>
                      <a:pt x="249" y="68"/>
                    </a:cubicBezTo>
                    <a:cubicBezTo>
                      <a:pt x="249" y="68"/>
                      <a:pt x="248" y="68"/>
                      <a:pt x="248" y="68"/>
                    </a:cubicBezTo>
                    <a:cubicBezTo>
                      <a:pt x="248" y="68"/>
                      <a:pt x="248" y="69"/>
                      <a:pt x="247" y="69"/>
                    </a:cubicBezTo>
                    <a:cubicBezTo>
                      <a:pt x="247" y="69"/>
                      <a:pt x="247" y="71"/>
                      <a:pt x="248" y="71"/>
                    </a:cubicBezTo>
                    <a:cubicBezTo>
                      <a:pt x="248" y="71"/>
                      <a:pt x="248" y="71"/>
                      <a:pt x="248" y="71"/>
                    </a:cubicBezTo>
                    <a:cubicBezTo>
                      <a:pt x="247" y="71"/>
                      <a:pt x="247" y="72"/>
                      <a:pt x="247" y="73"/>
                    </a:cubicBezTo>
                    <a:cubicBezTo>
                      <a:pt x="247" y="73"/>
                      <a:pt x="246" y="72"/>
                      <a:pt x="246" y="73"/>
                    </a:cubicBezTo>
                    <a:cubicBezTo>
                      <a:pt x="245" y="76"/>
                      <a:pt x="248" y="73"/>
                      <a:pt x="249" y="74"/>
                    </a:cubicBezTo>
                    <a:cubicBezTo>
                      <a:pt x="248" y="74"/>
                      <a:pt x="246" y="75"/>
                      <a:pt x="246" y="75"/>
                    </a:cubicBezTo>
                    <a:cubicBezTo>
                      <a:pt x="246" y="75"/>
                      <a:pt x="246" y="76"/>
                      <a:pt x="246" y="76"/>
                    </a:cubicBezTo>
                    <a:cubicBezTo>
                      <a:pt x="246" y="76"/>
                      <a:pt x="246" y="76"/>
                      <a:pt x="245" y="76"/>
                    </a:cubicBezTo>
                    <a:cubicBezTo>
                      <a:pt x="245" y="75"/>
                      <a:pt x="245" y="75"/>
                      <a:pt x="245" y="74"/>
                    </a:cubicBezTo>
                    <a:cubicBezTo>
                      <a:pt x="245" y="75"/>
                      <a:pt x="244" y="75"/>
                      <a:pt x="243" y="75"/>
                    </a:cubicBezTo>
                    <a:cubicBezTo>
                      <a:pt x="243" y="75"/>
                      <a:pt x="242" y="76"/>
                      <a:pt x="242" y="77"/>
                    </a:cubicBezTo>
                    <a:cubicBezTo>
                      <a:pt x="242" y="77"/>
                      <a:pt x="242" y="78"/>
                      <a:pt x="241" y="78"/>
                    </a:cubicBezTo>
                    <a:cubicBezTo>
                      <a:pt x="240" y="79"/>
                      <a:pt x="239" y="79"/>
                      <a:pt x="239" y="79"/>
                    </a:cubicBezTo>
                    <a:cubicBezTo>
                      <a:pt x="238" y="80"/>
                      <a:pt x="238" y="81"/>
                      <a:pt x="238" y="82"/>
                    </a:cubicBezTo>
                    <a:cubicBezTo>
                      <a:pt x="238" y="83"/>
                      <a:pt x="237" y="84"/>
                      <a:pt x="237" y="85"/>
                    </a:cubicBezTo>
                    <a:cubicBezTo>
                      <a:pt x="237" y="85"/>
                      <a:pt x="237" y="86"/>
                      <a:pt x="236" y="86"/>
                    </a:cubicBezTo>
                    <a:cubicBezTo>
                      <a:pt x="236" y="86"/>
                      <a:pt x="236" y="85"/>
                      <a:pt x="236" y="85"/>
                    </a:cubicBezTo>
                    <a:cubicBezTo>
                      <a:pt x="236" y="84"/>
                      <a:pt x="236" y="84"/>
                      <a:pt x="236" y="83"/>
                    </a:cubicBezTo>
                    <a:cubicBezTo>
                      <a:pt x="236" y="83"/>
                      <a:pt x="236" y="83"/>
                      <a:pt x="237" y="82"/>
                    </a:cubicBezTo>
                    <a:cubicBezTo>
                      <a:pt x="237" y="82"/>
                      <a:pt x="237" y="81"/>
                      <a:pt x="237" y="81"/>
                    </a:cubicBezTo>
                    <a:cubicBezTo>
                      <a:pt x="237" y="80"/>
                      <a:pt x="237" y="79"/>
                      <a:pt x="238" y="79"/>
                    </a:cubicBezTo>
                    <a:cubicBezTo>
                      <a:pt x="238" y="79"/>
                      <a:pt x="239" y="77"/>
                      <a:pt x="238" y="77"/>
                    </a:cubicBezTo>
                    <a:cubicBezTo>
                      <a:pt x="237" y="77"/>
                      <a:pt x="237" y="78"/>
                      <a:pt x="237" y="78"/>
                    </a:cubicBezTo>
                    <a:cubicBezTo>
                      <a:pt x="237" y="77"/>
                      <a:pt x="237" y="77"/>
                      <a:pt x="236" y="78"/>
                    </a:cubicBezTo>
                    <a:cubicBezTo>
                      <a:pt x="236" y="78"/>
                      <a:pt x="236" y="78"/>
                      <a:pt x="235" y="79"/>
                    </a:cubicBezTo>
                    <a:cubicBezTo>
                      <a:pt x="235" y="79"/>
                      <a:pt x="234" y="79"/>
                      <a:pt x="234" y="79"/>
                    </a:cubicBezTo>
                    <a:cubicBezTo>
                      <a:pt x="233" y="79"/>
                      <a:pt x="233" y="79"/>
                      <a:pt x="233" y="79"/>
                    </a:cubicBezTo>
                    <a:cubicBezTo>
                      <a:pt x="233" y="80"/>
                      <a:pt x="233" y="80"/>
                      <a:pt x="233" y="79"/>
                    </a:cubicBezTo>
                    <a:cubicBezTo>
                      <a:pt x="233" y="80"/>
                      <a:pt x="233" y="81"/>
                      <a:pt x="233" y="81"/>
                    </a:cubicBezTo>
                    <a:cubicBezTo>
                      <a:pt x="233" y="81"/>
                      <a:pt x="233" y="81"/>
                      <a:pt x="232" y="81"/>
                    </a:cubicBezTo>
                    <a:cubicBezTo>
                      <a:pt x="232" y="81"/>
                      <a:pt x="233" y="79"/>
                      <a:pt x="232" y="80"/>
                    </a:cubicBezTo>
                    <a:cubicBezTo>
                      <a:pt x="233" y="79"/>
                      <a:pt x="232" y="78"/>
                      <a:pt x="231" y="78"/>
                    </a:cubicBezTo>
                    <a:cubicBezTo>
                      <a:pt x="230" y="79"/>
                      <a:pt x="230" y="79"/>
                      <a:pt x="230" y="79"/>
                    </a:cubicBezTo>
                    <a:cubicBezTo>
                      <a:pt x="229" y="79"/>
                      <a:pt x="230" y="79"/>
                      <a:pt x="229" y="79"/>
                    </a:cubicBezTo>
                    <a:cubicBezTo>
                      <a:pt x="229" y="80"/>
                      <a:pt x="229" y="79"/>
                      <a:pt x="229" y="79"/>
                    </a:cubicBezTo>
                    <a:cubicBezTo>
                      <a:pt x="228" y="79"/>
                      <a:pt x="228" y="79"/>
                      <a:pt x="228" y="79"/>
                    </a:cubicBezTo>
                    <a:cubicBezTo>
                      <a:pt x="228" y="80"/>
                      <a:pt x="227" y="80"/>
                      <a:pt x="227" y="80"/>
                    </a:cubicBezTo>
                    <a:cubicBezTo>
                      <a:pt x="226" y="79"/>
                      <a:pt x="227" y="79"/>
                      <a:pt x="227" y="79"/>
                    </a:cubicBezTo>
                    <a:cubicBezTo>
                      <a:pt x="226" y="78"/>
                      <a:pt x="226" y="78"/>
                      <a:pt x="225" y="78"/>
                    </a:cubicBezTo>
                    <a:cubicBezTo>
                      <a:pt x="225" y="79"/>
                      <a:pt x="224" y="78"/>
                      <a:pt x="224" y="77"/>
                    </a:cubicBezTo>
                    <a:cubicBezTo>
                      <a:pt x="225" y="78"/>
                      <a:pt x="225" y="77"/>
                      <a:pt x="224" y="76"/>
                    </a:cubicBezTo>
                    <a:cubicBezTo>
                      <a:pt x="224" y="75"/>
                      <a:pt x="223" y="75"/>
                      <a:pt x="223" y="74"/>
                    </a:cubicBezTo>
                    <a:cubicBezTo>
                      <a:pt x="223" y="73"/>
                      <a:pt x="223" y="72"/>
                      <a:pt x="223" y="71"/>
                    </a:cubicBezTo>
                    <a:cubicBezTo>
                      <a:pt x="223" y="70"/>
                      <a:pt x="223" y="70"/>
                      <a:pt x="223" y="69"/>
                    </a:cubicBezTo>
                    <a:cubicBezTo>
                      <a:pt x="223" y="68"/>
                      <a:pt x="222" y="68"/>
                      <a:pt x="222" y="69"/>
                    </a:cubicBezTo>
                    <a:cubicBezTo>
                      <a:pt x="221" y="68"/>
                      <a:pt x="221" y="68"/>
                      <a:pt x="221" y="69"/>
                    </a:cubicBezTo>
                    <a:cubicBezTo>
                      <a:pt x="221" y="69"/>
                      <a:pt x="221" y="70"/>
                      <a:pt x="221" y="70"/>
                    </a:cubicBezTo>
                    <a:cubicBezTo>
                      <a:pt x="220" y="70"/>
                      <a:pt x="220" y="70"/>
                      <a:pt x="219" y="71"/>
                    </a:cubicBezTo>
                    <a:cubicBezTo>
                      <a:pt x="219" y="71"/>
                      <a:pt x="219" y="72"/>
                      <a:pt x="218" y="72"/>
                    </a:cubicBezTo>
                    <a:cubicBezTo>
                      <a:pt x="218" y="71"/>
                      <a:pt x="217" y="73"/>
                      <a:pt x="217" y="73"/>
                    </a:cubicBezTo>
                    <a:cubicBezTo>
                      <a:pt x="216" y="73"/>
                      <a:pt x="215" y="74"/>
                      <a:pt x="214" y="74"/>
                    </a:cubicBezTo>
                    <a:cubicBezTo>
                      <a:pt x="213" y="75"/>
                      <a:pt x="213" y="75"/>
                      <a:pt x="212" y="76"/>
                    </a:cubicBezTo>
                    <a:cubicBezTo>
                      <a:pt x="211" y="76"/>
                      <a:pt x="210" y="76"/>
                      <a:pt x="210" y="76"/>
                    </a:cubicBezTo>
                    <a:cubicBezTo>
                      <a:pt x="209" y="77"/>
                      <a:pt x="209" y="77"/>
                      <a:pt x="209" y="76"/>
                    </a:cubicBezTo>
                    <a:cubicBezTo>
                      <a:pt x="210" y="76"/>
                      <a:pt x="209" y="75"/>
                      <a:pt x="209" y="75"/>
                    </a:cubicBezTo>
                    <a:cubicBezTo>
                      <a:pt x="208" y="75"/>
                      <a:pt x="208" y="76"/>
                      <a:pt x="207" y="76"/>
                    </a:cubicBezTo>
                    <a:cubicBezTo>
                      <a:pt x="207" y="76"/>
                      <a:pt x="205" y="76"/>
                      <a:pt x="205" y="76"/>
                    </a:cubicBezTo>
                    <a:cubicBezTo>
                      <a:pt x="205" y="75"/>
                      <a:pt x="207" y="75"/>
                      <a:pt x="207" y="74"/>
                    </a:cubicBezTo>
                    <a:cubicBezTo>
                      <a:pt x="208" y="74"/>
                      <a:pt x="208" y="74"/>
                      <a:pt x="209" y="74"/>
                    </a:cubicBezTo>
                    <a:cubicBezTo>
                      <a:pt x="209" y="74"/>
                      <a:pt x="209" y="73"/>
                      <a:pt x="210" y="73"/>
                    </a:cubicBezTo>
                    <a:cubicBezTo>
                      <a:pt x="210" y="73"/>
                      <a:pt x="210" y="74"/>
                      <a:pt x="211" y="74"/>
                    </a:cubicBezTo>
                    <a:cubicBezTo>
                      <a:pt x="211" y="74"/>
                      <a:pt x="212" y="74"/>
                      <a:pt x="212" y="73"/>
                    </a:cubicBezTo>
                    <a:cubicBezTo>
                      <a:pt x="213" y="73"/>
                      <a:pt x="212" y="72"/>
                      <a:pt x="213" y="71"/>
                    </a:cubicBezTo>
                    <a:cubicBezTo>
                      <a:pt x="213" y="71"/>
                      <a:pt x="214" y="70"/>
                      <a:pt x="214" y="69"/>
                    </a:cubicBezTo>
                    <a:cubicBezTo>
                      <a:pt x="215" y="68"/>
                      <a:pt x="214" y="68"/>
                      <a:pt x="215" y="67"/>
                    </a:cubicBezTo>
                    <a:cubicBezTo>
                      <a:pt x="215" y="65"/>
                      <a:pt x="216" y="65"/>
                      <a:pt x="217" y="64"/>
                    </a:cubicBezTo>
                    <a:cubicBezTo>
                      <a:pt x="217" y="63"/>
                      <a:pt x="217" y="63"/>
                      <a:pt x="217" y="63"/>
                    </a:cubicBezTo>
                    <a:cubicBezTo>
                      <a:pt x="217" y="63"/>
                      <a:pt x="217" y="62"/>
                      <a:pt x="218" y="62"/>
                    </a:cubicBezTo>
                    <a:cubicBezTo>
                      <a:pt x="218" y="62"/>
                      <a:pt x="218" y="61"/>
                      <a:pt x="218" y="61"/>
                    </a:cubicBezTo>
                    <a:cubicBezTo>
                      <a:pt x="218" y="60"/>
                      <a:pt x="219" y="60"/>
                      <a:pt x="219" y="59"/>
                    </a:cubicBezTo>
                    <a:cubicBezTo>
                      <a:pt x="220" y="59"/>
                      <a:pt x="220" y="59"/>
                      <a:pt x="221" y="58"/>
                    </a:cubicBezTo>
                    <a:cubicBezTo>
                      <a:pt x="221" y="58"/>
                      <a:pt x="222" y="57"/>
                      <a:pt x="223" y="56"/>
                    </a:cubicBezTo>
                    <a:cubicBezTo>
                      <a:pt x="225" y="56"/>
                      <a:pt x="225" y="53"/>
                      <a:pt x="227" y="51"/>
                    </a:cubicBezTo>
                    <a:cubicBezTo>
                      <a:pt x="227" y="51"/>
                      <a:pt x="227" y="50"/>
                      <a:pt x="228" y="50"/>
                    </a:cubicBezTo>
                    <a:cubicBezTo>
                      <a:pt x="228" y="50"/>
                      <a:pt x="228" y="49"/>
                      <a:pt x="229" y="49"/>
                    </a:cubicBezTo>
                    <a:cubicBezTo>
                      <a:pt x="229" y="48"/>
                      <a:pt x="229" y="48"/>
                      <a:pt x="230" y="48"/>
                    </a:cubicBezTo>
                    <a:cubicBezTo>
                      <a:pt x="230" y="47"/>
                      <a:pt x="230" y="47"/>
                      <a:pt x="231" y="47"/>
                    </a:cubicBezTo>
                    <a:cubicBezTo>
                      <a:pt x="231" y="46"/>
                      <a:pt x="233" y="45"/>
                      <a:pt x="232" y="45"/>
                    </a:cubicBezTo>
                    <a:cubicBezTo>
                      <a:pt x="231" y="44"/>
                      <a:pt x="231" y="45"/>
                      <a:pt x="230" y="45"/>
                    </a:cubicBezTo>
                    <a:cubicBezTo>
                      <a:pt x="231" y="44"/>
                      <a:pt x="231" y="45"/>
                      <a:pt x="232" y="44"/>
                    </a:cubicBezTo>
                    <a:cubicBezTo>
                      <a:pt x="232" y="43"/>
                      <a:pt x="232" y="42"/>
                      <a:pt x="232" y="42"/>
                    </a:cubicBezTo>
                    <a:cubicBezTo>
                      <a:pt x="232" y="40"/>
                      <a:pt x="231" y="39"/>
                      <a:pt x="229" y="38"/>
                    </a:cubicBezTo>
                    <a:cubicBezTo>
                      <a:pt x="229" y="38"/>
                      <a:pt x="227" y="39"/>
                      <a:pt x="226" y="38"/>
                    </a:cubicBezTo>
                    <a:cubicBezTo>
                      <a:pt x="226" y="38"/>
                      <a:pt x="226" y="37"/>
                      <a:pt x="226" y="37"/>
                    </a:cubicBezTo>
                    <a:cubicBezTo>
                      <a:pt x="226" y="37"/>
                      <a:pt x="225" y="36"/>
                      <a:pt x="225" y="36"/>
                    </a:cubicBezTo>
                    <a:cubicBezTo>
                      <a:pt x="225" y="35"/>
                      <a:pt x="224" y="34"/>
                      <a:pt x="224" y="35"/>
                    </a:cubicBezTo>
                    <a:cubicBezTo>
                      <a:pt x="224" y="36"/>
                      <a:pt x="224" y="35"/>
                      <a:pt x="224" y="35"/>
                    </a:cubicBezTo>
                    <a:cubicBezTo>
                      <a:pt x="225" y="36"/>
                      <a:pt x="224" y="32"/>
                      <a:pt x="224" y="31"/>
                    </a:cubicBezTo>
                    <a:cubicBezTo>
                      <a:pt x="224" y="31"/>
                      <a:pt x="223" y="31"/>
                      <a:pt x="223" y="31"/>
                    </a:cubicBezTo>
                    <a:cubicBezTo>
                      <a:pt x="223" y="31"/>
                      <a:pt x="223" y="30"/>
                      <a:pt x="223" y="30"/>
                    </a:cubicBezTo>
                    <a:cubicBezTo>
                      <a:pt x="223" y="29"/>
                      <a:pt x="223" y="29"/>
                      <a:pt x="223" y="28"/>
                    </a:cubicBezTo>
                    <a:cubicBezTo>
                      <a:pt x="223" y="28"/>
                      <a:pt x="222" y="28"/>
                      <a:pt x="222" y="27"/>
                    </a:cubicBezTo>
                    <a:cubicBezTo>
                      <a:pt x="222" y="25"/>
                      <a:pt x="221" y="24"/>
                      <a:pt x="221" y="22"/>
                    </a:cubicBezTo>
                    <a:cubicBezTo>
                      <a:pt x="221" y="21"/>
                      <a:pt x="221" y="19"/>
                      <a:pt x="221" y="18"/>
                    </a:cubicBezTo>
                    <a:cubicBezTo>
                      <a:pt x="221" y="17"/>
                      <a:pt x="221" y="15"/>
                      <a:pt x="221" y="15"/>
                    </a:cubicBezTo>
                    <a:cubicBezTo>
                      <a:pt x="220" y="16"/>
                      <a:pt x="220" y="17"/>
                      <a:pt x="220" y="18"/>
                    </a:cubicBezTo>
                    <a:cubicBezTo>
                      <a:pt x="220" y="18"/>
                      <a:pt x="220" y="17"/>
                      <a:pt x="220" y="16"/>
                    </a:cubicBezTo>
                    <a:cubicBezTo>
                      <a:pt x="220" y="16"/>
                      <a:pt x="220" y="15"/>
                      <a:pt x="220" y="14"/>
                    </a:cubicBezTo>
                    <a:cubicBezTo>
                      <a:pt x="220" y="13"/>
                      <a:pt x="219" y="12"/>
                      <a:pt x="218" y="11"/>
                    </a:cubicBezTo>
                    <a:cubicBezTo>
                      <a:pt x="218" y="11"/>
                      <a:pt x="217" y="11"/>
                      <a:pt x="217" y="10"/>
                    </a:cubicBezTo>
                    <a:cubicBezTo>
                      <a:pt x="216" y="10"/>
                      <a:pt x="217" y="11"/>
                      <a:pt x="217" y="11"/>
                    </a:cubicBezTo>
                    <a:cubicBezTo>
                      <a:pt x="217" y="12"/>
                      <a:pt x="218" y="14"/>
                      <a:pt x="218" y="15"/>
                    </a:cubicBezTo>
                    <a:cubicBezTo>
                      <a:pt x="217" y="15"/>
                      <a:pt x="216" y="12"/>
                      <a:pt x="216" y="12"/>
                    </a:cubicBezTo>
                    <a:cubicBezTo>
                      <a:pt x="216" y="12"/>
                      <a:pt x="216" y="13"/>
                      <a:pt x="216" y="13"/>
                    </a:cubicBezTo>
                    <a:cubicBezTo>
                      <a:pt x="216" y="14"/>
                      <a:pt x="215" y="14"/>
                      <a:pt x="214" y="15"/>
                    </a:cubicBezTo>
                    <a:cubicBezTo>
                      <a:pt x="214" y="15"/>
                      <a:pt x="214" y="16"/>
                      <a:pt x="213" y="16"/>
                    </a:cubicBezTo>
                    <a:cubicBezTo>
                      <a:pt x="213" y="17"/>
                      <a:pt x="213" y="17"/>
                      <a:pt x="212" y="17"/>
                    </a:cubicBezTo>
                    <a:cubicBezTo>
                      <a:pt x="212" y="18"/>
                      <a:pt x="212" y="19"/>
                      <a:pt x="212" y="19"/>
                    </a:cubicBezTo>
                    <a:cubicBezTo>
                      <a:pt x="211" y="20"/>
                      <a:pt x="211" y="20"/>
                      <a:pt x="211" y="21"/>
                    </a:cubicBezTo>
                    <a:cubicBezTo>
                      <a:pt x="210" y="22"/>
                      <a:pt x="209" y="23"/>
                      <a:pt x="209" y="24"/>
                    </a:cubicBezTo>
                    <a:cubicBezTo>
                      <a:pt x="209" y="25"/>
                      <a:pt x="208" y="26"/>
                      <a:pt x="208" y="26"/>
                    </a:cubicBezTo>
                    <a:cubicBezTo>
                      <a:pt x="208" y="27"/>
                      <a:pt x="208" y="27"/>
                      <a:pt x="207" y="27"/>
                    </a:cubicBezTo>
                    <a:cubicBezTo>
                      <a:pt x="207" y="28"/>
                      <a:pt x="207" y="28"/>
                      <a:pt x="207" y="28"/>
                    </a:cubicBezTo>
                    <a:cubicBezTo>
                      <a:pt x="207" y="29"/>
                      <a:pt x="206" y="29"/>
                      <a:pt x="206" y="30"/>
                    </a:cubicBezTo>
                    <a:cubicBezTo>
                      <a:pt x="207" y="30"/>
                      <a:pt x="206" y="31"/>
                      <a:pt x="206" y="31"/>
                    </a:cubicBezTo>
                    <a:cubicBezTo>
                      <a:pt x="205" y="32"/>
                      <a:pt x="205" y="32"/>
                      <a:pt x="204" y="33"/>
                    </a:cubicBezTo>
                    <a:cubicBezTo>
                      <a:pt x="204" y="33"/>
                      <a:pt x="203" y="34"/>
                      <a:pt x="203" y="34"/>
                    </a:cubicBezTo>
                    <a:cubicBezTo>
                      <a:pt x="202" y="35"/>
                      <a:pt x="201" y="33"/>
                      <a:pt x="199" y="34"/>
                    </a:cubicBezTo>
                    <a:cubicBezTo>
                      <a:pt x="199" y="34"/>
                      <a:pt x="200" y="34"/>
                      <a:pt x="200" y="34"/>
                    </a:cubicBezTo>
                    <a:cubicBezTo>
                      <a:pt x="200" y="33"/>
                      <a:pt x="199" y="33"/>
                      <a:pt x="199" y="33"/>
                    </a:cubicBezTo>
                    <a:cubicBezTo>
                      <a:pt x="199" y="32"/>
                      <a:pt x="199" y="33"/>
                      <a:pt x="199" y="33"/>
                    </a:cubicBezTo>
                    <a:cubicBezTo>
                      <a:pt x="198" y="34"/>
                      <a:pt x="197" y="33"/>
                      <a:pt x="196" y="33"/>
                    </a:cubicBezTo>
                    <a:cubicBezTo>
                      <a:pt x="195" y="33"/>
                      <a:pt x="195" y="33"/>
                      <a:pt x="195" y="32"/>
                    </a:cubicBezTo>
                    <a:cubicBezTo>
                      <a:pt x="195" y="32"/>
                      <a:pt x="194" y="33"/>
                      <a:pt x="194" y="33"/>
                    </a:cubicBezTo>
                    <a:cubicBezTo>
                      <a:pt x="194" y="33"/>
                      <a:pt x="193" y="33"/>
                      <a:pt x="193" y="33"/>
                    </a:cubicBezTo>
                    <a:cubicBezTo>
                      <a:pt x="193" y="33"/>
                      <a:pt x="193" y="34"/>
                      <a:pt x="193" y="34"/>
                    </a:cubicBezTo>
                    <a:cubicBezTo>
                      <a:pt x="193" y="34"/>
                      <a:pt x="192" y="34"/>
                      <a:pt x="192" y="35"/>
                    </a:cubicBezTo>
                    <a:cubicBezTo>
                      <a:pt x="191" y="35"/>
                      <a:pt x="191" y="35"/>
                      <a:pt x="191" y="35"/>
                    </a:cubicBezTo>
                    <a:cubicBezTo>
                      <a:pt x="191" y="34"/>
                      <a:pt x="190" y="35"/>
                      <a:pt x="189" y="35"/>
                    </a:cubicBezTo>
                    <a:cubicBezTo>
                      <a:pt x="189" y="34"/>
                      <a:pt x="189" y="34"/>
                      <a:pt x="189" y="34"/>
                    </a:cubicBezTo>
                    <a:cubicBezTo>
                      <a:pt x="189" y="34"/>
                      <a:pt x="188" y="34"/>
                      <a:pt x="188" y="34"/>
                    </a:cubicBezTo>
                    <a:cubicBezTo>
                      <a:pt x="188" y="34"/>
                      <a:pt x="187" y="34"/>
                      <a:pt x="187" y="33"/>
                    </a:cubicBezTo>
                    <a:cubicBezTo>
                      <a:pt x="187" y="33"/>
                      <a:pt x="187" y="33"/>
                      <a:pt x="187" y="33"/>
                    </a:cubicBezTo>
                    <a:cubicBezTo>
                      <a:pt x="185" y="33"/>
                      <a:pt x="186" y="32"/>
                      <a:pt x="185" y="31"/>
                    </a:cubicBezTo>
                    <a:cubicBezTo>
                      <a:pt x="185" y="31"/>
                      <a:pt x="185" y="32"/>
                      <a:pt x="184" y="31"/>
                    </a:cubicBezTo>
                    <a:cubicBezTo>
                      <a:pt x="184" y="31"/>
                      <a:pt x="183" y="30"/>
                      <a:pt x="183" y="30"/>
                    </a:cubicBezTo>
                    <a:cubicBezTo>
                      <a:pt x="183" y="30"/>
                      <a:pt x="184" y="29"/>
                      <a:pt x="183" y="30"/>
                    </a:cubicBezTo>
                    <a:cubicBezTo>
                      <a:pt x="183" y="30"/>
                      <a:pt x="182" y="30"/>
                      <a:pt x="182" y="30"/>
                    </a:cubicBezTo>
                    <a:cubicBezTo>
                      <a:pt x="181" y="30"/>
                      <a:pt x="181" y="30"/>
                      <a:pt x="181" y="30"/>
                    </a:cubicBezTo>
                    <a:cubicBezTo>
                      <a:pt x="180" y="31"/>
                      <a:pt x="180" y="30"/>
                      <a:pt x="179" y="31"/>
                    </a:cubicBezTo>
                    <a:cubicBezTo>
                      <a:pt x="179" y="31"/>
                      <a:pt x="179" y="32"/>
                      <a:pt x="178" y="31"/>
                    </a:cubicBezTo>
                    <a:cubicBezTo>
                      <a:pt x="178" y="31"/>
                      <a:pt x="177" y="32"/>
                      <a:pt x="176" y="32"/>
                    </a:cubicBezTo>
                    <a:cubicBezTo>
                      <a:pt x="176" y="32"/>
                      <a:pt x="173" y="30"/>
                      <a:pt x="173" y="31"/>
                    </a:cubicBezTo>
                    <a:cubicBezTo>
                      <a:pt x="173" y="31"/>
                      <a:pt x="173" y="32"/>
                      <a:pt x="173" y="32"/>
                    </a:cubicBezTo>
                    <a:cubicBezTo>
                      <a:pt x="172" y="32"/>
                      <a:pt x="172" y="33"/>
                      <a:pt x="172" y="33"/>
                    </a:cubicBezTo>
                    <a:cubicBezTo>
                      <a:pt x="171" y="34"/>
                      <a:pt x="172" y="33"/>
                      <a:pt x="173" y="34"/>
                    </a:cubicBezTo>
                    <a:cubicBezTo>
                      <a:pt x="173" y="34"/>
                      <a:pt x="173" y="34"/>
                      <a:pt x="173" y="35"/>
                    </a:cubicBezTo>
                    <a:cubicBezTo>
                      <a:pt x="173" y="35"/>
                      <a:pt x="173" y="35"/>
                      <a:pt x="173" y="35"/>
                    </a:cubicBezTo>
                    <a:cubicBezTo>
                      <a:pt x="174" y="36"/>
                      <a:pt x="174" y="38"/>
                      <a:pt x="173" y="38"/>
                    </a:cubicBezTo>
                    <a:cubicBezTo>
                      <a:pt x="172" y="38"/>
                      <a:pt x="171" y="38"/>
                      <a:pt x="171" y="37"/>
                    </a:cubicBezTo>
                    <a:cubicBezTo>
                      <a:pt x="170" y="37"/>
                      <a:pt x="169" y="37"/>
                      <a:pt x="169" y="37"/>
                    </a:cubicBezTo>
                    <a:cubicBezTo>
                      <a:pt x="168" y="37"/>
                      <a:pt x="168" y="37"/>
                      <a:pt x="167" y="37"/>
                    </a:cubicBezTo>
                    <a:cubicBezTo>
                      <a:pt x="167" y="37"/>
                      <a:pt x="166" y="37"/>
                      <a:pt x="166" y="37"/>
                    </a:cubicBezTo>
                    <a:cubicBezTo>
                      <a:pt x="165" y="38"/>
                      <a:pt x="165" y="37"/>
                      <a:pt x="164" y="37"/>
                    </a:cubicBezTo>
                    <a:cubicBezTo>
                      <a:pt x="163" y="37"/>
                      <a:pt x="163" y="37"/>
                      <a:pt x="163" y="37"/>
                    </a:cubicBezTo>
                    <a:cubicBezTo>
                      <a:pt x="162" y="36"/>
                      <a:pt x="161" y="37"/>
                      <a:pt x="160" y="36"/>
                    </a:cubicBezTo>
                    <a:cubicBezTo>
                      <a:pt x="160" y="36"/>
                      <a:pt x="159" y="37"/>
                      <a:pt x="159" y="38"/>
                    </a:cubicBezTo>
                    <a:cubicBezTo>
                      <a:pt x="159" y="38"/>
                      <a:pt x="159" y="39"/>
                      <a:pt x="158" y="39"/>
                    </a:cubicBezTo>
                    <a:cubicBezTo>
                      <a:pt x="158" y="40"/>
                      <a:pt x="157" y="40"/>
                      <a:pt x="156" y="40"/>
                    </a:cubicBezTo>
                    <a:cubicBezTo>
                      <a:pt x="156" y="39"/>
                      <a:pt x="155" y="40"/>
                      <a:pt x="155" y="40"/>
                    </a:cubicBezTo>
                    <a:cubicBezTo>
                      <a:pt x="154" y="40"/>
                      <a:pt x="154" y="40"/>
                      <a:pt x="154" y="41"/>
                    </a:cubicBezTo>
                    <a:cubicBezTo>
                      <a:pt x="154" y="41"/>
                      <a:pt x="154" y="42"/>
                      <a:pt x="153" y="42"/>
                    </a:cubicBezTo>
                    <a:cubicBezTo>
                      <a:pt x="152" y="42"/>
                      <a:pt x="152" y="41"/>
                      <a:pt x="152" y="41"/>
                    </a:cubicBezTo>
                    <a:cubicBezTo>
                      <a:pt x="151" y="41"/>
                      <a:pt x="151" y="41"/>
                      <a:pt x="151" y="41"/>
                    </a:cubicBezTo>
                    <a:cubicBezTo>
                      <a:pt x="150" y="41"/>
                      <a:pt x="150" y="42"/>
                      <a:pt x="149" y="42"/>
                    </a:cubicBezTo>
                    <a:cubicBezTo>
                      <a:pt x="148" y="42"/>
                      <a:pt x="149" y="43"/>
                      <a:pt x="149" y="44"/>
                    </a:cubicBezTo>
                    <a:cubicBezTo>
                      <a:pt x="149" y="45"/>
                      <a:pt x="147" y="44"/>
                      <a:pt x="147" y="44"/>
                    </a:cubicBezTo>
                    <a:cubicBezTo>
                      <a:pt x="146" y="44"/>
                      <a:pt x="146" y="45"/>
                      <a:pt x="146" y="45"/>
                    </a:cubicBezTo>
                    <a:cubicBezTo>
                      <a:pt x="145" y="45"/>
                      <a:pt x="145" y="44"/>
                      <a:pt x="144" y="44"/>
                    </a:cubicBezTo>
                    <a:cubicBezTo>
                      <a:pt x="143" y="43"/>
                      <a:pt x="143" y="43"/>
                      <a:pt x="142" y="43"/>
                    </a:cubicBezTo>
                    <a:cubicBezTo>
                      <a:pt x="141" y="43"/>
                      <a:pt x="141" y="42"/>
                      <a:pt x="140" y="41"/>
                    </a:cubicBezTo>
                    <a:cubicBezTo>
                      <a:pt x="139" y="41"/>
                      <a:pt x="139" y="40"/>
                      <a:pt x="139" y="39"/>
                    </a:cubicBezTo>
                    <a:cubicBezTo>
                      <a:pt x="138" y="39"/>
                      <a:pt x="137" y="40"/>
                      <a:pt x="137" y="39"/>
                    </a:cubicBezTo>
                    <a:cubicBezTo>
                      <a:pt x="137" y="38"/>
                      <a:pt x="138" y="38"/>
                      <a:pt x="137" y="38"/>
                    </a:cubicBezTo>
                    <a:cubicBezTo>
                      <a:pt x="137" y="38"/>
                      <a:pt x="136" y="37"/>
                      <a:pt x="137" y="37"/>
                    </a:cubicBezTo>
                    <a:cubicBezTo>
                      <a:pt x="137" y="36"/>
                      <a:pt x="137" y="35"/>
                      <a:pt x="137" y="34"/>
                    </a:cubicBezTo>
                    <a:cubicBezTo>
                      <a:pt x="137" y="34"/>
                      <a:pt x="137" y="33"/>
                      <a:pt x="136" y="33"/>
                    </a:cubicBezTo>
                    <a:cubicBezTo>
                      <a:pt x="136" y="33"/>
                      <a:pt x="135" y="32"/>
                      <a:pt x="135" y="32"/>
                    </a:cubicBezTo>
                    <a:cubicBezTo>
                      <a:pt x="135" y="31"/>
                      <a:pt x="134" y="30"/>
                      <a:pt x="134" y="28"/>
                    </a:cubicBezTo>
                    <a:cubicBezTo>
                      <a:pt x="134" y="27"/>
                      <a:pt x="135" y="26"/>
                      <a:pt x="135" y="25"/>
                    </a:cubicBezTo>
                    <a:cubicBezTo>
                      <a:pt x="135" y="25"/>
                      <a:pt x="135" y="24"/>
                      <a:pt x="135" y="24"/>
                    </a:cubicBezTo>
                    <a:cubicBezTo>
                      <a:pt x="135" y="23"/>
                      <a:pt x="136" y="23"/>
                      <a:pt x="136" y="22"/>
                    </a:cubicBezTo>
                    <a:cubicBezTo>
                      <a:pt x="136" y="21"/>
                      <a:pt x="136" y="21"/>
                      <a:pt x="136" y="20"/>
                    </a:cubicBezTo>
                    <a:cubicBezTo>
                      <a:pt x="136" y="19"/>
                      <a:pt x="136" y="19"/>
                      <a:pt x="137" y="18"/>
                    </a:cubicBezTo>
                    <a:cubicBezTo>
                      <a:pt x="137" y="18"/>
                      <a:pt x="138" y="18"/>
                      <a:pt x="138" y="17"/>
                    </a:cubicBezTo>
                    <a:cubicBezTo>
                      <a:pt x="138" y="17"/>
                      <a:pt x="138" y="17"/>
                      <a:pt x="139" y="16"/>
                    </a:cubicBezTo>
                    <a:cubicBezTo>
                      <a:pt x="139" y="16"/>
                      <a:pt x="139" y="15"/>
                      <a:pt x="139" y="15"/>
                    </a:cubicBezTo>
                    <a:cubicBezTo>
                      <a:pt x="138" y="14"/>
                      <a:pt x="138" y="13"/>
                      <a:pt x="138" y="12"/>
                    </a:cubicBezTo>
                    <a:cubicBezTo>
                      <a:pt x="136" y="12"/>
                      <a:pt x="138" y="10"/>
                      <a:pt x="137" y="10"/>
                    </a:cubicBezTo>
                    <a:cubicBezTo>
                      <a:pt x="137" y="9"/>
                      <a:pt x="136" y="9"/>
                      <a:pt x="135" y="9"/>
                    </a:cubicBezTo>
                    <a:cubicBezTo>
                      <a:pt x="135" y="9"/>
                      <a:pt x="134" y="9"/>
                      <a:pt x="134" y="9"/>
                    </a:cubicBezTo>
                    <a:cubicBezTo>
                      <a:pt x="134" y="8"/>
                      <a:pt x="134" y="9"/>
                      <a:pt x="134" y="9"/>
                    </a:cubicBezTo>
                    <a:cubicBezTo>
                      <a:pt x="133" y="9"/>
                      <a:pt x="133" y="8"/>
                      <a:pt x="134" y="8"/>
                    </a:cubicBezTo>
                    <a:cubicBezTo>
                      <a:pt x="135" y="7"/>
                      <a:pt x="135" y="4"/>
                      <a:pt x="135" y="3"/>
                    </a:cubicBezTo>
                    <a:cubicBezTo>
                      <a:pt x="135" y="3"/>
                      <a:pt x="135" y="2"/>
                      <a:pt x="135" y="2"/>
                    </a:cubicBezTo>
                    <a:cubicBezTo>
                      <a:pt x="134" y="2"/>
                      <a:pt x="134" y="1"/>
                      <a:pt x="134" y="1"/>
                    </a:cubicBezTo>
                    <a:cubicBezTo>
                      <a:pt x="133" y="1"/>
                      <a:pt x="133" y="0"/>
                      <a:pt x="133" y="0"/>
                    </a:cubicBezTo>
                    <a:cubicBezTo>
                      <a:pt x="132" y="1"/>
                      <a:pt x="132" y="1"/>
                      <a:pt x="131" y="1"/>
                    </a:cubicBezTo>
                    <a:cubicBezTo>
                      <a:pt x="131" y="1"/>
                      <a:pt x="131" y="1"/>
                      <a:pt x="131" y="1"/>
                    </a:cubicBezTo>
                    <a:cubicBezTo>
                      <a:pt x="130" y="1"/>
                      <a:pt x="130" y="1"/>
                      <a:pt x="130" y="1"/>
                    </a:cubicBezTo>
                    <a:cubicBezTo>
                      <a:pt x="129" y="1"/>
                      <a:pt x="129" y="1"/>
                      <a:pt x="128" y="1"/>
                    </a:cubicBezTo>
                    <a:cubicBezTo>
                      <a:pt x="129" y="1"/>
                      <a:pt x="129" y="3"/>
                      <a:pt x="129" y="4"/>
                    </a:cubicBezTo>
                    <a:cubicBezTo>
                      <a:pt x="129" y="5"/>
                      <a:pt x="127" y="6"/>
                      <a:pt x="126" y="6"/>
                    </a:cubicBezTo>
                    <a:cubicBezTo>
                      <a:pt x="125" y="7"/>
                      <a:pt x="126" y="8"/>
                      <a:pt x="125" y="9"/>
                    </a:cubicBezTo>
                    <a:cubicBezTo>
                      <a:pt x="124" y="9"/>
                      <a:pt x="123" y="9"/>
                      <a:pt x="123" y="9"/>
                    </a:cubicBezTo>
                    <a:cubicBezTo>
                      <a:pt x="122" y="9"/>
                      <a:pt x="122" y="9"/>
                      <a:pt x="122" y="9"/>
                    </a:cubicBezTo>
                    <a:cubicBezTo>
                      <a:pt x="123" y="10"/>
                      <a:pt x="121" y="10"/>
                      <a:pt x="120" y="10"/>
                    </a:cubicBezTo>
                    <a:cubicBezTo>
                      <a:pt x="120" y="10"/>
                      <a:pt x="120" y="11"/>
                      <a:pt x="120" y="11"/>
                    </a:cubicBezTo>
                    <a:cubicBezTo>
                      <a:pt x="120" y="12"/>
                      <a:pt x="119" y="12"/>
                      <a:pt x="118" y="11"/>
                    </a:cubicBezTo>
                    <a:cubicBezTo>
                      <a:pt x="118" y="11"/>
                      <a:pt x="117" y="12"/>
                      <a:pt x="117" y="12"/>
                    </a:cubicBezTo>
                    <a:cubicBezTo>
                      <a:pt x="116" y="13"/>
                      <a:pt x="116" y="12"/>
                      <a:pt x="115" y="12"/>
                    </a:cubicBezTo>
                    <a:cubicBezTo>
                      <a:pt x="115" y="12"/>
                      <a:pt x="115" y="13"/>
                      <a:pt x="114" y="13"/>
                    </a:cubicBezTo>
                    <a:cubicBezTo>
                      <a:pt x="113" y="13"/>
                      <a:pt x="113" y="13"/>
                      <a:pt x="112" y="13"/>
                    </a:cubicBezTo>
                    <a:cubicBezTo>
                      <a:pt x="112" y="13"/>
                      <a:pt x="111" y="12"/>
                      <a:pt x="111" y="12"/>
                    </a:cubicBezTo>
                    <a:cubicBezTo>
                      <a:pt x="111" y="13"/>
                      <a:pt x="110" y="13"/>
                      <a:pt x="110" y="13"/>
                    </a:cubicBezTo>
                    <a:cubicBezTo>
                      <a:pt x="110" y="13"/>
                      <a:pt x="110" y="14"/>
                      <a:pt x="109" y="14"/>
                    </a:cubicBezTo>
                    <a:cubicBezTo>
                      <a:pt x="109" y="14"/>
                      <a:pt x="108" y="14"/>
                      <a:pt x="108" y="14"/>
                    </a:cubicBezTo>
                    <a:cubicBezTo>
                      <a:pt x="108" y="14"/>
                      <a:pt x="108" y="15"/>
                      <a:pt x="108" y="15"/>
                    </a:cubicBezTo>
                    <a:cubicBezTo>
                      <a:pt x="108" y="16"/>
                      <a:pt x="108" y="17"/>
                      <a:pt x="108" y="17"/>
                    </a:cubicBezTo>
                    <a:cubicBezTo>
                      <a:pt x="108" y="19"/>
                      <a:pt x="107" y="20"/>
                      <a:pt x="105" y="19"/>
                    </a:cubicBezTo>
                    <a:cubicBezTo>
                      <a:pt x="105" y="18"/>
                      <a:pt x="104" y="16"/>
                      <a:pt x="103" y="15"/>
                    </a:cubicBezTo>
                    <a:cubicBezTo>
                      <a:pt x="103" y="15"/>
                      <a:pt x="102" y="14"/>
                      <a:pt x="101" y="15"/>
                    </a:cubicBezTo>
                    <a:cubicBezTo>
                      <a:pt x="101" y="15"/>
                      <a:pt x="101" y="15"/>
                      <a:pt x="101" y="16"/>
                    </a:cubicBezTo>
                    <a:cubicBezTo>
                      <a:pt x="101" y="16"/>
                      <a:pt x="100" y="16"/>
                      <a:pt x="100" y="15"/>
                    </a:cubicBezTo>
                    <a:cubicBezTo>
                      <a:pt x="99" y="15"/>
                      <a:pt x="99" y="15"/>
                      <a:pt x="98" y="15"/>
                    </a:cubicBezTo>
                    <a:cubicBezTo>
                      <a:pt x="98" y="15"/>
                      <a:pt x="97" y="15"/>
                      <a:pt x="97" y="15"/>
                    </a:cubicBezTo>
                    <a:cubicBezTo>
                      <a:pt x="97" y="15"/>
                      <a:pt x="96" y="16"/>
                      <a:pt x="96" y="16"/>
                    </a:cubicBezTo>
                    <a:cubicBezTo>
                      <a:pt x="95" y="16"/>
                      <a:pt x="95" y="14"/>
                      <a:pt x="95" y="13"/>
                    </a:cubicBezTo>
                    <a:cubicBezTo>
                      <a:pt x="94" y="12"/>
                      <a:pt x="92" y="13"/>
                      <a:pt x="91" y="13"/>
                    </a:cubicBezTo>
                    <a:cubicBezTo>
                      <a:pt x="91" y="13"/>
                      <a:pt x="90" y="13"/>
                      <a:pt x="90" y="12"/>
                    </a:cubicBezTo>
                    <a:cubicBezTo>
                      <a:pt x="90" y="12"/>
                      <a:pt x="89" y="11"/>
                      <a:pt x="89" y="11"/>
                    </a:cubicBezTo>
                    <a:cubicBezTo>
                      <a:pt x="88" y="11"/>
                      <a:pt x="88" y="12"/>
                      <a:pt x="88" y="12"/>
                    </a:cubicBezTo>
                    <a:cubicBezTo>
                      <a:pt x="89" y="12"/>
                      <a:pt x="89" y="12"/>
                      <a:pt x="89" y="13"/>
                    </a:cubicBezTo>
                    <a:cubicBezTo>
                      <a:pt x="89" y="14"/>
                      <a:pt x="90" y="16"/>
                      <a:pt x="91" y="17"/>
                    </a:cubicBezTo>
                    <a:cubicBezTo>
                      <a:pt x="92" y="17"/>
                      <a:pt x="94" y="18"/>
                      <a:pt x="94" y="19"/>
                    </a:cubicBezTo>
                    <a:cubicBezTo>
                      <a:pt x="94" y="20"/>
                      <a:pt x="93" y="20"/>
                      <a:pt x="93" y="21"/>
                    </a:cubicBezTo>
                    <a:cubicBezTo>
                      <a:pt x="93" y="22"/>
                      <a:pt x="94" y="22"/>
                      <a:pt x="93" y="23"/>
                    </a:cubicBezTo>
                    <a:cubicBezTo>
                      <a:pt x="93" y="24"/>
                      <a:pt x="94" y="24"/>
                      <a:pt x="94" y="25"/>
                    </a:cubicBezTo>
                    <a:cubicBezTo>
                      <a:pt x="94" y="26"/>
                      <a:pt x="95" y="26"/>
                      <a:pt x="95" y="27"/>
                    </a:cubicBezTo>
                    <a:cubicBezTo>
                      <a:pt x="96" y="28"/>
                      <a:pt x="96" y="29"/>
                      <a:pt x="95" y="30"/>
                    </a:cubicBezTo>
                    <a:cubicBezTo>
                      <a:pt x="95" y="30"/>
                      <a:pt x="95" y="31"/>
                      <a:pt x="95" y="31"/>
                    </a:cubicBezTo>
                    <a:cubicBezTo>
                      <a:pt x="96" y="31"/>
                      <a:pt x="97" y="32"/>
                      <a:pt x="97" y="32"/>
                    </a:cubicBezTo>
                    <a:cubicBezTo>
                      <a:pt x="98" y="32"/>
                      <a:pt x="98" y="32"/>
                      <a:pt x="98" y="32"/>
                    </a:cubicBezTo>
                    <a:cubicBezTo>
                      <a:pt x="99" y="31"/>
                      <a:pt x="101" y="31"/>
                      <a:pt x="101" y="32"/>
                    </a:cubicBezTo>
                    <a:cubicBezTo>
                      <a:pt x="102" y="32"/>
                      <a:pt x="101" y="34"/>
                      <a:pt x="101" y="35"/>
                    </a:cubicBezTo>
                    <a:cubicBezTo>
                      <a:pt x="101" y="35"/>
                      <a:pt x="100" y="35"/>
                      <a:pt x="100" y="35"/>
                    </a:cubicBezTo>
                    <a:cubicBezTo>
                      <a:pt x="99" y="35"/>
                      <a:pt x="98" y="36"/>
                      <a:pt x="98" y="36"/>
                    </a:cubicBezTo>
                    <a:cubicBezTo>
                      <a:pt x="97" y="37"/>
                      <a:pt x="95" y="36"/>
                      <a:pt x="95" y="38"/>
                    </a:cubicBezTo>
                    <a:cubicBezTo>
                      <a:pt x="95" y="39"/>
                      <a:pt x="95" y="39"/>
                      <a:pt x="94" y="40"/>
                    </a:cubicBezTo>
                    <a:cubicBezTo>
                      <a:pt x="94" y="41"/>
                      <a:pt x="94" y="41"/>
                      <a:pt x="93" y="42"/>
                    </a:cubicBezTo>
                    <a:cubicBezTo>
                      <a:pt x="93" y="42"/>
                      <a:pt x="92" y="43"/>
                      <a:pt x="92" y="43"/>
                    </a:cubicBezTo>
                    <a:cubicBezTo>
                      <a:pt x="92" y="43"/>
                      <a:pt x="91" y="43"/>
                      <a:pt x="91" y="43"/>
                    </a:cubicBezTo>
                    <a:cubicBezTo>
                      <a:pt x="92" y="43"/>
                      <a:pt x="92" y="42"/>
                      <a:pt x="92" y="42"/>
                    </a:cubicBezTo>
                    <a:cubicBezTo>
                      <a:pt x="91" y="42"/>
                      <a:pt x="90" y="42"/>
                      <a:pt x="90" y="43"/>
                    </a:cubicBezTo>
                    <a:cubicBezTo>
                      <a:pt x="89" y="43"/>
                      <a:pt x="88" y="45"/>
                      <a:pt x="87" y="44"/>
                    </a:cubicBezTo>
                    <a:cubicBezTo>
                      <a:pt x="87" y="44"/>
                      <a:pt x="87" y="45"/>
                      <a:pt x="86" y="45"/>
                    </a:cubicBezTo>
                    <a:cubicBezTo>
                      <a:pt x="86" y="45"/>
                      <a:pt x="85" y="46"/>
                      <a:pt x="85" y="46"/>
                    </a:cubicBezTo>
                    <a:cubicBezTo>
                      <a:pt x="83" y="45"/>
                      <a:pt x="85" y="48"/>
                      <a:pt x="83" y="48"/>
                    </a:cubicBezTo>
                    <a:cubicBezTo>
                      <a:pt x="81" y="48"/>
                      <a:pt x="82" y="50"/>
                      <a:pt x="81" y="51"/>
                    </a:cubicBezTo>
                    <a:cubicBezTo>
                      <a:pt x="80" y="51"/>
                      <a:pt x="80" y="51"/>
                      <a:pt x="80" y="50"/>
                    </a:cubicBezTo>
                    <a:cubicBezTo>
                      <a:pt x="80" y="50"/>
                      <a:pt x="81" y="49"/>
                      <a:pt x="80" y="49"/>
                    </a:cubicBezTo>
                    <a:cubicBezTo>
                      <a:pt x="80" y="47"/>
                      <a:pt x="78" y="48"/>
                      <a:pt x="77" y="48"/>
                    </a:cubicBezTo>
                    <a:cubicBezTo>
                      <a:pt x="77" y="49"/>
                      <a:pt x="75" y="51"/>
                      <a:pt x="74" y="50"/>
                    </a:cubicBezTo>
                    <a:cubicBezTo>
                      <a:pt x="74" y="50"/>
                      <a:pt x="73" y="50"/>
                      <a:pt x="72" y="50"/>
                    </a:cubicBezTo>
                    <a:cubicBezTo>
                      <a:pt x="72" y="49"/>
                      <a:pt x="71" y="49"/>
                      <a:pt x="71" y="48"/>
                    </a:cubicBezTo>
                    <a:cubicBezTo>
                      <a:pt x="70" y="47"/>
                      <a:pt x="69" y="46"/>
                      <a:pt x="67" y="45"/>
                    </a:cubicBezTo>
                    <a:cubicBezTo>
                      <a:pt x="67" y="45"/>
                      <a:pt x="66" y="46"/>
                      <a:pt x="65" y="45"/>
                    </a:cubicBezTo>
                    <a:cubicBezTo>
                      <a:pt x="65" y="45"/>
                      <a:pt x="65" y="44"/>
                      <a:pt x="65" y="43"/>
                    </a:cubicBezTo>
                    <a:cubicBezTo>
                      <a:pt x="66" y="41"/>
                      <a:pt x="65" y="40"/>
                      <a:pt x="65" y="39"/>
                    </a:cubicBezTo>
                    <a:cubicBezTo>
                      <a:pt x="64" y="38"/>
                      <a:pt x="64" y="37"/>
                      <a:pt x="63" y="36"/>
                    </a:cubicBezTo>
                    <a:cubicBezTo>
                      <a:pt x="63" y="36"/>
                      <a:pt x="63" y="35"/>
                      <a:pt x="62" y="35"/>
                    </a:cubicBezTo>
                    <a:cubicBezTo>
                      <a:pt x="61" y="35"/>
                      <a:pt x="60" y="37"/>
                      <a:pt x="59" y="38"/>
                    </a:cubicBezTo>
                    <a:cubicBezTo>
                      <a:pt x="59" y="38"/>
                      <a:pt x="57" y="40"/>
                      <a:pt x="56" y="38"/>
                    </a:cubicBezTo>
                    <a:cubicBezTo>
                      <a:pt x="56" y="38"/>
                      <a:pt x="56" y="37"/>
                      <a:pt x="55" y="37"/>
                    </a:cubicBezTo>
                    <a:cubicBezTo>
                      <a:pt x="55" y="37"/>
                      <a:pt x="54" y="36"/>
                      <a:pt x="55" y="36"/>
                    </a:cubicBezTo>
                    <a:cubicBezTo>
                      <a:pt x="54" y="36"/>
                      <a:pt x="54" y="38"/>
                      <a:pt x="54" y="38"/>
                    </a:cubicBezTo>
                    <a:cubicBezTo>
                      <a:pt x="54" y="39"/>
                      <a:pt x="54" y="39"/>
                      <a:pt x="55" y="39"/>
                    </a:cubicBezTo>
                    <a:cubicBezTo>
                      <a:pt x="52" y="40"/>
                      <a:pt x="48" y="39"/>
                      <a:pt x="45" y="39"/>
                    </a:cubicBezTo>
                    <a:cubicBezTo>
                      <a:pt x="44" y="39"/>
                      <a:pt x="43" y="39"/>
                      <a:pt x="43" y="39"/>
                    </a:cubicBezTo>
                    <a:cubicBezTo>
                      <a:pt x="42" y="39"/>
                      <a:pt x="42" y="39"/>
                      <a:pt x="41" y="39"/>
                    </a:cubicBezTo>
                    <a:cubicBezTo>
                      <a:pt x="41" y="39"/>
                      <a:pt x="40" y="39"/>
                      <a:pt x="40" y="39"/>
                    </a:cubicBezTo>
                    <a:cubicBezTo>
                      <a:pt x="39" y="39"/>
                      <a:pt x="39" y="40"/>
                      <a:pt x="38" y="39"/>
                    </a:cubicBezTo>
                    <a:cubicBezTo>
                      <a:pt x="38" y="42"/>
                      <a:pt x="38" y="44"/>
                      <a:pt x="38" y="46"/>
                    </a:cubicBezTo>
                    <a:cubicBezTo>
                      <a:pt x="38" y="46"/>
                      <a:pt x="38" y="47"/>
                      <a:pt x="39" y="47"/>
                    </a:cubicBezTo>
                    <a:cubicBezTo>
                      <a:pt x="39" y="47"/>
                      <a:pt x="39" y="46"/>
                      <a:pt x="39" y="46"/>
                    </a:cubicBezTo>
                    <a:cubicBezTo>
                      <a:pt x="39" y="46"/>
                      <a:pt x="40" y="46"/>
                      <a:pt x="40" y="46"/>
                    </a:cubicBezTo>
                    <a:cubicBezTo>
                      <a:pt x="40" y="47"/>
                      <a:pt x="40" y="47"/>
                      <a:pt x="40" y="47"/>
                    </a:cubicBezTo>
                    <a:cubicBezTo>
                      <a:pt x="41" y="47"/>
                      <a:pt x="42" y="46"/>
                      <a:pt x="42" y="47"/>
                    </a:cubicBezTo>
                    <a:cubicBezTo>
                      <a:pt x="43" y="47"/>
                      <a:pt x="43" y="46"/>
                      <a:pt x="43" y="47"/>
                    </a:cubicBezTo>
                    <a:cubicBezTo>
                      <a:pt x="44" y="47"/>
                      <a:pt x="44" y="47"/>
                      <a:pt x="45" y="48"/>
                    </a:cubicBezTo>
                    <a:cubicBezTo>
                      <a:pt x="45" y="48"/>
                      <a:pt x="45" y="48"/>
                      <a:pt x="45" y="48"/>
                    </a:cubicBezTo>
                    <a:cubicBezTo>
                      <a:pt x="45" y="48"/>
                      <a:pt x="45" y="48"/>
                      <a:pt x="45" y="49"/>
                    </a:cubicBezTo>
                    <a:cubicBezTo>
                      <a:pt x="45" y="49"/>
                      <a:pt x="45" y="50"/>
                      <a:pt x="45" y="50"/>
                    </a:cubicBezTo>
                    <a:cubicBezTo>
                      <a:pt x="45" y="51"/>
                      <a:pt x="46" y="51"/>
                      <a:pt x="45" y="51"/>
                    </a:cubicBezTo>
                    <a:cubicBezTo>
                      <a:pt x="45" y="51"/>
                      <a:pt x="45" y="51"/>
                      <a:pt x="44" y="51"/>
                    </a:cubicBezTo>
                    <a:cubicBezTo>
                      <a:pt x="44" y="51"/>
                      <a:pt x="44" y="51"/>
                      <a:pt x="44" y="51"/>
                    </a:cubicBezTo>
                    <a:cubicBezTo>
                      <a:pt x="43" y="51"/>
                      <a:pt x="43" y="51"/>
                      <a:pt x="43" y="51"/>
                    </a:cubicBezTo>
                    <a:cubicBezTo>
                      <a:pt x="43" y="51"/>
                      <a:pt x="43" y="51"/>
                      <a:pt x="43" y="51"/>
                    </a:cubicBezTo>
                    <a:cubicBezTo>
                      <a:pt x="42" y="50"/>
                      <a:pt x="42" y="50"/>
                      <a:pt x="41" y="51"/>
                    </a:cubicBezTo>
                    <a:cubicBezTo>
                      <a:pt x="41" y="51"/>
                      <a:pt x="40" y="51"/>
                      <a:pt x="40" y="51"/>
                    </a:cubicBezTo>
                    <a:cubicBezTo>
                      <a:pt x="39" y="51"/>
                      <a:pt x="39" y="52"/>
                      <a:pt x="38" y="52"/>
                    </a:cubicBezTo>
                    <a:cubicBezTo>
                      <a:pt x="38" y="52"/>
                      <a:pt x="37" y="52"/>
                      <a:pt x="36" y="52"/>
                    </a:cubicBezTo>
                    <a:cubicBezTo>
                      <a:pt x="36" y="54"/>
                      <a:pt x="36" y="56"/>
                      <a:pt x="36" y="57"/>
                    </a:cubicBezTo>
                    <a:cubicBezTo>
                      <a:pt x="36" y="59"/>
                      <a:pt x="36" y="60"/>
                      <a:pt x="38" y="62"/>
                    </a:cubicBezTo>
                    <a:cubicBezTo>
                      <a:pt x="38" y="62"/>
                      <a:pt x="39" y="62"/>
                      <a:pt x="39" y="63"/>
                    </a:cubicBezTo>
                    <a:cubicBezTo>
                      <a:pt x="39" y="63"/>
                      <a:pt x="40" y="63"/>
                      <a:pt x="41" y="64"/>
                    </a:cubicBezTo>
                    <a:cubicBezTo>
                      <a:pt x="41" y="65"/>
                      <a:pt x="41" y="65"/>
                      <a:pt x="41" y="66"/>
                    </a:cubicBezTo>
                    <a:cubicBezTo>
                      <a:pt x="41" y="67"/>
                      <a:pt x="41" y="67"/>
                      <a:pt x="41" y="68"/>
                    </a:cubicBezTo>
                    <a:cubicBezTo>
                      <a:pt x="41" y="68"/>
                      <a:pt x="42" y="69"/>
                      <a:pt x="42" y="69"/>
                    </a:cubicBezTo>
                    <a:cubicBezTo>
                      <a:pt x="43" y="69"/>
                      <a:pt x="42" y="70"/>
                      <a:pt x="43" y="71"/>
                    </a:cubicBezTo>
                    <a:cubicBezTo>
                      <a:pt x="43" y="72"/>
                      <a:pt x="43" y="73"/>
                      <a:pt x="42" y="75"/>
                    </a:cubicBezTo>
                    <a:cubicBezTo>
                      <a:pt x="42" y="76"/>
                      <a:pt x="42" y="78"/>
                      <a:pt x="42" y="80"/>
                    </a:cubicBezTo>
                    <a:cubicBezTo>
                      <a:pt x="41" y="81"/>
                      <a:pt x="41" y="83"/>
                      <a:pt x="41" y="84"/>
                    </a:cubicBezTo>
                    <a:cubicBezTo>
                      <a:pt x="41" y="87"/>
                      <a:pt x="40" y="90"/>
                      <a:pt x="40" y="92"/>
                    </a:cubicBezTo>
                    <a:cubicBezTo>
                      <a:pt x="40" y="94"/>
                      <a:pt x="40" y="96"/>
                      <a:pt x="39" y="97"/>
                    </a:cubicBezTo>
                    <a:cubicBezTo>
                      <a:pt x="39" y="100"/>
                      <a:pt x="39" y="102"/>
                      <a:pt x="38" y="104"/>
                    </a:cubicBezTo>
                    <a:cubicBezTo>
                      <a:pt x="38" y="105"/>
                      <a:pt x="38" y="107"/>
                      <a:pt x="37" y="105"/>
                    </a:cubicBezTo>
                    <a:cubicBezTo>
                      <a:pt x="36" y="104"/>
                      <a:pt x="36" y="106"/>
                      <a:pt x="36" y="106"/>
                    </a:cubicBezTo>
                    <a:cubicBezTo>
                      <a:pt x="35" y="105"/>
                      <a:pt x="35" y="105"/>
                      <a:pt x="35" y="104"/>
                    </a:cubicBezTo>
                    <a:cubicBezTo>
                      <a:pt x="35" y="104"/>
                      <a:pt x="34" y="104"/>
                      <a:pt x="34" y="104"/>
                    </a:cubicBezTo>
                    <a:cubicBezTo>
                      <a:pt x="34" y="104"/>
                      <a:pt x="33" y="104"/>
                      <a:pt x="33" y="104"/>
                    </a:cubicBezTo>
                    <a:cubicBezTo>
                      <a:pt x="32" y="103"/>
                      <a:pt x="32" y="104"/>
                      <a:pt x="32" y="104"/>
                    </a:cubicBezTo>
                    <a:cubicBezTo>
                      <a:pt x="32" y="104"/>
                      <a:pt x="31" y="103"/>
                      <a:pt x="31" y="104"/>
                    </a:cubicBezTo>
                    <a:cubicBezTo>
                      <a:pt x="31" y="104"/>
                      <a:pt x="30" y="104"/>
                      <a:pt x="30" y="104"/>
                    </a:cubicBezTo>
                    <a:cubicBezTo>
                      <a:pt x="30" y="104"/>
                      <a:pt x="28" y="107"/>
                      <a:pt x="28" y="106"/>
                    </a:cubicBezTo>
                    <a:cubicBezTo>
                      <a:pt x="28" y="107"/>
                      <a:pt x="27" y="106"/>
                      <a:pt x="27" y="106"/>
                    </a:cubicBezTo>
                    <a:cubicBezTo>
                      <a:pt x="27" y="107"/>
                      <a:pt x="26" y="106"/>
                      <a:pt x="26" y="106"/>
                    </a:cubicBezTo>
                    <a:cubicBezTo>
                      <a:pt x="26" y="107"/>
                      <a:pt x="26" y="106"/>
                      <a:pt x="25" y="106"/>
                    </a:cubicBezTo>
                    <a:cubicBezTo>
                      <a:pt x="25" y="106"/>
                      <a:pt x="25" y="107"/>
                      <a:pt x="25" y="107"/>
                    </a:cubicBezTo>
                    <a:cubicBezTo>
                      <a:pt x="24" y="107"/>
                      <a:pt x="24" y="107"/>
                      <a:pt x="23" y="107"/>
                    </a:cubicBezTo>
                    <a:cubicBezTo>
                      <a:pt x="23" y="108"/>
                      <a:pt x="22" y="108"/>
                      <a:pt x="22" y="108"/>
                    </a:cubicBezTo>
                    <a:cubicBezTo>
                      <a:pt x="21" y="108"/>
                      <a:pt x="21" y="107"/>
                      <a:pt x="20" y="108"/>
                    </a:cubicBezTo>
                    <a:cubicBezTo>
                      <a:pt x="20" y="108"/>
                      <a:pt x="20" y="108"/>
                      <a:pt x="19" y="108"/>
                    </a:cubicBezTo>
                    <a:cubicBezTo>
                      <a:pt x="19" y="108"/>
                      <a:pt x="18" y="109"/>
                      <a:pt x="18" y="109"/>
                    </a:cubicBezTo>
                    <a:cubicBezTo>
                      <a:pt x="17" y="109"/>
                      <a:pt x="17" y="110"/>
                      <a:pt x="17" y="110"/>
                    </a:cubicBezTo>
                    <a:cubicBezTo>
                      <a:pt x="16" y="110"/>
                      <a:pt x="15" y="110"/>
                      <a:pt x="15" y="111"/>
                    </a:cubicBezTo>
                    <a:cubicBezTo>
                      <a:pt x="15" y="111"/>
                      <a:pt x="15" y="112"/>
                      <a:pt x="15" y="112"/>
                    </a:cubicBezTo>
                    <a:cubicBezTo>
                      <a:pt x="14" y="112"/>
                      <a:pt x="14" y="113"/>
                      <a:pt x="13" y="113"/>
                    </a:cubicBezTo>
                    <a:cubicBezTo>
                      <a:pt x="13" y="113"/>
                      <a:pt x="13" y="114"/>
                      <a:pt x="12" y="114"/>
                    </a:cubicBezTo>
                    <a:cubicBezTo>
                      <a:pt x="12" y="114"/>
                      <a:pt x="11" y="114"/>
                      <a:pt x="11" y="114"/>
                    </a:cubicBezTo>
                    <a:cubicBezTo>
                      <a:pt x="11" y="114"/>
                      <a:pt x="10" y="115"/>
                      <a:pt x="10" y="115"/>
                    </a:cubicBezTo>
                    <a:cubicBezTo>
                      <a:pt x="10" y="115"/>
                      <a:pt x="10" y="116"/>
                      <a:pt x="10" y="116"/>
                    </a:cubicBezTo>
                    <a:cubicBezTo>
                      <a:pt x="10" y="116"/>
                      <a:pt x="10" y="117"/>
                      <a:pt x="10" y="117"/>
                    </a:cubicBezTo>
                    <a:cubicBezTo>
                      <a:pt x="10" y="118"/>
                      <a:pt x="10" y="119"/>
                      <a:pt x="9" y="120"/>
                    </a:cubicBezTo>
                    <a:cubicBezTo>
                      <a:pt x="9" y="121"/>
                      <a:pt x="8" y="122"/>
                      <a:pt x="8" y="124"/>
                    </a:cubicBezTo>
                    <a:cubicBezTo>
                      <a:pt x="7" y="124"/>
                      <a:pt x="7" y="125"/>
                      <a:pt x="7" y="126"/>
                    </a:cubicBezTo>
                    <a:cubicBezTo>
                      <a:pt x="8" y="127"/>
                      <a:pt x="8" y="127"/>
                      <a:pt x="8" y="128"/>
                    </a:cubicBezTo>
                    <a:cubicBezTo>
                      <a:pt x="8" y="129"/>
                      <a:pt x="8" y="129"/>
                      <a:pt x="8" y="130"/>
                    </a:cubicBezTo>
                    <a:cubicBezTo>
                      <a:pt x="7" y="131"/>
                      <a:pt x="7" y="130"/>
                      <a:pt x="6" y="131"/>
                    </a:cubicBezTo>
                    <a:cubicBezTo>
                      <a:pt x="6" y="131"/>
                      <a:pt x="5" y="131"/>
                      <a:pt x="5" y="132"/>
                    </a:cubicBezTo>
                    <a:cubicBezTo>
                      <a:pt x="4" y="132"/>
                      <a:pt x="3" y="133"/>
                      <a:pt x="3" y="133"/>
                    </a:cubicBezTo>
                    <a:cubicBezTo>
                      <a:pt x="2" y="134"/>
                      <a:pt x="2" y="136"/>
                      <a:pt x="2" y="137"/>
                    </a:cubicBezTo>
                    <a:cubicBezTo>
                      <a:pt x="2" y="137"/>
                      <a:pt x="3" y="138"/>
                      <a:pt x="3" y="138"/>
                    </a:cubicBezTo>
                    <a:cubicBezTo>
                      <a:pt x="3" y="139"/>
                      <a:pt x="2" y="139"/>
                      <a:pt x="2" y="139"/>
                    </a:cubicBezTo>
                    <a:cubicBezTo>
                      <a:pt x="1" y="139"/>
                      <a:pt x="1" y="139"/>
                      <a:pt x="1" y="139"/>
                    </a:cubicBezTo>
                    <a:cubicBezTo>
                      <a:pt x="1" y="139"/>
                      <a:pt x="1" y="139"/>
                      <a:pt x="1" y="139"/>
                    </a:cubicBezTo>
                    <a:cubicBezTo>
                      <a:pt x="0" y="139"/>
                      <a:pt x="1" y="140"/>
                      <a:pt x="1" y="140"/>
                    </a:cubicBezTo>
                    <a:cubicBezTo>
                      <a:pt x="1" y="141"/>
                      <a:pt x="0" y="141"/>
                      <a:pt x="0" y="141"/>
                    </a:cubicBezTo>
                    <a:cubicBezTo>
                      <a:pt x="0" y="142"/>
                      <a:pt x="1" y="142"/>
                      <a:pt x="1" y="142"/>
                    </a:cubicBezTo>
                    <a:cubicBezTo>
                      <a:pt x="2" y="143"/>
                      <a:pt x="2" y="143"/>
                      <a:pt x="3" y="143"/>
                    </a:cubicBezTo>
                    <a:cubicBezTo>
                      <a:pt x="3" y="144"/>
                      <a:pt x="4" y="144"/>
                      <a:pt x="3" y="144"/>
                    </a:cubicBezTo>
                    <a:cubicBezTo>
                      <a:pt x="3" y="145"/>
                      <a:pt x="2" y="145"/>
                      <a:pt x="3" y="146"/>
                    </a:cubicBezTo>
                    <a:cubicBezTo>
                      <a:pt x="3" y="146"/>
                      <a:pt x="4" y="146"/>
                      <a:pt x="4" y="147"/>
                    </a:cubicBezTo>
                    <a:cubicBezTo>
                      <a:pt x="4" y="147"/>
                      <a:pt x="5" y="147"/>
                      <a:pt x="5" y="148"/>
                    </a:cubicBezTo>
                    <a:cubicBezTo>
                      <a:pt x="5" y="148"/>
                      <a:pt x="4" y="148"/>
                      <a:pt x="5" y="149"/>
                    </a:cubicBezTo>
                    <a:cubicBezTo>
                      <a:pt x="5" y="149"/>
                      <a:pt x="5" y="150"/>
                      <a:pt x="5" y="150"/>
                    </a:cubicBezTo>
                    <a:cubicBezTo>
                      <a:pt x="6" y="151"/>
                      <a:pt x="7" y="151"/>
                      <a:pt x="7" y="152"/>
                    </a:cubicBezTo>
                    <a:cubicBezTo>
                      <a:pt x="7" y="152"/>
                      <a:pt x="7" y="153"/>
                      <a:pt x="7" y="153"/>
                    </a:cubicBezTo>
                    <a:cubicBezTo>
                      <a:pt x="8" y="153"/>
                      <a:pt x="8" y="154"/>
                      <a:pt x="9" y="154"/>
                    </a:cubicBezTo>
                    <a:cubicBezTo>
                      <a:pt x="9" y="154"/>
                      <a:pt x="9" y="155"/>
                      <a:pt x="10" y="155"/>
                    </a:cubicBezTo>
                    <a:cubicBezTo>
                      <a:pt x="10" y="156"/>
                      <a:pt x="11" y="156"/>
                      <a:pt x="11" y="157"/>
                    </a:cubicBezTo>
                    <a:cubicBezTo>
                      <a:pt x="11" y="158"/>
                      <a:pt x="12" y="159"/>
                      <a:pt x="11" y="159"/>
                    </a:cubicBezTo>
                    <a:cubicBezTo>
                      <a:pt x="11" y="159"/>
                      <a:pt x="11" y="159"/>
                      <a:pt x="11" y="159"/>
                    </a:cubicBezTo>
                    <a:cubicBezTo>
                      <a:pt x="11" y="160"/>
                      <a:pt x="10" y="160"/>
                      <a:pt x="10" y="160"/>
                    </a:cubicBezTo>
                    <a:cubicBezTo>
                      <a:pt x="10" y="160"/>
                      <a:pt x="10" y="161"/>
                      <a:pt x="10" y="161"/>
                    </a:cubicBezTo>
                    <a:cubicBezTo>
                      <a:pt x="9" y="161"/>
                      <a:pt x="9" y="161"/>
                      <a:pt x="9" y="162"/>
                    </a:cubicBezTo>
                    <a:cubicBezTo>
                      <a:pt x="11" y="162"/>
                      <a:pt x="13" y="162"/>
                      <a:pt x="14" y="162"/>
                    </a:cubicBezTo>
                    <a:cubicBezTo>
                      <a:pt x="15" y="162"/>
                      <a:pt x="17" y="162"/>
                      <a:pt x="18" y="163"/>
                    </a:cubicBezTo>
                    <a:cubicBezTo>
                      <a:pt x="19" y="164"/>
                      <a:pt x="18" y="165"/>
                      <a:pt x="19" y="166"/>
                    </a:cubicBezTo>
                    <a:cubicBezTo>
                      <a:pt x="19" y="166"/>
                      <a:pt x="20" y="167"/>
                      <a:pt x="19" y="168"/>
                    </a:cubicBezTo>
                    <a:cubicBezTo>
                      <a:pt x="20" y="168"/>
                      <a:pt x="21" y="168"/>
                      <a:pt x="22" y="168"/>
                    </a:cubicBezTo>
                    <a:cubicBezTo>
                      <a:pt x="24" y="168"/>
                      <a:pt x="25" y="168"/>
                      <a:pt x="26" y="168"/>
                    </a:cubicBezTo>
                    <a:cubicBezTo>
                      <a:pt x="27" y="168"/>
                      <a:pt x="27" y="168"/>
                      <a:pt x="27" y="168"/>
                    </a:cubicBezTo>
                    <a:cubicBezTo>
                      <a:pt x="27" y="168"/>
                      <a:pt x="27" y="168"/>
                      <a:pt x="27" y="168"/>
                    </a:cubicBezTo>
                    <a:cubicBezTo>
                      <a:pt x="28" y="168"/>
                      <a:pt x="28" y="168"/>
                      <a:pt x="28" y="168"/>
                    </a:cubicBezTo>
                    <a:cubicBezTo>
                      <a:pt x="29" y="168"/>
                      <a:pt x="29" y="167"/>
                      <a:pt x="29" y="167"/>
                    </a:cubicBezTo>
                    <a:cubicBezTo>
                      <a:pt x="30" y="166"/>
                      <a:pt x="30" y="166"/>
                      <a:pt x="31" y="166"/>
                    </a:cubicBezTo>
                    <a:cubicBezTo>
                      <a:pt x="31" y="166"/>
                      <a:pt x="31" y="165"/>
                      <a:pt x="32" y="165"/>
                    </a:cubicBezTo>
                    <a:cubicBezTo>
                      <a:pt x="32" y="164"/>
                      <a:pt x="33" y="164"/>
                      <a:pt x="33" y="163"/>
                    </a:cubicBezTo>
                    <a:cubicBezTo>
                      <a:pt x="33" y="163"/>
                      <a:pt x="35" y="162"/>
                      <a:pt x="35" y="162"/>
                    </a:cubicBezTo>
                    <a:cubicBezTo>
                      <a:pt x="35" y="162"/>
                      <a:pt x="35" y="164"/>
                      <a:pt x="34" y="163"/>
                    </a:cubicBezTo>
                    <a:cubicBezTo>
                      <a:pt x="35" y="164"/>
                      <a:pt x="35" y="164"/>
                      <a:pt x="35" y="165"/>
                    </a:cubicBezTo>
                    <a:cubicBezTo>
                      <a:pt x="35" y="165"/>
                      <a:pt x="35" y="166"/>
                      <a:pt x="35" y="166"/>
                    </a:cubicBezTo>
                    <a:cubicBezTo>
                      <a:pt x="34" y="166"/>
                      <a:pt x="34" y="169"/>
                      <a:pt x="34" y="170"/>
                    </a:cubicBezTo>
                    <a:cubicBezTo>
                      <a:pt x="35" y="173"/>
                      <a:pt x="35" y="176"/>
                      <a:pt x="35" y="179"/>
                    </a:cubicBezTo>
                    <a:cubicBezTo>
                      <a:pt x="35" y="179"/>
                      <a:pt x="36" y="178"/>
                      <a:pt x="36" y="179"/>
                    </a:cubicBezTo>
                    <a:cubicBezTo>
                      <a:pt x="37" y="179"/>
                      <a:pt x="37" y="180"/>
                      <a:pt x="38" y="180"/>
                    </a:cubicBezTo>
                    <a:cubicBezTo>
                      <a:pt x="39" y="180"/>
                      <a:pt x="40" y="179"/>
                      <a:pt x="41" y="179"/>
                    </a:cubicBezTo>
                    <a:cubicBezTo>
                      <a:pt x="42" y="178"/>
                      <a:pt x="43" y="179"/>
                      <a:pt x="44" y="179"/>
                    </a:cubicBezTo>
                    <a:cubicBezTo>
                      <a:pt x="46" y="179"/>
                      <a:pt x="47" y="178"/>
                      <a:pt x="49" y="179"/>
                    </a:cubicBezTo>
                    <a:cubicBezTo>
                      <a:pt x="49" y="179"/>
                      <a:pt x="50" y="179"/>
                      <a:pt x="51" y="179"/>
                    </a:cubicBezTo>
                    <a:cubicBezTo>
                      <a:pt x="51" y="179"/>
                      <a:pt x="52" y="179"/>
                      <a:pt x="52" y="179"/>
                    </a:cubicBezTo>
                    <a:cubicBezTo>
                      <a:pt x="52" y="179"/>
                      <a:pt x="53" y="179"/>
                      <a:pt x="53" y="179"/>
                    </a:cubicBezTo>
                    <a:cubicBezTo>
                      <a:pt x="53" y="180"/>
                      <a:pt x="52" y="180"/>
                      <a:pt x="53" y="181"/>
                    </a:cubicBezTo>
                    <a:cubicBezTo>
                      <a:pt x="54" y="181"/>
                      <a:pt x="54" y="181"/>
                      <a:pt x="55" y="180"/>
                    </a:cubicBezTo>
                    <a:cubicBezTo>
                      <a:pt x="55" y="180"/>
                      <a:pt x="56" y="180"/>
                      <a:pt x="56" y="180"/>
                    </a:cubicBezTo>
                    <a:cubicBezTo>
                      <a:pt x="57" y="180"/>
                      <a:pt x="57" y="179"/>
                      <a:pt x="58" y="179"/>
                    </a:cubicBezTo>
                    <a:cubicBezTo>
                      <a:pt x="58" y="178"/>
                      <a:pt x="59" y="176"/>
                      <a:pt x="60" y="176"/>
                    </a:cubicBezTo>
                    <a:cubicBezTo>
                      <a:pt x="60" y="175"/>
                      <a:pt x="61" y="175"/>
                      <a:pt x="62" y="175"/>
                    </a:cubicBezTo>
                    <a:cubicBezTo>
                      <a:pt x="62" y="176"/>
                      <a:pt x="63" y="176"/>
                      <a:pt x="63" y="176"/>
                    </a:cubicBezTo>
                    <a:cubicBezTo>
                      <a:pt x="64" y="175"/>
                      <a:pt x="64" y="174"/>
                      <a:pt x="65" y="173"/>
                    </a:cubicBezTo>
                    <a:cubicBezTo>
                      <a:pt x="65" y="173"/>
                      <a:pt x="65" y="172"/>
                      <a:pt x="66" y="172"/>
                    </a:cubicBezTo>
                    <a:cubicBezTo>
                      <a:pt x="67" y="172"/>
                      <a:pt x="66" y="172"/>
                      <a:pt x="67" y="172"/>
                    </a:cubicBezTo>
                    <a:cubicBezTo>
                      <a:pt x="68" y="172"/>
                      <a:pt x="68" y="172"/>
                      <a:pt x="68" y="171"/>
                    </a:cubicBezTo>
                    <a:cubicBezTo>
                      <a:pt x="69" y="171"/>
                      <a:pt x="69" y="171"/>
                      <a:pt x="70" y="170"/>
                    </a:cubicBezTo>
                    <a:cubicBezTo>
                      <a:pt x="70" y="170"/>
                      <a:pt x="70" y="169"/>
                      <a:pt x="71" y="169"/>
                    </a:cubicBezTo>
                    <a:cubicBezTo>
                      <a:pt x="71" y="168"/>
                      <a:pt x="72" y="168"/>
                      <a:pt x="73" y="167"/>
                    </a:cubicBezTo>
                    <a:cubicBezTo>
                      <a:pt x="73" y="167"/>
                      <a:pt x="74" y="167"/>
                      <a:pt x="74" y="167"/>
                    </a:cubicBezTo>
                    <a:cubicBezTo>
                      <a:pt x="75" y="167"/>
                      <a:pt x="75" y="167"/>
                      <a:pt x="76" y="166"/>
                    </a:cubicBezTo>
                    <a:cubicBezTo>
                      <a:pt x="76" y="166"/>
                      <a:pt x="77" y="166"/>
                      <a:pt x="78" y="166"/>
                    </a:cubicBezTo>
                    <a:cubicBezTo>
                      <a:pt x="78" y="166"/>
                      <a:pt x="78" y="166"/>
                      <a:pt x="78" y="166"/>
                    </a:cubicBezTo>
                    <a:cubicBezTo>
                      <a:pt x="79" y="166"/>
                      <a:pt x="78" y="166"/>
                      <a:pt x="79" y="166"/>
                    </a:cubicBezTo>
                    <a:cubicBezTo>
                      <a:pt x="79" y="166"/>
                      <a:pt x="80" y="166"/>
                      <a:pt x="80" y="166"/>
                    </a:cubicBezTo>
                    <a:cubicBezTo>
                      <a:pt x="80" y="166"/>
                      <a:pt x="81" y="166"/>
                      <a:pt x="81" y="166"/>
                    </a:cubicBezTo>
                    <a:cubicBezTo>
                      <a:pt x="81" y="166"/>
                      <a:pt x="81" y="165"/>
                      <a:pt x="81" y="165"/>
                    </a:cubicBezTo>
                    <a:cubicBezTo>
                      <a:pt x="81" y="166"/>
                      <a:pt x="82" y="165"/>
                      <a:pt x="82" y="165"/>
                    </a:cubicBezTo>
                    <a:cubicBezTo>
                      <a:pt x="82" y="166"/>
                      <a:pt x="82" y="166"/>
                      <a:pt x="82" y="166"/>
                    </a:cubicBezTo>
                    <a:cubicBezTo>
                      <a:pt x="82" y="166"/>
                      <a:pt x="82" y="166"/>
                      <a:pt x="83" y="166"/>
                    </a:cubicBezTo>
                    <a:cubicBezTo>
                      <a:pt x="83" y="167"/>
                      <a:pt x="84" y="166"/>
                      <a:pt x="84" y="165"/>
                    </a:cubicBezTo>
                    <a:cubicBezTo>
                      <a:pt x="85" y="164"/>
                      <a:pt x="85" y="165"/>
                      <a:pt x="85" y="166"/>
                    </a:cubicBezTo>
                    <a:cubicBezTo>
                      <a:pt x="86" y="167"/>
                      <a:pt x="85" y="167"/>
                      <a:pt x="85" y="168"/>
                    </a:cubicBezTo>
                    <a:cubicBezTo>
                      <a:pt x="86" y="169"/>
                      <a:pt x="86" y="170"/>
                      <a:pt x="86" y="171"/>
                    </a:cubicBezTo>
                    <a:cubicBezTo>
                      <a:pt x="86" y="172"/>
                      <a:pt x="85" y="172"/>
                      <a:pt x="85" y="172"/>
                    </a:cubicBezTo>
                    <a:cubicBezTo>
                      <a:pt x="85" y="173"/>
                      <a:pt x="85" y="173"/>
                      <a:pt x="85" y="173"/>
                    </a:cubicBezTo>
                    <a:cubicBezTo>
                      <a:pt x="85" y="173"/>
                      <a:pt x="85" y="175"/>
                      <a:pt x="85" y="175"/>
                    </a:cubicBezTo>
                    <a:cubicBezTo>
                      <a:pt x="85" y="175"/>
                      <a:pt x="86" y="175"/>
                      <a:pt x="86" y="176"/>
                    </a:cubicBezTo>
                    <a:cubicBezTo>
                      <a:pt x="85" y="176"/>
                      <a:pt x="85" y="177"/>
                      <a:pt x="85" y="177"/>
                    </a:cubicBezTo>
                    <a:cubicBezTo>
                      <a:pt x="85" y="177"/>
                      <a:pt x="86" y="177"/>
                      <a:pt x="86" y="177"/>
                    </a:cubicBezTo>
                    <a:cubicBezTo>
                      <a:pt x="86" y="178"/>
                      <a:pt x="86" y="178"/>
                      <a:pt x="86" y="179"/>
                    </a:cubicBezTo>
                    <a:cubicBezTo>
                      <a:pt x="86" y="179"/>
                      <a:pt x="86" y="180"/>
                      <a:pt x="86" y="180"/>
                    </a:cubicBezTo>
                    <a:cubicBezTo>
                      <a:pt x="86" y="181"/>
                      <a:pt x="86" y="181"/>
                      <a:pt x="86" y="181"/>
                    </a:cubicBezTo>
                    <a:cubicBezTo>
                      <a:pt x="86" y="182"/>
                      <a:pt x="86" y="182"/>
                      <a:pt x="86" y="182"/>
                    </a:cubicBezTo>
                    <a:cubicBezTo>
                      <a:pt x="87" y="183"/>
                      <a:pt x="86" y="183"/>
                      <a:pt x="86" y="184"/>
                    </a:cubicBezTo>
                    <a:cubicBezTo>
                      <a:pt x="87" y="185"/>
                      <a:pt x="87" y="185"/>
                      <a:pt x="88" y="185"/>
                    </a:cubicBezTo>
                    <a:cubicBezTo>
                      <a:pt x="88" y="186"/>
                      <a:pt x="88" y="186"/>
                      <a:pt x="88" y="186"/>
                    </a:cubicBezTo>
                    <a:cubicBezTo>
                      <a:pt x="88" y="187"/>
                      <a:pt x="88" y="187"/>
                      <a:pt x="88" y="188"/>
                    </a:cubicBezTo>
                    <a:cubicBezTo>
                      <a:pt x="89" y="188"/>
                      <a:pt x="89" y="187"/>
                      <a:pt x="89" y="187"/>
                    </a:cubicBezTo>
                    <a:cubicBezTo>
                      <a:pt x="89" y="187"/>
                      <a:pt x="89" y="188"/>
                      <a:pt x="89" y="188"/>
                    </a:cubicBezTo>
                    <a:cubicBezTo>
                      <a:pt x="90" y="188"/>
                      <a:pt x="90" y="189"/>
                      <a:pt x="90" y="189"/>
                    </a:cubicBezTo>
                    <a:cubicBezTo>
                      <a:pt x="90" y="190"/>
                      <a:pt x="90" y="190"/>
                      <a:pt x="90" y="190"/>
                    </a:cubicBezTo>
                    <a:cubicBezTo>
                      <a:pt x="90" y="191"/>
                      <a:pt x="91" y="190"/>
                      <a:pt x="92" y="191"/>
                    </a:cubicBezTo>
                    <a:cubicBezTo>
                      <a:pt x="92" y="191"/>
                      <a:pt x="93" y="192"/>
                      <a:pt x="93" y="192"/>
                    </a:cubicBezTo>
                    <a:cubicBezTo>
                      <a:pt x="93" y="191"/>
                      <a:pt x="93" y="192"/>
                      <a:pt x="93" y="191"/>
                    </a:cubicBezTo>
                    <a:cubicBezTo>
                      <a:pt x="93" y="192"/>
                      <a:pt x="94" y="193"/>
                      <a:pt x="95" y="193"/>
                    </a:cubicBezTo>
                    <a:cubicBezTo>
                      <a:pt x="96" y="193"/>
                      <a:pt x="95" y="194"/>
                      <a:pt x="95" y="194"/>
                    </a:cubicBezTo>
                    <a:cubicBezTo>
                      <a:pt x="96" y="195"/>
                      <a:pt x="97" y="195"/>
                      <a:pt x="97" y="195"/>
                    </a:cubicBezTo>
                    <a:cubicBezTo>
                      <a:pt x="97" y="196"/>
                      <a:pt x="98" y="195"/>
                      <a:pt x="98" y="195"/>
                    </a:cubicBezTo>
                    <a:cubicBezTo>
                      <a:pt x="98" y="195"/>
                      <a:pt x="99" y="196"/>
                      <a:pt x="99" y="196"/>
                    </a:cubicBezTo>
                    <a:cubicBezTo>
                      <a:pt x="99" y="195"/>
                      <a:pt x="100" y="196"/>
                      <a:pt x="100" y="196"/>
                    </a:cubicBezTo>
                    <a:cubicBezTo>
                      <a:pt x="101" y="196"/>
                      <a:pt x="101" y="196"/>
                      <a:pt x="102" y="195"/>
                    </a:cubicBezTo>
                    <a:cubicBezTo>
                      <a:pt x="102" y="195"/>
                      <a:pt x="103" y="195"/>
                      <a:pt x="104" y="196"/>
                    </a:cubicBezTo>
                    <a:cubicBezTo>
                      <a:pt x="104" y="196"/>
                      <a:pt x="105" y="196"/>
                      <a:pt x="105" y="197"/>
                    </a:cubicBezTo>
                    <a:cubicBezTo>
                      <a:pt x="106" y="197"/>
                      <a:pt x="106" y="198"/>
                      <a:pt x="107" y="198"/>
                    </a:cubicBezTo>
                    <a:cubicBezTo>
                      <a:pt x="108" y="198"/>
                      <a:pt x="108" y="197"/>
                      <a:pt x="109" y="197"/>
                    </a:cubicBezTo>
                    <a:cubicBezTo>
                      <a:pt x="109" y="197"/>
                      <a:pt x="109" y="198"/>
                      <a:pt x="110" y="198"/>
                    </a:cubicBezTo>
                    <a:cubicBezTo>
                      <a:pt x="110" y="199"/>
                      <a:pt x="110" y="199"/>
                      <a:pt x="110" y="199"/>
                    </a:cubicBezTo>
                    <a:cubicBezTo>
                      <a:pt x="110" y="200"/>
                      <a:pt x="110" y="199"/>
                      <a:pt x="111" y="200"/>
                    </a:cubicBezTo>
                    <a:cubicBezTo>
                      <a:pt x="111" y="200"/>
                      <a:pt x="112" y="201"/>
                      <a:pt x="112" y="201"/>
                    </a:cubicBezTo>
                    <a:cubicBezTo>
                      <a:pt x="112" y="201"/>
                      <a:pt x="113" y="201"/>
                      <a:pt x="113" y="201"/>
                    </a:cubicBezTo>
                    <a:cubicBezTo>
                      <a:pt x="114" y="201"/>
                      <a:pt x="114" y="202"/>
                      <a:pt x="114" y="202"/>
                    </a:cubicBezTo>
                    <a:cubicBezTo>
                      <a:pt x="115" y="202"/>
                      <a:pt x="115" y="202"/>
                      <a:pt x="116" y="202"/>
                    </a:cubicBezTo>
                    <a:cubicBezTo>
                      <a:pt x="116" y="203"/>
                      <a:pt x="117" y="203"/>
                      <a:pt x="118" y="202"/>
                    </a:cubicBezTo>
                    <a:cubicBezTo>
                      <a:pt x="119" y="202"/>
                      <a:pt x="119" y="203"/>
                      <a:pt x="119" y="204"/>
                    </a:cubicBezTo>
                    <a:cubicBezTo>
                      <a:pt x="119" y="204"/>
                      <a:pt x="120" y="205"/>
                      <a:pt x="120" y="205"/>
                    </a:cubicBezTo>
                    <a:cubicBezTo>
                      <a:pt x="121" y="206"/>
                      <a:pt x="121" y="206"/>
                      <a:pt x="122" y="207"/>
                    </a:cubicBezTo>
                    <a:cubicBezTo>
                      <a:pt x="122" y="207"/>
                      <a:pt x="123" y="207"/>
                      <a:pt x="123" y="207"/>
                    </a:cubicBezTo>
                    <a:cubicBezTo>
                      <a:pt x="124" y="206"/>
                      <a:pt x="124" y="207"/>
                      <a:pt x="125" y="207"/>
                    </a:cubicBezTo>
                    <a:cubicBezTo>
                      <a:pt x="126" y="207"/>
                      <a:pt x="126" y="207"/>
                      <a:pt x="127" y="207"/>
                    </a:cubicBezTo>
                    <a:cubicBezTo>
                      <a:pt x="127" y="207"/>
                      <a:pt x="128" y="207"/>
                      <a:pt x="128" y="207"/>
                    </a:cubicBezTo>
                    <a:cubicBezTo>
                      <a:pt x="129" y="207"/>
                      <a:pt x="129" y="206"/>
                      <a:pt x="129" y="206"/>
                    </a:cubicBezTo>
                    <a:cubicBezTo>
                      <a:pt x="129" y="206"/>
                      <a:pt x="129" y="207"/>
                      <a:pt x="129" y="207"/>
                    </a:cubicBezTo>
                    <a:cubicBezTo>
                      <a:pt x="130" y="207"/>
                      <a:pt x="131" y="208"/>
                      <a:pt x="131" y="208"/>
                    </a:cubicBezTo>
                    <a:cubicBezTo>
                      <a:pt x="132" y="209"/>
                      <a:pt x="133" y="209"/>
                      <a:pt x="134" y="209"/>
                    </a:cubicBezTo>
                    <a:cubicBezTo>
                      <a:pt x="134" y="210"/>
                      <a:pt x="135" y="210"/>
                      <a:pt x="135" y="210"/>
                    </a:cubicBezTo>
                    <a:cubicBezTo>
                      <a:pt x="135" y="211"/>
                      <a:pt x="136" y="212"/>
                      <a:pt x="136" y="212"/>
                    </a:cubicBezTo>
                    <a:cubicBezTo>
                      <a:pt x="136" y="213"/>
                      <a:pt x="135" y="213"/>
                      <a:pt x="135" y="214"/>
                    </a:cubicBezTo>
                    <a:cubicBezTo>
                      <a:pt x="136" y="215"/>
                      <a:pt x="136" y="216"/>
                      <a:pt x="136" y="217"/>
                    </a:cubicBezTo>
                    <a:cubicBezTo>
                      <a:pt x="137" y="217"/>
                      <a:pt x="137" y="218"/>
                      <a:pt x="137" y="219"/>
                    </a:cubicBezTo>
                    <a:cubicBezTo>
                      <a:pt x="138" y="220"/>
                      <a:pt x="138" y="220"/>
                      <a:pt x="138" y="221"/>
                    </a:cubicBezTo>
                    <a:cubicBezTo>
                      <a:pt x="138" y="222"/>
                      <a:pt x="138" y="223"/>
                      <a:pt x="138" y="224"/>
                    </a:cubicBezTo>
                    <a:cubicBezTo>
                      <a:pt x="138" y="225"/>
                      <a:pt x="136" y="224"/>
                      <a:pt x="135" y="224"/>
                    </a:cubicBezTo>
                    <a:cubicBezTo>
                      <a:pt x="136" y="225"/>
                      <a:pt x="137" y="226"/>
                      <a:pt x="138" y="227"/>
                    </a:cubicBezTo>
                    <a:cubicBezTo>
                      <a:pt x="139" y="228"/>
                      <a:pt x="139" y="229"/>
                      <a:pt x="139" y="230"/>
                    </a:cubicBezTo>
                    <a:cubicBezTo>
                      <a:pt x="140" y="231"/>
                      <a:pt x="140" y="233"/>
                      <a:pt x="140" y="234"/>
                    </a:cubicBezTo>
                    <a:cubicBezTo>
                      <a:pt x="140" y="235"/>
                      <a:pt x="140" y="237"/>
                      <a:pt x="141" y="237"/>
                    </a:cubicBezTo>
                    <a:cubicBezTo>
                      <a:pt x="144" y="237"/>
                      <a:pt x="146" y="237"/>
                      <a:pt x="149" y="237"/>
                    </a:cubicBezTo>
                    <a:cubicBezTo>
                      <a:pt x="151" y="237"/>
                      <a:pt x="152" y="237"/>
                      <a:pt x="153" y="238"/>
                    </a:cubicBezTo>
                    <a:cubicBezTo>
                      <a:pt x="154" y="238"/>
                      <a:pt x="156" y="238"/>
                      <a:pt x="157" y="238"/>
                    </a:cubicBezTo>
                    <a:cubicBezTo>
                      <a:pt x="158" y="237"/>
                      <a:pt x="158" y="237"/>
                      <a:pt x="158" y="238"/>
                    </a:cubicBezTo>
                    <a:cubicBezTo>
                      <a:pt x="158" y="239"/>
                      <a:pt x="158" y="239"/>
                      <a:pt x="158" y="240"/>
                    </a:cubicBezTo>
                    <a:cubicBezTo>
                      <a:pt x="158" y="240"/>
                      <a:pt x="157" y="241"/>
                      <a:pt x="157" y="241"/>
                    </a:cubicBezTo>
                    <a:cubicBezTo>
                      <a:pt x="157" y="242"/>
                      <a:pt x="157" y="242"/>
                      <a:pt x="157" y="243"/>
                    </a:cubicBezTo>
                    <a:cubicBezTo>
                      <a:pt x="157" y="244"/>
                      <a:pt x="158" y="246"/>
                      <a:pt x="158" y="247"/>
                    </a:cubicBezTo>
                    <a:cubicBezTo>
                      <a:pt x="158" y="248"/>
                      <a:pt x="159" y="248"/>
                      <a:pt x="160" y="249"/>
                    </a:cubicBezTo>
                    <a:cubicBezTo>
                      <a:pt x="161" y="249"/>
                      <a:pt x="161" y="249"/>
                      <a:pt x="161" y="250"/>
                    </a:cubicBezTo>
                    <a:cubicBezTo>
                      <a:pt x="161" y="250"/>
                      <a:pt x="162" y="250"/>
                      <a:pt x="162" y="250"/>
                    </a:cubicBezTo>
                    <a:cubicBezTo>
                      <a:pt x="163" y="251"/>
                      <a:pt x="163" y="250"/>
                      <a:pt x="164" y="251"/>
                    </a:cubicBezTo>
                    <a:cubicBezTo>
                      <a:pt x="164" y="251"/>
                      <a:pt x="165" y="251"/>
                      <a:pt x="165" y="251"/>
                    </a:cubicBezTo>
                    <a:cubicBezTo>
                      <a:pt x="165" y="252"/>
                      <a:pt x="165" y="252"/>
                      <a:pt x="165" y="253"/>
                    </a:cubicBezTo>
                    <a:cubicBezTo>
                      <a:pt x="165" y="253"/>
                      <a:pt x="165" y="253"/>
                      <a:pt x="166" y="254"/>
                    </a:cubicBezTo>
                    <a:cubicBezTo>
                      <a:pt x="166" y="254"/>
                      <a:pt x="165" y="254"/>
                      <a:pt x="166" y="255"/>
                    </a:cubicBezTo>
                    <a:cubicBezTo>
                      <a:pt x="166" y="255"/>
                      <a:pt x="166" y="256"/>
                      <a:pt x="167" y="256"/>
                    </a:cubicBezTo>
                    <a:cubicBezTo>
                      <a:pt x="167" y="257"/>
                      <a:pt x="167" y="258"/>
                      <a:pt x="168" y="258"/>
                    </a:cubicBezTo>
                    <a:cubicBezTo>
                      <a:pt x="169" y="259"/>
                      <a:pt x="168" y="259"/>
                      <a:pt x="167" y="259"/>
                    </a:cubicBezTo>
                    <a:cubicBezTo>
                      <a:pt x="167" y="259"/>
                      <a:pt x="167" y="261"/>
                      <a:pt x="167" y="261"/>
                    </a:cubicBezTo>
                    <a:cubicBezTo>
                      <a:pt x="167" y="262"/>
                      <a:pt x="167" y="263"/>
                      <a:pt x="166" y="264"/>
                    </a:cubicBezTo>
                    <a:cubicBezTo>
                      <a:pt x="166" y="264"/>
                      <a:pt x="166" y="265"/>
                      <a:pt x="166" y="266"/>
                    </a:cubicBezTo>
                    <a:cubicBezTo>
                      <a:pt x="166" y="266"/>
                      <a:pt x="167" y="266"/>
                      <a:pt x="167" y="267"/>
                    </a:cubicBezTo>
                    <a:cubicBezTo>
                      <a:pt x="167" y="267"/>
                      <a:pt x="166" y="267"/>
                      <a:pt x="166" y="268"/>
                    </a:cubicBezTo>
                    <a:cubicBezTo>
                      <a:pt x="166" y="268"/>
                      <a:pt x="166" y="268"/>
                      <a:pt x="166" y="269"/>
                    </a:cubicBezTo>
                    <a:cubicBezTo>
                      <a:pt x="166" y="270"/>
                      <a:pt x="165" y="271"/>
                      <a:pt x="165" y="271"/>
                    </a:cubicBezTo>
                    <a:cubicBezTo>
                      <a:pt x="165" y="272"/>
                      <a:pt x="163" y="275"/>
                      <a:pt x="164" y="276"/>
                    </a:cubicBezTo>
                    <a:cubicBezTo>
                      <a:pt x="165" y="276"/>
                      <a:pt x="165" y="277"/>
                      <a:pt x="166" y="277"/>
                    </a:cubicBezTo>
                    <a:cubicBezTo>
                      <a:pt x="167" y="278"/>
                      <a:pt x="166" y="278"/>
                      <a:pt x="165" y="279"/>
                    </a:cubicBezTo>
                    <a:cubicBezTo>
                      <a:pt x="165" y="279"/>
                      <a:pt x="165" y="279"/>
                      <a:pt x="164" y="280"/>
                    </a:cubicBezTo>
                    <a:cubicBezTo>
                      <a:pt x="164" y="280"/>
                      <a:pt x="164" y="280"/>
                      <a:pt x="164" y="280"/>
                    </a:cubicBezTo>
                    <a:cubicBezTo>
                      <a:pt x="164" y="281"/>
                      <a:pt x="164" y="281"/>
                      <a:pt x="164" y="281"/>
                    </a:cubicBezTo>
                    <a:cubicBezTo>
                      <a:pt x="164" y="281"/>
                      <a:pt x="164" y="281"/>
                      <a:pt x="164" y="281"/>
                    </a:cubicBezTo>
                    <a:cubicBezTo>
                      <a:pt x="165" y="282"/>
                      <a:pt x="165" y="282"/>
                      <a:pt x="165" y="283"/>
                    </a:cubicBezTo>
                    <a:cubicBezTo>
                      <a:pt x="166" y="283"/>
                      <a:pt x="166" y="284"/>
                      <a:pt x="166" y="284"/>
                    </a:cubicBezTo>
                    <a:cubicBezTo>
                      <a:pt x="166" y="285"/>
                      <a:pt x="166" y="286"/>
                      <a:pt x="166" y="286"/>
                    </a:cubicBezTo>
                    <a:cubicBezTo>
                      <a:pt x="166" y="285"/>
                      <a:pt x="167" y="286"/>
                      <a:pt x="167" y="286"/>
                    </a:cubicBezTo>
                    <a:cubicBezTo>
                      <a:pt x="167" y="286"/>
                      <a:pt x="166" y="287"/>
                      <a:pt x="167" y="287"/>
                    </a:cubicBezTo>
                    <a:cubicBezTo>
                      <a:pt x="167" y="287"/>
                      <a:pt x="167" y="287"/>
                      <a:pt x="167" y="287"/>
                    </a:cubicBezTo>
                    <a:cubicBezTo>
                      <a:pt x="168" y="288"/>
                      <a:pt x="167" y="288"/>
                      <a:pt x="167" y="288"/>
                    </a:cubicBezTo>
                    <a:cubicBezTo>
                      <a:pt x="167" y="288"/>
                      <a:pt x="168" y="288"/>
                      <a:pt x="168" y="289"/>
                    </a:cubicBezTo>
                    <a:cubicBezTo>
                      <a:pt x="168" y="289"/>
                      <a:pt x="168" y="289"/>
                      <a:pt x="168" y="289"/>
                    </a:cubicBezTo>
                    <a:cubicBezTo>
                      <a:pt x="167" y="290"/>
                      <a:pt x="168" y="291"/>
                      <a:pt x="168" y="291"/>
                    </a:cubicBezTo>
                    <a:cubicBezTo>
                      <a:pt x="168" y="292"/>
                      <a:pt x="167" y="292"/>
                      <a:pt x="167" y="292"/>
                    </a:cubicBezTo>
                    <a:cubicBezTo>
                      <a:pt x="168" y="293"/>
                      <a:pt x="168" y="293"/>
                      <a:pt x="168" y="293"/>
                    </a:cubicBezTo>
                    <a:cubicBezTo>
                      <a:pt x="168" y="293"/>
                      <a:pt x="167" y="294"/>
                      <a:pt x="167" y="294"/>
                    </a:cubicBezTo>
                    <a:cubicBezTo>
                      <a:pt x="167" y="295"/>
                      <a:pt x="168" y="295"/>
                      <a:pt x="168" y="295"/>
                    </a:cubicBezTo>
                    <a:cubicBezTo>
                      <a:pt x="168" y="296"/>
                      <a:pt x="167" y="295"/>
                      <a:pt x="168" y="296"/>
                    </a:cubicBezTo>
                    <a:cubicBezTo>
                      <a:pt x="168" y="296"/>
                      <a:pt x="168" y="296"/>
                      <a:pt x="168" y="297"/>
                    </a:cubicBezTo>
                    <a:cubicBezTo>
                      <a:pt x="168" y="297"/>
                      <a:pt x="168" y="297"/>
                      <a:pt x="168" y="298"/>
                    </a:cubicBezTo>
                    <a:cubicBezTo>
                      <a:pt x="168" y="298"/>
                      <a:pt x="168" y="299"/>
                      <a:pt x="168" y="299"/>
                    </a:cubicBezTo>
                    <a:cubicBezTo>
                      <a:pt x="168" y="300"/>
                      <a:pt x="168" y="300"/>
                      <a:pt x="168" y="301"/>
                    </a:cubicBezTo>
                    <a:cubicBezTo>
                      <a:pt x="168" y="301"/>
                      <a:pt x="168" y="301"/>
                      <a:pt x="168" y="301"/>
                    </a:cubicBezTo>
                    <a:cubicBezTo>
                      <a:pt x="169" y="302"/>
                      <a:pt x="169" y="301"/>
                      <a:pt x="170" y="301"/>
                    </a:cubicBezTo>
                    <a:cubicBezTo>
                      <a:pt x="170" y="301"/>
                      <a:pt x="171" y="301"/>
                      <a:pt x="171" y="302"/>
                    </a:cubicBezTo>
                    <a:cubicBezTo>
                      <a:pt x="171" y="302"/>
                      <a:pt x="172" y="302"/>
                      <a:pt x="172" y="302"/>
                    </a:cubicBezTo>
                    <a:cubicBezTo>
                      <a:pt x="173" y="302"/>
                      <a:pt x="173" y="302"/>
                      <a:pt x="174" y="302"/>
                    </a:cubicBezTo>
                    <a:cubicBezTo>
                      <a:pt x="174" y="302"/>
                      <a:pt x="175" y="302"/>
                      <a:pt x="176" y="302"/>
                    </a:cubicBezTo>
                    <a:cubicBezTo>
                      <a:pt x="176" y="302"/>
                      <a:pt x="176" y="302"/>
                      <a:pt x="176" y="303"/>
                    </a:cubicBezTo>
                    <a:cubicBezTo>
                      <a:pt x="176" y="303"/>
                      <a:pt x="177" y="303"/>
                      <a:pt x="177" y="303"/>
                    </a:cubicBezTo>
                    <a:cubicBezTo>
                      <a:pt x="177" y="303"/>
                      <a:pt x="177" y="303"/>
                      <a:pt x="178" y="303"/>
                    </a:cubicBezTo>
                    <a:cubicBezTo>
                      <a:pt x="178" y="303"/>
                      <a:pt x="178" y="303"/>
                      <a:pt x="178" y="303"/>
                    </a:cubicBezTo>
                    <a:cubicBezTo>
                      <a:pt x="179" y="303"/>
                      <a:pt x="179" y="304"/>
                      <a:pt x="179" y="303"/>
                    </a:cubicBezTo>
                    <a:cubicBezTo>
                      <a:pt x="179" y="303"/>
                      <a:pt x="179" y="303"/>
                      <a:pt x="180" y="303"/>
                    </a:cubicBezTo>
                    <a:cubicBezTo>
                      <a:pt x="180" y="303"/>
                      <a:pt x="180" y="302"/>
                      <a:pt x="180" y="302"/>
                    </a:cubicBezTo>
                    <a:cubicBezTo>
                      <a:pt x="180" y="302"/>
                      <a:pt x="180" y="303"/>
                      <a:pt x="181" y="303"/>
                    </a:cubicBezTo>
                    <a:cubicBezTo>
                      <a:pt x="181" y="302"/>
                      <a:pt x="182" y="300"/>
                      <a:pt x="183" y="301"/>
                    </a:cubicBezTo>
                    <a:cubicBezTo>
                      <a:pt x="184" y="302"/>
                      <a:pt x="184" y="303"/>
                      <a:pt x="186" y="303"/>
                    </a:cubicBezTo>
                    <a:cubicBezTo>
                      <a:pt x="187" y="303"/>
                      <a:pt x="188" y="303"/>
                      <a:pt x="189" y="304"/>
                    </a:cubicBezTo>
                    <a:cubicBezTo>
                      <a:pt x="189" y="304"/>
                      <a:pt x="189" y="304"/>
                      <a:pt x="189" y="305"/>
                    </a:cubicBezTo>
                    <a:cubicBezTo>
                      <a:pt x="189" y="306"/>
                      <a:pt x="190" y="306"/>
                      <a:pt x="190" y="307"/>
                    </a:cubicBezTo>
                    <a:cubicBezTo>
                      <a:pt x="191" y="307"/>
                      <a:pt x="191" y="308"/>
                      <a:pt x="191" y="308"/>
                    </a:cubicBezTo>
                    <a:cubicBezTo>
                      <a:pt x="191" y="309"/>
                      <a:pt x="191" y="309"/>
                      <a:pt x="191" y="310"/>
                    </a:cubicBezTo>
                    <a:cubicBezTo>
                      <a:pt x="191" y="310"/>
                      <a:pt x="191" y="311"/>
                      <a:pt x="191" y="311"/>
                    </a:cubicBezTo>
                    <a:cubicBezTo>
                      <a:pt x="192" y="312"/>
                      <a:pt x="191" y="312"/>
                      <a:pt x="192" y="312"/>
                    </a:cubicBezTo>
                    <a:cubicBezTo>
                      <a:pt x="192" y="313"/>
                      <a:pt x="192" y="313"/>
                      <a:pt x="192" y="314"/>
                    </a:cubicBezTo>
                    <a:cubicBezTo>
                      <a:pt x="192" y="315"/>
                      <a:pt x="193" y="315"/>
                      <a:pt x="193" y="315"/>
                    </a:cubicBezTo>
                    <a:cubicBezTo>
                      <a:pt x="193" y="316"/>
                      <a:pt x="193" y="317"/>
                      <a:pt x="193" y="317"/>
                    </a:cubicBezTo>
                    <a:cubicBezTo>
                      <a:pt x="193" y="318"/>
                      <a:pt x="194" y="319"/>
                      <a:pt x="194" y="319"/>
                    </a:cubicBezTo>
                    <a:cubicBezTo>
                      <a:pt x="194" y="320"/>
                      <a:pt x="194" y="321"/>
                      <a:pt x="194" y="322"/>
                    </a:cubicBezTo>
                    <a:cubicBezTo>
                      <a:pt x="195" y="322"/>
                      <a:pt x="195" y="322"/>
                      <a:pt x="196" y="322"/>
                    </a:cubicBezTo>
                    <a:cubicBezTo>
                      <a:pt x="197" y="322"/>
                      <a:pt x="197" y="322"/>
                      <a:pt x="198" y="322"/>
                    </a:cubicBezTo>
                    <a:cubicBezTo>
                      <a:pt x="199" y="322"/>
                      <a:pt x="199" y="321"/>
                      <a:pt x="200" y="321"/>
                    </a:cubicBezTo>
                    <a:cubicBezTo>
                      <a:pt x="200" y="320"/>
                      <a:pt x="201" y="320"/>
                      <a:pt x="202" y="320"/>
                    </a:cubicBezTo>
                    <a:cubicBezTo>
                      <a:pt x="202" y="320"/>
                      <a:pt x="203" y="321"/>
                      <a:pt x="204" y="321"/>
                    </a:cubicBezTo>
                    <a:cubicBezTo>
                      <a:pt x="204" y="322"/>
                      <a:pt x="205" y="322"/>
                      <a:pt x="205" y="323"/>
                    </a:cubicBezTo>
                    <a:cubicBezTo>
                      <a:pt x="205" y="323"/>
                      <a:pt x="204" y="324"/>
                      <a:pt x="205" y="325"/>
                    </a:cubicBezTo>
                    <a:cubicBezTo>
                      <a:pt x="206" y="326"/>
                      <a:pt x="205" y="326"/>
                      <a:pt x="205" y="327"/>
                    </a:cubicBezTo>
                    <a:cubicBezTo>
                      <a:pt x="205" y="328"/>
                      <a:pt x="205" y="328"/>
                      <a:pt x="205" y="329"/>
                    </a:cubicBezTo>
                    <a:cubicBezTo>
                      <a:pt x="206" y="329"/>
                      <a:pt x="205" y="330"/>
                      <a:pt x="205" y="330"/>
                    </a:cubicBezTo>
                    <a:cubicBezTo>
                      <a:pt x="205" y="331"/>
                      <a:pt x="205" y="332"/>
                      <a:pt x="205" y="333"/>
                    </a:cubicBezTo>
                    <a:cubicBezTo>
                      <a:pt x="205" y="334"/>
                      <a:pt x="205" y="335"/>
                      <a:pt x="205" y="336"/>
                    </a:cubicBezTo>
                    <a:cubicBezTo>
                      <a:pt x="204" y="336"/>
                      <a:pt x="204" y="337"/>
                      <a:pt x="204" y="338"/>
                    </a:cubicBezTo>
                    <a:cubicBezTo>
                      <a:pt x="204" y="338"/>
                      <a:pt x="204" y="339"/>
                      <a:pt x="204" y="339"/>
                    </a:cubicBezTo>
                    <a:cubicBezTo>
                      <a:pt x="204" y="339"/>
                      <a:pt x="204" y="339"/>
                      <a:pt x="205" y="340"/>
                    </a:cubicBezTo>
                    <a:cubicBezTo>
                      <a:pt x="205" y="340"/>
                      <a:pt x="206" y="340"/>
                      <a:pt x="206" y="340"/>
                    </a:cubicBezTo>
                    <a:cubicBezTo>
                      <a:pt x="206" y="340"/>
                      <a:pt x="206" y="340"/>
                      <a:pt x="206" y="339"/>
                    </a:cubicBezTo>
                    <a:cubicBezTo>
                      <a:pt x="207" y="339"/>
                      <a:pt x="207" y="339"/>
                      <a:pt x="207" y="339"/>
                    </a:cubicBezTo>
                    <a:cubicBezTo>
                      <a:pt x="207" y="339"/>
                      <a:pt x="207" y="339"/>
                      <a:pt x="207" y="339"/>
                    </a:cubicBezTo>
                    <a:cubicBezTo>
                      <a:pt x="207" y="339"/>
                      <a:pt x="208" y="339"/>
                      <a:pt x="208" y="339"/>
                    </a:cubicBezTo>
                    <a:cubicBezTo>
                      <a:pt x="208" y="339"/>
                      <a:pt x="208" y="339"/>
                      <a:pt x="208" y="339"/>
                    </a:cubicBezTo>
                    <a:cubicBezTo>
                      <a:pt x="208" y="339"/>
                      <a:pt x="208" y="339"/>
                      <a:pt x="209" y="338"/>
                    </a:cubicBezTo>
                    <a:cubicBezTo>
                      <a:pt x="209" y="338"/>
                      <a:pt x="209" y="339"/>
                      <a:pt x="209" y="339"/>
                    </a:cubicBezTo>
                    <a:cubicBezTo>
                      <a:pt x="209" y="339"/>
                      <a:pt x="209" y="339"/>
                      <a:pt x="209" y="339"/>
                    </a:cubicBezTo>
                    <a:cubicBezTo>
                      <a:pt x="210" y="339"/>
                      <a:pt x="210" y="339"/>
                      <a:pt x="210" y="340"/>
                    </a:cubicBezTo>
                    <a:cubicBezTo>
                      <a:pt x="211" y="340"/>
                      <a:pt x="211" y="340"/>
                      <a:pt x="211" y="341"/>
                    </a:cubicBezTo>
                    <a:cubicBezTo>
                      <a:pt x="211" y="342"/>
                      <a:pt x="212" y="343"/>
                      <a:pt x="212" y="344"/>
                    </a:cubicBezTo>
                    <a:cubicBezTo>
                      <a:pt x="213" y="345"/>
                      <a:pt x="214" y="346"/>
                      <a:pt x="214" y="346"/>
                    </a:cubicBezTo>
                    <a:cubicBezTo>
                      <a:pt x="214" y="347"/>
                      <a:pt x="214" y="347"/>
                      <a:pt x="214" y="348"/>
                    </a:cubicBezTo>
                    <a:cubicBezTo>
                      <a:pt x="214" y="348"/>
                      <a:pt x="214" y="349"/>
                      <a:pt x="214" y="349"/>
                    </a:cubicBezTo>
                    <a:cubicBezTo>
                      <a:pt x="214" y="350"/>
                      <a:pt x="214" y="351"/>
                      <a:pt x="214" y="352"/>
                    </a:cubicBezTo>
                    <a:cubicBezTo>
                      <a:pt x="213" y="352"/>
                      <a:pt x="214" y="353"/>
                      <a:pt x="214" y="354"/>
                    </a:cubicBezTo>
                    <a:cubicBezTo>
                      <a:pt x="214" y="355"/>
                      <a:pt x="214" y="355"/>
                      <a:pt x="214" y="355"/>
                    </a:cubicBezTo>
                    <a:cubicBezTo>
                      <a:pt x="214" y="356"/>
                      <a:pt x="214" y="356"/>
                      <a:pt x="214" y="357"/>
                    </a:cubicBezTo>
                    <a:cubicBezTo>
                      <a:pt x="213" y="356"/>
                      <a:pt x="213" y="356"/>
                      <a:pt x="213" y="357"/>
                    </a:cubicBezTo>
                    <a:cubicBezTo>
                      <a:pt x="213" y="357"/>
                      <a:pt x="212" y="357"/>
                      <a:pt x="212" y="357"/>
                    </a:cubicBezTo>
                    <a:cubicBezTo>
                      <a:pt x="212" y="357"/>
                      <a:pt x="212" y="357"/>
                      <a:pt x="212" y="357"/>
                    </a:cubicBezTo>
                    <a:cubicBezTo>
                      <a:pt x="212" y="358"/>
                      <a:pt x="212" y="358"/>
                      <a:pt x="212" y="358"/>
                    </a:cubicBezTo>
                    <a:cubicBezTo>
                      <a:pt x="211" y="359"/>
                      <a:pt x="211" y="357"/>
                      <a:pt x="210" y="359"/>
                    </a:cubicBezTo>
                    <a:cubicBezTo>
                      <a:pt x="210" y="359"/>
                      <a:pt x="210" y="359"/>
                      <a:pt x="210" y="360"/>
                    </a:cubicBezTo>
                    <a:cubicBezTo>
                      <a:pt x="210" y="360"/>
                      <a:pt x="210" y="359"/>
                      <a:pt x="209" y="360"/>
                    </a:cubicBezTo>
                    <a:cubicBezTo>
                      <a:pt x="209" y="360"/>
                      <a:pt x="209" y="360"/>
                      <a:pt x="209" y="360"/>
                    </a:cubicBezTo>
                    <a:cubicBezTo>
                      <a:pt x="209" y="360"/>
                      <a:pt x="208" y="359"/>
                      <a:pt x="208" y="360"/>
                    </a:cubicBezTo>
                    <a:cubicBezTo>
                      <a:pt x="208" y="360"/>
                      <a:pt x="208" y="360"/>
                      <a:pt x="208" y="360"/>
                    </a:cubicBezTo>
                    <a:cubicBezTo>
                      <a:pt x="208" y="361"/>
                      <a:pt x="207" y="360"/>
                      <a:pt x="207" y="360"/>
                    </a:cubicBezTo>
                    <a:cubicBezTo>
                      <a:pt x="207" y="361"/>
                      <a:pt x="207" y="361"/>
                      <a:pt x="206" y="361"/>
                    </a:cubicBezTo>
                    <a:cubicBezTo>
                      <a:pt x="206" y="361"/>
                      <a:pt x="206" y="362"/>
                      <a:pt x="205" y="361"/>
                    </a:cubicBezTo>
                    <a:cubicBezTo>
                      <a:pt x="205" y="361"/>
                      <a:pt x="205" y="361"/>
                      <a:pt x="205" y="361"/>
                    </a:cubicBezTo>
                    <a:cubicBezTo>
                      <a:pt x="205" y="362"/>
                      <a:pt x="204" y="362"/>
                      <a:pt x="204" y="362"/>
                    </a:cubicBezTo>
                    <a:cubicBezTo>
                      <a:pt x="204" y="363"/>
                      <a:pt x="205" y="363"/>
                      <a:pt x="204" y="364"/>
                    </a:cubicBezTo>
                    <a:cubicBezTo>
                      <a:pt x="204" y="364"/>
                      <a:pt x="203" y="363"/>
                      <a:pt x="203" y="364"/>
                    </a:cubicBezTo>
                    <a:cubicBezTo>
                      <a:pt x="203" y="364"/>
                      <a:pt x="204" y="364"/>
                      <a:pt x="204" y="364"/>
                    </a:cubicBezTo>
                    <a:cubicBezTo>
                      <a:pt x="203" y="364"/>
                      <a:pt x="203" y="364"/>
                      <a:pt x="203" y="364"/>
                    </a:cubicBezTo>
                    <a:cubicBezTo>
                      <a:pt x="203" y="365"/>
                      <a:pt x="202" y="364"/>
                      <a:pt x="202" y="365"/>
                    </a:cubicBezTo>
                    <a:cubicBezTo>
                      <a:pt x="201" y="365"/>
                      <a:pt x="201" y="365"/>
                      <a:pt x="201" y="366"/>
                    </a:cubicBezTo>
                    <a:cubicBezTo>
                      <a:pt x="200" y="366"/>
                      <a:pt x="200" y="367"/>
                      <a:pt x="200" y="367"/>
                    </a:cubicBezTo>
                    <a:cubicBezTo>
                      <a:pt x="200" y="367"/>
                      <a:pt x="199" y="367"/>
                      <a:pt x="199" y="367"/>
                    </a:cubicBezTo>
                    <a:cubicBezTo>
                      <a:pt x="199" y="368"/>
                      <a:pt x="199" y="367"/>
                      <a:pt x="198" y="368"/>
                    </a:cubicBezTo>
                    <a:cubicBezTo>
                      <a:pt x="198" y="369"/>
                      <a:pt x="197" y="368"/>
                      <a:pt x="198" y="369"/>
                    </a:cubicBezTo>
                    <a:cubicBezTo>
                      <a:pt x="199" y="369"/>
                      <a:pt x="198" y="371"/>
                      <a:pt x="198" y="370"/>
                    </a:cubicBezTo>
                    <a:cubicBezTo>
                      <a:pt x="198" y="370"/>
                      <a:pt x="197" y="370"/>
                      <a:pt x="197" y="370"/>
                    </a:cubicBezTo>
                    <a:cubicBezTo>
                      <a:pt x="196" y="370"/>
                      <a:pt x="196" y="371"/>
                      <a:pt x="196" y="371"/>
                    </a:cubicBezTo>
                    <a:cubicBezTo>
                      <a:pt x="196" y="371"/>
                      <a:pt x="196" y="371"/>
                      <a:pt x="196" y="371"/>
                    </a:cubicBezTo>
                    <a:cubicBezTo>
                      <a:pt x="195" y="371"/>
                      <a:pt x="196" y="372"/>
                      <a:pt x="196" y="372"/>
                    </a:cubicBezTo>
                    <a:cubicBezTo>
                      <a:pt x="195" y="373"/>
                      <a:pt x="194" y="374"/>
                      <a:pt x="194" y="374"/>
                    </a:cubicBezTo>
                    <a:cubicBezTo>
                      <a:pt x="193" y="375"/>
                      <a:pt x="194" y="375"/>
                      <a:pt x="193" y="376"/>
                    </a:cubicBezTo>
                    <a:cubicBezTo>
                      <a:pt x="193" y="376"/>
                      <a:pt x="193" y="376"/>
                      <a:pt x="193" y="376"/>
                    </a:cubicBezTo>
                    <a:cubicBezTo>
                      <a:pt x="192" y="377"/>
                      <a:pt x="193" y="377"/>
                      <a:pt x="192" y="378"/>
                    </a:cubicBezTo>
                    <a:cubicBezTo>
                      <a:pt x="192" y="378"/>
                      <a:pt x="191" y="378"/>
                      <a:pt x="191" y="379"/>
                    </a:cubicBezTo>
                    <a:cubicBezTo>
                      <a:pt x="191" y="379"/>
                      <a:pt x="191" y="380"/>
                      <a:pt x="191" y="380"/>
                    </a:cubicBezTo>
                    <a:cubicBezTo>
                      <a:pt x="191" y="381"/>
                      <a:pt x="190" y="381"/>
                      <a:pt x="190" y="381"/>
                    </a:cubicBezTo>
                    <a:cubicBezTo>
                      <a:pt x="190" y="382"/>
                      <a:pt x="190" y="382"/>
                      <a:pt x="189" y="383"/>
                    </a:cubicBezTo>
                    <a:cubicBezTo>
                      <a:pt x="189" y="383"/>
                      <a:pt x="189" y="384"/>
                      <a:pt x="188" y="384"/>
                    </a:cubicBezTo>
                    <a:cubicBezTo>
                      <a:pt x="188" y="385"/>
                      <a:pt x="188" y="385"/>
                      <a:pt x="187" y="385"/>
                    </a:cubicBezTo>
                    <a:cubicBezTo>
                      <a:pt x="187" y="385"/>
                      <a:pt x="186" y="385"/>
                      <a:pt x="186" y="386"/>
                    </a:cubicBezTo>
                    <a:cubicBezTo>
                      <a:pt x="186" y="386"/>
                      <a:pt x="186" y="387"/>
                      <a:pt x="186" y="388"/>
                    </a:cubicBezTo>
                    <a:cubicBezTo>
                      <a:pt x="185" y="389"/>
                      <a:pt x="185" y="390"/>
                      <a:pt x="184" y="390"/>
                    </a:cubicBezTo>
                    <a:cubicBezTo>
                      <a:pt x="184" y="390"/>
                      <a:pt x="184" y="391"/>
                      <a:pt x="184" y="391"/>
                    </a:cubicBezTo>
                    <a:cubicBezTo>
                      <a:pt x="185" y="391"/>
                      <a:pt x="185" y="391"/>
                      <a:pt x="185" y="391"/>
                    </a:cubicBezTo>
                    <a:cubicBezTo>
                      <a:pt x="186" y="391"/>
                      <a:pt x="187" y="391"/>
                      <a:pt x="187" y="391"/>
                    </a:cubicBezTo>
                    <a:cubicBezTo>
                      <a:pt x="188" y="391"/>
                      <a:pt x="188" y="390"/>
                      <a:pt x="188" y="390"/>
                    </a:cubicBezTo>
                    <a:cubicBezTo>
                      <a:pt x="188" y="389"/>
                      <a:pt x="189" y="389"/>
                      <a:pt x="190" y="389"/>
                    </a:cubicBezTo>
                    <a:cubicBezTo>
                      <a:pt x="190" y="389"/>
                      <a:pt x="191" y="389"/>
                      <a:pt x="191" y="389"/>
                    </a:cubicBezTo>
                    <a:cubicBezTo>
                      <a:pt x="191" y="389"/>
                      <a:pt x="192" y="390"/>
                      <a:pt x="192" y="390"/>
                    </a:cubicBezTo>
                    <a:cubicBezTo>
                      <a:pt x="193" y="390"/>
                      <a:pt x="193" y="391"/>
                      <a:pt x="194" y="392"/>
                    </a:cubicBezTo>
                    <a:cubicBezTo>
                      <a:pt x="195" y="392"/>
                      <a:pt x="196" y="393"/>
                      <a:pt x="196" y="394"/>
                    </a:cubicBezTo>
                    <a:cubicBezTo>
                      <a:pt x="197" y="394"/>
                      <a:pt x="198" y="395"/>
                      <a:pt x="199" y="395"/>
                    </a:cubicBezTo>
                    <a:cubicBezTo>
                      <a:pt x="199" y="396"/>
                      <a:pt x="200" y="397"/>
                      <a:pt x="200" y="397"/>
                    </a:cubicBezTo>
                    <a:cubicBezTo>
                      <a:pt x="200" y="398"/>
                      <a:pt x="200" y="399"/>
                      <a:pt x="200" y="399"/>
                    </a:cubicBezTo>
                    <a:cubicBezTo>
                      <a:pt x="200" y="400"/>
                      <a:pt x="201" y="400"/>
                      <a:pt x="202" y="400"/>
                    </a:cubicBezTo>
                    <a:cubicBezTo>
                      <a:pt x="203" y="399"/>
                      <a:pt x="202" y="399"/>
                      <a:pt x="203" y="398"/>
                    </a:cubicBezTo>
                    <a:cubicBezTo>
                      <a:pt x="203" y="398"/>
                      <a:pt x="204" y="399"/>
                      <a:pt x="204" y="398"/>
                    </a:cubicBezTo>
                    <a:cubicBezTo>
                      <a:pt x="204" y="398"/>
                      <a:pt x="203" y="397"/>
                      <a:pt x="204" y="397"/>
                    </a:cubicBezTo>
                    <a:cubicBezTo>
                      <a:pt x="204" y="397"/>
                      <a:pt x="204" y="398"/>
                      <a:pt x="205" y="398"/>
                    </a:cubicBezTo>
                    <a:cubicBezTo>
                      <a:pt x="206" y="399"/>
                      <a:pt x="207" y="400"/>
                      <a:pt x="208" y="401"/>
                    </a:cubicBezTo>
                    <a:cubicBezTo>
                      <a:pt x="208" y="402"/>
                      <a:pt x="209" y="402"/>
                      <a:pt x="210" y="403"/>
                    </a:cubicBezTo>
                    <a:cubicBezTo>
                      <a:pt x="210" y="403"/>
                      <a:pt x="210" y="402"/>
                      <a:pt x="210" y="402"/>
                    </a:cubicBezTo>
                    <a:cubicBezTo>
                      <a:pt x="211" y="402"/>
                      <a:pt x="211" y="403"/>
                      <a:pt x="211" y="403"/>
                    </a:cubicBezTo>
                    <a:cubicBezTo>
                      <a:pt x="212" y="404"/>
                      <a:pt x="212" y="404"/>
                      <a:pt x="213" y="404"/>
                    </a:cubicBezTo>
                    <a:cubicBezTo>
                      <a:pt x="214" y="404"/>
                      <a:pt x="215" y="404"/>
                      <a:pt x="215" y="405"/>
                    </a:cubicBezTo>
                    <a:cubicBezTo>
                      <a:pt x="216" y="406"/>
                      <a:pt x="216" y="406"/>
                      <a:pt x="216" y="407"/>
                    </a:cubicBezTo>
                    <a:cubicBezTo>
                      <a:pt x="217" y="407"/>
                      <a:pt x="217" y="407"/>
                      <a:pt x="218" y="408"/>
                    </a:cubicBezTo>
                    <a:cubicBezTo>
                      <a:pt x="218" y="408"/>
                      <a:pt x="219" y="409"/>
                      <a:pt x="219" y="409"/>
                    </a:cubicBezTo>
                    <a:cubicBezTo>
                      <a:pt x="220" y="409"/>
                      <a:pt x="220" y="409"/>
                      <a:pt x="220" y="409"/>
                    </a:cubicBezTo>
                    <a:cubicBezTo>
                      <a:pt x="220" y="409"/>
                      <a:pt x="220" y="409"/>
                      <a:pt x="221" y="409"/>
                    </a:cubicBezTo>
                    <a:cubicBezTo>
                      <a:pt x="221" y="409"/>
                      <a:pt x="221" y="409"/>
                      <a:pt x="222" y="409"/>
                    </a:cubicBezTo>
                    <a:cubicBezTo>
                      <a:pt x="222" y="410"/>
                      <a:pt x="222" y="410"/>
                      <a:pt x="222" y="410"/>
                    </a:cubicBezTo>
                    <a:cubicBezTo>
                      <a:pt x="223" y="410"/>
                      <a:pt x="223" y="410"/>
                      <a:pt x="224" y="411"/>
                    </a:cubicBezTo>
                    <a:cubicBezTo>
                      <a:pt x="224" y="412"/>
                      <a:pt x="225" y="412"/>
                      <a:pt x="225" y="413"/>
                    </a:cubicBezTo>
                    <a:cubicBezTo>
                      <a:pt x="226" y="414"/>
                      <a:pt x="227" y="416"/>
                      <a:pt x="228" y="416"/>
                    </a:cubicBezTo>
                    <a:cubicBezTo>
                      <a:pt x="229" y="417"/>
                      <a:pt x="231" y="417"/>
                      <a:pt x="231" y="418"/>
                    </a:cubicBezTo>
                    <a:cubicBezTo>
                      <a:pt x="231" y="419"/>
                      <a:pt x="230" y="419"/>
                      <a:pt x="229" y="420"/>
                    </a:cubicBezTo>
                    <a:cubicBezTo>
                      <a:pt x="229" y="420"/>
                      <a:pt x="229" y="421"/>
                      <a:pt x="229" y="421"/>
                    </a:cubicBezTo>
                    <a:cubicBezTo>
                      <a:pt x="227" y="422"/>
                      <a:pt x="228" y="424"/>
                      <a:pt x="229" y="425"/>
                    </a:cubicBezTo>
                    <a:cubicBezTo>
                      <a:pt x="229" y="426"/>
                      <a:pt x="229" y="429"/>
                      <a:pt x="230" y="429"/>
                    </a:cubicBezTo>
                    <a:cubicBezTo>
                      <a:pt x="230" y="428"/>
                      <a:pt x="230" y="429"/>
                      <a:pt x="231" y="429"/>
                    </a:cubicBezTo>
                    <a:cubicBezTo>
                      <a:pt x="231" y="429"/>
                      <a:pt x="232" y="428"/>
                      <a:pt x="232" y="427"/>
                    </a:cubicBezTo>
                    <a:cubicBezTo>
                      <a:pt x="235" y="425"/>
                      <a:pt x="237" y="424"/>
                      <a:pt x="237" y="419"/>
                    </a:cubicBezTo>
                    <a:cubicBezTo>
                      <a:pt x="237" y="417"/>
                      <a:pt x="237" y="415"/>
                      <a:pt x="238" y="413"/>
                    </a:cubicBezTo>
                    <a:cubicBezTo>
                      <a:pt x="238" y="412"/>
                      <a:pt x="239" y="412"/>
                      <a:pt x="239" y="411"/>
                    </a:cubicBezTo>
                    <a:cubicBezTo>
                      <a:pt x="239" y="411"/>
                      <a:pt x="238" y="412"/>
                      <a:pt x="238" y="411"/>
                    </a:cubicBezTo>
                    <a:cubicBezTo>
                      <a:pt x="238" y="411"/>
                      <a:pt x="239" y="410"/>
                      <a:pt x="239" y="410"/>
                    </a:cubicBezTo>
                    <a:cubicBezTo>
                      <a:pt x="239" y="410"/>
                      <a:pt x="238" y="411"/>
                      <a:pt x="238" y="411"/>
                    </a:cubicBezTo>
                    <a:cubicBezTo>
                      <a:pt x="238" y="411"/>
                      <a:pt x="238" y="410"/>
                      <a:pt x="237" y="410"/>
                    </a:cubicBezTo>
                    <a:cubicBezTo>
                      <a:pt x="237" y="410"/>
                      <a:pt x="237" y="410"/>
                      <a:pt x="238" y="409"/>
                    </a:cubicBezTo>
                    <a:cubicBezTo>
                      <a:pt x="239" y="409"/>
                      <a:pt x="237" y="409"/>
                      <a:pt x="237" y="408"/>
                    </a:cubicBezTo>
                    <a:cubicBezTo>
                      <a:pt x="237" y="408"/>
                      <a:pt x="237" y="408"/>
                      <a:pt x="237" y="408"/>
                    </a:cubicBezTo>
                    <a:cubicBezTo>
                      <a:pt x="237" y="407"/>
                      <a:pt x="237" y="407"/>
                      <a:pt x="237" y="407"/>
                    </a:cubicBezTo>
                    <a:cubicBezTo>
                      <a:pt x="237" y="407"/>
                      <a:pt x="238" y="407"/>
                      <a:pt x="238" y="406"/>
                    </a:cubicBezTo>
                    <a:cubicBezTo>
                      <a:pt x="239" y="406"/>
                      <a:pt x="237" y="406"/>
                      <a:pt x="238" y="405"/>
                    </a:cubicBezTo>
                    <a:cubicBezTo>
                      <a:pt x="238" y="405"/>
                      <a:pt x="239" y="406"/>
                      <a:pt x="239" y="406"/>
                    </a:cubicBezTo>
                    <a:cubicBezTo>
                      <a:pt x="239" y="405"/>
                      <a:pt x="239" y="404"/>
                      <a:pt x="238" y="404"/>
                    </a:cubicBezTo>
                    <a:cubicBezTo>
                      <a:pt x="238" y="403"/>
                      <a:pt x="239" y="403"/>
                      <a:pt x="239" y="402"/>
                    </a:cubicBezTo>
                    <a:cubicBezTo>
                      <a:pt x="239" y="402"/>
                      <a:pt x="239" y="403"/>
                      <a:pt x="240" y="402"/>
                    </a:cubicBezTo>
                    <a:cubicBezTo>
                      <a:pt x="240" y="402"/>
                      <a:pt x="240" y="402"/>
                      <a:pt x="240" y="402"/>
                    </a:cubicBezTo>
                    <a:cubicBezTo>
                      <a:pt x="240" y="402"/>
                      <a:pt x="241" y="402"/>
                      <a:pt x="241" y="402"/>
                    </a:cubicBezTo>
                    <a:cubicBezTo>
                      <a:pt x="241" y="402"/>
                      <a:pt x="241" y="401"/>
                      <a:pt x="241" y="401"/>
                    </a:cubicBezTo>
                    <a:cubicBezTo>
                      <a:pt x="242" y="400"/>
                      <a:pt x="243" y="400"/>
                      <a:pt x="243" y="400"/>
                    </a:cubicBezTo>
                    <a:cubicBezTo>
                      <a:pt x="243" y="399"/>
                      <a:pt x="242" y="399"/>
                      <a:pt x="242" y="398"/>
                    </a:cubicBezTo>
                    <a:cubicBezTo>
                      <a:pt x="242" y="397"/>
                      <a:pt x="243" y="398"/>
                      <a:pt x="243" y="397"/>
                    </a:cubicBezTo>
                    <a:cubicBezTo>
                      <a:pt x="243" y="397"/>
                      <a:pt x="242" y="395"/>
                      <a:pt x="243" y="395"/>
                    </a:cubicBezTo>
                    <a:cubicBezTo>
                      <a:pt x="244" y="395"/>
                      <a:pt x="244" y="397"/>
                      <a:pt x="244" y="397"/>
                    </a:cubicBezTo>
                    <a:cubicBezTo>
                      <a:pt x="244" y="397"/>
                      <a:pt x="243" y="395"/>
                      <a:pt x="243" y="394"/>
                    </a:cubicBezTo>
                    <a:cubicBezTo>
                      <a:pt x="243" y="394"/>
                      <a:pt x="243" y="393"/>
                      <a:pt x="244" y="392"/>
                    </a:cubicBezTo>
                    <a:cubicBezTo>
                      <a:pt x="244" y="392"/>
                      <a:pt x="244" y="392"/>
                      <a:pt x="245" y="392"/>
                    </a:cubicBezTo>
                    <a:cubicBezTo>
                      <a:pt x="245" y="392"/>
                      <a:pt x="245" y="392"/>
                      <a:pt x="245" y="392"/>
                    </a:cubicBezTo>
                    <a:cubicBezTo>
                      <a:pt x="244" y="392"/>
                      <a:pt x="244" y="392"/>
                      <a:pt x="244" y="392"/>
                    </a:cubicBezTo>
                    <a:cubicBezTo>
                      <a:pt x="244" y="392"/>
                      <a:pt x="244" y="391"/>
                      <a:pt x="244" y="391"/>
                    </a:cubicBezTo>
                    <a:cubicBezTo>
                      <a:pt x="243" y="391"/>
                      <a:pt x="243" y="391"/>
                      <a:pt x="243" y="391"/>
                    </a:cubicBezTo>
                    <a:cubicBezTo>
                      <a:pt x="243" y="390"/>
                      <a:pt x="242" y="391"/>
                      <a:pt x="242" y="390"/>
                    </a:cubicBezTo>
                    <a:cubicBezTo>
                      <a:pt x="242" y="390"/>
                      <a:pt x="242" y="388"/>
                      <a:pt x="242" y="388"/>
                    </a:cubicBezTo>
                    <a:cubicBezTo>
                      <a:pt x="243" y="388"/>
                      <a:pt x="243" y="388"/>
                      <a:pt x="243" y="389"/>
                    </a:cubicBezTo>
                    <a:cubicBezTo>
                      <a:pt x="243" y="389"/>
                      <a:pt x="243" y="389"/>
                      <a:pt x="243" y="390"/>
                    </a:cubicBezTo>
                    <a:cubicBezTo>
                      <a:pt x="243" y="390"/>
                      <a:pt x="243" y="390"/>
                      <a:pt x="243" y="390"/>
                    </a:cubicBezTo>
                    <a:cubicBezTo>
                      <a:pt x="243" y="390"/>
                      <a:pt x="244" y="390"/>
                      <a:pt x="244" y="390"/>
                    </a:cubicBezTo>
                    <a:cubicBezTo>
                      <a:pt x="244" y="390"/>
                      <a:pt x="244" y="391"/>
                      <a:pt x="244" y="391"/>
                    </a:cubicBezTo>
                    <a:cubicBezTo>
                      <a:pt x="245" y="391"/>
                      <a:pt x="245" y="390"/>
                      <a:pt x="245" y="391"/>
                    </a:cubicBezTo>
                    <a:cubicBezTo>
                      <a:pt x="245" y="392"/>
                      <a:pt x="245" y="392"/>
                      <a:pt x="246" y="392"/>
                    </a:cubicBezTo>
                    <a:cubicBezTo>
                      <a:pt x="246" y="392"/>
                      <a:pt x="246" y="393"/>
                      <a:pt x="247" y="393"/>
                    </a:cubicBezTo>
                    <a:cubicBezTo>
                      <a:pt x="246" y="392"/>
                      <a:pt x="246" y="392"/>
                      <a:pt x="246" y="392"/>
                    </a:cubicBezTo>
                    <a:cubicBezTo>
                      <a:pt x="247" y="391"/>
                      <a:pt x="247" y="392"/>
                      <a:pt x="247" y="391"/>
                    </a:cubicBezTo>
                    <a:cubicBezTo>
                      <a:pt x="248" y="391"/>
                      <a:pt x="248" y="391"/>
                      <a:pt x="249" y="391"/>
                    </a:cubicBezTo>
                    <a:cubicBezTo>
                      <a:pt x="249" y="391"/>
                      <a:pt x="249" y="391"/>
                      <a:pt x="249" y="391"/>
                    </a:cubicBezTo>
                    <a:cubicBezTo>
                      <a:pt x="249" y="389"/>
                      <a:pt x="250" y="391"/>
                      <a:pt x="250" y="391"/>
                    </a:cubicBezTo>
                    <a:cubicBezTo>
                      <a:pt x="250" y="392"/>
                      <a:pt x="250" y="393"/>
                      <a:pt x="249" y="393"/>
                    </a:cubicBezTo>
                    <a:cubicBezTo>
                      <a:pt x="249" y="393"/>
                      <a:pt x="249" y="392"/>
                      <a:pt x="249" y="392"/>
                    </a:cubicBezTo>
                    <a:cubicBezTo>
                      <a:pt x="248" y="392"/>
                      <a:pt x="248" y="392"/>
                      <a:pt x="248" y="392"/>
                    </a:cubicBezTo>
                    <a:cubicBezTo>
                      <a:pt x="249" y="393"/>
                      <a:pt x="249" y="393"/>
                      <a:pt x="249" y="394"/>
                    </a:cubicBezTo>
                    <a:cubicBezTo>
                      <a:pt x="249" y="395"/>
                      <a:pt x="249" y="396"/>
                      <a:pt x="249" y="397"/>
                    </a:cubicBezTo>
                    <a:cubicBezTo>
                      <a:pt x="248" y="397"/>
                      <a:pt x="248" y="398"/>
                      <a:pt x="247" y="398"/>
                    </a:cubicBezTo>
                    <a:cubicBezTo>
                      <a:pt x="247" y="398"/>
                      <a:pt x="247" y="399"/>
                      <a:pt x="247" y="400"/>
                    </a:cubicBezTo>
                    <a:cubicBezTo>
                      <a:pt x="247" y="400"/>
                      <a:pt x="248" y="401"/>
                      <a:pt x="247" y="400"/>
                    </a:cubicBezTo>
                    <a:cubicBezTo>
                      <a:pt x="247" y="400"/>
                      <a:pt x="247" y="400"/>
                      <a:pt x="247" y="400"/>
                    </a:cubicBezTo>
                    <a:cubicBezTo>
                      <a:pt x="246" y="400"/>
                      <a:pt x="246" y="400"/>
                      <a:pt x="246" y="400"/>
                    </a:cubicBezTo>
                    <a:cubicBezTo>
                      <a:pt x="245" y="400"/>
                      <a:pt x="246" y="402"/>
                      <a:pt x="246" y="402"/>
                    </a:cubicBezTo>
                    <a:cubicBezTo>
                      <a:pt x="246" y="402"/>
                      <a:pt x="246" y="403"/>
                      <a:pt x="246" y="404"/>
                    </a:cubicBezTo>
                    <a:cubicBezTo>
                      <a:pt x="245" y="404"/>
                      <a:pt x="244" y="405"/>
                      <a:pt x="244" y="404"/>
                    </a:cubicBezTo>
                    <a:cubicBezTo>
                      <a:pt x="243" y="405"/>
                      <a:pt x="244" y="405"/>
                      <a:pt x="244" y="406"/>
                    </a:cubicBezTo>
                    <a:cubicBezTo>
                      <a:pt x="243" y="405"/>
                      <a:pt x="243" y="406"/>
                      <a:pt x="243" y="407"/>
                    </a:cubicBezTo>
                    <a:cubicBezTo>
                      <a:pt x="242" y="408"/>
                      <a:pt x="242" y="407"/>
                      <a:pt x="241" y="408"/>
                    </a:cubicBezTo>
                    <a:cubicBezTo>
                      <a:pt x="241" y="408"/>
                      <a:pt x="241" y="408"/>
                      <a:pt x="240" y="409"/>
                    </a:cubicBezTo>
                    <a:cubicBezTo>
                      <a:pt x="240" y="409"/>
                      <a:pt x="240" y="408"/>
                      <a:pt x="240" y="408"/>
                    </a:cubicBezTo>
                    <a:cubicBezTo>
                      <a:pt x="239" y="408"/>
                      <a:pt x="238" y="408"/>
                      <a:pt x="238" y="408"/>
                    </a:cubicBezTo>
                    <a:cubicBezTo>
                      <a:pt x="239" y="409"/>
                      <a:pt x="239" y="409"/>
                      <a:pt x="239" y="410"/>
                    </a:cubicBezTo>
                    <a:cubicBezTo>
                      <a:pt x="239" y="410"/>
                      <a:pt x="239" y="412"/>
                      <a:pt x="239" y="412"/>
                    </a:cubicBezTo>
                    <a:cubicBezTo>
                      <a:pt x="239" y="411"/>
                      <a:pt x="240" y="410"/>
                      <a:pt x="240" y="410"/>
                    </a:cubicBezTo>
                    <a:cubicBezTo>
                      <a:pt x="241" y="409"/>
                      <a:pt x="241" y="409"/>
                      <a:pt x="242" y="408"/>
                    </a:cubicBezTo>
                    <a:cubicBezTo>
                      <a:pt x="243" y="408"/>
                      <a:pt x="244" y="407"/>
                      <a:pt x="245" y="406"/>
                    </a:cubicBezTo>
                    <a:cubicBezTo>
                      <a:pt x="247" y="403"/>
                      <a:pt x="249" y="400"/>
                      <a:pt x="250" y="397"/>
                    </a:cubicBezTo>
                    <a:cubicBezTo>
                      <a:pt x="251" y="396"/>
                      <a:pt x="252" y="394"/>
                      <a:pt x="252" y="392"/>
                    </a:cubicBezTo>
                    <a:cubicBezTo>
                      <a:pt x="253" y="391"/>
                      <a:pt x="253" y="389"/>
                      <a:pt x="253" y="387"/>
                    </a:cubicBezTo>
                    <a:cubicBezTo>
                      <a:pt x="254" y="386"/>
                      <a:pt x="254" y="384"/>
                      <a:pt x="255" y="383"/>
                    </a:cubicBezTo>
                    <a:cubicBezTo>
                      <a:pt x="256" y="381"/>
                      <a:pt x="256" y="379"/>
                      <a:pt x="257" y="378"/>
                    </a:cubicBezTo>
                    <a:cubicBezTo>
                      <a:pt x="258" y="377"/>
                      <a:pt x="259" y="375"/>
                      <a:pt x="260" y="374"/>
                    </a:cubicBezTo>
                    <a:cubicBezTo>
                      <a:pt x="261" y="374"/>
                      <a:pt x="261" y="373"/>
                      <a:pt x="262" y="373"/>
                    </a:cubicBezTo>
                    <a:cubicBezTo>
                      <a:pt x="263" y="373"/>
                      <a:pt x="263" y="373"/>
                      <a:pt x="263" y="372"/>
                    </a:cubicBezTo>
                    <a:cubicBezTo>
                      <a:pt x="264" y="372"/>
                      <a:pt x="263" y="372"/>
                      <a:pt x="263" y="371"/>
                    </a:cubicBezTo>
                    <a:cubicBezTo>
                      <a:pt x="262" y="371"/>
                      <a:pt x="263" y="371"/>
                      <a:pt x="263" y="371"/>
                    </a:cubicBezTo>
                    <a:cubicBezTo>
                      <a:pt x="262" y="371"/>
                      <a:pt x="262" y="371"/>
                      <a:pt x="262" y="371"/>
                    </a:cubicBezTo>
                    <a:cubicBezTo>
                      <a:pt x="262" y="371"/>
                      <a:pt x="262" y="370"/>
                      <a:pt x="262" y="370"/>
                    </a:cubicBezTo>
                    <a:cubicBezTo>
                      <a:pt x="262" y="370"/>
                      <a:pt x="263" y="370"/>
                      <a:pt x="263" y="370"/>
                    </a:cubicBezTo>
                    <a:cubicBezTo>
                      <a:pt x="263" y="371"/>
                      <a:pt x="263" y="371"/>
                      <a:pt x="263" y="371"/>
                    </a:cubicBezTo>
                    <a:cubicBezTo>
                      <a:pt x="263" y="371"/>
                      <a:pt x="263" y="371"/>
                      <a:pt x="264" y="370"/>
                    </a:cubicBezTo>
                    <a:cubicBezTo>
                      <a:pt x="264" y="370"/>
                      <a:pt x="264" y="369"/>
                      <a:pt x="264" y="368"/>
                    </a:cubicBezTo>
                    <a:cubicBezTo>
                      <a:pt x="264" y="367"/>
                      <a:pt x="264" y="366"/>
                      <a:pt x="264" y="366"/>
                    </a:cubicBezTo>
                    <a:cubicBezTo>
                      <a:pt x="264" y="365"/>
                      <a:pt x="264" y="364"/>
                      <a:pt x="264" y="364"/>
                    </a:cubicBezTo>
                    <a:cubicBezTo>
                      <a:pt x="264" y="364"/>
                      <a:pt x="263" y="361"/>
                      <a:pt x="264" y="362"/>
                    </a:cubicBezTo>
                    <a:cubicBezTo>
                      <a:pt x="264" y="361"/>
                      <a:pt x="262" y="361"/>
                      <a:pt x="263" y="360"/>
                    </a:cubicBezTo>
                    <a:cubicBezTo>
                      <a:pt x="264" y="359"/>
                      <a:pt x="264" y="359"/>
                      <a:pt x="263" y="358"/>
                    </a:cubicBezTo>
                    <a:cubicBezTo>
                      <a:pt x="262" y="358"/>
                      <a:pt x="263" y="357"/>
                      <a:pt x="264" y="357"/>
                    </a:cubicBezTo>
                    <a:cubicBezTo>
                      <a:pt x="264" y="357"/>
                      <a:pt x="264" y="358"/>
                      <a:pt x="264" y="357"/>
                    </a:cubicBezTo>
                    <a:cubicBezTo>
                      <a:pt x="264" y="357"/>
                      <a:pt x="264" y="356"/>
                      <a:pt x="263" y="356"/>
                    </a:cubicBezTo>
                    <a:cubicBezTo>
                      <a:pt x="263" y="357"/>
                      <a:pt x="263" y="357"/>
                      <a:pt x="263" y="356"/>
                    </a:cubicBezTo>
                    <a:cubicBezTo>
                      <a:pt x="263" y="356"/>
                      <a:pt x="263" y="356"/>
                      <a:pt x="263" y="355"/>
                    </a:cubicBezTo>
                    <a:cubicBezTo>
                      <a:pt x="263" y="355"/>
                      <a:pt x="262" y="354"/>
                      <a:pt x="262" y="354"/>
                    </a:cubicBezTo>
                    <a:cubicBezTo>
                      <a:pt x="262" y="353"/>
                      <a:pt x="263" y="353"/>
                      <a:pt x="262" y="352"/>
                    </a:cubicBezTo>
                    <a:cubicBezTo>
                      <a:pt x="262" y="352"/>
                      <a:pt x="262" y="352"/>
                      <a:pt x="261" y="352"/>
                    </a:cubicBezTo>
                    <a:cubicBezTo>
                      <a:pt x="261" y="351"/>
                      <a:pt x="261" y="350"/>
                      <a:pt x="262" y="350"/>
                    </a:cubicBezTo>
                    <a:cubicBezTo>
                      <a:pt x="262" y="349"/>
                      <a:pt x="262" y="348"/>
                      <a:pt x="261" y="348"/>
                    </a:cubicBezTo>
                    <a:cubicBezTo>
                      <a:pt x="261" y="348"/>
                      <a:pt x="260" y="348"/>
                      <a:pt x="260" y="347"/>
                    </a:cubicBezTo>
                    <a:cubicBezTo>
                      <a:pt x="260" y="347"/>
                      <a:pt x="260" y="347"/>
                      <a:pt x="260" y="346"/>
                    </a:cubicBezTo>
                    <a:cubicBezTo>
                      <a:pt x="260" y="346"/>
                      <a:pt x="260" y="345"/>
                      <a:pt x="259" y="345"/>
                    </a:cubicBezTo>
                    <a:cubicBezTo>
                      <a:pt x="260" y="345"/>
                      <a:pt x="260" y="347"/>
                      <a:pt x="261" y="347"/>
                    </a:cubicBezTo>
                    <a:cubicBezTo>
                      <a:pt x="261" y="346"/>
                      <a:pt x="262" y="346"/>
                      <a:pt x="262" y="346"/>
                    </a:cubicBezTo>
                    <a:cubicBezTo>
                      <a:pt x="262" y="345"/>
                      <a:pt x="261" y="345"/>
                      <a:pt x="261" y="345"/>
                    </a:cubicBezTo>
                    <a:cubicBezTo>
                      <a:pt x="261" y="344"/>
                      <a:pt x="262" y="342"/>
                      <a:pt x="261" y="343"/>
                    </a:cubicBezTo>
                    <a:cubicBezTo>
                      <a:pt x="261" y="343"/>
                      <a:pt x="259" y="342"/>
                      <a:pt x="259" y="343"/>
                    </a:cubicBezTo>
                    <a:cubicBezTo>
                      <a:pt x="260" y="342"/>
                      <a:pt x="261" y="342"/>
                      <a:pt x="261" y="342"/>
                    </a:cubicBezTo>
                    <a:cubicBezTo>
                      <a:pt x="261" y="342"/>
                      <a:pt x="261" y="342"/>
                      <a:pt x="261" y="342"/>
                    </a:cubicBezTo>
                    <a:cubicBezTo>
                      <a:pt x="261" y="342"/>
                      <a:pt x="261" y="343"/>
                      <a:pt x="262" y="342"/>
                    </a:cubicBezTo>
                    <a:cubicBezTo>
                      <a:pt x="262" y="342"/>
                      <a:pt x="262" y="341"/>
                      <a:pt x="262" y="341"/>
                    </a:cubicBezTo>
                    <a:cubicBezTo>
                      <a:pt x="262" y="340"/>
                      <a:pt x="263" y="339"/>
                      <a:pt x="263" y="339"/>
                    </a:cubicBezTo>
                    <a:cubicBezTo>
                      <a:pt x="262" y="339"/>
                      <a:pt x="262" y="339"/>
                      <a:pt x="262" y="339"/>
                    </a:cubicBezTo>
                    <a:cubicBezTo>
                      <a:pt x="262" y="339"/>
                      <a:pt x="262" y="339"/>
                      <a:pt x="262" y="339"/>
                    </a:cubicBezTo>
                    <a:cubicBezTo>
                      <a:pt x="261" y="339"/>
                      <a:pt x="261" y="339"/>
                      <a:pt x="261" y="339"/>
                    </a:cubicBezTo>
                    <a:cubicBezTo>
                      <a:pt x="261" y="339"/>
                      <a:pt x="260" y="339"/>
                      <a:pt x="260" y="339"/>
                    </a:cubicBezTo>
                    <a:cubicBezTo>
                      <a:pt x="260" y="338"/>
                      <a:pt x="260" y="339"/>
                      <a:pt x="259" y="338"/>
                    </a:cubicBezTo>
                    <a:cubicBezTo>
                      <a:pt x="260" y="339"/>
                      <a:pt x="259" y="337"/>
                      <a:pt x="259" y="337"/>
                    </a:cubicBezTo>
                    <a:cubicBezTo>
                      <a:pt x="260" y="337"/>
                      <a:pt x="260" y="338"/>
                      <a:pt x="261" y="338"/>
                    </a:cubicBezTo>
                    <a:cubicBezTo>
                      <a:pt x="261" y="338"/>
                      <a:pt x="262" y="338"/>
                      <a:pt x="262" y="338"/>
                    </a:cubicBezTo>
                    <a:cubicBezTo>
                      <a:pt x="262" y="337"/>
                      <a:pt x="262" y="337"/>
                      <a:pt x="261" y="337"/>
                    </a:cubicBezTo>
                    <a:cubicBezTo>
                      <a:pt x="262" y="337"/>
                      <a:pt x="261" y="336"/>
                      <a:pt x="262" y="336"/>
                    </a:cubicBezTo>
                    <a:cubicBezTo>
                      <a:pt x="262" y="336"/>
                      <a:pt x="262" y="336"/>
                      <a:pt x="262" y="336"/>
                    </a:cubicBezTo>
                    <a:cubicBezTo>
                      <a:pt x="263" y="336"/>
                      <a:pt x="262" y="336"/>
                      <a:pt x="263" y="336"/>
                    </a:cubicBezTo>
                    <a:cubicBezTo>
                      <a:pt x="262" y="336"/>
                      <a:pt x="264" y="338"/>
                      <a:pt x="263" y="336"/>
                    </a:cubicBezTo>
                    <a:cubicBezTo>
                      <a:pt x="264" y="337"/>
                      <a:pt x="264" y="336"/>
                      <a:pt x="265" y="336"/>
                    </a:cubicBezTo>
                    <a:cubicBezTo>
                      <a:pt x="265" y="336"/>
                      <a:pt x="264" y="336"/>
                      <a:pt x="264" y="337"/>
                    </a:cubicBezTo>
                    <a:cubicBezTo>
                      <a:pt x="264" y="337"/>
                      <a:pt x="264" y="338"/>
                      <a:pt x="264" y="338"/>
                    </a:cubicBezTo>
                    <a:cubicBezTo>
                      <a:pt x="264" y="338"/>
                      <a:pt x="264" y="338"/>
                      <a:pt x="264" y="338"/>
                    </a:cubicBezTo>
                    <a:cubicBezTo>
                      <a:pt x="264" y="337"/>
                      <a:pt x="265" y="337"/>
                      <a:pt x="265" y="337"/>
                    </a:cubicBezTo>
                    <a:cubicBezTo>
                      <a:pt x="265" y="336"/>
                      <a:pt x="266" y="336"/>
                      <a:pt x="266" y="335"/>
                    </a:cubicBezTo>
                    <a:cubicBezTo>
                      <a:pt x="266" y="335"/>
                      <a:pt x="267" y="335"/>
                      <a:pt x="267" y="334"/>
                    </a:cubicBezTo>
                    <a:cubicBezTo>
                      <a:pt x="267" y="333"/>
                      <a:pt x="266" y="334"/>
                      <a:pt x="265" y="333"/>
                    </a:cubicBezTo>
                    <a:cubicBezTo>
                      <a:pt x="266" y="333"/>
                      <a:pt x="266" y="333"/>
                      <a:pt x="266" y="333"/>
                    </a:cubicBezTo>
                    <a:cubicBezTo>
                      <a:pt x="265" y="333"/>
                      <a:pt x="266" y="334"/>
                      <a:pt x="266" y="334"/>
                    </a:cubicBezTo>
                    <a:cubicBezTo>
                      <a:pt x="266" y="333"/>
                      <a:pt x="267" y="333"/>
                      <a:pt x="267" y="333"/>
                    </a:cubicBezTo>
                    <a:cubicBezTo>
                      <a:pt x="267" y="332"/>
                      <a:pt x="268" y="331"/>
                      <a:pt x="269" y="330"/>
                    </a:cubicBezTo>
                    <a:cubicBezTo>
                      <a:pt x="270" y="329"/>
                      <a:pt x="271" y="329"/>
                      <a:pt x="272" y="328"/>
                    </a:cubicBezTo>
                    <a:cubicBezTo>
                      <a:pt x="272" y="328"/>
                      <a:pt x="274" y="327"/>
                      <a:pt x="274" y="327"/>
                    </a:cubicBezTo>
                    <a:cubicBezTo>
                      <a:pt x="274" y="327"/>
                      <a:pt x="274" y="325"/>
                      <a:pt x="275" y="325"/>
                    </a:cubicBezTo>
                    <a:cubicBezTo>
                      <a:pt x="275" y="325"/>
                      <a:pt x="276" y="324"/>
                      <a:pt x="276" y="324"/>
                    </a:cubicBezTo>
                    <a:cubicBezTo>
                      <a:pt x="277" y="324"/>
                      <a:pt x="279" y="322"/>
                      <a:pt x="280" y="322"/>
                    </a:cubicBezTo>
                    <a:cubicBezTo>
                      <a:pt x="280" y="322"/>
                      <a:pt x="279" y="321"/>
                      <a:pt x="279" y="321"/>
                    </a:cubicBezTo>
                    <a:cubicBezTo>
                      <a:pt x="280" y="321"/>
                      <a:pt x="279" y="321"/>
                      <a:pt x="280" y="321"/>
                    </a:cubicBezTo>
                    <a:cubicBezTo>
                      <a:pt x="280" y="321"/>
                      <a:pt x="280" y="321"/>
                      <a:pt x="280" y="321"/>
                    </a:cubicBezTo>
                    <a:cubicBezTo>
                      <a:pt x="281" y="321"/>
                      <a:pt x="281" y="322"/>
                      <a:pt x="281" y="322"/>
                    </a:cubicBezTo>
                    <a:cubicBezTo>
                      <a:pt x="281" y="322"/>
                      <a:pt x="281" y="322"/>
                      <a:pt x="280" y="322"/>
                    </a:cubicBezTo>
                    <a:cubicBezTo>
                      <a:pt x="281" y="323"/>
                      <a:pt x="281" y="322"/>
                      <a:pt x="281" y="322"/>
                    </a:cubicBezTo>
                    <a:cubicBezTo>
                      <a:pt x="282" y="322"/>
                      <a:pt x="282" y="321"/>
                      <a:pt x="282" y="321"/>
                    </a:cubicBezTo>
                    <a:cubicBezTo>
                      <a:pt x="282" y="321"/>
                      <a:pt x="282" y="321"/>
                      <a:pt x="281" y="321"/>
                    </a:cubicBezTo>
                    <a:cubicBezTo>
                      <a:pt x="282" y="320"/>
                      <a:pt x="284" y="319"/>
                      <a:pt x="286" y="320"/>
                    </a:cubicBezTo>
                    <a:cubicBezTo>
                      <a:pt x="286" y="320"/>
                      <a:pt x="287" y="320"/>
                      <a:pt x="287" y="320"/>
                    </a:cubicBezTo>
                    <a:cubicBezTo>
                      <a:pt x="288" y="320"/>
                      <a:pt x="288" y="320"/>
                      <a:pt x="288" y="320"/>
                    </a:cubicBezTo>
                    <a:cubicBezTo>
                      <a:pt x="289" y="320"/>
                      <a:pt x="289" y="320"/>
                      <a:pt x="289" y="319"/>
                    </a:cubicBezTo>
                    <a:cubicBezTo>
                      <a:pt x="288" y="318"/>
                      <a:pt x="289" y="318"/>
                      <a:pt x="289" y="318"/>
                    </a:cubicBezTo>
                    <a:cubicBezTo>
                      <a:pt x="289" y="318"/>
                      <a:pt x="290" y="317"/>
                      <a:pt x="290" y="317"/>
                    </a:cubicBezTo>
                    <a:cubicBezTo>
                      <a:pt x="290" y="317"/>
                      <a:pt x="291" y="317"/>
                      <a:pt x="291" y="317"/>
                    </a:cubicBezTo>
                    <a:cubicBezTo>
                      <a:pt x="291" y="316"/>
                      <a:pt x="291" y="317"/>
                      <a:pt x="291" y="316"/>
                    </a:cubicBezTo>
                    <a:cubicBezTo>
                      <a:pt x="292" y="317"/>
                      <a:pt x="292" y="317"/>
                      <a:pt x="292" y="317"/>
                    </a:cubicBezTo>
                    <a:cubicBezTo>
                      <a:pt x="292" y="316"/>
                      <a:pt x="292" y="316"/>
                      <a:pt x="292" y="316"/>
                    </a:cubicBezTo>
                    <a:cubicBezTo>
                      <a:pt x="292" y="316"/>
                      <a:pt x="293" y="315"/>
                      <a:pt x="293" y="315"/>
                    </a:cubicBezTo>
                    <a:cubicBezTo>
                      <a:pt x="293" y="315"/>
                      <a:pt x="294" y="315"/>
                      <a:pt x="294" y="315"/>
                    </a:cubicBezTo>
                    <a:cubicBezTo>
                      <a:pt x="294" y="315"/>
                      <a:pt x="297" y="315"/>
                      <a:pt x="297" y="314"/>
                    </a:cubicBezTo>
                    <a:cubicBezTo>
                      <a:pt x="297" y="314"/>
                      <a:pt x="296" y="314"/>
                      <a:pt x="296" y="314"/>
                    </a:cubicBezTo>
                    <a:cubicBezTo>
                      <a:pt x="296" y="313"/>
                      <a:pt x="295" y="314"/>
                      <a:pt x="295" y="314"/>
                    </a:cubicBezTo>
                    <a:cubicBezTo>
                      <a:pt x="295" y="314"/>
                      <a:pt x="296" y="313"/>
                      <a:pt x="295" y="314"/>
                    </a:cubicBezTo>
                    <a:cubicBezTo>
                      <a:pt x="295" y="314"/>
                      <a:pt x="296" y="313"/>
                      <a:pt x="296" y="313"/>
                    </a:cubicBezTo>
                    <a:cubicBezTo>
                      <a:pt x="295" y="313"/>
                      <a:pt x="295" y="314"/>
                      <a:pt x="295" y="313"/>
                    </a:cubicBezTo>
                    <a:cubicBezTo>
                      <a:pt x="295" y="312"/>
                      <a:pt x="295" y="311"/>
                      <a:pt x="296" y="312"/>
                    </a:cubicBezTo>
                    <a:cubicBezTo>
                      <a:pt x="296" y="312"/>
                      <a:pt x="296" y="311"/>
                      <a:pt x="297" y="311"/>
                    </a:cubicBezTo>
                    <a:cubicBezTo>
                      <a:pt x="297" y="311"/>
                      <a:pt x="297" y="311"/>
                      <a:pt x="297" y="311"/>
                    </a:cubicBezTo>
                    <a:cubicBezTo>
                      <a:pt x="297" y="310"/>
                      <a:pt x="298" y="311"/>
                      <a:pt x="298" y="310"/>
                    </a:cubicBezTo>
                    <a:cubicBezTo>
                      <a:pt x="298" y="310"/>
                      <a:pt x="298" y="310"/>
                      <a:pt x="298" y="310"/>
                    </a:cubicBezTo>
                    <a:cubicBezTo>
                      <a:pt x="298" y="310"/>
                      <a:pt x="298" y="311"/>
                      <a:pt x="298" y="311"/>
                    </a:cubicBezTo>
                    <a:cubicBezTo>
                      <a:pt x="298" y="311"/>
                      <a:pt x="299" y="311"/>
                      <a:pt x="299" y="311"/>
                    </a:cubicBezTo>
                    <a:cubicBezTo>
                      <a:pt x="299" y="311"/>
                      <a:pt x="300" y="312"/>
                      <a:pt x="300" y="311"/>
                    </a:cubicBezTo>
                    <a:cubicBezTo>
                      <a:pt x="301" y="311"/>
                      <a:pt x="300" y="311"/>
                      <a:pt x="301" y="310"/>
                    </a:cubicBezTo>
                    <a:cubicBezTo>
                      <a:pt x="301" y="310"/>
                      <a:pt x="301" y="311"/>
                      <a:pt x="301" y="311"/>
                    </a:cubicBezTo>
                    <a:cubicBezTo>
                      <a:pt x="301" y="311"/>
                      <a:pt x="302" y="310"/>
                      <a:pt x="302" y="310"/>
                    </a:cubicBezTo>
                    <a:cubicBezTo>
                      <a:pt x="302" y="310"/>
                      <a:pt x="302" y="310"/>
                      <a:pt x="303" y="310"/>
                    </a:cubicBezTo>
                    <a:cubicBezTo>
                      <a:pt x="303" y="310"/>
                      <a:pt x="304" y="311"/>
                      <a:pt x="305" y="311"/>
                    </a:cubicBezTo>
                    <a:cubicBezTo>
                      <a:pt x="304" y="312"/>
                      <a:pt x="303" y="312"/>
                      <a:pt x="302" y="311"/>
                    </a:cubicBezTo>
                    <a:cubicBezTo>
                      <a:pt x="302" y="312"/>
                      <a:pt x="302" y="311"/>
                      <a:pt x="302" y="312"/>
                    </a:cubicBezTo>
                    <a:cubicBezTo>
                      <a:pt x="301" y="312"/>
                      <a:pt x="301" y="312"/>
                      <a:pt x="302" y="312"/>
                    </a:cubicBezTo>
                    <a:cubicBezTo>
                      <a:pt x="303" y="312"/>
                      <a:pt x="304" y="312"/>
                      <a:pt x="305" y="312"/>
                    </a:cubicBezTo>
                    <a:cubicBezTo>
                      <a:pt x="306" y="312"/>
                      <a:pt x="306" y="312"/>
                      <a:pt x="306" y="311"/>
                    </a:cubicBezTo>
                    <a:cubicBezTo>
                      <a:pt x="307" y="311"/>
                      <a:pt x="307" y="311"/>
                      <a:pt x="308" y="311"/>
                    </a:cubicBezTo>
                    <a:cubicBezTo>
                      <a:pt x="309" y="311"/>
                      <a:pt x="310" y="311"/>
                      <a:pt x="309" y="310"/>
                    </a:cubicBezTo>
                    <a:cubicBezTo>
                      <a:pt x="309" y="310"/>
                      <a:pt x="308" y="310"/>
                      <a:pt x="309" y="309"/>
                    </a:cubicBezTo>
                    <a:cubicBezTo>
                      <a:pt x="308" y="309"/>
                      <a:pt x="308" y="309"/>
                      <a:pt x="308" y="308"/>
                    </a:cubicBezTo>
                    <a:cubicBezTo>
                      <a:pt x="309" y="308"/>
                      <a:pt x="309" y="308"/>
                      <a:pt x="310" y="307"/>
                    </a:cubicBezTo>
                    <a:cubicBezTo>
                      <a:pt x="311" y="307"/>
                      <a:pt x="309" y="310"/>
                      <a:pt x="309" y="310"/>
                    </a:cubicBezTo>
                    <a:cubicBezTo>
                      <a:pt x="309" y="310"/>
                      <a:pt x="310" y="310"/>
                      <a:pt x="310" y="310"/>
                    </a:cubicBezTo>
                    <a:cubicBezTo>
                      <a:pt x="311" y="311"/>
                      <a:pt x="312" y="311"/>
                      <a:pt x="313" y="311"/>
                    </a:cubicBezTo>
                    <a:cubicBezTo>
                      <a:pt x="314" y="311"/>
                      <a:pt x="315" y="310"/>
                      <a:pt x="315" y="310"/>
                    </a:cubicBezTo>
                    <a:cubicBezTo>
                      <a:pt x="316" y="310"/>
                      <a:pt x="317" y="310"/>
                      <a:pt x="318" y="310"/>
                    </a:cubicBezTo>
                    <a:cubicBezTo>
                      <a:pt x="318" y="310"/>
                      <a:pt x="319" y="310"/>
                      <a:pt x="320" y="311"/>
                    </a:cubicBezTo>
                    <a:cubicBezTo>
                      <a:pt x="320" y="311"/>
                      <a:pt x="321" y="311"/>
                      <a:pt x="320" y="310"/>
                    </a:cubicBezTo>
                    <a:cubicBezTo>
                      <a:pt x="319" y="311"/>
                      <a:pt x="321" y="308"/>
                      <a:pt x="321" y="308"/>
                    </a:cubicBezTo>
                    <a:cubicBezTo>
                      <a:pt x="321" y="308"/>
                      <a:pt x="321" y="308"/>
                      <a:pt x="321" y="308"/>
                    </a:cubicBezTo>
                    <a:cubicBezTo>
                      <a:pt x="320" y="308"/>
                      <a:pt x="320" y="308"/>
                      <a:pt x="320" y="308"/>
                    </a:cubicBezTo>
                    <a:cubicBezTo>
                      <a:pt x="320" y="307"/>
                      <a:pt x="320" y="306"/>
                      <a:pt x="320" y="306"/>
                    </a:cubicBezTo>
                    <a:cubicBezTo>
                      <a:pt x="322" y="305"/>
                      <a:pt x="322" y="303"/>
                      <a:pt x="324" y="302"/>
                    </a:cubicBezTo>
                    <a:cubicBezTo>
                      <a:pt x="325" y="302"/>
                      <a:pt x="326" y="302"/>
                      <a:pt x="327" y="301"/>
                    </a:cubicBezTo>
                    <a:cubicBezTo>
                      <a:pt x="328" y="301"/>
                      <a:pt x="329" y="300"/>
                      <a:pt x="329" y="300"/>
                    </a:cubicBezTo>
                    <a:cubicBezTo>
                      <a:pt x="329" y="299"/>
                      <a:pt x="329" y="298"/>
                      <a:pt x="329" y="297"/>
                    </a:cubicBezTo>
                    <a:cubicBezTo>
                      <a:pt x="328" y="297"/>
                      <a:pt x="328" y="296"/>
                      <a:pt x="328" y="296"/>
                    </a:cubicBezTo>
                    <a:cubicBezTo>
                      <a:pt x="328" y="295"/>
                      <a:pt x="328" y="295"/>
                      <a:pt x="328" y="295"/>
                    </a:cubicBezTo>
                    <a:cubicBezTo>
                      <a:pt x="328" y="294"/>
                      <a:pt x="328" y="294"/>
                      <a:pt x="328" y="293"/>
                    </a:cubicBezTo>
                    <a:cubicBezTo>
                      <a:pt x="329" y="293"/>
                      <a:pt x="329" y="293"/>
                      <a:pt x="329" y="292"/>
                    </a:cubicBezTo>
                    <a:cubicBezTo>
                      <a:pt x="329" y="291"/>
                      <a:pt x="329" y="290"/>
                      <a:pt x="330" y="290"/>
                    </a:cubicBezTo>
                    <a:cubicBezTo>
                      <a:pt x="330" y="289"/>
                      <a:pt x="330" y="288"/>
                      <a:pt x="330" y="287"/>
                    </a:cubicBezTo>
                    <a:cubicBezTo>
                      <a:pt x="331" y="287"/>
                      <a:pt x="331" y="287"/>
                      <a:pt x="332" y="287"/>
                    </a:cubicBezTo>
                    <a:cubicBezTo>
                      <a:pt x="333" y="285"/>
                      <a:pt x="334" y="284"/>
                      <a:pt x="334" y="283"/>
                    </a:cubicBezTo>
                    <a:cubicBezTo>
                      <a:pt x="334" y="283"/>
                      <a:pt x="334" y="282"/>
                      <a:pt x="334" y="282"/>
                    </a:cubicBezTo>
                    <a:cubicBezTo>
                      <a:pt x="334" y="282"/>
                      <a:pt x="334" y="282"/>
                      <a:pt x="333" y="281"/>
                    </a:cubicBezTo>
                    <a:cubicBezTo>
                      <a:pt x="333" y="281"/>
                      <a:pt x="334" y="281"/>
                      <a:pt x="333" y="281"/>
                    </a:cubicBezTo>
                    <a:cubicBezTo>
                      <a:pt x="334" y="281"/>
                      <a:pt x="334" y="281"/>
                      <a:pt x="335" y="281"/>
                    </a:cubicBezTo>
                    <a:cubicBezTo>
                      <a:pt x="335" y="281"/>
                      <a:pt x="335" y="280"/>
                      <a:pt x="335" y="279"/>
                    </a:cubicBezTo>
                    <a:cubicBezTo>
                      <a:pt x="335" y="279"/>
                      <a:pt x="335" y="279"/>
                      <a:pt x="335" y="278"/>
                    </a:cubicBezTo>
                    <a:cubicBezTo>
                      <a:pt x="335" y="278"/>
                      <a:pt x="335" y="278"/>
                      <a:pt x="335" y="278"/>
                    </a:cubicBezTo>
                    <a:cubicBezTo>
                      <a:pt x="335" y="277"/>
                      <a:pt x="336" y="277"/>
                      <a:pt x="336" y="277"/>
                    </a:cubicBezTo>
                    <a:cubicBezTo>
                      <a:pt x="336" y="276"/>
                      <a:pt x="336" y="275"/>
                      <a:pt x="337" y="275"/>
                    </a:cubicBezTo>
                    <a:cubicBezTo>
                      <a:pt x="337" y="275"/>
                      <a:pt x="338" y="274"/>
                      <a:pt x="338" y="274"/>
                    </a:cubicBezTo>
                    <a:cubicBezTo>
                      <a:pt x="340" y="272"/>
                      <a:pt x="339" y="271"/>
                      <a:pt x="339" y="270"/>
                    </a:cubicBezTo>
                    <a:cubicBezTo>
                      <a:pt x="338" y="266"/>
                      <a:pt x="338" y="263"/>
                      <a:pt x="339" y="259"/>
                    </a:cubicBezTo>
                    <a:cubicBezTo>
                      <a:pt x="339" y="258"/>
                      <a:pt x="339" y="257"/>
                      <a:pt x="340" y="257"/>
                    </a:cubicBezTo>
                    <a:cubicBezTo>
                      <a:pt x="340" y="256"/>
                      <a:pt x="340" y="255"/>
                      <a:pt x="341" y="255"/>
                    </a:cubicBezTo>
                    <a:cubicBezTo>
                      <a:pt x="341" y="255"/>
                      <a:pt x="342" y="255"/>
                      <a:pt x="342" y="255"/>
                    </a:cubicBezTo>
                    <a:cubicBezTo>
                      <a:pt x="342" y="255"/>
                      <a:pt x="342" y="254"/>
                      <a:pt x="342" y="254"/>
                    </a:cubicBezTo>
                    <a:cubicBezTo>
                      <a:pt x="343" y="254"/>
                      <a:pt x="343" y="253"/>
                      <a:pt x="343" y="252"/>
                    </a:cubicBezTo>
                    <a:cubicBezTo>
                      <a:pt x="343" y="252"/>
                      <a:pt x="343" y="252"/>
                      <a:pt x="343" y="251"/>
                    </a:cubicBezTo>
                    <a:cubicBezTo>
                      <a:pt x="342" y="251"/>
                      <a:pt x="342" y="251"/>
                      <a:pt x="342" y="250"/>
                    </a:cubicBezTo>
                    <a:cubicBezTo>
                      <a:pt x="342" y="249"/>
                      <a:pt x="342" y="249"/>
                      <a:pt x="342" y="248"/>
                    </a:cubicBezTo>
                    <a:cubicBezTo>
                      <a:pt x="342" y="247"/>
                      <a:pt x="342" y="246"/>
                      <a:pt x="342" y="245"/>
                    </a:cubicBezTo>
                    <a:cubicBezTo>
                      <a:pt x="343" y="244"/>
                      <a:pt x="343" y="244"/>
                      <a:pt x="343" y="243"/>
                    </a:cubicBezTo>
                    <a:cubicBezTo>
                      <a:pt x="342" y="242"/>
                      <a:pt x="343" y="241"/>
                      <a:pt x="343" y="240"/>
                    </a:cubicBezTo>
                    <a:cubicBezTo>
                      <a:pt x="343" y="239"/>
                      <a:pt x="343" y="239"/>
                      <a:pt x="343" y="238"/>
                    </a:cubicBezTo>
                    <a:cubicBezTo>
                      <a:pt x="344" y="238"/>
                      <a:pt x="343" y="238"/>
                      <a:pt x="343" y="237"/>
                    </a:cubicBezTo>
                    <a:cubicBezTo>
                      <a:pt x="343" y="237"/>
                      <a:pt x="344" y="237"/>
                      <a:pt x="344" y="236"/>
                    </a:cubicBezTo>
                    <a:cubicBezTo>
                      <a:pt x="344" y="235"/>
                      <a:pt x="344" y="235"/>
                      <a:pt x="344" y="234"/>
                    </a:cubicBezTo>
                    <a:cubicBezTo>
                      <a:pt x="344" y="233"/>
                      <a:pt x="344" y="232"/>
                      <a:pt x="344" y="231"/>
                    </a:cubicBezTo>
                    <a:cubicBezTo>
                      <a:pt x="344" y="231"/>
                      <a:pt x="343" y="230"/>
                      <a:pt x="343" y="229"/>
                    </a:cubicBezTo>
                    <a:cubicBezTo>
                      <a:pt x="343" y="227"/>
                      <a:pt x="343" y="225"/>
                      <a:pt x="343" y="223"/>
                    </a:cubicBezTo>
                    <a:cubicBezTo>
                      <a:pt x="342" y="222"/>
                      <a:pt x="342" y="220"/>
                      <a:pt x="342" y="218"/>
                    </a:cubicBezTo>
                    <a:cubicBezTo>
                      <a:pt x="342" y="216"/>
                      <a:pt x="342" y="215"/>
                      <a:pt x="342" y="213"/>
                    </a:cubicBezTo>
                    <a:cubicBezTo>
                      <a:pt x="343" y="213"/>
                      <a:pt x="343" y="211"/>
                      <a:pt x="343" y="211"/>
                    </a:cubicBezTo>
                    <a:cubicBezTo>
                      <a:pt x="342" y="211"/>
                      <a:pt x="342" y="211"/>
                      <a:pt x="342" y="212"/>
                    </a:cubicBezTo>
                    <a:cubicBezTo>
                      <a:pt x="342" y="212"/>
                      <a:pt x="342" y="213"/>
                      <a:pt x="342" y="213"/>
                    </a:cubicBezTo>
                    <a:cubicBezTo>
                      <a:pt x="342" y="213"/>
                      <a:pt x="341" y="213"/>
                      <a:pt x="342" y="214"/>
                    </a:cubicBezTo>
                    <a:cubicBezTo>
                      <a:pt x="341" y="214"/>
                      <a:pt x="341" y="213"/>
                      <a:pt x="341" y="213"/>
                    </a:cubicBezTo>
                    <a:cubicBezTo>
                      <a:pt x="342" y="213"/>
                      <a:pt x="342" y="213"/>
                      <a:pt x="342" y="213"/>
                    </a:cubicBezTo>
                    <a:cubicBezTo>
                      <a:pt x="342" y="213"/>
                      <a:pt x="341" y="211"/>
                      <a:pt x="341" y="211"/>
                    </a:cubicBezTo>
                    <a:cubicBezTo>
                      <a:pt x="343" y="211"/>
                      <a:pt x="341" y="210"/>
                      <a:pt x="341" y="209"/>
                    </a:cubicBezTo>
                    <a:cubicBezTo>
                      <a:pt x="341" y="209"/>
                      <a:pt x="341" y="209"/>
                      <a:pt x="340" y="209"/>
                    </a:cubicBezTo>
                    <a:cubicBezTo>
                      <a:pt x="340" y="209"/>
                      <a:pt x="341" y="209"/>
                      <a:pt x="341" y="209"/>
                    </a:cubicBezTo>
                    <a:cubicBezTo>
                      <a:pt x="341" y="210"/>
                      <a:pt x="341" y="210"/>
                      <a:pt x="342" y="210"/>
                    </a:cubicBezTo>
                    <a:cubicBezTo>
                      <a:pt x="342" y="210"/>
                      <a:pt x="342" y="209"/>
                      <a:pt x="342" y="208"/>
                    </a:cubicBezTo>
                    <a:cubicBezTo>
                      <a:pt x="342" y="208"/>
                      <a:pt x="341" y="206"/>
                      <a:pt x="341" y="207"/>
                    </a:cubicBezTo>
                    <a:cubicBezTo>
                      <a:pt x="341" y="207"/>
                      <a:pt x="341" y="208"/>
                      <a:pt x="341" y="208"/>
                    </a:cubicBezTo>
                    <a:cubicBezTo>
                      <a:pt x="341" y="207"/>
                      <a:pt x="341" y="205"/>
                      <a:pt x="341" y="205"/>
                    </a:cubicBezTo>
                    <a:cubicBezTo>
                      <a:pt x="341" y="205"/>
                      <a:pt x="342" y="205"/>
                      <a:pt x="342" y="205"/>
                    </a:cubicBezTo>
                    <a:cubicBezTo>
                      <a:pt x="342" y="205"/>
                      <a:pt x="342" y="204"/>
                      <a:pt x="342" y="204"/>
                    </a:cubicBezTo>
                    <a:cubicBezTo>
                      <a:pt x="342" y="204"/>
                      <a:pt x="343" y="203"/>
                      <a:pt x="343" y="203"/>
                    </a:cubicBezTo>
                    <a:cubicBezTo>
                      <a:pt x="343" y="203"/>
                      <a:pt x="342" y="203"/>
                      <a:pt x="342" y="202"/>
                    </a:cubicBezTo>
                    <a:cubicBezTo>
                      <a:pt x="342" y="202"/>
                      <a:pt x="343" y="201"/>
                      <a:pt x="344" y="201"/>
                    </a:cubicBezTo>
                    <a:cubicBezTo>
                      <a:pt x="344" y="201"/>
                      <a:pt x="344" y="200"/>
                      <a:pt x="344" y="200"/>
                    </a:cubicBezTo>
                    <a:cubicBezTo>
                      <a:pt x="344" y="199"/>
                      <a:pt x="343" y="200"/>
                      <a:pt x="343" y="200"/>
                    </a:cubicBezTo>
                    <a:cubicBezTo>
                      <a:pt x="343" y="199"/>
                      <a:pt x="342" y="199"/>
                      <a:pt x="342" y="199"/>
                    </a:cubicBezTo>
                    <a:cubicBezTo>
                      <a:pt x="342" y="198"/>
                      <a:pt x="342" y="198"/>
                      <a:pt x="342" y="197"/>
                    </a:cubicBezTo>
                    <a:cubicBezTo>
                      <a:pt x="343" y="197"/>
                      <a:pt x="342" y="200"/>
                      <a:pt x="343" y="199"/>
                    </a:cubicBezTo>
                    <a:cubicBezTo>
                      <a:pt x="344" y="199"/>
                      <a:pt x="343" y="197"/>
                      <a:pt x="344" y="196"/>
                    </a:cubicBezTo>
                    <a:cubicBezTo>
                      <a:pt x="344" y="197"/>
                      <a:pt x="344" y="197"/>
                      <a:pt x="345" y="197"/>
                    </a:cubicBezTo>
                    <a:cubicBezTo>
                      <a:pt x="345" y="198"/>
                      <a:pt x="345" y="198"/>
                      <a:pt x="345" y="198"/>
                    </a:cubicBezTo>
                    <a:cubicBezTo>
                      <a:pt x="346" y="198"/>
                      <a:pt x="346" y="198"/>
                      <a:pt x="346" y="199"/>
                    </a:cubicBezTo>
                    <a:cubicBezTo>
                      <a:pt x="346" y="199"/>
                      <a:pt x="346" y="200"/>
                      <a:pt x="346" y="200"/>
                    </a:cubicBezTo>
                    <a:cubicBezTo>
                      <a:pt x="346" y="200"/>
                      <a:pt x="346" y="201"/>
                      <a:pt x="346" y="201"/>
                    </a:cubicBezTo>
                    <a:cubicBezTo>
                      <a:pt x="346" y="202"/>
                      <a:pt x="347" y="201"/>
                      <a:pt x="347" y="201"/>
                    </a:cubicBezTo>
                    <a:cubicBezTo>
                      <a:pt x="349" y="200"/>
                      <a:pt x="350" y="198"/>
                      <a:pt x="351" y="196"/>
                    </a:cubicBezTo>
                    <a:cubicBezTo>
                      <a:pt x="352" y="195"/>
                      <a:pt x="353" y="193"/>
                      <a:pt x="354" y="191"/>
                    </a:cubicBezTo>
                    <a:cubicBezTo>
                      <a:pt x="355" y="189"/>
                      <a:pt x="356" y="186"/>
                      <a:pt x="356" y="184"/>
                    </a:cubicBezTo>
                    <a:cubicBezTo>
                      <a:pt x="356" y="185"/>
                      <a:pt x="356" y="185"/>
                      <a:pt x="355" y="185"/>
                    </a:cubicBezTo>
                    <a:cubicBezTo>
                      <a:pt x="355" y="185"/>
                      <a:pt x="356" y="184"/>
                      <a:pt x="356" y="184"/>
                    </a:cubicBezTo>
                    <a:cubicBezTo>
                      <a:pt x="356" y="184"/>
                      <a:pt x="355" y="183"/>
                      <a:pt x="356" y="183"/>
                    </a:cubicBezTo>
                    <a:cubicBezTo>
                      <a:pt x="356" y="183"/>
                      <a:pt x="356" y="184"/>
                      <a:pt x="356" y="183"/>
                    </a:cubicBezTo>
                    <a:cubicBezTo>
                      <a:pt x="356" y="183"/>
                      <a:pt x="357" y="182"/>
                      <a:pt x="356" y="182"/>
                    </a:cubicBezTo>
                    <a:cubicBezTo>
                      <a:pt x="357" y="182"/>
                      <a:pt x="357" y="182"/>
                      <a:pt x="357" y="182"/>
                    </a:cubicBezTo>
                    <a:cubicBezTo>
                      <a:pt x="357" y="182"/>
                      <a:pt x="357" y="182"/>
                      <a:pt x="356" y="181"/>
                    </a:cubicBezTo>
                    <a:cubicBezTo>
                      <a:pt x="357" y="181"/>
                      <a:pt x="357" y="182"/>
                      <a:pt x="357" y="181"/>
                    </a:cubicBezTo>
                    <a:cubicBezTo>
                      <a:pt x="357" y="182"/>
                      <a:pt x="356" y="183"/>
                      <a:pt x="356" y="183"/>
                    </a:cubicBezTo>
                    <a:cubicBezTo>
                      <a:pt x="356" y="183"/>
                      <a:pt x="356" y="184"/>
                      <a:pt x="356" y="184"/>
                    </a:cubicBezTo>
                    <a:cubicBezTo>
                      <a:pt x="357" y="184"/>
                      <a:pt x="357" y="184"/>
                      <a:pt x="357" y="183"/>
                    </a:cubicBezTo>
                    <a:cubicBezTo>
                      <a:pt x="357" y="183"/>
                      <a:pt x="357" y="182"/>
                      <a:pt x="358" y="181"/>
                    </a:cubicBezTo>
                    <a:cubicBezTo>
                      <a:pt x="358" y="181"/>
                      <a:pt x="358" y="181"/>
                      <a:pt x="358" y="181"/>
                    </a:cubicBezTo>
                    <a:cubicBezTo>
                      <a:pt x="358" y="180"/>
                      <a:pt x="358" y="180"/>
                      <a:pt x="358" y="180"/>
                    </a:cubicBezTo>
                    <a:cubicBezTo>
                      <a:pt x="358" y="180"/>
                      <a:pt x="358" y="180"/>
                      <a:pt x="358" y="180"/>
                    </a:cubicBezTo>
                    <a:cubicBezTo>
                      <a:pt x="358" y="180"/>
                      <a:pt x="357" y="180"/>
                      <a:pt x="357" y="179"/>
                    </a:cubicBezTo>
                    <a:cubicBezTo>
                      <a:pt x="357" y="179"/>
                      <a:pt x="358" y="180"/>
                      <a:pt x="358" y="180"/>
                    </a:cubicBezTo>
                    <a:cubicBezTo>
                      <a:pt x="358" y="180"/>
                      <a:pt x="359" y="179"/>
                      <a:pt x="359" y="179"/>
                    </a:cubicBezTo>
                    <a:cubicBezTo>
                      <a:pt x="359" y="179"/>
                      <a:pt x="359" y="178"/>
                      <a:pt x="359" y="177"/>
                    </a:cubicBezTo>
                    <a:cubicBezTo>
                      <a:pt x="359" y="177"/>
                      <a:pt x="358" y="177"/>
                      <a:pt x="358" y="177"/>
                    </a:cubicBezTo>
                    <a:cubicBezTo>
                      <a:pt x="358" y="177"/>
                      <a:pt x="359" y="177"/>
                      <a:pt x="359" y="177"/>
                    </a:cubicBezTo>
                    <a:cubicBezTo>
                      <a:pt x="359" y="177"/>
                      <a:pt x="358" y="177"/>
                      <a:pt x="358" y="177"/>
                    </a:cubicBezTo>
                    <a:cubicBezTo>
                      <a:pt x="358" y="176"/>
                      <a:pt x="359" y="176"/>
                      <a:pt x="359" y="176"/>
                    </a:cubicBezTo>
                    <a:cubicBezTo>
                      <a:pt x="359" y="177"/>
                      <a:pt x="359" y="177"/>
                      <a:pt x="359" y="177"/>
                    </a:cubicBezTo>
                    <a:cubicBezTo>
                      <a:pt x="360" y="177"/>
                      <a:pt x="359" y="178"/>
                      <a:pt x="359" y="178"/>
                    </a:cubicBezTo>
                    <a:cubicBezTo>
                      <a:pt x="359" y="178"/>
                      <a:pt x="361" y="177"/>
                      <a:pt x="361" y="177"/>
                    </a:cubicBezTo>
                    <a:cubicBezTo>
                      <a:pt x="361" y="176"/>
                      <a:pt x="362" y="175"/>
                      <a:pt x="363" y="174"/>
                    </a:cubicBezTo>
                    <a:cubicBezTo>
                      <a:pt x="364" y="174"/>
                      <a:pt x="365" y="174"/>
                      <a:pt x="366" y="173"/>
                    </a:cubicBezTo>
                    <a:cubicBezTo>
                      <a:pt x="366" y="172"/>
                      <a:pt x="366" y="171"/>
                      <a:pt x="367" y="170"/>
                    </a:cubicBezTo>
                    <a:cubicBezTo>
                      <a:pt x="368" y="170"/>
                      <a:pt x="369" y="169"/>
                      <a:pt x="369" y="168"/>
                    </a:cubicBezTo>
                    <a:cubicBezTo>
                      <a:pt x="369" y="167"/>
                      <a:pt x="370" y="166"/>
                      <a:pt x="371" y="165"/>
                    </a:cubicBezTo>
                    <a:cubicBezTo>
                      <a:pt x="370" y="165"/>
                      <a:pt x="370" y="166"/>
                      <a:pt x="370" y="165"/>
                    </a:cubicBezTo>
                    <a:cubicBezTo>
                      <a:pt x="370" y="165"/>
                      <a:pt x="369" y="164"/>
                      <a:pt x="369" y="164"/>
                    </a:cubicBezTo>
                    <a:cubicBezTo>
                      <a:pt x="369" y="164"/>
                      <a:pt x="370" y="165"/>
                      <a:pt x="370" y="165"/>
                    </a:cubicBezTo>
                    <a:cubicBezTo>
                      <a:pt x="370" y="165"/>
                      <a:pt x="371" y="165"/>
                      <a:pt x="371" y="164"/>
                    </a:cubicBezTo>
                    <a:cubicBezTo>
                      <a:pt x="371" y="164"/>
                      <a:pt x="371" y="164"/>
                      <a:pt x="371" y="164"/>
                    </a:cubicBezTo>
                    <a:cubicBezTo>
                      <a:pt x="371" y="163"/>
                      <a:pt x="371" y="164"/>
                      <a:pt x="371" y="164"/>
                    </a:cubicBezTo>
                    <a:cubicBezTo>
                      <a:pt x="371" y="164"/>
                      <a:pt x="371" y="165"/>
                      <a:pt x="371" y="165"/>
                    </a:cubicBezTo>
                    <a:cubicBezTo>
                      <a:pt x="372" y="164"/>
                      <a:pt x="373" y="163"/>
                      <a:pt x="374" y="162"/>
                    </a:cubicBezTo>
                    <a:cubicBezTo>
                      <a:pt x="374" y="160"/>
                      <a:pt x="375" y="159"/>
                      <a:pt x="376" y="158"/>
                    </a:cubicBezTo>
                    <a:cubicBezTo>
                      <a:pt x="377" y="157"/>
                      <a:pt x="377" y="155"/>
                      <a:pt x="378" y="154"/>
                    </a:cubicBezTo>
                    <a:cubicBezTo>
                      <a:pt x="378" y="153"/>
                      <a:pt x="378" y="152"/>
                      <a:pt x="378" y="152"/>
                    </a:cubicBezTo>
                    <a:cubicBezTo>
                      <a:pt x="378" y="151"/>
                      <a:pt x="378" y="151"/>
                      <a:pt x="378" y="151"/>
                    </a:cubicBezTo>
                    <a:cubicBezTo>
                      <a:pt x="378" y="151"/>
                      <a:pt x="378" y="151"/>
                      <a:pt x="378" y="151"/>
                    </a:cubicBezTo>
                    <a:cubicBezTo>
                      <a:pt x="378" y="150"/>
                      <a:pt x="378" y="150"/>
                      <a:pt x="379" y="150"/>
                    </a:cubicBezTo>
                    <a:cubicBezTo>
                      <a:pt x="379" y="150"/>
                      <a:pt x="379" y="149"/>
                      <a:pt x="379" y="149"/>
                    </a:cubicBezTo>
                    <a:cubicBezTo>
                      <a:pt x="379" y="148"/>
                      <a:pt x="379" y="147"/>
                      <a:pt x="379" y="147"/>
                    </a:cubicBezTo>
                    <a:cubicBezTo>
                      <a:pt x="379" y="147"/>
                      <a:pt x="379" y="147"/>
                      <a:pt x="380" y="146"/>
                    </a:cubicBezTo>
                    <a:cubicBezTo>
                      <a:pt x="380" y="146"/>
                      <a:pt x="380" y="144"/>
                      <a:pt x="379" y="145"/>
                    </a:cubicBezTo>
                    <a:cubicBezTo>
                      <a:pt x="380" y="144"/>
                      <a:pt x="379" y="144"/>
                      <a:pt x="379" y="144"/>
                    </a:cubicBezTo>
                    <a:cubicBezTo>
                      <a:pt x="379" y="144"/>
                      <a:pt x="379" y="143"/>
                      <a:pt x="379" y="143"/>
                    </a:cubicBezTo>
                    <a:cubicBezTo>
                      <a:pt x="379" y="143"/>
                      <a:pt x="379" y="143"/>
                      <a:pt x="379" y="142"/>
                    </a:cubicBezTo>
                    <a:cubicBezTo>
                      <a:pt x="379" y="142"/>
                      <a:pt x="379" y="142"/>
                      <a:pt x="380" y="143"/>
                    </a:cubicBezTo>
                    <a:cubicBezTo>
                      <a:pt x="380" y="142"/>
                      <a:pt x="379" y="141"/>
                      <a:pt x="379" y="141"/>
                    </a:cubicBezTo>
                    <a:cubicBezTo>
                      <a:pt x="379" y="141"/>
                      <a:pt x="379" y="141"/>
                      <a:pt x="380" y="141"/>
                    </a:cubicBezTo>
                    <a:cubicBezTo>
                      <a:pt x="380" y="141"/>
                      <a:pt x="380" y="140"/>
                      <a:pt x="380" y="139"/>
                    </a:cubicBezTo>
                    <a:close/>
                    <a:moveTo>
                      <a:pt x="310" y="310"/>
                    </a:moveTo>
                    <a:cubicBezTo>
                      <a:pt x="310" y="310"/>
                      <a:pt x="310" y="310"/>
                      <a:pt x="310" y="310"/>
                    </a:cubicBezTo>
                    <a:cubicBezTo>
                      <a:pt x="310" y="310"/>
                      <a:pt x="310" y="310"/>
                      <a:pt x="310" y="310"/>
                    </a:cubicBezTo>
                    <a:cubicBezTo>
                      <a:pt x="310" y="310"/>
                      <a:pt x="310" y="310"/>
                      <a:pt x="310" y="310"/>
                    </a:cubicBezTo>
                    <a:close/>
                    <a:moveTo>
                      <a:pt x="230" y="56"/>
                    </a:moveTo>
                    <a:cubicBezTo>
                      <a:pt x="229" y="56"/>
                      <a:pt x="228" y="56"/>
                      <a:pt x="228" y="56"/>
                    </a:cubicBezTo>
                    <a:cubicBezTo>
                      <a:pt x="227" y="56"/>
                      <a:pt x="227" y="57"/>
                      <a:pt x="228" y="58"/>
                    </a:cubicBezTo>
                    <a:cubicBezTo>
                      <a:pt x="228" y="58"/>
                      <a:pt x="230" y="58"/>
                      <a:pt x="230" y="58"/>
                    </a:cubicBezTo>
                    <a:cubicBezTo>
                      <a:pt x="231" y="59"/>
                      <a:pt x="231" y="59"/>
                      <a:pt x="232" y="58"/>
                    </a:cubicBezTo>
                    <a:cubicBezTo>
                      <a:pt x="232" y="58"/>
                      <a:pt x="233" y="57"/>
                      <a:pt x="233" y="57"/>
                    </a:cubicBezTo>
                    <a:cubicBezTo>
                      <a:pt x="234" y="56"/>
                      <a:pt x="235" y="56"/>
                      <a:pt x="235" y="55"/>
                    </a:cubicBezTo>
                    <a:cubicBezTo>
                      <a:pt x="234" y="54"/>
                      <a:pt x="233" y="55"/>
                      <a:pt x="233" y="55"/>
                    </a:cubicBezTo>
                    <a:cubicBezTo>
                      <a:pt x="232" y="55"/>
                      <a:pt x="231" y="55"/>
                      <a:pt x="231" y="55"/>
                    </a:cubicBezTo>
                    <a:cubicBezTo>
                      <a:pt x="230" y="55"/>
                      <a:pt x="230" y="55"/>
                      <a:pt x="230" y="56"/>
                    </a:cubicBezTo>
                    <a:close/>
                    <a:moveTo>
                      <a:pt x="225" y="59"/>
                    </a:moveTo>
                    <a:cubicBezTo>
                      <a:pt x="226" y="58"/>
                      <a:pt x="224" y="58"/>
                      <a:pt x="224" y="59"/>
                    </a:cubicBezTo>
                    <a:cubicBezTo>
                      <a:pt x="223" y="59"/>
                      <a:pt x="221" y="59"/>
                      <a:pt x="221" y="60"/>
                    </a:cubicBezTo>
                    <a:cubicBezTo>
                      <a:pt x="221" y="61"/>
                      <a:pt x="222" y="61"/>
                      <a:pt x="223" y="61"/>
                    </a:cubicBezTo>
                    <a:cubicBezTo>
                      <a:pt x="223" y="61"/>
                      <a:pt x="224" y="60"/>
                      <a:pt x="224" y="60"/>
                    </a:cubicBezTo>
                    <a:cubicBezTo>
                      <a:pt x="225" y="60"/>
                      <a:pt x="225" y="59"/>
                      <a:pt x="225" y="59"/>
                    </a:cubicBezTo>
                    <a:close/>
                    <a:moveTo>
                      <a:pt x="222" y="66"/>
                    </a:moveTo>
                    <a:cubicBezTo>
                      <a:pt x="223" y="66"/>
                      <a:pt x="224" y="65"/>
                      <a:pt x="223" y="65"/>
                    </a:cubicBezTo>
                    <a:cubicBezTo>
                      <a:pt x="222" y="64"/>
                      <a:pt x="221" y="65"/>
                      <a:pt x="221" y="66"/>
                    </a:cubicBezTo>
                    <a:cubicBezTo>
                      <a:pt x="220" y="66"/>
                      <a:pt x="220" y="68"/>
                      <a:pt x="220" y="69"/>
                    </a:cubicBezTo>
                    <a:cubicBezTo>
                      <a:pt x="221" y="68"/>
                      <a:pt x="221" y="67"/>
                      <a:pt x="222" y="66"/>
                    </a:cubicBezTo>
                    <a:close/>
                    <a:moveTo>
                      <a:pt x="290" y="320"/>
                    </a:moveTo>
                    <a:cubicBezTo>
                      <a:pt x="291" y="320"/>
                      <a:pt x="290" y="318"/>
                      <a:pt x="289" y="319"/>
                    </a:cubicBezTo>
                    <a:cubicBezTo>
                      <a:pt x="289" y="320"/>
                      <a:pt x="289" y="320"/>
                      <a:pt x="289" y="320"/>
                    </a:cubicBezTo>
                    <a:cubicBezTo>
                      <a:pt x="289" y="321"/>
                      <a:pt x="288" y="321"/>
                      <a:pt x="289" y="321"/>
                    </a:cubicBezTo>
                    <a:cubicBezTo>
                      <a:pt x="289" y="321"/>
                      <a:pt x="289" y="321"/>
                      <a:pt x="290" y="321"/>
                    </a:cubicBezTo>
                    <a:cubicBezTo>
                      <a:pt x="290" y="321"/>
                      <a:pt x="290" y="322"/>
                      <a:pt x="291" y="322"/>
                    </a:cubicBezTo>
                    <a:cubicBezTo>
                      <a:pt x="291" y="321"/>
                      <a:pt x="290" y="321"/>
                      <a:pt x="290" y="320"/>
                    </a:cubicBezTo>
                    <a:close/>
                    <a:moveTo>
                      <a:pt x="262" y="346"/>
                    </a:moveTo>
                    <a:cubicBezTo>
                      <a:pt x="261" y="347"/>
                      <a:pt x="261" y="347"/>
                      <a:pt x="261" y="347"/>
                    </a:cubicBezTo>
                    <a:cubicBezTo>
                      <a:pt x="261" y="348"/>
                      <a:pt x="262" y="349"/>
                      <a:pt x="262" y="349"/>
                    </a:cubicBezTo>
                    <a:cubicBezTo>
                      <a:pt x="262" y="348"/>
                      <a:pt x="263" y="347"/>
                      <a:pt x="263" y="347"/>
                    </a:cubicBezTo>
                    <a:cubicBezTo>
                      <a:pt x="263" y="346"/>
                      <a:pt x="262" y="346"/>
                      <a:pt x="262" y="346"/>
                    </a:cubicBezTo>
                    <a:cubicBezTo>
                      <a:pt x="262" y="346"/>
                      <a:pt x="262" y="346"/>
                      <a:pt x="262" y="346"/>
                    </a:cubicBezTo>
                    <a:close/>
                    <a:moveTo>
                      <a:pt x="402" y="101"/>
                    </a:moveTo>
                    <a:cubicBezTo>
                      <a:pt x="403" y="100"/>
                      <a:pt x="401" y="100"/>
                      <a:pt x="402" y="101"/>
                    </a:cubicBezTo>
                    <a:close/>
                    <a:moveTo>
                      <a:pt x="439" y="284"/>
                    </a:moveTo>
                    <a:cubicBezTo>
                      <a:pt x="439" y="284"/>
                      <a:pt x="439" y="284"/>
                      <a:pt x="439" y="284"/>
                    </a:cubicBezTo>
                    <a:cubicBezTo>
                      <a:pt x="439" y="284"/>
                      <a:pt x="439" y="284"/>
                      <a:pt x="439" y="284"/>
                    </a:cubicBezTo>
                    <a:close/>
                    <a:moveTo>
                      <a:pt x="265" y="359"/>
                    </a:moveTo>
                    <a:cubicBezTo>
                      <a:pt x="264" y="360"/>
                      <a:pt x="265" y="361"/>
                      <a:pt x="264" y="361"/>
                    </a:cubicBezTo>
                    <a:cubicBezTo>
                      <a:pt x="264" y="362"/>
                      <a:pt x="264" y="362"/>
                      <a:pt x="264" y="362"/>
                    </a:cubicBezTo>
                    <a:cubicBezTo>
                      <a:pt x="264" y="362"/>
                      <a:pt x="264" y="362"/>
                      <a:pt x="264" y="363"/>
                    </a:cubicBezTo>
                    <a:cubicBezTo>
                      <a:pt x="264" y="363"/>
                      <a:pt x="264" y="364"/>
                      <a:pt x="264" y="364"/>
                    </a:cubicBezTo>
                    <a:cubicBezTo>
                      <a:pt x="265" y="364"/>
                      <a:pt x="265" y="364"/>
                      <a:pt x="265" y="363"/>
                    </a:cubicBezTo>
                    <a:cubicBezTo>
                      <a:pt x="265" y="363"/>
                      <a:pt x="265" y="363"/>
                      <a:pt x="265" y="363"/>
                    </a:cubicBezTo>
                    <a:cubicBezTo>
                      <a:pt x="265" y="362"/>
                      <a:pt x="265" y="362"/>
                      <a:pt x="265" y="362"/>
                    </a:cubicBezTo>
                    <a:cubicBezTo>
                      <a:pt x="265" y="361"/>
                      <a:pt x="266" y="359"/>
                      <a:pt x="265" y="359"/>
                    </a:cubicBezTo>
                    <a:close/>
                    <a:moveTo>
                      <a:pt x="299" y="312"/>
                    </a:moveTo>
                    <a:cubicBezTo>
                      <a:pt x="300" y="312"/>
                      <a:pt x="299" y="312"/>
                      <a:pt x="299" y="312"/>
                    </a:cubicBezTo>
                    <a:cubicBezTo>
                      <a:pt x="299" y="312"/>
                      <a:pt x="299" y="312"/>
                      <a:pt x="298" y="313"/>
                    </a:cubicBezTo>
                    <a:cubicBezTo>
                      <a:pt x="298" y="313"/>
                      <a:pt x="298" y="313"/>
                      <a:pt x="298" y="313"/>
                    </a:cubicBezTo>
                    <a:cubicBezTo>
                      <a:pt x="299" y="312"/>
                      <a:pt x="300" y="313"/>
                      <a:pt x="301" y="313"/>
                    </a:cubicBezTo>
                    <a:cubicBezTo>
                      <a:pt x="301" y="313"/>
                      <a:pt x="300" y="313"/>
                      <a:pt x="300" y="312"/>
                    </a:cubicBezTo>
                    <a:cubicBezTo>
                      <a:pt x="300" y="313"/>
                      <a:pt x="300" y="312"/>
                      <a:pt x="299" y="31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0" name="Bouvet Island (Norway)">
                <a:extLst>
                  <a:ext uri="{FF2B5EF4-FFF2-40B4-BE49-F238E27FC236}">
                    <a16:creationId xmlns:a16="http://schemas.microsoft.com/office/drawing/2014/main" id="{40535E19-44E6-030C-D9E9-9673284A546D}"/>
                  </a:ext>
                </a:extLst>
              </p:cNvPr>
              <p:cNvSpPr/>
              <p:nvPr/>
            </p:nvSpPr>
            <p:spPr>
              <a:xfrm>
                <a:off x="5614176" y="6160580"/>
                <a:ext cx="5155" cy="3888"/>
              </a:xfrm>
              <a:custGeom>
                <a:avLst/>
                <a:gdLst>
                  <a:gd name="connsiteX0" fmla="*/ 3 w 5155"/>
                  <a:gd name="connsiteY0" fmla="*/ 1233 h 3888"/>
                  <a:gd name="connsiteX1" fmla="*/ 251 w 5155"/>
                  <a:gd name="connsiteY1" fmla="*/ 2728 h 3888"/>
                  <a:gd name="connsiteX2" fmla="*/ 1112 w 5155"/>
                  <a:gd name="connsiteY2" fmla="*/ 3540 h 3888"/>
                  <a:gd name="connsiteX3" fmla="*/ 1195 w 5155"/>
                  <a:gd name="connsiteY3" fmla="*/ 3838 h 3888"/>
                  <a:gd name="connsiteX4" fmla="*/ 2128 w 5155"/>
                  <a:gd name="connsiteY4" fmla="*/ 3661 h 3888"/>
                  <a:gd name="connsiteX5" fmla="*/ 3094 w 5155"/>
                  <a:gd name="connsiteY5" fmla="*/ 3424 h 3888"/>
                  <a:gd name="connsiteX6" fmla="*/ 4407 w 5155"/>
                  <a:gd name="connsiteY6" fmla="*/ 3391 h 3888"/>
                  <a:gd name="connsiteX7" fmla="*/ 5031 w 5155"/>
                  <a:gd name="connsiteY7" fmla="*/ 2579 h 3888"/>
                  <a:gd name="connsiteX8" fmla="*/ 4970 w 5155"/>
                  <a:gd name="connsiteY8" fmla="*/ 1100 h 3888"/>
                  <a:gd name="connsiteX9" fmla="*/ 3061 w 5155"/>
                  <a:gd name="connsiteY9" fmla="*/ 62 h 3888"/>
                  <a:gd name="connsiteX10" fmla="*/ 2343 w 5155"/>
                  <a:gd name="connsiteY10" fmla="*/ 51 h 3888"/>
                  <a:gd name="connsiteX11" fmla="*/ 1769 w 5155"/>
                  <a:gd name="connsiteY11" fmla="*/ 432 h 3888"/>
                  <a:gd name="connsiteX12" fmla="*/ 825 w 5155"/>
                  <a:gd name="connsiteY12" fmla="*/ 482 h 3888"/>
                  <a:gd name="connsiteX13" fmla="*/ 141 w 5155"/>
                  <a:gd name="connsiteY13" fmla="*/ 493 h 3888"/>
                  <a:gd name="connsiteX14" fmla="*/ 3 w 5155"/>
                  <a:gd name="connsiteY14" fmla="*/ 1233 h 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55" h="3888">
                    <a:moveTo>
                      <a:pt x="3" y="1233"/>
                    </a:moveTo>
                    <a:cubicBezTo>
                      <a:pt x="31" y="2055"/>
                      <a:pt x="42" y="2464"/>
                      <a:pt x="251" y="2728"/>
                    </a:cubicBezTo>
                    <a:cubicBezTo>
                      <a:pt x="560" y="3109"/>
                      <a:pt x="1007" y="3115"/>
                      <a:pt x="1112" y="3540"/>
                    </a:cubicBezTo>
                    <a:cubicBezTo>
                      <a:pt x="1151" y="3683"/>
                      <a:pt x="1118" y="3772"/>
                      <a:pt x="1195" y="3838"/>
                    </a:cubicBezTo>
                    <a:cubicBezTo>
                      <a:pt x="1344" y="3970"/>
                      <a:pt x="1631" y="3816"/>
                      <a:pt x="2128" y="3661"/>
                    </a:cubicBezTo>
                    <a:cubicBezTo>
                      <a:pt x="2354" y="3590"/>
                      <a:pt x="2718" y="3474"/>
                      <a:pt x="3094" y="3424"/>
                    </a:cubicBezTo>
                    <a:cubicBezTo>
                      <a:pt x="3839" y="3330"/>
                      <a:pt x="4021" y="3579"/>
                      <a:pt x="4407" y="3391"/>
                    </a:cubicBezTo>
                    <a:cubicBezTo>
                      <a:pt x="4794" y="3203"/>
                      <a:pt x="4948" y="2789"/>
                      <a:pt x="5031" y="2579"/>
                    </a:cubicBezTo>
                    <a:cubicBezTo>
                      <a:pt x="5070" y="2475"/>
                      <a:pt x="5324" y="1768"/>
                      <a:pt x="4970" y="1100"/>
                    </a:cubicBezTo>
                    <a:cubicBezTo>
                      <a:pt x="4639" y="454"/>
                      <a:pt x="3999" y="294"/>
                      <a:pt x="3061" y="62"/>
                    </a:cubicBezTo>
                    <a:cubicBezTo>
                      <a:pt x="2796" y="-4"/>
                      <a:pt x="2575" y="-32"/>
                      <a:pt x="2343" y="51"/>
                    </a:cubicBezTo>
                    <a:cubicBezTo>
                      <a:pt x="2056" y="151"/>
                      <a:pt x="2062" y="311"/>
                      <a:pt x="1769" y="432"/>
                    </a:cubicBezTo>
                    <a:cubicBezTo>
                      <a:pt x="1554" y="520"/>
                      <a:pt x="1311" y="509"/>
                      <a:pt x="825" y="482"/>
                    </a:cubicBezTo>
                    <a:cubicBezTo>
                      <a:pt x="362" y="454"/>
                      <a:pt x="257" y="405"/>
                      <a:pt x="141" y="493"/>
                    </a:cubicBezTo>
                    <a:cubicBezTo>
                      <a:pt x="42" y="570"/>
                      <a:pt x="-14" y="719"/>
                      <a:pt x="3" y="1233"/>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671" name="Botswana">
                <a:extLst>
                  <a:ext uri="{FF2B5EF4-FFF2-40B4-BE49-F238E27FC236}">
                    <a16:creationId xmlns:a16="http://schemas.microsoft.com/office/drawing/2014/main" id="{F9747EED-D840-3146-34FB-0FF33EC2A094}"/>
                  </a:ext>
                </a:extLst>
              </p:cNvPr>
              <p:cNvSpPr>
                <a:spLocks/>
              </p:cNvSpPr>
              <p:nvPr/>
            </p:nvSpPr>
            <p:spPr bwMode="auto">
              <a:xfrm>
                <a:off x="6373977" y="4735365"/>
                <a:ext cx="314632" cy="357760"/>
              </a:xfrm>
              <a:custGeom>
                <a:avLst/>
                <a:gdLst/>
                <a:ahLst/>
                <a:cxnLst>
                  <a:cxn ang="0">
                    <a:pos x="87" y="45"/>
                  </a:cxn>
                  <a:cxn ang="0">
                    <a:pos x="81" y="43"/>
                  </a:cxn>
                  <a:cxn ang="0">
                    <a:pos x="75" y="39"/>
                  </a:cxn>
                  <a:cxn ang="0">
                    <a:pos x="74" y="33"/>
                  </a:cxn>
                  <a:cxn ang="0">
                    <a:pos x="70" y="27"/>
                  </a:cxn>
                  <a:cxn ang="0">
                    <a:pos x="66" y="24"/>
                  </a:cxn>
                  <a:cxn ang="0">
                    <a:pos x="62" y="21"/>
                  </a:cxn>
                  <a:cxn ang="0">
                    <a:pos x="61" y="20"/>
                  </a:cxn>
                  <a:cxn ang="0">
                    <a:pos x="58" y="15"/>
                  </a:cxn>
                  <a:cxn ang="0">
                    <a:pos x="56" y="10"/>
                  </a:cxn>
                  <a:cxn ang="0">
                    <a:pos x="52" y="4"/>
                  </a:cxn>
                  <a:cxn ang="0">
                    <a:pos x="49" y="1"/>
                  </a:cxn>
                  <a:cxn ang="0">
                    <a:pos x="44" y="3"/>
                  </a:cxn>
                  <a:cxn ang="0">
                    <a:pos x="41" y="4"/>
                  </a:cxn>
                  <a:cxn ang="0">
                    <a:pos x="36" y="8"/>
                  </a:cxn>
                  <a:cxn ang="0">
                    <a:pos x="33" y="4"/>
                  </a:cxn>
                  <a:cxn ang="0">
                    <a:pos x="12" y="6"/>
                  </a:cxn>
                  <a:cxn ang="0">
                    <a:pos x="10" y="15"/>
                  </a:cxn>
                  <a:cxn ang="0">
                    <a:pos x="7" y="47"/>
                  </a:cxn>
                  <a:cxn ang="0">
                    <a:pos x="0" y="51"/>
                  </a:cxn>
                  <a:cxn ang="0">
                    <a:pos x="0" y="77"/>
                  </a:cxn>
                  <a:cxn ang="0">
                    <a:pos x="4" y="83"/>
                  </a:cxn>
                  <a:cxn ang="0">
                    <a:pos x="6" y="85"/>
                  </a:cxn>
                  <a:cxn ang="0">
                    <a:pos x="6" y="88"/>
                  </a:cxn>
                  <a:cxn ang="0">
                    <a:pos x="7" y="95"/>
                  </a:cxn>
                  <a:cxn ang="0">
                    <a:pos x="5" y="99"/>
                  </a:cxn>
                  <a:cxn ang="0">
                    <a:pos x="7" y="100"/>
                  </a:cxn>
                  <a:cxn ang="0">
                    <a:pos x="16" y="100"/>
                  </a:cxn>
                  <a:cxn ang="0">
                    <a:pos x="21" y="95"/>
                  </a:cxn>
                  <a:cxn ang="0">
                    <a:pos x="24" y="93"/>
                  </a:cxn>
                  <a:cxn ang="0">
                    <a:pos x="25" y="91"/>
                  </a:cxn>
                  <a:cxn ang="0">
                    <a:pos x="26" y="87"/>
                  </a:cxn>
                  <a:cxn ang="0">
                    <a:pos x="27" y="85"/>
                  </a:cxn>
                  <a:cxn ang="0">
                    <a:pos x="29" y="83"/>
                  </a:cxn>
                  <a:cxn ang="0">
                    <a:pos x="32" y="83"/>
                  </a:cxn>
                  <a:cxn ang="0">
                    <a:pos x="36" y="86"/>
                  </a:cxn>
                  <a:cxn ang="0">
                    <a:pos x="40" y="88"/>
                  </a:cxn>
                  <a:cxn ang="0">
                    <a:pos x="45" y="89"/>
                  </a:cxn>
                  <a:cxn ang="0">
                    <a:pos x="52" y="87"/>
                  </a:cxn>
                  <a:cxn ang="0">
                    <a:pos x="57" y="77"/>
                  </a:cxn>
                  <a:cxn ang="0">
                    <a:pos x="65" y="72"/>
                  </a:cxn>
                  <a:cxn ang="0">
                    <a:pos x="66" y="65"/>
                  </a:cxn>
                  <a:cxn ang="0">
                    <a:pos x="68" y="64"/>
                  </a:cxn>
                  <a:cxn ang="0">
                    <a:pos x="71" y="62"/>
                  </a:cxn>
                  <a:cxn ang="0">
                    <a:pos x="73" y="60"/>
                  </a:cxn>
                  <a:cxn ang="0">
                    <a:pos x="75" y="59"/>
                  </a:cxn>
                  <a:cxn ang="0">
                    <a:pos x="77" y="56"/>
                  </a:cxn>
                  <a:cxn ang="0">
                    <a:pos x="82" y="53"/>
                  </a:cxn>
                  <a:cxn ang="0">
                    <a:pos x="86" y="50"/>
                  </a:cxn>
                  <a:cxn ang="0">
                    <a:pos x="89" y="49"/>
                  </a:cxn>
                </a:cxnLst>
                <a:rect l="0" t="0" r="r" b="b"/>
                <a:pathLst>
                  <a:path w="89" h="101">
                    <a:moveTo>
                      <a:pt x="88" y="48"/>
                    </a:moveTo>
                    <a:cubicBezTo>
                      <a:pt x="87" y="48"/>
                      <a:pt x="87" y="48"/>
                      <a:pt x="87" y="47"/>
                    </a:cubicBezTo>
                    <a:cubicBezTo>
                      <a:pt x="86" y="46"/>
                      <a:pt x="87" y="46"/>
                      <a:pt x="87" y="45"/>
                    </a:cubicBezTo>
                    <a:cubicBezTo>
                      <a:pt x="87" y="44"/>
                      <a:pt x="86" y="45"/>
                      <a:pt x="85" y="44"/>
                    </a:cubicBezTo>
                    <a:cubicBezTo>
                      <a:pt x="84" y="44"/>
                      <a:pt x="84" y="44"/>
                      <a:pt x="83" y="43"/>
                    </a:cubicBezTo>
                    <a:cubicBezTo>
                      <a:pt x="82" y="43"/>
                      <a:pt x="82" y="43"/>
                      <a:pt x="81" y="43"/>
                    </a:cubicBezTo>
                    <a:cubicBezTo>
                      <a:pt x="81" y="43"/>
                      <a:pt x="80" y="43"/>
                      <a:pt x="79" y="43"/>
                    </a:cubicBezTo>
                    <a:cubicBezTo>
                      <a:pt x="78" y="42"/>
                      <a:pt x="78" y="43"/>
                      <a:pt x="77" y="42"/>
                    </a:cubicBezTo>
                    <a:cubicBezTo>
                      <a:pt x="76" y="42"/>
                      <a:pt x="76" y="40"/>
                      <a:pt x="75" y="39"/>
                    </a:cubicBezTo>
                    <a:cubicBezTo>
                      <a:pt x="75" y="38"/>
                      <a:pt x="74" y="38"/>
                      <a:pt x="74" y="37"/>
                    </a:cubicBezTo>
                    <a:cubicBezTo>
                      <a:pt x="74" y="37"/>
                      <a:pt x="74" y="36"/>
                      <a:pt x="74" y="35"/>
                    </a:cubicBezTo>
                    <a:cubicBezTo>
                      <a:pt x="74" y="34"/>
                      <a:pt x="75" y="33"/>
                      <a:pt x="74" y="33"/>
                    </a:cubicBezTo>
                    <a:cubicBezTo>
                      <a:pt x="74" y="32"/>
                      <a:pt x="74" y="32"/>
                      <a:pt x="74" y="31"/>
                    </a:cubicBezTo>
                    <a:cubicBezTo>
                      <a:pt x="74" y="30"/>
                      <a:pt x="71" y="30"/>
                      <a:pt x="70" y="30"/>
                    </a:cubicBezTo>
                    <a:cubicBezTo>
                      <a:pt x="70" y="29"/>
                      <a:pt x="70" y="28"/>
                      <a:pt x="70" y="27"/>
                    </a:cubicBezTo>
                    <a:cubicBezTo>
                      <a:pt x="70" y="26"/>
                      <a:pt x="69" y="26"/>
                      <a:pt x="68" y="25"/>
                    </a:cubicBezTo>
                    <a:cubicBezTo>
                      <a:pt x="68" y="25"/>
                      <a:pt x="67" y="25"/>
                      <a:pt x="67" y="25"/>
                    </a:cubicBezTo>
                    <a:cubicBezTo>
                      <a:pt x="66" y="25"/>
                      <a:pt x="66" y="24"/>
                      <a:pt x="66" y="24"/>
                    </a:cubicBezTo>
                    <a:cubicBezTo>
                      <a:pt x="65" y="24"/>
                      <a:pt x="65" y="24"/>
                      <a:pt x="65" y="24"/>
                    </a:cubicBezTo>
                    <a:cubicBezTo>
                      <a:pt x="64" y="24"/>
                      <a:pt x="64" y="24"/>
                      <a:pt x="64" y="23"/>
                    </a:cubicBezTo>
                    <a:cubicBezTo>
                      <a:pt x="63" y="22"/>
                      <a:pt x="62" y="22"/>
                      <a:pt x="62" y="21"/>
                    </a:cubicBezTo>
                    <a:cubicBezTo>
                      <a:pt x="62" y="21"/>
                      <a:pt x="61" y="21"/>
                      <a:pt x="61" y="21"/>
                    </a:cubicBezTo>
                    <a:cubicBezTo>
                      <a:pt x="61" y="21"/>
                      <a:pt x="61" y="21"/>
                      <a:pt x="61" y="21"/>
                    </a:cubicBezTo>
                    <a:cubicBezTo>
                      <a:pt x="61" y="21"/>
                      <a:pt x="62" y="20"/>
                      <a:pt x="61" y="20"/>
                    </a:cubicBezTo>
                    <a:cubicBezTo>
                      <a:pt x="60" y="20"/>
                      <a:pt x="60" y="20"/>
                      <a:pt x="59" y="19"/>
                    </a:cubicBezTo>
                    <a:cubicBezTo>
                      <a:pt x="59" y="18"/>
                      <a:pt x="59" y="17"/>
                      <a:pt x="59" y="16"/>
                    </a:cubicBezTo>
                    <a:cubicBezTo>
                      <a:pt x="58" y="16"/>
                      <a:pt x="58" y="15"/>
                      <a:pt x="58" y="15"/>
                    </a:cubicBezTo>
                    <a:cubicBezTo>
                      <a:pt x="58" y="14"/>
                      <a:pt x="58" y="14"/>
                      <a:pt x="58" y="13"/>
                    </a:cubicBezTo>
                    <a:cubicBezTo>
                      <a:pt x="58" y="13"/>
                      <a:pt x="57" y="12"/>
                      <a:pt x="57" y="12"/>
                    </a:cubicBezTo>
                    <a:cubicBezTo>
                      <a:pt x="56" y="11"/>
                      <a:pt x="56" y="11"/>
                      <a:pt x="56" y="10"/>
                    </a:cubicBezTo>
                    <a:cubicBezTo>
                      <a:pt x="56" y="10"/>
                      <a:pt x="56" y="10"/>
                      <a:pt x="56" y="9"/>
                    </a:cubicBezTo>
                    <a:cubicBezTo>
                      <a:pt x="55" y="9"/>
                      <a:pt x="54" y="8"/>
                      <a:pt x="54" y="7"/>
                    </a:cubicBezTo>
                    <a:cubicBezTo>
                      <a:pt x="53" y="6"/>
                      <a:pt x="53" y="5"/>
                      <a:pt x="52" y="4"/>
                    </a:cubicBezTo>
                    <a:cubicBezTo>
                      <a:pt x="52" y="4"/>
                      <a:pt x="51" y="3"/>
                      <a:pt x="51" y="2"/>
                    </a:cubicBezTo>
                    <a:cubicBezTo>
                      <a:pt x="51" y="1"/>
                      <a:pt x="52" y="0"/>
                      <a:pt x="51" y="1"/>
                    </a:cubicBezTo>
                    <a:cubicBezTo>
                      <a:pt x="50" y="1"/>
                      <a:pt x="49" y="2"/>
                      <a:pt x="49" y="1"/>
                    </a:cubicBezTo>
                    <a:cubicBezTo>
                      <a:pt x="48" y="1"/>
                      <a:pt x="47" y="1"/>
                      <a:pt x="47" y="2"/>
                    </a:cubicBezTo>
                    <a:cubicBezTo>
                      <a:pt x="46" y="2"/>
                      <a:pt x="46" y="2"/>
                      <a:pt x="46" y="3"/>
                    </a:cubicBezTo>
                    <a:cubicBezTo>
                      <a:pt x="45" y="3"/>
                      <a:pt x="44" y="4"/>
                      <a:pt x="44" y="3"/>
                    </a:cubicBezTo>
                    <a:cubicBezTo>
                      <a:pt x="44" y="3"/>
                      <a:pt x="44" y="3"/>
                      <a:pt x="43" y="3"/>
                    </a:cubicBezTo>
                    <a:cubicBezTo>
                      <a:pt x="43" y="2"/>
                      <a:pt x="43" y="3"/>
                      <a:pt x="42" y="3"/>
                    </a:cubicBezTo>
                    <a:cubicBezTo>
                      <a:pt x="42" y="3"/>
                      <a:pt x="41" y="3"/>
                      <a:pt x="41" y="4"/>
                    </a:cubicBezTo>
                    <a:cubicBezTo>
                      <a:pt x="40" y="4"/>
                      <a:pt x="40" y="5"/>
                      <a:pt x="39" y="5"/>
                    </a:cubicBezTo>
                    <a:cubicBezTo>
                      <a:pt x="39" y="5"/>
                      <a:pt x="39" y="6"/>
                      <a:pt x="38" y="6"/>
                    </a:cubicBezTo>
                    <a:cubicBezTo>
                      <a:pt x="37" y="6"/>
                      <a:pt x="37" y="8"/>
                      <a:pt x="36" y="8"/>
                    </a:cubicBezTo>
                    <a:cubicBezTo>
                      <a:pt x="35" y="8"/>
                      <a:pt x="35" y="7"/>
                      <a:pt x="35" y="7"/>
                    </a:cubicBezTo>
                    <a:cubicBezTo>
                      <a:pt x="35" y="6"/>
                      <a:pt x="34" y="6"/>
                      <a:pt x="34" y="5"/>
                    </a:cubicBezTo>
                    <a:cubicBezTo>
                      <a:pt x="33" y="5"/>
                      <a:pt x="33" y="4"/>
                      <a:pt x="33" y="4"/>
                    </a:cubicBezTo>
                    <a:cubicBezTo>
                      <a:pt x="33" y="3"/>
                      <a:pt x="33" y="3"/>
                      <a:pt x="32" y="3"/>
                    </a:cubicBezTo>
                    <a:cubicBezTo>
                      <a:pt x="30" y="3"/>
                      <a:pt x="27" y="4"/>
                      <a:pt x="25" y="4"/>
                    </a:cubicBezTo>
                    <a:cubicBezTo>
                      <a:pt x="21" y="5"/>
                      <a:pt x="17" y="6"/>
                      <a:pt x="12" y="6"/>
                    </a:cubicBezTo>
                    <a:cubicBezTo>
                      <a:pt x="12" y="6"/>
                      <a:pt x="11" y="7"/>
                      <a:pt x="11" y="7"/>
                    </a:cubicBezTo>
                    <a:cubicBezTo>
                      <a:pt x="10" y="7"/>
                      <a:pt x="11" y="8"/>
                      <a:pt x="11" y="8"/>
                    </a:cubicBezTo>
                    <a:cubicBezTo>
                      <a:pt x="11" y="10"/>
                      <a:pt x="10" y="13"/>
                      <a:pt x="10" y="15"/>
                    </a:cubicBezTo>
                    <a:cubicBezTo>
                      <a:pt x="10" y="23"/>
                      <a:pt x="10" y="31"/>
                      <a:pt x="10" y="40"/>
                    </a:cubicBezTo>
                    <a:cubicBezTo>
                      <a:pt x="10" y="42"/>
                      <a:pt x="10" y="44"/>
                      <a:pt x="10" y="46"/>
                    </a:cubicBezTo>
                    <a:cubicBezTo>
                      <a:pt x="10" y="47"/>
                      <a:pt x="8" y="47"/>
                      <a:pt x="7" y="47"/>
                    </a:cubicBezTo>
                    <a:cubicBezTo>
                      <a:pt x="5" y="47"/>
                      <a:pt x="3" y="47"/>
                      <a:pt x="1" y="47"/>
                    </a:cubicBezTo>
                    <a:cubicBezTo>
                      <a:pt x="0" y="47"/>
                      <a:pt x="0" y="48"/>
                      <a:pt x="0" y="49"/>
                    </a:cubicBezTo>
                    <a:cubicBezTo>
                      <a:pt x="0" y="50"/>
                      <a:pt x="0" y="50"/>
                      <a:pt x="0" y="51"/>
                    </a:cubicBezTo>
                    <a:cubicBezTo>
                      <a:pt x="0" y="54"/>
                      <a:pt x="0" y="56"/>
                      <a:pt x="0" y="58"/>
                    </a:cubicBezTo>
                    <a:cubicBezTo>
                      <a:pt x="0" y="62"/>
                      <a:pt x="0" y="66"/>
                      <a:pt x="0" y="70"/>
                    </a:cubicBezTo>
                    <a:cubicBezTo>
                      <a:pt x="0" y="72"/>
                      <a:pt x="0" y="75"/>
                      <a:pt x="0" y="77"/>
                    </a:cubicBezTo>
                    <a:cubicBezTo>
                      <a:pt x="0" y="78"/>
                      <a:pt x="1" y="78"/>
                      <a:pt x="2" y="79"/>
                    </a:cubicBezTo>
                    <a:cubicBezTo>
                      <a:pt x="3" y="80"/>
                      <a:pt x="3" y="80"/>
                      <a:pt x="4" y="81"/>
                    </a:cubicBezTo>
                    <a:cubicBezTo>
                      <a:pt x="4" y="81"/>
                      <a:pt x="4" y="82"/>
                      <a:pt x="4" y="83"/>
                    </a:cubicBezTo>
                    <a:cubicBezTo>
                      <a:pt x="5" y="83"/>
                      <a:pt x="5" y="84"/>
                      <a:pt x="5" y="84"/>
                    </a:cubicBezTo>
                    <a:cubicBezTo>
                      <a:pt x="5" y="85"/>
                      <a:pt x="6" y="85"/>
                      <a:pt x="6" y="85"/>
                    </a:cubicBezTo>
                    <a:cubicBezTo>
                      <a:pt x="6" y="85"/>
                      <a:pt x="6" y="85"/>
                      <a:pt x="6" y="85"/>
                    </a:cubicBezTo>
                    <a:cubicBezTo>
                      <a:pt x="6" y="85"/>
                      <a:pt x="6" y="86"/>
                      <a:pt x="6" y="86"/>
                    </a:cubicBezTo>
                    <a:cubicBezTo>
                      <a:pt x="6" y="87"/>
                      <a:pt x="6" y="87"/>
                      <a:pt x="6" y="87"/>
                    </a:cubicBezTo>
                    <a:cubicBezTo>
                      <a:pt x="6" y="87"/>
                      <a:pt x="6" y="87"/>
                      <a:pt x="6" y="88"/>
                    </a:cubicBezTo>
                    <a:cubicBezTo>
                      <a:pt x="7" y="88"/>
                      <a:pt x="7" y="89"/>
                      <a:pt x="7" y="89"/>
                    </a:cubicBezTo>
                    <a:cubicBezTo>
                      <a:pt x="8" y="90"/>
                      <a:pt x="7" y="91"/>
                      <a:pt x="8" y="92"/>
                    </a:cubicBezTo>
                    <a:cubicBezTo>
                      <a:pt x="8" y="93"/>
                      <a:pt x="7" y="94"/>
                      <a:pt x="7" y="95"/>
                    </a:cubicBezTo>
                    <a:cubicBezTo>
                      <a:pt x="6" y="95"/>
                      <a:pt x="5" y="96"/>
                      <a:pt x="5" y="97"/>
                    </a:cubicBezTo>
                    <a:cubicBezTo>
                      <a:pt x="5" y="97"/>
                      <a:pt x="6" y="97"/>
                      <a:pt x="5" y="98"/>
                    </a:cubicBezTo>
                    <a:cubicBezTo>
                      <a:pt x="5" y="98"/>
                      <a:pt x="5" y="99"/>
                      <a:pt x="5" y="99"/>
                    </a:cubicBezTo>
                    <a:cubicBezTo>
                      <a:pt x="5" y="99"/>
                      <a:pt x="5" y="100"/>
                      <a:pt x="6" y="100"/>
                    </a:cubicBezTo>
                    <a:cubicBezTo>
                      <a:pt x="6" y="100"/>
                      <a:pt x="6" y="101"/>
                      <a:pt x="6" y="101"/>
                    </a:cubicBezTo>
                    <a:cubicBezTo>
                      <a:pt x="6" y="100"/>
                      <a:pt x="7" y="100"/>
                      <a:pt x="7" y="100"/>
                    </a:cubicBezTo>
                    <a:cubicBezTo>
                      <a:pt x="8" y="100"/>
                      <a:pt x="8" y="100"/>
                      <a:pt x="9" y="100"/>
                    </a:cubicBezTo>
                    <a:cubicBezTo>
                      <a:pt x="10" y="101"/>
                      <a:pt x="11" y="100"/>
                      <a:pt x="13" y="100"/>
                    </a:cubicBezTo>
                    <a:cubicBezTo>
                      <a:pt x="14" y="100"/>
                      <a:pt x="15" y="101"/>
                      <a:pt x="16" y="100"/>
                    </a:cubicBezTo>
                    <a:cubicBezTo>
                      <a:pt x="17" y="99"/>
                      <a:pt x="16" y="98"/>
                      <a:pt x="17" y="98"/>
                    </a:cubicBezTo>
                    <a:cubicBezTo>
                      <a:pt x="19" y="98"/>
                      <a:pt x="19" y="98"/>
                      <a:pt x="20" y="96"/>
                    </a:cubicBezTo>
                    <a:cubicBezTo>
                      <a:pt x="20" y="96"/>
                      <a:pt x="20" y="95"/>
                      <a:pt x="21" y="95"/>
                    </a:cubicBezTo>
                    <a:cubicBezTo>
                      <a:pt x="21" y="95"/>
                      <a:pt x="22" y="95"/>
                      <a:pt x="22" y="94"/>
                    </a:cubicBezTo>
                    <a:cubicBezTo>
                      <a:pt x="22" y="94"/>
                      <a:pt x="23" y="93"/>
                      <a:pt x="23" y="93"/>
                    </a:cubicBezTo>
                    <a:cubicBezTo>
                      <a:pt x="23" y="93"/>
                      <a:pt x="23" y="94"/>
                      <a:pt x="24" y="93"/>
                    </a:cubicBezTo>
                    <a:cubicBezTo>
                      <a:pt x="24" y="93"/>
                      <a:pt x="24" y="93"/>
                      <a:pt x="24" y="93"/>
                    </a:cubicBezTo>
                    <a:cubicBezTo>
                      <a:pt x="24" y="92"/>
                      <a:pt x="25" y="92"/>
                      <a:pt x="25" y="91"/>
                    </a:cubicBezTo>
                    <a:cubicBezTo>
                      <a:pt x="25" y="91"/>
                      <a:pt x="25" y="91"/>
                      <a:pt x="25" y="91"/>
                    </a:cubicBezTo>
                    <a:cubicBezTo>
                      <a:pt x="25" y="90"/>
                      <a:pt x="25" y="90"/>
                      <a:pt x="26" y="89"/>
                    </a:cubicBezTo>
                    <a:cubicBezTo>
                      <a:pt x="26" y="89"/>
                      <a:pt x="26" y="89"/>
                      <a:pt x="26" y="89"/>
                    </a:cubicBezTo>
                    <a:cubicBezTo>
                      <a:pt x="26" y="88"/>
                      <a:pt x="26" y="88"/>
                      <a:pt x="26" y="87"/>
                    </a:cubicBezTo>
                    <a:cubicBezTo>
                      <a:pt x="26" y="87"/>
                      <a:pt x="26" y="87"/>
                      <a:pt x="26" y="87"/>
                    </a:cubicBezTo>
                    <a:cubicBezTo>
                      <a:pt x="27" y="86"/>
                      <a:pt x="26" y="86"/>
                      <a:pt x="26" y="86"/>
                    </a:cubicBezTo>
                    <a:cubicBezTo>
                      <a:pt x="26" y="86"/>
                      <a:pt x="26" y="86"/>
                      <a:pt x="27" y="85"/>
                    </a:cubicBezTo>
                    <a:cubicBezTo>
                      <a:pt x="27" y="85"/>
                      <a:pt x="27" y="85"/>
                      <a:pt x="27" y="85"/>
                    </a:cubicBezTo>
                    <a:cubicBezTo>
                      <a:pt x="27" y="84"/>
                      <a:pt x="28" y="84"/>
                      <a:pt x="28" y="84"/>
                    </a:cubicBezTo>
                    <a:cubicBezTo>
                      <a:pt x="28" y="84"/>
                      <a:pt x="28" y="83"/>
                      <a:pt x="29" y="83"/>
                    </a:cubicBezTo>
                    <a:cubicBezTo>
                      <a:pt x="29" y="84"/>
                      <a:pt x="30" y="83"/>
                      <a:pt x="31" y="83"/>
                    </a:cubicBezTo>
                    <a:cubicBezTo>
                      <a:pt x="31" y="83"/>
                      <a:pt x="32" y="83"/>
                      <a:pt x="32" y="83"/>
                    </a:cubicBezTo>
                    <a:cubicBezTo>
                      <a:pt x="32" y="83"/>
                      <a:pt x="32" y="83"/>
                      <a:pt x="32" y="83"/>
                    </a:cubicBezTo>
                    <a:cubicBezTo>
                      <a:pt x="33" y="83"/>
                      <a:pt x="33" y="83"/>
                      <a:pt x="33" y="84"/>
                    </a:cubicBezTo>
                    <a:cubicBezTo>
                      <a:pt x="33" y="84"/>
                      <a:pt x="33" y="84"/>
                      <a:pt x="33" y="84"/>
                    </a:cubicBezTo>
                    <a:cubicBezTo>
                      <a:pt x="34" y="85"/>
                      <a:pt x="35" y="85"/>
                      <a:pt x="36" y="86"/>
                    </a:cubicBezTo>
                    <a:cubicBezTo>
                      <a:pt x="36" y="87"/>
                      <a:pt x="37" y="87"/>
                      <a:pt x="37" y="87"/>
                    </a:cubicBezTo>
                    <a:cubicBezTo>
                      <a:pt x="37" y="87"/>
                      <a:pt x="38" y="87"/>
                      <a:pt x="38" y="87"/>
                    </a:cubicBezTo>
                    <a:cubicBezTo>
                      <a:pt x="39" y="87"/>
                      <a:pt x="39" y="87"/>
                      <a:pt x="40" y="88"/>
                    </a:cubicBezTo>
                    <a:cubicBezTo>
                      <a:pt x="41" y="88"/>
                      <a:pt x="41" y="88"/>
                      <a:pt x="42" y="88"/>
                    </a:cubicBezTo>
                    <a:cubicBezTo>
                      <a:pt x="43" y="88"/>
                      <a:pt x="43" y="89"/>
                      <a:pt x="44" y="89"/>
                    </a:cubicBezTo>
                    <a:cubicBezTo>
                      <a:pt x="44" y="89"/>
                      <a:pt x="44" y="89"/>
                      <a:pt x="45" y="89"/>
                    </a:cubicBezTo>
                    <a:cubicBezTo>
                      <a:pt x="46" y="89"/>
                      <a:pt x="46" y="89"/>
                      <a:pt x="47" y="88"/>
                    </a:cubicBezTo>
                    <a:cubicBezTo>
                      <a:pt x="48" y="88"/>
                      <a:pt x="49" y="88"/>
                      <a:pt x="50" y="88"/>
                    </a:cubicBezTo>
                    <a:cubicBezTo>
                      <a:pt x="50" y="88"/>
                      <a:pt x="51" y="88"/>
                      <a:pt x="52" y="87"/>
                    </a:cubicBezTo>
                    <a:cubicBezTo>
                      <a:pt x="53" y="86"/>
                      <a:pt x="54" y="83"/>
                      <a:pt x="55" y="81"/>
                    </a:cubicBezTo>
                    <a:cubicBezTo>
                      <a:pt x="55" y="80"/>
                      <a:pt x="55" y="79"/>
                      <a:pt x="55" y="78"/>
                    </a:cubicBezTo>
                    <a:cubicBezTo>
                      <a:pt x="55" y="77"/>
                      <a:pt x="56" y="77"/>
                      <a:pt x="57" y="77"/>
                    </a:cubicBezTo>
                    <a:cubicBezTo>
                      <a:pt x="58" y="77"/>
                      <a:pt x="59" y="76"/>
                      <a:pt x="60" y="76"/>
                    </a:cubicBezTo>
                    <a:cubicBezTo>
                      <a:pt x="61" y="76"/>
                      <a:pt x="61" y="75"/>
                      <a:pt x="62" y="74"/>
                    </a:cubicBezTo>
                    <a:cubicBezTo>
                      <a:pt x="62" y="73"/>
                      <a:pt x="64" y="73"/>
                      <a:pt x="65" y="72"/>
                    </a:cubicBezTo>
                    <a:cubicBezTo>
                      <a:pt x="65" y="72"/>
                      <a:pt x="65" y="70"/>
                      <a:pt x="65" y="70"/>
                    </a:cubicBezTo>
                    <a:cubicBezTo>
                      <a:pt x="66" y="68"/>
                      <a:pt x="66" y="67"/>
                      <a:pt x="66" y="66"/>
                    </a:cubicBezTo>
                    <a:cubicBezTo>
                      <a:pt x="66" y="66"/>
                      <a:pt x="66" y="66"/>
                      <a:pt x="66" y="65"/>
                    </a:cubicBezTo>
                    <a:cubicBezTo>
                      <a:pt x="67" y="65"/>
                      <a:pt x="67" y="65"/>
                      <a:pt x="67" y="65"/>
                    </a:cubicBezTo>
                    <a:cubicBezTo>
                      <a:pt x="67" y="65"/>
                      <a:pt x="67" y="65"/>
                      <a:pt x="67" y="65"/>
                    </a:cubicBezTo>
                    <a:cubicBezTo>
                      <a:pt x="67" y="65"/>
                      <a:pt x="68" y="64"/>
                      <a:pt x="68" y="64"/>
                    </a:cubicBezTo>
                    <a:cubicBezTo>
                      <a:pt x="68" y="64"/>
                      <a:pt x="68" y="64"/>
                      <a:pt x="68" y="64"/>
                    </a:cubicBezTo>
                    <a:cubicBezTo>
                      <a:pt x="68" y="64"/>
                      <a:pt x="69" y="63"/>
                      <a:pt x="69" y="63"/>
                    </a:cubicBezTo>
                    <a:cubicBezTo>
                      <a:pt x="70" y="62"/>
                      <a:pt x="70" y="63"/>
                      <a:pt x="71" y="62"/>
                    </a:cubicBezTo>
                    <a:cubicBezTo>
                      <a:pt x="70" y="62"/>
                      <a:pt x="71" y="62"/>
                      <a:pt x="71" y="62"/>
                    </a:cubicBezTo>
                    <a:cubicBezTo>
                      <a:pt x="72" y="62"/>
                      <a:pt x="72" y="61"/>
                      <a:pt x="72" y="61"/>
                    </a:cubicBezTo>
                    <a:cubicBezTo>
                      <a:pt x="72" y="61"/>
                      <a:pt x="73" y="60"/>
                      <a:pt x="73" y="60"/>
                    </a:cubicBezTo>
                    <a:cubicBezTo>
                      <a:pt x="74" y="60"/>
                      <a:pt x="74" y="61"/>
                      <a:pt x="74" y="60"/>
                    </a:cubicBezTo>
                    <a:cubicBezTo>
                      <a:pt x="74" y="60"/>
                      <a:pt x="74" y="60"/>
                      <a:pt x="75" y="59"/>
                    </a:cubicBezTo>
                    <a:cubicBezTo>
                      <a:pt x="75" y="59"/>
                      <a:pt x="75" y="59"/>
                      <a:pt x="75" y="59"/>
                    </a:cubicBezTo>
                    <a:cubicBezTo>
                      <a:pt x="76" y="58"/>
                      <a:pt x="75" y="58"/>
                      <a:pt x="76" y="58"/>
                    </a:cubicBezTo>
                    <a:cubicBezTo>
                      <a:pt x="76" y="57"/>
                      <a:pt x="76" y="57"/>
                      <a:pt x="76" y="57"/>
                    </a:cubicBezTo>
                    <a:cubicBezTo>
                      <a:pt x="77" y="57"/>
                      <a:pt x="77" y="57"/>
                      <a:pt x="77" y="56"/>
                    </a:cubicBezTo>
                    <a:cubicBezTo>
                      <a:pt x="77" y="56"/>
                      <a:pt x="77" y="56"/>
                      <a:pt x="77" y="56"/>
                    </a:cubicBezTo>
                    <a:cubicBezTo>
                      <a:pt x="78" y="55"/>
                      <a:pt x="78" y="54"/>
                      <a:pt x="80" y="54"/>
                    </a:cubicBezTo>
                    <a:cubicBezTo>
                      <a:pt x="80" y="53"/>
                      <a:pt x="81" y="53"/>
                      <a:pt x="82" y="53"/>
                    </a:cubicBezTo>
                    <a:cubicBezTo>
                      <a:pt x="82" y="53"/>
                      <a:pt x="83" y="53"/>
                      <a:pt x="84" y="52"/>
                    </a:cubicBezTo>
                    <a:cubicBezTo>
                      <a:pt x="84" y="52"/>
                      <a:pt x="85" y="52"/>
                      <a:pt x="85" y="52"/>
                    </a:cubicBezTo>
                    <a:cubicBezTo>
                      <a:pt x="86" y="51"/>
                      <a:pt x="86" y="51"/>
                      <a:pt x="86" y="50"/>
                    </a:cubicBezTo>
                    <a:cubicBezTo>
                      <a:pt x="86" y="49"/>
                      <a:pt x="87" y="49"/>
                      <a:pt x="87" y="49"/>
                    </a:cubicBezTo>
                    <a:cubicBezTo>
                      <a:pt x="88" y="49"/>
                      <a:pt x="88" y="49"/>
                      <a:pt x="88" y="49"/>
                    </a:cubicBezTo>
                    <a:cubicBezTo>
                      <a:pt x="89" y="49"/>
                      <a:pt x="89" y="49"/>
                      <a:pt x="89" y="49"/>
                    </a:cubicBezTo>
                    <a:cubicBezTo>
                      <a:pt x="89" y="49"/>
                      <a:pt x="88" y="48"/>
                      <a:pt x="88" y="4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2" name="Bosnia and Herzagovina">
                <a:extLst>
                  <a:ext uri="{FF2B5EF4-FFF2-40B4-BE49-F238E27FC236}">
                    <a16:creationId xmlns:a16="http://schemas.microsoft.com/office/drawing/2014/main" id="{1432E9BC-D114-7044-EF2C-6103FB09F695}"/>
                  </a:ext>
                </a:extLst>
              </p:cNvPr>
              <p:cNvSpPr>
                <a:spLocks/>
              </p:cNvSpPr>
              <p:nvPr/>
            </p:nvSpPr>
            <p:spPr bwMode="auto">
              <a:xfrm>
                <a:off x="6214210" y="2285935"/>
                <a:ext cx="123500" cy="102918"/>
              </a:xfrm>
              <a:custGeom>
                <a:avLst/>
                <a:gdLst/>
                <a:ahLst/>
                <a:cxnLst>
                  <a:cxn ang="0">
                    <a:pos x="33" y="12"/>
                  </a:cxn>
                  <a:cxn ang="0">
                    <a:pos x="31" y="10"/>
                  </a:cxn>
                  <a:cxn ang="0">
                    <a:pos x="30" y="10"/>
                  </a:cxn>
                  <a:cxn ang="0">
                    <a:pos x="30" y="8"/>
                  </a:cxn>
                  <a:cxn ang="0">
                    <a:pos x="31" y="7"/>
                  </a:cxn>
                  <a:cxn ang="0">
                    <a:pos x="32" y="4"/>
                  </a:cxn>
                  <a:cxn ang="0">
                    <a:pos x="27" y="3"/>
                  </a:cxn>
                  <a:cxn ang="0">
                    <a:pos x="26" y="3"/>
                  </a:cxn>
                  <a:cxn ang="0">
                    <a:pos x="26" y="2"/>
                  </a:cxn>
                  <a:cxn ang="0">
                    <a:pos x="25" y="2"/>
                  </a:cxn>
                  <a:cxn ang="0">
                    <a:pos x="22" y="1"/>
                  </a:cxn>
                  <a:cxn ang="0">
                    <a:pos x="20" y="1"/>
                  </a:cxn>
                  <a:cxn ang="0">
                    <a:pos x="18" y="1"/>
                  </a:cxn>
                  <a:cxn ang="0">
                    <a:pos x="14" y="1"/>
                  </a:cxn>
                  <a:cxn ang="0">
                    <a:pos x="11" y="0"/>
                  </a:cxn>
                  <a:cxn ang="0">
                    <a:pos x="8" y="0"/>
                  </a:cxn>
                  <a:cxn ang="0">
                    <a:pos x="6" y="2"/>
                  </a:cxn>
                  <a:cxn ang="0">
                    <a:pos x="3" y="0"/>
                  </a:cxn>
                  <a:cxn ang="0">
                    <a:pos x="1" y="3"/>
                  </a:cxn>
                  <a:cxn ang="0">
                    <a:pos x="0" y="5"/>
                  </a:cxn>
                  <a:cxn ang="0">
                    <a:pos x="2" y="6"/>
                  </a:cxn>
                  <a:cxn ang="0">
                    <a:pos x="3" y="6"/>
                  </a:cxn>
                  <a:cxn ang="0">
                    <a:pos x="3" y="7"/>
                  </a:cxn>
                  <a:cxn ang="0">
                    <a:pos x="4" y="9"/>
                  </a:cxn>
                  <a:cxn ang="0">
                    <a:pos x="6" y="13"/>
                  </a:cxn>
                  <a:cxn ang="0">
                    <a:pos x="10" y="16"/>
                  </a:cxn>
                  <a:cxn ang="0">
                    <a:pos x="14" y="19"/>
                  </a:cxn>
                  <a:cxn ang="0">
                    <a:pos x="15" y="21"/>
                  </a:cxn>
                  <a:cxn ang="0">
                    <a:pos x="17" y="23"/>
                  </a:cxn>
                  <a:cxn ang="0">
                    <a:pos x="17" y="25"/>
                  </a:cxn>
                  <a:cxn ang="0">
                    <a:pos x="17" y="25"/>
                  </a:cxn>
                  <a:cxn ang="0">
                    <a:pos x="19" y="25"/>
                  </a:cxn>
                  <a:cxn ang="0">
                    <a:pos x="20" y="26"/>
                  </a:cxn>
                  <a:cxn ang="0">
                    <a:pos x="24" y="28"/>
                  </a:cxn>
                  <a:cxn ang="0">
                    <a:pos x="26" y="27"/>
                  </a:cxn>
                  <a:cxn ang="0">
                    <a:pos x="25" y="25"/>
                  </a:cxn>
                  <a:cxn ang="0">
                    <a:pos x="26" y="23"/>
                  </a:cxn>
                  <a:cxn ang="0">
                    <a:pos x="29" y="21"/>
                  </a:cxn>
                  <a:cxn ang="0">
                    <a:pos x="30" y="21"/>
                  </a:cxn>
                  <a:cxn ang="0">
                    <a:pos x="29" y="19"/>
                  </a:cxn>
                  <a:cxn ang="0">
                    <a:pos x="29" y="18"/>
                  </a:cxn>
                  <a:cxn ang="0">
                    <a:pos x="31" y="18"/>
                  </a:cxn>
                  <a:cxn ang="0">
                    <a:pos x="33" y="18"/>
                  </a:cxn>
                  <a:cxn ang="0">
                    <a:pos x="34" y="18"/>
                  </a:cxn>
                  <a:cxn ang="0">
                    <a:pos x="34" y="16"/>
                  </a:cxn>
                  <a:cxn ang="0">
                    <a:pos x="32" y="14"/>
                  </a:cxn>
                  <a:cxn ang="0">
                    <a:pos x="34" y="13"/>
                  </a:cxn>
                </a:cxnLst>
                <a:rect l="0" t="0" r="r" b="b"/>
                <a:pathLst>
                  <a:path w="35" h="29">
                    <a:moveTo>
                      <a:pt x="34" y="13"/>
                    </a:moveTo>
                    <a:cubicBezTo>
                      <a:pt x="34" y="13"/>
                      <a:pt x="33" y="12"/>
                      <a:pt x="33" y="12"/>
                    </a:cubicBezTo>
                    <a:cubicBezTo>
                      <a:pt x="32" y="12"/>
                      <a:pt x="32" y="11"/>
                      <a:pt x="32" y="10"/>
                    </a:cubicBezTo>
                    <a:cubicBezTo>
                      <a:pt x="31" y="10"/>
                      <a:pt x="31" y="11"/>
                      <a:pt x="31" y="10"/>
                    </a:cubicBezTo>
                    <a:cubicBezTo>
                      <a:pt x="31" y="10"/>
                      <a:pt x="31" y="10"/>
                      <a:pt x="31" y="10"/>
                    </a:cubicBezTo>
                    <a:cubicBezTo>
                      <a:pt x="30" y="10"/>
                      <a:pt x="30" y="10"/>
                      <a:pt x="30" y="10"/>
                    </a:cubicBezTo>
                    <a:cubicBezTo>
                      <a:pt x="30" y="9"/>
                      <a:pt x="30" y="9"/>
                      <a:pt x="30" y="9"/>
                    </a:cubicBezTo>
                    <a:cubicBezTo>
                      <a:pt x="30" y="8"/>
                      <a:pt x="30" y="8"/>
                      <a:pt x="30" y="8"/>
                    </a:cubicBezTo>
                    <a:cubicBezTo>
                      <a:pt x="30" y="8"/>
                      <a:pt x="30" y="8"/>
                      <a:pt x="30" y="8"/>
                    </a:cubicBezTo>
                    <a:cubicBezTo>
                      <a:pt x="31" y="7"/>
                      <a:pt x="31" y="7"/>
                      <a:pt x="31" y="7"/>
                    </a:cubicBezTo>
                    <a:cubicBezTo>
                      <a:pt x="31" y="6"/>
                      <a:pt x="32" y="6"/>
                      <a:pt x="32" y="5"/>
                    </a:cubicBezTo>
                    <a:cubicBezTo>
                      <a:pt x="32" y="5"/>
                      <a:pt x="32" y="4"/>
                      <a:pt x="32" y="4"/>
                    </a:cubicBezTo>
                    <a:cubicBezTo>
                      <a:pt x="31" y="3"/>
                      <a:pt x="30" y="4"/>
                      <a:pt x="29" y="4"/>
                    </a:cubicBezTo>
                    <a:cubicBezTo>
                      <a:pt x="28" y="4"/>
                      <a:pt x="27" y="4"/>
                      <a:pt x="27" y="3"/>
                    </a:cubicBezTo>
                    <a:cubicBezTo>
                      <a:pt x="27" y="3"/>
                      <a:pt x="27" y="3"/>
                      <a:pt x="27" y="3"/>
                    </a:cubicBezTo>
                    <a:cubicBezTo>
                      <a:pt x="27" y="2"/>
                      <a:pt x="27" y="3"/>
                      <a:pt x="26" y="3"/>
                    </a:cubicBezTo>
                    <a:cubicBezTo>
                      <a:pt x="26" y="2"/>
                      <a:pt x="26" y="2"/>
                      <a:pt x="26" y="2"/>
                    </a:cubicBezTo>
                    <a:cubicBezTo>
                      <a:pt x="26" y="2"/>
                      <a:pt x="25" y="2"/>
                      <a:pt x="26" y="2"/>
                    </a:cubicBezTo>
                    <a:cubicBezTo>
                      <a:pt x="25" y="1"/>
                      <a:pt x="25" y="2"/>
                      <a:pt x="25" y="2"/>
                    </a:cubicBezTo>
                    <a:cubicBezTo>
                      <a:pt x="25" y="2"/>
                      <a:pt x="25" y="2"/>
                      <a:pt x="25" y="2"/>
                    </a:cubicBezTo>
                    <a:cubicBezTo>
                      <a:pt x="25" y="2"/>
                      <a:pt x="23" y="1"/>
                      <a:pt x="23" y="1"/>
                    </a:cubicBezTo>
                    <a:cubicBezTo>
                      <a:pt x="22" y="1"/>
                      <a:pt x="22" y="1"/>
                      <a:pt x="22" y="1"/>
                    </a:cubicBezTo>
                    <a:cubicBezTo>
                      <a:pt x="22" y="2"/>
                      <a:pt x="21" y="2"/>
                      <a:pt x="21" y="2"/>
                    </a:cubicBezTo>
                    <a:cubicBezTo>
                      <a:pt x="21" y="1"/>
                      <a:pt x="20" y="1"/>
                      <a:pt x="20" y="1"/>
                    </a:cubicBezTo>
                    <a:cubicBezTo>
                      <a:pt x="19" y="1"/>
                      <a:pt x="19" y="2"/>
                      <a:pt x="19" y="2"/>
                    </a:cubicBezTo>
                    <a:cubicBezTo>
                      <a:pt x="18" y="2"/>
                      <a:pt x="18" y="2"/>
                      <a:pt x="18" y="1"/>
                    </a:cubicBezTo>
                    <a:cubicBezTo>
                      <a:pt x="17" y="1"/>
                      <a:pt x="16" y="1"/>
                      <a:pt x="16" y="1"/>
                    </a:cubicBezTo>
                    <a:cubicBezTo>
                      <a:pt x="15" y="1"/>
                      <a:pt x="15" y="1"/>
                      <a:pt x="14" y="1"/>
                    </a:cubicBezTo>
                    <a:cubicBezTo>
                      <a:pt x="13" y="0"/>
                      <a:pt x="13" y="1"/>
                      <a:pt x="12" y="1"/>
                    </a:cubicBezTo>
                    <a:cubicBezTo>
                      <a:pt x="12" y="0"/>
                      <a:pt x="11" y="0"/>
                      <a:pt x="11" y="0"/>
                    </a:cubicBezTo>
                    <a:cubicBezTo>
                      <a:pt x="11" y="0"/>
                      <a:pt x="11" y="0"/>
                      <a:pt x="11" y="0"/>
                    </a:cubicBezTo>
                    <a:cubicBezTo>
                      <a:pt x="10" y="1"/>
                      <a:pt x="9" y="0"/>
                      <a:pt x="8" y="0"/>
                    </a:cubicBezTo>
                    <a:cubicBezTo>
                      <a:pt x="7" y="0"/>
                      <a:pt x="6" y="1"/>
                      <a:pt x="6" y="1"/>
                    </a:cubicBezTo>
                    <a:cubicBezTo>
                      <a:pt x="6" y="2"/>
                      <a:pt x="6" y="2"/>
                      <a:pt x="6" y="2"/>
                    </a:cubicBezTo>
                    <a:cubicBezTo>
                      <a:pt x="5" y="3"/>
                      <a:pt x="5" y="2"/>
                      <a:pt x="4" y="2"/>
                    </a:cubicBezTo>
                    <a:cubicBezTo>
                      <a:pt x="4" y="1"/>
                      <a:pt x="3" y="1"/>
                      <a:pt x="3" y="0"/>
                    </a:cubicBezTo>
                    <a:cubicBezTo>
                      <a:pt x="2" y="0"/>
                      <a:pt x="1" y="0"/>
                      <a:pt x="1" y="1"/>
                    </a:cubicBezTo>
                    <a:cubicBezTo>
                      <a:pt x="1" y="2"/>
                      <a:pt x="1" y="2"/>
                      <a:pt x="1" y="3"/>
                    </a:cubicBezTo>
                    <a:cubicBezTo>
                      <a:pt x="0" y="3"/>
                      <a:pt x="1" y="4"/>
                      <a:pt x="1" y="4"/>
                    </a:cubicBezTo>
                    <a:cubicBezTo>
                      <a:pt x="1" y="4"/>
                      <a:pt x="0" y="4"/>
                      <a:pt x="0" y="5"/>
                    </a:cubicBezTo>
                    <a:cubicBezTo>
                      <a:pt x="0" y="5"/>
                      <a:pt x="1" y="5"/>
                      <a:pt x="1" y="5"/>
                    </a:cubicBezTo>
                    <a:cubicBezTo>
                      <a:pt x="1" y="5"/>
                      <a:pt x="1" y="6"/>
                      <a:pt x="2" y="6"/>
                    </a:cubicBezTo>
                    <a:cubicBezTo>
                      <a:pt x="2" y="6"/>
                      <a:pt x="2" y="5"/>
                      <a:pt x="2" y="5"/>
                    </a:cubicBezTo>
                    <a:cubicBezTo>
                      <a:pt x="2" y="6"/>
                      <a:pt x="2" y="6"/>
                      <a:pt x="3" y="6"/>
                    </a:cubicBezTo>
                    <a:cubicBezTo>
                      <a:pt x="3" y="6"/>
                      <a:pt x="3" y="6"/>
                      <a:pt x="3" y="7"/>
                    </a:cubicBezTo>
                    <a:cubicBezTo>
                      <a:pt x="3" y="7"/>
                      <a:pt x="3" y="7"/>
                      <a:pt x="3" y="7"/>
                    </a:cubicBezTo>
                    <a:cubicBezTo>
                      <a:pt x="3" y="8"/>
                      <a:pt x="4" y="7"/>
                      <a:pt x="4" y="8"/>
                    </a:cubicBezTo>
                    <a:cubicBezTo>
                      <a:pt x="4" y="8"/>
                      <a:pt x="5" y="9"/>
                      <a:pt x="4" y="9"/>
                    </a:cubicBezTo>
                    <a:cubicBezTo>
                      <a:pt x="5" y="9"/>
                      <a:pt x="5" y="11"/>
                      <a:pt x="5" y="11"/>
                    </a:cubicBezTo>
                    <a:cubicBezTo>
                      <a:pt x="6" y="12"/>
                      <a:pt x="6" y="12"/>
                      <a:pt x="6" y="13"/>
                    </a:cubicBezTo>
                    <a:cubicBezTo>
                      <a:pt x="7" y="13"/>
                      <a:pt x="7" y="13"/>
                      <a:pt x="7" y="13"/>
                    </a:cubicBezTo>
                    <a:cubicBezTo>
                      <a:pt x="8" y="14"/>
                      <a:pt x="9" y="15"/>
                      <a:pt x="10" y="16"/>
                    </a:cubicBezTo>
                    <a:cubicBezTo>
                      <a:pt x="10" y="17"/>
                      <a:pt x="11" y="17"/>
                      <a:pt x="12" y="18"/>
                    </a:cubicBezTo>
                    <a:cubicBezTo>
                      <a:pt x="13" y="18"/>
                      <a:pt x="13" y="19"/>
                      <a:pt x="14" y="19"/>
                    </a:cubicBezTo>
                    <a:cubicBezTo>
                      <a:pt x="14" y="19"/>
                      <a:pt x="15" y="19"/>
                      <a:pt x="15" y="19"/>
                    </a:cubicBezTo>
                    <a:cubicBezTo>
                      <a:pt x="15" y="20"/>
                      <a:pt x="15" y="20"/>
                      <a:pt x="15" y="21"/>
                    </a:cubicBezTo>
                    <a:cubicBezTo>
                      <a:pt x="15" y="21"/>
                      <a:pt x="15" y="21"/>
                      <a:pt x="15" y="22"/>
                    </a:cubicBezTo>
                    <a:cubicBezTo>
                      <a:pt x="16" y="22"/>
                      <a:pt x="16" y="22"/>
                      <a:pt x="17" y="23"/>
                    </a:cubicBezTo>
                    <a:cubicBezTo>
                      <a:pt x="17" y="23"/>
                      <a:pt x="18" y="23"/>
                      <a:pt x="18" y="24"/>
                    </a:cubicBezTo>
                    <a:cubicBezTo>
                      <a:pt x="18" y="24"/>
                      <a:pt x="18" y="24"/>
                      <a:pt x="17" y="25"/>
                    </a:cubicBezTo>
                    <a:cubicBezTo>
                      <a:pt x="17" y="25"/>
                      <a:pt x="17" y="25"/>
                      <a:pt x="17" y="25"/>
                    </a:cubicBezTo>
                    <a:cubicBezTo>
                      <a:pt x="17" y="25"/>
                      <a:pt x="17" y="25"/>
                      <a:pt x="17" y="25"/>
                    </a:cubicBezTo>
                    <a:cubicBezTo>
                      <a:pt x="17" y="25"/>
                      <a:pt x="18" y="26"/>
                      <a:pt x="18" y="25"/>
                    </a:cubicBezTo>
                    <a:cubicBezTo>
                      <a:pt x="18" y="25"/>
                      <a:pt x="19" y="25"/>
                      <a:pt x="19" y="25"/>
                    </a:cubicBezTo>
                    <a:cubicBezTo>
                      <a:pt x="19" y="25"/>
                      <a:pt x="19" y="25"/>
                      <a:pt x="20" y="25"/>
                    </a:cubicBezTo>
                    <a:cubicBezTo>
                      <a:pt x="20" y="26"/>
                      <a:pt x="20" y="26"/>
                      <a:pt x="20" y="26"/>
                    </a:cubicBezTo>
                    <a:cubicBezTo>
                      <a:pt x="21" y="27"/>
                      <a:pt x="22" y="27"/>
                      <a:pt x="23" y="28"/>
                    </a:cubicBezTo>
                    <a:cubicBezTo>
                      <a:pt x="23" y="29"/>
                      <a:pt x="24" y="28"/>
                      <a:pt x="24" y="28"/>
                    </a:cubicBezTo>
                    <a:cubicBezTo>
                      <a:pt x="24" y="28"/>
                      <a:pt x="25" y="29"/>
                      <a:pt x="25" y="29"/>
                    </a:cubicBezTo>
                    <a:cubicBezTo>
                      <a:pt x="26" y="29"/>
                      <a:pt x="26" y="28"/>
                      <a:pt x="26" y="27"/>
                    </a:cubicBezTo>
                    <a:cubicBezTo>
                      <a:pt x="26" y="27"/>
                      <a:pt x="25" y="27"/>
                      <a:pt x="25" y="26"/>
                    </a:cubicBezTo>
                    <a:cubicBezTo>
                      <a:pt x="25" y="26"/>
                      <a:pt x="25" y="26"/>
                      <a:pt x="25" y="25"/>
                    </a:cubicBezTo>
                    <a:cubicBezTo>
                      <a:pt x="25" y="25"/>
                      <a:pt x="25" y="24"/>
                      <a:pt x="26" y="24"/>
                    </a:cubicBezTo>
                    <a:cubicBezTo>
                      <a:pt x="27" y="24"/>
                      <a:pt x="26" y="24"/>
                      <a:pt x="26" y="23"/>
                    </a:cubicBezTo>
                    <a:cubicBezTo>
                      <a:pt x="27" y="22"/>
                      <a:pt x="27" y="21"/>
                      <a:pt x="27" y="21"/>
                    </a:cubicBezTo>
                    <a:cubicBezTo>
                      <a:pt x="28" y="21"/>
                      <a:pt x="28" y="20"/>
                      <a:pt x="29" y="21"/>
                    </a:cubicBezTo>
                    <a:cubicBezTo>
                      <a:pt x="29" y="21"/>
                      <a:pt x="29" y="22"/>
                      <a:pt x="30" y="21"/>
                    </a:cubicBezTo>
                    <a:cubicBezTo>
                      <a:pt x="30" y="21"/>
                      <a:pt x="31" y="21"/>
                      <a:pt x="30" y="21"/>
                    </a:cubicBezTo>
                    <a:cubicBezTo>
                      <a:pt x="30" y="20"/>
                      <a:pt x="30" y="20"/>
                      <a:pt x="30" y="20"/>
                    </a:cubicBezTo>
                    <a:cubicBezTo>
                      <a:pt x="30" y="19"/>
                      <a:pt x="29" y="19"/>
                      <a:pt x="29" y="19"/>
                    </a:cubicBezTo>
                    <a:cubicBezTo>
                      <a:pt x="29" y="19"/>
                      <a:pt x="29" y="19"/>
                      <a:pt x="29" y="19"/>
                    </a:cubicBezTo>
                    <a:cubicBezTo>
                      <a:pt x="29" y="19"/>
                      <a:pt x="29" y="18"/>
                      <a:pt x="29" y="18"/>
                    </a:cubicBezTo>
                    <a:cubicBezTo>
                      <a:pt x="30" y="18"/>
                      <a:pt x="30" y="18"/>
                      <a:pt x="30" y="19"/>
                    </a:cubicBezTo>
                    <a:cubicBezTo>
                      <a:pt x="30" y="19"/>
                      <a:pt x="31" y="18"/>
                      <a:pt x="31" y="18"/>
                    </a:cubicBezTo>
                    <a:cubicBezTo>
                      <a:pt x="31" y="18"/>
                      <a:pt x="32" y="18"/>
                      <a:pt x="32" y="18"/>
                    </a:cubicBezTo>
                    <a:cubicBezTo>
                      <a:pt x="32" y="18"/>
                      <a:pt x="32" y="17"/>
                      <a:pt x="33" y="18"/>
                    </a:cubicBezTo>
                    <a:cubicBezTo>
                      <a:pt x="33" y="18"/>
                      <a:pt x="33" y="18"/>
                      <a:pt x="33" y="18"/>
                    </a:cubicBezTo>
                    <a:cubicBezTo>
                      <a:pt x="33" y="18"/>
                      <a:pt x="34" y="18"/>
                      <a:pt x="34" y="18"/>
                    </a:cubicBezTo>
                    <a:cubicBezTo>
                      <a:pt x="34" y="18"/>
                      <a:pt x="34" y="17"/>
                      <a:pt x="34" y="17"/>
                    </a:cubicBezTo>
                    <a:cubicBezTo>
                      <a:pt x="34" y="17"/>
                      <a:pt x="34" y="16"/>
                      <a:pt x="34" y="16"/>
                    </a:cubicBezTo>
                    <a:cubicBezTo>
                      <a:pt x="33" y="16"/>
                      <a:pt x="33" y="15"/>
                      <a:pt x="32" y="15"/>
                    </a:cubicBezTo>
                    <a:cubicBezTo>
                      <a:pt x="32" y="14"/>
                      <a:pt x="32" y="14"/>
                      <a:pt x="32" y="14"/>
                    </a:cubicBezTo>
                    <a:cubicBezTo>
                      <a:pt x="31" y="13"/>
                      <a:pt x="33" y="14"/>
                      <a:pt x="33" y="14"/>
                    </a:cubicBezTo>
                    <a:cubicBezTo>
                      <a:pt x="34" y="14"/>
                      <a:pt x="35" y="13"/>
                      <a:pt x="34" y="1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3" name="Bolivia">
                <a:extLst>
                  <a:ext uri="{FF2B5EF4-FFF2-40B4-BE49-F238E27FC236}">
                    <a16:creationId xmlns:a16="http://schemas.microsoft.com/office/drawing/2014/main" id="{F09711A6-4D9F-8B53-5E7F-41C0B6A44139}"/>
                  </a:ext>
                </a:extLst>
              </p:cNvPr>
              <p:cNvSpPr>
                <a:spLocks noEditPoints="1"/>
              </p:cNvSpPr>
              <p:nvPr/>
            </p:nvSpPr>
            <p:spPr bwMode="auto">
              <a:xfrm>
                <a:off x="3317825" y="4419754"/>
                <a:ext cx="435192" cy="517527"/>
              </a:xfrm>
              <a:custGeom>
                <a:avLst/>
                <a:gdLst/>
                <a:ahLst/>
                <a:cxnLst>
                  <a:cxn ang="0">
                    <a:pos x="122" y="103"/>
                  </a:cxn>
                  <a:cxn ang="0">
                    <a:pos x="120" y="112"/>
                  </a:cxn>
                  <a:cxn ang="0">
                    <a:pos x="118" y="112"/>
                  </a:cxn>
                  <a:cxn ang="0">
                    <a:pos x="90" y="109"/>
                  </a:cxn>
                  <a:cxn ang="0">
                    <a:pos x="81" y="124"/>
                  </a:cxn>
                  <a:cxn ang="0">
                    <a:pos x="77" y="136"/>
                  </a:cxn>
                  <a:cxn ang="0">
                    <a:pos x="65" y="140"/>
                  </a:cxn>
                  <a:cxn ang="0">
                    <a:pos x="62" y="143"/>
                  </a:cxn>
                  <a:cxn ang="0">
                    <a:pos x="57" y="137"/>
                  </a:cxn>
                  <a:cxn ang="0">
                    <a:pos x="45" y="134"/>
                  </a:cxn>
                  <a:cxn ang="0">
                    <a:pos x="38" y="142"/>
                  </a:cxn>
                  <a:cxn ang="0">
                    <a:pos x="29" y="144"/>
                  </a:cxn>
                  <a:cxn ang="0">
                    <a:pos x="27" y="136"/>
                  </a:cxn>
                  <a:cxn ang="0">
                    <a:pos x="20" y="123"/>
                  </a:cxn>
                  <a:cxn ang="0">
                    <a:pos x="18" y="116"/>
                  </a:cxn>
                  <a:cxn ang="0">
                    <a:pos x="20" y="108"/>
                  </a:cxn>
                  <a:cxn ang="0">
                    <a:pos x="14" y="102"/>
                  </a:cxn>
                  <a:cxn ang="0">
                    <a:pos x="11" y="94"/>
                  </a:cxn>
                  <a:cxn ang="0">
                    <a:pos x="7" y="87"/>
                  </a:cxn>
                  <a:cxn ang="0">
                    <a:pos x="8" y="81"/>
                  </a:cxn>
                  <a:cxn ang="0">
                    <a:pos x="12" y="77"/>
                  </a:cxn>
                  <a:cxn ang="0">
                    <a:pos x="13" y="74"/>
                  </a:cxn>
                  <a:cxn ang="0">
                    <a:pos x="13" y="70"/>
                  </a:cxn>
                  <a:cxn ang="0">
                    <a:pos x="7" y="66"/>
                  </a:cxn>
                  <a:cxn ang="0">
                    <a:pos x="8" y="62"/>
                  </a:cxn>
                  <a:cxn ang="0">
                    <a:pos x="7" y="54"/>
                  </a:cxn>
                  <a:cxn ang="0">
                    <a:pos x="9" y="48"/>
                  </a:cxn>
                  <a:cxn ang="0">
                    <a:pos x="8" y="39"/>
                  </a:cxn>
                  <a:cxn ang="0">
                    <a:pos x="10" y="31"/>
                  </a:cxn>
                  <a:cxn ang="0">
                    <a:pos x="10" y="16"/>
                  </a:cxn>
                  <a:cxn ang="0">
                    <a:pos x="18" y="11"/>
                  </a:cxn>
                  <a:cxn ang="0">
                    <a:pos x="24" y="7"/>
                  </a:cxn>
                  <a:cxn ang="0">
                    <a:pos x="33" y="2"/>
                  </a:cxn>
                  <a:cxn ang="0">
                    <a:pos x="36" y="1"/>
                  </a:cxn>
                  <a:cxn ang="0">
                    <a:pos x="40" y="2"/>
                  </a:cxn>
                  <a:cxn ang="0">
                    <a:pos x="41" y="15"/>
                  </a:cxn>
                  <a:cxn ang="0">
                    <a:pos x="41" y="19"/>
                  </a:cxn>
                  <a:cxn ang="0">
                    <a:pos x="43" y="24"/>
                  </a:cxn>
                  <a:cxn ang="0">
                    <a:pos x="45" y="26"/>
                  </a:cxn>
                  <a:cxn ang="0">
                    <a:pos x="49" y="28"/>
                  </a:cxn>
                  <a:cxn ang="0">
                    <a:pos x="56" y="32"/>
                  </a:cxn>
                  <a:cxn ang="0">
                    <a:pos x="65" y="34"/>
                  </a:cxn>
                  <a:cxn ang="0">
                    <a:pos x="70" y="38"/>
                  </a:cxn>
                  <a:cxn ang="0">
                    <a:pos x="76" y="42"/>
                  </a:cxn>
                  <a:cxn ang="0">
                    <a:pos x="83" y="43"/>
                  </a:cxn>
                  <a:cxn ang="0">
                    <a:pos x="91" y="48"/>
                  </a:cxn>
                  <a:cxn ang="0">
                    <a:pos x="93" y="57"/>
                  </a:cxn>
                  <a:cxn ang="0">
                    <a:pos x="95" y="71"/>
                  </a:cxn>
                  <a:cxn ang="0">
                    <a:pos x="113" y="73"/>
                  </a:cxn>
                  <a:cxn ang="0">
                    <a:pos x="114" y="84"/>
                  </a:cxn>
                  <a:cxn ang="0">
                    <a:pos x="121" y="92"/>
                  </a:cxn>
                  <a:cxn ang="0">
                    <a:pos x="10" y="73"/>
                  </a:cxn>
                  <a:cxn ang="0">
                    <a:pos x="10" y="72"/>
                  </a:cxn>
                </a:cxnLst>
                <a:rect l="0" t="0" r="r" b="b"/>
                <a:pathLst>
                  <a:path w="123" h="146">
                    <a:moveTo>
                      <a:pt x="123" y="94"/>
                    </a:moveTo>
                    <a:cubicBezTo>
                      <a:pt x="123" y="95"/>
                      <a:pt x="123" y="95"/>
                      <a:pt x="123" y="95"/>
                    </a:cubicBezTo>
                    <a:cubicBezTo>
                      <a:pt x="122" y="95"/>
                      <a:pt x="122" y="96"/>
                      <a:pt x="122" y="96"/>
                    </a:cubicBezTo>
                    <a:cubicBezTo>
                      <a:pt x="122" y="97"/>
                      <a:pt x="122" y="99"/>
                      <a:pt x="121" y="100"/>
                    </a:cubicBezTo>
                    <a:cubicBezTo>
                      <a:pt x="121" y="101"/>
                      <a:pt x="121" y="102"/>
                      <a:pt x="122" y="103"/>
                    </a:cubicBezTo>
                    <a:cubicBezTo>
                      <a:pt x="122" y="103"/>
                      <a:pt x="122" y="103"/>
                      <a:pt x="121" y="104"/>
                    </a:cubicBezTo>
                    <a:cubicBezTo>
                      <a:pt x="121" y="104"/>
                      <a:pt x="121" y="105"/>
                      <a:pt x="121" y="105"/>
                    </a:cubicBezTo>
                    <a:cubicBezTo>
                      <a:pt x="120" y="107"/>
                      <a:pt x="120" y="108"/>
                      <a:pt x="119" y="109"/>
                    </a:cubicBezTo>
                    <a:cubicBezTo>
                      <a:pt x="119" y="110"/>
                      <a:pt x="119" y="111"/>
                      <a:pt x="119" y="111"/>
                    </a:cubicBezTo>
                    <a:cubicBezTo>
                      <a:pt x="119" y="112"/>
                      <a:pt x="120" y="112"/>
                      <a:pt x="120" y="112"/>
                    </a:cubicBezTo>
                    <a:cubicBezTo>
                      <a:pt x="120" y="113"/>
                      <a:pt x="122" y="113"/>
                      <a:pt x="121" y="114"/>
                    </a:cubicBezTo>
                    <a:cubicBezTo>
                      <a:pt x="121" y="115"/>
                      <a:pt x="120" y="114"/>
                      <a:pt x="120" y="115"/>
                    </a:cubicBezTo>
                    <a:cubicBezTo>
                      <a:pt x="120" y="115"/>
                      <a:pt x="119" y="116"/>
                      <a:pt x="119" y="116"/>
                    </a:cubicBezTo>
                    <a:cubicBezTo>
                      <a:pt x="119" y="115"/>
                      <a:pt x="119" y="115"/>
                      <a:pt x="119" y="114"/>
                    </a:cubicBezTo>
                    <a:cubicBezTo>
                      <a:pt x="119" y="113"/>
                      <a:pt x="119" y="113"/>
                      <a:pt x="118" y="112"/>
                    </a:cubicBezTo>
                    <a:cubicBezTo>
                      <a:pt x="118" y="112"/>
                      <a:pt x="116" y="111"/>
                      <a:pt x="116" y="110"/>
                    </a:cubicBezTo>
                    <a:cubicBezTo>
                      <a:pt x="114" y="109"/>
                      <a:pt x="113" y="109"/>
                      <a:pt x="111" y="108"/>
                    </a:cubicBezTo>
                    <a:cubicBezTo>
                      <a:pt x="110" y="107"/>
                      <a:pt x="109" y="106"/>
                      <a:pt x="108" y="106"/>
                    </a:cubicBezTo>
                    <a:cubicBezTo>
                      <a:pt x="105" y="106"/>
                      <a:pt x="102" y="106"/>
                      <a:pt x="99" y="107"/>
                    </a:cubicBezTo>
                    <a:cubicBezTo>
                      <a:pt x="96" y="107"/>
                      <a:pt x="93" y="108"/>
                      <a:pt x="90" y="109"/>
                    </a:cubicBezTo>
                    <a:cubicBezTo>
                      <a:pt x="89" y="109"/>
                      <a:pt x="87" y="110"/>
                      <a:pt x="86" y="110"/>
                    </a:cubicBezTo>
                    <a:cubicBezTo>
                      <a:pt x="84" y="110"/>
                      <a:pt x="84" y="111"/>
                      <a:pt x="84" y="112"/>
                    </a:cubicBezTo>
                    <a:cubicBezTo>
                      <a:pt x="83" y="114"/>
                      <a:pt x="83" y="115"/>
                      <a:pt x="82" y="116"/>
                    </a:cubicBezTo>
                    <a:cubicBezTo>
                      <a:pt x="82" y="117"/>
                      <a:pt x="81" y="119"/>
                      <a:pt x="80" y="120"/>
                    </a:cubicBezTo>
                    <a:cubicBezTo>
                      <a:pt x="80" y="122"/>
                      <a:pt x="80" y="123"/>
                      <a:pt x="81" y="124"/>
                    </a:cubicBezTo>
                    <a:cubicBezTo>
                      <a:pt x="81" y="126"/>
                      <a:pt x="81" y="127"/>
                      <a:pt x="80" y="129"/>
                    </a:cubicBezTo>
                    <a:cubicBezTo>
                      <a:pt x="80" y="130"/>
                      <a:pt x="80" y="131"/>
                      <a:pt x="80" y="132"/>
                    </a:cubicBezTo>
                    <a:cubicBezTo>
                      <a:pt x="79" y="134"/>
                      <a:pt x="79" y="136"/>
                      <a:pt x="79" y="139"/>
                    </a:cubicBezTo>
                    <a:cubicBezTo>
                      <a:pt x="78" y="138"/>
                      <a:pt x="78" y="138"/>
                      <a:pt x="77" y="138"/>
                    </a:cubicBezTo>
                    <a:cubicBezTo>
                      <a:pt x="77" y="137"/>
                      <a:pt x="77" y="137"/>
                      <a:pt x="77" y="136"/>
                    </a:cubicBezTo>
                    <a:cubicBezTo>
                      <a:pt x="77" y="136"/>
                      <a:pt x="75" y="136"/>
                      <a:pt x="75" y="136"/>
                    </a:cubicBezTo>
                    <a:cubicBezTo>
                      <a:pt x="72" y="136"/>
                      <a:pt x="70" y="136"/>
                      <a:pt x="68" y="136"/>
                    </a:cubicBezTo>
                    <a:cubicBezTo>
                      <a:pt x="68" y="136"/>
                      <a:pt x="66" y="136"/>
                      <a:pt x="66" y="136"/>
                    </a:cubicBezTo>
                    <a:cubicBezTo>
                      <a:pt x="66" y="136"/>
                      <a:pt x="66" y="137"/>
                      <a:pt x="66" y="138"/>
                    </a:cubicBezTo>
                    <a:cubicBezTo>
                      <a:pt x="65" y="138"/>
                      <a:pt x="65" y="139"/>
                      <a:pt x="65" y="140"/>
                    </a:cubicBezTo>
                    <a:cubicBezTo>
                      <a:pt x="65" y="140"/>
                      <a:pt x="65" y="141"/>
                      <a:pt x="64" y="141"/>
                    </a:cubicBezTo>
                    <a:cubicBezTo>
                      <a:pt x="64" y="142"/>
                      <a:pt x="64" y="142"/>
                      <a:pt x="64" y="143"/>
                    </a:cubicBezTo>
                    <a:cubicBezTo>
                      <a:pt x="64" y="143"/>
                      <a:pt x="63" y="146"/>
                      <a:pt x="63" y="146"/>
                    </a:cubicBezTo>
                    <a:cubicBezTo>
                      <a:pt x="63" y="145"/>
                      <a:pt x="63" y="145"/>
                      <a:pt x="63" y="145"/>
                    </a:cubicBezTo>
                    <a:cubicBezTo>
                      <a:pt x="63" y="144"/>
                      <a:pt x="62" y="144"/>
                      <a:pt x="62" y="143"/>
                    </a:cubicBezTo>
                    <a:cubicBezTo>
                      <a:pt x="62" y="143"/>
                      <a:pt x="62" y="143"/>
                      <a:pt x="62" y="142"/>
                    </a:cubicBezTo>
                    <a:cubicBezTo>
                      <a:pt x="62" y="142"/>
                      <a:pt x="61" y="141"/>
                      <a:pt x="61" y="141"/>
                    </a:cubicBezTo>
                    <a:cubicBezTo>
                      <a:pt x="61" y="140"/>
                      <a:pt x="60" y="140"/>
                      <a:pt x="60" y="139"/>
                    </a:cubicBezTo>
                    <a:cubicBezTo>
                      <a:pt x="60" y="139"/>
                      <a:pt x="60" y="139"/>
                      <a:pt x="60" y="138"/>
                    </a:cubicBezTo>
                    <a:cubicBezTo>
                      <a:pt x="59" y="138"/>
                      <a:pt x="58" y="138"/>
                      <a:pt x="57" y="137"/>
                    </a:cubicBezTo>
                    <a:cubicBezTo>
                      <a:pt x="55" y="137"/>
                      <a:pt x="54" y="137"/>
                      <a:pt x="53" y="137"/>
                    </a:cubicBezTo>
                    <a:cubicBezTo>
                      <a:pt x="52" y="137"/>
                      <a:pt x="51" y="137"/>
                      <a:pt x="51" y="137"/>
                    </a:cubicBezTo>
                    <a:cubicBezTo>
                      <a:pt x="50" y="137"/>
                      <a:pt x="49" y="137"/>
                      <a:pt x="49" y="137"/>
                    </a:cubicBezTo>
                    <a:cubicBezTo>
                      <a:pt x="48" y="137"/>
                      <a:pt x="48" y="136"/>
                      <a:pt x="46" y="135"/>
                    </a:cubicBezTo>
                    <a:cubicBezTo>
                      <a:pt x="46" y="135"/>
                      <a:pt x="46" y="135"/>
                      <a:pt x="45" y="134"/>
                    </a:cubicBezTo>
                    <a:cubicBezTo>
                      <a:pt x="45" y="134"/>
                      <a:pt x="44" y="134"/>
                      <a:pt x="44" y="134"/>
                    </a:cubicBezTo>
                    <a:cubicBezTo>
                      <a:pt x="43" y="135"/>
                      <a:pt x="44" y="137"/>
                      <a:pt x="43" y="137"/>
                    </a:cubicBezTo>
                    <a:cubicBezTo>
                      <a:pt x="42" y="138"/>
                      <a:pt x="40" y="138"/>
                      <a:pt x="40" y="139"/>
                    </a:cubicBezTo>
                    <a:cubicBezTo>
                      <a:pt x="40" y="139"/>
                      <a:pt x="40" y="141"/>
                      <a:pt x="39" y="141"/>
                    </a:cubicBezTo>
                    <a:cubicBezTo>
                      <a:pt x="39" y="141"/>
                      <a:pt x="38" y="141"/>
                      <a:pt x="38" y="142"/>
                    </a:cubicBezTo>
                    <a:cubicBezTo>
                      <a:pt x="37" y="142"/>
                      <a:pt x="38" y="142"/>
                      <a:pt x="37" y="143"/>
                    </a:cubicBezTo>
                    <a:cubicBezTo>
                      <a:pt x="37" y="143"/>
                      <a:pt x="37" y="144"/>
                      <a:pt x="36" y="145"/>
                    </a:cubicBezTo>
                    <a:cubicBezTo>
                      <a:pt x="36" y="145"/>
                      <a:pt x="35" y="145"/>
                      <a:pt x="34" y="146"/>
                    </a:cubicBezTo>
                    <a:cubicBezTo>
                      <a:pt x="33" y="146"/>
                      <a:pt x="33" y="146"/>
                      <a:pt x="32" y="146"/>
                    </a:cubicBezTo>
                    <a:cubicBezTo>
                      <a:pt x="31" y="146"/>
                      <a:pt x="29" y="145"/>
                      <a:pt x="29" y="144"/>
                    </a:cubicBezTo>
                    <a:cubicBezTo>
                      <a:pt x="29" y="143"/>
                      <a:pt x="30" y="142"/>
                      <a:pt x="29" y="142"/>
                    </a:cubicBezTo>
                    <a:cubicBezTo>
                      <a:pt x="29" y="141"/>
                      <a:pt x="28" y="140"/>
                      <a:pt x="28" y="140"/>
                    </a:cubicBezTo>
                    <a:cubicBezTo>
                      <a:pt x="28" y="139"/>
                      <a:pt x="28" y="139"/>
                      <a:pt x="28" y="139"/>
                    </a:cubicBezTo>
                    <a:cubicBezTo>
                      <a:pt x="28" y="138"/>
                      <a:pt x="28" y="138"/>
                      <a:pt x="28" y="138"/>
                    </a:cubicBezTo>
                    <a:cubicBezTo>
                      <a:pt x="28" y="137"/>
                      <a:pt x="28" y="137"/>
                      <a:pt x="27" y="136"/>
                    </a:cubicBezTo>
                    <a:cubicBezTo>
                      <a:pt x="26" y="135"/>
                      <a:pt x="26" y="134"/>
                      <a:pt x="26" y="133"/>
                    </a:cubicBezTo>
                    <a:cubicBezTo>
                      <a:pt x="25" y="131"/>
                      <a:pt x="25" y="129"/>
                      <a:pt x="24" y="128"/>
                    </a:cubicBezTo>
                    <a:cubicBezTo>
                      <a:pt x="24" y="127"/>
                      <a:pt x="23" y="126"/>
                      <a:pt x="22" y="125"/>
                    </a:cubicBezTo>
                    <a:cubicBezTo>
                      <a:pt x="22" y="124"/>
                      <a:pt x="21" y="124"/>
                      <a:pt x="21" y="124"/>
                    </a:cubicBezTo>
                    <a:cubicBezTo>
                      <a:pt x="20" y="124"/>
                      <a:pt x="20" y="123"/>
                      <a:pt x="20" y="123"/>
                    </a:cubicBezTo>
                    <a:cubicBezTo>
                      <a:pt x="20" y="122"/>
                      <a:pt x="21" y="122"/>
                      <a:pt x="21" y="121"/>
                    </a:cubicBezTo>
                    <a:cubicBezTo>
                      <a:pt x="21" y="121"/>
                      <a:pt x="20" y="120"/>
                      <a:pt x="20" y="120"/>
                    </a:cubicBezTo>
                    <a:cubicBezTo>
                      <a:pt x="19" y="120"/>
                      <a:pt x="17" y="119"/>
                      <a:pt x="18" y="118"/>
                    </a:cubicBezTo>
                    <a:cubicBezTo>
                      <a:pt x="19" y="117"/>
                      <a:pt x="19" y="117"/>
                      <a:pt x="18" y="117"/>
                    </a:cubicBezTo>
                    <a:cubicBezTo>
                      <a:pt x="18" y="116"/>
                      <a:pt x="18" y="116"/>
                      <a:pt x="18" y="116"/>
                    </a:cubicBezTo>
                    <a:cubicBezTo>
                      <a:pt x="17" y="115"/>
                      <a:pt x="19" y="115"/>
                      <a:pt x="19" y="114"/>
                    </a:cubicBezTo>
                    <a:cubicBezTo>
                      <a:pt x="19" y="114"/>
                      <a:pt x="20" y="113"/>
                      <a:pt x="19" y="113"/>
                    </a:cubicBezTo>
                    <a:cubicBezTo>
                      <a:pt x="19" y="112"/>
                      <a:pt x="19" y="112"/>
                      <a:pt x="18" y="112"/>
                    </a:cubicBezTo>
                    <a:cubicBezTo>
                      <a:pt x="17" y="111"/>
                      <a:pt x="19" y="109"/>
                      <a:pt x="19" y="109"/>
                    </a:cubicBezTo>
                    <a:cubicBezTo>
                      <a:pt x="19" y="108"/>
                      <a:pt x="20" y="108"/>
                      <a:pt x="20" y="108"/>
                    </a:cubicBezTo>
                    <a:cubicBezTo>
                      <a:pt x="20" y="107"/>
                      <a:pt x="19" y="107"/>
                      <a:pt x="19" y="107"/>
                    </a:cubicBezTo>
                    <a:cubicBezTo>
                      <a:pt x="19" y="107"/>
                      <a:pt x="18" y="106"/>
                      <a:pt x="18" y="106"/>
                    </a:cubicBezTo>
                    <a:cubicBezTo>
                      <a:pt x="17" y="106"/>
                      <a:pt x="17" y="105"/>
                      <a:pt x="16" y="105"/>
                    </a:cubicBezTo>
                    <a:cubicBezTo>
                      <a:pt x="16" y="104"/>
                      <a:pt x="15" y="104"/>
                      <a:pt x="14" y="103"/>
                    </a:cubicBezTo>
                    <a:cubicBezTo>
                      <a:pt x="14" y="102"/>
                      <a:pt x="14" y="102"/>
                      <a:pt x="14" y="102"/>
                    </a:cubicBezTo>
                    <a:cubicBezTo>
                      <a:pt x="14" y="101"/>
                      <a:pt x="14" y="101"/>
                      <a:pt x="14" y="101"/>
                    </a:cubicBezTo>
                    <a:cubicBezTo>
                      <a:pt x="14" y="100"/>
                      <a:pt x="13" y="100"/>
                      <a:pt x="13" y="99"/>
                    </a:cubicBezTo>
                    <a:cubicBezTo>
                      <a:pt x="13" y="98"/>
                      <a:pt x="13" y="96"/>
                      <a:pt x="12" y="95"/>
                    </a:cubicBezTo>
                    <a:cubicBezTo>
                      <a:pt x="12" y="95"/>
                      <a:pt x="12" y="95"/>
                      <a:pt x="12" y="94"/>
                    </a:cubicBezTo>
                    <a:cubicBezTo>
                      <a:pt x="12" y="94"/>
                      <a:pt x="12" y="94"/>
                      <a:pt x="11" y="94"/>
                    </a:cubicBezTo>
                    <a:cubicBezTo>
                      <a:pt x="11" y="93"/>
                      <a:pt x="12" y="93"/>
                      <a:pt x="12" y="93"/>
                    </a:cubicBezTo>
                    <a:cubicBezTo>
                      <a:pt x="13" y="92"/>
                      <a:pt x="11" y="92"/>
                      <a:pt x="11" y="92"/>
                    </a:cubicBezTo>
                    <a:cubicBezTo>
                      <a:pt x="10" y="92"/>
                      <a:pt x="10" y="92"/>
                      <a:pt x="10" y="92"/>
                    </a:cubicBezTo>
                    <a:cubicBezTo>
                      <a:pt x="9" y="91"/>
                      <a:pt x="9" y="91"/>
                      <a:pt x="9" y="90"/>
                    </a:cubicBezTo>
                    <a:cubicBezTo>
                      <a:pt x="9" y="89"/>
                      <a:pt x="8" y="88"/>
                      <a:pt x="7" y="87"/>
                    </a:cubicBezTo>
                    <a:cubicBezTo>
                      <a:pt x="7" y="86"/>
                      <a:pt x="7" y="85"/>
                      <a:pt x="6" y="84"/>
                    </a:cubicBezTo>
                    <a:cubicBezTo>
                      <a:pt x="6" y="84"/>
                      <a:pt x="5" y="84"/>
                      <a:pt x="6" y="83"/>
                    </a:cubicBezTo>
                    <a:cubicBezTo>
                      <a:pt x="6" y="83"/>
                      <a:pt x="6" y="83"/>
                      <a:pt x="7" y="83"/>
                    </a:cubicBezTo>
                    <a:cubicBezTo>
                      <a:pt x="7" y="82"/>
                      <a:pt x="8" y="82"/>
                      <a:pt x="8" y="82"/>
                    </a:cubicBezTo>
                    <a:cubicBezTo>
                      <a:pt x="8" y="81"/>
                      <a:pt x="8" y="81"/>
                      <a:pt x="8" y="81"/>
                    </a:cubicBezTo>
                    <a:cubicBezTo>
                      <a:pt x="8" y="81"/>
                      <a:pt x="8" y="80"/>
                      <a:pt x="9" y="80"/>
                    </a:cubicBezTo>
                    <a:cubicBezTo>
                      <a:pt x="9" y="79"/>
                      <a:pt x="9" y="79"/>
                      <a:pt x="9" y="78"/>
                    </a:cubicBezTo>
                    <a:cubicBezTo>
                      <a:pt x="10" y="78"/>
                      <a:pt x="10" y="78"/>
                      <a:pt x="11" y="78"/>
                    </a:cubicBezTo>
                    <a:cubicBezTo>
                      <a:pt x="11" y="77"/>
                      <a:pt x="11" y="77"/>
                      <a:pt x="11" y="76"/>
                    </a:cubicBezTo>
                    <a:cubicBezTo>
                      <a:pt x="11" y="76"/>
                      <a:pt x="12" y="77"/>
                      <a:pt x="12" y="77"/>
                    </a:cubicBezTo>
                    <a:cubicBezTo>
                      <a:pt x="13" y="76"/>
                      <a:pt x="12" y="76"/>
                      <a:pt x="12" y="75"/>
                    </a:cubicBezTo>
                    <a:cubicBezTo>
                      <a:pt x="12" y="75"/>
                      <a:pt x="12" y="75"/>
                      <a:pt x="11" y="75"/>
                    </a:cubicBezTo>
                    <a:cubicBezTo>
                      <a:pt x="11" y="75"/>
                      <a:pt x="12" y="75"/>
                      <a:pt x="13" y="75"/>
                    </a:cubicBezTo>
                    <a:cubicBezTo>
                      <a:pt x="13" y="75"/>
                      <a:pt x="13" y="74"/>
                      <a:pt x="14" y="74"/>
                    </a:cubicBezTo>
                    <a:cubicBezTo>
                      <a:pt x="14" y="74"/>
                      <a:pt x="14" y="74"/>
                      <a:pt x="13" y="74"/>
                    </a:cubicBezTo>
                    <a:cubicBezTo>
                      <a:pt x="13" y="73"/>
                      <a:pt x="14" y="74"/>
                      <a:pt x="14" y="74"/>
                    </a:cubicBezTo>
                    <a:cubicBezTo>
                      <a:pt x="15" y="74"/>
                      <a:pt x="15" y="73"/>
                      <a:pt x="15" y="73"/>
                    </a:cubicBezTo>
                    <a:cubicBezTo>
                      <a:pt x="15" y="72"/>
                      <a:pt x="12" y="72"/>
                      <a:pt x="12" y="73"/>
                    </a:cubicBezTo>
                    <a:cubicBezTo>
                      <a:pt x="12" y="72"/>
                      <a:pt x="11" y="71"/>
                      <a:pt x="12" y="71"/>
                    </a:cubicBezTo>
                    <a:cubicBezTo>
                      <a:pt x="12" y="71"/>
                      <a:pt x="12" y="70"/>
                      <a:pt x="13" y="70"/>
                    </a:cubicBezTo>
                    <a:cubicBezTo>
                      <a:pt x="13" y="69"/>
                      <a:pt x="11" y="69"/>
                      <a:pt x="11" y="69"/>
                    </a:cubicBezTo>
                    <a:cubicBezTo>
                      <a:pt x="10" y="69"/>
                      <a:pt x="10" y="69"/>
                      <a:pt x="10" y="69"/>
                    </a:cubicBezTo>
                    <a:cubicBezTo>
                      <a:pt x="10" y="68"/>
                      <a:pt x="10" y="67"/>
                      <a:pt x="9" y="67"/>
                    </a:cubicBezTo>
                    <a:cubicBezTo>
                      <a:pt x="9" y="67"/>
                      <a:pt x="8" y="67"/>
                      <a:pt x="8" y="67"/>
                    </a:cubicBezTo>
                    <a:cubicBezTo>
                      <a:pt x="9" y="66"/>
                      <a:pt x="7" y="67"/>
                      <a:pt x="7" y="66"/>
                    </a:cubicBezTo>
                    <a:cubicBezTo>
                      <a:pt x="7" y="66"/>
                      <a:pt x="7" y="66"/>
                      <a:pt x="7" y="65"/>
                    </a:cubicBezTo>
                    <a:cubicBezTo>
                      <a:pt x="6" y="65"/>
                      <a:pt x="6" y="64"/>
                      <a:pt x="7" y="64"/>
                    </a:cubicBezTo>
                    <a:cubicBezTo>
                      <a:pt x="7" y="63"/>
                      <a:pt x="7" y="63"/>
                      <a:pt x="7" y="63"/>
                    </a:cubicBezTo>
                    <a:cubicBezTo>
                      <a:pt x="7" y="63"/>
                      <a:pt x="7" y="63"/>
                      <a:pt x="7" y="62"/>
                    </a:cubicBezTo>
                    <a:cubicBezTo>
                      <a:pt x="8" y="62"/>
                      <a:pt x="7" y="62"/>
                      <a:pt x="8" y="62"/>
                    </a:cubicBezTo>
                    <a:cubicBezTo>
                      <a:pt x="8" y="62"/>
                      <a:pt x="8" y="62"/>
                      <a:pt x="8" y="62"/>
                    </a:cubicBezTo>
                    <a:cubicBezTo>
                      <a:pt x="8" y="61"/>
                      <a:pt x="6" y="60"/>
                      <a:pt x="6" y="59"/>
                    </a:cubicBezTo>
                    <a:cubicBezTo>
                      <a:pt x="6" y="59"/>
                      <a:pt x="6" y="58"/>
                      <a:pt x="6" y="57"/>
                    </a:cubicBezTo>
                    <a:cubicBezTo>
                      <a:pt x="5" y="56"/>
                      <a:pt x="7" y="57"/>
                      <a:pt x="7" y="56"/>
                    </a:cubicBezTo>
                    <a:cubicBezTo>
                      <a:pt x="7" y="56"/>
                      <a:pt x="6" y="54"/>
                      <a:pt x="7" y="54"/>
                    </a:cubicBezTo>
                    <a:cubicBezTo>
                      <a:pt x="7" y="54"/>
                      <a:pt x="7" y="54"/>
                      <a:pt x="8" y="53"/>
                    </a:cubicBezTo>
                    <a:cubicBezTo>
                      <a:pt x="8" y="53"/>
                      <a:pt x="9" y="53"/>
                      <a:pt x="9" y="52"/>
                    </a:cubicBezTo>
                    <a:cubicBezTo>
                      <a:pt x="9" y="51"/>
                      <a:pt x="8" y="51"/>
                      <a:pt x="9" y="51"/>
                    </a:cubicBezTo>
                    <a:cubicBezTo>
                      <a:pt x="9" y="50"/>
                      <a:pt x="10" y="50"/>
                      <a:pt x="10" y="50"/>
                    </a:cubicBezTo>
                    <a:cubicBezTo>
                      <a:pt x="10" y="49"/>
                      <a:pt x="9" y="49"/>
                      <a:pt x="9" y="48"/>
                    </a:cubicBezTo>
                    <a:cubicBezTo>
                      <a:pt x="8" y="48"/>
                      <a:pt x="8" y="47"/>
                      <a:pt x="8" y="47"/>
                    </a:cubicBezTo>
                    <a:cubicBezTo>
                      <a:pt x="8" y="46"/>
                      <a:pt x="8" y="45"/>
                      <a:pt x="7" y="45"/>
                    </a:cubicBezTo>
                    <a:cubicBezTo>
                      <a:pt x="7" y="44"/>
                      <a:pt x="8" y="44"/>
                      <a:pt x="8" y="44"/>
                    </a:cubicBezTo>
                    <a:cubicBezTo>
                      <a:pt x="8" y="43"/>
                      <a:pt x="8" y="42"/>
                      <a:pt x="8" y="41"/>
                    </a:cubicBezTo>
                    <a:cubicBezTo>
                      <a:pt x="8" y="41"/>
                      <a:pt x="8" y="40"/>
                      <a:pt x="8" y="39"/>
                    </a:cubicBezTo>
                    <a:cubicBezTo>
                      <a:pt x="8" y="38"/>
                      <a:pt x="7" y="36"/>
                      <a:pt x="8" y="36"/>
                    </a:cubicBezTo>
                    <a:cubicBezTo>
                      <a:pt x="8" y="35"/>
                      <a:pt x="8" y="35"/>
                      <a:pt x="9" y="34"/>
                    </a:cubicBezTo>
                    <a:cubicBezTo>
                      <a:pt x="9" y="34"/>
                      <a:pt x="9" y="34"/>
                      <a:pt x="9" y="34"/>
                    </a:cubicBezTo>
                    <a:cubicBezTo>
                      <a:pt x="10" y="33"/>
                      <a:pt x="9" y="33"/>
                      <a:pt x="9" y="33"/>
                    </a:cubicBezTo>
                    <a:cubicBezTo>
                      <a:pt x="9" y="32"/>
                      <a:pt x="10" y="32"/>
                      <a:pt x="10" y="31"/>
                    </a:cubicBezTo>
                    <a:cubicBezTo>
                      <a:pt x="7" y="25"/>
                      <a:pt x="4" y="20"/>
                      <a:pt x="0" y="15"/>
                    </a:cubicBezTo>
                    <a:cubicBezTo>
                      <a:pt x="2" y="15"/>
                      <a:pt x="4" y="15"/>
                      <a:pt x="6" y="15"/>
                    </a:cubicBezTo>
                    <a:cubicBezTo>
                      <a:pt x="6" y="15"/>
                      <a:pt x="8" y="15"/>
                      <a:pt x="8" y="15"/>
                    </a:cubicBezTo>
                    <a:cubicBezTo>
                      <a:pt x="8" y="16"/>
                      <a:pt x="8" y="16"/>
                      <a:pt x="8" y="17"/>
                    </a:cubicBezTo>
                    <a:cubicBezTo>
                      <a:pt x="9" y="17"/>
                      <a:pt x="9" y="16"/>
                      <a:pt x="10" y="16"/>
                    </a:cubicBezTo>
                    <a:cubicBezTo>
                      <a:pt x="11" y="16"/>
                      <a:pt x="11" y="16"/>
                      <a:pt x="12" y="15"/>
                    </a:cubicBezTo>
                    <a:cubicBezTo>
                      <a:pt x="12" y="15"/>
                      <a:pt x="13" y="15"/>
                      <a:pt x="13" y="15"/>
                    </a:cubicBezTo>
                    <a:cubicBezTo>
                      <a:pt x="14" y="14"/>
                      <a:pt x="14" y="12"/>
                      <a:pt x="15" y="11"/>
                    </a:cubicBezTo>
                    <a:cubicBezTo>
                      <a:pt x="16" y="11"/>
                      <a:pt x="16" y="11"/>
                      <a:pt x="17" y="11"/>
                    </a:cubicBezTo>
                    <a:cubicBezTo>
                      <a:pt x="18" y="12"/>
                      <a:pt x="18" y="12"/>
                      <a:pt x="18" y="11"/>
                    </a:cubicBezTo>
                    <a:cubicBezTo>
                      <a:pt x="18" y="11"/>
                      <a:pt x="19" y="10"/>
                      <a:pt x="19" y="10"/>
                    </a:cubicBezTo>
                    <a:cubicBezTo>
                      <a:pt x="19" y="9"/>
                      <a:pt x="20" y="9"/>
                      <a:pt x="20" y="9"/>
                    </a:cubicBezTo>
                    <a:cubicBezTo>
                      <a:pt x="21" y="9"/>
                      <a:pt x="21" y="8"/>
                      <a:pt x="21" y="8"/>
                    </a:cubicBezTo>
                    <a:cubicBezTo>
                      <a:pt x="22" y="8"/>
                      <a:pt x="22" y="7"/>
                      <a:pt x="22" y="8"/>
                    </a:cubicBezTo>
                    <a:cubicBezTo>
                      <a:pt x="23" y="8"/>
                      <a:pt x="24" y="7"/>
                      <a:pt x="24" y="7"/>
                    </a:cubicBezTo>
                    <a:cubicBezTo>
                      <a:pt x="25" y="6"/>
                      <a:pt x="26" y="5"/>
                      <a:pt x="26" y="4"/>
                    </a:cubicBezTo>
                    <a:cubicBezTo>
                      <a:pt x="27" y="4"/>
                      <a:pt x="28" y="3"/>
                      <a:pt x="28" y="3"/>
                    </a:cubicBezTo>
                    <a:cubicBezTo>
                      <a:pt x="29" y="3"/>
                      <a:pt x="30" y="3"/>
                      <a:pt x="31" y="2"/>
                    </a:cubicBezTo>
                    <a:cubicBezTo>
                      <a:pt x="32" y="2"/>
                      <a:pt x="32" y="2"/>
                      <a:pt x="33" y="2"/>
                    </a:cubicBezTo>
                    <a:cubicBezTo>
                      <a:pt x="33" y="2"/>
                      <a:pt x="33" y="2"/>
                      <a:pt x="33" y="2"/>
                    </a:cubicBezTo>
                    <a:cubicBezTo>
                      <a:pt x="33" y="2"/>
                      <a:pt x="33" y="2"/>
                      <a:pt x="33" y="2"/>
                    </a:cubicBezTo>
                    <a:cubicBezTo>
                      <a:pt x="33" y="2"/>
                      <a:pt x="34" y="2"/>
                      <a:pt x="34" y="2"/>
                    </a:cubicBezTo>
                    <a:cubicBezTo>
                      <a:pt x="34" y="2"/>
                      <a:pt x="34" y="1"/>
                      <a:pt x="35" y="2"/>
                    </a:cubicBezTo>
                    <a:cubicBezTo>
                      <a:pt x="35" y="2"/>
                      <a:pt x="36" y="2"/>
                      <a:pt x="36" y="2"/>
                    </a:cubicBezTo>
                    <a:cubicBezTo>
                      <a:pt x="36" y="2"/>
                      <a:pt x="36" y="1"/>
                      <a:pt x="36" y="1"/>
                    </a:cubicBezTo>
                    <a:cubicBezTo>
                      <a:pt x="36" y="2"/>
                      <a:pt x="37" y="1"/>
                      <a:pt x="37" y="1"/>
                    </a:cubicBezTo>
                    <a:cubicBezTo>
                      <a:pt x="37" y="2"/>
                      <a:pt x="37" y="2"/>
                      <a:pt x="37" y="2"/>
                    </a:cubicBezTo>
                    <a:cubicBezTo>
                      <a:pt x="37" y="2"/>
                      <a:pt x="38" y="2"/>
                      <a:pt x="38" y="2"/>
                    </a:cubicBezTo>
                    <a:cubicBezTo>
                      <a:pt x="39" y="2"/>
                      <a:pt x="39" y="1"/>
                      <a:pt x="39" y="1"/>
                    </a:cubicBezTo>
                    <a:cubicBezTo>
                      <a:pt x="40" y="0"/>
                      <a:pt x="40" y="1"/>
                      <a:pt x="40" y="2"/>
                    </a:cubicBezTo>
                    <a:cubicBezTo>
                      <a:pt x="41" y="3"/>
                      <a:pt x="40" y="3"/>
                      <a:pt x="41" y="4"/>
                    </a:cubicBezTo>
                    <a:cubicBezTo>
                      <a:pt x="41" y="5"/>
                      <a:pt x="41" y="6"/>
                      <a:pt x="41" y="7"/>
                    </a:cubicBezTo>
                    <a:cubicBezTo>
                      <a:pt x="40" y="9"/>
                      <a:pt x="39" y="10"/>
                      <a:pt x="40" y="11"/>
                    </a:cubicBezTo>
                    <a:cubicBezTo>
                      <a:pt x="41" y="12"/>
                      <a:pt x="40" y="13"/>
                      <a:pt x="41" y="13"/>
                    </a:cubicBezTo>
                    <a:cubicBezTo>
                      <a:pt x="41" y="13"/>
                      <a:pt x="42" y="14"/>
                      <a:pt x="41" y="15"/>
                    </a:cubicBezTo>
                    <a:cubicBezTo>
                      <a:pt x="41" y="15"/>
                      <a:pt x="41" y="15"/>
                      <a:pt x="41" y="16"/>
                    </a:cubicBezTo>
                    <a:cubicBezTo>
                      <a:pt x="41" y="16"/>
                      <a:pt x="41" y="16"/>
                      <a:pt x="41" y="17"/>
                    </a:cubicBezTo>
                    <a:cubicBezTo>
                      <a:pt x="40" y="17"/>
                      <a:pt x="41" y="17"/>
                      <a:pt x="41" y="17"/>
                    </a:cubicBezTo>
                    <a:cubicBezTo>
                      <a:pt x="41" y="18"/>
                      <a:pt x="41" y="18"/>
                      <a:pt x="41" y="18"/>
                    </a:cubicBezTo>
                    <a:cubicBezTo>
                      <a:pt x="41" y="18"/>
                      <a:pt x="41" y="18"/>
                      <a:pt x="41" y="19"/>
                    </a:cubicBezTo>
                    <a:cubicBezTo>
                      <a:pt x="41" y="19"/>
                      <a:pt x="41" y="19"/>
                      <a:pt x="41" y="19"/>
                    </a:cubicBezTo>
                    <a:cubicBezTo>
                      <a:pt x="41" y="20"/>
                      <a:pt x="42" y="21"/>
                      <a:pt x="42" y="21"/>
                    </a:cubicBezTo>
                    <a:cubicBezTo>
                      <a:pt x="43" y="21"/>
                      <a:pt x="43" y="21"/>
                      <a:pt x="43" y="22"/>
                    </a:cubicBezTo>
                    <a:cubicBezTo>
                      <a:pt x="43" y="22"/>
                      <a:pt x="43" y="22"/>
                      <a:pt x="43" y="22"/>
                    </a:cubicBezTo>
                    <a:cubicBezTo>
                      <a:pt x="43" y="22"/>
                      <a:pt x="43" y="24"/>
                      <a:pt x="43" y="24"/>
                    </a:cubicBezTo>
                    <a:cubicBezTo>
                      <a:pt x="43" y="24"/>
                      <a:pt x="44" y="23"/>
                      <a:pt x="44" y="23"/>
                    </a:cubicBezTo>
                    <a:cubicBezTo>
                      <a:pt x="44" y="23"/>
                      <a:pt x="44" y="23"/>
                      <a:pt x="44" y="23"/>
                    </a:cubicBezTo>
                    <a:cubicBezTo>
                      <a:pt x="44" y="24"/>
                      <a:pt x="44" y="24"/>
                      <a:pt x="45" y="25"/>
                    </a:cubicBezTo>
                    <a:cubicBezTo>
                      <a:pt x="45" y="25"/>
                      <a:pt x="45" y="25"/>
                      <a:pt x="45" y="25"/>
                    </a:cubicBezTo>
                    <a:cubicBezTo>
                      <a:pt x="45" y="26"/>
                      <a:pt x="45" y="26"/>
                      <a:pt x="45" y="26"/>
                    </a:cubicBezTo>
                    <a:cubicBezTo>
                      <a:pt x="46" y="26"/>
                      <a:pt x="47" y="26"/>
                      <a:pt x="47" y="27"/>
                    </a:cubicBezTo>
                    <a:cubicBezTo>
                      <a:pt x="47" y="27"/>
                      <a:pt x="48" y="28"/>
                      <a:pt x="48" y="28"/>
                    </a:cubicBezTo>
                    <a:cubicBezTo>
                      <a:pt x="48" y="28"/>
                      <a:pt x="48" y="27"/>
                      <a:pt x="48" y="27"/>
                    </a:cubicBezTo>
                    <a:cubicBezTo>
                      <a:pt x="48" y="27"/>
                      <a:pt x="48" y="28"/>
                      <a:pt x="48" y="28"/>
                    </a:cubicBezTo>
                    <a:cubicBezTo>
                      <a:pt x="49" y="28"/>
                      <a:pt x="49" y="28"/>
                      <a:pt x="49" y="28"/>
                    </a:cubicBezTo>
                    <a:cubicBezTo>
                      <a:pt x="51" y="29"/>
                      <a:pt x="50" y="29"/>
                      <a:pt x="50" y="30"/>
                    </a:cubicBezTo>
                    <a:cubicBezTo>
                      <a:pt x="50" y="31"/>
                      <a:pt x="52" y="31"/>
                      <a:pt x="52" y="31"/>
                    </a:cubicBezTo>
                    <a:cubicBezTo>
                      <a:pt x="53" y="32"/>
                      <a:pt x="52" y="31"/>
                      <a:pt x="53" y="31"/>
                    </a:cubicBezTo>
                    <a:cubicBezTo>
                      <a:pt x="53" y="31"/>
                      <a:pt x="53" y="32"/>
                      <a:pt x="54" y="32"/>
                    </a:cubicBezTo>
                    <a:cubicBezTo>
                      <a:pt x="54" y="32"/>
                      <a:pt x="56" y="32"/>
                      <a:pt x="56" y="32"/>
                    </a:cubicBezTo>
                    <a:cubicBezTo>
                      <a:pt x="56" y="31"/>
                      <a:pt x="57" y="31"/>
                      <a:pt x="57" y="31"/>
                    </a:cubicBezTo>
                    <a:cubicBezTo>
                      <a:pt x="58" y="31"/>
                      <a:pt x="59" y="32"/>
                      <a:pt x="60" y="32"/>
                    </a:cubicBezTo>
                    <a:cubicBezTo>
                      <a:pt x="61" y="32"/>
                      <a:pt x="61" y="34"/>
                      <a:pt x="62" y="34"/>
                    </a:cubicBezTo>
                    <a:cubicBezTo>
                      <a:pt x="63" y="34"/>
                      <a:pt x="63" y="33"/>
                      <a:pt x="64" y="33"/>
                    </a:cubicBezTo>
                    <a:cubicBezTo>
                      <a:pt x="64" y="33"/>
                      <a:pt x="64" y="34"/>
                      <a:pt x="65" y="34"/>
                    </a:cubicBezTo>
                    <a:cubicBezTo>
                      <a:pt x="65" y="35"/>
                      <a:pt x="66" y="36"/>
                      <a:pt x="67" y="37"/>
                    </a:cubicBezTo>
                    <a:cubicBezTo>
                      <a:pt x="67" y="37"/>
                      <a:pt x="67" y="37"/>
                      <a:pt x="68" y="37"/>
                    </a:cubicBezTo>
                    <a:cubicBezTo>
                      <a:pt x="68" y="37"/>
                      <a:pt x="68" y="37"/>
                      <a:pt x="69" y="37"/>
                    </a:cubicBezTo>
                    <a:cubicBezTo>
                      <a:pt x="69" y="37"/>
                      <a:pt x="69" y="38"/>
                      <a:pt x="69" y="38"/>
                    </a:cubicBezTo>
                    <a:cubicBezTo>
                      <a:pt x="70" y="38"/>
                      <a:pt x="70" y="38"/>
                      <a:pt x="70" y="38"/>
                    </a:cubicBezTo>
                    <a:cubicBezTo>
                      <a:pt x="71" y="38"/>
                      <a:pt x="71" y="38"/>
                      <a:pt x="71" y="39"/>
                    </a:cubicBezTo>
                    <a:cubicBezTo>
                      <a:pt x="72" y="39"/>
                      <a:pt x="72" y="39"/>
                      <a:pt x="73" y="39"/>
                    </a:cubicBezTo>
                    <a:cubicBezTo>
                      <a:pt x="73" y="38"/>
                      <a:pt x="74" y="39"/>
                      <a:pt x="74" y="39"/>
                    </a:cubicBezTo>
                    <a:cubicBezTo>
                      <a:pt x="74" y="40"/>
                      <a:pt x="74" y="40"/>
                      <a:pt x="75" y="41"/>
                    </a:cubicBezTo>
                    <a:cubicBezTo>
                      <a:pt x="75" y="41"/>
                      <a:pt x="76" y="42"/>
                      <a:pt x="76" y="42"/>
                    </a:cubicBezTo>
                    <a:cubicBezTo>
                      <a:pt x="77" y="42"/>
                      <a:pt x="76" y="43"/>
                      <a:pt x="77" y="43"/>
                    </a:cubicBezTo>
                    <a:cubicBezTo>
                      <a:pt x="78" y="43"/>
                      <a:pt x="79" y="42"/>
                      <a:pt x="79" y="43"/>
                    </a:cubicBezTo>
                    <a:cubicBezTo>
                      <a:pt x="80" y="44"/>
                      <a:pt x="81" y="43"/>
                      <a:pt x="81" y="43"/>
                    </a:cubicBezTo>
                    <a:cubicBezTo>
                      <a:pt x="82" y="43"/>
                      <a:pt x="82" y="43"/>
                      <a:pt x="82" y="43"/>
                    </a:cubicBezTo>
                    <a:cubicBezTo>
                      <a:pt x="83" y="43"/>
                      <a:pt x="83" y="43"/>
                      <a:pt x="83" y="43"/>
                    </a:cubicBezTo>
                    <a:cubicBezTo>
                      <a:pt x="84" y="43"/>
                      <a:pt x="84" y="42"/>
                      <a:pt x="84" y="42"/>
                    </a:cubicBezTo>
                    <a:cubicBezTo>
                      <a:pt x="85" y="43"/>
                      <a:pt x="84" y="43"/>
                      <a:pt x="85" y="43"/>
                    </a:cubicBezTo>
                    <a:cubicBezTo>
                      <a:pt x="86" y="44"/>
                      <a:pt x="87" y="45"/>
                      <a:pt x="89" y="45"/>
                    </a:cubicBezTo>
                    <a:cubicBezTo>
                      <a:pt x="89" y="46"/>
                      <a:pt x="90" y="46"/>
                      <a:pt x="90" y="47"/>
                    </a:cubicBezTo>
                    <a:cubicBezTo>
                      <a:pt x="91" y="47"/>
                      <a:pt x="91" y="47"/>
                      <a:pt x="91" y="48"/>
                    </a:cubicBezTo>
                    <a:cubicBezTo>
                      <a:pt x="91" y="48"/>
                      <a:pt x="91" y="49"/>
                      <a:pt x="90" y="49"/>
                    </a:cubicBezTo>
                    <a:cubicBezTo>
                      <a:pt x="90" y="50"/>
                      <a:pt x="91" y="51"/>
                      <a:pt x="91" y="51"/>
                    </a:cubicBezTo>
                    <a:cubicBezTo>
                      <a:pt x="91" y="52"/>
                      <a:pt x="92" y="53"/>
                      <a:pt x="92" y="53"/>
                    </a:cubicBezTo>
                    <a:cubicBezTo>
                      <a:pt x="92" y="54"/>
                      <a:pt x="92" y="54"/>
                      <a:pt x="92" y="55"/>
                    </a:cubicBezTo>
                    <a:cubicBezTo>
                      <a:pt x="93" y="55"/>
                      <a:pt x="93" y="56"/>
                      <a:pt x="93" y="57"/>
                    </a:cubicBezTo>
                    <a:cubicBezTo>
                      <a:pt x="93" y="58"/>
                      <a:pt x="93" y="59"/>
                      <a:pt x="93" y="60"/>
                    </a:cubicBezTo>
                    <a:cubicBezTo>
                      <a:pt x="93" y="61"/>
                      <a:pt x="91" y="60"/>
                      <a:pt x="90" y="60"/>
                    </a:cubicBezTo>
                    <a:cubicBezTo>
                      <a:pt x="91" y="61"/>
                      <a:pt x="92" y="62"/>
                      <a:pt x="93" y="63"/>
                    </a:cubicBezTo>
                    <a:cubicBezTo>
                      <a:pt x="94" y="64"/>
                      <a:pt x="94" y="65"/>
                      <a:pt x="94" y="67"/>
                    </a:cubicBezTo>
                    <a:cubicBezTo>
                      <a:pt x="95" y="68"/>
                      <a:pt x="95" y="70"/>
                      <a:pt x="95" y="71"/>
                    </a:cubicBezTo>
                    <a:cubicBezTo>
                      <a:pt x="95" y="73"/>
                      <a:pt x="96" y="73"/>
                      <a:pt x="97" y="73"/>
                    </a:cubicBezTo>
                    <a:cubicBezTo>
                      <a:pt x="99" y="73"/>
                      <a:pt x="100" y="73"/>
                      <a:pt x="102" y="73"/>
                    </a:cubicBezTo>
                    <a:cubicBezTo>
                      <a:pt x="104" y="73"/>
                      <a:pt x="105" y="73"/>
                      <a:pt x="107" y="73"/>
                    </a:cubicBezTo>
                    <a:cubicBezTo>
                      <a:pt x="109" y="74"/>
                      <a:pt x="110" y="74"/>
                      <a:pt x="112" y="74"/>
                    </a:cubicBezTo>
                    <a:cubicBezTo>
                      <a:pt x="112" y="74"/>
                      <a:pt x="112" y="73"/>
                      <a:pt x="113" y="73"/>
                    </a:cubicBezTo>
                    <a:cubicBezTo>
                      <a:pt x="113" y="73"/>
                      <a:pt x="113" y="74"/>
                      <a:pt x="113" y="75"/>
                    </a:cubicBezTo>
                    <a:cubicBezTo>
                      <a:pt x="113" y="75"/>
                      <a:pt x="113" y="75"/>
                      <a:pt x="113" y="76"/>
                    </a:cubicBezTo>
                    <a:cubicBezTo>
                      <a:pt x="113" y="76"/>
                      <a:pt x="112" y="77"/>
                      <a:pt x="112" y="77"/>
                    </a:cubicBezTo>
                    <a:cubicBezTo>
                      <a:pt x="112" y="79"/>
                      <a:pt x="112" y="80"/>
                      <a:pt x="113" y="81"/>
                    </a:cubicBezTo>
                    <a:cubicBezTo>
                      <a:pt x="113" y="82"/>
                      <a:pt x="113" y="84"/>
                      <a:pt x="114" y="84"/>
                    </a:cubicBezTo>
                    <a:cubicBezTo>
                      <a:pt x="115" y="85"/>
                      <a:pt x="116" y="85"/>
                      <a:pt x="116" y="86"/>
                    </a:cubicBezTo>
                    <a:cubicBezTo>
                      <a:pt x="117" y="86"/>
                      <a:pt x="117" y="86"/>
                      <a:pt x="117" y="87"/>
                    </a:cubicBezTo>
                    <a:cubicBezTo>
                      <a:pt x="118" y="87"/>
                      <a:pt x="118" y="86"/>
                      <a:pt x="119" y="86"/>
                    </a:cubicBezTo>
                    <a:cubicBezTo>
                      <a:pt x="120" y="87"/>
                      <a:pt x="120" y="88"/>
                      <a:pt x="120" y="89"/>
                    </a:cubicBezTo>
                    <a:cubicBezTo>
                      <a:pt x="121" y="90"/>
                      <a:pt x="121" y="91"/>
                      <a:pt x="121" y="92"/>
                    </a:cubicBezTo>
                    <a:cubicBezTo>
                      <a:pt x="122" y="92"/>
                      <a:pt x="122" y="93"/>
                      <a:pt x="122" y="93"/>
                    </a:cubicBezTo>
                    <a:cubicBezTo>
                      <a:pt x="122" y="94"/>
                      <a:pt x="122" y="94"/>
                      <a:pt x="123" y="94"/>
                    </a:cubicBezTo>
                    <a:cubicBezTo>
                      <a:pt x="123" y="94"/>
                      <a:pt x="123" y="94"/>
                      <a:pt x="123" y="94"/>
                    </a:cubicBezTo>
                    <a:close/>
                    <a:moveTo>
                      <a:pt x="9" y="72"/>
                    </a:moveTo>
                    <a:cubicBezTo>
                      <a:pt x="9" y="72"/>
                      <a:pt x="10" y="72"/>
                      <a:pt x="10" y="73"/>
                    </a:cubicBezTo>
                    <a:cubicBezTo>
                      <a:pt x="10" y="73"/>
                      <a:pt x="11" y="72"/>
                      <a:pt x="11" y="73"/>
                    </a:cubicBezTo>
                    <a:cubicBezTo>
                      <a:pt x="12" y="73"/>
                      <a:pt x="12" y="73"/>
                      <a:pt x="12" y="73"/>
                    </a:cubicBezTo>
                    <a:cubicBezTo>
                      <a:pt x="11" y="72"/>
                      <a:pt x="11" y="72"/>
                      <a:pt x="10" y="71"/>
                    </a:cubicBezTo>
                    <a:cubicBezTo>
                      <a:pt x="10" y="71"/>
                      <a:pt x="9" y="71"/>
                      <a:pt x="9" y="71"/>
                    </a:cubicBezTo>
                    <a:cubicBezTo>
                      <a:pt x="9" y="71"/>
                      <a:pt x="10" y="72"/>
                      <a:pt x="10" y="72"/>
                    </a:cubicBezTo>
                    <a:cubicBezTo>
                      <a:pt x="9" y="72"/>
                      <a:pt x="9" y="72"/>
                      <a:pt x="9" y="7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4" name="Bhutan">
                <a:extLst>
                  <a:ext uri="{FF2B5EF4-FFF2-40B4-BE49-F238E27FC236}">
                    <a16:creationId xmlns:a16="http://schemas.microsoft.com/office/drawing/2014/main" id="{B2933E1A-F196-E08A-ADE2-975F1051957A}"/>
                  </a:ext>
                </a:extLst>
              </p:cNvPr>
              <p:cNvSpPr>
                <a:spLocks/>
              </p:cNvSpPr>
              <p:nvPr/>
            </p:nvSpPr>
            <p:spPr bwMode="auto">
              <a:xfrm>
                <a:off x="8657759" y="2941666"/>
                <a:ext cx="112719" cy="63711"/>
              </a:xfrm>
              <a:custGeom>
                <a:avLst/>
                <a:gdLst/>
                <a:ahLst/>
                <a:cxnLst>
                  <a:cxn ang="0">
                    <a:pos x="31" y="13"/>
                  </a:cxn>
                  <a:cxn ang="0">
                    <a:pos x="32" y="11"/>
                  </a:cxn>
                  <a:cxn ang="0">
                    <a:pos x="31" y="10"/>
                  </a:cxn>
                  <a:cxn ang="0">
                    <a:pos x="30" y="9"/>
                  </a:cxn>
                  <a:cxn ang="0">
                    <a:pos x="29" y="10"/>
                  </a:cxn>
                  <a:cxn ang="0">
                    <a:pos x="28" y="9"/>
                  </a:cxn>
                  <a:cxn ang="0">
                    <a:pos x="27" y="8"/>
                  </a:cxn>
                  <a:cxn ang="0">
                    <a:pos x="26" y="7"/>
                  </a:cxn>
                  <a:cxn ang="0">
                    <a:pos x="26" y="6"/>
                  </a:cxn>
                  <a:cxn ang="0">
                    <a:pos x="26" y="4"/>
                  </a:cxn>
                  <a:cxn ang="0">
                    <a:pos x="25" y="4"/>
                  </a:cxn>
                  <a:cxn ang="0">
                    <a:pos x="23" y="3"/>
                  </a:cxn>
                  <a:cxn ang="0">
                    <a:pos x="22" y="3"/>
                  </a:cxn>
                  <a:cxn ang="0">
                    <a:pos x="21" y="3"/>
                  </a:cxn>
                  <a:cxn ang="0">
                    <a:pos x="20" y="4"/>
                  </a:cxn>
                  <a:cxn ang="0">
                    <a:pos x="19" y="3"/>
                  </a:cxn>
                  <a:cxn ang="0">
                    <a:pos x="17" y="3"/>
                  </a:cxn>
                  <a:cxn ang="0">
                    <a:pos x="15" y="3"/>
                  </a:cxn>
                  <a:cxn ang="0">
                    <a:pos x="14" y="1"/>
                  </a:cxn>
                  <a:cxn ang="0">
                    <a:pos x="12" y="0"/>
                  </a:cxn>
                  <a:cxn ang="0">
                    <a:pos x="9" y="0"/>
                  </a:cxn>
                  <a:cxn ang="0">
                    <a:pos x="9" y="0"/>
                  </a:cxn>
                  <a:cxn ang="0">
                    <a:pos x="9" y="1"/>
                  </a:cxn>
                  <a:cxn ang="0">
                    <a:pos x="8" y="1"/>
                  </a:cxn>
                  <a:cxn ang="0">
                    <a:pos x="6" y="3"/>
                  </a:cxn>
                  <a:cxn ang="0">
                    <a:pos x="5" y="4"/>
                  </a:cxn>
                  <a:cxn ang="0">
                    <a:pos x="4" y="6"/>
                  </a:cxn>
                  <a:cxn ang="0">
                    <a:pos x="3" y="8"/>
                  </a:cxn>
                  <a:cxn ang="0">
                    <a:pos x="2" y="9"/>
                  </a:cxn>
                  <a:cxn ang="0">
                    <a:pos x="2" y="11"/>
                  </a:cxn>
                  <a:cxn ang="0">
                    <a:pos x="1" y="12"/>
                  </a:cxn>
                  <a:cxn ang="0">
                    <a:pos x="1" y="13"/>
                  </a:cxn>
                  <a:cxn ang="0">
                    <a:pos x="2" y="15"/>
                  </a:cxn>
                  <a:cxn ang="0">
                    <a:pos x="3" y="15"/>
                  </a:cxn>
                  <a:cxn ang="0">
                    <a:pos x="4" y="15"/>
                  </a:cxn>
                  <a:cxn ang="0">
                    <a:pos x="5" y="17"/>
                  </a:cxn>
                  <a:cxn ang="0">
                    <a:pos x="7" y="16"/>
                  </a:cxn>
                  <a:cxn ang="0">
                    <a:pos x="8" y="17"/>
                  </a:cxn>
                  <a:cxn ang="0">
                    <a:pos x="9" y="17"/>
                  </a:cxn>
                  <a:cxn ang="0">
                    <a:pos x="9" y="18"/>
                  </a:cxn>
                  <a:cxn ang="0">
                    <a:pos x="11" y="18"/>
                  </a:cxn>
                  <a:cxn ang="0">
                    <a:pos x="11" y="18"/>
                  </a:cxn>
                  <a:cxn ang="0">
                    <a:pos x="12" y="17"/>
                  </a:cxn>
                  <a:cxn ang="0">
                    <a:pos x="14" y="17"/>
                  </a:cxn>
                  <a:cxn ang="0">
                    <a:pos x="15" y="17"/>
                  </a:cxn>
                  <a:cxn ang="0">
                    <a:pos x="16" y="16"/>
                  </a:cxn>
                  <a:cxn ang="0">
                    <a:pos x="17" y="16"/>
                  </a:cxn>
                  <a:cxn ang="0">
                    <a:pos x="19" y="17"/>
                  </a:cxn>
                  <a:cxn ang="0">
                    <a:pos x="21" y="17"/>
                  </a:cxn>
                  <a:cxn ang="0">
                    <a:pos x="24" y="17"/>
                  </a:cxn>
                  <a:cxn ang="0">
                    <a:pos x="26" y="17"/>
                  </a:cxn>
                  <a:cxn ang="0">
                    <a:pos x="26" y="16"/>
                  </a:cxn>
                  <a:cxn ang="0">
                    <a:pos x="27" y="16"/>
                  </a:cxn>
                  <a:cxn ang="0">
                    <a:pos x="28" y="17"/>
                  </a:cxn>
                  <a:cxn ang="0">
                    <a:pos x="30" y="16"/>
                  </a:cxn>
                  <a:cxn ang="0">
                    <a:pos x="31" y="17"/>
                  </a:cxn>
                  <a:cxn ang="0">
                    <a:pos x="31" y="16"/>
                  </a:cxn>
                  <a:cxn ang="0">
                    <a:pos x="32" y="16"/>
                  </a:cxn>
                  <a:cxn ang="0">
                    <a:pos x="32" y="15"/>
                  </a:cxn>
                  <a:cxn ang="0">
                    <a:pos x="31" y="13"/>
                  </a:cxn>
                </a:cxnLst>
                <a:rect l="0" t="0" r="r" b="b"/>
                <a:pathLst>
                  <a:path w="32" h="18">
                    <a:moveTo>
                      <a:pt x="31" y="13"/>
                    </a:moveTo>
                    <a:cubicBezTo>
                      <a:pt x="31" y="12"/>
                      <a:pt x="32" y="12"/>
                      <a:pt x="32" y="11"/>
                    </a:cubicBezTo>
                    <a:cubicBezTo>
                      <a:pt x="32" y="11"/>
                      <a:pt x="31" y="10"/>
                      <a:pt x="31" y="10"/>
                    </a:cubicBezTo>
                    <a:cubicBezTo>
                      <a:pt x="31" y="10"/>
                      <a:pt x="30" y="9"/>
                      <a:pt x="30" y="9"/>
                    </a:cubicBezTo>
                    <a:cubicBezTo>
                      <a:pt x="30" y="10"/>
                      <a:pt x="29" y="10"/>
                      <a:pt x="29" y="10"/>
                    </a:cubicBezTo>
                    <a:cubicBezTo>
                      <a:pt x="28" y="10"/>
                      <a:pt x="28" y="9"/>
                      <a:pt x="28" y="9"/>
                    </a:cubicBezTo>
                    <a:cubicBezTo>
                      <a:pt x="27" y="9"/>
                      <a:pt x="27" y="9"/>
                      <a:pt x="27" y="8"/>
                    </a:cubicBezTo>
                    <a:cubicBezTo>
                      <a:pt x="26" y="8"/>
                      <a:pt x="26" y="7"/>
                      <a:pt x="26" y="7"/>
                    </a:cubicBezTo>
                    <a:cubicBezTo>
                      <a:pt x="27" y="6"/>
                      <a:pt x="27" y="6"/>
                      <a:pt x="26" y="6"/>
                    </a:cubicBezTo>
                    <a:cubicBezTo>
                      <a:pt x="26" y="5"/>
                      <a:pt x="27" y="5"/>
                      <a:pt x="26" y="4"/>
                    </a:cubicBezTo>
                    <a:cubicBezTo>
                      <a:pt x="26" y="4"/>
                      <a:pt x="25" y="4"/>
                      <a:pt x="25" y="4"/>
                    </a:cubicBezTo>
                    <a:cubicBezTo>
                      <a:pt x="24" y="4"/>
                      <a:pt x="23" y="4"/>
                      <a:pt x="23" y="3"/>
                    </a:cubicBezTo>
                    <a:cubicBezTo>
                      <a:pt x="22" y="3"/>
                      <a:pt x="22" y="3"/>
                      <a:pt x="22" y="3"/>
                    </a:cubicBezTo>
                    <a:cubicBezTo>
                      <a:pt x="22" y="3"/>
                      <a:pt x="21" y="3"/>
                      <a:pt x="21" y="3"/>
                    </a:cubicBezTo>
                    <a:cubicBezTo>
                      <a:pt x="21" y="4"/>
                      <a:pt x="21" y="4"/>
                      <a:pt x="20" y="4"/>
                    </a:cubicBezTo>
                    <a:cubicBezTo>
                      <a:pt x="20" y="4"/>
                      <a:pt x="19" y="3"/>
                      <a:pt x="19" y="3"/>
                    </a:cubicBezTo>
                    <a:cubicBezTo>
                      <a:pt x="18" y="3"/>
                      <a:pt x="18" y="3"/>
                      <a:pt x="17" y="3"/>
                    </a:cubicBezTo>
                    <a:cubicBezTo>
                      <a:pt x="17" y="2"/>
                      <a:pt x="15" y="3"/>
                      <a:pt x="15" y="3"/>
                    </a:cubicBezTo>
                    <a:cubicBezTo>
                      <a:pt x="13" y="3"/>
                      <a:pt x="14" y="2"/>
                      <a:pt x="14" y="1"/>
                    </a:cubicBezTo>
                    <a:cubicBezTo>
                      <a:pt x="14" y="1"/>
                      <a:pt x="13" y="0"/>
                      <a:pt x="12" y="0"/>
                    </a:cubicBezTo>
                    <a:cubicBezTo>
                      <a:pt x="11" y="0"/>
                      <a:pt x="10" y="0"/>
                      <a:pt x="9" y="0"/>
                    </a:cubicBezTo>
                    <a:cubicBezTo>
                      <a:pt x="9" y="0"/>
                      <a:pt x="9" y="0"/>
                      <a:pt x="9" y="0"/>
                    </a:cubicBezTo>
                    <a:cubicBezTo>
                      <a:pt x="9" y="0"/>
                      <a:pt x="9" y="0"/>
                      <a:pt x="9" y="1"/>
                    </a:cubicBezTo>
                    <a:cubicBezTo>
                      <a:pt x="8" y="1"/>
                      <a:pt x="8" y="1"/>
                      <a:pt x="8" y="1"/>
                    </a:cubicBezTo>
                    <a:cubicBezTo>
                      <a:pt x="7" y="2"/>
                      <a:pt x="6" y="2"/>
                      <a:pt x="6" y="3"/>
                    </a:cubicBezTo>
                    <a:cubicBezTo>
                      <a:pt x="5" y="3"/>
                      <a:pt x="5" y="4"/>
                      <a:pt x="5" y="4"/>
                    </a:cubicBezTo>
                    <a:cubicBezTo>
                      <a:pt x="5" y="5"/>
                      <a:pt x="4" y="5"/>
                      <a:pt x="4" y="6"/>
                    </a:cubicBezTo>
                    <a:cubicBezTo>
                      <a:pt x="3" y="6"/>
                      <a:pt x="3" y="7"/>
                      <a:pt x="3" y="8"/>
                    </a:cubicBezTo>
                    <a:cubicBezTo>
                      <a:pt x="3" y="9"/>
                      <a:pt x="2" y="9"/>
                      <a:pt x="2" y="9"/>
                    </a:cubicBezTo>
                    <a:cubicBezTo>
                      <a:pt x="2" y="10"/>
                      <a:pt x="2" y="10"/>
                      <a:pt x="2" y="11"/>
                    </a:cubicBezTo>
                    <a:cubicBezTo>
                      <a:pt x="2" y="12"/>
                      <a:pt x="1" y="12"/>
                      <a:pt x="1" y="12"/>
                    </a:cubicBezTo>
                    <a:cubicBezTo>
                      <a:pt x="0" y="13"/>
                      <a:pt x="1" y="13"/>
                      <a:pt x="1" y="13"/>
                    </a:cubicBezTo>
                    <a:cubicBezTo>
                      <a:pt x="2" y="14"/>
                      <a:pt x="2" y="14"/>
                      <a:pt x="2" y="15"/>
                    </a:cubicBezTo>
                    <a:cubicBezTo>
                      <a:pt x="2" y="14"/>
                      <a:pt x="3" y="15"/>
                      <a:pt x="3" y="15"/>
                    </a:cubicBezTo>
                    <a:cubicBezTo>
                      <a:pt x="3" y="15"/>
                      <a:pt x="3" y="15"/>
                      <a:pt x="4" y="15"/>
                    </a:cubicBezTo>
                    <a:cubicBezTo>
                      <a:pt x="4" y="16"/>
                      <a:pt x="4" y="17"/>
                      <a:pt x="5" y="17"/>
                    </a:cubicBezTo>
                    <a:cubicBezTo>
                      <a:pt x="6" y="16"/>
                      <a:pt x="6" y="16"/>
                      <a:pt x="7" y="16"/>
                    </a:cubicBezTo>
                    <a:cubicBezTo>
                      <a:pt x="7" y="16"/>
                      <a:pt x="8" y="16"/>
                      <a:pt x="8" y="17"/>
                    </a:cubicBezTo>
                    <a:cubicBezTo>
                      <a:pt x="8" y="17"/>
                      <a:pt x="9" y="17"/>
                      <a:pt x="9" y="17"/>
                    </a:cubicBezTo>
                    <a:cubicBezTo>
                      <a:pt x="10" y="17"/>
                      <a:pt x="9" y="18"/>
                      <a:pt x="9" y="18"/>
                    </a:cubicBezTo>
                    <a:cubicBezTo>
                      <a:pt x="10" y="18"/>
                      <a:pt x="10" y="17"/>
                      <a:pt x="11" y="18"/>
                    </a:cubicBezTo>
                    <a:cubicBezTo>
                      <a:pt x="11" y="18"/>
                      <a:pt x="11" y="18"/>
                      <a:pt x="11" y="18"/>
                    </a:cubicBezTo>
                    <a:cubicBezTo>
                      <a:pt x="12" y="18"/>
                      <a:pt x="12" y="17"/>
                      <a:pt x="12" y="17"/>
                    </a:cubicBezTo>
                    <a:cubicBezTo>
                      <a:pt x="13" y="18"/>
                      <a:pt x="13" y="17"/>
                      <a:pt x="14" y="17"/>
                    </a:cubicBezTo>
                    <a:cubicBezTo>
                      <a:pt x="15" y="17"/>
                      <a:pt x="14" y="17"/>
                      <a:pt x="15" y="17"/>
                    </a:cubicBezTo>
                    <a:cubicBezTo>
                      <a:pt x="15" y="16"/>
                      <a:pt x="15" y="16"/>
                      <a:pt x="16" y="16"/>
                    </a:cubicBezTo>
                    <a:cubicBezTo>
                      <a:pt x="16" y="16"/>
                      <a:pt x="16" y="16"/>
                      <a:pt x="17" y="16"/>
                    </a:cubicBezTo>
                    <a:cubicBezTo>
                      <a:pt x="18" y="17"/>
                      <a:pt x="18" y="17"/>
                      <a:pt x="19" y="17"/>
                    </a:cubicBezTo>
                    <a:cubicBezTo>
                      <a:pt x="20" y="17"/>
                      <a:pt x="20" y="17"/>
                      <a:pt x="21" y="17"/>
                    </a:cubicBezTo>
                    <a:cubicBezTo>
                      <a:pt x="22" y="17"/>
                      <a:pt x="23" y="16"/>
                      <a:pt x="24" y="17"/>
                    </a:cubicBezTo>
                    <a:cubicBezTo>
                      <a:pt x="25" y="17"/>
                      <a:pt x="25" y="17"/>
                      <a:pt x="26" y="17"/>
                    </a:cubicBezTo>
                    <a:cubicBezTo>
                      <a:pt x="26" y="16"/>
                      <a:pt x="26" y="16"/>
                      <a:pt x="26" y="16"/>
                    </a:cubicBezTo>
                    <a:cubicBezTo>
                      <a:pt x="27" y="16"/>
                      <a:pt x="27" y="16"/>
                      <a:pt x="27" y="16"/>
                    </a:cubicBezTo>
                    <a:cubicBezTo>
                      <a:pt x="27" y="17"/>
                      <a:pt x="28" y="17"/>
                      <a:pt x="28" y="17"/>
                    </a:cubicBezTo>
                    <a:cubicBezTo>
                      <a:pt x="29" y="17"/>
                      <a:pt x="29" y="17"/>
                      <a:pt x="30" y="16"/>
                    </a:cubicBezTo>
                    <a:cubicBezTo>
                      <a:pt x="30" y="16"/>
                      <a:pt x="30" y="16"/>
                      <a:pt x="31" y="17"/>
                    </a:cubicBezTo>
                    <a:cubicBezTo>
                      <a:pt x="31" y="17"/>
                      <a:pt x="31" y="16"/>
                      <a:pt x="31" y="16"/>
                    </a:cubicBezTo>
                    <a:cubicBezTo>
                      <a:pt x="31" y="16"/>
                      <a:pt x="32" y="16"/>
                      <a:pt x="32" y="16"/>
                    </a:cubicBezTo>
                    <a:cubicBezTo>
                      <a:pt x="32" y="16"/>
                      <a:pt x="32" y="15"/>
                      <a:pt x="32" y="15"/>
                    </a:cubicBezTo>
                    <a:cubicBezTo>
                      <a:pt x="32" y="14"/>
                      <a:pt x="31" y="14"/>
                      <a:pt x="31" y="1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5" name="Bermuda (UK)">
                <a:extLst>
                  <a:ext uri="{FF2B5EF4-FFF2-40B4-BE49-F238E27FC236}">
                    <a16:creationId xmlns:a16="http://schemas.microsoft.com/office/drawing/2014/main" id="{287F9E97-A2C5-7E07-8756-ABE2862CE20E}"/>
                  </a:ext>
                </a:extLst>
              </p:cNvPr>
              <p:cNvSpPr/>
              <p:nvPr/>
            </p:nvSpPr>
            <p:spPr>
              <a:xfrm>
                <a:off x="3535173" y="2787546"/>
                <a:ext cx="7357" cy="5134"/>
              </a:xfrm>
              <a:custGeom>
                <a:avLst/>
                <a:gdLst>
                  <a:gd name="connsiteX0" fmla="*/ 1735 w 7357"/>
                  <a:gd name="connsiteY0" fmla="*/ 2193 h 5134"/>
                  <a:gd name="connsiteX1" fmla="*/ 1659 w 7357"/>
                  <a:gd name="connsiteY1" fmla="*/ 2561 h 5134"/>
                  <a:gd name="connsiteX2" fmla="*/ 1076 w 7357"/>
                  <a:gd name="connsiteY2" fmla="*/ 3271 h 5134"/>
                  <a:gd name="connsiteX3" fmla="*/ 557 w 7357"/>
                  <a:gd name="connsiteY3" fmla="*/ 3864 h 5134"/>
                  <a:gd name="connsiteX4" fmla="*/ 1313 w 7357"/>
                  <a:gd name="connsiteY4" fmla="*/ 4176 h 5134"/>
                  <a:gd name="connsiteX5" fmla="*/ 912 w 7357"/>
                  <a:gd name="connsiteY5" fmla="*/ 4501 h 5134"/>
                  <a:gd name="connsiteX6" fmla="*/ 1386 w 7357"/>
                  <a:gd name="connsiteY6" fmla="*/ 4760 h 5134"/>
                  <a:gd name="connsiteX7" fmla="*/ 1969 w 7357"/>
                  <a:gd name="connsiteY7" fmla="*/ 4307 h 5134"/>
                  <a:gd name="connsiteX8" fmla="*/ 2659 w 7357"/>
                  <a:gd name="connsiteY8" fmla="*/ 4016 h 5134"/>
                  <a:gd name="connsiteX9" fmla="*/ 3102 w 7357"/>
                  <a:gd name="connsiteY9" fmla="*/ 3572 h 5134"/>
                  <a:gd name="connsiteX10" fmla="*/ 2464 w 7357"/>
                  <a:gd name="connsiteY10" fmla="*/ 3432 h 5134"/>
                  <a:gd name="connsiteX11" fmla="*/ 2109 w 7357"/>
                  <a:gd name="connsiteY11" fmla="*/ 3044 h 5134"/>
                  <a:gd name="connsiteX12" fmla="*/ 2510 w 7357"/>
                  <a:gd name="connsiteY12" fmla="*/ 2968 h 5134"/>
                  <a:gd name="connsiteX13" fmla="*/ 3588 w 7357"/>
                  <a:gd name="connsiteY13" fmla="*/ 3031 h 5134"/>
                  <a:gd name="connsiteX14" fmla="*/ 4442 w 7357"/>
                  <a:gd name="connsiteY14" fmla="*/ 2342 h 5134"/>
                  <a:gd name="connsiteX15" fmla="*/ 4527 w 7357"/>
                  <a:gd name="connsiteY15" fmla="*/ 1771 h 5134"/>
                  <a:gd name="connsiteX16" fmla="*/ 4806 w 7357"/>
                  <a:gd name="connsiteY16" fmla="*/ 1598 h 5134"/>
                  <a:gd name="connsiteX17" fmla="*/ 5207 w 7357"/>
                  <a:gd name="connsiteY17" fmla="*/ 1273 h 5134"/>
                  <a:gd name="connsiteX18" fmla="*/ 5908 w 7357"/>
                  <a:gd name="connsiteY18" fmla="*/ 1911 h 5134"/>
                  <a:gd name="connsiteX19" fmla="*/ 6373 w 7357"/>
                  <a:gd name="connsiteY19" fmla="*/ 2041 h 5134"/>
                  <a:gd name="connsiteX20" fmla="*/ 5899 w 7357"/>
                  <a:gd name="connsiteY20" fmla="*/ 2257 h 5134"/>
                  <a:gd name="connsiteX21" fmla="*/ 4754 w 7357"/>
                  <a:gd name="connsiteY21" fmla="*/ 2959 h 5134"/>
                  <a:gd name="connsiteX22" fmla="*/ 3600 w 7357"/>
                  <a:gd name="connsiteY22" fmla="*/ 4061 h 5134"/>
                  <a:gd name="connsiteX23" fmla="*/ 1614 w 7357"/>
                  <a:gd name="connsiteY23" fmla="*/ 5097 h 5134"/>
                  <a:gd name="connsiteX24" fmla="*/ 836 w 7357"/>
                  <a:gd name="connsiteY24" fmla="*/ 5076 h 5134"/>
                  <a:gd name="connsiteX25" fmla="*/ 38 w 7357"/>
                  <a:gd name="connsiteY25" fmla="*/ 3855 h 5134"/>
                  <a:gd name="connsiteX26" fmla="*/ 439 w 7357"/>
                  <a:gd name="connsiteY26" fmla="*/ 3478 h 5134"/>
                  <a:gd name="connsiteX27" fmla="*/ 244 w 7357"/>
                  <a:gd name="connsiteY27" fmla="*/ 3089 h 5134"/>
                  <a:gd name="connsiteX28" fmla="*/ 612 w 7357"/>
                  <a:gd name="connsiteY28" fmla="*/ 2907 h 5134"/>
                  <a:gd name="connsiteX29" fmla="*/ 891 w 7357"/>
                  <a:gd name="connsiteY29" fmla="*/ 3080 h 5134"/>
                  <a:gd name="connsiteX30" fmla="*/ 1571 w 7357"/>
                  <a:gd name="connsiteY30" fmla="*/ 2239 h 5134"/>
                  <a:gd name="connsiteX31" fmla="*/ 1735 w 7357"/>
                  <a:gd name="connsiteY31" fmla="*/ 2193 h 5134"/>
                  <a:gd name="connsiteX32" fmla="*/ 6452 w 7357"/>
                  <a:gd name="connsiteY32" fmla="*/ 0 h 5134"/>
                  <a:gd name="connsiteX33" fmla="*/ 5362 w 7357"/>
                  <a:gd name="connsiteY33" fmla="*/ 832 h 5134"/>
                  <a:gd name="connsiteX34" fmla="*/ 5231 w 7357"/>
                  <a:gd name="connsiteY34" fmla="*/ 993 h 5134"/>
                  <a:gd name="connsiteX35" fmla="*/ 5823 w 7357"/>
                  <a:gd name="connsiteY35" fmla="*/ 1176 h 5134"/>
                  <a:gd name="connsiteX36" fmla="*/ 6677 w 7357"/>
                  <a:gd name="connsiteY36" fmla="*/ 1142 h 5134"/>
                  <a:gd name="connsiteX37" fmla="*/ 7066 w 7357"/>
                  <a:gd name="connsiteY37" fmla="*/ 1531 h 5134"/>
                  <a:gd name="connsiteX38" fmla="*/ 7345 w 7357"/>
                  <a:gd name="connsiteY38" fmla="*/ 969 h 5134"/>
                  <a:gd name="connsiteX39" fmla="*/ 6452 w 7357"/>
                  <a:gd name="connsiteY39" fmla="*/ 0 h 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57" h="5134">
                    <a:moveTo>
                      <a:pt x="1735" y="2193"/>
                    </a:moveTo>
                    <a:cubicBezTo>
                      <a:pt x="1805" y="2248"/>
                      <a:pt x="1678" y="2518"/>
                      <a:pt x="1659" y="2561"/>
                    </a:cubicBezTo>
                    <a:cubicBezTo>
                      <a:pt x="1538" y="2825"/>
                      <a:pt x="1371" y="2989"/>
                      <a:pt x="1076" y="3271"/>
                    </a:cubicBezTo>
                    <a:cubicBezTo>
                      <a:pt x="612" y="3718"/>
                      <a:pt x="536" y="3785"/>
                      <a:pt x="557" y="3864"/>
                    </a:cubicBezTo>
                    <a:cubicBezTo>
                      <a:pt x="615" y="4079"/>
                      <a:pt x="1313" y="4034"/>
                      <a:pt x="1313" y="4176"/>
                    </a:cubicBezTo>
                    <a:cubicBezTo>
                      <a:pt x="1313" y="4304"/>
                      <a:pt x="918" y="4347"/>
                      <a:pt x="912" y="4501"/>
                    </a:cubicBezTo>
                    <a:cubicBezTo>
                      <a:pt x="909" y="4626"/>
                      <a:pt x="1158" y="4787"/>
                      <a:pt x="1386" y="4760"/>
                    </a:cubicBezTo>
                    <a:cubicBezTo>
                      <a:pt x="1623" y="4729"/>
                      <a:pt x="1629" y="4520"/>
                      <a:pt x="1969" y="4307"/>
                    </a:cubicBezTo>
                    <a:cubicBezTo>
                      <a:pt x="2243" y="4134"/>
                      <a:pt x="2331" y="4213"/>
                      <a:pt x="2659" y="4016"/>
                    </a:cubicBezTo>
                    <a:cubicBezTo>
                      <a:pt x="2856" y="3897"/>
                      <a:pt x="3142" y="3678"/>
                      <a:pt x="3102" y="3572"/>
                    </a:cubicBezTo>
                    <a:cubicBezTo>
                      <a:pt x="3063" y="3475"/>
                      <a:pt x="2789" y="3590"/>
                      <a:pt x="2464" y="3432"/>
                    </a:cubicBezTo>
                    <a:cubicBezTo>
                      <a:pt x="2261" y="3332"/>
                      <a:pt x="2069" y="3141"/>
                      <a:pt x="2109" y="3044"/>
                    </a:cubicBezTo>
                    <a:cubicBezTo>
                      <a:pt x="2133" y="2980"/>
                      <a:pt x="2249" y="2968"/>
                      <a:pt x="2510" y="2968"/>
                    </a:cubicBezTo>
                    <a:cubicBezTo>
                      <a:pt x="3230" y="2971"/>
                      <a:pt x="3306" y="3086"/>
                      <a:pt x="3588" y="3031"/>
                    </a:cubicBezTo>
                    <a:cubicBezTo>
                      <a:pt x="3934" y="2968"/>
                      <a:pt x="4363" y="2694"/>
                      <a:pt x="4442" y="2342"/>
                    </a:cubicBezTo>
                    <a:cubicBezTo>
                      <a:pt x="4490" y="2120"/>
                      <a:pt x="4387" y="1938"/>
                      <a:pt x="4527" y="1771"/>
                    </a:cubicBezTo>
                    <a:cubicBezTo>
                      <a:pt x="4593" y="1692"/>
                      <a:pt x="4636" y="1710"/>
                      <a:pt x="4806" y="1598"/>
                    </a:cubicBezTo>
                    <a:cubicBezTo>
                      <a:pt x="5098" y="1410"/>
                      <a:pt x="5088" y="1282"/>
                      <a:pt x="5207" y="1273"/>
                    </a:cubicBezTo>
                    <a:cubicBezTo>
                      <a:pt x="5432" y="1255"/>
                      <a:pt x="5477" y="1713"/>
                      <a:pt x="5908" y="1911"/>
                    </a:cubicBezTo>
                    <a:cubicBezTo>
                      <a:pt x="6151" y="2020"/>
                      <a:pt x="6367" y="1981"/>
                      <a:pt x="6373" y="2041"/>
                    </a:cubicBezTo>
                    <a:cubicBezTo>
                      <a:pt x="6379" y="2108"/>
                      <a:pt x="6109" y="2181"/>
                      <a:pt x="5899" y="2257"/>
                    </a:cubicBezTo>
                    <a:cubicBezTo>
                      <a:pt x="5502" y="2400"/>
                      <a:pt x="5246" y="2579"/>
                      <a:pt x="4754" y="2959"/>
                    </a:cubicBezTo>
                    <a:cubicBezTo>
                      <a:pt x="4174" y="3408"/>
                      <a:pt x="4177" y="3569"/>
                      <a:pt x="3600" y="4061"/>
                    </a:cubicBezTo>
                    <a:cubicBezTo>
                      <a:pt x="2625" y="4887"/>
                      <a:pt x="1872" y="5051"/>
                      <a:pt x="1614" y="5097"/>
                    </a:cubicBezTo>
                    <a:cubicBezTo>
                      <a:pt x="1158" y="5176"/>
                      <a:pt x="940" y="5112"/>
                      <a:pt x="836" y="5076"/>
                    </a:cubicBezTo>
                    <a:cubicBezTo>
                      <a:pt x="265" y="4863"/>
                      <a:pt x="-126" y="4173"/>
                      <a:pt x="38" y="3855"/>
                    </a:cubicBezTo>
                    <a:cubicBezTo>
                      <a:pt x="138" y="3660"/>
                      <a:pt x="435" y="3654"/>
                      <a:pt x="439" y="3478"/>
                    </a:cubicBezTo>
                    <a:cubicBezTo>
                      <a:pt x="442" y="3311"/>
                      <a:pt x="214" y="3229"/>
                      <a:pt x="244" y="3089"/>
                    </a:cubicBezTo>
                    <a:cubicBezTo>
                      <a:pt x="268" y="2971"/>
                      <a:pt x="460" y="2880"/>
                      <a:pt x="612" y="2907"/>
                    </a:cubicBezTo>
                    <a:cubicBezTo>
                      <a:pt x="776" y="2934"/>
                      <a:pt x="788" y="3080"/>
                      <a:pt x="891" y="3080"/>
                    </a:cubicBezTo>
                    <a:cubicBezTo>
                      <a:pt x="1098" y="3080"/>
                      <a:pt x="1252" y="2615"/>
                      <a:pt x="1571" y="2239"/>
                    </a:cubicBezTo>
                    <a:cubicBezTo>
                      <a:pt x="1663" y="2129"/>
                      <a:pt x="1729" y="2187"/>
                      <a:pt x="1735" y="2193"/>
                    </a:cubicBezTo>
                    <a:close/>
                    <a:moveTo>
                      <a:pt x="6452" y="0"/>
                    </a:moveTo>
                    <a:lnTo>
                      <a:pt x="5362" y="832"/>
                    </a:lnTo>
                    <a:lnTo>
                      <a:pt x="5231" y="993"/>
                    </a:lnTo>
                    <a:lnTo>
                      <a:pt x="5823" y="1176"/>
                    </a:lnTo>
                    <a:cubicBezTo>
                      <a:pt x="5823" y="1176"/>
                      <a:pt x="6537" y="1015"/>
                      <a:pt x="6677" y="1142"/>
                    </a:cubicBezTo>
                    <a:cubicBezTo>
                      <a:pt x="6817" y="1270"/>
                      <a:pt x="7066" y="1531"/>
                      <a:pt x="7066" y="1531"/>
                    </a:cubicBezTo>
                    <a:cubicBezTo>
                      <a:pt x="7066" y="1531"/>
                      <a:pt x="7427" y="1185"/>
                      <a:pt x="7345" y="969"/>
                    </a:cubicBezTo>
                    <a:cubicBezTo>
                      <a:pt x="7269" y="757"/>
                      <a:pt x="6507" y="-15"/>
                      <a:pt x="6452" y="0"/>
                    </a:cubicBezTo>
                    <a:close/>
                  </a:path>
                </a:pathLst>
              </a:custGeom>
              <a:solidFill>
                <a:srgbClr val="FFFFFF"/>
              </a:solidFill>
              <a:ln w="1905" cap="flat">
                <a:solidFill>
                  <a:schemeClr val="bg1">
                    <a:lumMod val="75000"/>
                  </a:schemeClr>
                </a:solidFill>
                <a:prstDash val="solid"/>
                <a:miter/>
              </a:ln>
            </p:spPr>
            <p:txBody>
              <a:bodyPr rtlCol="0" anchor="ctr"/>
              <a:lstStyle/>
              <a:p>
                <a:pPr defTabSz="914003">
                  <a:defRPr/>
                </a:pPr>
                <a:endParaRPr lang="en-US" sz="1801" kern="0">
                  <a:solidFill>
                    <a:srgbClr val="FFFFFF"/>
                  </a:solidFill>
                </a:endParaRPr>
              </a:p>
            </p:txBody>
          </p:sp>
          <p:sp>
            <p:nvSpPr>
              <p:cNvPr id="1676" name="Benin">
                <a:extLst>
                  <a:ext uri="{FF2B5EF4-FFF2-40B4-BE49-F238E27FC236}">
                    <a16:creationId xmlns:a16="http://schemas.microsoft.com/office/drawing/2014/main" id="{51D14B2D-11BE-508D-30CD-31B4CE339C76}"/>
                  </a:ext>
                </a:extLst>
              </p:cNvPr>
              <p:cNvSpPr>
                <a:spLocks/>
              </p:cNvSpPr>
              <p:nvPr/>
            </p:nvSpPr>
            <p:spPr bwMode="auto">
              <a:xfrm>
                <a:off x="5722168" y="3562108"/>
                <a:ext cx="105857" cy="241120"/>
              </a:xfrm>
              <a:custGeom>
                <a:avLst/>
                <a:gdLst/>
                <a:ahLst/>
                <a:cxnLst>
                  <a:cxn ang="0">
                    <a:pos x="29" y="16"/>
                  </a:cxn>
                  <a:cxn ang="0">
                    <a:pos x="28" y="12"/>
                  </a:cxn>
                  <a:cxn ang="0">
                    <a:pos x="28" y="8"/>
                  </a:cxn>
                  <a:cxn ang="0">
                    <a:pos x="25" y="5"/>
                  </a:cxn>
                  <a:cxn ang="0">
                    <a:pos x="22" y="2"/>
                  </a:cxn>
                  <a:cxn ang="0">
                    <a:pos x="19" y="1"/>
                  </a:cxn>
                  <a:cxn ang="0">
                    <a:pos x="17" y="1"/>
                  </a:cxn>
                  <a:cxn ang="0">
                    <a:pos x="16" y="4"/>
                  </a:cxn>
                  <a:cxn ang="0">
                    <a:pos x="16" y="6"/>
                  </a:cxn>
                  <a:cxn ang="0">
                    <a:pos x="13" y="10"/>
                  </a:cxn>
                  <a:cxn ang="0">
                    <a:pos x="9" y="11"/>
                  </a:cxn>
                  <a:cxn ang="0">
                    <a:pos x="6" y="11"/>
                  </a:cxn>
                  <a:cxn ang="0">
                    <a:pos x="6" y="12"/>
                  </a:cxn>
                  <a:cxn ang="0">
                    <a:pos x="4" y="12"/>
                  </a:cxn>
                  <a:cxn ang="0">
                    <a:pos x="3" y="14"/>
                  </a:cxn>
                  <a:cxn ang="0">
                    <a:pos x="2" y="15"/>
                  </a:cxn>
                  <a:cxn ang="0">
                    <a:pos x="2" y="17"/>
                  </a:cxn>
                  <a:cxn ang="0">
                    <a:pos x="1" y="20"/>
                  </a:cxn>
                  <a:cxn ang="0">
                    <a:pos x="2" y="24"/>
                  </a:cxn>
                  <a:cxn ang="0">
                    <a:pos x="6" y="27"/>
                  </a:cxn>
                  <a:cxn ang="0">
                    <a:pos x="6" y="32"/>
                  </a:cxn>
                  <a:cxn ang="0">
                    <a:pos x="6" y="34"/>
                  </a:cxn>
                  <a:cxn ang="0">
                    <a:pos x="9" y="42"/>
                  </a:cxn>
                  <a:cxn ang="0">
                    <a:pos x="9" y="47"/>
                  </a:cxn>
                  <a:cxn ang="0">
                    <a:pos x="9" y="58"/>
                  </a:cxn>
                  <a:cxn ang="0">
                    <a:pos x="8" y="60"/>
                  </a:cxn>
                  <a:cxn ang="0">
                    <a:pos x="8" y="63"/>
                  </a:cxn>
                  <a:cxn ang="0">
                    <a:pos x="10" y="67"/>
                  </a:cxn>
                  <a:cxn ang="0">
                    <a:pos x="16" y="67"/>
                  </a:cxn>
                  <a:cxn ang="0">
                    <a:pos x="19" y="65"/>
                  </a:cxn>
                  <a:cxn ang="0">
                    <a:pos x="19" y="61"/>
                  </a:cxn>
                  <a:cxn ang="0">
                    <a:pos x="19" y="58"/>
                  </a:cxn>
                  <a:cxn ang="0">
                    <a:pos x="19" y="55"/>
                  </a:cxn>
                  <a:cxn ang="0">
                    <a:pos x="19" y="50"/>
                  </a:cxn>
                  <a:cxn ang="0">
                    <a:pos x="19" y="48"/>
                  </a:cxn>
                  <a:cxn ang="0">
                    <a:pos x="19" y="43"/>
                  </a:cxn>
                  <a:cxn ang="0">
                    <a:pos x="20" y="37"/>
                  </a:cxn>
                  <a:cxn ang="0">
                    <a:pos x="22" y="37"/>
                  </a:cxn>
                  <a:cxn ang="0">
                    <a:pos x="23" y="34"/>
                  </a:cxn>
                  <a:cxn ang="0">
                    <a:pos x="24" y="30"/>
                  </a:cxn>
                  <a:cxn ang="0">
                    <a:pos x="25" y="29"/>
                  </a:cxn>
                  <a:cxn ang="0">
                    <a:pos x="28" y="25"/>
                  </a:cxn>
                  <a:cxn ang="0">
                    <a:pos x="29" y="22"/>
                  </a:cxn>
                  <a:cxn ang="0">
                    <a:pos x="30" y="19"/>
                  </a:cxn>
                </a:cxnLst>
                <a:rect l="0" t="0" r="r" b="b"/>
                <a:pathLst>
                  <a:path w="30" h="68">
                    <a:moveTo>
                      <a:pt x="29" y="18"/>
                    </a:moveTo>
                    <a:cubicBezTo>
                      <a:pt x="29" y="17"/>
                      <a:pt x="29" y="17"/>
                      <a:pt x="29" y="16"/>
                    </a:cubicBezTo>
                    <a:cubicBezTo>
                      <a:pt x="29" y="16"/>
                      <a:pt x="29" y="15"/>
                      <a:pt x="29" y="15"/>
                    </a:cubicBezTo>
                    <a:cubicBezTo>
                      <a:pt x="29" y="14"/>
                      <a:pt x="28" y="13"/>
                      <a:pt x="28" y="12"/>
                    </a:cubicBezTo>
                    <a:cubicBezTo>
                      <a:pt x="27" y="11"/>
                      <a:pt x="26" y="11"/>
                      <a:pt x="27" y="9"/>
                    </a:cubicBezTo>
                    <a:cubicBezTo>
                      <a:pt x="27" y="9"/>
                      <a:pt x="27" y="8"/>
                      <a:pt x="28" y="8"/>
                    </a:cubicBezTo>
                    <a:cubicBezTo>
                      <a:pt x="28" y="8"/>
                      <a:pt x="27" y="7"/>
                      <a:pt x="27" y="7"/>
                    </a:cubicBezTo>
                    <a:cubicBezTo>
                      <a:pt x="27" y="6"/>
                      <a:pt x="25" y="6"/>
                      <a:pt x="25" y="5"/>
                    </a:cubicBezTo>
                    <a:cubicBezTo>
                      <a:pt x="24" y="5"/>
                      <a:pt x="24" y="4"/>
                      <a:pt x="24" y="4"/>
                    </a:cubicBezTo>
                    <a:cubicBezTo>
                      <a:pt x="23" y="3"/>
                      <a:pt x="22" y="2"/>
                      <a:pt x="22" y="2"/>
                    </a:cubicBezTo>
                    <a:cubicBezTo>
                      <a:pt x="21" y="1"/>
                      <a:pt x="21" y="1"/>
                      <a:pt x="20" y="0"/>
                    </a:cubicBezTo>
                    <a:cubicBezTo>
                      <a:pt x="20" y="0"/>
                      <a:pt x="20" y="0"/>
                      <a:pt x="19" y="1"/>
                    </a:cubicBezTo>
                    <a:cubicBezTo>
                      <a:pt x="19" y="1"/>
                      <a:pt x="19" y="1"/>
                      <a:pt x="19" y="1"/>
                    </a:cubicBezTo>
                    <a:cubicBezTo>
                      <a:pt x="19" y="1"/>
                      <a:pt x="18" y="1"/>
                      <a:pt x="17" y="1"/>
                    </a:cubicBezTo>
                    <a:cubicBezTo>
                      <a:pt x="17" y="1"/>
                      <a:pt x="16" y="1"/>
                      <a:pt x="16" y="2"/>
                    </a:cubicBezTo>
                    <a:cubicBezTo>
                      <a:pt x="16" y="3"/>
                      <a:pt x="16" y="3"/>
                      <a:pt x="16" y="4"/>
                    </a:cubicBezTo>
                    <a:cubicBezTo>
                      <a:pt x="17" y="4"/>
                      <a:pt x="17" y="4"/>
                      <a:pt x="16" y="5"/>
                    </a:cubicBezTo>
                    <a:cubicBezTo>
                      <a:pt x="16" y="5"/>
                      <a:pt x="16" y="6"/>
                      <a:pt x="16" y="6"/>
                    </a:cubicBezTo>
                    <a:cubicBezTo>
                      <a:pt x="16" y="7"/>
                      <a:pt x="15" y="8"/>
                      <a:pt x="15" y="8"/>
                    </a:cubicBezTo>
                    <a:cubicBezTo>
                      <a:pt x="14" y="9"/>
                      <a:pt x="14" y="9"/>
                      <a:pt x="13" y="10"/>
                    </a:cubicBezTo>
                    <a:cubicBezTo>
                      <a:pt x="13" y="11"/>
                      <a:pt x="12" y="11"/>
                      <a:pt x="11" y="11"/>
                    </a:cubicBezTo>
                    <a:cubicBezTo>
                      <a:pt x="10" y="10"/>
                      <a:pt x="10" y="11"/>
                      <a:pt x="9" y="11"/>
                    </a:cubicBezTo>
                    <a:cubicBezTo>
                      <a:pt x="8" y="11"/>
                      <a:pt x="8" y="10"/>
                      <a:pt x="8" y="10"/>
                    </a:cubicBezTo>
                    <a:cubicBezTo>
                      <a:pt x="7" y="10"/>
                      <a:pt x="7" y="10"/>
                      <a:pt x="6" y="11"/>
                    </a:cubicBezTo>
                    <a:cubicBezTo>
                      <a:pt x="6" y="11"/>
                      <a:pt x="6" y="11"/>
                      <a:pt x="6" y="11"/>
                    </a:cubicBezTo>
                    <a:cubicBezTo>
                      <a:pt x="6" y="12"/>
                      <a:pt x="6" y="12"/>
                      <a:pt x="6" y="12"/>
                    </a:cubicBezTo>
                    <a:cubicBezTo>
                      <a:pt x="6" y="12"/>
                      <a:pt x="5" y="12"/>
                      <a:pt x="5" y="12"/>
                    </a:cubicBezTo>
                    <a:cubicBezTo>
                      <a:pt x="5" y="13"/>
                      <a:pt x="4" y="12"/>
                      <a:pt x="4" y="12"/>
                    </a:cubicBezTo>
                    <a:cubicBezTo>
                      <a:pt x="4" y="12"/>
                      <a:pt x="4" y="13"/>
                      <a:pt x="4" y="14"/>
                    </a:cubicBezTo>
                    <a:cubicBezTo>
                      <a:pt x="4" y="13"/>
                      <a:pt x="3" y="14"/>
                      <a:pt x="3" y="14"/>
                    </a:cubicBezTo>
                    <a:cubicBezTo>
                      <a:pt x="4" y="14"/>
                      <a:pt x="4" y="15"/>
                      <a:pt x="4" y="15"/>
                    </a:cubicBezTo>
                    <a:cubicBezTo>
                      <a:pt x="4" y="15"/>
                      <a:pt x="3" y="15"/>
                      <a:pt x="2" y="15"/>
                    </a:cubicBezTo>
                    <a:cubicBezTo>
                      <a:pt x="2" y="15"/>
                      <a:pt x="2" y="15"/>
                      <a:pt x="2" y="15"/>
                    </a:cubicBezTo>
                    <a:cubicBezTo>
                      <a:pt x="1" y="15"/>
                      <a:pt x="2" y="17"/>
                      <a:pt x="2" y="17"/>
                    </a:cubicBezTo>
                    <a:cubicBezTo>
                      <a:pt x="1" y="17"/>
                      <a:pt x="1" y="18"/>
                      <a:pt x="1" y="18"/>
                    </a:cubicBezTo>
                    <a:cubicBezTo>
                      <a:pt x="1" y="19"/>
                      <a:pt x="1" y="20"/>
                      <a:pt x="1" y="20"/>
                    </a:cubicBezTo>
                    <a:cubicBezTo>
                      <a:pt x="1" y="21"/>
                      <a:pt x="0" y="22"/>
                      <a:pt x="1" y="22"/>
                    </a:cubicBezTo>
                    <a:cubicBezTo>
                      <a:pt x="1" y="23"/>
                      <a:pt x="2" y="23"/>
                      <a:pt x="2" y="24"/>
                    </a:cubicBezTo>
                    <a:cubicBezTo>
                      <a:pt x="3" y="24"/>
                      <a:pt x="3" y="25"/>
                      <a:pt x="4" y="25"/>
                    </a:cubicBezTo>
                    <a:cubicBezTo>
                      <a:pt x="5" y="26"/>
                      <a:pt x="6" y="26"/>
                      <a:pt x="6" y="27"/>
                    </a:cubicBezTo>
                    <a:cubicBezTo>
                      <a:pt x="6" y="28"/>
                      <a:pt x="6" y="29"/>
                      <a:pt x="6" y="30"/>
                    </a:cubicBezTo>
                    <a:cubicBezTo>
                      <a:pt x="6" y="31"/>
                      <a:pt x="6" y="31"/>
                      <a:pt x="6" y="32"/>
                    </a:cubicBezTo>
                    <a:cubicBezTo>
                      <a:pt x="6" y="32"/>
                      <a:pt x="6" y="32"/>
                      <a:pt x="6" y="33"/>
                    </a:cubicBezTo>
                    <a:cubicBezTo>
                      <a:pt x="6" y="33"/>
                      <a:pt x="6" y="33"/>
                      <a:pt x="6" y="34"/>
                    </a:cubicBezTo>
                    <a:cubicBezTo>
                      <a:pt x="7" y="35"/>
                      <a:pt x="8" y="36"/>
                      <a:pt x="8" y="37"/>
                    </a:cubicBezTo>
                    <a:cubicBezTo>
                      <a:pt x="9" y="39"/>
                      <a:pt x="9" y="40"/>
                      <a:pt x="9" y="42"/>
                    </a:cubicBezTo>
                    <a:cubicBezTo>
                      <a:pt x="9" y="43"/>
                      <a:pt x="9" y="43"/>
                      <a:pt x="8" y="44"/>
                    </a:cubicBezTo>
                    <a:cubicBezTo>
                      <a:pt x="9" y="45"/>
                      <a:pt x="9" y="46"/>
                      <a:pt x="9" y="47"/>
                    </a:cubicBezTo>
                    <a:cubicBezTo>
                      <a:pt x="9" y="48"/>
                      <a:pt x="8" y="49"/>
                      <a:pt x="8" y="51"/>
                    </a:cubicBezTo>
                    <a:cubicBezTo>
                      <a:pt x="9" y="54"/>
                      <a:pt x="8" y="55"/>
                      <a:pt x="9" y="58"/>
                    </a:cubicBezTo>
                    <a:cubicBezTo>
                      <a:pt x="9" y="58"/>
                      <a:pt x="9" y="59"/>
                      <a:pt x="8" y="59"/>
                    </a:cubicBezTo>
                    <a:cubicBezTo>
                      <a:pt x="8" y="59"/>
                      <a:pt x="8" y="60"/>
                      <a:pt x="8" y="60"/>
                    </a:cubicBezTo>
                    <a:cubicBezTo>
                      <a:pt x="8" y="61"/>
                      <a:pt x="8" y="61"/>
                      <a:pt x="8" y="62"/>
                    </a:cubicBezTo>
                    <a:cubicBezTo>
                      <a:pt x="8" y="62"/>
                      <a:pt x="8" y="63"/>
                      <a:pt x="8" y="63"/>
                    </a:cubicBezTo>
                    <a:cubicBezTo>
                      <a:pt x="8" y="64"/>
                      <a:pt x="9" y="64"/>
                      <a:pt x="9" y="65"/>
                    </a:cubicBezTo>
                    <a:cubicBezTo>
                      <a:pt x="10" y="66"/>
                      <a:pt x="10" y="66"/>
                      <a:pt x="10" y="67"/>
                    </a:cubicBezTo>
                    <a:cubicBezTo>
                      <a:pt x="10" y="68"/>
                      <a:pt x="8" y="67"/>
                      <a:pt x="8" y="68"/>
                    </a:cubicBezTo>
                    <a:cubicBezTo>
                      <a:pt x="11" y="67"/>
                      <a:pt x="13" y="67"/>
                      <a:pt x="16" y="67"/>
                    </a:cubicBezTo>
                    <a:cubicBezTo>
                      <a:pt x="16" y="67"/>
                      <a:pt x="19" y="67"/>
                      <a:pt x="19" y="66"/>
                    </a:cubicBezTo>
                    <a:cubicBezTo>
                      <a:pt x="19" y="66"/>
                      <a:pt x="19" y="65"/>
                      <a:pt x="19" y="65"/>
                    </a:cubicBezTo>
                    <a:cubicBezTo>
                      <a:pt x="19" y="64"/>
                      <a:pt x="19" y="63"/>
                      <a:pt x="19" y="63"/>
                    </a:cubicBezTo>
                    <a:cubicBezTo>
                      <a:pt x="20" y="62"/>
                      <a:pt x="19" y="62"/>
                      <a:pt x="19" y="61"/>
                    </a:cubicBezTo>
                    <a:cubicBezTo>
                      <a:pt x="19" y="60"/>
                      <a:pt x="19" y="60"/>
                      <a:pt x="19" y="59"/>
                    </a:cubicBezTo>
                    <a:cubicBezTo>
                      <a:pt x="20" y="59"/>
                      <a:pt x="19" y="59"/>
                      <a:pt x="19" y="58"/>
                    </a:cubicBezTo>
                    <a:cubicBezTo>
                      <a:pt x="19" y="58"/>
                      <a:pt x="19" y="58"/>
                      <a:pt x="19" y="58"/>
                    </a:cubicBezTo>
                    <a:cubicBezTo>
                      <a:pt x="20" y="57"/>
                      <a:pt x="19" y="55"/>
                      <a:pt x="19" y="55"/>
                    </a:cubicBezTo>
                    <a:cubicBezTo>
                      <a:pt x="20" y="54"/>
                      <a:pt x="20" y="54"/>
                      <a:pt x="19" y="53"/>
                    </a:cubicBezTo>
                    <a:cubicBezTo>
                      <a:pt x="19" y="52"/>
                      <a:pt x="19" y="51"/>
                      <a:pt x="19" y="50"/>
                    </a:cubicBezTo>
                    <a:cubicBezTo>
                      <a:pt x="19" y="50"/>
                      <a:pt x="19" y="50"/>
                      <a:pt x="19" y="49"/>
                    </a:cubicBezTo>
                    <a:cubicBezTo>
                      <a:pt x="19" y="49"/>
                      <a:pt x="19" y="48"/>
                      <a:pt x="19" y="48"/>
                    </a:cubicBezTo>
                    <a:cubicBezTo>
                      <a:pt x="19" y="47"/>
                      <a:pt x="19" y="46"/>
                      <a:pt x="19" y="45"/>
                    </a:cubicBezTo>
                    <a:cubicBezTo>
                      <a:pt x="19" y="44"/>
                      <a:pt x="19" y="43"/>
                      <a:pt x="19" y="43"/>
                    </a:cubicBezTo>
                    <a:cubicBezTo>
                      <a:pt x="19" y="42"/>
                      <a:pt x="19" y="40"/>
                      <a:pt x="19" y="39"/>
                    </a:cubicBezTo>
                    <a:cubicBezTo>
                      <a:pt x="20" y="39"/>
                      <a:pt x="20" y="37"/>
                      <a:pt x="20" y="37"/>
                    </a:cubicBezTo>
                    <a:cubicBezTo>
                      <a:pt x="20" y="37"/>
                      <a:pt x="20" y="37"/>
                      <a:pt x="21" y="37"/>
                    </a:cubicBezTo>
                    <a:cubicBezTo>
                      <a:pt x="21" y="36"/>
                      <a:pt x="21" y="36"/>
                      <a:pt x="22" y="37"/>
                    </a:cubicBezTo>
                    <a:cubicBezTo>
                      <a:pt x="22" y="37"/>
                      <a:pt x="23" y="37"/>
                      <a:pt x="23" y="36"/>
                    </a:cubicBezTo>
                    <a:cubicBezTo>
                      <a:pt x="23" y="35"/>
                      <a:pt x="23" y="35"/>
                      <a:pt x="23" y="34"/>
                    </a:cubicBezTo>
                    <a:cubicBezTo>
                      <a:pt x="23" y="33"/>
                      <a:pt x="23" y="33"/>
                      <a:pt x="23" y="32"/>
                    </a:cubicBezTo>
                    <a:cubicBezTo>
                      <a:pt x="24" y="32"/>
                      <a:pt x="24" y="31"/>
                      <a:pt x="24" y="30"/>
                    </a:cubicBezTo>
                    <a:cubicBezTo>
                      <a:pt x="25" y="30"/>
                      <a:pt x="25" y="30"/>
                      <a:pt x="25" y="30"/>
                    </a:cubicBezTo>
                    <a:cubicBezTo>
                      <a:pt x="25" y="29"/>
                      <a:pt x="25" y="29"/>
                      <a:pt x="25" y="29"/>
                    </a:cubicBezTo>
                    <a:cubicBezTo>
                      <a:pt x="25" y="28"/>
                      <a:pt x="26" y="28"/>
                      <a:pt x="27" y="28"/>
                    </a:cubicBezTo>
                    <a:cubicBezTo>
                      <a:pt x="28" y="28"/>
                      <a:pt x="27" y="26"/>
                      <a:pt x="28" y="25"/>
                    </a:cubicBezTo>
                    <a:cubicBezTo>
                      <a:pt x="29" y="24"/>
                      <a:pt x="28" y="24"/>
                      <a:pt x="28" y="23"/>
                    </a:cubicBezTo>
                    <a:cubicBezTo>
                      <a:pt x="27" y="23"/>
                      <a:pt x="28" y="21"/>
                      <a:pt x="29" y="22"/>
                    </a:cubicBezTo>
                    <a:cubicBezTo>
                      <a:pt x="30" y="22"/>
                      <a:pt x="30" y="21"/>
                      <a:pt x="30" y="21"/>
                    </a:cubicBezTo>
                    <a:cubicBezTo>
                      <a:pt x="30" y="20"/>
                      <a:pt x="30" y="20"/>
                      <a:pt x="30" y="19"/>
                    </a:cubicBezTo>
                    <a:cubicBezTo>
                      <a:pt x="30" y="18"/>
                      <a:pt x="30" y="19"/>
                      <a:pt x="29" y="1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7" name="Belize">
                <a:extLst>
                  <a:ext uri="{FF2B5EF4-FFF2-40B4-BE49-F238E27FC236}">
                    <a16:creationId xmlns:a16="http://schemas.microsoft.com/office/drawing/2014/main" id="{79720200-DAF0-BFDF-38A6-607D6C345F87}"/>
                  </a:ext>
                </a:extLst>
              </p:cNvPr>
              <p:cNvSpPr>
                <a:spLocks noEditPoints="1"/>
              </p:cNvSpPr>
              <p:nvPr/>
            </p:nvSpPr>
            <p:spPr bwMode="auto">
              <a:xfrm>
                <a:off x="2666017" y="3324908"/>
                <a:ext cx="56849" cy="101936"/>
              </a:xfrm>
              <a:custGeom>
                <a:avLst/>
                <a:gdLst/>
                <a:ahLst/>
                <a:cxnLst>
                  <a:cxn ang="0">
                    <a:pos x="16" y="13"/>
                  </a:cxn>
                  <a:cxn ang="0">
                    <a:pos x="16" y="12"/>
                  </a:cxn>
                  <a:cxn ang="0">
                    <a:pos x="15" y="12"/>
                  </a:cxn>
                  <a:cxn ang="0">
                    <a:pos x="15" y="13"/>
                  </a:cxn>
                  <a:cxn ang="0">
                    <a:pos x="16" y="10"/>
                  </a:cxn>
                  <a:cxn ang="0">
                    <a:pos x="16" y="11"/>
                  </a:cxn>
                  <a:cxn ang="0">
                    <a:pos x="15" y="11"/>
                  </a:cxn>
                  <a:cxn ang="0">
                    <a:pos x="15" y="12"/>
                  </a:cxn>
                  <a:cxn ang="0">
                    <a:pos x="16" y="10"/>
                  </a:cxn>
                  <a:cxn ang="0">
                    <a:pos x="15" y="13"/>
                  </a:cxn>
                  <a:cxn ang="0">
                    <a:pos x="14" y="14"/>
                  </a:cxn>
                  <a:cxn ang="0">
                    <a:pos x="14" y="2"/>
                  </a:cxn>
                  <a:cxn ang="0">
                    <a:pos x="12" y="2"/>
                  </a:cxn>
                  <a:cxn ang="0">
                    <a:pos x="12" y="1"/>
                  </a:cxn>
                  <a:cxn ang="0">
                    <a:pos x="11" y="0"/>
                  </a:cxn>
                  <a:cxn ang="0">
                    <a:pos x="9" y="3"/>
                  </a:cxn>
                  <a:cxn ang="0">
                    <a:pos x="7" y="6"/>
                  </a:cxn>
                  <a:cxn ang="0">
                    <a:pos x="3" y="9"/>
                  </a:cxn>
                  <a:cxn ang="0">
                    <a:pos x="2" y="16"/>
                  </a:cxn>
                  <a:cxn ang="0">
                    <a:pos x="1" y="24"/>
                  </a:cxn>
                  <a:cxn ang="0">
                    <a:pos x="0" y="29"/>
                  </a:cxn>
                  <a:cxn ang="0">
                    <a:pos x="3" y="28"/>
                  </a:cxn>
                  <a:cxn ang="0">
                    <a:pos x="5" y="25"/>
                  </a:cxn>
                  <a:cxn ang="0">
                    <a:pos x="6" y="24"/>
                  </a:cxn>
                  <a:cxn ang="0">
                    <a:pos x="7" y="25"/>
                  </a:cxn>
                  <a:cxn ang="0">
                    <a:pos x="10" y="20"/>
                  </a:cxn>
                  <a:cxn ang="0">
                    <a:pos x="11" y="19"/>
                  </a:cxn>
                  <a:cxn ang="0">
                    <a:pos x="11" y="16"/>
                  </a:cxn>
                  <a:cxn ang="0">
                    <a:pos x="11" y="13"/>
                  </a:cxn>
                  <a:cxn ang="0">
                    <a:pos x="12" y="11"/>
                  </a:cxn>
                  <a:cxn ang="0">
                    <a:pos x="12" y="8"/>
                  </a:cxn>
                  <a:cxn ang="0">
                    <a:pos x="14" y="3"/>
                  </a:cxn>
                  <a:cxn ang="0">
                    <a:pos x="9" y="21"/>
                  </a:cxn>
                  <a:cxn ang="0">
                    <a:pos x="10" y="20"/>
                  </a:cxn>
                  <a:cxn ang="0">
                    <a:pos x="9" y="21"/>
                  </a:cxn>
                  <a:cxn ang="0">
                    <a:pos x="9" y="22"/>
                  </a:cxn>
                </a:cxnLst>
                <a:rect l="0" t="0" r="r" b="b"/>
                <a:pathLst>
                  <a:path w="16" h="29">
                    <a:moveTo>
                      <a:pt x="16" y="12"/>
                    </a:moveTo>
                    <a:cubicBezTo>
                      <a:pt x="16" y="12"/>
                      <a:pt x="16" y="13"/>
                      <a:pt x="16" y="13"/>
                    </a:cubicBezTo>
                    <a:cubicBezTo>
                      <a:pt x="16" y="13"/>
                      <a:pt x="16" y="13"/>
                      <a:pt x="15" y="13"/>
                    </a:cubicBezTo>
                    <a:cubicBezTo>
                      <a:pt x="16" y="13"/>
                      <a:pt x="16" y="12"/>
                      <a:pt x="16" y="12"/>
                    </a:cubicBezTo>
                    <a:cubicBezTo>
                      <a:pt x="16" y="12"/>
                      <a:pt x="16" y="12"/>
                      <a:pt x="16" y="12"/>
                    </a:cubicBezTo>
                    <a:close/>
                    <a:moveTo>
                      <a:pt x="15" y="12"/>
                    </a:moveTo>
                    <a:cubicBezTo>
                      <a:pt x="15" y="12"/>
                      <a:pt x="15" y="12"/>
                      <a:pt x="15" y="12"/>
                    </a:cubicBezTo>
                    <a:cubicBezTo>
                      <a:pt x="15" y="12"/>
                      <a:pt x="15" y="13"/>
                      <a:pt x="15" y="13"/>
                    </a:cubicBezTo>
                    <a:cubicBezTo>
                      <a:pt x="15" y="13"/>
                      <a:pt x="15" y="12"/>
                      <a:pt x="15" y="12"/>
                    </a:cubicBezTo>
                    <a:close/>
                    <a:moveTo>
                      <a:pt x="16" y="10"/>
                    </a:moveTo>
                    <a:cubicBezTo>
                      <a:pt x="16" y="11"/>
                      <a:pt x="16" y="11"/>
                      <a:pt x="16" y="11"/>
                    </a:cubicBezTo>
                    <a:cubicBezTo>
                      <a:pt x="16" y="11"/>
                      <a:pt x="16" y="11"/>
                      <a:pt x="16" y="11"/>
                    </a:cubicBezTo>
                    <a:cubicBezTo>
                      <a:pt x="16" y="11"/>
                      <a:pt x="16" y="11"/>
                      <a:pt x="16" y="11"/>
                    </a:cubicBezTo>
                    <a:cubicBezTo>
                      <a:pt x="16" y="11"/>
                      <a:pt x="15" y="11"/>
                      <a:pt x="15" y="11"/>
                    </a:cubicBezTo>
                    <a:cubicBezTo>
                      <a:pt x="15" y="12"/>
                      <a:pt x="15" y="12"/>
                      <a:pt x="15" y="12"/>
                    </a:cubicBezTo>
                    <a:cubicBezTo>
                      <a:pt x="15" y="12"/>
                      <a:pt x="15" y="12"/>
                      <a:pt x="15" y="12"/>
                    </a:cubicBezTo>
                    <a:cubicBezTo>
                      <a:pt x="16" y="12"/>
                      <a:pt x="16" y="12"/>
                      <a:pt x="16" y="11"/>
                    </a:cubicBezTo>
                    <a:cubicBezTo>
                      <a:pt x="16" y="11"/>
                      <a:pt x="16" y="11"/>
                      <a:pt x="16" y="10"/>
                    </a:cubicBezTo>
                    <a:close/>
                    <a:moveTo>
                      <a:pt x="14" y="14"/>
                    </a:moveTo>
                    <a:cubicBezTo>
                      <a:pt x="14" y="13"/>
                      <a:pt x="15" y="13"/>
                      <a:pt x="15" y="13"/>
                    </a:cubicBezTo>
                    <a:cubicBezTo>
                      <a:pt x="14" y="13"/>
                      <a:pt x="14" y="13"/>
                      <a:pt x="14" y="14"/>
                    </a:cubicBezTo>
                    <a:cubicBezTo>
                      <a:pt x="14" y="14"/>
                      <a:pt x="14" y="14"/>
                      <a:pt x="14" y="14"/>
                    </a:cubicBezTo>
                    <a:close/>
                    <a:moveTo>
                      <a:pt x="14" y="3"/>
                    </a:moveTo>
                    <a:cubicBezTo>
                      <a:pt x="14" y="2"/>
                      <a:pt x="14" y="2"/>
                      <a:pt x="14" y="2"/>
                    </a:cubicBezTo>
                    <a:cubicBezTo>
                      <a:pt x="15" y="1"/>
                      <a:pt x="13" y="2"/>
                      <a:pt x="13" y="2"/>
                    </a:cubicBezTo>
                    <a:cubicBezTo>
                      <a:pt x="14" y="1"/>
                      <a:pt x="12" y="2"/>
                      <a:pt x="12" y="2"/>
                    </a:cubicBezTo>
                    <a:cubicBezTo>
                      <a:pt x="12" y="2"/>
                      <a:pt x="12" y="2"/>
                      <a:pt x="12" y="1"/>
                    </a:cubicBezTo>
                    <a:cubicBezTo>
                      <a:pt x="12" y="1"/>
                      <a:pt x="12" y="2"/>
                      <a:pt x="12" y="1"/>
                    </a:cubicBezTo>
                    <a:cubicBezTo>
                      <a:pt x="11" y="1"/>
                      <a:pt x="13" y="1"/>
                      <a:pt x="13" y="0"/>
                    </a:cubicBezTo>
                    <a:cubicBezTo>
                      <a:pt x="13" y="0"/>
                      <a:pt x="12" y="0"/>
                      <a:pt x="11" y="0"/>
                    </a:cubicBezTo>
                    <a:cubicBezTo>
                      <a:pt x="10" y="0"/>
                      <a:pt x="10" y="2"/>
                      <a:pt x="9" y="3"/>
                    </a:cubicBezTo>
                    <a:cubicBezTo>
                      <a:pt x="9" y="3"/>
                      <a:pt x="9" y="3"/>
                      <a:pt x="9" y="3"/>
                    </a:cubicBezTo>
                    <a:cubicBezTo>
                      <a:pt x="8" y="4"/>
                      <a:pt x="8" y="4"/>
                      <a:pt x="8" y="4"/>
                    </a:cubicBezTo>
                    <a:cubicBezTo>
                      <a:pt x="8" y="5"/>
                      <a:pt x="7" y="6"/>
                      <a:pt x="7" y="6"/>
                    </a:cubicBezTo>
                    <a:cubicBezTo>
                      <a:pt x="6" y="7"/>
                      <a:pt x="5" y="4"/>
                      <a:pt x="4" y="6"/>
                    </a:cubicBezTo>
                    <a:cubicBezTo>
                      <a:pt x="3" y="7"/>
                      <a:pt x="3" y="8"/>
                      <a:pt x="3" y="9"/>
                    </a:cubicBezTo>
                    <a:cubicBezTo>
                      <a:pt x="3" y="10"/>
                      <a:pt x="3" y="12"/>
                      <a:pt x="3" y="13"/>
                    </a:cubicBezTo>
                    <a:cubicBezTo>
                      <a:pt x="3" y="14"/>
                      <a:pt x="3" y="15"/>
                      <a:pt x="2" y="16"/>
                    </a:cubicBezTo>
                    <a:cubicBezTo>
                      <a:pt x="2" y="17"/>
                      <a:pt x="2" y="19"/>
                      <a:pt x="2" y="20"/>
                    </a:cubicBezTo>
                    <a:cubicBezTo>
                      <a:pt x="1" y="21"/>
                      <a:pt x="1" y="23"/>
                      <a:pt x="1" y="24"/>
                    </a:cubicBezTo>
                    <a:cubicBezTo>
                      <a:pt x="1" y="25"/>
                      <a:pt x="1" y="26"/>
                      <a:pt x="0" y="27"/>
                    </a:cubicBezTo>
                    <a:cubicBezTo>
                      <a:pt x="0" y="27"/>
                      <a:pt x="0" y="29"/>
                      <a:pt x="0" y="29"/>
                    </a:cubicBezTo>
                    <a:cubicBezTo>
                      <a:pt x="1" y="28"/>
                      <a:pt x="1" y="28"/>
                      <a:pt x="2" y="28"/>
                    </a:cubicBezTo>
                    <a:cubicBezTo>
                      <a:pt x="3" y="29"/>
                      <a:pt x="3" y="29"/>
                      <a:pt x="3" y="28"/>
                    </a:cubicBezTo>
                    <a:cubicBezTo>
                      <a:pt x="3" y="27"/>
                      <a:pt x="4" y="27"/>
                      <a:pt x="4" y="26"/>
                    </a:cubicBezTo>
                    <a:cubicBezTo>
                      <a:pt x="5" y="26"/>
                      <a:pt x="5" y="26"/>
                      <a:pt x="5" y="25"/>
                    </a:cubicBezTo>
                    <a:cubicBezTo>
                      <a:pt x="5" y="25"/>
                      <a:pt x="6" y="25"/>
                      <a:pt x="6" y="25"/>
                    </a:cubicBezTo>
                    <a:cubicBezTo>
                      <a:pt x="6" y="25"/>
                      <a:pt x="6" y="24"/>
                      <a:pt x="6" y="24"/>
                    </a:cubicBezTo>
                    <a:cubicBezTo>
                      <a:pt x="7" y="25"/>
                      <a:pt x="7" y="25"/>
                      <a:pt x="7" y="24"/>
                    </a:cubicBezTo>
                    <a:cubicBezTo>
                      <a:pt x="7" y="25"/>
                      <a:pt x="7" y="25"/>
                      <a:pt x="7" y="25"/>
                    </a:cubicBezTo>
                    <a:cubicBezTo>
                      <a:pt x="7" y="24"/>
                      <a:pt x="8" y="23"/>
                      <a:pt x="9" y="22"/>
                    </a:cubicBezTo>
                    <a:cubicBezTo>
                      <a:pt x="9" y="22"/>
                      <a:pt x="9" y="21"/>
                      <a:pt x="10" y="20"/>
                    </a:cubicBezTo>
                    <a:cubicBezTo>
                      <a:pt x="10" y="20"/>
                      <a:pt x="10" y="20"/>
                      <a:pt x="10" y="20"/>
                    </a:cubicBezTo>
                    <a:cubicBezTo>
                      <a:pt x="10" y="19"/>
                      <a:pt x="10" y="19"/>
                      <a:pt x="11" y="19"/>
                    </a:cubicBezTo>
                    <a:cubicBezTo>
                      <a:pt x="10" y="18"/>
                      <a:pt x="11" y="18"/>
                      <a:pt x="11" y="17"/>
                    </a:cubicBezTo>
                    <a:cubicBezTo>
                      <a:pt x="11" y="17"/>
                      <a:pt x="11" y="16"/>
                      <a:pt x="11" y="16"/>
                    </a:cubicBezTo>
                    <a:cubicBezTo>
                      <a:pt x="11" y="16"/>
                      <a:pt x="11" y="16"/>
                      <a:pt x="11" y="15"/>
                    </a:cubicBezTo>
                    <a:cubicBezTo>
                      <a:pt x="10" y="15"/>
                      <a:pt x="11" y="14"/>
                      <a:pt x="11" y="13"/>
                    </a:cubicBezTo>
                    <a:cubicBezTo>
                      <a:pt x="11" y="12"/>
                      <a:pt x="11" y="12"/>
                      <a:pt x="12" y="12"/>
                    </a:cubicBezTo>
                    <a:cubicBezTo>
                      <a:pt x="12" y="11"/>
                      <a:pt x="12" y="11"/>
                      <a:pt x="12" y="11"/>
                    </a:cubicBezTo>
                    <a:cubicBezTo>
                      <a:pt x="13" y="11"/>
                      <a:pt x="12" y="10"/>
                      <a:pt x="12" y="10"/>
                    </a:cubicBezTo>
                    <a:cubicBezTo>
                      <a:pt x="11" y="9"/>
                      <a:pt x="12" y="9"/>
                      <a:pt x="12" y="8"/>
                    </a:cubicBezTo>
                    <a:cubicBezTo>
                      <a:pt x="13" y="7"/>
                      <a:pt x="13" y="7"/>
                      <a:pt x="13" y="6"/>
                    </a:cubicBezTo>
                    <a:cubicBezTo>
                      <a:pt x="14" y="5"/>
                      <a:pt x="14" y="4"/>
                      <a:pt x="14" y="3"/>
                    </a:cubicBezTo>
                    <a:cubicBezTo>
                      <a:pt x="14" y="4"/>
                      <a:pt x="14" y="3"/>
                      <a:pt x="14" y="3"/>
                    </a:cubicBezTo>
                    <a:close/>
                    <a:moveTo>
                      <a:pt x="9" y="21"/>
                    </a:moveTo>
                    <a:cubicBezTo>
                      <a:pt x="10" y="21"/>
                      <a:pt x="10" y="20"/>
                      <a:pt x="10" y="20"/>
                    </a:cubicBezTo>
                    <a:cubicBezTo>
                      <a:pt x="10" y="20"/>
                      <a:pt x="10" y="20"/>
                      <a:pt x="10" y="20"/>
                    </a:cubicBezTo>
                    <a:cubicBezTo>
                      <a:pt x="10" y="20"/>
                      <a:pt x="10" y="20"/>
                      <a:pt x="10" y="21"/>
                    </a:cubicBezTo>
                    <a:cubicBezTo>
                      <a:pt x="9" y="21"/>
                      <a:pt x="9" y="21"/>
                      <a:pt x="9" y="21"/>
                    </a:cubicBezTo>
                    <a:close/>
                    <a:moveTo>
                      <a:pt x="9" y="21"/>
                    </a:moveTo>
                    <a:cubicBezTo>
                      <a:pt x="9" y="21"/>
                      <a:pt x="9" y="21"/>
                      <a:pt x="9" y="22"/>
                    </a:cubicBezTo>
                    <a:cubicBezTo>
                      <a:pt x="9" y="22"/>
                      <a:pt x="9" y="21"/>
                      <a:pt x="9" y="2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8" name="Belgium">
                <a:extLst>
                  <a:ext uri="{FF2B5EF4-FFF2-40B4-BE49-F238E27FC236}">
                    <a16:creationId xmlns:a16="http://schemas.microsoft.com/office/drawing/2014/main" id="{FC70BBC6-CBFF-2582-3A83-A6742C068FCE}"/>
                  </a:ext>
                </a:extLst>
              </p:cNvPr>
              <p:cNvSpPr>
                <a:spLocks/>
              </p:cNvSpPr>
              <p:nvPr/>
            </p:nvSpPr>
            <p:spPr bwMode="auto">
              <a:xfrm>
                <a:off x="5817244" y="2048735"/>
                <a:ext cx="113700" cy="73513"/>
              </a:xfrm>
              <a:custGeom>
                <a:avLst/>
                <a:gdLst/>
                <a:ahLst/>
                <a:cxnLst>
                  <a:cxn ang="0">
                    <a:pos x="31" y="11"/>
                  </a:cxn>
                  <a:cxn ang="0">
                    <a:pos x="31" y="9"/>
                  </a:cxn>
                  <a:cxn ang="0">
                    <a:pos x="29" y="8"/>
                  </a:cxn>
                  <a:cxn ang="0">
                    <a:pos x="26" y="8"/>
                  </a:cxn>
                  <a:cxn ang="0">
                    <a:pos x="27" y="6"/>
                  </a:cxn>
                  <a:cxn ang="0">
                    <a:pos x="28" y="4"/>
                  </a:cxn>
                  <a:cxn ang="0">
                    <a:pos x="25" y="3"/>
                  </a:cxn>
                  <a:cxn ang="0">
                    <a:pos x="23" y="3"/>
                  </a:cxn>
                  <a:cxn ang="0">
                    <a:pos x="22" y="2"/>
                  </a:cxn>
                  <a:cxn ang="0">
                    <a:pos x="21" y="0"/>
                  </a:cxn>
                  <a:cxn ang="0">
                    <a:pos x="19" y="1"/>
                  </a:cxn>
                  <a:cxn ang="0">
                    <a:pos x="19" y="0"/>
                  </a:cxn>
                  <a:cxn ang="0">
                    <a:pos x="17" y="0"/>
                  </a:cxn>
                  <a:cxn ang="0">
                    <a:pos x="16" y="1"/>
                  </a:cxn>
                  <a:cxn ang="0">
                    <a:pos x="15" y="2"/>
                  </a:cxn>
                  <a:cxn ang="0">
                    <a:pos x="13" y="3"/>
                  </a:cxn>
                  <a:cxn ang="0">
                    <a:pos x="11" y="3"/>
                  </a:cxn>
                  <a:cxn ang="0">
                    <a:pos x="8" y="2"/>
                  </a:cxn>
                  <a:cxn ang="0">
                    <a:pos x="7" y="1"/>
                  </a:cxn>
                  <a:cxn ang="0">
                    <a:pos x="2" y="3"/>
                  </a:cxn>
                  <a:cxn ang="0">
                    <a:pos x="1" y="6"/>
                  </a:cxn>
                  <a:cxn ang="0">
                    <a:pos x="2" y="7"/>
                  </a:cxn>
                  <a:cxn ang="0">
                    <a:pos x="4" y="8"/>
                  </a:cxn>
                  <a:cxn ang="0">
                    <a:pos x="6" y="8"/>
                  </a:cxn>
                  <a:cxn ang="0">
                    <a:pos x="6" y="10"/>
                  </a:cxn>
                  <a:cxn ang="0">
                    <a:pos x="8" y="11"/>
                  </a:cxn>
                  <a:cxn ang="0">
                    <a:pos x="9" y="12"/>
                  </a:cxn>
                  <a:cxn ang="0">
                    <a:pos x="12" y="12"/>
                  </a:cxn>
                  <a:cxn ang="0">
                    <a:pos x="13" y="13"/>
                  </a:cxn>
                  <a:cxn ang="0">
                    <a:pos x="14" y="14"/>
                  </a:cxn>
                  <a:cxn ang="0">
                    <a:pos x="13" y="16"/>
                  </a:cxn>
                  <a:cxn ang="0">
                    <a:pos x="17" y="16"/>
                  </a:cxn>
                  <a:cxn ang="0">
                    <a:pos x="19" y="14"/>
                  </a:cxn>
                  <a:cxn ang="0">
                    <a:pos x="19" y="16"/>
                  </a:cxn>
                  <a:cxn ang="0">
                    <a:pos x="20" y="18"/>
                  </a:cxn>
                  <a:cxn ang="0">
                    <a:pos x="23" y="20"/>
                  </a:cxn>
                  <a:cxn ang="0">
                    <a:pos x="24" y="21"/>
                  </a:cxn>
                  <a:cxn ang="0">
                    <a:pos x="26" y="21"/>
                  </a:cxn>
                  <a:cxn ang="0">
                    <a:pos x="28" y="20"/>
                  </a:cxn>
                  <a:cxn ang="0">
                    <a:pos x="28" y="19"/>
                  </a:cxn>
                  <a:cxn ang="0">
                    <a:pos x="27" y="17"/>
                  </a:cxn>
                  <a:cxn ang="0">
                    <a:pos x="27" y="16"/>
                  </a:cxn>
                  <a:cxn ang="0">
                    <a:pos x="29" y="14"/>
                  </a:cxn>
                  <a:cxn ang="0">
                    <a:pos x="31" y="13"/>
                  </a:cxn>
                  <a:cxn ang="0">
                    <a:pos x="32" y="12"/>
                  </a:cxn>
                </a:cxnLst>
                <a:rect l="0" t="0" r="r" b="b"/>
                <a:pathLst>
                  <a:path w="32" h="21">
                    <a:moveTo>
                      <a:pt x="32" y="12"/>
                    </a:moveTo>
                    <a:cubicBezTo>
                      <a:pt x="32" y="12"/>
                      <a:pt x="32" y="11"/>
                      <a:pt x="31" y="11"/>
                    </a:cubicBezTo>
                    <a:cubicBezTo>
                      <a:pt x="31" y="11"/>
                      <a:pt x="30" y="11"/>
                      <a:pt x="30" y="10"/>
                    </a:cubicBezTo>
                    <a:cubicBezTo>
                      <a:pt x="30" y="10"/>
                      <a:pt x="31" y="10"/>
                      <a:pt x="31" y="9"/>
                    </a:cubicBezTo>
                    <a:cubicBezTo>
                      <a:pt x="31" y="9"/>
                      <a:pt x="30" y="9"/>
                      <a:pt x="30" y="9"/>
                    </a:cubicBezTo>
                    <a:cubicBezTo>
                      <a:pt x="30" y="9"/>
                      <a:pt x="30" y="8"/>
                      <a:pt x="29" y="8"/>
                    </a:cubicBezTo>
                    <a:cubicBezTo>
                      <a:pt x="29" y="8"/>
                      <a:pt x="28" y="8"/>
                      <a:pt x="28" y="8"/>
                    </a:cubicBezTo>
                    <a:cubicBezTo>
                      <a:pt x="27" y="8"/>
                      <a:pt x="27" y="8"/>
                      <a:pt x="26" y="8"/>
                    </a:cubicBezTo>
                    <a:cubicBezTo>
                      <a:pt x="27" y="7"/>
                      <a:pt x="26" y="7"/>
                      <a:pt x="26" y="7"/>
                    </a:cubicBezTo>
                    <a:cubicBezTo>
                      <a:pt x="26" y="7"/>
                      <a:pt x="27" y="6"/>
                      <a:pt x="27" y="6"/>
                    </a:cubicBezTo>
                    <a:cubicBezTo>
                      <a:pt x="27" y="6"/>
                      <a:pt x="27" y="6"/>
                      <a:pt x="27" y="6"/>
                    </a:cubicBezTo>
                    <a:cubicBezTo>
                      <a:pt x="27" y="6"/>
                      <a:pt x="27" y="4"/>
                      <a:pt x="28" y="4"/>
                    </a:cubicBezTo>
                    <a:cubicBezTo>
                      <a:pt x="27" y="4"/>
                      <a:pt x="28" y="4"/>
                      <a:pt x="27" y="3"/>
                    </a:cubicBezTo>
                    <a:cubicBezTo>
                      <a:pt x="27" y="3"/>
                      <a:pt x="25" y="3"/>
                      <a:pt x="25" y="3"/>
                    </a:cubicBezTo>
                    <a:cubicBezTo>
                      <a:pt x="25" y="2"/>
                      <a:pt x="24" y="2"/>
                      <a:pt x="24" y="2"/>
                    </a:cubicBezTo>
                    <a:cubicBezTo>
                      <a:pt x="23" y="3"/>
                      <a:pt x="23" y="3"/>
                      <a:pt x="23" y="3"/>
                    </a:cubicBezTo>
                    <a:cubicBezTo>
                      <a:pt x="23" y="3"/>
                      <a:pt x="23" y="2"/>
                      <a:pt x="23" y="2"/>
                    </a:cubicBezTo>
                    <a:cubicBezTo>
                      <a:pt x="22" y="2"/>
                      <a:pt x="23" y="2"/>
                      <a:pt x="22" y="2"/>
                    </a:cubicBezTo>
                    <a:cubicBezTo>
                      <a:pt x="22" y="2"/>
                      <a:pt x="22" y="2"/>
                      <a:pt x="22" y="2"/>
                    </a:cubicBezTo>
                    <a:cubicBezTo>
                      <a:pt x="21" y="1"/>
                      <a:pt x="22" y="1"/>
                      <a:pt x="21" y="0"/>
                    </a:cubicBezTo>
                    <a:cubicBezTo>
                      <a:pt x="21" y="0"/>
                      <a:pt x="21" y="1"/>
                      <a:pt x="20" y="1"/>
                    </a:cubicBezTo>
                    <a:cubicBezTo>
                      <a:pt x="20" y="1"/>
                      <a:pt x="20" y="1"/>
                      <a:pt x="19" y="1"/>
                    </a:cubicBezTo>
                    <a:cubicBezTo>
                      <a:pt x="19" y="1"/>
                      <a:pt x="19" y="1"/>
                      <a:pt x="19" y="1"/>
                    </a:cubicBezTo>
                    <a:cubicBezTo>
                      <a:pt x="19" y="0"/>
                      <a:pt x="20" y="0"/>
                      <a:pt x="19" y="0"/>
                    </a:cubicBezTo>
                    <a:cubicBezTo>
                      <a:pt x="18" y="0"/>
                      <a:pt x="18" y="1"/>
                      <a:pt x="18" y="1"/>
                    </a:cubicBezTo>
                    <a:cubicBezTo>
                      <a:pt x="17" y="1"/>
                      <a:pt x="17" y="0"/>
                      <a:pt x="17" y="0"/>
                    </a:cubicBezTo>
                    <a:cubicBezTo>
                      <a:pt x="17" y="0"/>
                      <a:pt x="16" y="0"/>
                      <a:pt x="16" y="0"/>
                    </a:cubicBezTo>
                    <a:cubicBezTo>
                      <a:pt x="16" y="1"/>
                      <a:pt x="16" y="1"/>
                      <a:pt x="16" y="1"/>
                    </a:cubicBezTo>
                    <a:cubicBezTo>
                      <a:pt x="16" y="2"/>
                      <a:pt x="15" y="1"/>
                      <a:pt x="15" y="1"/>
                    </a:cubicBezTo>
                    <a:cubicBezTo>
                      <a:pt x="15" y="2"/>
                      <a:pt x="15" y="2"/>
                      <a:pt x="15" y="2"/>
                    </a:cubicBezTo>
                    <a:cubicBezTo>
                      <a:pt x="15" y="2"/>
                      <a:pt x="15" y="2"/>
                      <a:pt x="14" y="2"/>
                    </a:cubicBezTo>
                    <a:cubicBezTo>
                      <a:pt x="14" y="2"/>
                      <a:pt x="13" y="2"/>
                      <a:pt x="13" y="3"/>
                    </a:cubicBezTo>
                    <a:cubicBezTo>
                      <a:pt x="13" y="3"/>
                      <a:pt x="12" y="3"/>
                      <a:pt x="12" y="3"/>
                    </a:cubicBezTo>
                    <a:cubicBezTo>
                      <a:pt x="11" y="3"/>
                      <a:pt x="11" y="3"/>
                      <a:pt x="11" y="3"/>
                    </a:cubicBezTo>
                    <a:cubicBezTo>
                      <a:pt x="11" y="2"/>
                      <a:pt x="10" y="2"/>
                      <a:pt x="10" y="2"/>
                    </a:cubicBezTo>
                    <a:cubicBezTo>
                      <a:pt x="9" y="2"/>
                      <a:pt x="9" y="2"/>
                      <a:pt x="8" y="2"/>
                    </a:cubicBezTo>
                    <a:cubicBezTo>
                      <a:pt x="8" y="3"/>
                      <a:pt x="8" y="3"/>
                      <a:pt x="8" y="3"/>
                    </a:cubicBezTo>
                    <a:cubicBezTo>
                      <a:pt x="7" y="3"/>
                      <a:pt x="7" y="2"/>
                      <a:pt x="7" y="1"/>
                    </a:cubicBezTo>
                    <a:cubicBezTo>
                      <a:pt x="6" y="2"/>
                      <a:pt x="5" y="2"/>
                      <a:pt x="4" y="2"/>
                    </a:cubicBezTo>
                    <a:cubicBezTo>
                      <a:pt x="4" y="3"/>
                      <a:pt x="3" y="3"/>
                      <a:pt x="2" y="3"/>
                    </a:cubicBezTo>
                    <a:cubicBezTo>
                      <a:pt x="2" y="4"/>
                      <a:pt x="0" y="4"/>
                      <a:pt x="0" y="5"/>
                    </a:cubicBezTo>
                    <a:cubicBezTo>
                      <a:pt x="0" y="5"/>
                      <a:pt x="1" y="6"/>
                      <a:pt x="1" y="6"/>
                    </a:cubicBezTo>
                    <a:cubicBezTo>
                      <a:pt x="1" y="7"/>
                      <a:pt x="1" y="7"/>
                      <a:pt x="1" y="7"/>
                    </a:cubicBezTo>
                    <a:cubicBezTo>
                      <a:pt x="1" y="7"/>
                      <a:pt x="2" y="7"/>
                      <a:pt x="2" y="7"/>
                    </a:cubicBezTo>
                    <a:cubicBezTo>
                      <a:pt x="2" y="8"/>
                      <a:pt x="3" y="8"/>
                      <a:pt x="3" y="8"/>
                    </a:cubicBezTo>
                    <a:cubicBezTo>
                      <a:pt x="3" y="9"/>
                      <a:pt x="3" y="8"/>
                      <a:pt x="4" y="8"/>
                    </a:cubicBezTo>
                    <a:cubicBezTo>
                      <a:pt x="4" y="8"/>
                      <a:pt x="5" y="7"/>
                      <a:pt x="5" y="8"/>
                    </a:cubicBezTo>
                    <a:cubicBezTo>
                      <a:pt x="5" y="8"/>
                      <a:pt x="5" y="8"/>
                      <a:pt x="6" y="8"/>
                    </a:cubicBezTo>
                    <a:cubicBezTo>
                      <a:pt x="6" y="8"/>
                      <a:pt x="6" y="9"/>
                      <a:pt x="6" y="9"/>
                    </a:cubicBezTo>
                    <a:cubicBezTo>
                      <a:pt x="6" y="10"/>
                      <a:pt x="6" y="10"/>
                      <a:pt x="6" y="10"/>
                    </a:cubicBezTo>
                    <a:cubicBezTo>
                      <a:pt x="6" y="11"/>
                      <a:pt x="7" y="11"/>
                      <a:pt x="8" y="10"/>
                    </a:cubicBezTo>
                    <a:cubicBezTo>
                      <a:pt x="8" y="10"/>
                      <a:pt x="8" y="10"/>
                      <a:pt x="8" y="11"/>
                    </a:cubicBezTo>
                    <a:cubicBezTo>
                      <a:pt x="8" y="11"/>
                      <a:pt x="8" y="11"/>
                      <a:pt x="9" y="11"/>
                    </a:cubicBezTo>
                    <a:cubicBezTo>
                      <a:pt x="10" y="11"/>
                      <a:pt x="9" y="12"/>
                      <a:pt x="9" y="12"/>
                    </a:cubicBezTo>
                    <a:cubicBezTo>
                      <a:pt x="9" y="13"/>
                      <a:pt x="10" y="12"/>
                      <a:pt x="10" y="12"/>
                    </a:cubicBezTo>
                    <a:cubicBezTo>
                      <a:pt x="11" y="12"/>
                      <a:pt x="11" y="13"/>
                      <a:pt x="12" y="12"/>
                    </a:cubicBezTo>
                    <a:cubicBezTo>
                      <a:pt x="13" y="12"/>
                      <a:pt x="13" y="13"/>
                      <a:pt x="13" y="13"/>
                    </a:cubicBezTo>
                    <a:cubicBezTo>
                      <a:pt x="13" y="13"/>
                      <a:pt x="13" y="13"/>
                      <a:pt x="13" y="13"/>
                    </a:cubicBezTo>
                    <a:cubicBezTo>
                      <a:pt x="14" y="13"/>
                      <a:pt x="13" y="14"/>
                      <a:pt x="13" y="14"/>
                    </a:cubicBezTo>
                    <a:cubicBezTo>
                      <a:pt x="13" y="14"/>
                      <a:pt x="13" y="14"/>
                      <a:pt x="14" y="14"/>
                    </a:cubicBezTo>
                    <a:cubicBezTo>
                      <a:pt x="14" y="15"/>
                      <a:pt x="14" y="15"/>
                      <a:pt x="14" y="15"/>
                    </a:cubicBezTo>
                    <a:cubicBezTo>
                      <a:pt x="14" y="15"/>
                      <a:pt x="13" y="16"/>
                      <a:pt x="13" y="16"/>
                    </a:cubicBezTo>
                    <a:cubicBezTo>
                      <a:pt x="13" y="16"/>
                      <a:pt x="14" y="16"/>
                      <a:pt x="14" y="16"/>
                    </a:cubicBezTo>
                    <a:cubicBezTo>
                      <a:pt x="15" y="17"/>
                      <a:pt x="16" y="17"/>
                      <a:pt x="17" y="16"/>
                    </a:cubicBezTo>
                    <a:cubicBezTo>
                      <a:pt x="18" y="16"/>
                      <a:pt x="18" y="16"/>
                      <a:pt x="18" y="15"/>
                    </a:cubicBezTo>
                    <a:cubicBezTo>
                      <a:pt x="18" y="15"/>
                      <a:pt x="18" y="15"/>
                      <a:pt x="19" y="14"/>
                    </a:cubicBezTo>
                    <a:cubicBezTo>
                      <a:pt x="19" y="14"/>
                      <a:pt x="20" y="14"/>
                      <a:pt x="19" y="15"/>
                    </a:cubicBezTo>
                    <a:cubicBezTo>
                      <a:pt x="19" y="15"/>
                      <a:pt x="18" y="16"/>
                      <a:pt x="19" y="16"/>
                    </a:cubicBezTo>
                    <a:cubicBezTo>
                      <a:pt x="20" y="17"/>
                      <a:pt x="19" y="18"/>
                      <a:pt x="19" y="18"/>
                    </a:cubicBezTo>
                    <a:cubicBezTo>
                      <a:pt x="19" y="18"/>
                      <a:pt x="20" y="18"/>
                      <a:pt x="20" y="18"/>
                    </a:cubicBezTo>
                    <a:cubicBezTo>
                      <a:pt x="21" y="18"/>
                      <a:pt x="21" y="18"/>
                      <a:pt x="21" y="19"/>
                    </a:cubicBezTo>
                    <a:cubicBezTo>
                      <a:pt x="22" y="19"/>
                      <a:pt x="23" y="19"/>
                      <a:pt x="23" y="20"/>
                    </a:cubicBezTo>
                    <a:cubicBezTo>
                      <a:pt x="23" y="20"/>
                      <a:pt x="24" y="20"/>
                      <a:pt x="24" y="20"/>
                    </a:cubicBezTo>
                    <a:cubicBezTo>
                      <a:pt x="24" y="20"/>
                      <a:pt x="24" y="21"/>
                      <a:pt x="24" y="21"/>
                    </a:cubicBezTo>
                    <a:cubicBezTo>
                      <a:pt x="24" y="21"/>
                      <a:pt x="25" y="21"/>
                      <a:pt x="25" y="21"/>
                    </a:cubicBezTo>
                    <a:cubicBezTo>
                      <a:pt x="26" y="21"/>
                      <a:pt x="26" y="21"/>
                      <a:pt x="26" y="21"/>
                    </a:cubicBezTo>
                    <a:cubicBezTo>
                      <a:pt x="27" y="21"/>
                      <a:pt x="27" y="21"/>
                      <a:pt x="27" y="21"/>
                    </a:cubicBezTo>
                    <a:cubicBezTo>
                      <a:pt x="27" y="20"/>
                      <a:pt x="28" y="20"/>
                      <a:pt x="28" y="20"/>
                    </a:cubicBezTo>
                    <a:cubicBezTo>
                      <a:pt x="28" y="19"/>
                      <a:pt x="28" y="20"/>
                      <a:pt x="28" y="19"/>
                    </a:cubicBezTo>
                    <a:cubicBezTo>
                      <a:pt x="27" y="19"/>
                      <a:pt x="28" y="19"/>
                      <a:pt x="28" y="19"/>
                    </a:cubicBezTo>
                    <a:cubicBezTo>
                      <a:pt x="28" y="19"/>
                      <a:pt x="27" y="19"/>
                      <a:pt x="27" y="19"/>
                    </a:cubicBezTo>
                    <a:cubicBezTo>
                      <a:pt x="27" y="18"/>
                      <a:pt x="26" y="18"/>
                      <a:pt x="27" y="17"/>
                    </a:cubicBezTo>
                    <a:cubicBezTo>
                      <a:pt x="26" y="17"/>
                      <a:pt x="27" y="16"/>
                      <a:pt x="27" y="16"/>
                    </a:cubicBezTo>
                    <a:cubicBezTo>
                      <a:pt x="27" y="16"/>
                      <a:pt x="27" y="16"/>
                      <a:pt x="27" y="16"/>
                    </a:cubicBezTo>
                    <a:cubicBezTo>
                      <a:pt x="28" y="15"/>
                      <a:pt x="28" y="15"/>
                      <a:pt x="28" y="15"/>
                    </a:cubicBezTo>
                    <a:cubicBezTo>
                      <a:pt x="28" y="15"/>
                      <a:pt x="29" y="14"/>
                      <a:pt x="29" y="14"/>
                    </a:cubicBezTo>
                    <a:cubicBezTo>
                      <a:pt x="29" y="14"/>
                      <a:pt x="30" y="14"/>
                      <a:pt x="30" y="15"/>
                    </a:cubicBezTo>
                    <a:cubicBezTo>
                      <a:pt x="30" y="14"/>
                      <a:pt x="31" y="13"/>
                      <a:pt x="31" y="13"/>
                    </a:cubicBezTo>
                    <a:cubicBezTo>
                      <a:pt x="31" y="13"/>
                      <a:pt x="31" y="13"/>
                      <a:pt x="32" y="13"/>
                    </a:cubicBezTo>
                    <a:cubicBezTo>
                      <a:pt x="32" y="13"/>
                      <a:pt x="32" y="13"/>
                      <a:pt x="32" y="1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79" name="Belarus">
                <a:extLst>
                  <a:ext uri="{FF2B5EF4-FFF2-40B4-BE49-F238E27FC236}">
                    <a16:creationId xmlns:a16="http://schemas.microsoft.com/office/drawing/2014/main" id="{11771C3F-BBB8-E43D-6EAF-3725478576F8}"/>
                  </a:ext>
                </a:extLst>
              </p:cNvPr>
              <p:cNvSpPr>
                <a:spLocks/>
              </p:cNvSpPr>
              <p:nvPr/>
            </p:nvSpPr>
            <p:spPr bwMode="auto">
              <a:xfrm>
                <a:off x="6426905" y="1874265"/>
                <a:ext cx="272486" cy="184272"/>
              </a:xfrm>
              <a:custGeom>
                <a:avLst/>
                <a:gdLst/>
                <a:ahLst/>
                <a:cxnLst>
                  <a:cxn ang="0">
                    <a:pos x="76" y="28"/>
                  </a:cxn>
                  <a:cxn ang="0">
                    <a:pos x="74" y="25"/>
                  </a:cxn>
                  <a:cxn ang="0">
                    <a:pos x="69" y="22"/>
                  </a:cxn>
                  <a:cxn ang="0">
                    <a:pos x="64" y="18"/>
                  </a:cxn>
                  <a:cxn ang="0">
                    <a:pos x="61" y="16"/>
                  </a:cxn>
                  <a:cxn ang="0">
                    <a:pos x="60" y="13"/>
                  </a:cxn>
                  <a:cxn ang="0">
                    <a:pos x="60" y="12"/>
                  </a:cxn>
                  <a:cxn ang="0">
                    <a:pos x="59" y="9"/>
                  </a:cxn>
                  <a:cxn ang="0">
                    <a:pos x="59" y="7"/>
                  </a:cxn>
                  <a:cxn ang="0">
                    <a:pos x="56" y="5"/>
                  </a:cxn>
                  <a:cxn ang="0">
                    <a:pos x="50" y="4"/>
                  </a:cxn>
                  <a:cxn ang="0">
                    <a:pos x="47" y="5"/>
                  </a:cxn>
                  <a:cxn ang="0">
                    <a:pos x="47" y="3"/>
                  </a:cxn>
                  <a:cxn ang="0">
                    <a:pos x="41" y="1"/>
                  </a:cxn>
                  <a:cxn ang="0">
                    <a:pos x="34" y="1"/>
                  </a:cxn>
                  <a:cxn ang="0">
                    <a:pos x="32" y="3"/>
                  </a:cxn>
                  <a:cxn ang="0">
                    <a:pos x="29" y="4"/>
                  </a:cxn>
                  <a:cxn ang="0">
                    <a:pos x="24" y="6"/>
                  </a:cxn>
                  <a:cxn ang="0">
                    <a:pos x="24" y="8"/>
                  </a:cxn>
                  <a:cxn ang="0">
                    <a:pos x="24" y="11"/>
                  </a:cxn>
                  <a:cxn ang="0">
                    <a:pos x="20" y="13"/>
                  </a:cxn>
                  <a:cxn ang="0">
                    <a:pos x="18" y="16"/>
                  </a:cxn>
                  <a:cxn ang="0">
                    <a:pos x="17" y="19"/>
                  </a:cxn>
                  <a:cxn ang="0">
                    <a:pos x="17" y="21"/>
                  </a:cxn>
                  <a:cxn ang="0">
                    <a:pos x="17" y="20"/>
                  </a:cxn>
                  <a:cxn ang="0">
                    <a:pos x="14" y="21"/>
                  </a:cxn>
                  <a:cxn ang="0">
                    <a:pos x="10" y="23"/>
                  </a:cxn>
                  <a:cxn ang="0">
                    <a:pos x="6" y="23"/>
                  </a:cxn>
                  <a:cxn ang="0">
                    <a:pos x="2" y="24"/>
                  </a:cxn>
                  <a:cxn ang="0">
                    <a:pos x="2" y="27"/>
                  </a:cxn>
                  <a:cxn ang="0">
                    <a:pos x="5" y="32"/>
                  </a:cxn>
                  <a:cxn ang="0">
                    <a:pos x="4" y="37"/>
                  </a:cxn>
                  <a:cxn ang="0">
                    <a:pos x="0" y="41"/>
                  </a:cxn>
                  <a:cxn ang="0">
                    <a:pos x="2" y="42"/>
                  </a:cxn>
                  <a:cxn ang="0">
                    <a:pos x="4" y="44"/>
                  </a:cxn>
                  <a:cxn ang="0">
                    <a:pos x="3" y="46"/>
                  </a:cxn>
                  <a:cxn ang="0">
                    <a:pos x="4" y="48"/>
                  </a:cxn>
                  <a:cxn ang="0">
                    <a:pos x="10" y="45"/>
                  </a:cxn>
                  <a:cxn ang="0">
                    <a:pos x="17" y="44"/>
                  </a:cxn>
                  <a:cxn ang="0">
                    <a:pos x="25" y="45"/>
                  </a:cxn>
                  <a:cxn ang="0">
                    <a:pos x="31" y="46"/>
                  </a:cxn>
                  <a:cxn ang="0">
                    <a:pos x="34" y="47"/>
                  </a:cxn>
                  <a:cxn ang="0">
                    <a:pos x="38" y="49"/>
                  </a:cxn>
                  <a:cxn ang="0">
                    <a:pos x="41" y="48"/>
                  </a:cxn>
                  <a:cxn ang="0">
                    <a:pos x="45" y="48"/>
                  </a:cxn>
                  <a:cxn ang="0">
                    <a:pos x="47" y="49"/>
                  </a:cxn>
                  <a:cxn ang="0">
                    <a:pos x="51" y="48"/>
                  </a:cxn>
                  <a:cxn ang="0">
                    <a:pos x="53" y="49"/>
                  </a:cxn>
                  <a:cxn ang="0">
                    <a:pos x="55" y="49"/>
                  </a:cxn>
                  <a:cxn ang="0">
                    <a:pos x="60" y="50"/>
                  </a:cxn>
                  <a:cxn ang="0">
                    <a:pos x="62" y="50"/>
                  </a:cxn>
                  <a:cxn ang="0">
                    <a:pos x="62" y="48"/>
                  </a:cxn>
                  <a:cxn ang="0">
                    <a:pos x="63" y="44"/>
                  </a:cxn>
                  <a:cxn ang="0">
                    <a:pos x="64" y="44"/>
                  </a:cxn>
                  <a:cxn ang="0">
                    <a:pos x="66" y="43"/>
                  </a:cxn>
                  <a:cxn ang="0">
                    <a:pos x="70" y="41"/>
                  </a:cxn>
                  <a:cxn ang="0">
                    <a:pos x="69" y="38"/>
                  </a:cxn>
                  <a:cxn ang="0">
                    <a:pos x="68" y="35"/>
                  </a:cxn>
                  <a:cxn ang="0">
                    <a:pos x="66" y="33"/>
                  </a:cxn>
                  <a:cxn ang="0">
                    <a:pos x="70" y="32"/>
                  </a:cxn>
                  <a:cxn ang="0">
                    <a:pos x="74" y="31"/>
                  </a:cxn>
                  <a:cxn ang="0">
                    <a:pos x="77" y="30"/>
                  </a:cxn>
                </a:cxnLst>
                <a:rect l="0" t="0" r="r" b="b"/>
                <a:pathLst>
                  <a:path w="77" h="52">
                    <a:moveTo>
                      <a:pt x="77" y="28"/>
                    </a:moveTo>
                    <a:cubicBezTo>
                      <a:pt x="77" y="28"/>
                      <a:pt x="77" y="28"/>
                      <a:pt x="76" y="28"/>
                    </a:cubicBezTo>
                    <a:cubicBezTo>
                      <a:pt x="76" y="28"/>
                      <a:pt x="76" y="28"/>
                      <a:pt x="76" y="28"/>
                    </a:cubicBezTo>
                    <a:cubicBezTo>
                      <a:pt x="76" y="28"/>
                      <a:pt x="76" y="28"/>
                      <a:pt x="75" y="28"/>
                    </a:cubicBezTo>
                    <a:cubicBezTo>
                      <a:pt x="75" y="27"/>
                      <a:pt x="74" y="27"/>
                      <a:pt x="75" y="26"/>
                    </a:cubicBezTo>
                    <a:cubicBezTo>
                      <a:pt x="76" y="26"/>
                      <a:pt x="74" y="26"/>
                      <a:pt x="74" y="25"/>
                    </a:cubicBezTo>
                    <a:cubicBezTo>
                      <a:pt x="73" y="25"/>
                      <a:pt x="72" y="25"/>
                      <a:pt x="71" y="25"/>
                    </a:cubicBezTo>
                    <a:cubicBezTo>
                      <a:pt x="70" y="25"/>
                      <a:pt x="69" y="25"/>
                      <a:pt x="69" y="25"/>
                    </a:cubicBezTo>
                    <a:cubicBezTo>
                      <a:pt x="69" y="24"/>
                      <a:pt x="70" y="23"/>
                      <a:pt x="69" y="22"/>
                    </a:cubicBezTo>
                    <a:cubicBezTo>
                      <a:pt x="69" y="22"/>
                      <a:pt x="68" y="22"/>
                      <a:pt x="67" y="22"/>
                    </a:cubicBezTo>
                    <a:cubicBezTo>
                      <a:pt x="66" y="21"/>
                      <a:pt x="65" y="21"/>
                      <a:pt x="65" y="20"/>
                    </a:cubicBezTo>
                    <a:cubicBezTo>
                      <a:pt x="64" y="20"/>
                      <a:pt x="64" y="19"/>
                      <a:pt x="64" y="18"/>
                    </a:cubicBezTo>
                    <a:cubicBezTo>
                      <a:pt x="64" y="18"/>
                      <a:pt x="63" y="18"/>
                      <a:pt x="63" y="18"/>
                    </a:cubicBezTo>
                    <a:cubicBezTo>
                      <a:pt x="62" y="18"/>
                      <a:pt x="62" y="17"/>
                      <a:pt x="63" y="16"/>
                    </a:cubicBezTo>
                    <a:cubicBezTo>
                      <a:pt x="63" y="16"/>
                      <a:pt x="62" y="16"/>
                      <a:pt x="61" y="16"/>
                    </a:cubicBezTo>
                    <a:cubicBezTo>
                      <a:pt x="61" y="15"/>
                      <a:pt x="61" y="15"/>
                      <a:pt x="60" y="15"/>
                    </a:cubicBezTo>
                    <a:cubicBezTo>
                      <a:pt x="60" y="15"/>
                      <a:pt x="59" y="15"/>
                      <a:pt x="59" y="14"/>
                    </a:cubicBezTo>
                    <a:cubicBezTo>
                      <a:pt x="59" y="14"/>
                      <a:pt x="60" y="14"/>
                      <a:pt x="60" y="13"/>
                    </a:cubicBezTo>
                    <a:cubicBezTo>
                      <a:pt x="60" y="13"/>
                      <a:pt x="59" y="13"/>
                      <a:pt x="59" y="13"/>
                    </a:cubicBezTo>
                    <a:cubicBezTo>
                      <a:pt x="60" y="13"/>
                      <a:pt x="60" y="13"/>
                      <a:pt x="60" y="13"/>
                    </a:cubicBezTo>
                    <a:cubicBezTo>
                      <a:pt x="61" y="12"/>
                      <a:pt x="60" y="12"/>
                      <a:pt x="60" y="12"/>
                    </a:cubicBezTo>
                    <a:cubicBezTo>
                      <a:pt x="60" y="12"/>
                      <a:pt x="61" y="12"/>
                      <a:pt x="61" y="12"/>
                    </a:cubicBezTo>
                    <a:cubicBezTo>
                      <a:pt x="61" y="11"/>
                      <a:pt x="60" y="11"/>
                      <a:pt x="60" y="10"/>
                    </a:cubicBezTo>
                    <a:cubicBezTo>
                      <a:pt x="60" y="10"/>
                      <a:pt x="59" y="10"/>
                      <a:pt x="59" y="9"/>
                    </a:cubicBezTo>
                    <a:cubicBezTo>
                      <a:pt x="59" y="9"/>
                      <a:pt x="60" y="9"/>
                      <a:pt x="60" y="8"/>
                    </a:cubicBezTo>
                    <a:cubicBezTo>
                      <a:pt x="60" y="8"/>
                      <a:pt x="59" y="8"/>
                      <a:pt x="59" y="8"/>
                    </a:cubicBezTo>
                    <a:cubicBezTo>
                      <a:pt x="59" y="8"/>
                      <a:pt x="59" y="7"/>
                      <a:pt x="59" y="7"/>
                    </a:cubicBezTo>
                    <a:cubicBezTo>
                      <a:pt x="59" y="7"/>
                      <a:pt x="60" y="6"/>
                      <a:pt x="59" y="6"/>
                    </a:cubicBezTo>
                    <a:cubicBezTo>
                      <a:pt x="59" y="6"/>
                      <a:pt x="58" y="6"/>
                      <a:pt x="58" y="6"/>
                    </a:cubicBezTo>
                    <a:cubicBezTo>
                      <a:pt x="57" y="5"/>
                      <a:pt x="57" y="6"/>
                      <a:pt x="56" y="5"/>
                    </a:cubicBezTo>
                    <a:cubicBezTo>
                      <a:pt x="56" y="4"/>
                      <a:pt x="54" y="3"/>
                      <a:pt x="53" y="4"/>
                    </a:cubicBezTo>
                    <a:cubicBezTo>
                      <a:pt x="52" y="4"/>
                      <a:pt x="52" y="3"/>
                      <a:pt x="51" y="3"/>
                    </a:cubicBezTo>
                    <a:cubicBezTo>
                      <a:pt x="50" y="3"/>
                      <a:pt x="50" y="4"/>
                      <a:pt x="50" y="4"/>
                    </a:cubicBezTo>
                    <a:cubicBezTo>
                      <a:pt x="50" y="4"/>
                      <a:pt x="49" y="4"/>
                      <a:pt x="49" y="4"/>
                    </a:cubicBezTo>
                    <a:cubicBezTo>
                      <a:pt x="49" y="4"/>
                      <a:pt x="49" y="5"/>
                      <a:pt x="48" y="5"/>
                    </a:cubicBezTo>
                    <a:cubicBezTo>
                      <a:pt x="48" y="5"/>
                      <a:pt x="48" y="5"/>
                      <a:pt x="47" y="5"/>
                    </a:cubicBezTo>
                    <a:cubicBezTo>
                      <a:pt x="47" y="5"/>
                      <a:pt x="46" y="4"/>
                      <a:pt x="46" y="4"/>
                    </a:cubicBezTo>
                    <a:cubicBezTo>
                      <a:pt x="47" y="3"/>
                      <a:pt x="46" y="3"/>
                      <a:pt x="47" y="3"/>
                    </a:cubicBezTo>
                    <a:cubicBezTo>
                      <a:pt x="47" y="3"/>
                      <a:pt x="47" y="3"/>
                      <a:pt x="47" y="3"/>
                    </a:cubicBezTo>
                    <a:cubicBezTo>
                      <a:pt x="47" y="2"/>
                      <a:pt x="44" y="2"/>
                      <a:pt x="44" y="2"/>
                    </a:cubicBezTo>
                    <a:cubicBezTo>
                      <a:pt x="43" y="2"/>
                      <a:pt x="43" y="2"/>
                      <a:pt x="42" y="2"/>
                    </a:cubicBezTo>
                    <a:cubicBezTo>
                      <a:pt x="41" y="3"/>
                      <a:pt x="41" y="2"/>
                      <a:pt x="41" y="1"/>
                    </a:cubicBezTo>
                    <a:cubicBezTo>
                      <a:pt x="40" y="1"/>
                      <a:pt x="38" y="1"/>
                      <a:pt x="38" y="1"/>
                    </a:cubicBezTo>
                    <a:cubicBezTo>
                      <a:pt x="38" y="2"/>
                      <a:pt x="36" y="0"/>
                      <a:pt x="35" y="1"/>
                    </a:cubicBezTo>
                    <a:cubicBezTo>
                      <a:pt x="35" y="1"/>
                      <a:pt x="35" y="1"/>
                      <a:pt x="34" y="1"/>
                    </a:cubicBezTo>
                    <a:cubicBezTo>
                      <a:pt x="34" y="1"/>
                      <a:pt x="34" y="1"/>
                      <a:pt x="34" y="1"/>
                    </a:cubicBezTo>
                    <a:cubicBezTo>
                      <a:pt x="33" y="2"/>
                      <a:pt x="34" y="2"/>
                      <a:pt x="33" y="2"/>
                    </a:cubicBezTo>
                    <a:cubicBezTo>
                      <a:pt x="32" y="3"/>
                      <a:pt x="32" y="3"/>
                      <a:pt x="32" y="3"/>
                    </a:cubicBezTo>
                    <a:cubicBezTo>
                      <a:pt x="32" y="4"/>
                      <a:pt x="32" y="4"/>
                      <a:pt x="32" y="4"/>
                    </a:cubicBezTo>
                    <a:cubicBezTo>
                      <a:pt x="31" y="4"/>
                      <a:pt x="30" y="4"/>
                      <a:pt x="30" y="4"/>
                    </a:cubicBezTo>
                    <a:cubicBezTo>
                      <a:pt x="30" y="4"/>
                      <a:pt x="29" y="4"/>
                      <a:pt x="29" y="4"/>
                    </a:cubicBezTo>
                    <a:cubicBezTo>
                      <a:pt x="28" y="4"/>
                      <a:pt x="28" y="4"/>
                      <a:pt x="27" y="4"/>
                    </a:cubicBezTo>
                    <a:cubicBezTo>
                      <a:pt x="27" y="4"/>
                      <a:pt x="27" y="5"/>
                      <a:pt x="26" y="5"/>
                    </a:cubicBezTo>
                    <a:cubicBezTo>
                      <a:pt x="25" y="6"/>
                      <a:pt x="24" y="4"/>
                      <a:pt x="24" y="6"/>
                    </a:cubicBezTo>
                    <a:cubicBezTo>
                      <a:pt x="25" y="6"/>
                      <a:pt x="24" y="7"/>
                      <a:pt x="24" y="7"/>
                    </a:cubicBezTo>
                    <a:cubicBezTo>
                      <a:pt x="24" y="7"/>
                      <a:pt x="24" y="8"/>
                      <a:pt x="24" y="8"/>
                    </a:cubicBezTo>
                    <a:cubicBezTo>
                      <a:pt x="24" y="8"/>
                      <a:pt x="24" y="8"/>
                      <a:pt x="24" y="8"/>
                    </a:cubicBezTo>
                    <a:cubicBezTo>
                      <a:pt x="23" y="10"/>
                      <a:pt x="25" y="9"/>
                      <a:pt x="26" y="9"/>
                    </a:cubicBezTo>
                    <a:cubicBezTo>
                      <a:pt x="27" y="9"/>
                      <a:pt x="25" y="10"/>
                      <a:pt x="25" y="10"/>
                    </a:cubicBezTo>
                    <a:cubicBezTo>
                      <a:pt x="25" y="11"/>
                      <a:pt x="25" y="11"/>
                      <a:pt x="24" y="11"/>
                    </a:cubicBezTo>
                    <a:cubicBezTo>
                      <a:pt x="24" y="11"/>
                      <a:pt x="23" y="11"/>
                      <a:pt x="23" y="11"/>
                    </a:cubicBezTo>
                    <a:cubicBezTo>
                      <a:pt x="22" y="10"/>
                      <a:pt x="22" y="12"/>
                      <a:pt x="21" y="13"/>
                    </a:cubicBezTo>
                    <a:cubicBezTo>
                      <a:pt x="21" y="13"/>
                      <a:pt x="20" y="13"/>
                      <a:pt x="20" y="13"/>
                    </a:cubicBezTo>
                    <a:cubicBezTo>
                      <a:pt x="19" y="13"/>
                      <a:pt x="19" y="13"/>
                      <a:pt x="19" y="13"/>
                    </a:cubicBezTo>
                    <a:cubicBezTo>
                      <a:pt x="19" y="14"/>
                      <a:pt x="19" y="14"/>
                      <a:pt x="19" y="14"/>
                    </a:cubicBezTo>
                    <a:cubicBezTo>
                      <a:pt x="18" y="15"/>
                      <a:pt x="18" y="15"/>
                      <a:pt x="18" y="16"/>
                    </a:cubicBezTo>
                    <a:cubicBezTo>
                      <a:pt x="18" y="16"/>
                      <a:pt x="19" y="17"/>
                      <a:pt x="18" y="17"/>
                    </a:cubicBezTo>
                    <a:cubicBezTo>
                      <a:pt x="18" y="17"/>
                      <a:pt x="18" y="17"/>
                      <a:pt x="18" y="18"/>
                    </a:cubicBezTo>
                    <a:cubicBezTo>
                      <a:pt x="18" y="19"/>
                      <a:pt x="17" y="19"/>
                      <a:pt x="17" y="19"/>
                    </a:cubicBezTo>
                    <a:cubicBezTo>
                      <a:pt x="17" y="20"/>
                      <a:pt x="18" y="19"/>
                      <a:pt x="18" y="19"/>
                    </a:cubicBezTo>
                    <a:cubicBezTo>
                      <a:pt x="19" y="19"/>
                      <a:pt x="19" y="20"/>
                      <a:pt x="19" y="21"/>
                    </a:cubicBezTo>
                    <a:cubicBezTo>
                      <a:pt x="19" y="22"/>
                      <a:pt x="17" y="21"/>
                      <a:pt x="17" y="21"/>
                    </a:cubicBezTo>
                    <a:cubicBezTo>
                      <a:pt x="17" y="21"/>
                      <a:pt x="17" y="20"/>
                      <a:pt x="17" y="20"/>
                    </a:cubicBezTo>
                    <a:cubicBezTo>
                      <a:pt x="17" y="20"/>
                      <a:pt x="17" y="20"/>
                      <a:pt x="18" y="20"/>
                    </a:cubicBezTo>
                    <a:cubicBezTo>
                      <a:pt x="17" y="20"/>
                      <a:pt x="17" y="20"/>
                      <a:pt x="17" y="20"/>
                    </a:cubicBezTo>
                    <a:cubicBezTo>
                      <a:pt x="16" y="20"/>
                      <a:pt x="16" y="20"/>
                      <a:pt x="16" y="20"/>
                    </a:cubicBezTo>
                    <a:cubicBezTo>
                      <a:pt x="16" y="20"/>
                      <a:pt x="15" y="20"/>
                      <a:pt x="15" y="20"/>
                    </a:cubicBezTo>
                    <a:cubicBezTo>
                      <a:pt x="15" y="20"/>
                      <a:pt x="14" y="21"/>
                      <a:pt x="14" y="21"/>
                    </a:cubicBezTo>
                    <a:cubicBezTo>
                      <a:pt x="13" y="22"/>
                      <a:pt x="13" y="21"/>
                      <a:pt x="12" y="21"/>
                    </a:cubicBezTo>
                    <a:cubicBezTo>
                      <a:pt x="11" y="22"/>
                      <a:pt x="12" y="23"/>
                      <a:pt x="11" y="23"/>
                    </a:cubicBezTo>
                    <a:cubicBezTo>
                      <a:pt x="11" y="23"/>
                      <a:pt x="10" y="23"/>
                      <a:pt x="10" y="23"/>
                    </a:cubicBezTo>
                    <a:cubicBezTo>
                      <a:pt x="9" y="23"/>
                      <a:pt x="9" y="23"/>
                      <a:pt x="9" y="24"/>
                    </a:cubicBezTo>
                    <a:cubicBezTo>
                      <a:pt x="8" y="24"/>
                      <a:pt x="7" y="24"/>
                      <a:pt x="7" y="24"/>
                    </a:cubicBezTo>
                    <a:cubicBezTo>
                      <a:pt x="7" y="23"/>
                      <a:pt x="7" y="23"/>
                      <a:pt x="6" y="23"/>
                    </a:cubicBezTo>
                    <a:cubicBezTo>
                      <a:pt x="6" y="23"/>
                      <a:pt x="5" y="24"/>
                      <a:pt x="5" y="23"/>
                    </a:cubicBezTo>
                    <a:cubicBezTo>
                      <a:pt x="4" y="23"/>
                      <a:pt x="4" y="23"/>
                      <a:pt x="4" y="23"/>
                    </a:cubicBezTo>
                    <a:cubicBezTo>
                      <a:pt x="3" y="24"/>
                      <a:pt x="2" y="24"/>
                      <a:pt x="2" y="24"/>
                    </a:cubicBezTo>
                    <a:cubicBezTo>
                      <a:pt x="2" y="24"/>
                      <a:pt x="1" y="23"/>
                      <a:pt x="1" y="23"/>
                    </a:cubicBezTo>
                    <a:cubicBezTo>
                      <a:pt x="1" y="24"/>
                      <a:pt x="1" y="25"/>
                      <a:pt x="2" y="25"/>
                    </a:cubicBezTo>
                    <a:cubicBezTo>
                      <a:pt x="2" y="26"/>
                      <a:pt x="2" y="27"/>
                      <a:pt x="2" y="27"/>
                    </a:cubicBezTo>
                    <a:cubicBezTo>
                      <a:pt x="3" y="28"/>
                      <a:pt x="3" y="28"/>
                      <a:pt x="3" y="29"/>
                    </a:cubicBezTo>
                    <a:cubicBezTo>
                      <a:pt x="4" y="30"/>
                      <a:pt x="4" y="30"/>
                      <a:pt x="4" y="31"/>
                    </a:cubicBezTo>
                    <a:cubicBezTo>
                      <a:pt x="5" y="31"/>
                      <a:pt x="5" y="32"/>
                      <a:pt x="5" y="32"/>
                    </a:cubicBezTo>
                    <a:cubicBezTo>
                      <a:pt x="5" y="33"/>
                      <a:pt x="5" y="33"/>
                      <a:pt x="5" y="34"/>
                    </a:cubicBezTo>
                    <a:cubicBezTo>
                      <a:pt x="5" y="34"/>
                      <a:pt x="6" y="36"/>
                      <a:pt x="5" y="36"/>
                    </a:cubicBezTo>
                    <a:cubicBezTo>
                      <a:pt x="5" y="37"/>
                      <a:pt x="4" y="37"/>
                      <a:pt x="4" y="37"/>
                    </a:cubicBezTo>
                    <a:cubicBezTo>
                      <a:pt x="3" y="37"/>
                      <a:pt x="2" y="38"/>
                      <a:pt x="2" y="38"/>
                    </a:cubicBezTo>
                    <a:cubicBezTo>
                      <a:pt x="1" y="39"/>
                      <a:pt x="0" y="40"/>
                      <a:pt x="0" y="41"/>
                    </a:cubicBezTo>
                    <a:cubicBezTo>
                      <a:pt x="0" y="41"/>
                      <a:pt x="0" y="41"/>
                      <a:pt x="0" y="41"/>
                    </a:cubicBezTo>
                    <a:cubicBezTo>
                      <a:pt x="0" y="42"/>
                      <a:pt x="1" y="41"/>
                      <a:pt x="1" y="42"/>
                    </a:cubicBezTo>
                    <a:cubicBezTo>
                      <a:pt x="1" y="42"/>
                      <a:pt x="1" y="42"/>
                      <a:pt x="2" y="42"/>
                    </a:cubicBezTo>
                    <a:cubicBezTo>
                      <a:pt x="2" y="42"/>
                      <a:pt x="2" y="42"/>
                      <a:pt x="2" y="42"/>
                    </a:cubicBezTo>
                    <a:cubicBezTo>
                      <a:pt x="3" y="42"/>
                      <a:pt x="2" y="42"/>
                      <a:pt x="3" y="42"/>
                    </a:cubicBezTo>
                    <a:cubicBezTo>
                      <a:pt x="3" y="42"/>
                      <a:pt x="3" y="43"/>
                      <a:pt x="3" y="43"/>
                    </a:cubicBezTo>
                    <a:cubicBezTo>
                      <a:pt x="4" y="43"/>
                      <a:pt x="4" y="43"/>
                      <a:pt x="4" y="44"/>
                    </a:cubicBezTo>
                    <a:cubicBezTo>
                      <a:pt x="4" y="44"/>
                      <a:pt x="4" y="44"/>
                      <a:pt x="4" y="45"/>
                    </a:cubicBezTo>
                    <a:cubicBezTo>
                      <a:pt x="4" y="45"/>
                      <a:pt x="4" y="46"/>
                      <a:pt x="4" y="46"/>
                    </a:cubicBezTo>
                    <a:cubicBezTo>
                      <a:pt x="4" y="46"/>
                      <a:pt x="3" y="46"/>
                      <a:pt x="3" y="46"/>
                    </a:cubicBezTo>
                    <a:cubicBezTo>
                      <a:pt x="3" y="47"/>
                      <a:pt x="3" y="47"/>
                      <a:pt x="3" y="47"/>
                    </a:cubicBezTo>
                    <a:cubicBezTo>
                      <a:pt x="3" y="48"/>
                      <a:pt x="3" y="49"/>
                      <a:pt x="4" y="49"/>
                    </a:cubicBezTo>
                    <a:cubicBezTo>
                      <a:pt x="4" y="49"/>
                      <a:pt x="4" y="48"/>
                      <a:pt x="4" y="48"/>
                    </a:cubicBezTo>
                    <a:cubicBezTo>
                      <a:pt x="5" y="47"/>
                      <a:pt x="6" y="48"/>
                      <a:pt x="7" y="48"/>
                    </a:cubicBezTo>
                    <a:cubicBezTo>
                      <a:pt x="8" y="48"/>
                      <a:pt x="8" y="47"/>
                      <a:pt x="9" y="47"/>
                    </a:cubicBezTo>
                    <a:cubicBezTo>
                      <a:pt x="9" y="46"/>
                      <a:pt x="9" y="46"/>
                      <a:pt x="10" y="45"/>
                    </a:cubicBezTo>
                    <a:cubicBezTo>
                      <a:pt x="10" y="45"/>
                      <a:pt x="11" y="45"/>
                      <a:pt x="12" y="45"/>
                    </a:cubicBezTo>
                    <a:cubicBezTo>
                      <a:pt x="13" y="45"/>
                      <a:pt x="14" y="45"/>
                      <a:pt x="14" y="45"/>
                    </a:cubicBezTo>
                    <a:cubicBezTo>
                      <a:pt x="15" y="44"/>
                      <a:pt x="16" y="44"/>
                      <a:pt x="17" y="44"/>
                    </a:cubicBezTo>
                    <a:cubicBezTo>
                      <a:pt x="18" y="44"/>
                      <a:pt x="19" y="45"/>
                      <a:pt x="19" y="45"/>
                    </a:cubicBezTo>
                    <a:cubicBezTo>
                      <a:pt x="21" y="44"/>
                      <a:pt x="22" y="44"/>
                      <a:pt x="23" y="45"/>
                    </a:cubicBezTo>
                    <a:cubicBezTo>
                      <a:pt x="24" y="45"/>
                      <a:pt x="24" y="45"/>
                      <a:pt x="25" y="45"/>
                    </a:cubicBezTo>
                    <a:cubicBezTo>
                      <a:pt x="25" y="45"/>
                      <a:pt x="26" y="45"/>
                      <a:pt x="27" y="45"/>
                    </a:cubicBezTo>
                    <a:cubicBezTo>
                      <a:pt x="27" y="45"/>
                      <a:pt x="27" y="46"/>
                      <a:pt x="28" y="46"/>
                    </a:cubicBezTo>
                    <a:cubicBezTo>
                      <a:pt x="29" y="46"/>
                      <a:pt x="30" y="46"/>
                      <a:pt x="31" y="46"/>
                    </a:cubicBezTo>
                    <a:cubicBezTo>
                      <a:pt x="31" y="46"/>
                      <a:pt x="32" y="46"/>
                      <a:pt x="33" y="46"/>
                    </a:cubicBezTo>
                    <a:cubicBezTo>
                      <a:pt x="33" y="46"/>
                      <a:pt x="34" y="46"/>
                      <a:pt x="34" y="47"/>
                    </a:cubicBezTo>
                    <a:cubicBezTo>
                      <a:pt x="34" y="47"/>
                      <a:pt x="34" y="47"/>
                      <a:pt x="34" y="47"/>
                    </a:cubicBezTo>
                    <a:cubicBezTo>
                      <a:pt x="35" y="48"/>
                      <a:pt x="35" y="48"/>
                      <a:pt x="36" y="48"/>
                    </a:cubicBezTo>
                    <a:cubicBezTo>
                      <a:pt x="36" y="48"/>
                      <a:pt x="36" y="48"/>
                      <a:pt x="37" y="48"/>
                    </a:cubicBezTo>
                    <a:cubicBezTo>
                      <a:pt x="38" y="48"/>
                      <a:pt x="38" y="48"/>
                      <a:pt x="38" y="49"/>
                    </a:cubicBezTo>
                    <a:cubicBezTo>
                      <a:pt x="38" y="49"/>
                      <a:pt x="38" y="49"/>
                      <a:pt x="38" y="49"/>
                    </a:cubicBezTo>
                    <a:cubicBezTo>
                      <a:pt x="39" y="49"/>
                      <a:pt x="39" y="48"/>
                      <a:pt x="39" y="48"/>
                    </a:cubicBezTo>
                    <a:cubicBezTo>
                      <a:pt x="39" y="47"/>
                      <a:pt x="40" y="48"/>
                      <a:pt x="41" y="48"/>
                    </a:cubicBezTo>
                    <a:cubicBezTo>
                      <a:pt x="42" y="48"/>
                      <a:pt x="42" y="47"/>
                      <a:pt x="43" y="48"/>
                    </a:cubicBezTo>
                    <a:cubicBezTo>
                      <a:pt x="43" y="48"/>
                      <a:pt x="43" y="49"/>
                      <a:pt x="44" y="48"/>
                    </a:cubicBezTo>
                    <a:cubicBezTo>
                      <a:pt x="44" y="48"/>
                      <a:pt x="45" y="48"/>
                      <a:pt x="45" y="48"/>
                    </a:cubicBezTo>
                    <a:cubicBezTo>
                      <a:pt x="46" y="49"/>
                      <a:pt x="46" y="49"/>
                      <a:pt x="46" y="49"/>
                    </a:cubicBezTo>
                    <a:cubicBezTo>
                      <a:pt x="46" y="49"/>
                      <a:pt x="47" y="50"/>
                      <a:pt x="47" y="50"/>
                    </a:cubicBezTo>
                    <a:cubicBezTo>
                      <a:pt x="47" y="49"/>
                      <a:pt x="47" y="49"/>
                      <a:pt x="47" y="49"/>
                    </a:cubicBezTo>
                    <a:cubicBezTo>
                      <a:pt x="48" y="48"/>
                      <a:pt x="48" y="48"/>
                      <a:pt x="49" y="48"/>
                    </a:cubicBezTo>
                    <a:cubicBezTo>
                      <a:pt x="49" y="48"/>
                      <a:pt x="49" y="47"/>
                      <a:pt x="50" y="48"/>
                    </a:cubicBezTo>
                    <a:cubicBezTo>
                      <a:pt x="50" y="48"/>
                      <a:pt x="50" y="48"/>
                      <a:pt x="51" y="48"/>
                    </a:cubicBezTo>
                    <a:cubicBezTo>
                      <a:pt x="51" y="49"/>
                      <a:pt x="51" y="50"/>
                      <a:pt x="52" y="50"/>
                    </a:cubicBezTo>
                    <a:cubicBezTo>
                      <a:pt x="52" y="50"/>
                      <a:pt x="53" y="50"/>
                      <a:pt x="53" y="50"/>
                    </a:cubicBezTo>
                    <a:cubicBezTo>
                      <a:pt x="53" y="50"/>
                      <a:pt x="53" y="50"/>
                      <a:pt x="53" y="49"/>
                    </a:cubicBezTo>
                    <a:cubicBezTo>
                      <a:pt x="54" y="49"/>
                      <a:pt x="54" y="50"/>
                      <a:pt x="54" y="49"/>
                    </a:cubicBezTo>
                    <a:cubicBezTo>
                      <a:pt x="54" y="49"/>
                      <a:pt x="54" y="49"/>
                      <a:pt x="54" y="49"/>
                    </a:cubicBezTo>
                    <a:cubicBezTo>
                      <a:pt x="55" y="49"/>
                      <a:pt x="55" y="49"/>
                      <a:pt x="55" y="49"/>
                    </a:cubicBezTo>
                    <a:cubicBezTo>
                      <a:pt x="55" y="50"/>
                      <a:pt x="57" y="49"/>
                      <a:pt x="58" y="49"/>
                    </a:cubicBezTo>
                    <a:cubicBezTo>
                      <a:pt x="58" y="49"/>
                      <a:pt x="59" y="49"/>
                      <a:pt x="59" y="49"/>
                    </a:cubicBezTo>
                    <a:cubicBezTo>
                      <a:pt x="59" y="49"/>
                      <a:pt x="60" y="50"/>
                      <a:pt x="60" y="50"/>
                    </a:cubicBezTo>
                    <a:cubicBezTo>
                      <a:pt x="60" y="50"/>
                      <a:pt x="60" y="51"/>
                      <a:pt x="61" y="51"/>
                    </a:cubicBezTo>
                    <a:cubicBezTo>
                      <a:pt x="61" y="51"/>
                      <a:pt x="62" y="51"/>
                      <a:pt x="62" y="52"/>
                    </a:cubicBezTo>
                    <a:cubicBezTo>
                      <a:pt x="62" y="51"/>
                      <a:pt x="63" y="50"/>
                      <a:pt x="62" y="50"/>
                    </a:cubicBezTo>
                    <a:cubicBezTo>
                      <a:pt x="62" y="50"/>
                      <a:pt x="62" y="49"/>
                      <a:pt x="62" y="49"/>
                    </a:cubicBezTo>
                    <a:cubicBezTo>
                      <a:pt x="62" y="49"/>
                      <a:pt x="62" y="49"/>
                      <a:pt x="62" y="49"/>
                    </a:cubicBezTo>
                    <a:cubicBezTo>
                      <a:pt x="62" y="49"/>
                      <a:pt x="62" y="48"/>
                      <a:pt x="62" y="48"/>
                    </a:cubicBezTo>
                    <a:cubicBezTo>
                      <a:pt x="61" y="48"/>
                      <a:pt x="62" y="46"/>
                      <a:pt x="62" y="46"/>
                    </a:cubicBezTo>
                    <a:cubicBezTo>
                      <a:pt x="62" y="46"/>
                      <a:pt x="63" y="45"/>
                      <a:pt x="63" y="45"/>
                    </a:cubicBezTo>
                    <a:cubicBezTo>
                      <a:pt x="63" y="45"/>
                      <a:pt x="63" y="44"/>
                      <a:pt x="63" y="44"/>
                    </a:cubicBezTo>
                    <a:cubicBezTo>
                      <a:pt x="63" y="44"/>
                      <a:pt x="64" y="44"/>
                      <a:pt x="64" y="44"/>
                    </a:cubicBezTo>
                    <a:cubicBezTo>
                      <a:pt x="64" y="44"/>
                      <a:pt x="64" y="44"/>
                      <a:pt x="64" y="44"/>
                    </a:cubicBezTo>
                    <a:cubicBezTo>
                      <a:pt x="64" y="44"/>
                      <a:pt x="64" y="44"/>
                      <a:pt x="64" y="44"/>
                    </a:cubicBezTo>
                    <a:cubicBezTo>
                      <a:pt x="65" y="43"/>
                      <a:pt x="64" y="43"/>
                      <a:pt x="64" y="43"/>
                    </a:cubicBezTo>
                    <a:cubicBezTo>
                      <a:pt x="64" y="43"/>
                      <a:pt x="65" y="43"/>
                      <a:pt x="65" y="43"/>
                    </a:cubicBezTo>
                    <a:cubicBezTo>
                      <a:pt x="66" y="43"/>
                      <a:pt x="66" y="43"/>
                      <a:pt x="66" y="43"/>
                    </a:cubicBezTo>
                    <a:cubicBezTo>
                      <a:pt x="67" y="43"/>
                      <a:pt x="67" y="43"/>
                      <a:pt x="67" y="43"/>
                    </a:cubicBezTo>
                    <a:cubicBezTo>
                      <a:pt x="68" y="42"/>
                      <a:pt x="70" y="43"/>
                      <a:pt x="71" y="43"/>
                    </a:cubicBezTo>
                    <a:cubicBezTo>
                      <a:pt x="71" y="42"/>
                      <a:pt x="70" y="42"/>
                      <a:pt x="70" y="41"/>
                    </a:cubicBezTo>
                    <a:cubicBezTo>
                      <a:pt x="70" y="41"/>
                      <a:pt x="70" y="41"/>
                      <a:pt x="70" y="41"/>
                    </a:cubicBezTo>
                    <a:cubicBezTo>
                      <a:pt x="69" y="40"/>
                      <a:pt x="70" y="40"/>
                      <a:pt x="70" y="40"/>
                    </a:cubicBezTo>
                    <a:cubicBezTo>
                      <a:pt x="69" y="39"/>
                      <a:pt x="69" y="39"/>
                      <a:pt x="69" y="38"/>
                    </a:cubicBezTo>
                    <a:cubicBezTo>
                      <a:pt x="69" y="38"/>
                      <a:pt x="69" y="38"/>
                      <a:pt x="69" y="38"/>
                    </a:cubicBezTo>
                    <a:cubicBezTo>
                      <a:pt x="69" y="37"/>
                      <a:pt x="68" y="37"/>
                      <a:pt x="68" y="36"/>
                    </a:cubicBezTo>
                    <a:cubicBezTo>
                      <a:pt x="69" y="36"/>
                      <a:pt x="69" y="36"/>
                      <a:pt x="68" y="35"/>
                    </a:cubicBezTo>
                    <a:cubicBezTo>
                      <a:pt x="68" y="35"/>
                      <a:pt x="68" y="35"/>
                      <a:pt x="67" y="34"/>
                    </a:cubicBezTo>
                    <a:cubicBezTo>
                      <a:pt x="67" y="34"/>
                      <a:pt x="67" y="34"/>
                      <a:pt x="66" y="33"/>
                    </a:cubicBezTo>
                    <a:cubicBezTo>
                      <a:pt x="66" y="33"/>
                      <a:pt x="66" y="33"/>
                      <a:pt x="66" y="33"/>
                    </a:cubicBezTo>
                    <a:cubicBezTo>
                      <a:pt x="66" y="33"/>
                      <a:pt x="66" y="33"/>
                      <a:pt x="66" y="32"/>
                    </a:cubicBezTo>
                    <a:cubicBezTo>
                      <a:pt x="67" y="31"/>
                      <a:pt x="66" y="31"/>
                      <a:pt x="68" y="31"/>
                    </a:cubicBezTo>
                    <a:cubicBezTo>
                      <a:pt x="69" y="31"/>
                      <a:pt x="69" y="31"/>
                      <a:pt x="70" y="32"/>
                    </a:cubicBezTo>
                    <a:cubicBezTo>
                      <a:pt x="70" y="32"/>
                      <a:pt x="72" y="32"/>
                      <a:pt x="73" y="32"/>
                    </a:cubicBezTo>
                    <a:cubicBezTo>
                      <a:pt x="73" y="32"/>
                      <a:pt x="73" y="32"/>
                      <a:pt x="74" y="32"/>
                    </a:cubicBezTo>
                    <a:cubicBezTo>
                      <a:pt x="74" y="32"/>
                      <a:pt x="74" y="32"/>
                      <a:pt x="74" y="31"/>
                    </a:cubicBezTo>
                    <a:cubicBezTo>
                      <a:pt x="75" y="31"/>
                      <a:pt x="75" y="31"/>
                      <a:pt x="75" y="31"/>
                    </a:cubicBezTo>
                    <a:cubicBezTo>
                      <a:pt x="75" y="31"/>
                      <a:pt x="75" y="30"/>
                      <a:pt x="75" y="30"/>
                    </a:cubicBezTo>
                    <a:cubicBezTo>
                      <a:pt x="75" y="30"/>
                      <a:pt x="77" y="30"/>
                      <a:pt x="77" y="30"/>
                    </a:cubicBezTo>
                    <a:cubicBezTo>
                      <a:pt x="77" y="30"/>
                      <a:pt x="77" y="28"/>
                      <a:pt x="77" y="2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0" name="Barbados">
                <a:extLst>
                  <a:ext uri="{FF2B5EF4-FFF2-40B4-BE49-F238E27FC236}">
                    <a16:creationId xmlns:a16="http://schemas.microsoft.com/office/drawing/2014/main" id="{E225AE83-5BC7-F98B-A9C8-530801B63A84}"/>
                  </a:ext>
                </a:extLst>
              </p:cNvPr>
              <p:cNvSpPr>
                <a:spLocks/>
              </p:cNvSpPr>
              <p:nvPr/>
            </p:nvSpPr>
            <p:spPr bwMode="auto">
              <a:xfrm>
                <a:off x="3660882" y="3526824"/>
                <a:ext cx="10781" cy="10781"/>
              </a:xfrm>
              <a:custGeom>
                <a:avLst/>
                <a:gdLst/>
                <a:ahLst/>
                <a:cxnLst>
                  <a:cxn ang="0">
                    <a:pos x="2" y="1"/>
                  </a:cxn>
                  <a:cxn ang="0">
                    <a:pos x="2" y="1"/>
                  </a:cxn>
                  <a:cxn ang="0">
                    <a:pos x="1" y="0"/>
                  </a:cxn>
                  <a:cxn ang="0">
                    <a:pos x="1" y="0"/>
                  </a:cxn>
                  <a:cxn ang="0">
                    <a:pos x="1" y="2"/>
                  </a:cxn>
                  <a:cxn ang="0">
                    <a:pos x="2" y="2"/>
                  </a:cxn>
                  <a:cxn ang="0">
                    <a:pos x="2" y="1"/>
                  </a:cxn>
                </a:cxnLst>
                <a:rect l="0" t="0" r="r" b="b"/>
                <a:pathLst>
                  <a:path w="3" h="3">
                    <a:moveTo>
                      <a:pt x="2" y="1"/>
                    </a:moveTo>
                    <a:cubicBezTo>
                      <a:pt x="2" y="1"/>
                      <a:pt x="2" y="1"/>
                      <a:pt x="2" y="1"/>
                    </a:cubicBezTo>
                    <a:cubicBezTo>
                      <a:pt x="1" y="0"/>
                      <a:pt x="1" y="0"/>
                      <a:pt x="1" y="0"/>
                    </a:cubicBezTo>
                    <a:cubicBezTo>
                      <a:pt x="1" y="0"/>
                      <a:pt x="1" y="0"/>
                      <a:pt x="1" y="0"/>
                    </a:cubicBezTo>
                    <a:cubicBezTo>
                      <a:pt x="1" y="1"/>
                      <a:pt x="0" y="2"/>
                      <a:pt x="1" y="2"/>
                    </a:cubicBezTo>
                    <a:cubicBezTo>
                      <a:pt x="1" y="3"/>
                      <a:pt x="2" y="3"/>
                      <a:pt x="2" y="2"/>
                    </a:cubicBezTo>
                    <a:cubicBezTo>
                      <a:pt x="3" y="2"/>
                      <a:pt x="3" y="2"/>
                      <a:pt x="2"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1" name="Bangladesh">
                <a:extLst>
                  <a:ext uri="{FF2B5EF4-FFF2-40B4-BE49-F238E27FC236}">
                    <a16:creationId xmlns:a16="http://schemas.microsoft.com/office/drawing/2014/main" id="{37A31DA4-9FEA-3124-0A5C-C5A6AAEDA52B}"/>
                  </a:ext>
                </a:extLst>
              </p:cNvPr>
              <p:cNvSpPr>
                <a:spLocks noEditPoints="1"/>
              </p:cNvSpPr>
              <p:nvPr/>
            </p:nvSpPr>
            <p:spPr bwMode="auto">
              <a:xfrm>
                <a:off x="8646978" y="3009296"/>
                <a:ext cx="176429" cy="226419"/>
              </a:xfrm>
              <a:custGeom>
                <a:avLst/>
                <a:gdLst/>
                <a:ahLst/>
                <a:cxnLst>
                  <a:cxn ang="0">
                    <a:pos x="33" y="46"/>
                  </a:cxn>
                  <a:cxn ang="0">
                    <a:pos x="29" y="44"/>
                  </a:cxn>
                  <a:cxn ang="0">
                    <a:pos x="31" y="50"/>
                  </a:cxn>
                  <a:cxn ang="0">
                    <a:pos x="34" y="46"/>
                  </a:cxn>
                  <a:cxn ang="0">
                    <a:pos x="46" y="57"/>
                  </a:cxn>
                  <a:cxn ang="0">
                    <a:pos x="45" y="60"/>
                  </a:cxn>
                  <a:cxn ang="0">
                    <a:pos x="42" y="53"/>
                  </a:cxn>
                  <a:cxn ang="0">
                    <a:pos x="40" y="47"/>
                  </a:cxn>
                  <a:cxn ang="0">
                    <a:pos x="40" y="47"/>
                  </a:cxn>
                  <a:cxn ang="0">
                    <a:pos x="35" y="41"/>
                  </a:cxn>
                  <a:cxn ang="0">
                    <a:pos x="30" y="40"/>
                  </a:cxn>
                  <a:cxn ang="0">
                    <a:pos x="27" y="34"/>
                  </a:cxn>
                  <a:cxn ang="0">
                    <a:pos x="26" y="33"/>
                  </a:cxn>
                  <a:cxn ang="0">
                    <a:pos x="28" y="37"/>
                  </a:cxn>
                  <a:cxn ang="0">
                    <a:pos x="27" y="41"/>
                  </a:cxn>
                  <a:cxn ang="0">
                    <a:pos x="28" y="44"/>
                  </a:cxn>
                  <a:cxn ang="0">
                    <a:pos x="27" y="47"/>
                  </a:cxn>
                  <a:cxn ang="0">
                    <a:pos x="25" y="51"/>
                  </a:cxn>
                  <a:cxn ang="0">
                    <a:pos x="25" y="49"/>
                  </a:cxn>
                  <a:cxn ang="0">
                    <a:pos x="23" y="51"/>
                  </a:cxn>
                  <a:cxn ang="0">
                    <a:pos x="22" y="46"/>
                  </a:cxn>
                  <a:cxn ang="0">
                    <a:pos x="20" y="51"/>
                  </a:cxn>
                  <a:cxn ang="0">
                    <a:pos x="19" y="52"/>
                  </a:cxn>
                  <a:cxn ang="0">
                    <a:pos x="19" y="49"/>
                  </a:cxn>
                  <a:cxn ang="0">
                    <a:pos x="19" y="49"/>
                  </a:cxn>
                  <a:cxn ang="0">
                    <a:pos x="18" y="51"/>
                  </a:cxn>
                  <a:cxn ang="0">
                    <a:pos x="16" y="53"/>
                  </a:cxn>
                  <a:cxn ang="0">
                    <a:pos x="14" y="47"/>
                  </a:cxn>
                  <a:cxn ang="0">
                    <a:pos x="12" y="37"/>
                  </a:cxn>
                  <a:cxn ang="0">
                    <a:pos x="9" y="34"/>
                  </a:cxn>
                  <a:cxn ang="0">
                    <a:pos x="9" y="28"/>
                  </a:cxn>
                  <a:cxn ang="0">
                    <a:pos x="3" y="23"/>
                  </a:cxn>
                  <a:cxn ang="0">
                    <a:pos x="3" y="19"/>
                  </a:cxn>
                  <a:cxn ang="0">
                    <a:pos x="8" y="15"/>
                  </a:cxn>
                  <a:cxn ang="0">
                    <a:pos x="6" y="12"/>
                  </a:cxn>
                  <a:cxn ang="0">
                    <a:pos x="0" y="6"/>
                  </a:cxn>
                  <a:cxn ang="0">
                    <a:pos x="3" y="2"/>
                  </a:cxn>
                  <a:cxn ang="0">
                    <a:pos x="4" y="2"/>
                  </a:cxn>
                  <a:cxn ang="0">
                    <a:pos x="7" y="4"/>
                  </a:cxn>
                  <a:cxn ang="0">
                    <a:pos x="10" y="5"/>
                  </a:cxn>
                  <a:cxn ang="0">
                    <a:pos x="14" y="6"/>
                  </a:cxn>
                  <a:cxn ang="0">
                    <a:pos x="15" y="5"/>
                  </a:cxn>
                  <a:cxn ang="0">
                    <a:pos x="16" y="9"/>
                  </a:cxn>
                  <a:cxn ang="0">
                    <a:pos x="23" y="16"/>
                  </a:cxn>
                  <a:cxn ang="0">
                    <a:pos x="30" y="15"/>
                  </a:cxn>
                  <a:cxn ang="0">
                    <a:pos x="42" y="18"/>
                  </a:cxn>
                  <a:cxn ang="0">
                    <a:pos x="40" y="23"/>
                  </a:cxn>
                  <a:cxn ang="0">
                    <a:pos x="39" y="26"/>
                  </a:cxn>
                  <a:cxn ang="0">
                    <a:pos x="35" y="27"/>
                  </a:cxn>
                  <a:cxn ang="0">
                    <a:pos x="33" y="34"/>
                  </a:cxn>
                  <a:cxn ang="0">
                    <a:pos x="36" y="37"/>
                  </a:cxn>
                  <a:cxn ang="0">
                    <a:pos x="39" y="39"/>
                  </a:cxn>
                  <a:cxn ang="0">
                    <a:pos x="41" y="32"/>
                  </a:cxn>
                  <a:cxn ang="0">
                    <a:pos x="45" y="39"/>
                  </a:cxn>
                  <a:cxn ang="0">
                    <a:pos x="47" y="46"/>
                  </a:cxn>
                  <a:cxn ang="0">
                    <a:pos x="49" y="57"/>
                  </a:cxn>
                  <a:cxn ang="0">
                    <a:pos x="41" y="52"/>
                  </a:cxn>
                  <a:cxn ang="0">
                    <a:pos x="42" y="54"/>
                  </a:cxn>
                  <a:cxn ang="0">
                    <a:pos x="42" y="54"/>
                  </a:cxn>
                  <a:cxn ang="0">
                    <a:pos x="36" y="44"/>
                  </a:cxn>
                  <a:cxn ang="0">
                    <a:pos x="32" y="44"/>
                  </a:cxn>
                </a:cxnLst>
                <a:rect l="0" t="0" r="r" b="b"/>
                <a:pathLst>
                  <a:path w="50" h="64">
                    <a:moveTo>
                      <a:pt x="33" y="45"/>
                    </a:moveTo>
                    <a:cubicBezTo>
                      <a:pt x="34" y="46"/>
                      <a:pt x="35" y="47"/>
                      <a:pt x="34" y="49"/>
                    </a:cubicBezTo>
                    <a:cubicBezTo>
                      <a:pt x="34" y="49"/>
                      <a:pt x="34" y="49"/>
                      <a:pt x="33" y="50"/>
                    </a:cubicBezTo>
                    <a:cubicBezTo>
                      <a:pt x="33" y="49"/>
                      <a:pt x="33" y="48"/>
                      <a:pt x="33" y="47"/>
                    </a:cubicBezTo>
                    <a:cubicBezTo>
                      <a:pt x="33" y="47"/>
                      <a:pt x="33" y="46"/>
                      <a:pt x="33" y="46"/>
                    </a:cubicBezTo>
                    <a:cubicBezTo>
                      <a:pt x="33" y="46"/>
                      <a:pt x="33" y="45"/>
                      <a:pt x="33" y="45"/>
                    </a:cubicBezTo>
                    <a:close/>
                    <a:moveTo>
                      <a:pt x="30" y="43"/>
                    </a:moveTo>
                    <a:cubicBezTo>
                      <a:pt x="29" y="43"/>
                      <a:pt x="29" y="42"/>
                      <a:pt x="29" y="42"/>
                    </a:cubicBezTo>
                    <a:cubicBezTo>
                      <a:pt x="28" y="42"/>
                      <a:pt x="28" y="43"/>
                      <a:pt x="28" y="43"/>
                    </a:cubicBezTo>
                    <a:cubicBezTo>
                      <a:pt x="28" y="44"/>
                      <a:pt x="28" y="44"/>
                      <a:pt x="29" y="44"/>
                    </a:cubicBezTo>
                    <a:cubicBezTo>
                      <a:pt x="30" y="46"/>
                      <a:pt x="29" y="47"/>
                      <a:pt x="29" y="49"/>
                    </a:cubicBezTo>
                    <a:cubicBezTo>
                      <a:pt x="29" y="49"/>
                      <a:pt x="29" y="50"/>
                      <a:pt x="29" y="50"/>
                    </a:cubicBezTo>
                    <a:cubicBezTo>
                      <a:pt x="30" y="50"/>
                      <a:pt x="30" y="50"/>
                      <a:pt x="30" y="49"/>
                    </a:cubicBezTo>
                    <a:cubicBezTo>
                      <a:pt x="30" y="49"/>
                      <a:pt x="29" y="51"/>
                      <a:pt x="30" y="51"/>
                    </a:cubicBezTo>
                    <a:cubicBezTo>
                      <a:pt x="30" y="51"/>
                      <a:pt x="31" y="50"/>
                      <a:pt x="31" y="50"/>
                    </a:cubicBezTo>
                    <a:cubicBezTo>
                      <a:pt x="31" y="49"/>
                      <a:pt x="31" y="48"/>
                      <a:pt x="31" y="47"/>
                    </a:cubicBezTo>
                    <a:cubicBezTo>
                      <a:pt x="32" y="47"/>
                      <a:pt x="31" y="46"/>
                      <a:pt x="31" y="45"/>
                    </a:cubicBezTo>
                    <a:cubicBezTo>
                      <a:pt x="31" y="45"/>
                      <a:pt x="30" y="44"/>
                      <a:pt x="30" y="43"/>
                    </a:cubicBezTo>
                    <a:close/>
                    <a:moveTo>
                      <a:pt x="34" y="46"/>
                    </a:moveTo>
                    <a:cubicBezTo>
                      <a:pt x="35" y="46"/>
                      <a:pt x="34" y="45"/>
                      <a:pt x="34" y="46"/>
                    </a:cubicBezTo>
                    <a:close/>
                    <a:moveTo>
                      <a:pt x="50" y="59"/>
                    </a:moveTo>
                    <a:cubicBezTo>
                      <a:pt x="49" y="59"/>
                      <a:pt x="49" y="58"/>
                      <a:pt x="49" y="58"/>
                    </a:cubicBezTo>
                    <a:cubicBezTo>
                      <a:pt x="49" y="57"/>
                      <a:pt x="49" y="57"/>
                      <a:pt x="48" y="58"/>
                    </a:cubicBezTo>
                    <a:cubicBezTo>
                      <a:pt x="47" y="58"/>
                      <a:pt x="47" y="56"/>
                      <a:pt x="47" y="56"/>
                    </a:cubicBezTo>
                    <a:cubicBezTo>
                      <a:pt x="46" y="57"/>
                      <a:pt x="46" y="57"/>
                      <a:pt x="46" y="57"/>
                    </a:cubicBezTo>
                    <a:cubicBezTo>
                      <a:pt x="46" y="58"/>
                      <a:pt x="46" y="58"/>
                      <a:pt x="46" y="59"/>
                    </a:cubicBezTo>
                    <a:cubicBezTo>
                      <a:pt x="46" y="59"/>
                      <a:pt x="46" y="60"/>
                      <a:pt x="46" y="61"/>
                    </a:cubicBezTo>
                    <a:cubicBezTo>
                      <a:pt x="46" y="61"/>
                      <a:pt x="46" y="62"/>
                      <a:pt x="47" y="63"/>
                    </a:cubicBezTo>
                    <a:cubicBezTo>
                      <a:pt x="47" y="63"/>
                      <a:pt x="48" y="64"/>
                      <a:pt x="47" y="64"/>
                    </a:cubicBezTo>
                    <a:cubicBezTo>
                      <a:pt x="47" y="64"/>
                      <a:pt x="45" y="61"/>
                      <a:pt x="45" y="60"/>
                    </a:cubicBezTo>
                    <a:cubicBezTo>
                      <a:pt x="44" y="59"/>
                      <a:pt x="44" y="58"/>
                      <a:pt x="43" y="57"/>
                    </a:cubicBezTo>
                    <a:cubicBezTo>
                      <a:pt x="43" y="57"/>
                      <a:pt x="43" y="56"/>
                      <a:pt x="43" y="56"/>
                    </a:cubicBezTo>
                    <a:cubicBezTo>
                      <a:pt x="43" y="55"/>
                      <a:pt x="43" y="54"/>
                      <a:pt x="43" y="54"/>
                    </a:cubicBezTo>
                    <a:cubicBezTo>
                      <a:pt x="43" y="54"/>
                      <a:pt x="43" y="54"/>
                      <a:pt x="43" y="54"/>
                    </a:cubicBezTo>
                    <a:cubicBezTo>
                      <a:pt x="43" y="54"/>
                      <a:pt x="43" y="53"/>
                      <a:pt x="42" y="53"/>
                    </a:cubicBezTo>
                    <a:cubicBezTo>
                      <a:pt x="42" y="53"/>
                      <a:pt x="42" y="53"/>
                      <a:pt x="42" y="52"/>
                    </a:cubicBezTo>
                    <a:cubicBezTo>
                      <a:pt x="42" y="52"/>
                      <a:pt x="41" y="49"/>
                      <a:pt x="41" y="49"/>
                    </a:cubicBezTo>
                    <a:cubicBezTo>
                      <a:pt x="41" y="49"/>
                      <a:pt x="41" y="49"/>
                      <a:pt x="41" y="49"/>
                    </a:cubicBezTo>
                    <a:cubicBezTo>
                      <a:pt x="40" y="49"/>
                      <a:pt x="41" y="48"/>
                      <a:pt x="41" y="48"/>
                    </a:cubicBezTo>
                    <a:cubicBezTo>
                      <a:pt x="41" y="47"/>
                      <a:pt x="40" y="47"/>
                      <a:pt x="40" y="47"/>
                    </a:cubicBezTo>
                    <a:cubicBezTo>
                      <a:pt x="41" y="47"/>
                      <a:pt x="41" y="46"/>
                      <a:pt x="41" y="46"/>
                    </a:cubicBezTo>
                    <a:cubicBezTo>
                      <a:pt x="41" y="46"/>
                      <a:pt x="41" y="47"/>
                      <a:pt x="41" y="47"/>
                    </a:cubicBezTo>
                    <a:cubicBezTo>
                      <a:pt x="40" y="47"/>
                      <a:pt x="40" y="47"/>
                      <a:pt x="40" y="48"/>
                    </a:cubicBezTo>
                    <a:cubicBezTo>
                      <a:pt x="41" y="48"/>
                      <a:pt x="40" y="48"/>
                      <a:pt x="40" y="48"/>
                    </a:cubicBezTo>
                    <a:cubicBezTo>
                      <a:pt x="40" y="48"/>
                      <a:pt x="40" y="47"/>
                      <a:pt x="40" y="47"/>
                    </a:cubicBezTo>
                    <a:cubicBezTo>
                      <a:pt x="40" y="46"/>
                      <a:pt x="39" y="45"/>
                      <a:pt x="38" y="44"/>
                    </a:cubicBezTo>
                    <a:cubicBezTo>
                      <a:pt x="38" y="43"/>
                      <a:pt x="37" y="43"/>
                      <a:pt x="37" y="43"/>
                    </a:cubicBezTo>
                    <a:cubicBezTo>
                      <a:pt x="36" y="42"/>
                      <a:pt x="36" y="41"/>
                      <a:pt x="36" y="41"/>
                    </a:cubicBezTo>
                    <a:cubicBezTo>
                      <a:pt x="36" y="41"/>
                      <a:pt x="36" y="42"/>
                      <a:pt x="36" y="42"/>
                    </a:cubicBezTo>
                    <a:cubicBezTo>
                      <a:pt x="35" y="42"/>
                      <a:pt x="35" y="41"/>
                      <a:pt x="35" y="41"/>
                    </a:cubicBezTo>
                    <a:cubicBezTo>
                      <a:pt x="35" y="41"/>
                      <a:pt x="35" y="42"/>
                      <a:pt x="35" y="42"/>
                    </a:cubicBezTo>
                    <a:cubicBezTo>
                      <a:pt x="35" y="42"/>
                      <a:pt x="34" y="42"/>
                      <a:pt x="34" y="42"/>
                    </a:cubicBezTo>
                    <a:cubicBezTo>
                      <a:pt x="33" y="41"/>
                      <a:pt x="33" y="42"/>
                      <a:pt x="33" y="42"/>
                    </a:cubicBezTo>
                    <a:cubicBezTo>
                      <a:pt x="32" y="42"/>
                      <a:pt x="32" y="41"/>
                      <a:pt x="31" y="41"/>
                    </a:cubicBezTo>
                    <a:cubicBezTo>
                      <a:pt x="30" y="41"/>
                      <a:pt x="30" y="41"/>
                      <a:pt x="30" y="40"/>
                    </a:cubicBezTo>
                    <a:cubicBezTo>
                      <a:pt x="30" y="41"/>
                      <a:pt x="30" y="41"/>
                      <a:pt x="29" y="41"/>
                    </a:cubicBezTo>
                    <a:cubicBezTo>
                      <a:pt x="29" y="40"/>
                      <a:pt x="29" y="40"/>
                      <a:pt x="29" y="40"/>
                    </a:cubicBezTo>
                    <a:cubicBezTo>
                      <a:pt x="28" y="39"/>
                      <a:pt x="28" y="39"/>
                      <a:pt x="28" y="38"/>
                    </a:cubicBezTo>
                    <a:cubicBezTo>
                      <a:pt x="28" y="37"/>
                      <a:pt x="28" y="37"/>
                      <a:pt x="28" y="36"/>
                    </a:cubicBezTo>
                    <a:cubicBezTo>
                      <a:pt x="27" y="36"/>
                      <a:pt x="27" y="35"/>
                      <a:pt x="27" y="34"/>
                    </a:cubicBezTo>
                    <a:cubicBezTo>
                      <a:pt x="27" y="34"/>
                      <a:pt x="28" y="34"/>
                      <a:pt x="28" y="34"/>
                    </a:cubicBezTo>
                    <a:cubicBezTo>
                      <a:pt x="28" y="34"/>
                      <a:pt x="28" y="33"/>
                      <a:pt x="28" y="33"/>
                    </a:cubicBezTo>
                    <a:cubicBezTo>
                      <a:pt x="28" y="34"/>
                      <a:pt x="28" y="34"/>
                      <a:pt x="28" y="34"/>
                    </a:cubicBezTo>
                    <a:cubicBezTo>
                      <a:pt x="27" y="34"/>
                      <a:pt x="27" y="33"/>
                      <a:pt x="27" y="33"/>
                    </a:cubicBezTo>
                    <a:cubicBezTo>
                      <a:pt x="27" y="33"/>
                      <a:pt x="27" y="34"/>
                      <a:pt x="26" y="33"/>
                    </a:cubicBezTo>
                    <a:cubicBezTo>
                      <a:pt x="26" y="34"/>
                      <a:pt x="27" y="33"/>
                      <a:pt x="27" y="34"/>
                    </a:cubicBezTo>
                    <a:cubicBezTo>
                      <a:pt x="27" y="34"/>
                      <a:pt x="27" y="35"/>
                      <a:pt x="27" y="35"/>
                    </a:cubicBezTo>
                    <a:cubicBezTo>
                      <a:pt x="26" y="36"/>
                      <a:pt x="25" y="35"/>
                      <a:pt x="24" y="34"/>
                    </a:cubicBezTo>
                    <a:cubicBezTo>
                      <a:pt x="24" y="35"/>
                      <a:pt x="26" y="36"/>
                      <a:pt x="26" y="36"/>
                    </a:cubicBezTo>
                    <a:cubicBezTo>
                      <a:pt x="27" y="36"/>
                      <a:pt x="28" y="36"/>
                      <a:pt x="28" y="37"/>
                    </a:cubicBezTo>
                    <a:cubicBezTo>
                      <a:pt x="27" y="36"/>
                      <a:pt x="28" y="39"/>
                      <a:pt x="27" y="39"/>
                    </a:cubicBezTo>
                    <a:cubicBezTo>
                      <a:pt x="27" y="38"/>
                      <a:pt x="27" y="38"/>
                      <a:pt x="27" y="39"/>
                    </a:cubicBezTo>
                    <a:cubicBezTo>
                      <a:pt x="27" y="39"/>
                      <a:pt x="26" y="39"/>
                      <a:pt x="26" y="39"/>
                    </a:cubicBezTo>
                    <a:cubicBezTo>
                      <a:pt x="26" y="39"/>
                      <a:pt x="27" y="40"/>
                      <a:pt x="27" y="40"/>
                    </a:cubicBezTo>
                    <a:cubicBezTo>
                      <a:pt x="28" y="41"/>
                      <a:pt x="27" y="41"/>
                      <a:pt x="27" y="41"/>
                    </a:cubicBezTo>
                    <a:cubicBezTo>
                      <a:pt x="27" y="42"/>
                      <a:pt x="27" y="42"/>
                      <a:pt x="26" y="42"/>
                    </a:cubicBezTo>
                    <a:cubicBezTo>
                      <a:pt x="27" y="42"/>
                      <a:pt x="27" y="42"/>
                      <a:pt x="27" y="43"/>
                    </a:cubicBezTo>
                    <a:cubicBezTo>
                      <a:pt x="27" y="43"/>
                      <a:pt x="28" y="44"/>
                      <a:pt x="27" y="44"/>
                    </a:cubicBezTo>
                    <a:cubicBezTo>
                      <a:pt x="27" y="44"/>
                      <a:pt x="27" y="44"/>
                      <a:pt x="27" y="44"/>
                    </a:cubicBezTo>
                    <a:cubicBezTo>
                      <a:pt x="27" y="44"/>
                      <a:pt x="27" y="44"/>
                      <a:pt x="28" y="44"/>
                    </a:cubicBezTo>
                    <a:cubicBezTo>
                      <a:pt x="28" y="44"/>
                      <a:pt x="29" y="45"/>
                      <a:pt x="29" y="45"/>
                    </a:cubicBezTo>
                    <a:cubicBezTo>
                      <a:pt x="29" y="46"/>
                      <a:pt x="29" y="47"/>
                      <a:pt x="29" y="48"/>
                    </a:cubicBezTo>
                    <a:cubicBezTo>
                      <a:pt x="28" y="48"/>
                      <a:pt x="28" y="50"/>
                      <a:pt x="27" y="50"/>
                    </a:cubicBezTo>
                    <a:cubicBezTo>
                      <a:pt x="27" y="49"/>
                      <a:pt x="27" y="49"/>
                      <a:pt x="27" y="49"/>
                    </a:cubicBezTo>
                    <a:cubicBezTo>
                      <a:pt x="27" y="48"/>
                      <a:pt x="27" y="48"/>
                      <a:pt x="27" y="47"/>
                    </a:cubicBezTo>
                    <a:cubicBezTo>
                      <a:pt x="27" y="48"/>
                      <a:pt x="27" y="48"/>
                      <a:pt x="27" y="48"/>
                    </a:cubicBezTo>
                    <a:cubicBezTo>
                      <a:pt x="27" y="49"/>
                      <a:pt x="27" y="49"/>
                      <a:pt x="27" y="50"/>
                    </a:cubicBezTo>
                    <a:cubicBezTo>
                      <a:pt x="27" y="50"/>
                      <a:pt x="27" y="51"/>
                      <a:pt x="26" y="52"/>
                    </a:cubicBezTo>
                    <a:cubicBezTo>
                      <a:pt x="26" y="52"/>
                      <a:pt x="26" y="53"/>
                      <a:pt x="25" y="53"/>
                    </a:cubicBezTo>
                    <a:cubicBezTo>
                      <a:pt x="25" y="52"/>
                      <a:pt x="25" y="52"/>
                      <a:pt x="25" y="51"/>
                    </a:cubicBezTo>
                    <a:cubicBezTo>
                      <a:pt x="25" y="51"/>
                      <a:pt x="25" y="52"/>
                      <a:pt x="24" y="52"/>
                    </a:cubicBezTo>
                    <a:cubicBezTo>
                      <a:pt x="24" y="52"/>
                      <a:pt x="24" y="51"/>
                      <a:pt x="24" y="51"/>
                    </a:cubicBezTo>
                    <a:cubicBezTo>
                      <a:pt x="24" y="51"/>
                      <a:pt x="24" y="50"/>
                      <a:pt x="25" y="50"/>
                    </a:cubicBezTo>
                    <a:cubicBezTo>
                      <a:pt x="25" y="49"/>
                      <a:pt x="26" y="49"/>
                      <a:pt x="26" y="48"/>
                    </a:cubicBezTo>
                    <a:cubicBezTo>
                      <a:pt x="25" y="49"/>
                      <a:pt x="26" y="49"/>
                      <a:pt x="25" y="49"/>
                    </a:cubicBezTo>
                    <a:cubicBezTo>
                      <a:pt x="25" y="49"/>
                      <a:pt x="25" y="50"/>
                      <a:pt x="24" y="50"/>
                    </a:cubicBezTo>
                    <a:cubicBezTo>
                      <a:pt x="24" y="51"/>
                      <a:pt x="24" y="51"/>
                      <a:pt x="24" y="50"/>
                    </a:cubicBezTo>
                    <a:cubicBezTo>
                      <a:pt x="24" y="50"/>
                      <a:pt x="24" y="49"/>
                      <a:pt x="24" y="49"/>
                    </a:cubicBezTo>
                    <a:cubicBezTo>
                      <a:pt x="24" y="49"/>
                      <a:pt x="23" y="50"/>
                      <a:pt x="23" y="50"/>
                    </a:cubicBezTo>
                    <a:cubicBezTo>
                      <a:pt x="23" y="50"/>
                      <a:pt x="24" y="51"/>
                      <a:pt x="23" y="51"/>
                    </a:cubicBezTo>
                    <a:cubicBezTo>
                      <a:pt x="23" y="51"/>
                      <a:pt x="23" y="50"/>
                      <a:pt x="23" y="50"/>
                    </a:cubicBezTo>
                    <a:cubicBezTo>
                      <a:pt x="23" y="50"/>
                      <a:pt x="23" y="50"/>
                      <a:pt x="23" y="49"/>
                    </a:cubicBezTo>
                    <a:cubicBezTo>
                      <a:pt x="23" y="49"/>
                      <a:pt x="22" y="48"/>
                      <a:pt x="22" y="48"/>
                    </a:cubicBezTo>
                    <a:cubicBezTo>
                      <a:pt x="22" y="47"/>
                      <a:pt x="23" y="46"/>
                      <a:pt x="23" y="45"/>
                    </a:cubicBezTo>
                    <a:cubicBezTo>
                      <a:pt x="23" y="45"/>
                      <a:pt x="22" y="46"/>
                      <a:pt x="22" y="46"/>
                    </a:cubicBezTo>
                    <a:cubicBezTo>
                      <a:pt x="22" y="47"/>
                      <a:pt x="22" y="48"/>
                      <a:pt x="22" y="49"/>
                    </a:cubicBezTo>
                    <a:cubicBezTo>
                      <a:pt x="22" y="49"/>
                      <a:pt x="22" y="50"/>
                      <a:pt x="22" y="50"/>
                    </a:cubicBezTo>
                    <a:cubicBezTo>
                      <a:pt x="22" y="50"/>
                      <a:pt x="22" y="51"/>
                      <a:pt x="23" y="51"/>
                    </a:cubicBezTo>
                    <a:cubicBezTo>
                      <a:pt x="23" y="52"/>
                      <a:pt x="22" y="53"/>
                      <a:pt x="22" y="52"/>
                    </a:cubicBezTo>
                    <a:cubicBezTo>
                      <a:pt x="21" y="53"/>
                      <a:pt x="20" y="51"/>
                      <a:pt x="20" y="51"/>
                    </a:cubicBezTo>
                    <a:cubicBezTo>
                      <a:pt x="19" y="52"/>
                      <a:pt x="22" y="53"/>
                      <a:pt x="21" y="53"/>
                    </a:cubicBezTo>
                    <a:cubicBezTo>
                      <a:pt x="21" y="53"/>
                      <a:pt x="20" y="53"/>
                      <a:pt x="20" y="53"/>
                    </a:cubicBezTo>
                    <a:cubicBezTo>
                      <a:pt x="20" y="53"/>
                      <a:pt x="20" y="53"/>
                      <a:pt x="20" y="53"/>
                    </a:cubicBezTo>
                    <a:cubicBezTo>
                      <a:pt x="20" y="54"/>
                      <a:pt x="20" y="54"/>
                      <a:pt x="20" y="54"/>
                    </a:cubicBezTo>
                    <a:cubicBezTo>
                      <a:pt x="19" y="53"/>
                      <a:pt x="19" y="53"/>
                      <a:pt x="19" y="52"/>
                    </a:cubicBezTo>
                    <a:cubicBezTo>
                      <a:pt x="19" y="52"/>
                      <a:pt x="20" y="52"/>
                      <a:pt x="20" y="51"/>
                    </a:cubicBezTo>
                    <a:cubicBezTo>
                      <a:pt x="20" y="51"/>
                      <a:pt x="19" y="51"/>
                      <a:pt x="19" y="51"/>
                    </a:cubicBezTo>
                    <a:cubicBezTo>
                      <a:pt x="20" y="50"/>
                      <a:pt x="20" y="49"/>
                      <a:pt x="19" y="49"/>
                    </a:cubicBezTo>
                    <a:cubicBezTo>
                      <a:pt x="19" y="48"/>
                      <a:pt x="20" y="47"/>
                      <a:pt x="20" y="47"/>
                    </a:cubicBezTo>
                    <a:cubicBezTo>
                      <a:pt x="19" y="47"/>
                      <a:pt x="19" y="48"/>
                      <a:pt x="19" y="49"/>
                    </a:cubicBezTo>
                    <a:cubicBezTo>
                      <a:pt x="19" y="49"/>
                      <a:pt x="20" y="51"/>
                      <a:pt x="19" y="51"/>
                    </a:cubicBezTo>
                    <a:cubicBezTo>
                      <a:pt x="19" y="51"/>
                      <a:pt x="19" y="50"/>
                      <a:pt x="19" y="49"/>
                    </a:cubicBezTo>
                    <a:cubicBezTo>
                      <a:pt x="19" y="49"/>
                      <a:pt x="19" y="49"/>
                      <a:pt x="19" y="48"/>
                    </a:cubicBezTo>
                    <a:cubicBezTo>
                      <a:pt x="19" y="48"/>
                      <a:pt x="19" y="48"/>
                      <a:pt x="18" y="47"/>
                    </a:cubicBezTo>
                    <a:cubicBezTo>
                      <a:pt x="18" y="48"/>
                      <a:pt x="18" y="49"/>
                      <a:pt x="19" y="49"/>
                    </a:cubicBezTo>
                    <a:cubicBezTo>
                      <a:pt x="19" y="49"/>
                      <a:pt x="19" y="49"/>
                      <a:pt x="19" y="50"/>
                    </a:cubicBezTo>
                    <a:cubicBezTo>
                      <a:pt x="19" y="50"/>
                      <a:pt x="19" y="50"/>
                      <a:pt x="19" y="51"/>
                    </a:cubicBezTo>
                    <a:cubicBezTo>
                      <a:pt x="19" y="52"/>
                      <a:pt x="19" y="52"/>
                      <a:pt x="19" y="53"/>
                    </a:cubicBezTo>
                    <a:cubicBezTo>
                      <a:pt x="19" y="53"/>
                      <a:pt x="18" y="54"/>
                      <a:pt x="18" y="53"/>
                    </a:cubicBezTo>
                    <a:cubicBezTo>
                      <a:pt x="17" y="53"/>
                      <a:pt x="18" y="52"/>
                      <a:pt x="18" y="51"/>
                    </a:cubicBezTo>
                    <a:cubicBezTo>
                      <a:pt x="17" y="51"/>
                      <a:pt x="18" y="51"/>
                      <a:pt x="18" y="52"/>
                    </a:cubicBezTo>
                    <a:cubicBezTo>
                      <a:pt x="18" y="52"/>
                      <a:pt x="17" y="52"/>
                      <a:pt x="17" y="52"/>
                    </a:cubicBezTo>
                    <a:cubicBezTo>
                      <a:pt x="17" y="53"/>
                      <a:pt x="17" y="53"/>
                      <a:pt x="17" y="54"/>
                    </a:cubicBezTo>
                    <a:cubicBezTo>
                      <a:pt x="17" y="54"/>
                      <a:pt x="17" y="55"/>
                      <a:pt x="17" y="54"/>
                    </a:cubicBezTo>
                    <a:cubicBezTo>
                      <a:pt x="16" y="54"/>
                      <a:pt x="17" y="53"/>
                      <a:pt x="16" y="53"/>
                    </a:cubicBezTo>
                    <a:cubicBezTo>
                      <a:pt x="16" y="53"/>
                      <a:pt x="15" y="52"/>
                      <a:pt x="15" y="52"/>
                    </a:cubicBezTo>
                    <a:cubicBezTo>
                      <a:pt x="15" y="51"/>
                      <a:pt x="15" y="51"/>
                      <a:pt x="15" y="50"/>
                    </a:cubicBezTo>
                    <a:cubicBezTo>
                      <a:pt x="15" y="50"/>
                      <a:pt x="15" y="50"/>
                      <a:pt x="15" y="50"/>
                    </a:cubicBezTo>
                    <a:cubicBezTo>
                      <a:pt x="15" y="49"/>
                      <a:pt x="15" y="49"/>
                      <a:pt x="15" y="49"/>
                    </a:cubicBezTo>
                    <a:cubicBezTo>
                      <a:pt x="15" y="48"/>
                      <a:pt x="14" y="48"/>
                      <a:pt x="14" y="47"/>
                    </a:cubicBezTo>
                    <a:cubicBezTo>
                      <a:pt x="13" y="46"/>
                      <a:pt x="14" y="45"/>
                      <a:pt x="13" y="44"/>
                    </a:cubicBezTo>
                    <a:cubicBezTo>
                      <a:pt x="13" y="44"/>
                      <a:pt x="13" y="43"/>
                      <a:pt x="13" y="43"/>
                    </a:cubicBezTo>
                    <a:cubicBezTo>
                      <a:pt x="13" y="42"/>
                      <a:pt x="13" y="41"/>
                      <a:pt x="12" y="41"/>
                    </a:cubicBezTo>
                    <a:cubicBezTo>
                      <a:pt x="12" y="40"/>
                      <a:pt x="11" y="40"/>
                      <a:pt x="11" y="39"/>
                    </a:cubicBezTo>
                    <a:cubicBezTo>
                      <a:pt x="11" y="38"/>
                      <a:pt x="12" y="37"/>
                      <a:pt x="12" y="37"/>
                    </a:cubicBezTo>
                    <a:cubicBezTo>
                      <a:pt x="12" y="37"/>
                      <a:pt x="11" y="37"/>
                      <a:pt x="11" y="37"/>
                    </a:cubicBezTo>
                    <a:cubicBezTo>
                      <a:pt x="11" y="37"/>
                      <a:pt x="10" y="37"/>
                      <a:pt x="10" y="36"/>
                    </a:cubicBezTo>
                    <a:cubicBezTo>
                      <a:pt x="10" y="36"/>
                      <a:pt x="10" y="35"/>
                      <a:pt x="10" y="35"/>
                    </a:cubicBezTo>
                    <a:cubicBezTo>
                      <a:pt x="10" y="35"/>
                      <a:pt x="10" y="34"/>
                      <a:pt x="10" y="34"/>
                    </a:cubicBezTo>
                    <a:cubicBezTo>
                      <a:pt x="10" y="34"/>
                      <a:pt x="10" y="34"/>
                      <a:pt x="9" y="34"/>
                    </a:cubicBezTo>
                    <a:cubicBezTo>
                      <a:pt x="9" y="34"/>
                      <a:pt x="8" y="33"/>
                      <a:pt x="8" y="32"/>
                    </a:cubicBezTo>
                    <a:cubicBezTo>
                      <a:pt x="8" y="31"/>
                      <a:pt x="7" y="30"/>
                      <a:pt x="8" y="30"/>
                    </a:cubicBezTo>
                    <a:cubicBezTo>
                      <a:pt x="9" y="30"/>
                      <a:pt x="9" y="29"/>
                      <a:pt x="9" y="29"/>
                    </a:cubicBezTo>
                    <a:cubicBezTo>
                      <a:pt x="9" y="29"/>
                      <a:pt x="9" y="29"/>
                      <a:pt x="9" y="28"/>
                    </a:cubicBezTo>
                    <a:cubicBezTo>
                      <a:pt x="9" y="28"/>
                      <a:pt x="9" y="28"/>
                      <a:pt x="9" y="28"/>
                    </a:cubicBezTo>
                    <a:cubicBezTo>
                      <a:pt x="9" y="28"/>
                      <a:pt x="8" y="27"/>
                      <a:pt x="8" y="27"/>
                    </a:cubicBezTo>
                    <a:cubicBezTo>
                      <a:pt x="8" y="26"/>
                      <a:pt x="9" y="26"/>
                      <a:pt x="9" y="26"/>
                    </a:cubicBezTo>
                    <a:cubicBezTo>
                      <a:pt x="9" y="26"/>
                      <a:pt x="8" y="26"/>
                      <a:pt x="8" y="25"/>
                    </a:cubicBezTo>
                    <a:cubicBezTo>
                      <a:pt x="8" y="25"/>
                      <a:pt x="6" y="25"/>
                      <a:pt x="6" y="25"/>
                    </a:cubicBezTo>
                    <a:cubicBezTo>
                      <a:pt x="5" y="24"/>
                      <a:pt x="4" y="24"/>
                      <a:pt x="3" y="23"/>
                    </a:cubicBezTo>
                    <a:cubicBezTo>
                      <a:pt x="3" y="23"/>
                      <a:pt x="2" y="23"/>
                      <a:pt x="2" y="22"/>
                    </a:cubicBezTo>
                    <a:cubicBezTo>
                      <a:pt x="2" y="21"/>
                      <a:pt x="1" y="21"/>
                      <a:pt x="2" y="20"/>
                    </a:cubicBezTo>
                    <a:cubicBezTo>
                      <a:pt x="2" y="20"/>
                      <a:pt x="2" y="19"/>
                      <a:pt x="2" y="19"/>
                    </a:cubicBezTo>
                    <a:cubicBezTo>
                      <a:pt x="2" y="19"/>
                      <a:pt x="2" y="19"/>
                      <a:pt x="2" y="18"/>
                    </a:cubicBezTo>
                    <a:cubicBezTo>
                      <a:pt x="2" y="17"/>
                      <a:pt x="3" y="19"/>
                      <a:pt x="3" y="19"/>
                    </a:cubicBezTo>
                    <a:cubicBezTo>
                      <a:pt x="4" y="19"/>
                      <a:pt x="4" y="17"/>
                      <a:pt x="4" y="17"/>
                    </a:cubicBezTo>
                    <a:cubicBezTo>
                      <a:pt x="4" y="17"/>
                      <a:pt x="4" y="15"/>
                      <a:pt x="5" y="15"/>
                    </a:cubicBezTo>
                    <a:cubicBezTo>
                      <a:pt x="5" y="15"/>
                      <a:pt x="5" y="16"/>
                      <a:pt x="6" y="15"/>
                    </a:cubicBezTo>
                    <a:cubicBezTo>
                      <a:pt x="6" y="15"/>
                      <a:pt x="7" y="15"/>
                      <a:pt x="7" y="16"/>
                    </a:cubicBezTo>
                    <a:cubicBezTo>
                      <a:pt x="7" y="16"/>
                      <a:pt x="8" y="16"/>
                      <a:pt x="8" y="15"/>
                    </a:cubicBezTo>
                    <a:cubicBezTo>
                      <a:pt x="8" y="15"/>
                      <a:pt x="9" y="16"/>
                      <a:pt x="9" y="16"/>
                    </a:cubicBezTo>
                    <a:cubicBezTo>
                      <a:pt x="9" y="15"/>
                      <a:pt x="10" y="14"/>
                      <a:pt x="9" y="14"/>
                    </a:cubicBezTo>
                    <a:cubicBezTo>
                      <a:pt x="8" y="14"/>
                      <a:pt x="8" y="14"/>
                      <a:pt x="8" y="13"/>
                    </a:cubicBezTo>
                    <a:cubicBezTo>
                      <a:pt x="7" y="13"/>
                      <a:pt x="8" y="12"/>
                      <a:pt x="7" y="12"/>
                    </a:cubicBezTo>
                    <a:cubicBezTo>
                      <a:pt x="6" y="12"/>
                      <a:pt x="6" y="13"/>
                      <a:pt x="6" y="12"/>
                    </a:cubicBezTo>
                    <a:cubicBezTo>
                      <a:pt x="5" y="12"/>
                      <a:pt x="5" y="12"/>
                      <a:pt x="4" y="12"/>
                    </a:cubicBezTo>
                    <a:cubicBezTo>
                      <a:pt x="4" y="11"/>
                      <a:pt x="4" y="11"/>
                      <a:pt x="3" y="10"/>
                    </a:cubicBezTo>
                    <a:cubicBezTo>
                      <a:pt x="3" y="10"/>
                      <a:pt x="2" y="8"/>
                      <a:pt x="1" y="9"/>
                    </a:cubicBezTo>
                    <a:cubicBezTo>
                      <a:pt x="0" y="9"/>
                      <a:pt x="0" y="9"/>
                      <a:pt x="0" y="8"/>
                    </a:cubicBezTo>
                    <a:cubicBezTo>
                      <a:pt x="0" y="7"/>
                      <a:pt x="0" y="6"/>
                      <a:pt x="0" y="6"/>
                    </a:cubicBezTo>
                    <a:cubicBezTo>
                      <a:pt x="0" y="6"/>
                      <a:pt x="0" y="5"/>
                      <a:pt x="0" y="5"/>
                    </a:cubicBezTo>
                    <a:cubicBezTo>
                      <a:pt x="0" y="5"/>
                      <a:pt x="1" y="4"/>
                      <a:pt x="1" y="4"/>
                    </a:cubicBezTo>
                    <a:cubicBezTo>
                      <a:pt x="1" y="4"/>
                      <a:pt x="1" y="4"/>
                      <a:pt x="2" y="3"/>
                    </a:cubicBezTo>
                    <a:cubicBezTo>
                      <a:pt x="2" y="3"/>
                      <a:pt x="2" y="3"/>
                      <a:pt x="3" y="3"/>
                    </a:cubicBezTo>
                    <a:cubicBezTo>
                      <a:pt x="3" y="2"/>
                      <a:pt x="3" y="2"/>
                      <a:pt x="3" y="2"/>
                    </a:cubicBezTo>
                    <a:cubicBezTo>
                      <a:pt x="2" y="2"/>
                      <a:pt x="2" y="1"/>
                      <a:pt x="2" y="1"/>
                    </a:cubicBezTo>
                    <a:cubicBezTo>
                      <a:pt x="1" y="1"/>
                      <a:pt x="1" y="1"/>
                      <a:pt x="1" y="1"/>
                    </a:cubicBezTo>
                    <a:cubicBezTo>
                      <a:pt x="1" y="1"/>
                      <a:pt x="1" y="0"/>
                      <a:pt x="1" y="0"/>
                    </a:cubicBezTo>
                    <a:cubicBezTo>
                      <a:pt x="2" y="0"/>
                      <a:pt x="2" y="0"/>
                      <a:pt x="2" y="1"/>
                    </a:cubicBezTo>
                    <a:cubicBezTo>
                      <a:pt x="3" y="1"/>
                      <a:pt x="3" y="1"/>
                      <a:pt x="4" y="2"/>
                    </a:cubicBezTo>
                    <a:cubicBezTo>
                      <a:pt x="4" y="2"/>
                      <a:pt x="4" y="2"/>
                      <a:pt x="5" y="3"/>
                    </a:cubicBezTo>
                    <a:cubicBezTo>
                      <a:pt x="5" y="3"/>
                      <a:pt x="4" y="4"/>
                      <a:pt x="4" y="4"/>
                    </a:cubicBezTo>
                    <a:cubicBezTo>
                      <a:pt x="5" y="4"/>
                      <a:pt x="5" y="3"/>
                      <a:pt x="5" y="3"/>
                    </a:cubicBezTo>
                    <a:cubicBezTo>
                      <a:pt x="6" y="3"/>
                      <a:pt x="6" y="4"/>
                      <a:pt x="6" y="4"/>
                    </a:cubicBezTo>
                    <a:cubicBezTo>
                      <a:pt x="6" y="3"/>
                      <a:pt x="7" y="4"/>
                      <a:pt x="7" y="4"/>
                    </a:cubicBezTo>
                    <a:cubicBezTo>
                      <a:pt x="7" y="4"/>
                      <a:pt x="8" y="4"/>
                      <a:pt x="8" y="4"/>
                    </a:cubicBezTo>
                    <a:cubicBezTo>
                      <a:pt x="8" y="3"/>
                      <a:pt x="6" y="2"/>
                      <a:pt x="7" y="2"/>
                    </a:cubicBezTo>
                    <a:cubicBezTo>
                      <a:pt x="7" y="1"/>
                      <a:pt x="9" y="3"/>
                      <a:pt x="9" y="3"/>
                    </a:cubicBezTo>
                    <a:cubicBezTo>
                      <a:pt x="8" y="3"/>
                      <a:pt x="8" y="3"/>
                      <a:pt x="8" y="3"/>
                    </a:cubicBezTo>
                    <a:cubicBezTo>
                      <a:pt x="8" y="4"/>
                      <a:pt x="9" y="5"/>
                      <a:pt x="10" y="5"/>
                    </a:cubicBezTo>
                    <a:cubicBezTo>
                      <a:pt x="10" y="5"/>
                      <a:pt x="10" y="6"/>
                      <a:pt x="11" y="6"/>
                    </a:cubicBezTo>
                    <a:cubicBezTo>
                      <a:pt x="11" y="6"/>
                      <a:pt x="12" y="6"/>
                      <a:pt x="12" y="6"/>
                    </a:cubicBezTo>
                    <a:cubicBezTo>
                      <a:pt x="12" y="7"/>
                      <a:pt x="13" y="6"/>
                      <a:pt x="13" y="7"/>
                    </a:cubicBezTo>
                    <a:cubicBezTo>
                      <a:pt x="13" y="7"/>
                      <a:pt x="13" y="7"/>
                      <a:pt x="13" y="6"/>
                    </a:cubicBezTo>
                    <a:cubicBezTo>
                      <a:pt x="13" y="6"/>
                      <a:pt x="14" y="6"/>
                      <a:pt x="14" y="6"/>
                    </a:cubicBezTo>
                    <a:cubicBezTo>
                      <a:pt x="13" y="5"/>
                      <a:pt x="13" y="5"/>
                      <a:pt x="14" y="5"/>
                    </a:cubicBezTo>
                    <a:cubicBezTo>
                      <a:pt x="13" y="5"/>
                      <a:pt x="14" y="5"/>
                      <a:pt x="14" y="5"/>
                    </a:cubicBezTo>
                    <a:cubicBezTo>
                      <a:pt x="14" y="4"/>
                      <a:pt x="13" y="4"/>
                      <a:pt x="14" y="4"/>
                    </a:cubicBezTo>
                    <a:cubicBezTo>
                      <a:pt x="14" y="4"/>
                      <a:pt x="14" y="5"/>
                      <a:pt x="14" y="5"/>
                    </a:cubicBezTo>
                    <a:cubicBezTo>
                      <a:pt x="14" y="5"/>
                      <a:pt x="15" y="5"/>
                      <a:pt x="15" y="5"/>
                    </a:cubicBezTo>
                    <a:cubicBezTo>
                      <a:pt x="15" y="5"/>
                      <a:pt x="15" y="6"/>
                      <a:pt x="16" y="7"/>
                    </a:cubicBezTo>
                    <a:cubicBezTo>
                      <a:pt x="16" y="7"/>
                      <a:pt x="16" y="7"/>
                      <a:pt x="16" y="7"/>
                    </a:cubicBezTo>
                    <a:cubicBezTo>
                      <a:pt x="16" y="7"/>
                      <a:pt x="16" y="7"/>
                      <a:pt x="16" y="7"/>
                    </a:cubicBezTo>
                    <a:cubicBezTo>
                      <a:pt x="16" y="7"/>
                      <a:pt x="16" y="7"/>
                      <a:pt x="16" y="7"/>
                    </a:cubicBezTo>
                    <a:cubicBezTo>
                      <a:pt x="16" y="8"/>
                      <a:pt x="16" y="8"/>
                      <a:pt x="16" y="9"/>
                    </a:cubicBezTo>
                    <a:cubicBezTo>
                      <a:pt x="16" y="10"/>
                      <a:pt x="17" y="11"/>
                      <a:pt x="17" y="12"/>
                    </a:cubicBezTo>
                    <a:cubicBezTo>
                      <a:pt x="17" y="13"/>
                      <a:pt x="17" y="14"/>
                      <a:pt x="18" y="14"/>
                    </a:cubicBezTo>
                    <a:cubicBezTo>
                      <a:pt x="18" y="14"/>
                      <a:pt x="18" y="14"/>
                      <a:pt x="19" y="15"/>
                    </a:cubicBezTo>
                    <a:cubicBezTo>
                      <a:pt x="19" y="15"/>
                      <a:pt x="20" y="15"/>
                      <a:pt x="20" y="15"/>
                    </a:cubicBezTo>
                    <a:cubicBezTo>
                      <a:pt x="21" y="15"/>
                      <a:pt x="22" y="16"/>
                      <a:pt x="23" y="16"/>
                    </a:cubicBezTo>
                    <a:cubicBezTo>
                      <a:pt x="24" y="16"/>
                      <a:pt x="25" y="16"/>
                      <a:pt x="25" y="16"/>
                    </a:cubicBezTo>
                    <a:cubicBezTo>
                      <a:pt x="26" y="16"/>
                      <a:pt x="26" y="16"/>
                      <a:pt x="26" y="16"/>
                    </a:cubicBezTo>
                    <a:cubicBezTo>
                      <a:pt x="26" y="16"/>
                      <a:pt x="27" y="16"/>
                      <a:pt x="27" y="16"/>
                    </a:cubicBezTo>
                    <a:cubicBezTo>
                      <a:pt x="27" y="16"/>
                      <a:pt x="28" y="16"/>
                      <a:pt x="28" y="16"/>
                    </a:cubicBezTo>
                    <a:cubicBezTo>
                      <a:pt x="29" y="15"/>
                      <a:pt x="30" y="15"/>
                      <a:pt x="30" y="15"/>
                    </a:cubicBezTo>
                    <a:cubicBezTo>
                      <a:pt x="31" y="15"/>
                      <a:pt x="32" y="16"/>
                      <a:pt x="33" y="16"/>
                    </a:cubicBezTo>
                    <a:cubicBezTo>
                      <a:pt x="34" y="16"/>
                      <a:pt x="34" y="16"/>
                      <a:pt x="34" y="16"/>
                    </a:cubicBezTo>
                    <a:cubicBezTo>
                      <a:pt x="34" y="16"/>
                      <a:pt x="35" y="16"/>
                      <a:pt x="36" y="16"/>
                    </a:cubicBezTo>
                    <a:cubicBezTo>
                      <a:pt x="37" y="16"/>
                      <a:pt x="38" y="15"/>
                      <a:pt x="39" y="16"/>
                    </a:cubicBezTo>
                    <a:cubicBezTo>
                      <a:pt x="40" y="16"/>
                      <a:pt x="42" y="17"/>
                      <a:pt x="42" y="18"/>
                    </a:cubicBezTo>
                    <a:cubicBezTo>
                      <a:pt x="42" y="18"/>
                      <a:pt x="43" y="18"/>
                      <a:pt x="43" y="18"/>
                    </a:cubicBezTo>
                    <a:cubicBezTo>
                      <a:pt x="43" y="19"/>
                      <a:pt x="43" y="19"/>
                      <a:pt x="42" y="19"/>
                    </a:cubicBezTo>
                    <a:cubicBezTo>
                      <a:pt x="42" y="19"/>
                      <a:pt x="40" y="18"/>
                      <a:pt x="41" y="19"/>
                    </a:cubicBezTo>
                    <a:cubicBezTo>
                      <a:pt x="41" y="20"/>
                      <a:pt x="41" y="21"/>
                      <a:pt x="41" y="22"/>
                    </a:cubicBezTo>
                    <a:cubicBezTo>
                      <a:pt x="40" y="23"/>
                      <a:pt x="40" y="23"/>
                      <a:pt x="40" y="23"/>
                    </a:cubicBezTo>
                    <a:cubicBezTo>
                      <a:pt x="40" y="24"/>
                      <a:pt x="40" y="24"/>
                      <a:pt x="40" y="24"/>
                    </a:cubicBezTo>
                    <a:cubicBezTo>
                      <a:pt x="40" y="24"/>
                      <a:pt x="39" y="24"/>
                      <a:pt x="39" y="25"/>
                    </a:cubicBezTo>
                    <a:cubicBezTo>
                      <a:pt x="39" y="25"/>
                      <a:pt x="39" y="25"/>
                      <a:pt x="39" y="25"/>
                    </a:cubicBezTo>
                    <a:cubicBezTo>
                      <a:pt x="39" y="25"/>
                      <a:pt x="39" y="25"/>
                      <a:pt x="38" y="25"/>
                    </a:cubicBezTo>
                    <a:cubicBezTo>
                      <a:pt x="38" y="25"/>
                      <a:pt x="39" y="25"/>
                      <a:pt x="39" y="26"/>
                    </a:cubicBezTo>
                    <a:cubicBezTo>
                      <a:pt x="39" y="26"/>
                      <a:pt x="38" y="27"/>
                      <a:pt x="38" y="26"/>
                    </a:cubicBezTo>
                    <a:cubicBezTo>
                      <a:pt x="37" y="26"/>
                      <a:pt x="37" y="26"/>
                      <a:pt x="37" y="26"/>
                    </a:cubicBezTo>
                    <a:cubicBezTo>
                      <a:pt x="37" y="27"/>
                      <a:pt x="36" y="26"/>
                      <a:pt x="36" y="26"/>
                    </a:cubicBezTo>
                    <a:cubicBezTo>
                      <a:pt x="36" y="26"/>
                      <a:pt x="36" y="27"/>
                      <a:pt x="36" y="27"/>
                    </a:cubicBezTo>
                    <a:cubicBezTo>
                      <a:pt x="36" y="28"/>
                      <a:pt x="35" y="28"/>
                      <a:pt x="35" y="27"/>
                    </a:cubicBezTo>
                    <a:cubicBezTo>
                      <a:pt x="33" y="27"/>
                      <a:pt x="34" y="29"/>
                      <a:pt x="33" y="29"/>
                    </a:cubicBezTo>
                    <a:cubicBezTo>
                      <a:pt x="32" y="29"/>
                      <a:pt x="33" y="30"/>
                      <a:pt x="33" y="31"/>
                    </a:cubicBezTo>
                    <a:cubicBezTo>
                      <a:pt x="32" y="31"/>
                      <a:pt x="32" y="31"/>
                      <a:pt x="32" y="32"/>
                    </a:cubicBezTo>
                    <a:cubicBezTo>
                      <a:pt x="32" y="32"/>
                      <a:pt x="33" y="32"/>
                      <a:pt x="32" y="32"/>
                    </a:cubicBezTo>
                    <a:cubicBezTo>
                      <a:pt x="32" y="33"/>
                      <a:pt x="33" y="34"/>
                      <a:pt x="33" y="34"/>
                    </a:cubicBezTo>
                    <a:cubicBezTo>
                      <a:pt x="33" y="34"/>
                      <a:pt x="34" y="35"/>
                      <a:pt x="34" y="36"/>
                    </a:cubicBezTo>
                    <a:cubicBezTo>
                      <a:pt x="34" y="36"/>
                      <a:pt x="34" y="37"/>
                      <a:pt x="35" y="38"/>
                    </a:cubicBezTo>
                    <a:cubicBezTo>
                      <a:pt x="35" y="38"/>
                      <a:pt x="35" y="39"/>
                      <a:pt x="35" y="39"/>
                    </a:cubicBezTo>
                    <a:cubicBezTo>
                      <a:pt x="35" y="38"/>
                      <a:pt x="35" y="38"/>
                      <a:pt x="35" y="37"/>
                    </a:cubicBezTo>
                    <a:cubicBezTo>
                      <a:pt x="35" y="37"/>
                      <a:pt x="35" y="36"/>
                      <a:pt x="36" y="37"/>
                    </a:cubicBezTo>
                    <a:cubicBezTo>
                      <a:pt x="36" y="37"/>
                      <a:pt x="36" y="38"/>
                      <a:pt x="36" y="38"/>
                    </a:cubicBezTo>
                    <a:cubicBezTo>
                      <a:pt x="37" y="39"/>
                      <a:pt x="37" y="39"/>
                      <a:pt x="37" y="39"/>
                    </a:cubicBezTo>
                    <a:cubicBezTo>
                      <a:pt x="37" y="40"/>
                      <a:pt x="37" y="40"/>
                      <a:pt x="38" y="40"/>
                    </a:cubicBezTo>
                    <a:cubicBezTo>
                      <a:pt x="38" y="40"/>
                      <a:pt x="38" y="40"/>
                      <a:pt x="38" y="40"/>
                    </a:cubicBezTo>
                    <a:cubicBezTo>
                      <a:pt x="39" y="40"/>
                      <a:pt x="39" y="39"/>
                      <a:pt x="39" y="39"/>
                    </a:cubicBezTo>
                    <a:cubicBezTo>
                      <a:pt x="39" y="38"/>
                      <a:pt x="39" y="37"/>
                      <a:pt x="39" y="37"/>
                    </a:cubicBezTo>
                    <a:cubicBezTo>
                      <a:pt x="38" y="35"/>
                      <a:pt x="40" y="35"/>
                      <a:pt x="40" y="34"/>
                    </a:cubicBezTo>
                    <a:cubicBezTo>
                      <a:pt x="40" y="33"/>
                      <a:pt x="39" y="32"/>
                      <a:pt x="40" y="32"/>
                    </a:cubicBezTo>
                    <a:cubicBezTo>
                      <a:pt x="40" y="31"/>
                      <a:pt x="40" y="32"/>
                      <a:pt x="40" y="32"/>
                    </a:cubicBezTo>
                    <a:cubicBezTo>
                      <a:pt x="41" y="33"/>
                      <a:pt x="41" y="32"/>
                      <a:pt x="41" y="32"/>
                    </a:cubicBezTo>
                    <a:cubicBezTo>
                      <a:pt x="42" y="31"/>
                      <a:pt x="42" y="33"/>
                      <a:pt x="42" y="32"/>
                    </a:cubicBezTo>
                    <a:cubicBezTo>
                      <a:pt x="43" y="31"/>
                      <a:pt x="43" y="33"/>
                      <a:pt x="43" y="33"/>
                    </a:cubicBezTo>
                    <a:cubicBezTo>
                      <a:pt x="43" y="34"/>
                      <a:pt x="44" y="35"/>
                      <a:pt x="44" y="35"/>
                    </a:cubicBezTo>
                    <a:cubicBezTo>
                      <a:pt x="44" y="36"/>
                      <a:pt x="44" y="36"/>
                      <a:pt x="44" y="37"/>
                    </a:cubicBezTo>
                    <a:cubicBezTo>
                      <a:pt x="44" y="38"/>
                      <a:pt x="45" y="38"/>
                      <a:pt x="45" y="39"/>
                    </a:cubicBezTo>
                    <a:cubicBezTo>
                      <a:pt x="45" y="39"/>
                      <a:pt x="45" y="40"/>
                      <a:pt x="45" y="40"/>
                    </a:cubicBezTo>
                    <a:cubicBezTo>
                      <a:pt x="45" y="41"/>
                      <a:pt x="46" y="41"/>
                      <a:pt x="46" y="41"/>
                    </a:cubicBezTo>
                    <a:cubicBezTo>
                      <a:pt x="46" y="42"/>
                      <a:pt x="46" y="42"/>
                      <a:pt x="46" y="43"/>
                    </a:cubicBezTo>
                    <a:cubicBezTo>
                      <a:pt x="47" y="43"/>
                      <a:pt x="47" y="43"/>
                      <a:pt x="47" y="44"/>
                    </a:cubicBezTo>
                    <a:cubicBezTo>
                      <a:pt x="47" y="45"/>
                      <a:pt x="47" y="45"/>
                      <a:pt x="47" y="46"/>
                    </a:cubicBezTo>
                    <a:cubicBezTo>
                      <a:pt x="48" y="47"/>
                      <a:pt x="48" y="47"/>
                      <a:pt x="48" y="48"/>
                    </a:cubicBezTo>
                    <a:cubicBezTo>
                      <a:pt x="48" y="48"/>
                      <a:pt x="48" y="48"/>
                      <a:pt x="48" y="49"/>
                    </a:cubicBezTo>
                    <a:cubicBezTo>
                      <a:pt x="48" y="49"/>
                      <a:pt x="48" y="49"/>
                      <a:pt x="48" y="49"/>
                    </a:cubicBezTo>
                    <a:cubicBezTo>
                      <a:pt x="48" y="50"/>
                      <a:pt x="49" y="51"/>
                      <a:pt x="49" y="53"/>
                    </a:cubicBezTo>
                    <a:cubicBezTo>
                      <a:pt x="49" y="54"/>
                      <a:pt x="49" y="55"/>
                      <a:pt x="49" y="57"/>
                    </a:cubicBezTo>
                    <a:cubicBezTo>
                      <a:pt x="49" y="57"/>
                      <a:pt x="50" y="58"/>
                      <a:pt x="50" y="59"/>
                    </a:cubicBezTo>
                    <a:close/>
                    <a:moveTo>
                      <a:pt x="27" y="45"/>
                    </a:moveTo>
                    <a:cubicBezTo>
                      <a:pt x="27" y="45"/>
                      <a:pt x="27" y="44"/>
                      <a:pt x="27" y="44"/>
                    </a:cubicBezTo>
                    <a:cubicBezTo>
                      <a:pt x="27" y="44"/>
                      <a:pt x="27" y="45"/>
                      <a:pt x="27" y="45"/>
                    </a:cubicBezTo>
                    <a:close/>
                    <a:moveTo>
                      <a:pt x="41" y="52"/>
                    </a:moveTo>
                    <a:cubicBezTo>
                      <a:pt x="41" y="52"/>
                      <a:pt x="41" y="53"/>
                      <a:pt x="41" y="53"/>
                    </a:cubicBezTo>
                    <a:cubicBezTo>
                      <a:pt x="41" y="54"/>
                      <a:pt x="42" y="52"/>
                      <a:pt x="42" y="51"/>
                    </a:cubicBezTo>
                    <a:cubicBezTo>
                      <a:pt x="41" y="51"/>
                      <a:pt x="41" y="52"/>
                      <a:pt x="41" y="52"/>
                    </a:cubicBezTo>
                    <a:close/>
                    <a:moveTo>
                      <a:pt x="42" y="54"/>
                    </a:moveTo>
                    <a:cubicBezTo>
                      <a:pt x="42" y="53"/>
                      <a:pt x="42" y="53"/>
                      <a:pt x="42" y="54"/>
                    </a:cubicBezTo>
                    <a:cubicBezTo>
                      <a:pt x="42" y="55"/>
                      <a:pt x="42" y="56"/>
                      <a:pt x="42" y="56"/>
                    </a:cubicBezTo>
                    <a:cubicBezTo>
                      <a:pt x="42" y="56"/>
                      <a:pt x="42" y="56"/>
                      <a:pt x="42" y="56"/>
                    </a:cubicBezTo>
                    <a:cubicBezTo>
                      <a:pt x="43" y="56"/>
                      <a:pt x="43" y="56"/>
                      <a:pt x="43" y="55"/>
                    </a:cubicBezTo>
                    <a:cubicBezTo>
                      <a:pt x="43" y="55"/>
                      <a:pt x="42" y="53"/>
                      <a:pt x="42" y="53"/>
                    </a:cubicBezTo>
                    <a:cubicBezTo>
                      <a:pt x="42" y="53"/>
                      <a:pt x="42" y="54"/>
                      <a:pt x="42" y="54"/>
                    </a:cubicBezTo>
                    <a:close/>
                    <a:moveTo>
                      <a:pt x="36" y="44"/>
                    </a:moveTo>
                    <a:cubicBezTo>
                      <a:pt x="36" y="44"/>
                      <a:pt x="36" y="45"/>
                      <a:pt x="36" y="45"/>
                    </a:cubicBezTo>
                    <a:cubicBezTo>
                      <a:pt x="37" y="46"/>
                      <a:pt x="37" y="47"/>
                      <a:pt x="38" y="47"/>
                    </a:cubicBezTo>
                    <a:cubicBezTo>
                      <a:pt x="38" y="47"/>
                      <a:pt x="38" y="46"/>
                      <a:pt x="38" y="45"/>
                    </a:cubicBezTo>
                    <a:cubicBezTo>
                      <a:pt x="37" y="44"/>
                      <a:pt x="37" y="44"/>
                      <a:pt x="36" y="44"/>
                    </a:cubicBezTo>
                    <a:close/>
                    <a:moveTo>
                      <a:pt x="32" y="43"/>
                    </a:moveTo>
                    <a:cubicBezTo>
                      <a:pt x="33" y="43"/>
                      <a:pt x="32" y="41"/>
                      <a:pt x="31" y="42"/>
                    </a:cubicBezTo>
                    <a:cubicBezTo>
                      <a:pt x="30" y="42"/>
                      <a:pt x="30" y="42"/>
                      <a:pt x="31" y="43"/>
                    </a:cubicBezTo>
                    <a:cubicBezTo>
                      <a:pt x="31" y="43"/>
                      <a:pt x="31" y="43"/>
                      <a:pt x="31" y="44"/>
                    </a:cubicBezTo>
                    <a:cubicBezTo>
                      <a:pt x="31" y="44"/>
                      <a:pt x="32" y="44"/>
                      <a:pt x="32" y="44"/>
                    </a:cubicBezTo>
                    <a:cubicBezTo>
                      <a:pt x="32" y="45"/>
                      <a:pt x="32" y="44"/>
                      <a:pt x="33" y="44"/>
                    </a:cubicBezTo>
                    <a:cubicBezTo>
                      <a:pt x="33" y="44"/>
                      <a:pt x="33" y="43"/>
                      <a:pt x="32" y="43"/>
                    </a:cubicBezTo>
                    <a:cubicBezTo>
                      <a:pt x="32" y="43"/>
                      <a:pt x="32" y="43"/>
                      <a:pt x="32" y="4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2" name="Bahrain">
                <a:extLst>
                  <a:ext uri="{FF2B5EF4-FFF2-40B4-BE49-F238E27FC236}">
                    <a16:creationId xmlns:a16="http://schemas.microsoft.com/office/drawing/2014/main" id="{E6E896C3-4C58-B694-39E3-FA0FD7B763C6}"/>
                  </a:ext>
                </a:extLst>
              </p:cNvPr>
              <p:cNvSpPr>
                <a:spLocks/>
              </p:cNvSpPr>
              <p:nvPr/>
            </p:nvSpPr>
            <p:spPr bwMode="auto">
              <a:xfrm>
                <a:off x="7386488" y="3023018"/>
                <a:ext cx="6860" cy="17644"/>
              </a:xfrm>
              <a:custGeom>
                <a:avLst/>
                <a:gdLst/>
                <a:ahLst/>
                <a:cxnLst>
                  <a:cxn ang="0">
                    <a:pos x="2" y="1"/>
                  </a:cxn>
                  <a:cxn ang="0">
                    <a:pos x="2" y="1"/>
                  </a:cxn>
                  <a:cxn ang="0">
                    <a:pos x="2" y="0"/>
                  </a:cxn>
                  <a:cxn ang="0">
                    <a:pos x="2" y="0"/>
                  </a:cxn>
                  <a:cxn ang="0">
                    <a:pos x="1" y="0"/>
                  </a:cxn>
                  <a:cxn ang="0">
                    <a:pos x="1" y="1"/>
                  </a:cxn>
                  <a:cxn ang="0">
                    <a:pos x="1" y="2"/>
                  </a:cxn>
                  <a:cxn ang="0">
                    <a:pos x="1" y="3"/>
                  </a:cxn>
                  <a:cxn ang="0">
                    <a:pos x="1" y="4"/>
                  </a:cxn>
                  <a:cxn ang="0">
                    <a:pos x="2" y="5"/>
                  </a:cxn>
                  <a:cxn ang="0">
                    <a:pos x="2" y="4"/>
                  </a:cxn>
                  <a:cxn ang="0">
                    <a:pos x="2" y="1"/>
                  </a:cxn>
                </a:cxnLst>
                <a:rect l="0" t="0" r="r" b="b"/>
                <a:pathLst>
                  <a:path w="2" h="5">
                    <a:moveTo>
                      <a:pt x="2" y="1"/>
                    </a:moveTo>
                    <a:cubicBezTo>
                      <a:pt x="2" y="1"/>
                      <a:pt x="2" y="1"/>
                      <a:pt x="2" y="1"/>
                    </a:cubicBezTo>
                    <a:cubicBezTo>
                      <a:pt x="2" y="0"/>
                      <a:pt x="2" y="1"/>
                      <a:pt x="2" y="0"/>
                    </a:cubicBezTo>
                    <a:cubicBezTo>
                      <a:pt x="2" y="0"/>
                      <a:pt x="2" y="0"/>
                      <a:pt x="2" y="0"/>
                    </a:cubicBezTo>
                    <a:cubicBezTo>
                      <a:pt x="2" y="0"/>
                      <a:pt x="2" y="0"/>
                      <a:pt x="1" y="0"/>
                    </a:cubicBezTo>
                    <a:cubicBezTo>
                      <a:pt x="0" y="0"/>
                      <a:pt x="0" y="0"/>
                      <a:pt x="1" y="1"/>
                    </a:cubicBezTo>
                    <a:cubicBezTo>
                      <a:pt x="1" y="1"/>
                      <a:pt x="1" y="2"/>
                      <a:pt x="1" y="2"/>
                    </a:cubicBezTo>
                    <a:cubicBezTo>
                      <a:pt x="1" y="2"/>
                      <a:pt x="1" y="3"/>
                      <a:pt x="1" y="3"/>
                    </a:cubicBezTo>
                    <a:cubicBezTo>
                      <a:pt x="1" y="3"/>
                      <a:pt x="1" y="3"/>
                      <a:pt x="1" y="4"/>
                    </a:cubicBezTo>
                    <a:cubicBezTo>
                      <a:pt x="2" y="4"/>
                      <a:pt x="2" y="4"/>
                      <a:pt x="2" y="5"/>
                    </a:cubicBezTo>
                    <a:cubicBezTo>
                      <a:pt x="2" y="5"/>
                      <a:pt x="2" y="4"/>
                      <a:pt x="2" y="4"/>
                    </a:cubicBezTo>
                    <a:cubicBezTo>
                      <a:pt x="2" y="3"/>
                      <a:pt x="2" y="2"/>
                      <a:pt x="2"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3" name="Bahamas">
                <a:extLst>
                  <a:ext uri="{FF2B5EF4-FFF2-40B4-BE49-F238E27FC236}">
                    <a16:creationId xmlns:a16="http://schemas.microsoft.com/office/drawing/2014/main" id="{C67187D0-ECF5-BA2A-A87B-DC781E4AF5D4}"/>
                  </a:ext>
                </a:extLst>
              </p:cNvPr>
              <p:cNvSpPr>
                <a:spLocks noEditPoints="1"/>
              </p:cNvSpPr>
              <p:nvPr/>
            </p:nvSpPr>
            <p:spPr bwMode="auto">
              <a:xfrm>
                <a:off x="3073764" y="2994595"/>
                <a:ext cx="187211" cy="234260"/>
              </a:xfrm>
              <a:custGeom>
                <a:avLst/>
                <a:gdLst/>
                <a:ahLst/>
                <a:cxnLst>
                  <a:cxn ang="0">
                    <a:pos x="23" y="23"/>
                  </a:cxn>
                  <a:cxn ang="0">
                    <a:pos x="21" y="18"/>
                  </a:cxn>
                  <a:cxn ang="0">
                    <a:pos x="20" y="16"/>
                  </a:cxn>
                  <a:cxn ang="0">
                    <a:pos x="23" y="18"/>
                  </a:cxn>
                  <a:cxn ang="0">
                    <a:pos x="10" y="2"/>
                  </a:cxn>
                  <a:cxn ang="0">
                    <a:pos x="4" y="2"/>
                  </a:cxn>
                  <a:cxn ang="0">
                    <a:pos x="2" y="4"/>
                  </a:cxn>
                  <a:cxn ang="0">
                    <a:pos x="6" y="4"/>
                  </a:cxn>
                  <a:cxn ang="0">
                    <a:pos x="11" y="2"/>
                  </a:cxn>
                  <a:cxn ang="0">
                    <a:pos x="17" y="3"/>
                  </a:cxn>
                  <a:cxn ang="0">
                    <a:pos x="12" y="1"/>
                  </a:cxn>
                  <a:cxn ang="0">
                    <a:pos x="16" y="3"/>
                  </a:cxn>
                  <a:cxn ang="0">
                    <a:pos x="16" y="6"/>
                  </a:cxn>
                  <a:cxn ang="0">
                    <a:pos x="14" y="10"/>
                  </a:cxn>
                  <a:cxn ang="0">
                    <a:pos x="16" y="8"/>
                  </a:cxn>
                  <a:cxn ang="0">
                    <a:pos x="18" y="6"/>
                  </a:cxn>
                  <a:cxn ang="0">
                    <a:pos x="8" y="25"/>
                  </a:cxn>
                  <a:cxn ang="0">
                    <a:pos x="6" y="20"/>
                  </a:cxn>
                  <a:cxn ang="0">
                    <a:pos x="4" y="23"/>
                  </a:cxn>
                  <a:cxn ang="0">
                    <a:pos x="3" y="26"/>
                  </a:cxn>
                  <a:cxn ang="0">
                    <a:pos x="2" y="25"/>
                  </a:cxn>
                  <a:cxn ang="0">
                    <a:pos x="4" y="28"/>
                  </a:cxn>
                  <a:cxn ang="0">
                    <a:pos x="38" y="47"/>
                  </a:cxn>
                  <a:cxn ang="0">
                    <a:pos x="7" y="32"/>
                  </a:cxn>
                  <a:cxn ang="0">
                    <a:pos x="7" y="30"/>
                  </a:cxn>
                  <a:cxn ang="0">
                    <a:pos x="6" y="33"/>
                  </a:cxn>
                  <a:cxn ang="0">
                    <a:pos x="7" y="35"/>
                  </a:cxn>
                  <a:cxn ang="0">
                    <a:pos x="8" y="35"/>
                  </a:cxn>
                  <a:cxn ang="0">
                    <a:pos x="9" y="32"/>
                  </a:cxn>
                  <a:cxn ang="0">
                    <a:pos x="34" y="36"/>
                  </a:cxn>
                  <a:cxn ang="0">
                    <a:pos x="43" y="43"/>
                  </a:cxn>
                  <a:cxn ang="0">
                    <a:pos x="31" y="40"/>
                  </a:cxn>
                  <a:cxn ang="0">
                    <a:pos x="29" y="36"/>
                  </a:cxn>
                  <a:cxn ang="0">
                    <a:pos x="30" y="42"/>
                  </a:cxn>
                  <a:cxn ang="0">
                    <a:pos x="32" y="43"/>
                  </a:cxn>
                  <a:cxn ang="0">
                    <a:pos x="32" y="43"/>
                  </a:cxn>
                  <a:cxn ang="0">
                    <a:pos x="40" y="48"/>
                  </a:cxn>
                  <a:cxn ang="0">
                    <a:pos x="39" y="50"/>
                  </a:cxn>
                  <a:cxn ang="0">
                    <a:pos x="38" y="52"/>
                  </a:cxn>
                  <a:cxn ang="0">
                    <a:pos x="42" y="48"/>
                  </a:cxn>
                  <a:cxn ang="0">
                    <a:pos x="44" y="63"/>
                  </a:cxn>
                  <a:cxn ang="0">
                    <a:pos x="41" y="64"/>
                  </a:cxn>
                  <a:cxn ang="0">
                    <a:pos x="43" y="66"/>
                  </a:cxn>
                  <a:cxn ang="0">
                    <a:pos x="46" y="65"/>
                  </a:cxn>
                  <a:cxn ang="0">
                    <a:pos x="30" y="30"/>
                  </a:cxn>
                  <a:cxn ang="0">
                    <a:pos x="27" y="25"/>
                  </a:cxn>
                  <a:cxn ang="0">
                    <a:pos x="28" y="27"/>
                  </a:cxn>
                  <a:cxn ang="0">
                    <a:pos x="30" y="30"/>
                  </a:cxn>
                  <a:cxn ang="0">
                    <a:pos x="40" y="47"/>
                  </a:cxn>
                  <a:cxn ang="0">
                    <a:pos x="38" y="32"/>
                  </a:cxn>
                  <a:cxn ang="0">
                    <a:pos x="37" y="32"/>
                  </a:cxn>
                  <a:cxn ang="0">
                    <a:pos x="23" y="36"/>
                  </a:cxn>
                  <a:cxn ang="0">
                    <a:pos x="26" y="39"/>
                  </a:cxn>
                  <a:cxn ang="0">
                    <a:pos x="48" y="50"/>
                  </a:cxn>
                  <a:cxn ang="0">
                    <a:pos x="50" y="50"/>
                  </a:cxn>
                  <a:cxn ang="0">
                    <a:pos x="49" y="60"/>
                  </a:cxn>
                  <a:cxn ang="0">
                    <a:pos x="12" y="21"/>
                  </a:cxn>
                </a:cxnLst>
                <a:rect l="0" t="0" r="r" b="b"/>
                <a:pathLst>
                  <a:path w="53" h="66">
                    <a:moveTo>
                      <a:pt x="22" y="24"/>
                    </a:moveTo>
                    <a:cubicBezTo>
                      <a:pt x="22" y="24"/>
                      <a:pt x="21" y="23"/>
                      <a:pt x="22" y="23"/>
                    </a:cubicBezTo>
                    <a:cubicBezTo>
                      <a:pt x="22" y="23"/>
                      <a:pt x="23" y="24"/>
                      <a:pt x="23" y="24"/>
                    </a:cubicBezTo>
                    <a:cubicBezTo>
                      <a:pt x="23" y="24"/>
                      <a:pt x="23" y="23"/>
                      <a:pt x="23" y="23"/>
                    </a:cubicBezTo>
                    <a:cubicBezTo>
                      <a:pt x="23" y="23"/>
                      <a:pt x="23" y="23"/>
                      <a:pt x="23" y="23"/>
                    </a:cubicBezTo>
                    <a:cubicBezTo>
                      <a:pt x="23" y="22"/>
                      <a:pt x="25" y="21"/>
                      <a:pt x="23" y="20"/>
                    </a:cubicBezTo>
                    <a:cubicBezTo>
                      <a:pt x="23" y="19"/>
                      <a:pt x="23" y="18"/>
                      <a:pt x="22" y="18"/>
                    </a:cubicBezTo>
                    <a:cubicBezTo>
                      <a:pt x="22" y="18"/>
                      <a:pt x="21" y="18"/>
                      <a:pt x="21" y="18"/>
                    </a:cubicBezTo>
                    <a:cubicBezTo>
                      <a:pt x="21" y="18"/>
                      <a:pt x="21" y="17"/>
                      <a:pt x="20" y="17"/>
                    </a:cubicBezTo>
                    <a:cubicBezTo>
                      <a:pt x="20" y="17"/>
                      <a:pt x="19" y="17"/>
                      <a:pt x="19" y="17"/>
                    </a:cubicBezTo>
                    <a:cubicBezTo>
                      <a:pt x="19" y="17"/>
                      <a:pt x="19" y="15"/>
                      <a:pt x="20" y="15"/>
                    </a:cubicBezTo>
                    <a:cubicBezTo>
                      <a:pt x="20" y="15"/>
                      <a:pt x="20" y="16"/>
                      <a:pt x="20" y="16"/>
                    </a:cubicBezTo>
                    <a:cubicBezTo>
                      <a:pt x="20" y="16"/>
                      <a:pt x="20" y="16"/>
                      <a:pt x="20" y="16"/>
                    </a:cubicBezTo>
                    <a:cubicBezTo>
                      <a:pt x="20" y="16"/>
                      <a:pt x="20" y="17"/>
                      <a:pt x="21" y="17"/>
                    </a:cubicBezTo>
                    <a:cubicBezTo>
                      <a:pt x="21" y="17"/>
                      <a:pt x="21" y="18"/>
                      <a:pt x="22" y="18"/>
                    </a:cubicBezTo>
                    <a:cubicBezTo>
                      <a:pt x="22" y="18"/>
                      <a:pt x="23" y="18"/>
                      <a:pt x="23" y="18"/>
                    </a:cubicBezTo>
                    <a:cubicBezTo>
                      <a:pt x="24" y="20"/>
                      <a:pt x="25" y="20"/>
                      <a:pt x="24" y="21"/>
                    </a:cubicBezTo>
                    <a:cubicBezTo>
                      <a:pt x="24" y="22"/>
                      <a:pt x="23" y="25"/>
                      <a:pt x="23" y="25"/>
                    </a:cubicBezTo>
                    <a:cubicBezTo>
                      <a:pt x="22" y="25"/>
                      <a:pt x="23" y="24"/>
                      <a:pt x="22" y="24"/>
                    </a:cubicBezTo>
                    <a:close/>
                    <a:moveTo>
                      <a:pt x="10" y="2"/>
                    </a:moveTo>
                    <a:cubicBezTo>
                      <a:pt x="10" y="3"/>
                      <a:pt x="9" y="3"/>
                      <a:pt x="9" y="3"/>
                    </a:cubicBezTo>
                    <a:cubicBezTo>
                      <a:pt x="8" y="3"/>
                      <a:pt x="7" y="2"/>
                      <a:pt x="7" y="3"/>
                    </a:cubicBezTo>
                    <a:cubicBezTo>
                      <a:pt x="6" y="3"/>
                      <a:pt x="6" y="3"/>
                      <a:pt x="5" y="2"/>
                    </a:cubicBezTo>
                    <a:cubicBezTo>
                      <a:pt x="5" y="2"/>
                      <a:pt x="4" y="2"/>
                      <a:pt x="4" y="2"/>
                    </a:cubicBezTo>
                    <a:cubicBezTo>
                      <a:pt x="4" y="2"/>
                      <a:pt x="4" y="2"/>
                      <a:pt x="4" y="3"/>
                    </a:cubicBezTo>
                    <a:cubicBezTo>
                      <a:pt x="4" y="3"/>
                      <a:pt x="4" y="3"/>
                      <a:pt x="4" y="3"/>
                    </a:cubicBezTo>
                    <a:cubicBezTo>
                      <a:pt x="4" y="3"/>
                      <a:pt x="4" y="3"/>
                      <a:pt x="3" y="4"/>
                    </a:cubicBezTo>
                    <a:cubicBezTo>
                      <a:pt x="3" y="4"/>
                      <a:pt x="2" y="4"/>
                      <a:pt x="2" y="4"/>
                    </a:cubicBezTo>
                    <a:cubicBezTo>
                      <a:pt x="1" y="4"/>
                      <a:pt x="1" y="3"/>
                      <a:pt x="0" y="3"/>
                    </a:cubicBezTo>
                    <a:cubicBezTo>
                      <a:pt x="0" y="3"/>
                      <a:pt x="2" y="5"/>
                      <a:pt x="2" y="5"/>
                    </a:cubicBezTo>
                    <a:cubicBezTo>
                      <a:pt x="3" y="5"/>
                      <a:pt x="4" y="4"/>
                      <a:pt x="5" y="4"/>
                    </a:cubicBezTo>
                    <a:cubicBezTo>
                      <a:pt x="6" y="4"/>
                      <a:pt x="6" y="4"/>
                      <a:pt x="6" y="4"/>
                    </a:cubicBezTo>
                    <a:cubicBezTo>
                      <a:pt x="7" y="4"/>
                      <a:pt x="8" y="3"/>
                      <a:pt x="8" y="3"/>
                    </a:cubicBezTo>
                    <a:cubicBezTo>
                      <a:pt x="9" y="3"/>
                      <a:pt x="9" y="3"/>
                      <a:pt x="10" y="3"/>
                    </a:cubicBezTo>
                    <a:cubicBezTo>
                      <a:pt x="10" y="3"/>
                      <a:pt x="10" y="4"/>
                      <a:pt x="10" y="3"/>
                    </a:cubicBezTo>
                    <a:cubicBezTo>
                      <a:pt x="10" y="3"/>
                      <a:pt x="10" y="2"/>
                      <a:pt x="11" y="2"/>
                    </a:cubicBezTo>
                    <a:cubicBezTo>
                      <a:pt x="10" y="2"/>
                      <a:pt x="10" y="2"/>
                      <a:pt x="10" y="2"/>
                    </a:cubicBezTo>
                    <a:close/>
                    <a:moveTo>
                      <a:pt x="18" y="6"/>
                    </a:moveTo>
                    <a:cubicBezTo>
                      <a:pt x="18" y="5"/>
                      <a:pt x="18" y="5"/>
                      <a:pt x="18" y="5"/>
                    </a:cubicBezTo>
                    <a:cubicBezTo>
                      <a:pt x="18" y="4"/>
                      <a:pt x="15" y="3"/>
                      <a:pt x="17" y="3"/>
                    </a:cubicBezTo>
                    <a:cubicBezTo>
                      <a:pt x="15" y="3"/>
                      <a:pt x="15" y="1"/>
                      <a:pt x="14" y="1"/>
                    </a:cubicBezTo>
                    <a:cubicBezTo>
                      <a:pt x="14" y="0"/>
                      <a:pt x="13" y="1"/>
                      <a:pt x="12" y="0"/>
                    </a:cubicBezTo>
                    <a:cubicBezTo>
                      <a:pt x="12" y="0"/>
                      <a:pt x="11" y="0"/>
                      <a:pt x="10" y="1"/>
                    </a:cubicBezTo>
                    <a:cubicBezTo>
                      <a:pt x="11" y="1"/>
                      <a:pt x="11" y="1"/>
                      <a:pt x="12" y="1"/>
                    </a:cubicBezTo>
                    <a:cubicBezTo>
                      <a:pt x="12" y="1"/>
                      <a:pt x="12" y="1"/>
                      <a:pt x="12" y="1"/>
                    </a:cubicBezTo>
                    <a:cubicBezTo>
                      <a:pt x="13" y="1"/>
                      <a:pt x="13" y="1"/>
                      <a:pt x="14" y="1"/>
                    </a:cubicBezTo>
                    <a:cubicBezTo>
                      <a:pt x="15" y="1"/>
                      <a:pt x="15" y="2"/>
                      <a:pt x="15" y="3"/>
                    </a:cubicBezTo>
                    <a:cubicBezTo>
                      <a:pt x="15" y="3"/>
                      <a:pt x="15" y="3"/>
                      <a:pt x="16" y="3"/>
                    </a:cubicBezTo>
                    <a:cubicBezTo>
                      <a:pt x="16" y="3"/>
                      <a:pt x="16" y="4"/>
                      <a:pt x="16" y="4"/>
                    </a:cubicBezTo>
                    <a:cubicBezTo>
                      <a:pt x="16" y="4"/>
                      <a:pt x="17" y="4"/>
                      <a:pt x="17" y="5"/>
                    </a:cubicBezTo>
                    <a:cubicBezTo>
                      <a:pt x="17" y="5"/>
                      <a:pt x="17" y="5"/>
                      <a:pt x="17" y="5"/>
                    </a:cubicBezTo>
                    <a:cubicBezTo>
                      <a:pt x="16" y="6"/>
                      <a:pt x="16" y="6"/>
                      <a:pt x="16" y="6"/>
                    </a:cubicBezTo>
                    <a:cubicBezTo>
                      <a:pt x="16" y="7"/>
                      <a:pt x="16" y="7"/>
                      <a:pt x="16" y="7"/>
                    </a:cubicBezTo>
                    <a:cubicBezTo>
                      <a:pt x="16" y="7"/>
                      <a:pt x="16" y="8"/>
                      <a:pt x="16" y="8"/>
                    </a:cubicBezTo>
                    <a:cubicBezTo>
                      <a:pt x="16" y="8"/>
                      <a:pt x="16" y="8"/>
                      <a:pt x="16" y="9"/>
                    </a:cubicBezTo>
                    <a:cubicBezTo>
                      <a:pt x="16" y="9"/>
                      <a:pt x="14" y="10"/>
                      <a:pt x="14" y="10"/>
                    </a:cubicBezTo>
                    <a:cubicBezTo>
                      <a:pt x="14" y="11"/>
                      <a:pt x="15" y="11"/>
                      <a:pt x="15" y="11"/>
                    </a:cubicBezTo>
                    <a:cubicBezTo>
                      <a:pt x="15" y="11"/>
                      <a:pt x="15" y="12"/>
                      <a:pt x="15" y="12"/>
                    </a:cubicBezTo>
                    <a:cubicBezTo>
                      <a:pt x="16" y="12"/>
                      <a:pt x="16" y="12"/>
                      <a:pt x="16" y="11"/>
                    </a:cubicBezTo>
                    <a:cubicBezTo>
                      <a:pt x="16" y="10"/>
                      <a:pt x="16" y="9"/>
                      <a:pt x="16" y="8"/>
                    </a:cubicBezTo>
                    <a:cubicBezTo>
                      <a:pt x="17" y="8"/>
                      <a:pt x="17" y="7"/>
                      <a:pt x="18" y="7"/>
                    </a:cubicBezTo>
                    <a:cubicBezTo>
                      <a:pt x="18" y="7"/>
                      <a:pt x="18" y="7"/>
                      <a:pt x="18" y="7"/>
                    </a:cubicBezTo>
                    <a:cubicBezTo>
                      <a:pt x="18" y="7"/>
                      <a:pt x="18" y="7"/>
                      <a:pt x="18" y="6"/>
                    </a:cubicBezTo>
                    <a:cubicBezTo>
                      <a:pt x="18" y="6"/>
                      <a:pt x="18" y="6"/>
                      <a:pt x="18" y="6"/>
                    </a:cubicBezTo>
                    <a:close/>
                    <a:moveTo>
                      <a:pt x="6" y="29"/>
                    </a:moveTo>
                    <a:cubicBezTo>
                      <a:pt x="6" y="28"/>
                      <a:pt x="7" y="28"/>
                      <a:pt x="7" y="28"/>
                    </a:cubicBezTo>
                    <a:cubicBezTo>
                      <a:pt x="8" y="27"/>
                      <a:pt x="8" y="27"/>
                      <a:pt x="8" y="26"/>
                    </a:cubicBezTo>
                    <a:cubicBezTo>
                      <a:pt x="8" y="26"/>
                      <a:pt x="8" y="25"/>
                      <a:pt x="8" y="25"/>
                    </a:cubicBezTo>
                    <a:cubicBezTo>
                      <a:pt x="8" y="24"/>
                      <a:pt x="7" y="24"/>
                      <a:pt x="7" y="23"/>
                    </a:cubicBezTo>
                    <a:cubicBezTo>
                      <a:pt x="7" y="23"/>
                      <a:pt x="7" y="23"/>
                      <a:pt x="7" y="22"/>
                    </a:cubicBezTo>
                    <a:cubicBezTo>
                      <a:pt x="7" y="22"/>
                      <a:pt x="6" y="22"/>
                      <a:pt x="7" y="21"/>
                    </a:cubicBezTo>
                    <a:cubicBezTo>
                      <a:pt x="7" y="21"/>
                      <a:pt x="7" y="19"/>
                      <a:pt x="6" y="20"/>
                    </a:cubicBezTo>
                    <a:cubicBezTo>
                      <a:pt x="5" y="20"/>
                      <a:pt x="5" y="19"/>
                      <a:pt x="5" y="19"/>
                    </a:cubicBezTo>
                    <a:cubicBezTo>
                      <a:pt x="4" y="20"/>
                      <a:pt x="5" y="20"/>
                      <a:pt x="5" y="21"/>
                    </a:cubicBezTo>
                    <a:cubicBezTo>
                      <a:pt x="5" y="21"/>
                      <a:pt x="4" y="22"/>
                      <a:pt x="4" y="22"/>
                    </a:cubicBezTo>
                    <a:cubicBezTo>
                      <a:pt x="4" y="22"/>
                      <a:pt x="4" y="23"/>
                      <a:pt x="4" y="23"/>
                    </a:cubicBezTo>
                    <a:cubicBezTo>
                      <a:pt x="4" y="24"/>
                      <a:pt x="3" y="24"/>
                      <a:pt x="3" y="25"/>
                    </a:cubicBezTo>
                    <a:cubicBezTo>
                      <a:pt x="3" y="25"/>
                      <a:pt x="3" y="25"/>
                      <a:pt x="3" y="24"/>
                    </a:cubicBezTo>
                    <a:cubicBezTo>
                      <a:pt x="3" y="25"/>
                      <a:pt x="4" y="25"/>
                      <a:pt x="4" y="26"/>
                    </a:cubicBezTo>
                    <a:cubicBezTo>
                      <a:pt x="4" y="26"/>
                      <a:pt x="3" y="26"/>
                      <a:pt x="3" y="26"/>
                    </a:cubicBezTo>
                    <a:cubicBezTo>
                      <a:pt x="3" y="26"/>
                      <a:pt x="3" y="26"/>
                      <a:pt x="3" y="26"/>
                    </a:cubicBezTo>
                    <a:cubicBezTo>
                      <a:pt x="3" y="26"/>
                      <a:pt x="2" y="26"/>
                      <a:pt x="3" y="25"/>
                    </a:cubicBezTo>
                    <a:cubicBezTo>
                      <a:pt x="3" y="25"/>
                      <a:pt x="3" y="25"/>
                      <a:pt x="3" y="25"/>
                    </a:cubicBezTo>
                    <a:cubicBezTo>
                      <a:pt x="2" y="25"/>
                      <a:pt x="3" y="25"/>
                      <a:pt x="2" y="25"/>
                    </a:cubicBezTo>
                    <a:cubicBezTo>
                      <a:pt x="1" y="26"/>
                      <a:pt x="1" y="26"/>
                      <a:pt x="2" y="27"/>
                    </a:cubicBezTo>
                    <a:cubicBezTo>
                      <a:pt x="3" y="27"/>
                      <a:pt x="3" y="28"/>
                      <a:pt x="4" y="27"/>
                    </a:cubicBezTo>
                    <a:cubicBezTo>
                      <a:pt x="4" y="27"/>
                      <a:pt x="4" y="28"/>
                      <a:pt x="4" y="28"/>
                    </a:cubicBezTo>
                    <a:cubicBezTo>
                      <a:pt x="4" y="28"/>
                      <a:pt x="4" y="28"/>
                      <a:pt x="4" y="28"/>
                    </a:cubicBezTo>
                    <a:cubicBezTo>
                      <a:pt x="4" y="29"/>
                      <a:pt x="4" y="29"/>
                      <a:pt x="5" y="30"/>
                    </a:cubicBezTo>
                    <a:cubicBezTo>
                      <a:pt x="5" y="30"/>
                      <a:pt x="5" y="29"/>
                      <a:pt x="6" y="29"/>
                    </a:cubicBezTo>
                    <a:cubicBezTo>
                      <a:pt x="6" y="29"/>
                      <a:pt x="6" y="29"/>
                      <a:pt x="6" y="29"/>
                    </a:cubicBezTo>
                    <a:close/>
                    <a:moveTo>
                      <a:pt x="38" y="47"/>
                    </a:moveTo>
                    <a:cubicBezTo>
                      <a:pt x="37" y="47"/>
                      <a:pt x="36" y="48"/>
                      <a:pt x="36" y="49"/>
                    </a:cubicBezTo>
                    <a:cubicBezTo>
                      <a:pt x="37" y="48"/>
                      <a:pt x="37" y="48"/>
                      <a:pt x="38" y="47"/>
                    </a:cubicBezTo>
                    <a:close/>
                    <a:moveTo>
                      <a:pt x="9" y="30"/>
                    </a:moveTo>
                    <a:cubicBezTo>
                      <a:pt x="8" y="30"/>
                      <a:pt x="8" y="32"/>
                      <a:pt x="7" y="32"/>
                    </a:cubicBezTo>
                    <a:cubicBezTo>
                      <a:pt x="8" y="32"/>
                      <a:pt x="7" y="31"/>
                      <a:pt x="7" y="31"/>
                    </a:cubicBezTo>
                    <a:cubicBezTo>
                      <a:pt x="7" y="31"/>
                      <a:pt x="8" y="31"/>
                      <a:pt x="7" y="31"/>
                    </a:cubicBezTo>
                    <a:cubicBezTo>
                      <a:pt x="7" y="30"/>
                      <a:pt x="8" y="30"/>
                      <a:pt x="8" y="30"/>
                    </a:cubicBezTo>
                    <a:cubicBezTo>
                      <a:pt x="8" y="29"/>
                      <a:pt x="8" y="29"/>
                      <a:pt x="7" y="30"/>
                    </a:cubicBezTo>
                    <a:cubicBezTo>
                      <a:pt x="7" y="30"/>
                      <a:pt x="7" y="30"/>
                      <a:pt x="7" y="30"/>
                    </a:cubicBezTo>
                    <a:cubicBezTo>
                      <a:pt x="7" y="30"/>
                      <a:pt x="6" y="31"/>
                      <a:pt x="6" y="31"/>
                    </a:cubicBezTo>
                    <a:cubicBezTo>
                      <a:pt x="5" y="31"/>
                      <a:pt x="5" y="31"/>
                      <a:pt x="6" y="32"/>
                    </a:cubicBezTo>
                    <a:cubicBezTo>
                      <a:pt x="6" y="32"/>
                      <a:pt x="6" y="33"/>
                      <a:pt x="6" y="33"/>
                    </a:cubicBezTo>
                    <a:cubicBezTo>
                      <a:pt x="6" y="34"/>
                      <a:pt x="7" y="35"/>
                      <a:pt x="7" y="34"/>
                    </a:cubicBezTo>
                    <a:cubicBezTo>
                      <a:pt x="7" y="34"/>
                      <a:pt x="7" y="34"/>
                      <a:pt x="6" y="34"/>
                    </a:cubicBezTo>
                    <a:cubicBezTo>
                      <a:pt x="7" y="35"/>
                      <a:pt x="7" y="34"/>
                      <a:pt x="8" y="34"/>
                    </a:cubicBezTo>
                    <a:cubicBezTo>
                      <a:pt x="8" y="34"/>
                      <a:pt x="7" y="35"/>
                      <a:pt x="7" y="35"/>
                    </a:cubicBezTo>
                    <a:cubicBezTo>
                      <a:pt x="7" y="35"/>
                      <a:pt x="7" y="35"/>
                      <a:pt x="6" y="35"/>
                    </a:cubicBezTo>
                    <a:cubicBezTo>
                      <a:pt x="7" y="35"/>
                      <a:pt x="7" y="35"/>
                      <a:pt x="7" y="36"/>
                    </a:cubicBezTo>
                    <a:cubicBezTo>
                      <a:pt x="7" y="36"/>
                      <a:pt x="7" y="35"/>
                      <a:pt x="7" y="35"/>
                    </a:cubicBezTo>
                    <a:cubicBezTo>
                      <a:pt x="8" y="35"/>
                      <a:pt x="8" y="36"/>
                      <a:pt x="8" y="35"/>
                    </a:cubicBezTo>
                    <a:cubicBezTo>
                      <a:pt x="8" y="35"/>
                      <a:pt x="8" y="35"/>
                      <a:pt x="8" y="34"/>
                    </a:cubicBezTo>
                    <a:cubicBezTo>
                      <a:pt x="9" y="34"/>
                      <a:pt x="9" y="33"/>
                      <a:pt x="8" y="34"/>
                    </a:cubicBezTo>
                    <a:cubicBezTo>
                      <a:pt x="8" y="33"/>
                      <a:pt x="9" y="33"/>
                      <a:pt x="9" y="33"/>
                    </a:cubicBezTo>
                    <a:cubicBezTo>
                      <a:pt x="9" y="33"/>
                      <a:pt x="9" y="32"/>
                      <a:pt x="9" y="32"/>
                    </a:cubicBezTo>
                    <a:cubicBezTo>
                      <a:pt x="9" y="32"/>
                      <a:pt x="9" y="30"/>
                      <a:pt x="9" y="30"/>
                    </a:cubicBezTo>
                    <a:close/>
                    <a:moveTo>
                      <a:pt x="34" y="36"/>
                    </a:moveTo>
                    <a:cubicBezTo>
                      <a:pt x="34" y="36"/>
                      <a:pt x="33" y="36"/>
                      <a:pt x="33" y="36"/>
                    </a:cubicBezTo>
                    <a:cubicBezTo>
                      <a:pt x="33" y="36"/>
                      <a:pt x="34" y="36"/>
                      <a:pt x="34" y="36"/>
                    </a:cubicBezTo>
                    <a:cubicBezTo>
                      <a:pt x="34" y="36"/>
                      <a:pt x="35" y="36"/>
                      <a:pt x="34" y="36"/>
                    </a:cubicBezTo>
                    <a:cubicBezTo>
                      <a:pt x="34" y="36"/>
                      <a:pt x="34" y="36"/>
                      <a:pt x="34" y="36"/>
                    </a:cubicBezTo>
                    <a:close/>
                    <a:moveTo>
                      <a:pt x="44" y="42"/>
                    </a:moveTo>
                    <a:cubicBezTo>
                      <a:pt x="44" y="42"/>
                      <a:pt x="42" y="42"/>
                      <a:pt x="43" y="43"/>
                    </a:cubicBezTo>
                    <a:cubicBezTo>
                      <a:pt x="43" y="43"/>
                      <a:pt x="44" y="43"/>
                      <a:pt x="44" y="42"/>
                    </a:cubicBezTo>
                    <a:close/>
                    <a:moveTo>
                      <a:pt x="32" y="43"/>
                    </a:moveTo>
                    <a:cubicBezTo>
                      <a:pt x="32" y="42"/>
                      <a:pt x="31" y="42"/>
                      <a:pt x="31" y="42"/>
                    </a:cubicBezTo>
                    <a:cubicBezTo>
                      <a:pt x="31" y="41"/>
                      <a:pt x="31" y="40"/>
                      <a:pt x="31" y="40"/>
                    </a:cubicBezTo>
                    <a:cubicBezTo>
                      <a:pt x="31" y="39"/>
                      <a:pt x="30" y="39"/>
                      <a:pt x="30" y="39"/>
                    </a:cubicBezTo>
                    <a:cubicBezTo>
                      <a:pt x="30" y="38"/>
                      <a:pt x="30" y="37"/>
                      <a:pt x="29" y="36"/>
                    </a:cubicBezTo>
                    <a:cubicBezTo>
                      <a:pt x="29" y="36"/>
                      <a:pt x="29" y="37"/>
                      <a:pt x="29" y="37"/>
                    </a:cubicBezTo>
                    <a:cubicBezTo>
                      <a:pt x="29" y="37"/>
                      <a:pt x="29" y="36"/>
                      <a:pt x="29" y="36"/>
                    </a:cubicBezTo>
                    <a:cubicBezTo>
                      <a:pt x="29" y="37"/>
                      <a:pt x="29" y="37"/>
                      <a:pt x="30" y="38"/>
                    </a:cubicBezTo>
                    <a:cubicBezTo>
                      <a:pt x="30" y="38"/>
                      <a:pt x="30" y="39"/>
                      <a:pt x="31" y="40"/>
                    </a:cubicBezTo>
                    <a:cubicBezTo>
                      <a:pt x="31" y="40"/>
                      <a:pt x="30" y="41"/>
                      <a:pt x="31" y="42"/>
                    </a:cubicBezTo>
                    <a:cubicBezTo>
                      <a:pt x="31" y="42"/>
                      <a:pt x="30" y="42"/>
                      <a:pt x="30" y="42"/>
                    </a:cubicBezTo>
                    <a:cubicBezTo>
                      <a:pt x="30" y="42"/>
                      <a:pt x="30" y="42"/>
                      <a:pt x="30" y="42"/>
                    </a:cubicBezTo>
                    <a:cubicBezTo>
                      <a:pt x="30" y="41"/>
                      <a:pt x="29" y="41"/>
                      <a:pt x="29" y="42"/>
                    </a:cubicBezTo>
                    <a:cubicBezTo>
                      <a:pt x="30" y="42"/>
                      <a:pt x="30" y="42"/>
                      <a:pt x="30" y="42"/>
                    </a:cubicBezTo>
                    <a:cubicBezTo>
                      <a:pt x="31" y="43"/>
                      <a:pt x="32" y="43"/>
                      <a:pt x="32" y="43"/>
                    </a:cubicBezTo>
                    <a:cubicBezTo>
                      <a:pt x="32" y="44"/>
                      <a:pt x="32" y="44"/>
                      <a:pt x="33" y="45"/>
                    </a:cubicBezTo>
                    <a:cubicBezTo>
                      <a:pt x="33" y="45"/>
                      <a:pt x="33" y="44"/>
                      <a:pt x="33" y="44"/>
                    </a:cubicBezTo>
                    <a:cubicBezTo>
                      <a:pt x="33" y="44"/>
                      <a:pt x="33" y="44"/>
                      <a:pt x="33" y="44"/>
                    </a:cubicBezTo>
                    <a:cubicBezTo>
                      <a:pt x="33" y="43"/>
                      <a:pt x="33" y="43"/>
                      <a:pt x="32" y="43"/>
                    </a:cubicBezTo>
                    <a:close/>
                    <a:moveTo>
                      <a:pt x="41" y="47"/>
                    </a:moveTo>
                    <a:cubicBezTo>
                      <a:pt x="42" y="47"/>
                      <a:pt x="42" y="46"/>
                      <a:pt x="41" y="47"/>
                    </a:cubicBezTo>
                    <a:cubicBezTo>
                      <a:pt x="41" y="47"/>
                      <a:pt x="41" y="47"/>
                      <a:pt x="40" y="47"/>
                    </a:cubicBezTo>
                    <a:cubicBezTo>
                      <a:pt x="40" y="47"/>
                      <a:pt x="40" y="47"/>
                      <a:pt x="40" y="48"/>
                    </a:cubicBezTo>
                    <a:cubicBezTo>
                      <a:pt x="40" y="48"/>
                      <a:pt x="41" y="48"/>
                      <a:pt x="41" y="48"/>
                    </a:cubicBezTo>
                    <a:cubicBezTo>
                      <a:pt x="42" y="49"/>
                      <a:pt x="41" y="49"/>
                      <a:pt x="40" y="49"/>
                    </a:cubicBezTo>
                    <a:cubicBezTo>
                      <a:pt x="40" y="49"/>
                      <a:pt x="40" y="50"/>
                      <a:pt x="40" y="50"/>
                    </a:cubicBezTo>
                    <a:cubicBezTo>
                      <a:pt x="40" y="50"/>
                      <a:pt x="39" y="50"/>
                      <a:pt x="39" y="50"/>
                    </a:cubicBezTo>
                    <a:cubicBezTo>
                      <a:pt x="39" y="50"/>
                      <a:pt x="39" y="50"/>
                      <a:pt x="39" y="50"/>
                    </a:cubicBezTo>
                    <a:cubicBezTo>
                      <a:pt x="39" y="51"/>
                      <a:pt x="38" y="51"/>
                      <a:pt x="38" y="51"/>
                    </a:cubicBezTo>
                    <a:cubicBezTo>
                      <a:pt x="38" y="52"/>
                      <a:pt x="37" y="52"/>
                      <a:pt x="37" y="53"/>
                    </a:cubicBezTo>
                    <a:cubicBezTo>
                      <a:pt x="37" y="52"/>
                      <a:pt x="38" y="52"/>
                      <a:pt x="38" y="52"/>
                    </a:cubicBezTo>
                    <a:cubicBezTo>
                      <a:pt x="38" y="52"/>
                      <a:pt x="38" y="51"/>
                      <a:pt x="39" y="51"/>
                    </a:cubicBezTo>
                    <a:cubicBezTo>
                      <a:pt x="39" y="51"/>
                      <a:pt x="40" y="51"/>
                      <a:pt x="40" y="50"/>
                    </a:cubicBezTo>
                    <a:cubicBezTo>
                      <a:pt x="40" y="50"/>
                      <a:pt x="40" y="50"/>
                      <a:pt x="40" y="50"/>
                    </a:cubicBezTo>
                    <a:cubicBezTo>
                      <a:pt x="41" y="50"/>
                      <a:pt x="42" y="49"/>
                      <a:pt x="42" y="48"/>
                    </a:cubicBezTo>
                    <a:cubicBezTo>
                      <a:pt x="42" y="48"/>
                      <a:pt x="41" y="47"/>
                      <a:pt x="41" y="47"/>
                    </a:cubicBezTo>
                    <a:close/>
                    <a:moveTo>
                      <a:pt x="47" y="63"/>
                    </a:moveTo>
                    <a:cubicBezTo>
                      <a:pt x="46" y="63"/>
                      <a:pt x="46" y="64"/>
                      <a:pt x="45" y="64"/>
                    </a:cubicBezTo>
                    <a:cubicBezTo>
                      <a:pt x="44" y="64"/>
                      <a:pt x="45" y="63"/>
                      <a:pt x="44" y="63"/>
                    </a:cubicBezTo>
                    <a:cubicBezTo>
                      <a:pt x="44" y="63"/>
                      <a:pt x="44" y="63"/>
                      <a:pt x="44" y="63"/>
                    </a:cubicBezTo>
                    <a:cubicBezTo>
                      <a:pt x="43" y="63"/>
                      <a:pt x="43" y="63"/>
                      <a:pt x="43" y="63"/>
                    </a:cubicBezTo>
                    <a:cubicBezTo>
                      <a:pt x="43" y="63"/>
                      <a:pt x="43" y="64"/>
                      <a:pt x="42" y="64"/>
                    </a:cubicBezTo>
                    <a:cubicBezTo>
                      <a:pt x="42" y="64"/>
                      <a:pt x="42" y="64"/>
                      <a:pt x="41" y="64"/>
                    </a:cubicBezTo>
                    <a:cubicBezTo>
                      <a:pt x="41" y="64"/>
                      <a:pt x="41" y="64"/>
                      <a:pt x="41" y="64"/>
                    </a:cubicBezTo>
                    <a:cubicBezTo>
                      <a:pt x="41" y="64"/>
                      <a:pt x="41" y="65"/>
                      <a:pt x="41" y="65"/>
                    </a:cubicBezTo>
                    <a:cubicBezTo>
                      <a:pt x="41" y="65"/>
                      <a:pt x="41" y="66"/>
                      <a:pt x="41" y="66"/>
                    </a:cubicBezTo>
                    <a:cubicBezTo>
                      <a:pt x="42" y="66"/>
                      <a:pt x="42" y="66"/>
                      <a:pt x="43" y="66"/>
                    </a:cubicBezTo>
                    <a:cubicBezTo>
                      <a:pt x="43" y="66"/>
                      <a:pt x="44" y="66"/>
                      <a:pt x="44" y="66"/>
                    </a:cubicBezTo>
                    <a:cubicBezTo>
                      <a:pt x="44" y="66"/>
                      <a:pt x="45" y="66"/>
                      <a:pt x="44" y="66"/>
                    </a:cubicBezTo>
                    <a:cubicBezTo>
                      <a:pt x="45" y="66"/>
                      <a:pt x="45" y="66"/>
                      <a:pt x="46" y="66"/>
                    </a:cubicBezTo>
                    <a:cubicBezTo>
                      <a:pt x="46" y="66"/>
                      <a:pt x="46" y="65"/>
                      <a:pt x="46" y="65"/>
                    </a:cubicBezTo>
                    <a:cubicBezTo>
                      <a:pt x="47" y="65"/>
                      <a:pt x="47" y="64"/>
                      <a:pt x="47" y="63"/>
                    </a:cubicBezTo>
                    <a:cubicBezTo>
                      <a:pt x="48" y="63"/>
                      <a:pt x="48" y="62"/>
                      <a:pt x="48" y="62"/>
                    </a:cubicBezTo>
                    <a:cubicBezTo>
                      <a:pt x="47" y="62"/>
                      <a:pt x="47" y="63"/>
                      <a:pt x="47" y="63"/>
                    </a:cubicBezTo>
                    <a:close/>
                    <a:moveTo>
                      <a:pt x="30" y="30"/>
                    </a:moveTo>
                    <a:cubicBezTo>
                      <a:pt x="30" y="30"/>
                      <a:pt x="30" y="30"/>
                      <a:pt x="30" y="29"/>
                    </a:cubicBezTo>
                    <a:cubicBezTo>
                      <a:pt x="29" y="29"/>
                      <a:pt x="29" y="29"/>
                      <a:pt x="29" y="28"/>
                    </a:cubicBezTo>
                    <a:cubicBezTo>
                      <a:pt x="28" y="28"/>
                      <a:pt x="28" y="27"/>
                      <a:pt x="28" y="26"/>
                    </a:cubicBezTo>
                    <a:cubicBezTo>
                      <a:pt x="28" y="25"/>
                      <a:pt x="27" y="25"/>
                      <a:pt x="27" y="25"/>
                    </a:cubicBezTo>
                    <a:cubicBezTo>
                      <a:pt x="27" y="26"/>
                      <a:pt x="27" y="26"/>
                      <a:pt x="27" y="26"/>
                    </a:cubicBezTo>
                    <a:cubicBezTo>
                      <a:pt x="28" y="26"/>
                      <a:pt x="28" y="26"/>
                      <a:pt x="28" y="27"/>
                    </a:cubicBezTo>
                    <a:cubicBezTo>
                      <a:pt x="28" y="27"/>
                      <a:pt x="28" y="27"/>
                      <a:pt x="28" y="27"/>
                    </a:cubicBezTo>
                    <a:cubicBezTo>
                      <a:pt x="28" y="27"/>
                      <a:pt x="28" y="27"/>
                      <a:pt x="28" y="27"/>
                    </a:cubicBezTo>
                    <a:cubicBezTo>
                      <a:pt x="28" y="28"/>
                      <a:pt x="29" y="28"/>
                      <a:pt x="29" y="29"/>
                    </a:cubicBezTo>
                    <a:cubicBezTo>
                      <a:pt x="29" y="29"/>
                      <a:pt x="30" y="30"/>
                      <a:pt x="29" y="30"/>
                    </a:cubicBezTo>
                    <a:cubicBezTo>
                      <a:pt x="29" y="30"/>
                      <a:pt x="28" y="31"/>
                      <a:pt x="29" y="31"/>
                    </a:cubicBezTo>
                    <a:cubicBezTo>
                      <a:pt x="29" y="31"/>
                      <a:pt x="30" y="31"/>
                      <a:pt x="30" y="30"/>
                    </a:cubicBezTo>
                    <a:close/>
                    <a:moveTo>
                      <a:pt x="38" y="45"/>
                    </a:moveTo>
                    <a:cubicBezTo>
                      <a:pt x="37" y="45"/>
                      <a:pt x="38" y="47"/>
                      <a:pt x="38" y="47"/>
                    </a:cubicBezTo>
                    <a:cubicBezTo>
                      <a:pt x="38" y="47"/>
                      <a:pt x="39" y="47"/>
                      <a:pt x="39" y="47"/>
                    </a:cubicBezTo>
                    <a:cubicBezTo>
                      <a:pt x="40" y="47"/>
                      <a:pt x="40" y="47"/>
                      <a:pt x="40" y="47"/>
                    </a:cubicBezTo>
                    <a:cubicBezTo>
                      <a:pt x="40" y="46"/>
                      <a:pt x="39" y="47"/>
                      <a:pt x="39" y="46"/>
                    </a:cubicBezTo>
                    <a:cubicBezTo>
                      <a:pt x="39" y="46"/>
                      <a:pt x="39" y="46"/>
                      <a:pt x="38" y="46"/>
                    </a:cubicBezTo>
                    <a:cubicBezTo>
                      <a:pt x="38" y="46"/>
                      <a:pt x="38" y="45"/>
                      <a:pt x="38" y="45"/>
                    </a:cubicBezTo>
                    <a:close/>
                    <a:moveTo>
                      <a:pt x="38" y="32"/>
                    </a:moveTo>
                    <a:cubicBezTo>
                      <a:pt x="37" y="33"/>
                      <a:pt x="38" y="32"/>
                      <a:pt x="38" y="32"/>
                    </a:cubicBezTo>
                    <a:cubicBezTo>
                      <a:pt x="38" y="32"/>
                      <a:pt x="38" y="31"/>
                      <a:pt x="38" y="31"/>
                    </a:cubicBezTo>
                    <a:cubicBezTo>
                      <a:pt x="38" y="31"/>
                      <a:pt x="38" y="31"/>
                      <a:pt x="38" y="31"/>
                    </a:cubicBezTo>
                    <a:cubicBezTo>
                      <a:pt x="37" y="32"/>
                      <a:pt x="37" y="32"/>
                      <a:pt x="37" y="32"/>
                    </a:cubicBezTo>
                    <a:cubicBezTo>
                      <a:pt x="38" y="32"/>
                      <a:pt x="37" y="33"/>
                      <a:pt x="37" y="33"/>
                    </a:cubicBezTo>
                    <a:cubicBezTo>
                      <a:pt x="38" y="33"/>
                      <a:pt x="37" y="33"/>
                      <a:pt x="38" y="32"/>
                    </a:cubicBezTo>
                    <a:close/>
                    <a:moveTo>
                      <a:pt x="24" y="37"/>
                    </a:moveTo>
                    <a:cubicBezTo>
                      <a:pt x="24" y="37"/>
                      <a:pt x="23" y="36"/>
                      <a:pt x="23" y="36"/>
                    </a:cubicBezTo>
                    <a:cubicBezTo>
                      <a:pt x="22" y="36"/>
                      <a:pt x="23" y="37"/>
                      <a:pt x="22" y="37"/>
                    </a:cubicBezTo>
                    <a:cubicBezTo>
                      <a:pt x="23" y="37"/>
                      <a:pt x="24" y="37"/>
                      <a:pt x="24" y="38"/>
                    </a:cubicBezTo>
                    <a:cubicBezTo>
                      <a:pt x="25" y="38"/>
                      <a:pt x="25" y="38"/>
                      <a:pt x="25" y="38"/>
                    </a:cubicBezTo>
                    <a:cubicBezTo>
                      <a:pt x="25" y="38"/>
                      <a:pt x="26" y="39"/>
                      <a:pt x="26" y="39"/>
                    </a:cubicBezTo>
                    <a:cubicBezTo>
                      <a:pt x="26" y="38"/>
                      <a:pt x="25" y="38"/>
                      <a:pt x="24" y="37"/>
                    </a:cubicBezTo>
                    <a:close/>
                    <a:moveTo>
                      <a:pt x="50" y="50"/>
                    </a:moveTo>
                    <a:cubicBezTo>
                      <a:pt x="50" y="50"/>
                      <a:pt x="49" y="50"/>
                      <a:pt x="49" y="50"/>
                    </a:cubicBezTo>
                    <a:cubicBezTo>
                      <a:pt x="48" y="50"/>
                      <a:pt x="48" y="50"/>
                      <a:pt x="48" y="50"/>
                    </a:cubicBezTo>
                    <a:cubicBezTo>
                      <a:pt x="48" y="50"/>
                      <a:pt x="48" y="50"/>
                      <a:pt x="48" y="51"/>
                    </a:cubicBezTo>
                    <a:cubicBezTo>
                      <a:pt x="48" y="51"/>
                      <a:pt x="49" y="50"/>
                      <a:pt x="50" y="50"/>
                    </a:cubicBezTo>
                    <a:cubicBezTo>
                      <a:pt x="50" y="50"/>
                      <a:pt x="51" y="51"/>
                      <a:pt x="51" y="51"/>
                    </a:cubicBezTo>
                    <a:cubicBezTo>
                      <a:pt x="53" y="51"/>
                      <a:pt x="50" y="50"/>
                      <a:pt x="50" y="50"/>
                    </a:cubicBezTo>
                    <a:close/>
                    <a:moveTo>
                      <a:pt x="48" y="60"/>
                    </a:moveTo>
                    <a:cubicBezTo>
                      <a:pt x="48" y="59"/>
                      <a:pt x="48" y="60"/>
                      <a:pt x="48" y="60"/>
                    </a:cubicBezTo>
                    <a:cubicBezTo>
                      <a:pt x="47" y="60"/>
                      <a:pt x="48" y="60"/>
                      <a:pt x="48" y="61"/>
                    </a:cubicBezTo>
                    <a:cubicBezTo>
                      <a:pt x="48" y="60"/>
                      <a:pt x="48" y="60"/>
                      <a:pt x="49" y="60"/>
                    </a:cubicBezTo>
                    <a:cubicBezTo>
                      <a:pt x="49" y="60"/>
                      <a:pt x="48" y="60"/>
                      <a:pt x="48" y="60"/>
                    </a:cubicBezTo>
                    <a:close/>
                    <a:moveTo>
                      <a:pt x="11" y="21"/>
                    </a:moveTo>
                    <a:cubicBezTo>
                      <a:pt x="10" y="22"/>
                      <a:pt x="11" y="22"/>
                      <a:pt x="11" y="22"/>
                    </a:cubicBezTo>
                    <a:cubicBezTo>
                      <a:pt x="11" y="22"/>
                      <a:pt x="12" y="22"/>
                      <a:pt x="12" y="21"/>
                    </a:cubicBezTo>
                    <a:cubicBezTo>
                      <a:pt x="13" y="21"/>
                      <a:pt x="14" y="21"/>
                      <a:pt x="13" y="21"/>
                    </a:cubicBezTo>
                    <a:cubicBezTo>
                      <a:pt x="12" y="21"/>
                      <a:pt x="11" y="21"/>
                      <a:pt x="11" y="2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4" name="Azerbaijan">
                <a:extLst>
                  <a:ext uri="{FF2B5EF4-FFF2-40B4-BE49-F238E27FC236}">
                    <a16:creationId xmlns:a16="http://schemas.microsoft.com/office/drawing/2014/main" id="{8FEFC591-A8AB-AE9C-3775-104931827E54}"/>
                  </a:ext>
                </a:extLst>
              </p:cNvPr>
              <p:cNvSpPr>
                <a:spLocks noEditPoints="1"/>
              </p:cNvSpPr>
              <p:nvPr/>
            </p:nvSpPr>
            <p:spPr bwMode="auto">
              <a:xfrm>
                <a:off x="7141447" y="2413357"/>
                <a:ext cx="177409" cy="138203"/>
              </a:xfrm>
              <a:custGeom>
                <a:avLst/>
                <a:gdLst/>
                <a:ahLst/>
                <a:cxnLst>
                  <a:cxn ang="0">
                    <a:pos x="46" y="15"/>
                  </a:cxn>
                  <a:cxn ang="0">
                    <a:pos x="41" y="13"/>
                  </a:cxn>
                  <a:cxn ang="0">
                    <a:pos x="38" y="10"/>
                  </a:cxn>
                  <a:cxn ang="0">
                    <a:pos x="33" y="3"/>
                  </a:cxn>
                  <a:cxn ang="0">
                    <a:pos x="29" y="4"/>
                  </a:cxn>
                  <a:cxn ang="0">
                    <a:pos x="26" y="6"/>
                  </a:cxn>
                  <a:cxn ang="0">
                    <a:pos x="23" y="7"/>
                  </a:cxn>
                  <a:cxn ang="0">
                    <a:pos x="19" y="5"/>
                  </a:cxn>
                  <a:cxn ang="0">
                    <a:pos x="16" y="2"/>
                  </a:cxn>
                  <a:cxn ang="0">
                    <a:pos x="13" y="1"/>
                  </a:cxn>
                  <a:cxn ang="0">
                    <a:pos x="10" y="2"/>
                  </a:cxn>
                  <a:cxn ang="0">
                    <a:pos x="13" y="5"/>
                  </a:cxn>
                  <a:cxn ang="0">
                    <a:pos x="13" y="9"/>
                  </a:cxn>
                  <a:cxn ang="0">
                    <a:pos x="7" y="8"/>
                  </a:cxn>
                  <a:cxn ang="0">
                    <a:pos x="5" y="6"/>
                  </a:cxn>
                  <a:cxn ang="0">
                    <a:pos x="0" y="7"/>
                  </a:cxn>
                  <a:cxn ang="0">
                    <a:pos x="1" y="9"/>
                  </a:cxn>
                  <a:cxn ang="0">
                    <a:pos x="4" y="10"/>
                  </a:cxn>
                  <a:cxn ang="0">
                    <a:pos x="6" y="16"/>
                  </a:cxn>
                  <a:cxn ang="0">
                    <a:pos x="10" y="18"/>
                  </a:cxn>
                  <a:cxn ang="0">
                    <a:pos x="8" y="21"/>
                  </a:cxn>
                  <a:cxn ang="0">
                    <a:pos x="10" y="23"/>
                  </a:cxn>
                  <a:cxn ang="0">
                    <a:pos x="14" y="25"/>
                  </a:cxn>
                  <a:cxn ang="0">
                    <a:pos x="16" y="28"/>
                  </a:cxn>
                  <a:cxn ang="0">
                    <a:pos x="16" y="30"/>
                  </a:cxn>
                  <a:cxn ang="0">
                    <a:pos x="19" y="31"/>
                  </a:cxn>
                  <a:cxn ang="0">
                    <a:pos x="22" y="28"/>
                  </a:cxn>
                  <a:cxn ang="0">
                    <a:pos x="25" y="26"/>
                  </a:cxn>
                  <a:cxn ang="0">
                    <a:pos x="30" y="25"/>
                  </a:cxn>
                  <a:cxn ang="0">
                    <a:pos x="33" y="31"/>
                  </a:cxn>
                  <a:cxn ang="0">
                    <a:pos x="32" y="35"/>
                  </a:cxn>
                  <a:cxn ang="0">
                    <a:pos x="35" y="36"/>
                  </a:cxn>
                  <a:cxn ang="0">
                    <a:pos x="38" y="35"/>
                  </a:cxn>
                  <a:cxn ang="0">
                    <a:pos x="38" y="30"/>
                  </a:cxn>
                  <a:cxn ang="0">
                    <a:pos x="40" y="32"/>
                  </a:cxn>
                  <a:cxn ang="0">
                    <a:pos x="42" y="29"/>
                  </a:cxn>
                  <a:cxn ang="0">
                    <a:pos x="42" y="27"/>
                  </a:cxn>
                  <a:cxn ang="0">
                    <a:pos x="42" y="24"/>
                  </a:cxn>
                  <a:cxn ang="0">
                    <a:pos x="42" y="21"/>
                  </a:cxn>
                  <a:cxn ang="0">
                    <a:pos x="44" y="18"/>
                  </a:cxn>
                  <a:cxn ang="0">
                    <a:pos x="49" y="18"/>
                  </a:cxn>
                  <a:cxn ang="0">
                    <a:pos x="6" y="14"/>
                  </a:cxn>
                  <a:cxn ang="0">
                    <a:pos x="14" y="33"/>
                  </a:cxn>
                  <a:cxn ang="0">
                    <a:pos x="9" y="32"/>
                  </a:cxn>
                  <a:cxn ang="0">
                    <a:pos x="6" y="30"/>
                  </a:cxn>
                  <a:cxn ang="0">
                    <a:pos x="1" y="25"/>
                  </a:cxn>
                  <a:cxn ang="0">
                    <a:pos x="2" y="24"/>
                  </a:cxn>
                  <a:cxn ang="0">
                    <a:pos x="4" y="25"/>
                  </a:cxn>
                  <a:cxn ang="0">
                    <a:pos x="8" y="26"/>
                  </a:cxn>
                  <a:cxn ang="0">
                    <a:pos x="11" y="28"/>
                  </a:cxn>
                </a:cxnLst>
                <a:rect l="0" t="0" r="r" b="b"/>
                <a:pathLst>
                  <a:path w="50" h="39">
                    <a:moveTo>
                      <a:pt x="48" y="16"/>
                    </a:moveTo>
                    <a:cubicBezTo>
                      <a:pt x="48" y="16"/>
                      <a:pt x="48" y="16"/>
                      <a:pt x="47" y="15"/>
                    </a:cubicBezTo>
                    <a:cubicBezTo>
                      <a:pt x="47" y="15"/>
                      <a:pt x="46" y="15"/>
                      <a:pt x="46" y="15"/>
                    </a:cubicBezTo>
                    <a:cubicBezTo>
                      <a:pt x="46" y="15"/>
                      <a:pt x="46" y="15"/>
                      <a:pt x="46" y="15"/>
                    </a:cubicBezTo>
                    <a:cubicBezTo>
                      <a:pt x="44" y="14"/>
                      <a:pt x="43" y="15"/>
                      <a:pt x="42" y="14"/>
                    </a:cubicBezTo>
                    <a:cubicBezTo>
                      <a:pt x="42" y="14"/>
                      <a:pt x="41" y="14"/>
                      <a:pt x="41" y="13"/>
                    </a:cubicBezTo>
                    <a:cubicBezTo>
                      <a:pt x="41" y="13"/>
                      <a:pt x="41" y="13"/>
                      <a:pt x="41" y="12"/>
                    </a:cubicBezTo>
                    <a:cubicBezTo>
                      <a:pt x="41" y="12"/>
                      <a:pt x="40" y="12"/>
                      <a:pt x="40" y="12"/>
                    </a:cubicBezTo>
                    <a:cubicBezTo>
                      <a:pt x="39" y="11"/>
                      <a:pt x="38" y="11"/>
                      <a:pt x="38" y="10"/>
                    </a:cubicBezTo>
                    <a:cubicBezTo>
                      <a:pt x="37" y="9"/>
                      <a:pt x="37" y="8"/>
                      <a:pt x="36" y="7"/>
                    </a:cubicBezTo>
                    <a:cubicBezTo>
                      <a:pt x="36" y="6"/>
                      <a:pt x="35" y="6"/>
                      <a:pt x="35" y="5"/>
                    </a:cubicBezTo>
                    <a:cubicBezTo>
                      <a:pt x="34" y="5"/>
                      <a:pt x="34" y="4"/>
                      <a:pt x="33" y="3"/>
                    </a:cubicBezTo>
                    <a:cubicBezTo>
                      <a:pt x="32" y="2"/>
                      <a:pt x="32" y="1"/>
                      <a:pt x="30" y="1"/>
                    </a:cubicBezTo>
                    <a:cubicBezTo>
                      <a:pt x="30" y="1"/>
                      <a:pt x="30" y="2"/>
                      <a:pt x="29" y="3"/>
                    </a:cubicBezTo>
                    <a:cubicBezTo>
                      <a:pt x="29" y="3"/>
                      <a:pt x="29" y="3"/>
                      <a:pt x="29" y="4"/>
                    </a:cubicBezTo>
                    <a:cubicBezTo>
                      <a:pt x="28" y="4"/>
                      <a:pt x="28" y="4"/>
                      <a:pt x="27" y="5"/>
                    </a:cubicBezTo>
                    <a:cubicBezTo>
                      <a:pt x="26" y="5"/>
                      <a:pt x="26" y="5"/>
                      <a:pt x="26" y="6"/>
                    </a:cubicBezTo>
                    <a:cubicBezTo>
                      <a:pt x="26" y="6"/>
                      <a:pt x="26" y="6"/>
                      <a:pt x="26" y="6"/>
                    </a:cubicBezTo>
                    <a:cubicBezTo>
                      <a:pt x="26" y="6"/>
                      <a:pt x="25" y="7"/>
                      <a:pt x="25" y="7"/>
                    </a:cubicBezTo>
                    <a:cubicBezTo>
                      <a:pt x="25" y="7"/>
                      <a:pt x="26" y="7"/>
                      <a:pt x="25" y="8"/>
                    </a:cubicBezTo>
                    <a:cubicBezTo>
                      <a:pt x="25" y="8"/>
                      <a:pt x="24" y="7"/>
                      <a:pt x="23" y="7"/>
                    </a:cubicBezTo>
                    <a:cubicBezTo>
                      <a:pt x="22" y="8"/>
                      <a:pt x="22" y="7"/>
                      <a:pt x="21" y="7"/>
                    </a:cubicBezTo>
                    <a:cubicBezTo>
                      <a:pt x="21" y="7"/>
                      <a:pt x="20" y="7"/>
                      <a:pt x="20" y="7"/>
                    </a:cubicBezTo>
                    <a:cubicBezTo>
                      <a:pt x="19" y="6"/>
                      <a:pt x="19" y="5"/>
                      <a:pt x="19" y="5"/>
                    </a:cubicBezTo>
                    <a:cubicBezTo>
                      <a:pt x="19" y="5"/>
                      <a:pt x="19" y="4"/>
                      <a:pt x="18" y="4"/>
                    </a:cubicBezTo>
                    <a:cubicBezTo>
                      <a:pt x="18" y="3"/>
                      <a:pt x="17" y="4"/>
                      <a:pt x="17" y="4"/>
                    </a:cubicBezTo>
                    <a:cubicBezTo>
                      <a:pt x="17" y="3"/>
                      <a:pt x="17" y="3"/>
                      <a:pt x="16" y="2"/>
                    </a:cubicBezTo>
                    <a:cubicBezTo>
                      <a:pt x="16" y="2"/>
                      <a:pt x="15" y="2"/>
                      <a:pt x="15" y="2"/>
                    </a:cubicBezTo>
                    <a:cubicBezTo>
                      <a:pt x="15" y="1"/>
                      <a:pt x="14" y="1"/>
                      <a:pt x="14" y="1"/>
                    </a:cubicBezTo>
                    <a:cubicBezTo>
                      <a:pt x="14" y="0"/>
                      <a:pt x="13" y="2"/>
                      <a:pt x="13" y="1"/>
                    </a:cubicBezTo>
                    <a:cubicBezTo>
                      <a:pt x="12" y="1"/>
                      <a:pt x="13" y="1"/>
                      <a:pt x="12" y="0"/>
                    </a:cubicBezTo>
                    <a:cubicBezTo>
                      <a:pt x="12" y="0"/>
                      <a:pt x="12" y="0"/>
                      <a:pt x="11" y="0"/>
                    </a:cubicBezTo>
                    <a:cubicBezTo>
                      <a:pt x="11" y="1"/>
                      <a:pt x="11" y="2"/>
                      <a:pt x="10" y="2"/>
                    </a:cubicBezTo>
                    <a:cubicBezTo>
                      <a:pt x="9" y="2"/>
                      <a:pt x="9" y="3"/>
                      <a:pt x="10" y="3"/>
                    </a:cubicBezTo>
                    <a:cubicBezTo>
                      <a:pt x="10" y="3"/>
                      <a:pt x="10" y="3"/>
                      <a:pt x="10" y="3"/>
                    </a:cubicBezTo>
                    <a:cubicBezTo>
                      <a:pt x="11" y="4"/>
                      <a:pt x="12" y="5"/>
                      <a:pt x="13" y="5"/>
                    </a:cubicBezTo>
                    <a:cubicBezTo>
                      <a:pt x="13" y="6"/>
                      <a:pt x="14" y="6"/>
                      <a:pt x="15" y="7"/>
                    </a:cubicBezTo>
                    <a:cubicBezTo>
                      <a:pt x="15" y="7"/>
                      <a:pt x="14" y="8"/>
                      <a:pt x="14" y="9"/>
                    </a:cubicBezTo>
                    <a:cubicBezTo>
                      <a:pt x="14" y="9"/>
                      <a:pt x="14" y="9"/>
                      <a:pt x="13" y="9"/>
                    </a:cubicBezTo>
                    <a:cubicBezTo>
                      <a:pt x="13" y="10"/>
                      <a:pt x="11" y="8"/>
                      <a:pt x="11" y="8"/>
                    </a:cubicBezTo>
                    <a:cubicBezTo>
                      <a:pt x="10" y="7"/>
                      <a:pt x="10" y="8"/>
                      <a:pt x="9" y="8"/>
                    </a:cubicBezTo>
                    <a:cubicBezTo>
                      <a:pt x="8" y="8"/>
                      <a:pt x="8" y="8"/>
                      <a:pt x="7" y="8"/>
                    </a:cubicBezTo>
                    <a:cubicBezTo>
                      <a:pt x="7" y="7"/>
                      <a:pt x="6" y="7"/>
                      <a:pt x="6" y="7"/>
                    </a:cubicBezTo>
                    <a:cubicBezTo>
                      <a:pt x="6" y="6"/>
                      <a:pt x="6" y="6"/>
                      <a:pt x="6" y="6"/>
                    </a:cubicBezTo>
                    <a:cubicBezTo>
                      <a:pt x="6" y="6"/>
                      <a:pt x="5" y="6"/>
                      <a:pt x="5" y="6"/>
                    </a:cubicBezTo>
                    <a:cubicBezTo>
                      <a:pt x="4" y="5"/>
                      <a:pt x="3" y="5"/>
                      <a:pt x="3" y="5"/>
                    </a:cubicBezTo>
                    <a:cubicBezTo>
                      <a:pt x="2" y="5"/>
                      <a:pt x="2" y="5"/>
                      <a:pt x="1" y="5"/>
                    </a:cubicBezTo>
                    <a:cubicBezTo>
                      <a:pt x="1" y="6"/>
                      <a:pt x="0" y="7"/>
                      <a:pt x="0" y="7"/>
                    </a:cubicBezTo>
                    <a:cubicBezTo>
                      <a:pt x="0" y="7"/>
                      <a:pt x="0" y="8"/>
                      <a:pt x="1" y="8"/>
                    </a:cubicBezTo>
                    <a:cubicBezTo>
                      <a:pt x="2" y="8"/>
                      <a:pt x="2" y="9"/>
                      <a:pt x="1" y="9"/>
                    </a:cubicBezTo>
                    <a:cubicBezTo>
                      <a:pt x="1" y="9"/>
                      <a:pt x="0" y="8"/>
                      <a:pt x="1" y="9"/>
                    </a:cubicBezTo>
                    <a:cubicBezTo>
                      <a:pt x="1" y="9"/>
                      <a:pt x="1" y="9"/>
                      <a:pt x="1" y="9"/>
                    </a:cubicBezTo>
                    <a:cubicBezTo>
                      <a:pt x="2" y="9"/>
                      <a:pt x="2" y="10"/>
                      <a:pt x="3" y="10"/>
                    </a:cubicBezTo>
                    <a:cubicBezTo>
                      <a:pt x="3" y="10"/>
                      <a:pt x="4" y="9"/>
                      <a:pt x="4" y="10"/>
                    </a:cubicBezTo>
                    <a:cubicBezTo>
                      <a:pt x="4" y="11"/>
                      <a:pt x="6" y="11"/>
                      <a:pt x="6" y="12"/>
                    </a:cubicBezTo>
                    <a:cubicBezTo>
                      <a:pt x="6" y="13"/>
                      <a:pt x="4" y="12"/>
                      <a:pt x="4" y="14"/>
                    </a:cubicBezTo>
                    <a:cubicBezTo>
                      <a:pt x="4" y="14"/>
                      <a:pt x="5" y="15"/>
                      <a:pt x="6" y="16"/>
                    </a:cubicBezTo>
                    <a:cubicBezTo>
                      <a:pt x="6" y="16"/>
                      <a:pt x="7" y="17"/>
                      <a:pt x="8" y="17"/>
                    </a:cubicBezTo>
                    <a:cubicBezTo>
                      <a:pt x="8" y="17"/>
                      <a:pt x="9" y="18"/>
                      <a:pt x="9" y="18"/>
                    </a:cubicBezTo>
                    <a:cubicBezTo>
                      <a:pt x="10" y="18"/>
                      <a:pt x="10" y="18"/>
                      <a:pt x="10" y="18"/>
                    </a:cubicBezTo>
                    <a:cubicBezTo>
                      <a:pt x="10" y="19"/>
                      <a:pt x="10" y="20"/>
                      <a:pt x="10" y="20"/>
                    </a:cubicBezTo>
                    <a:cubicBezTo>
                      <a:pt x="10" y="20"/>
                      <a:pt x="10" y="21"/>
                      <a:pt x="9" y="21"/>
                    </a:cubicBezTo>
                    <a:cubicBezTo>
                      <a:pt x="9" y="21"/>
                      <a:pt x="8" y="21"/>
                      <a:pt x="8" y="21"/>
                    </a:cubicBezTo>
                    <a:cubicBezTo>
                      <a:pt x="7" y="21"/>
                      <a:pt x="6" y="21"/>
                      <a:pt x="7" y="21"/>
                    </a:cubicBezTo>
                    <a:cubicBezTo>
                      <a:pt x="8" y="21"/>
                      <a:pt x="9" y="21"/>
                      <a:pt x="9" y="22"/>
                    </a:cubicBezTo>
                    <a:cubicBezTo>
                      <a:pt x="9" y="22"/>
                      <a:pt x="9" y="23"/>
                      <a:pt x="10" y="23"/>
                    </a:cubicBezTo>
                    <a:cubicBezTo>
                      <a:pt x="10" y="23"/>
                      <a:pt x="11" y="23"/>
                      <a:pt x="11" y="24"/>
                    </a:cubicBezTo>
                    <a:cubicBezTo>
                      <a:pt x="12" y="24"/>
                      <a:pt x="12" y="24"/>
                      <a:pt x="13" y="25"/>
                    </a:cubicBezTo>
                    <a:cubicBezTo>
                      <a:pt x="13" y="25"/>
                      <a:pt x="13" y="25"/>
                      <a:pt x="14" y="25"/>
                    </a:cubicBezTo>
                    <a:cubicBezTo>
                      <a:pt x="15" y="25"/>
                      <a:pt x="15" y="25"/>
                      <a:pt x="15" y="25"/>
                    </a:cubicBezTo>
                    <a:cubicBezTo>
                      <a:pt x="16" y="25"/>
                      <a:pt x="16" y="27"/>
                      <a:pt x="16" y="27"/>
                    </a:cubicBezTo>
                    <a:cubicBezTo>
                      <a:pt x="14" y="27"/>
                      <a:pt x="15" y="27"/>
                      <a:pt x="16" y="28"/>
                    </a:cubicBezTo>
                    <a:cubicBezTo>
                      <a:pt x="16" y="28"/>
                      <a:pt x="17" y="29"/>
                      <a:pt x="17" y="30"/>
                    </a:cubicBezTo>
                    <a:cubicBezTo>
                      <a:pt x="17" y="30"/>
                      <a:pt x="16" y="29"/>
                      <a:pt x="16" y="29"/>
                    </a:cubicBezTo>
                    <a:cubicBezTo>
                      <a:pt x="15" y="29"/>
                      <a:pt x="16" y="30"/>
                      <a:pt x="16" y="30"/>
                    </a:cubicBezTo>
                    <a:cubicBezTo>
                      <a:pt x="17" y="31"/>
                      <a:pt x="17" y="31"/>
                      <a:pt x="17" y="32"/>
                    </a:cubicBezTo>
                    <a:cubicBezTo>
                      <a:pt x="17" y="32"/>
                      <a:pt x="17" y="33"/>
                      <a:pt x="17" y="33"/>
                    </a:cubicBezTo>
                    <a:cubicBezTo>
                      <a:pt x="17" y="32"/>
                      <a:pt x="18" y="32"/>
                      <a:pt x="19" y="31"/>
                    </a:cubicBezTo>
                    <a:cubicBezTo>
                      <a:pt x="19" y="31"/>
                      <a:pt x="19" y="30"/>
                      <a:pt x="20" y="30"/>
                    </a:cubicBezTo>
                    <a:cubicBezTo>
                      <a:pt x="20" y="30"/>
                      <a:pt x="21" y="30"/>
                      <a:pt x="21" y="30"/>
                    </a:cubicBezTo>
                    <a:cubicBezTo>
                      <a:pt x="21" y="29"/>
                      <a:pt x="21" y="29"/>
                      <a:pt x="22" y="28"/>
                    </a:cubicBezTo>
                    <a:cubicBezTo>
                      <a:pt x="22" y="28"/>
                      <a:pt x="23" y="28"/>
                      <a:pt x="23" y="28"/>
                    </a:cubicBezTo>
                    <a:cubicBezTo>
                      <a:pt x="23" y="27"/>
                      <a:pt x="24" y="27"/>
                      <a:pt x="24" y="26"/>
                    </a:cubicBezTo>
                    <a:cubicBezTo>
                      <a:pt x="25" y="26"/>
                      <a:pt x="25" y="26"/>
                      <a:pt x="25" y="26"/>
                    </a:cubicBezTo>
                    <a:cubicBezTo>
                      <a:pt x="26" y="26"/>
                      <a:pt x="26" y="25"/>
                      <a:pt x="26" y="25"/>
                    </a:cubicBezTo>
                    <a:cubicBezTo>
                      <a:pt x="27" y="25"/>
                      <a:pt x="27" y="24"/>
                      <a:pt x="28" y="24"/>
                    </a:cubicBezTo>
                    <a:cubicBezTo>
                      <a:pt x="29" y="24"/>
                      <a:pt x="29" y="24"/>
                      <a:pt x="30" y="25"/>
                    </a:cubicBezTo>
                    <a:cubicBezTo>
                      <a:pt x="31" y="25"/>
                      <a:pt x="31" y="26"/>
                      <a:pt x="32" y="27"/>
                    </a:cubicBezTo>
                    <a:cubicBezTo>
                      <a:pt x="33" y="27"/>
                      <a:pt x="33" y="28"/>
                      <a:pt x="32" y="28"/>
                    </a:cubicBezTo>
                    <a:cubicBezTo>
                      <a:pt x="29" y="29"/>
                      <a:pt x="32" y="30"/>
                      <a:pt x="33" y="31"/>
                    </a:cubicBezTo>
                    <a:cubicBezTo>
                      <a:pt x="33" y="32"/>
                      <a:pt x="32" y="32"/>
                      <a:pt x="31" y="32"/>
                    </a:cubicBezTo>
                    <a:cubicBezTo>
                      <a:pt x="31" y="32"/>
                      <a:pt x="30" y="33"/>
                      <a:pt x="31" y="34"/>
                    </a:cubicBezTo>
                    <a:cubicBezTo>
                      <a:pt x="31" y="34"/>
                      <a:pt x="32" y="34"/>
                      <a:pt x="32" y="35"/>
                    </a:cubicBezTo>
                    <a:cubicBezTo>
                      <a:pt x="33" y="35"/>
                      <a:pt x="33" y="35"/>
                      <a:pt x="33" y="35"/>
                    </a:cubicBezTo>
                    <a:cubicBezTo>
                      <a:pt x="33" y="36"/>
                      <a:pt x="34" y="36"/>
                      <a:pt x="34" y="36"/>
                    </a:cubicBezTo>
                    <a:cubicBezTo>
                      <a:pt x="34" y="36"/>
                      <a:pt x="34" y="36"/>
                      <a:pt x="35" y="36"/>
                    </a:cubicBezTo>
                    <a:cubicBezTo>
                      <a:pt x="36" y="37"/>
                      <a:pt x="36" y="38"/>
                      <a:pt x="37" y="38"/>
                    </a:cubicBezTo>
                    <a:cubicBezTo>
                      <a:pt x="37" y="39"/>
                      <a:pt x="38" y="38"/>
                      <a:pt x="39" y="38"/>
                    </a:cubicBezTo>
                    <a:cubicBezTo>
                      <a:pt x="39" y="37"/>
                      <a:pt x="39" y="36"/>
                      <a:pt x="38" y="35"/>
                    </a:cubicBezTo>
                    <a:cubicBezTo>
                      <a:pt x="38" y="34"/>
                      <a:pt x="38" y="34"/>
                      <a:pt x="38" y="33"/>
                    </a:cubicBezTo>
                    <a:cubicBezTo>
                      <a:pt x="38" y="33"/>
                      <a:pt x="39" y="33"/>
                      <a:pt x="39" y="32"/>
                    </a:cubicBezTo>
                    <a:cubicBezTo>
                      <a:pt x="39" y="32"/>
                      <a:pt x="38" y="31"/>
                      <a:pt x="38" y="30"/>
                    </a:cubicBezTo>
                    <a:cubicBezTo>
                      <a:pt x="39" y="29"/>
                      <a:pt x="40" y="31"/>
                      <a:pt x="40" y="31"/>
                    </a:cubicBezTo>
                    <a:cubicBezTo>
                      <a:pt x="40" y="31"/>
                      <a:pt x="40" y="31"/>
                      <a:pt x="40" y="31"/>
                    </a:cubicBezTo>
                    <a:cubicBezTo>
                      <a:pt x="40" y="32"/>
                      <a:pt x="39" y="32"/>
                      <a:pt x="40" y="32"/>
                    </a:cubicBezTo>
                    <a:cubicBezTo>
                      <a:pt x="40" y="33"/>
                      <a:pt x="41" y="31"/>
                      <a:pt x="41" y="31"/>
                    </a:cubicBezTo>
                    <a:cubicBezTo>
                      <a:pt x="41" y="30"/>
                      <a:pt x="41" y="29"/>
                      <a:pt x="41" y="29"/>
                    </a:cubicBezTo>
                    <a:cubicBezTo>
                      <a:pt x="41" y="27"/>
                      <a:pt x="42" y="29"/>
                      <a:pt x="42" y="29"/>
                    </a:cubicBezTo>
                    <a:cubicBezTo>
                      <a:pt x="42" y="28"/>
                      <a:pt x="42" y="28"/>
                      <a:pt x="42" y="28"/>
                    </a:cubicBezTo>
                    <a:cubicBezTo>
                      <a:pt x="42" y="28"/>
                      <a:pt x="42" y="28"/>
                      <a:pt x="42" y="28"/>
                    </a:cubicBezTo>
                    <a:cubicBezTo>
                      <a:pt x="42" y="28"/>
                      <a:pt x="42" y="27"/>
                      <a:pt x="42" y="27"/>
                    </a:cubicBezTo>
                    <a:cubicBezTo>
                      <a:pt x="41" y="27"/>
                      <a:pt x="41" y="27"/>
                      <a:pt x="41" y="26"/>
                    </a:cubicBezTo>
                    <a:cubicBezTo>
                      <a:pt x="41" y="25"/>
                      <a:pt x="41" y="25"/>
                      <a:pt x="41" y="25"/>
                    </a:cubicBezTo>
                    <a:cubicBezTo>
                      <a:pt x="41" y="24"/>
                      <a:pt x="42" y="24"/>
                      <a:pt x="42" y="24"/>
                    </a:cubicBezTo>
                    <a:cubicBezTo>
                      <a:pt x="41" y="23"/>
                      <a:pt x="42" y="23"/>
                      <a:pt x="41" y="22"/>
                    </a:cubicBezTo>
                    <a:cubicBezTo>
                      <a:pt x="41" y="22"/>
                      <a:pt x="41" y="22"/>
                      <a:pt x="41" y="21"/>
                    </a:cubicBezTo>
                    <a:cubicBezTo>
                      <a:pt x="42" y="21"/>
                      <a:pt x="42" y="21"/>
                      <a:pt x="42" y="21"/>
                    </a:cubicBezTo>
                    <a:cubicBezTo>
                      <a:pt x="42" y="21"/>
                      <a:pt x="41" y="20"/>
                      <a:pt x="41" y="20"/>
                    </a:cubicBezTo>
                    <a:cubicBezTo>
                      <a:pt x="41" y="20"/>
                      <a:pt x="42" y="20"/>
                      <a:pt x="42" y="19"/>
                    </a:cubicBezTo>
                    <a:cubicBezTo>
                      <a:pt x="41" y="19"/>
                      <a:pt x="43" y="18"/>
                      <a:pt x="44" y="18"/>
                    </a:cubicBezTo>
                    <a:cubicBezTo>
                      <a:pt x="44" y="18"/>
                      <a:pt x="44" y="17"/>
                      <a:pt x="45" y="17"/>
                    </a:cubicBezTo>
                    <a:cubicBezTo>
                      <a:pt x="46" y="17"/>
                      <a:pt x="46" y="17"/>
                      <a:pt x="47" y="17"/>
                    </a:cubicBezTo>
                    <a:cubicBezTo>
                      <a:pt x="48" y="17"/>
                      <a:pt x="48" y="17"/>
                      <a:pt x="49" y="18"/>
                    </a:cubicBezTo>
                    <a:cubicBezTo>
                      <a:pt x="49" y="18"/>
                      <a:pt x="49" y="18"/>
                      <a:pt x="49" y="18"/>
                    </a:cubicBezTo>
                    <a:cubicBezTo>
                      <a:pt x="50" y="18"/>
                      <a:pt x="49" y="17"/>
                      <a:pt x="48" y="16"/>
                    </a:cubicBezTo>
                    <a:close/>
                    <a:moveTo>
                      <a:pt x="6" y="14"/>
                    </a:moveTo>
                    <a:cubicBezTo>
                      <a:pt x="5" y="15"/>
                      <a:pt x="4" y="13"/>
                      <a:pt x="6" y="14"/>
                    </a:cubicBezTo>
                    <a:close/>
                    <a:moveTo>
                      <a:pt x="12" y="30"/>
                    </a:moveTo>
                    <a:cubicBezTo>
                      <a:pt x="12" y="31"/>
                      <a:pt x="13" y="32"/>
                      <a:pt x="14" y="33"/>
                    </a:cubicBezTo>
                    <a:cubicBezTo>
                      <a:pt x="13" y="33"/>
                      <a:pt x="12" y="33"/>
                      <a:pt x="12" y="33"/>
                    </a:cubicBezTo>
                    <a:cubicBezTo>
                      <a:pt x="11" y="33"/>
                      <a:pt x="11" y="33"/>
                      <a:pt x="11" y="33"/>
                    </a:cubicBezTo>
                    <a:cubicBezTo>
                      <a:pt x="10" y="33"/>
                      <a:pt x="9" y="32"/>
                      <a:pt x="9" y="32"/>
                    </a:cubicBezTo>
                    <a:cubicBezTo>
                      <a:pt x="8" y="32"/>
                      <a:pt x="7" y="32"/>
                      <a:pt x="7" y="31"/>
                    </a:cubicBezTo>
                    <a:cubicBezTo>
                      <a:pt x="7" y="31"/>
                      <a:pt x="6" y="31"/>
                      <a:pt x="6" y="30"/>
                    </a:cubicBezTo>
                    <a:cubicBezTo>
                      <a:pt x="6" y="30"/>
                      <a:pt x="6" y="30"/>
                      <a:pt x="6" y="30"/>
                    </a:cubicBezTo>
                    <a:cubicBezTo>
                      <a:pt x="5" y="30"/>
                      <a:pt x="5" y="30"/>
                      <a:pt x="4" y="29"/>
                    </a:cubicBezTo>
                    <a:cubicBezTo>
                      <a:pt x="4" y="29"/>
                      <a:pt x="3" y="28"/>
                      <a:pt x="3" y="27"/>
                    </a:cubicBezTo>
                    <a:cubicBezTo>
                      <a:pt x="2" y="27"/>
                      <a:pt x="2" y="26"/>
                      <a:pt x="1" y="25"/>
                    </a:cubicBezTo>
                    <a:cubicBezTo>
                      <a:pt x="1" y="25"/>
                      <a:pt x="1" y="25"/>
                      <a:pt x="1" y="25"/>
                    </a:cubicBezTo>
                    <a:cubicBezTo>
                      <a:pt x="0" y="25"/>
                      <a:pt x="0" y="24"/>
                      <a:pt x="0" y="24"/>
                    </a:cubicBezTo>
                    <a:cubicBezTo>
                      <a:pt x="1" y="24"/>
                      <a:pt x="1" y="24"/>
                      <a:pt x="2" y="24"/>
                    </a:cubicBezTo>
                    <a:cubicBezTo>
                      <a:pt x="2" y="23"/>
                      <a:pt x="2" y="23"/>
                      <a:pt x="3" y="24"/>
                    </a:cubicBezTo>
                    <a:cubicBezTo>
                      <a:pt x="3" y="24"/>
                      <a:pt x="4" y="24"/>
                      <a:pt x="4" y="25"/>
                    </a:cubicBezTo>
                    <a:cubicBezTo>
                      <a:pt x="4" y="25"/>
                      <a:pt x="4" y="26"/>
                      <a:pt x="4" y="25"/>
                    </a:cubicBezTo>
                    <a:cubicBezTo>
                      <a:pt x="5" y="25"/>
                      <a:pt x="5" y="25"/>
                      <a:pt x="5" y="26"/>
                    </a:cubicBezTo>
                    <a:cubicBezTo>
                      <a:pt x="5" y="26"/>
                      <a:pt x="6" y="26"/>
                      <a:pt x="6" y="26"/>
                    </a:cubicBezTo>
                    <a:cubicBezTo>
                      <a:pt x="7" y="27"/>
                      <a:pt x="8" y="26"/>
                      <a:pt x="8" y="26"/>
                    </a:cubicBezTo>
                    <a:cubicBezTo>
                      <a:pt x="9" y="25"/>
                      <a:pt x="10" y="25"/>
                      <a:pt x="10" y="26"/>
                    </a:cubicBezTo>
                    <a:cubicBezTo>
                      <a:pt x="10" y="27"/>
                      <a:pt x="10" y="27"/>
                      <a:pt x="10" y="27"/>
                    </a:cubicBezTo>
                    <a:cubicBezTo>
                      <a:pt x="9" y="28"/>
                      <a:pt x="10" y="28"/>
                      <a:pt x="11" y="28"/>
                    </a:cubicBezTo>
                    <a:cubicBezTo>
                      <a:pt x="11" y="28"/>
                      <a:pt x="11" y="29"/>
                      <a:pt x="12" y="29"/>
                    </a:cubicBezTo>
                    <a:cubicBezTo>
                      <a:pt x="12" y="29"/>
                      <a:pt x="12" y="30"/>
                      <a:pt x="12" y="3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5" name="Austria">
                <a:extLst>
                  <a:ext uri="{FF2B5EF4-FFF2-40B4-BE49-F238E27FC236}">
                    <a16:creationId xmlns:a16="http://schemas.microsoft.com/office/drawing/2014/main" id="{0FDB16C8-4695-9F94-2714-F91F1F406DCC}"/>
                  </a:ext>
                </a:extLst>
              </p:cNvPr>
              <p:cNvSpPr>
                <a:spLocks/>
              </p:cNvSpPr>
              <p:nvPr/>
            </p:nvSpPr>
            <p:spPr bwMode="auto">
              <a:xfrm>
                <a:off x="6022481" y="2141310"/>
                <a:ext cx="233279" cy="101936"/>
              </a:xfrm>
              <a:custGeom>
                <a:avLst/>
                <a:gdLst/>
                <a:ahLst/>
                <a:cxnLst>
                  <a:cxn ang="0">
                    <a:pos x="65" y="10"/>
                  </a:cxn>
                  <a:cxn ang="0">
                    <a:pos x="64" y="9"/>
                  </a:cxn>
                  <a:cxn ang="0">
                    <a:pos x="63" y="7"/>
                  </a:cxn>
                  <a:cxn ang="0">
                    <a:pos x="63" y="3"/>
                  </a:cxn>
                  <a:cxn ang="0">
                    <a:pos x="61" y="3"/>
                  </a:cxn>
                  <a:cxn ang="0">
                    <a:pos x="57" y="3"/>
                  </a:cxn>
                  <a:cxn ang="0">
                    <a:pos x="54" y="2"/>
                  </a:cxn>
                  <a:cxn ang="0">
                    <a:pos x="52" y="2"/>
                  </a:cxn>
                  <a:cxn ang="0">
                    <a:pos x="48" y="1"/>
                  </a:cxn>
                  <a:cxn ang="0">
                    <a:pos x="47" y="2"/>
                  </a:cxn>
                  <a:cxn ang="0">
                    <a:pos x="44" y="5"/>
                  </a:cxn>
                  <a:cxn ang="0">
                    <a:pos x="42" y="5"/>
                  </a:cxn>
                  <a:cxn ang="0">
                    <a:pos x="39" y="4"/>
                  </a:cxn>
                  <a:cxn ang="0">
                    <a:pos x="37" y="5"/>
                  </a:cxn>
                  <a:cxn ang="0">
                    <a:pos x="33" y="8"/>
                  </a:cxn>
                  <a:cxn ang="0">
                    <a:pos x="29" y="9"/>
                  </a:cxn>
                  <a:cxn ang="0">
                    <a:pos x="30" y="14"/>
                  </a:cxn>
                  <a:cxn ang="0">
                    <a:pos x="31" y="16"/>
                  </a:cxn>
                  <a:cxn ang="0">
                    <a:pos x="27" y="15"/>
                  </a:cxn>
                  <a:cxn ang="0">
                    <a:pos x="25" y="14"/>
                  </a:cxn>
                  <a:cxn ang="0">
                    <a:pos x="24" y="14"/>
                  </a:cxn>
                  <a:cxn ang="0">
                    <a:pos x="22" y="15"/>
                  </a:cxn>
                  <a:cxn ang="0">
                    <a:pos x="19" y="16"/>
                  </a:cxn>
                  <a:cxn ang="0">
                    <a:pos x="17" y="17"/>
                  </a:cxn>
                  <a:cxn ang="0">
                    <a:pos x="15" y="17"/>
                  </a:cxn>
                  <a:cxn ang="0">
                    <a:pos x="13" y="17"/>
                  </a:cxn>
                  <a:cxn ang="0">
                    <a:pos x="12" y="16"/>
                  </a:cxn>
                  <a:cxn ang="0">
                    <a:pos x="9" y="16"/>
                  </a:cxn>
                  <a:cxn ang="0">
                    <a:pos x="8" y="18"/>
                  </a:cxn>
                  <a:cxn ang="0">
                    <a:pos x="6" y="18"/>
                  </a:cxn>
                  <a:cxn ang="0">
                    <a:pos x="5" y="17"/>
                  </a:cxn>
                  <a:cxn ang="0">
                    <a:pos x="3" y="16"/>
                  </a:cxn>
                  <a:cxn ang="0">
                    <a:pos x="1" y="16"/>
                  </a:cxn>
                  <a:cxn ang="0">
                    <a:pos x="1" y="19"/>
                  </a:cxn>
                  <a:cxn ang="0">
                    <a:pos x="3" y="22"/>
                  </a:cxn>
                  <a:cxn ang="0">
                    <a:pos x="6" y="24"/>
                  </a:cxn>
                  <a:cxn ang="0">
                    <a:pos x="7" y="23"/>
                  </a:cxn>
                  <a:cxn ang="0">
                    <a:pos x="8" y="22"/>
                  </a:cxn>
                  <a:cxn ang="0">
                    <a:pos x="10" y="23"/>
                  </a:cxn>
                  <a:cxn ang="0">
                    <a:pos x="11" y="24"/>
                  </a:cxn>
                  <a:cxn ang="0">
                    <a:pos x="14" y="23"/>
                  </a:cxn>
                  <a:cxn ang="0">
                    <a:pos x="18" y="22"/>
                  </a:cxn>
                  <a:cxn ang="0">
                    <a:pos x="23" y="21"/>
                  </a:cxn>
                  <a:cxn ang="0">
                    <a:pos x="23" y="23"/>
                  </a:cxn>
                  <a:cxn ang="0">
                    <a:pos x="25" y="25"/>
                  </a:cxn>
                  <a:cxn ang="0">
                    <a:pos x="32" y="26"/>
                  </a:cxn>
                  <a:cxn ang="0">
                    <a:pos x="34" y="27"/>
                  </a:cxn>
                  <a:cxn ang="0">
                    <a:pos x="40" y="28"/>
                  </a:cxn>
                  <a:cxn ang="0">
                    <a:pos x="44" y="29"/>
                  </a:cxn>
                  <a:cxn ang="0">
                    <a:pos x="47" y="26"/>
                  </a:cxn>
                  <a:cxn ang="0">
                    <a:pos x="51" y="26"/>
                  </a:cxn>
                  <a:cxn ang="0">
                    <a:pos x="54" y="25"/>
                  </a:cxn>
                  <a:cxn ang="0">
                    <a:pos x="56" y="24"/>
                  </a:cxn>
                  <a:cxn ang="0">
                    <a:pos x="60" y="22"/>
                  </a:cxn>
                  <a:cxn ang="0">
                    <a:pos x="60" y="21"/>
                  </a:cxn>
                  <a:cxn ang="0">
                    <a:pos x="60" y="20"/>
                  </a:cxn>
                  <a:cxn ang="0">
                    <a:pos x="60" y="18"/>
                  </a:cxn>
                  <a:cxn ang="0">
                    <a:pos x="62" y="16"/>
                  </a:cxn>
                  <a:cxn ang="0">
                    <a:pos x="60" y="14"/>
                  </a:cxn>
                  <a:cxn ang="0">
                    <a:pos x="62" y="14"/>
                  </a:cxn>
                  <a:cxn ang="0">
                    <a:pos x="63" y="14"/>
                  </a:cxn>
                  <a:cxn ang="0">
                    <a:pos x="65" y="13"/>
                  </a:cxn>
                  <a:cxn ang="0">
                    <a:pos x="65" y="12"/>
                  </a:cxn>
                </a:cxnLst>
                <a:rect l="0" t="0" r="r" b="b"/>
                <a:pathLst>
                  <a:path w="66" h="29">
                    <a:moveTo>
                      <a:pt x="66" y="11"/>
                    </a:moveTo>
                    <a:cubicBezTo>
                      <a:pt x="65" y="11"/>
                      <a:pt x="65" y="11"/>
                      <a:pt x="65" y="10"/>
                    </a:cubicBezTo>
                    <a:cubicBezTo>
                      <a:pt x="65" y="10"/>
                      <a:pt x="65" y="10"/>
                      <a:pt x="65" y="10"/>
                    </a:cubicBezTo>
                    <a:cubicBezTo>
                      <a:pt x="64" y="10"/>
                      <a:pt x="64" y="10"/>
                      <a:pt x="64" y="9"/>
                    </a:cubicBezTo>
                    <a:cubicBezTo>
                      <a:pt x="64" y="9"/>
                      <a:pt x="64" y="9"/>
                      <a:pt x="64" y="8"/>
                    </a:cubicBezTo>
                    <a:cubicBezTo>
                      <a:pt x="64" y="8"/>
                      <a:pt x="63" y="7"/>
                      <a:pt x="63" y="7"/>
                    </a:cubicBezTo>
                    <a:cubicBezTo>
                      <a:pt x="63" y="7"/>
                      <a:pt x="63" y="6"/>
                      <a:pt x="63" y="6"/>
                    </a:cubicBezTo>
                    <a:cubicBezTo>
                      <a:pt x="64" y="5"/>
                      <a:pt x="63" y="4"/>
                      <a:pt x="63" y="3"/>
                    </a:cubicBezTo>
                    <a:cubicBezTo>
                      <a:pt x="62" y="3"/>
                      <a:pt x="62" y="3"/>
                      <a:pt x="61" y="3"/>
                    </a:cubicBezTo>
                    <a:cubicBezTo>
                      <a:pt x="61" y="3"/>
                      <a:pt x="61" y="3"/>
                      <a:pt x="61" y="3"/>
                    </a:cubicBezTo>
                    <a:cubicBezTo>
                      <a:pt x="60" y="2"/>
                      <a:pt x="59" y="2"/>
                      <a:pt x="59" y="3"/>
                    </a:cubicBezTo>
                    <a:cubicBezTo>
                      <a:pt x="59" y="4"/>
                      <a:pt x="57" y="3"/>
                      <a:pt x="57" y="3"/>
                    </a:cubicBezTo>
                    <a:cubicBezTo>
                      <a:pt x="56" y="3"/>
                      <a:pt x="56" y="3"/>
                      <a:pt x="55" y="3"/>
                    </a:cubicBezTo>
                    <a:cubicBezTo>
                      <a:pt x="55" y="2"/>
                      <a:pt x="55" y="2"/>
                      <a:pt x="54" y="2"/>
                    </a:cubicBezTo>
                    <a:cubicBezTo>
                      <a:pt x="54" y="2"/>
                      <a:pt x="53" y="2"/>
                      <a:pt x="53" y="2"/>
                    </a:cubicBezTo>
                    <a:cubicBezTo>
                      <a:pt x="53" y="2"/>
                      <a:pt x="52" y="2"/>
                      <a:pt x="52" y="2"/>
                    </a:cubicBezTo>
                    <a:cubicBezTo>
                      <a:pt x="51" y="1"/>
                      <a:pt x="50" y="1"/>
                      <a:pt x="50" y="1"/>
                    </a:cubicBezTo>
                    <a:cubicBezTo>
                      <a:pt x="49" y="1"/>
                      <a:pt x="49" y="1"/>
                      <a:pt x="48" y="1"/>
                    </a:cubicBezTo>
                    <a:cubicBezTo>
                      <a:pt x="48" y="1"/>
                      <a:pt x="47" y="0"/>
                      <a:pt x="47" y="1"/>
                    </a:cubicBezTo>
                    <a:cubicBezTo>
                      <a:pt x="47" y="1"/>
                      <a:pt x="47" y="2"/>
                      <a:pt x="47" y="2"/>
                    </a:cubicBezTo>
                    <a:cubicBezTo>
                      <a:pt x="47" y="4"/>
                      <a:pt x="45" y="2"/>
                      <a:pt x="45" y="3"/>
                    </a:cubicBezTo>
                    <a:cubicBezTo>
                      <a:pt x="44" y="4"/>
                      <a:pt x="45" y="5"/>
                      <a:pt x="44" y="5"/>
                    </a:cubicBezTo>
                    <a:cubicBezTo>
                      <a:pt x="44" y="5"/>
                      <a:pt x="42" y="4"/>
                      <a:pt x="42" y="4"/>
                    </a:cubicBezTo>
                    <a:cubicBezTo>
                      <a:pt x="42" y="5"/>
                      <a:pt x="42" y="5"/>
                      <a:pt x="42" y="5"/>
                    </a:cubicBezTo>
                    <a:cubicBezTo>
                      <a:pt x="41" y="5"/>
                      <a:pt x="41" y="5"/>
                      <a:pt x="40" y="5"/>
                    </a:cubicBezTo>
                    <a:cubicBezTo>
                      <a:pt x="39" y="5"/>
                      <a:pt x="38" y="4"/>
                      <a:pt x="39" y="4"/>
                    </a:cubicBezTo>
                    <a:cubicBezTo>
                      <a:pt x="39" y="4"/>
                      <a:pt x="37" y="3"/>
                      <a:pt x="37" y="3"/>
                    </a:cubicBezTo>
                    <a:cubicBezTo>
                      <a:pt x="37" y="3"/>
                      <a:pt x="37" y="4"/>
                      <a:pt x="37" y="5"/>
                    </a:cubicBezTo>
                    <a:cubicBezTo>
                      <a:pt x="36" y="6"/>
                      <a:pt x="36" y="6"/>
                      <a:pt x="35" y="5"/>
                    </a:cubicBezTo>
                    <a:cubicBezTo>
                      <a:pt x="33" y="4"/>
                      <a:pt x="34" y="7"/>
                      <a:pt x="33" y="8"/>
                    </a:cubicBezTo>
                    <a:cubicBezTo>
                      <a:pt x="32" y="8"/>
                      <a:pt x="31" y="8"/>
                      <a:pt x="30" y="8"/>
                    </a:cubicBezTo>
                    <a:cubicBezTo>
                      <a:pt x="30" y="9"/>
                      <a:pt x="30" y="9"/>
                      <a:pt x="29" y="9"/>
                    </a:cubicBezTo>
                    <a:cubicBezTo>
                      <a:pt x="28" y="10"/>
                      <a:pt x="28" y="10"/>
                      <a:pt x="28" y="10"/>
                    </a:cubicBezTo>
                    <a:cubicBezTo>
                      <a:pt x="29" y="11"/>
                      <a:pt x="31" y="12"/>
                      <a:pt x="30" y="14"/>
                    </a:cubicBezTo>
                    <a:cubicBezTo>
                      <a:pt x="29" y="14"/>
                      <a:pt x="30" y="14"/>
                      <a:pt x="30" y="14"/>
                    </a:cubicBezTo>
                    <a:cubicBezTo>
                      <a:pt x="32" y="15"/>
                      <a:pt x="30" y="16"/>
                      <a:pt x="31" y="16"/>
                    </a:cubicBezTo>
                    <a:cubicBezTo>
                      <a:pt x="31" y="18"/>
                      <a:pt x="27" y="16"/>
                      <a:pt x="29" y="15"/>
                    </a:cubicBezTo>
                    <a:cubicBezTo>
                      <a:pt x="28" y="15"/>
                      <a:pt x="28" y="14"/>
                      <a:pt x="27" y="15"/>
                    </a:cubicBezTo>
                    <a:cubicBezTo>
                      <a:pt x="26" y="15"/>
                      <a:pt x="26" y="15"/>
                      <a:pt x="26" y="15"/>
                    </a:cubicBezTo>
                    <a:cubicBezTo>
                      <a:pt x="25" y="15"/>
                      <a:pt x="25" y="14"/>
                      <a:pt x="25" y="14"/>
                    </a:cubicBezTo>
                    <a:cubicBezTo>
                      <a:pt x="25" y="15"/>
                      <a:pt x="25" y="14"/>
                      <a:pt x="24" y="14"/>
                    </a:cubicBezTo>
                    <a:cubicBezTo>
                      <a:pt x="24" y="14"/>
                      <a:pt x="23" y="15"/>
                      <a:pt x="24" y="14"/>
                    </a:cubicBezTo>
                    <a:cubicBezTo>
                      <a:pt x="23" y="14"/>
                      <a:pt x="24" y="15"/>
                      <a:pt x="23" y="15"/>
                    </a:cubicBezTo>
                    <a:cubicBezTo>
                      <a:pt x="23" y="16"/>
                      <a:pt x="22" y="15"/>
                      <a:pt x="22" y="15"/>
                    </a:cubicBezTo>
                    <a:cubicBezTo>
                      <a:pt x="22" y="15"/>
                      <a:pt x="21" y="16"/>
                      <a:pt x="20" y="16"/>
                    </a:cubicBezTo>
                    <a:cubicBezTo>
                      <a:pt x="20" y="16"/>
                      <a:pt x="19" y="15"/>
                      <a:pt x="19" y="16"/>
                    </a:cubicBezTo>
                    <a:cubicBezTo>
                      <a:pt x="18" y="16"/>
                      <a:pt x="18" y="16"/>
                      <a:pt x="18" y="16"/>
                    </a:cubicBezTo>
                    <a:cubicBezTo>
                      <a:pt x="17" y="16"/>
                      <a:pt x="16" y="16"/>
                      <a:pt x="17" y="17"/>
                    </a:cubicBezTo>
                    <a:cubicBezTo>
                      <a:pt x="16" y="17"/>
                      <a:pt x="16" y="18"/>
                      <a:pt x="15" y="18"/>
                    </a:cubicBezTo>
                    <a:cubicBezTo>
                      <a:pt x="15" y="17"/>
                      <a:pt x="15" y="17"/>
                      <a:pt x="15" y="17"/>
                    </a:cubicBezTo>
                    <a:cubicBezTo>
                      <a:pt x="14" y="17"/>
                      <a:pt x="14" y="18"/>
                      <a:pt x="14" y="18"/>
                    </a:cubicBezTo>
                    <a:cubicBezTo>
                      <a:pt x="13" y="18"/>
                      <a:pt x="13" y="18"/>
                      <a:pt x="13" y="17"/>
                    </a:cubicBezTo>
                    <a:cubicBezTo>
                      <a:pt x="13" y="17"/>
                      <a:pt x="12" y="17"/>
                      <a:pt x="12" y="17"/>
                    </a:cubicBezTo>
                    <a:cubicBezTo>
                      <a:pt x="12" y="17"/>
                      <a:pt x="12" y="16"/>
                      <a:pt x="12" y="16"/>
                    </a:cubicBezTo>
                    <a:cubicBezTo>
                      <a:pt x="12" y="16"/>
                      <a:pt x="11" y="16"/>
                      <a:pt x="11" y="16"/>
                    </a:cubicBezTo>
                    <a:cubicBezTo>
                      <a:pt x="10" y="16"/>
                      <a:pt x="10" y="16"/>
                      <a:pt x="9" y="16"/>
                    </a:cubicBezTo>
                    <a:cubicBezTo>
                      <a:pt x="9" y="16"/>
                      <a:pt x="8" y="15"/>
                      <a:pt x="8" y="16"/>
                    </a:cubicBezTo>
                    <a:cubicBezTo>
                      <a:pt x="8" y="16"/>
                      <a:pt x="9" y="17"/>
                      <a:pt x="8" y="18"/>
                    </a:cubicBezTo>
                    <a:cubicBezTo>
                      <a:pt x="8" y="18"/>
                      <a:pt x="7" y="19"/>
                      <a:pt x="6" y="19"/>
                    </a:cubicBezTo>
                    <a:cubicBezTo>
                      <a:pt x="6" y="19"/>
                      <a:pt x="7" y="18"/>
                      <a:pt x="6" y="18"/>
                    </a:cubicBezTo>
                    <a:cubicBezTo>
                      <a:pt x="6" y="18"/>
                      <a:pt x="6" y="18"/>
                      <a:pt x="6" y="18"/>
                    </a:cubicBezTo>
                    <a:cubicBezTo>
                      <a:pt x="5" y="18"/>
                      <a:pt x="5" y="17"/>
                      <a:pt x="5" y="17"/>
                    </a:cubicBezTo>
                    <a:cubicBezTo>
                      <a:pt x="4" y="17"/>
                      <a:pt x="4" y="16"/>
                      <a:pt x="4" y="16"/>
                    </a:cubicBezTo>
                    <a:cubicBezTo>
                      <a:pt x="4" y="16"/>
                      <a:pt x="3" y="16"/>
                      <a:pt x="3" y="16"/>
                    </a:cubicBezTo>
                    <a:cubicBezTo>
                      <a:pt x="3" y="15"/>
                      <a:pt x="2" y="16"/>
                      <a:pt x="2" y="16"/>
                    </a:cubicBezTo>
                    <a:cubicBezTo>
                      <a:pt x="2" y="16"/>
                      <a:pt x="1" y="16"/>
                      <a:pt x="1" y="16"/>
                    </a:cubicBezTo>
                    <a:cubicBezTo>
                      <a:pt x="0" y="17"/>
                      <a:pt x="1" y="17"/>
                      <a:pt x="2" y="17"/>
                    </a:cubicBezTo>
                    <a:cubicBezTo>
                      <a:pt x="2" y="18"/>
                      <a:pt x="1" y="18"/>
                      <a:pt x="1" y="19"/>
                    </a:cubicBezTo>
                    <a:cubicBezTo>
                      <a:pt x="0" y="20"/>
                      <a:pt x="2" y="21"/>
                      <a:pt x="1" y="21"/>
                    </a:cubicBezTo>
                    <a:cubicBezTo>
                      <a:pt x="2" y="21"/>
                      <a:pt x="3" y="21"/>
                      <a:pt x="3" y="22"/>
                    </a:cubicBezTo>
                    <a:cubicBezTo>
                      <a:pt x="4" y="22"/>
                      <a:pt x="3" y="23"/>
                      <a:pt x="4" y="23"/>
                    </a:cubicBezTo>
                    <a:cubicBezTo>
                      <a:pt x="5" y="23"/>
                      <a:pt x="5" y="24"/>
                      <a:pt x="6" y="24"/>
                    </a:cubicBezTo>
                    <a:cubicBezTo>
                      <a:pt x="6" y="23"/>
                      <a:pt x="6" y="23"/>
                      <a:pt x="6" y="23"/>
                    </a:cubicBezTo>
                    <a:cubicBezTo>
                      <a:pt x="7" y="23"/>
                      <a:pt x="6" y="23"/>
                      <a:pt x="7" y="23"/>
                    </a:cubicBezTo>
                    <a:cubicBezTo>
                      <a:pt x="7" y="22"/>
                      <a:pt x="7" y="23"/>
                      <a:pt x="7" y="22"/>
                    </a:cubicBezTo>
                    <a:cubicBezTo>
                      <a:pt x="7" y="22"/>
                      <a:pt x="8" y="22"/>
                      <a:pt x="8" y="22"/>
                    </a:cubicBezTo>
                    <a:cubicBezTo>
                      <a:pt x="9" y="22"/>
                      <a:pt x="8" y="23"/>
                      <a:pt x="9" y="23"/>
                    </a:cubicBezTo>
                    <a:cubicBezTo>
                      <a:pt x="9" y="24"/>
                      <a:pt x="10" y="23"/>
                      <a:pt x="10" y="23"/>
                    </a:cubicBezTo>
                    <a:cubicBezTo>
                      <a:pt x="11" y="23"/>
                      <a:pt x="11" y="24"/>
                      <a:pt x="11" y="24"/>
                    </a:cubicBezTo>
                    <a:cubicBezTo>
                      <a:pt x="11" y="24"/>
                      <a:pt x="11" y="24"/>
                      <a:pt x="11" y="24"/>
                    </a:cubicBezTo>
                    <a:cubicBezTo>
                      <a:pt x="11" y="24"/>
                      <a:pt x="12" y="24"/>
                      <a:pt x="13" y="24"/>
                    </a:cubicBezTo>
                    <a:cubicBezTo>
                      <a:pt x="14" y="24"/>
                      <a:pt x="14" y="24"/>
                      <a:pt x="14" y="23"/>
                    </a:cubicBezTo>
                    <a:cubicBezTo>
                      <a:pt x="15" y="22"/>
                      <a:pt x="16" y="22"/>
                      <a:pt x="17" y="22"/>
                    </a:cubicBezTo>
                    <a:cubicBezTo>
                      <a:pt x="17" y="22"/>
                      <a:pt x="17" y="22"/>
                      <a:pt x="18" y="22"/>
                    </a:cubicBezTo>
                    <a:cubicBezTo>
                      <a:pt x="18" y="22"/>
                      <a:pt x="19" y="22"/>
                      <a:pt x="19" y="22"/>
                    </a:cubicBezTo>
                    <a:cubicBezTo>
                      <a:pt x="21" y="22"/>
                      <a:pt x="22" y="21"/>
                      <a:pt x="23" y="21"/>
                    </a:cubicBezTo>
                    <a:cubicBezTo>
                      <a:pt x="23" y="21"/>
                      <a:pt x="24" y="21"/>
                      <a:pt x="23" y="22"/>
                    </a:cubicBezTo>
                    <a:cubicBezTo>
                      <a:pt x="23" y="22"/>
                      <a:pt x="23" y="22"/>
                      <a:pt x="23" y="23"/>
                    </a:cubicBezTo>
                    <a:cubicBezTo>
                      <a:pt x="24" y="24"/>
                      <a:pt x="24" y="23"/>
                      <a:pt x="24" y="24"/>
                    </a:cubicBezTo>
                    <a:cubicBezTo>
                      <a:pt x="24" y="24"/>
                      <a:pt x="25" y="25"/>
                      <a:pt x="25" y="25"/>
                    </a:cubicBezTo>
                    <a:cubicBezTo>
                      <a:pt x="26" y="26"/>
                      <a:pt x="27" y="26"/>
                      <a:pt x="28" y="26"/>
                    </a:cubicBezTo>
                    <a:cubicBezTo>
                      <a:pt x="30" y="26"/>
                      <a:pt x="31" y="26"/>
                      <a:pt x="32" y="26"/>
                    </a:cubicBezTo>
                    <a:cubicBezTo>
                      <a:pt x="32" y="26"/>
                      <a:pt x="32" y="27"/>
                      <a:pt x="33" y="27"/>
                    </a:cubicBezTo>
                    <a:cubicBezTo>
                      <a:pt x="33" y="27"/>
                      <a:pt x="34" y="27"/>
                      <a:pt x="34" y="27"/>
                    </a:cubicBezTo>
                    <a:cubicBezTo>
                      <a:pt x="35" y="27"/>
                      <a:pt x="36" y="27"/>
                      <a:pt x="37" y="27"/>
                    </a:cubicBezTo>
                    <a:cubicBezTo>
                      <a:pt x="38" y="27"/>
                      <a:pt x="39" y="27"/>
                      <a:pt x="40" y="28"/>
                    </a:cubicBezTo>
                    <a:cubicBezTo>
                      <a:pt x="41" y="28"/>
                      <a:pt x="41" y="28"/>
                      <a:pt x="42" y="28"/>
                    </a:cubicBezTo>
                    <a:cubicBezTo>
                      <a:pt x="43" y="28"/>
                      <a:pt x="43" y="28"/>
                      <a:pt x="44" y="29"/>
                    </a:cubicBezTo>
                    <a:cubicBezTo>
                      <a:pt x="44" y="28"/>
                      <a:pt x="45" y="28"/>
                      <a:pt x="46" y="27"/>
                    </a:cubicBezTo>
                    <a:cubicBezTo>
                      <a:pt x="46" y="27"/>
                      <a:pt x="47" y="25"/>
                      <a:pt x="47" y="26"/>
                    </a:cubicBezTo>
                    <a:cubicBezTo>
                      <a:pt x="48" y="25"/>
                      <a:pt x="49" y="26"/>
                      <a:pt x="50" y="26"/>
                    </a:cubicBezTo>
                    <a:cubicBezTo>
                      <a:pt x="51" y="26"/>
                      <a:pt x="51" y="26"/>
                      <a:pt x="51" y="26"/>
                    </a:cubicBezTo>
                    <a:cubicBezTo>
                      <a:pt x="52" y="26"/>
                      <a:pt x="52" y="26"/>
                      <a:pt x="52" y="26"/>
                    </a:cubicBezTo>
                    <a:cubicBezTo>
                      <a:pt x="52" y="25"/>
                      <a:pt x="53" y="25"/>
                      <a:pt x="54" y="25"/>
                    </a:cubicBezTo>
                    <a:cubicBezTo>
                      <a:pt x="55" y="25"/>
                      <a:pt x="56" y="25"/>
                      <a:pt x="57" y="26"/>
                    </a:cubicBezTo>
                    <a:cubicBezTo>
                      <a:pt x="57" y="25"/>
                      <a:pt x="55" y="24"/>
                      <a:pt x="56" y="24"/>
                    </a:cubicBezTo>
                    <a:cubicBezTo>
                      <a:pt x="57" y="23"/>
                      <a:pt x="58" y="23"/>
                      <a:pt x="59" y="22"/>
                    </a:cubicBezTo>
                    <a:cubicBezTo>
                      <a:pt x="59" y="22"/>
                      <a:pt x="60" y="22"/>
                      <a:pt x="60" y="22"/>
                    </a:cubicBezTo>
                    <a:cubicBezTo>
                      <a:pt x="60" y="22"/>
                      <a:pt x="60" y="22"/>
                      <a:pt x="60" y="22"/>
                    </a:cubicBezTo>
                    <a:cubicBezTo>
                      <a:pt x="60" y="22"/>
                      <a:pt x="60" y="21"/>
                      <a:pt x="60" y="21"/>
                    </a:cubicBezTo>
                    <a:cubicBezTo>
                      <a:pt x="60" y="21"/>
                      <a:pt x="61" y="21"/>
                      <a:pt x="60" y="20"/>
                    </a:cubicBezTo>
                    <a:cubicBezTo>
                      <a:pt x="60" y="20"/>
                      <a:pt x="60" y="21"/>
                      <a:pt x="60" y="20"/>
                    </a:cubicBezTo>
                    <a:cubicBezTo>
                      <a:pt x="60" y="19"/>
                      <a:pt x="60" y="19"/>
                      <a:pt x="60" y="19"/>
                    </a:cubicBezTo>
                    <a:cubicBezTo>
                      <a:pt x="60" y="18"/>
                      <a:pt x="59" y="18"/>
                      <a:pt x="60" y="18"/>
                    </a:cubicBezTo>
                    <a:cubicBezTo>
                      <a:pt x="61" y="17"/>
                      <a:pt x="61" y="17"/>
                      <a:pt x="62" y="17"/>
                    </a:cubicBezTo>
                    <a:cubicBezTo>
                      <a:pt x="62" y="17"/>
                      <a:pt x="62" y="16"/>
                      <a:pt x="62" y="16"/>
                    </a:cubicBezTo>
                    <a:cubicBezTo>
                      <a:pt x="61" y="15"/>
                      <a:pt x="61" y="15"/>
                      <a:pt x="59" y="15"/>
                    </a:cubicBezTo>
                    <a:cubicBezTo>
                      <a:pt x="60" y="14"/>
                      <a:pt x="60" y="15"/>
                      <a:pt x="60" y="14"/>
                    </a:cubicBezTo>
                    <a:cubicBezTo>
                      <a:pt x="60" y="14"/>
                      <a:pt x="60" y="14"/>
                      <a:pt x="60" y="14"/>
                    </a:cubicBezTo>
                    <a:cubicBezTo>
                      <a:pt x="61" y="14"/>
                      <a:pt x="62" y="14"/>
                      <a:pt x="62" y="14"/>
                    </a:cubicBezTo>
                    <a:cubicBezTo>
                      <a:pt x="62" y="14"/>
                      <a:pt x="62" y="15"/>
                      <a:pt x="62" y="15"/>
                    </a:cubicBezTo>
                    <a:cubicBezTo>
                      <a:pt x="63" y="15"/>
                      <a:pt x="63" y="14"/>
                      <a:pt x="63" y="14"/>
                    </a:cubicBezTo>
                    <a:cubicBezTo>
                      <a:pt x="64" y="14"/>
                      <a:pt x="64" y="14"/>
                      <a:pt x="65" y="14"/>
                    </a:cubicBezTo>
                    <a:cubicBezTo>
                      <a:pt x="65" y="14"/>
                      <a:pt x="65" y="14"/>
                      <a:pt x="65" y="13"/>
                    </a:cubicBezTo>
                    <a:cubicBezTo>
                      <a:pt x="65" y="13"/>
                      <a:pt x="64" y="13"/>
                      <a:pt x="64" y="13"/>
                    </a:cubicBezTo>
                    <a:cubicBezTo>
                      <a:pt x="65" y="12"/>
                      <a:pt x="65" y="12"/>
                      <a:pt x="65" y="12"/>
                    </a:cubicBezTo>
                    <a:cubicBezTo>
                      <a:pt x="65" y="12"/>
                      <a:pt x="65" y="11"/>
                      <a:pt x="66" y="1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6" name="Australia">
                <a:extLst>
                  <a:ext uri="{FF2B5EF4-FFF2-40B4-BE49-F238E27FC236}">
                    <a16:creationId xmlns:a16="http://schemas.microsoft.com/office/drawing/2014/main" id="{93D60918-2EEF-AE3C-2303-7A10A3B6BE2E}"/>
                  </a:ext>
                </a:extLst>
              </p:cNvPr>
              <p:cNvSpPr>
                <a:spLocks noEditPoints="1"/>
              </p:cNvSpPr>
              <p:nvPr/>
            </p:nvSpPr>
            <p:spPr bwMode="auto">
              <a:xfrm>
                <a:off x="9450713" y="4437396"/>
                <a:ext cx="1482989" cy="1304599"/>
              </a:xfrm>
              <a:custGeom>
                <a:avLst/>
                <a:gdLst/>
                <a:ahLst/>
                <a:cxnLst>
                  <a:cxn ang="0">
                    <a:pos x="257" y="41"/>
                  </a:cxn>
                  <a:cxn ang="0">
                    <a:pos x="313" y="1"/>
                  </a:cxn>
                  <a:cxn ang="0">
                    <a:pos x="234" y="341"/>
                  </a:cxn>
                  <a:cxn ang="0">
                    <a:pos x="232" y="365"/>
                  </a:cxn>
                  <a:cxn ang="0">
                    <a:pos x="247" y="361"/>
                  </a:cxn>
                  <a:cxn ang="0">
                    <a:pos x="259" y="352"/>
                  </a:cxn>
                  <a:cxn ang="0">
                    <a:pos x="195" y="19"/>
                  </a:cxn>
                  <a:cxn ang="0">
                    <a:pos x="203" y="283"/>
                  </a:cxn>
                  <a:cxn ang="0">
                    <a:pos x="203" y="20"/>
                  </a:cxn>
                  <a:cxn ang="0">
                    <a:pos x="373" y="148"/>
                  </a:cxn>
                  <a:cxn ang="0">
                    <a:pos x="273" y="331"/>
                  </a:cxn>
                  <a:cxn ang="0">
                    <a:pos x="340" y="90"/>
                  </a:cxn>
                  <a:cxn ang="0">
                    <a:pos x="144" y="50"/>
                  </a:cxn>
                  <a:cxn ang="0">
                    <a:pos x="251" y="36"/>
                  </a:cxn>
                  <a:cxn ang="0">
                    <a:pos x="191" y="273"/>
                  </a:cxn>
                  <a:cxn ang="0">
                    <a:pos x="243" y="365"/>
                  </a:cxn>
                  <a:cxn ang="0">
                    <a:pos x="253" y="22"/>
                  </a:cxn>
                  <a:cxn ang="0">
                    <a:pos x="379" y="156"/>
                  </a:cxn>
                  <a:cxn ang="0">
                    <a:pos x="371" y="135"/>
                  </a:cxn>
                  <a:cxn ang="0">
                    <a:pos x="358" y="119"/>
                  </a:cxn>
                  <a:cxn ang="0">
                    <a:pos x="349" y="104"/>
                  </a:cxn>
                  <a:cxn ang="0">
                    <a:pos x="336" y="68"/>
                  </a:cxn>
                  <a:cxn ang="0">
                    <a:pos x="322" y="35"/>
                  </a:cxn>
                  <a:cxn ang="0">
                    <a:pos x="309" y="20"/>
                  </a:cxn>
                  <a:cxn ang="0">
                    <a:pos x="301" y="51"/>
                  </a:cxn>
                  <a:cxn ang="0">
                    <a:pos x="252" y="62"/>
                  </a:cxn>
                  <a:cxn ang="0">
                    <a:pos x="253" y="34"/>
                  </a:cxn>
                  <a:cxn ang="0">
                    <a:pos x="258" y="20"/>
                  </a:cxn>
                  <a:cxn ang="0">
                    <a:pos x="245" y="23"/>
                  </a:cxn>
                  <a:cxn ang="0">
                    <a:pos x="225" y="18"/>
                  </a:cxn>
                  <a:cxn ang="0">
                    <a:pos x="214" y="15"/>
                  </a:cxn>
                  <a:cxn ang="0">
                    <a:pos x="202" y="28"/>
                  </a:cxn>
                  <a:cxn ang="0">
                    <a:pos x="185" y="46"/>
                  </a:cxn>
                  <a:cxn ang="0">
                    <a:pos x="175" y="53"/>
                  </a:cxn>
                  <a:cxn ang="0">
                    <a:pos x="167" y="44"/>
                  </a:cxn>
                  <a:cxn ang="0">
                    <a:pos x="156" y="45"/>
                  </a:cxn>
                  <a:cxn ang="0">
                    <a:pos x="149" y="47"/>
                  </a:cxn>
                  <a:cxn ang="0">
                    <a:pos x="143" y="56"/>
                  </a:cxn>
                  <a:cxn ang="0">
                    <a:pos x="135" y="64"/>
                  </a:cxn>
                  <a:cxn ang="0">
                    <a:pos x="126" y="68"/>
                  </a:cxn>
                  <a:cxn ang="0">
                    <a:pos x="122" y="77"/>
                  </a:cxn>
                  <a:cxn ang="0">
                    <a:pos x="99" y="102"/>
                  </a:cxn>
                  <a:cxn ang="0">
                    <a:pos x="47" y="119"/>
                  </a:cxn>
                  <a:cxn ang="0">
                    <a:pos x="19" y="148"/>
                  </a:cxn>
                  <a:cxn ang="0">
                    <a:pos x="12" y="172"/>
                  </a:cxn>
                  <a:cxn ang="0">
                    <a:pos x="15" y="205"/>
                  </a:cxn>
                  <a:cxn ang="0">
                    <a:pos x="3" y="258"/>
                  </a:cxn>
                  <a:cxn ang="0">
                    <a:pos x="29" y="273"/>
                  </a:cxn>
                  <a:cxn ang="0">
                    <a:pos x="66" y="263"/>
                  </a:cxn>
                  <a:cxn ang="0">
                    <a:pos x="145" y="237"/>
                  </a:cxn>
                  <a:cxn ang="0">
                    <a:pos x="183" y="250"/>
                  </a:cxn>
                  <a:cxn ang="0">
                    <a:pos x="183" y="269"/>
                  </a:cxn>
                  <a:cxn ang="0">
                    <a:pos x="205" y="260"/>
                  </a:cxn>
                  <a:cxn ang="0">
                    <a:pos x="200" y="273"/>
                  </a:cxn>
                  <a:cxn ang="0">
                    <a:pos x="209" y="281"/>
                  </a:cxn>
                  <a:cxn ang="0">
                    <a:pos x="213" y="300"/>
                  </a:cxn>
                  <a:cxn ang="0">
                    <a:pos x="252" y="308"/>
                  </a:cxn>
                  <a:cxn ang="0">
                    <a:pos x="262" y="319"/>
                  </a:cxn>
                  <a:cxn ang="0">
                    <a:pos x="310" y="290"/>
                  </a:cxn>
                  <a:cxn ang="0">
                    <a:pos x="334" y="263"/>
                  </a:cxn>
                  <a:cxn ang="0">
                    <a:pos x="367" y="226"/>
                  </a:cxn>
                  <a:cxn ang="0">
                    <a:pos x="386" y="174"/>
                  </a:cxn>
                </a:cxnLst>
                <a:rect l="0" t="0" r="r" b="b"/>
                <a:pathLst>
                  <a:path w="419" h="368">
                    <a:moveTo>
                      <a:pt x="418" y="237"/>
                    </a:moveTo>
                    <a:cubicBezTo>
                      <a:pt x="418" y="236"/>
                      <a:pt x="419" y="236"/>
                      <a:pt x="418" y="236"/>
                    </a:cubicBezTo>
                    <a:cubicBezTo>
                      <a:pt x="419" y="236"/>
                      <a:pt x="419" y="236"/>
                      <a:pt x="418" y="237"/>
                    </a:cubicBezTo>
                    <a:close/>
                    <a:moveTo>
                      <a:pt x="141" y="54"/>
                    </a:moveTo>
                    <a:cubicBezTo>
                      <a:pt x="141" y="54"/>
                      <a:pt x="141" y="54"/>
                      <a:pt x="141" y="53"/>
                    </a:cubicBezTo>
                    <a:cubicBezTo>
                      <a:pt x="141" y="54"/>
                      <a:pt x="140" y="54"/>
                      <a:pt x="140" y="54"/>
                    </a:cubicBezTo>
                    <a:cubicBezTo>
                      <a:pt x="141" y="54"/>
                      <a:pt x="141" y="54"/>
                      <a:pt x="141" y="54"/>
                    </a:cubicBezTo>
                    <a:close/>
                    <a:moveTo>
                      <a:pt x="272" y="332"/>
                    </a:moveTo>
                    <a:cubicBezTo>
                      <a:pt x="271" y="332"/>
                      <a:pt x="271" y="333"/>
                      <a:pt x="270" y="333"/>
                    </a:cubicBezTo>
                    <a:cubicBezTo>
                      <a:pt x="270" y="332"/>
                      <a:pt x="269" y="333"/>
                      <a:pt x="269" y="333"/>
                    </a:cubicBezTo>
                    <a:cubicBezTo>
                      <a:pt x="268" y="334"/>
                      <a:pt x="269" y="334"/>
                      <a:pt x="270" y="334"/>
                    </a:cubicBezTo>
                    <a:cubicBezTo>
                      <a:pt x="270" y="334"/>
                      <a:pt x="270" y="334"/>
                      <a:pt x="271" y="334"/>
                    </a:cubicBezTo>
                    <a:cubicBezTo>
                      <a:pt x="271" y="333"/>
                      <a:pt x="271" y="334"/>
                      <a:pt x="271" y="334"/>
                    </a:cubicBezTo>
                    <a:cubicBezTo>
                      <a:pt x="271" y="334"/>
                      <a:pt x="273" y="334"/>
                      <a:pt x="273" y="333"/>
                    </a:cubicBezTo>
                    <a:cubicBezTo>
                      <a:pt x="272" y="333"/>
                      <a:pt x="272" y="332"/>
                      <a:pt x="272" y="332"/>
                    </a:cubicBezTo>
                    <a:close/>
                    <a:moveTo>
                      <a:pt x="314" y="6"/>
                    </a:moveTo>
                    <a:cubicBezTo>
                      <a:pt x="314" y="6"/>
                      <a:pt x="314" y="6"/>
                      <a:pt x="314" y="6"/>
                    </a:cubicBezTo>
                    <a:cubicBezTo>
                      <a:pt x="314" y="5"/>
                      <a:pt x="314" y="5"/>
                      <a:pt x="314" y="6"/>
                    </a:cubicBezTo>
                    <a:close/>
                    <a:moveTo>
                      <a:pt x="259" y="13"/>
                    </a:moveTo>
                    <a:cubicBezTo>
                      <a:pt x="259" y="12"/>
                      <a:pt x="261" y="11"/>
                      <a:pt x="260" y="10"/>
                    </a:cubicBezTo>
                    <a:cubicBezTo>
                      <a:pt x="260" y="10"/>
                      <a:pt x="260" y="11"/>
                      <a:pt x="260" y="11"/>
                    </a:cubicBezTo>
                    <a:cubicBezTo>
                      <a:pt x="260" y="12"/>
                      <a:pt x="260" y="12"/>
                      <a:pt x="259" y="12"/>
                    </a:cubicBezTo>
                    <a:cubicBezTo>
                      <a:pt x="259" y="13"/>
                      <a:pt x="258" y="13"/>
                      <a:pt x="258" y="14"/>
                    </a:cubicBezTo>
                    <a:cubicBezTo>
                      <a:pt x="258" y="14"/>
                      <a:pt x="257" y="15"/>
                      <a:pt x="257" y="15"/>
                    </a:cubicBezTo>
                    <a:cubicBezTo>
                      <a:pt x="258" y="15"/>
                      <a:pt x="258" y="15"/>
                      <a:pt x="258" y="14"/>
                    </a:cubicBezTo>
                    <a:cubicBezTo>
                      <a:pt x="259" y="14"/>
                      <a:pt x="259" y="14"/>
                      <a:pt x="259" y="13"/>
                    </a:cubicBezTo>
                    <a:close/>
                    <a:moveTo>
                      <a:pt x="257" y="42"/>
                    </a:moveTo>
                    <a:cubicBezTo>
                      <a:pt x="257" y="42"/>
                      <a:pt x="257" y="42"/>
                      <a:pt x="258" y="42"/>
                    </a:cubicBezTo>
                    <a:cubicBezTo>
                      <a:pt x="258" y="41"/>
                      <a:pt x="258" y="41"/>
                      <a:pt x="258" y="40"/>
                    </a:cubicBezTo>
                    <a:cubicBezTo>
                      <a:pt x="257" y="40"/>
                      <a:pt x="257" y="41"/>
                      <a:pt x="257" y="41"/>
                    </a:cubicBezTo>
                    <a:cubicBezTo>
                      <a:pt x="257" y="41"/>
                      <a:pt x="257" y="41"/>
                      <a:pt x="257" y="41"/>
                    </a:cubicBezTo>
                    <a:cubicBezTo>
                      <a:pt x="257" y="41"/>
                      <a:pt x="256" y="42"/>
                      <a:pt x="256" y="41"/>
                    </a:cubicBezTo>
                    <a:cubicBezTo>
                      <a:pt x="255" y="41"/>
                      <a:pt x="256" y="40"/>
                      <a:pt x="256" y="39"/>
                    </a:cubicBezTo>
                    <a:cubicBezTo>
                      <a:pt x="257" y="39"/>
                      <a:pt x="255" y="40"/>
                      <a:pt x="255" y="40"/>
                    </a:cubicBezTo>
                    <a:cubicBezTo>
                      <a:pt x="255" y="40"/>
                      <a:pt x="255" y="40"/>
                      <a:pt x="255" y="40"/>
                    </a:cubicBezTo>
                    <a:cubicBezTo>
                      <a:pt x="255" y="40"/>
                      <a:pt x="255" y="40"/>
                      <a:pt x="255" y="41"/>
                    </a:cubicBezTo>
                    <a:cubicBezTo>
                      <a:pt x="255" y="41"/>
                      <a:pt x="254" y="42"/>
                      <a:pt x="254" y="41"/>
                    </a:cubicBezTo>
                    <a:cubicBezTo>
                      <a:pt x="254" y="41"/>
                      <a:pt x="254" y="41"/>
                      <a:pt x="254" y="41"/>
                    </a:cubicBezTo>
                    <a:cubicBezTo>
                      <a:pt x="254" y="41"/>
                      <a:pt x="254" y="41"/>
                      <a:pt x="253" y="41"/>
                    </a:cubicBezTo>
                    <a:cubicBezTo>
                      <a:pt x="253" y="41"/>
                      <a:pt x="253" y="42"/>
                      <a:pt x="253" y="42"/>
                    </a:cubicBezTo>
                    <a:cubicBezTo>
                      <a:pt x="253" y="43"/>
                      <a:pt x="253" y="45"/>
                      <a:pt x="252" y="45"/>
                    </a:cubicBezTo>
                    <a:cubicBezTo>
                      <a:pt x="252" y="45"/>
                      <a:pt x="252" y="45"/>
                      <a:pt x="252" y="46"/>
                    </a:cubicBezTo>
                    <a:cubicBezTo>
                      <a:pt x="252" y="46"/>
                      <a:pt x="253" y="45"/>
                      <a:pt x="253" y="45"/>
                    </a:cubicBezTo>
                    <a:cubicBezTo>
                      <a:pt x="253" y="45"/>
                      <a:pt x="253" y="46"/>
                      <a:pt x="254" y="46"/>
                    </a:cubicBezTo>
                    <a:cubicBezTo>
                      <a:pt x="254" y="46"/>
                      <a:pt x="254" y="46"/>
                      <a:pt x="255" y="46"/>
                    </a:cubicBezTo>
                    <a:cubicBezTo>
                      <a:pt x="255" y="46"/>
                      <a:pt x="255" y="46"/>
                      <a:pt x="255" y="46"/>
                    </a:cubicBezTo>
                    <a:cubicBezTo>
                      <a:pt x="256" y="46"/>
                      <a:pt x="257" y="46"/>
                      <a:pt x="257" y="46"/>
                    </a:cubicBezTo>
                    <a:cubicBezTo>
                      <a:pt x="258" y="46"/>
                      <a:pt x="258" y="45"/>
                      <a:pt x="258" y="45"/>
                    </a:cubicBezTo>
                    <a:cubicBezTo>
                      <a:pt x="258" y="45"/>
                      <a:pt x="257" y="46"/>
                      <a:pt x="257" y="45"/>
                    </a:cubicBezTo>
                    <a:cubicBezTo>
                      <a:pt x="256" y="45"/>
                      <a:pt x="256" y="45"/>
                      <a:pt x="256" y="45"/>
                    </a:cubicBezTo>
                    <a:cubicBezTo>
                      <a:pt x="255" y="45"/>
                      <a:pt x="255" y="44"/>
                      <a:pt x="256" y="44"/>
                    </a:cubicBezTo>
                    <a:cubicBezTo>
                      <a:pt x="256" y="44"/>
                      <a:pt x="257" y="44"/>
                      <a:pt x="257" y="43"/>
                    </a:cubicBezTo>
                    <a:cubicBezTo>
                      <a:pt x="256" y="43"/>
                      <a:pt x="256" y="42"/>
                      <a:pt x="257" y="42"/>
                    </a:cubicBezTo>
                    <a:close/>
                    <a:moveTo>
                      <a:pt x="257" y="15"/>
                    </a:moveTo>
                    <a:cubicBezTo>
                      <a:pt x="257" y="16"/>
                      <a:pt x="256" y="16"/>
                      <a:pt x="256" y="16"/>
                    </a:cubicBezTo>
                    <a:cubicBezTo>
                      <a:pt x="256" y="16"/>
                      <a:pt x="255" y="17"/>
                      <a:pt x="255" y="17"/>
                    </a:cubicBezTo>
                    <a:cubicBezTo>
                      <a:pt x="255" y="16"/>
                      <a:pt x="254" y="17"/>
                      <a:pt x="254" y="18"/>
                    </a:cubicBezTo>
                    <a:cubicBezTo>
                      <a:pt x="254" y="17"/>
                      <a:pt x="255" y="17"/>
                      <a:pt x="256" y="17"/>
                    </a:cubicBezTo>
                    <a:cubicBezTo>
                      <a:pt x="256" y="17"/>
                      <a:pt x="257" y="16"/>
                      <a:pt x="257" y="15"/>
                    </a:cubicBezTo>
                    <a:close/>
                    <a:moveTo>
                      <a:pt x="314" y="0"/>
                    </a:moveTo>
                    <a:cubicBezTo>
                      <a:pt x="313" y="0"/>
                      <a:pt x="313" y="0"/>
                      <a:pt x="313" y="0"/>
                    </a:cubicBezTo>
                    <a:cubicBezTo>
                      <a:pt x="313" y="1"/>
                      <a:pt x="313" y="1"/>
                      <a:pt x="313" y="1"/>
                    </a:cubicBezTo>
                    <a:cubicBezTo>
                      <a:pt x="314" y="1"/>
                      <a:pt x="314" y="0"/>
                      <a:pt x="314" y="0"/>
                    </a:cubicBezTo>
                    <a:close/>
                    <a:moveTo>
                      <a:pt x="245" y="53"/>
                    </a:moveTo>
                    <a:cubicBezTo>
                      <a:pt x="245" y="53"/>
                      <a:pt x="246" y="53"/>
                      <a:pt x="245" y="52"/>
                    </a:cubicBezTo>
                    <a:cubicBezTo>
                      <a:pt x="245" y="52"/>
                      <a:pt x="245" y="53"/>
                      <a:pt x="245" y="53"/>
                    </a:cubicBezTo>
                    <a:close/>
                    <a:moveTo>
                      <a:pt x="267" y="338"/>
                    </a:moveTo>
                    <a:cubicBezTo>
                      <a:pt x="267" y="338"/>
                      <a:pt x="267" y="337"/>
                      <a:pt x="267" y="337"/>
                    </a:cubicBezTo>
                    <a:cubicBezTo>
                      <a:pt x="266" y="336"/>
                      <a:pt x="265" y="339"/>
                      <a:pt x="264" y="338"/>
                    </a:cubicBezTo>
                    <a:cubicBezTo>
                      <a:pt x="263" y="338"/>
                      <a:pt x="262" y="338"/>
                      <a:pt x="262" y="338"/>
                    </a:cubicBezTo>
                    <a:cubicBezTo>
                      <a:pt x="261" y="339"/>
                      <a:pt x="260" y="339"/>
                      <a:pt x="259" y="340"/>
                    </a:cubicBezTo>
                    <a:cubicBezTo>
                      <a:pt x="260" y="339"/>
                      <a:pt x="259" y="339"/>
                      <a:pt x="258" y="339"/>
                    </a:cubicBezTo>
                    <a:cubicBezTo>
                      <a:pt x="258" y="339"/>
                      <a:pt x="258" y="340"/>
                      <a:pt x="257" y="340"/>
                    </a:cubicBezTo>
                    <a:cubicBezTo>
                      <a:pt x="257" y="340"/>
                      <a:pt x="256" y="339"/>
                      <a:pt x="256" y="340"/>
                    </a:cubicBezTo>
                    <a:cubicBezTo>
                      <a:pt x="255" y="340"/>
                      <a:pt x="253" y="340"/>
                      <a:pt x="254" y="341"/>
                    </a:cubicBezTo>
                    <a:cubicBezTo>
                      <a:pt x="254" y="341"/>
                      <a:pt x="254" y="341"/>
                      <a:pt x="254" y="341"/>
                    </a:cubicBezTo>
                    <a:cubicBezTo>
                      <a:pt x="254" y="341"/>
                      <a:pt x="253" y="341"/>
                      <a:pt x="253" y="341"/>
                    </a:cubicBezTo>
                    <a:cubicBezTo>
                      <a:pt x="253" y="341"/>
                      <a:pt x="253" y="340"/>
                      <a:pt x="253" y="340"/>
                    </a:cubicBezTo>
                    <a:cubicBezTo>
                      <a:pt x="252" y="340"/>
                      <a:pt x="251" y="342"/>
                      <a:pt x="251" y="342"/>
                    </a:cubicBezTo>
                    <a:cubicBezTo>
                      <a:pt x="251" y="341"/>
                      <a:pt x="251" y="341"/>
                      <a:pt x="250" y="341"/>
                    </a:cubicBezTo>
                    <a:cubicBezTo>
                      <a:pt x="250" y="341"/>
                      <a:pt x="249" y="341"/>
                      <a:pt x="249" y="341"/>
                    </a:cubicBezTo>
                    <a:cubicBezTo>
                      <a:pt x="247" y="341"/>
                      <a:pt x="247" y="340"/>
                      <a:pt x="245" y="340"/>
                    </a:cubicBezTo>
                    <a:cubicBezTo>
                      <a:pt x="244" y="340"/>
                      <a:pt x="245" y="339"/>
                      <a:pt x="244" y="339"/>
                    </a:cubicBezTo>
                    <a:cubicBezTo>
                      <a:pt x="244" y="339"/>
                      <a:pt x="244" y="338"/>
                      <a:pt x="243" y="338"/>
                    </a:cubicBezTo>
                    <a:cubicBezTo>
                      <a:pt x="243" y="338"/>
                      <a:pt x="242" y="338"/>
                      <a:pt x="242" y="337"/>
                    </a:cubicBezTo>
                    <a:cubicBezTo>
                      <a:pt x="242" y="337"/>
                      <a:pt x="242" y="337"/>
                      <a:pt x="242" y="337"/>
                    </a:cubicBezTo>
                    <a:cubicBezTo>
                      <a:pt x="242" y="337"/>
                      <a:pt x="240" y="338"/>
                      <a:pt x="240" y="337"/>
                    </a:cubicBezTo>
                    <a:cubicBezTo>
                      <a:pt x="239" y="337"/>
                      <a:pt x="239" y="337"/>
                      <a:pt x="238" y="337"/>
                    </a:cubicBezTo>
                    <a:cubicBezTo>
                      <a:pt x="238" y="336"/>
                      <a:pt x="238" y="336"/>
                      <a:pt x="238" y="336"/>
                    </a:cubicBezTo>
                    <a:cubicBezTo>
                      <a:pt x="237" y="336"/>
                      <a:pt x="237" y="338"/>
                      <a:pt x="236" y="338"/>
                    </a:cubicBezTo>
                    <a:cubicBezTo>
                      <a:pt x="235" y="339"/>
                      <a:pt x="235" y="339"/>
                      <a:pt x="234" y="340"/>
                    </a:cubicBezTo>
                    <a:cubicBezTo>
                      <a:pt x="234" y="340"/>
                      <a:pt x="235" y="340"/>
                      <a:pt x="235" y="340"/>
                    </a:cubicBezTo>
                    <a:cubicBezTo>
                      <a:pt x="234" y="341"/>
                      <a:pt x="234" y="341"/>
                      <a:pt x="234" y="341"/>
                    </a:cubicBezTo>
                    <a:cubicBezTo>
                      <a:pt x="234" y="342"/>
                      <a:pt x="234" y="343"/>
                      <a:pt x="234" y="343"/>
                    </a:cubicBezTo>
                    <a:cubicBezTo>
                      <a:pt x="234" y="344"/>
                      <a:pt x="233" y="344"/>
                      <a:pt x="233" y="344"/>
                    </a:cubicBezTo>
                    <a:cubicBezTo>
                      <a:pt x="233" y="345"/>
                      <a:pt x="233" y="346"/>
                      <a:pt x="233" y="347"/>
                    </a:cubicBezTo>
                    <a:cubicBezTo>
                      <a:pt x="233" y="347"/>
                      <a:pt x="233" y="347"/>
                      <a:pt x="233" y="348"/>
                    </a:cubicBezTo>
                    <a:cubicBezTo>
                      <a:pt x="233" y="349"/>
                      <a:pt x="234" y="351"/>
                      <a:pt x="233" y="352"/>
                    </a:cubicBezTo>
                    <a:cubicBezTo>
                      <a:pt x="233" y="352"/>
                      <a:pt x="232" y="353"/>
                      <a:pt x="233" y="353"/>
                    </a:cubicBezTo>
                    <a:cubicBezTo>
                      <a:pt x="233" y="352"/>
                      <a:pt x="233" y="352"/>
                      <a:pt x="233" y="353"/>
                    </a:cubicBezTo>
                    <a:cubicBezTo>
                      <a:pt x="233" y="354"/>
                      <a:pt x="234" y="355"/>
                      <a:pt x="234" y="354"/>
                    </a:cubicBezTo>
                    <a:cubicBezTo>
                      <a:pt x="234" y="355"/>
                      <a:pt x="233" y="355"/>
                      <a:pt x="233" y="355"/>
                    </a:cubicBezTo>
                    <a:cubicBezTo>
                      <a:pt x="233" y="355"/>
                      <a:pt x="233" y="356"/>
                      <a:pt x="232" y="356"/>
                    </a:cubicBezTo>
                    <a:cubicBezTo>
                      <a:pt x="232" y="355"/>
                      <a:pt x="233" y="355"/>
                      <a:pt x="232" y="354"/>
                    </a:cubicBezTo>
                    <a:cubicBezTo>
                      <a:pt x="232" y="354"/>
                      <a:pt x="232" y="353"/>
                      <a:pt x="232" y="353"/>
                    </a:cubicBezTo>
                    <a:cubicBezTo>
                      <a:pt x="232" y="353"/>
                      <a:pt x="232" y="353"/>
                      <a:pt x="232" y="353"/>
                    </a:cubicBezTo>
                    <a:cubicBezTo>
                      <a:pt x="232" y="353"/>
                      <a:pt x="231" y="355"/>
                      <a:pt x="230" y="356"/>
                    </a:cubicBezTo>
                    <a:cubicBezTo>
                      <a:pt x="230" y="356"/>
                      <a:pt x="230" y="356"/>
                      <a:pt x="230" y="356"/>
                    </a:cubicBezTo>
                    <a:cubicBezTo>
                      <a:pt x="230" y="357"/>
                      <a:pt x="230" y="357"/>
                      <a:pt x="230" y="357"/>
                    </a:cubicBezTo>
                    <a:cubicBezTo>
                      <a:pt x="230" y="357"/>
                      <a:pt x="230" y="358"/>
                      <a:pt x="230" y="358"/>
                    </a:cubicBezTo>
                    <a:cubicBezTo>
                      <a:pt x="230" y="359"/>
                      <a:pt x="230" y="359"/>
                      <a:pt x="230" y="360"/>
                    </a:cubicBezTo>
                    <a:cubicBezTo>
                      <a:pt x="229" y="360"/>
                      <a:pt x="230" y="361"/>
                      <a:pt x="230" y="361"/>
                    </a:cubicBezTo>
                    <a:cubicBezTo>
                      <a:pt x="230" y="361"/>
                      <a:pt x="230" y="362"/>
                      <a:pt x="230" y="362"/>
                    </a:cubicBezTo>
                    <a:cubicBezTo>
                      <a:pt x="230" y="362"/>
                      <a:pt x="230" y="363"/>
                      <a:pt x="230" y="363"/>
                    </a:cubicBezTo>
                    <a:cubicBezTo>
                      <a:pt x="230" y="363"/>
                      <a:pt x="230" y="364"/>
                      <a:pt x="230" y="365"/>
                    </a:cubicBezTo>
                    <a:cubicBezTo>
                      <a:pt x="231" y="365"/>
                      <a:pt x="231" y="364"/>
                      <a:pt x="231" y="364"/>
                    </a:cubicBezTo>
                    <a:cubicBezTo>
                      <a:pt x="231" y="364"/>
                      <a:pt x="231" y="364"/>
                      <a:pt x="231" y="364"/>
                    </a:cubicBezTo>
                    <a:cubicBezTo>
                      <a:pt x="232" y="364"/>
                      <a:pt x="231" y="365"/>
                      <a:pt x="232" y="365"/>
                    </a:cubicBezTo>
                    <a:cubicBezTo>
                      <a:pt x="232" y="365"/>
                      <a:pt x="232" y="365"/>
                      <a:pt x="232" y="365"/>
                    </a:cubicBezTo>
                    <a:cubicBezTo>
                      <a:pt x="232" y="365"/>
                      <a:pt x="233" y="364"/>
                      <a:pt x="233" y="364"/>
                    </a:cubicBezTo>
                    <a:cubicBezTo>
                      <a:pt x="234" y="364"/>
                      <a:pt x="233" y="365"/>
                      <a:pt x="233" y="366"/>
                    </a:cubicBezTo>
                    <a:cubicBezTo>
                      <a:pt x="233" y="366"/>
                      <a:pt x="233" y="365"/>
                      <a:pt x="233" y="365"/>
                    </a:cubicBezTo>
                    <a:cubicBezTo>
                      <a:pt x="233" y="365"/>
                      <a:pt x="232" y="366"/>
                      <a:pt x="232" y="366"/>
                    </a:cubicBezTo>
                    <a:cubicBezTo>
                      <a:pt x="232" y="366"/>
                      <a:pt x="232" y="365"/>
                      <a:pt x="232" y="365"/>
                    </a:cubicBezTo>
                    <a:cubicBezTo>
                      <a:pt x="231" y="365"/>
                      <a:pt x="231" y="365"/>
                      <a:pt x="231" y="365"/>
                    </a:cubicBezTo>
                    <a:cubicBezTo>
                      <a:pt x="231" y="366"/>
                      <a:pt x="231" y="365"/>
                      <a:pt x="230" y="366"/>
                    </a:cubicBezTo>
                    <a:cubicBezTo>
                      <a:pt x="230" y="366"/>
                      <a:pt x="231" y="366"/>
                      <a:pt x="231" y="366"/>
                    </a:cubicBezTo>
                    <a:cubicBezTo>
                      <a:pt x="231" y="367"/>
                      <a:pt x="230" y="367"/>
                      <a:pt x="230" y="367"/>
                    </a:cubicBezTo>
                    <a:cubicBezTo>
                      <a:pt x="230" y="367"/>
                      <a:pt x="232" y="367"/>
                      <a:pt x="232" y="367"/>
                    </a:cubicBezTo>
                    <a:cubicBezTo>
                      <a:pt x="232" y="367"/>
                      <a:pt x="232" y="367"/>
                      <a:pt x="232" y="367"/>
                    </a:cubicBezTo>
                    <a:cubicBezTo>
                      <a:pt x="233" y="367"/>
                      <a:pt x="232" y="367"/>
                      <a:pt x="233" y="367"/>
                    </a:cubicBezTo>
                    <a:cubicBezTo>
                      <a:pt x="233" y="367"/>
                      <a:pt x="233" y="367"/>
                      <a:pt x="233" y="367"/>
                    </a:cubicBezTo>
                    <a:cubicBezTo>
                      <a:pt x="233" y="367"/>
                      <a:pt x="234" y="367"/>
                      <a:pt x="234" y="367"/>
                    </a:cubicBezTo>
                    <a:cubicBezTo>
                      <a:pt x="235" y="367"/>
                      <a:pt x="235" y="367"/>
                      <a:pt x="235" y="366"/>
                    </a:cubicBezTo>
                    <a:cubicBezTo>
                      <a:pt x="235" y="367"/>
                      <a:pt x="236" y="367"/>
                      <a:pt x="235" y="368"/>
                    </a:cubicBezTo>
                    <a:cubicBezTo>
                      <a:pt x="235" y="368"/>
                      <a:pt x="237" y="368"/>
                      <a:pt x="237" y="368"/>
                    </a:cubicBezTo>
                    <a:cubicBezTo>
                      <a:pt x="237" y="368"/>
                      <a:pt x="238" y="368"/>
                      <a:pt x="238" y="367"/>
                    </a:cubicBezTo>
                    <a:cubicBezTo>
                      <a:pt x="238" y="367"/>
                      <a:pt x="238" y="367"/>
                      <a:pt x="238" y="367"/>
                    </a:cubicBezTo>
                    <a:cubicBezTo>
                      <a:pt x="239" y="367"/>
                      <a:pt x="239" y="366"/>
                      <a:pt x="239" y="366"/>
                    </a:cubicBezTo>
                    <a:cubicBezTo>
                      <a:pt x="239" y="367"/>
                      <a:pt x="239" y="367"/>
                      <a:pt x="239" y="366"/>
                    </a:cubicBezTo>
                    <a:cubicBezTo>
                      <a:pt x="239" y="366"/>
                      <a:pt x="239" y="366"/>
                      <a:pt x="239" y="366"/>
                    </a:cubicBezTo>
                    <a:cubicBezTo>
                      <a:pt x="239" y="366"/>
                      <a:pt x="241" y="365"/>
                      <a:pt x="240" y="365"/>
                    </a:cubicBezTo>
                    <a:cubicBezTo>
                      <a:pt x="240" y="365"/>
                      <a:pt x="241" y="365"/>
                      <a:pt x="241" y="364"/>
                    </a:cubicBezTo>
                    <a:cubicBezTo>
                      <a:pt x="241" y="364"/>
                      <a:pt x="241" y="364"/>
                      <a:pt x="241" y="364"/>
                    </a:cubicBezTo>
                    <a:cubicBezTo>
                      <a:pt x="241" y="363"/>
                      <a:pt x="241" y="363"/>
                      <a:pt x="242" y="363"/>
                    </a:cubicBezTo>
                    <a:cubicBezTo>
                      <a:pt x="242" y="363"/>
                      <a:pt x="241" y="364"/>
                      <a:pt x="242" y="363"/>
                    </a:cubicBezTo>
                    <a:cubicBezTo>
                      <a:pt x="242" y="363"/>
                      <a:pt x="242" y="364"/>
                      <a:pt x="242" y="364"/>
                    </a:cubicBezTo>
                    <a:cubicBezTo>
                      <a:pt x="242" y="364"/>
                      <a:pt x="242" y="364"/>
                      <a:pt x="242" y="364"/>
                    </a:cubicBezTo>
                    <a:cubicBezTo>
                      <a:pt x="243" y="365"/>
                      <a:pt x="243" y="364"/>
                      <a:pt x="243" y="364"/>
                    </a:cubicBezTo>
                    <a:cubicBezTo>
                      <a:pt x="244" y="363"/>
                      <a:pt x="244" y="363"/>
                      <a:pt x="245" y="362"/>
                    </a:cubicBezTo>
                    <a:cubicBezTo>
                      <a:pt x="244" y="362"/>
                      <a:pt x="244" y="361"/>
                      <a:pt x="245" y="362"/>
                    </a:cubicBezTo>
                    <a:cubicBezTo>
                      <a:pt x="245" y="362"/>
                      <a:pt x="245" y="362"/>
                      <a:pt x="245" y="362"/>
                    </a:cubicBezTo>
                    <a:cubicBezTo>
                      <a:pt x="245" y="362"/>
                      <a:pt x="246" y="361"/>
                      <a:pt x="246" y="360"/>
                    </a:cubicBezTo>
                    <a:cubicBezTo>
                      <a:pt x="246" y="360"/>
                      <a:pt x="246" y="359"/>
                      <a:pt x="246" y="359"/>
                    </a:cubicBezTo>
                    <a:cubicBezTo>
                      <a:pt x="247" y="359"/>
                      <a:pt x="247" y="360"/>
                      <a:pt x="247" y="361"/>
                    </a:cubicBezTo>
                    <a:cubicBezTo>
                      <a:pt x="247" y="360"/>
                      <a:pt x="247" y="360"/>
                      <a:pt x="247" y="360"/>
                    </a:cubicBezTo>
                    <a:cubicBezTo>
                      <a:pt x="247" y="361"/>
                      <a:pt x="247" y="362"/>
                      <a:pt x="246" y="361"/>
                    </a:cubicBezTo>
                    <a:cubicBezTo>
                      <a:pt x="246" y="361"/>
                      <a:pt x="246" y="361"/>
                      <a:pt x="246" y="362"/>
                    </a:cubicBezTo>
                    <a:cubicBezTo>
                      <a:pt x="247" y="362"/>
                      <a:pt x="247" y="361"/>
                      <a:pt x="248" y="360"/>
                    </a:cubicBezTo>
                    <a:cubicBezTo>
                      <a:pt x="248" y="360"/>
                      <a:pt x="248" y="360"/>
                      <a:pt x="248" y="360"/>
                    </a:cubicBezTo>
                    <a:cubicBezTo>
                      <a:pt x="248" y="360"/>
                      <a:pt x="249" y="359"/>
                      <a:pt x="249" y="360"/>
                    </a:cubicBezTo>
                    <a:cubicBezTo>
                      <a:pt x="248" y="360"/>
                      <a:pt x="250" y="360"/>
                      <a:pt x="250" y="360"/>
                    </a:cubicBezTo>
                    <a:cubicBezTo>
                      <a:pt x="251" y="360"/>
                      <a:pt x="249" y="361"/>
                      <a:pt x="250" y="362"/>
                    </a:cubicBezTo>
                    <a:cubicBezTo>
                      <a:pt x="250" y="362"/>
                      <a:pt x="248" y="362"/>
                      <a:pt x="249" y="361"/>
                    </a:cubicBezTo>
                    <a:cubicBezTo>
                      <a:pt x="249" y="361"/>
                      <a:pt x="249" y="360"/>
                      <a:pt x="249" y="361"/>
                    </a:cubicBezTo>
                    <a:cubicBezTo>
                      <a:pt x="249" y="361"/>
                      <a:pt x="249" y="361"/>
                      <a:pt x="248" y="361"/>
                    </a:cubicBezTo>
                    <a:cubicBezTo>
                      <a:pt x="248" y="361"/>
                      <a:pt x="247" y="362"/>
                      <a:pt x="248" y="362"/>
                    </a:cubicBezTo>
                    <a:cubicBezTo>
                      <a:pt x="248" y="362"/>
                      <a:pt x="247" y="363"/>
                      <a:pt x="248" y="363"/>
                    </a:cubicBezTo>
                    <a:cubicBezTo>
                      <a:pt x="248" y="364"/>
                      <a:pt x="248" y="364"/>
                      <a:pt x="248" y="363"/>
                    </a:cubicBezTo>
                    <a:cubicBezTo>
                      <a:pt x="249" y="363"/>
                      <a:pt x="249" y="362"/>
                      <a:pt x="249" y="363"/>
                    </a:cubicBezTo>
                    <a:cubicBezTo>
                      <a:pt x="249" y="363"/>
                      <a:pt x="249" y="364"/>
                      <a:pt x="250" y="364"/>
                    </a:cubicBezTo>
                    <a:cubicBezTo>
                      <a:pt x="250" y="363"/>
                      <a:pt x="250" y="363"/>
                      <a:pt x="250" y="363"/>
                    </a:cubicBezTo>
                    <a:cubicBezTo>
                      <a:pt x="250" y="363"/>
                      <a:pt x="251" y="362"/>
                      <a:pt x="251" y="362"/>
                    </a:cubicBezTo>
                    <a:cubicBezTo>
                      <a:pt x="251" y="361"/>
                      <a:pt x="251" y="361"/>
                      <a:pt x="251" y="361"/>
                    </a:cubicBezTo>
                    <a:cubicBezTo>
                      <a:pt x="252" y="361"/>
                      <a:pt x="252" y="360"/>
                      <a:pt x="252" y="360"/>
                    </a:cubicBezTo>
                    <a:cubicBezTo>
                      <a:pt x="252" y="360"/>
                      <a:pt x="251" y="360"/>
                      <a:pt x="251" y="360"/>
                    </a:cubicBezTo>
                    <a:cubicBezTo>
                      <a:pt x="251" y="360"/>
                      <a:pt x="251" y="360"/>
                      <a:pt x="251" y="360"/>
                    </a:cubicBezTo>
                    <a:cubicBezTo>
                      <a:pt x="251" y="360"/>
                      <a:pt x="251" y="360"/>
                      <a:pt x="251" y="360"/>
                    </a:cubicBezTo>
                    <a:cubicBezTo>
                      <a:pt x="251" y="360"/>
                      <a:pt x="251" y="359"/>
                      <a:pt x="251" y="359"/>
                    </a:cubicBezTo>
                    <a:cubicBezTo>
                      <a:pt x="252" y="359"/>
                      <a:pt x="253" y="358"/>
                      <a:pt x="253" y="358"/>
                    </a:cubicBezTo>
                    <a:cubicBezTo>
                      <a:pt x="253" y="357"/>
                      <a:pt x="253" y="356"/>
                      <a:pt x="254" y="356"/>
                    </a:cubicBezTo>
                    <a:cubicBezTo>
                      <a:pt x="254" y="357"/>
                      <a:pt x="255" y="356"/>
                      <a:pt x="255" y="356"/>
                    </a:cubicBezTo>
                    <a:cubicBezTo>
                      <a:pt x="255" y="355"/>
                      <a:pt x="256" y="354"/>
                      <a:pt x="256" y="354"/>
                    </a:cubicBezTo>
                    <a:cubicBezTo>
                      <a:pt x="256" y="354"/>
                      <a:pt x="255" y="354"/>
                      <a:pt x="255" y="354"/>
                    </a:cubicBezTo>
                    <a:cubicBezTo>
                      <a:pt x="256" y="353"/>
                      <a:pt x="257" y="353"/>
                      <a:pt x="258" y="352"/>
                    </a:cubicBezTo>
                    <a:cubicBezTo>
                      <a:pt x="258" y="352"/>
                      <a:pt x="258" y="351"/>
                      <a:pt x="259" y="352"/>
                    </a:cubicBezTo>
                    <a:cubicBezTo>
                      <a:pt x="259" y="351"/>
                      <a:pt x="259" y="351"/>
                      <a:pt x="259" y="351"/>
                    </a:cubicBezTo>
                    <a:cubicBezTo>
                      <a:pt x="259" y="350"/>
                      <a:pt x="260" y="351"/>
                      <a:pt x="260" y="350"/>
                    </a:cubicBezTo>
                    <a:cubicBezTo>
                      <a:pt x="260" y="350"/>
                      <a:pt x="260" y="350"/>
                      <a:pt x="260" y="350"/>
                    </a:cubicBezTo>
                    <a:cubicBezTo>
                      <a:pt x="260" y="350"/>
                      <a:pt x="260" y="350"/>
                      <a:pt x="260" y="351"/>
                    </a:cubicBezTo>
                    <a:cubicBezTo>
                      <a:pt x="260" y="351"/>
                      <a:pt x="259" y="351"/>
                      <a:pt x="259" y="351"/>
                    </a:cubicBezTo>
                    <a:cubicBezTo>
                      <a:pt x="259" y="351"/>
                      <a:pt x="260" y="352"/>
                      <a:pt x="260" y="352"/>
                    </a:cubicBezTo>
                    <a:cubicBezTo>
                      <a:pt x="260" y="352"/>
                      <a:pt x="259" y="353"/>
                      <a:pt x="259" y="353"/>
                    </a:cubicBezTo>
                    <a:cubicBezTo>
                      <a:pt x="259" y="354"/>
                      <a:pt x="260" y="353"/>
                      <a:pt x="260" y="352"/>
                    </a:cubicBezTo>
                    <a:cubicBezTo>
                      <a:pt x="260" y="352"/>
                      <a:pt x="260" y="352"/>
                      <a:pt x="260" y="351"/>
                    </a:cubicBezTo>
                    <a:cubicBezTo>
                      <a:pt x="261" y="351"/>
                      <a:pt x="261" y="351"/>
                      <a:pt x="261" y="350"/>
                    </a:cubicBezTo>
                    <a:cubicBezTo>
                      <a:pt x="262" y="349"/>
                      <a:pt x="262" y="349"/>
                      <a:pt x="262" y="348"/>
                    </a:cubicBezTo>
                    <a:cubicBezTo>
                      <a:pt x="263" y="347"/>
                      <a:pt x="263" y="346"/>
                      <a:pt x="264" y="345"/>
                    </a:cubicBezTo>
                    <a:cubicBezTo>
                      <a:pt x="264" y="344"/>
                      <a:pt x="265" y="344"/>
                      <a:pt x="266" y="343"/>
                    </a:cubicBezTo>
                    <a:cubicBezTo>
                      <a:pt x="265" y="343"/>
                      <a:pt x="265" y="343"/>
                      <a:pt x="265" y="343"/>
                    </a:cubicBezTo>
                    <a:cubicBezTo>
                      <a:pt x="265" y="343"/>
                      <a:pt x="265" y="343"/>
                      <a:pt x="266" y="343"/>
                    </a:cubicBezTo>
                    <a:cubicBezTo>
                      <a:pt x="266" y="342"/>
                      <a:pt x="266" y="342"/>
                      <a:pt x="266" y="342"/>
                    </a:cubicBezTo>
                    <a:cubicBezTo>
                      <a:pt x="266" y="341"/>
                      <a:pt x="266" y="341"/>
                      <a:pt x="267" y="341"/>
                    </a:cubicBezTo>
                    <a:cubicBezTo>
                      <a:pt x="267" y="340"/>
                      <a:pt x="267" y="340"/>
                      <a:pt x="267" y="340"/>
                    </a:cubicBezTo>
                    <a:cubicBezTo>
                      <a:pt x="268" y="339"/>
                      <a:pt x="268" y="339"/>
                      <a:pt x="268" y="338"/>
                    </a:cubicBezTo>
                    <a:cubicBezTo>
                      <a:pt x="268" y="338"/>
                      <a:pt x="267" y="338"/>
                      <a:pt x="267" y="338"/>
                    </a:cubicBezTo>
                    <a:close/>
                    <a:moveTo>
                      <a:pt x="253" y="61"/>
                    </a:moveTo>
                    <a:cubicBezTo>
                      <a:pt x="252" y="62"/>
                      <a:pt x="252" y="62"/>
                      <a:pt x="252" y="63"/>
                    </a:cubicBezTo>
                    <a:cubicBezTo>
                      <a:pt x="253" y="62"/>
                      <a:pt x="253" y="62"/>
                      <a:pt x="253" y="61"/>
                    </a:cubicBezTo>
                    <a:close/>
                    <a:moveTo>
                      <a:pt x="361" y="110"/>
                    </a:moveTo>
                    <a:cubicBezTo>
                      <a:pt x="361" y="110"/>
                      <a:pt x="361" y="110"/>
                      <a:pt x="361" y="110"/>
                    </a:cubicBezTo>
                    <a:cubicBezTo>
                      <a:pt x="360" y="111"/>
                      <a:pt x="361" y="111"/>
                      <a:pt x="361" y="111"/>
                    </a:cubicBezTo>
                    <a:cubicBezTo>
                      <a:pt x="361" y="111"/>
                      <a:pt x="362" y="110"/>
                      <a:pt x="361" y="110"/>
                    </a:cubicBezTo>
                    <a:close/>
                    <a:moveTo>
                      <a:pt x="362" y="114"/>
                    </a:moveTo>
                    <a:cubicBezTo>
                      <a:pt x="362" y="114"/>
                      <a:pt x="361" y="115"/>
                      <a:pt x="361" y="115"/>
                    </a:cubicBezTo>
                    <a:cubicBezTo>
                      <a:pt x="362" y="114"/>
                      <a:pt x="362" y="114"/>
                      <a:pt x="362" y="114"/>
                    </a:cubicBezTo>
                    <a:close/>
                    <a:moveTo>
                      <a:pt x="195" y="19"/>
                    </a:moveTo>
                    <a:cubicBezTo>
                      <a:pt x="196" y="19"/>
                      <a:pt x="197" y="19"/>
                      <a:pt x="197" y="19"/>
                    </a:cubicBezTo>
                    <a:cubicBezTo>
                      <a:pt x="198" y="19"/>
                      <a:pt x="198" y="19"/>
                      <a:pt x="199" y="19"/>
                    </a:cubicBezTo>
                    <a:cubicBezTo>
                      <a:pt x="199" y="19"/>
                      <a:pt x="200" y="19"/>
                      <a:pt x="200" y="19"/>
                    </a:cubicBezTo>
                    <a:cubicBezTo>
                      <a:pt x="200" y="18"/>
                      <a:pt x="199" y="17"/>
                      <a:pt x="199" y="18"/>
                    </a:cubicBezTo>
                    <a:cubicBezTo>
                      <a:pt x="199" y="17"/>
                      <a:pt x="199" y="17"/>
                      <a:pt x="198" y="16"/>
                    </a:cubicBezTo>
                    <a:cubicBezTo>
                      <a:pt x="198" y="16"/>
                      <a:pt x="198" y="15"/>
                      <a:pt x="198" y="14"/>
                    </a:cubicBezTo>
                    <a:cubicBezTo>
                      <a:pt x="198" y="13"/>
                      <a:pt x="196" y="15"/>
                      <a:pt x="196" y="15"/>
                    </a:cubicBezTo>
                    <a:cubicBezTo>
                      <a:pt x="197" y="15"/>
                      <a:pt x="196" y="17"/>
                      <a:pt x="196" y="17"/>
                    </a:cubicBezTo>
                    <a:cubicBezTo>
                      <a:pt x="196" y="18"/>
                      <a:pt x="195" y="17"/>
                      <a:pt x="195" y="18"/>
                    </a:cubicBezTo>
                    <a:cubicBezTo>
                      <a:pt x="195" y="19"/>
                      <a:pt x="194" y="18"/>
                      <a:pt x="194" y="19"/>
                    </a:cubicBezTo>
                    <a:cubicBezTo>
                      <a:pt x="194" y="19"/>
                      <a:pt x="195" y="19"/>
                      <a:pt x="195" y="19"/>
                    </a:cubicBezTo>
                    <a:close/>
                    <a:moveTo>
                      <a:pt x="179" y="244"/>
                    </a:moveTo>
                    <a:cubicBezTo>
                      <a:pt x="179" y="244"/>
                      <a:pt x="180" y="244"/>
                      <a:pt x="180" y="244"/>
                    </a:cubicBezTo>
                    <a:cubicBezTo>
                      <a:pt x="180" y="244"/>
                      <a:pt x="178" y="244"/>
                      <a:pt x="179" y="244"/>
                    </a:cubicBezTo>
                    <a:close/>
                    <a:moveTo>
                      <a:pt x="219" y="12"/>
                    </a:moveTo>
                    <a:cubicBezTo>
                      <a:pt x="219" y="12"/>
                      <a:pt x="219" y="12"/>
                      <a:pt x="219" y="12"/>
                    </a:cubicBezTo>
                    <a:cubicBezTo>
                      <a:pt x="219" y="13"/>
                      <a:pt x="219" y="14"/>
                      <a:pt x="220" y="14"/>
                    </a:cubicBezTo>
                    <a:cubicBezTo>
                      <a:pt x="220" y="13"/>
                      <a:pt x="220" y="13"/>
                      <a:pt x="220" y="13"/>
                    </a:cubicBezTo>
                    <a:cubicBezTo>
                      <a:pt x="220" y="13"/>
                      <a:pt x="220" y="12"/>
                      <a:pt x="220" y="12"/>
                    </a:cubicBezTo>
                    <a:cubicBezTo>
                      <a:pt x="220" y="12"/>
                      <a:pt x="220" y="12"/>
                      <a:pt x="220" y="12"/>
                    </a:cubicBezTo>
                    <a:cubicBezTo>
                      <a:pt x="220" y="11"/>
                      <a:pt x="220" y="11"/>
                      <a:pt x="220" y="11"/>
                    </a:cubicBezTo>
                    <a:cubicBezTo>
                      <a:pt x="220" y="11"/>
                      <a:pt x="220" y="10"/>
                      <a:pt x="220" y="10"/>
                    </a:cubicBezTo>
                    <a:cubicBezTo>
                      <a:pt x="220" y="10"/>
                      <a:pt x="219" y="11"/>
                      <a:pt x="219" y="10"/>
                    </a:cubicBezTo>
                    <a:cubicBezTo>
                      <a:pt x="219" y="11"/>
                      <a:pt x="219" y="11"/>
                      <a:pt x="219" y="12"/>
                    </a:cubicBezTo>
                    <a:close/>
                    <a:moveTo>
                      <a:pt x="253" y="61"/>
                    </a:moveTo>
                    <a:cubicBezTo>
                      <a:pt x="253" y="62"/>
                      <a:pt x="253" y="62"/>
                      <a:pt x="253" y="62"/>
                    </a:cubicBezTo>
                    <a:cubicBezTo>
                      <a:pt x="254" y="62"/>
                      <a:pt x="254" y="62"/>
                      <a:pt x="254" y="62"/>
                    </a:cubicBezTo>
                    <a:cubicBezTo>
                      <a:pt x="254" y="61"/>
                      <a:pt x="254" y="62"/>
                      <a:pt x="254" y="62"/>
                    </a:cubicBezTo>
                    <a:cubicBezTo>
                      <a:pt x="254" y="62"/>
                      <a:pt x="254" y="61"/>
                      <a:pt x="253" y="61"/>
                    </a:cubicBezTo>
                    <a:close/>
                    <a:moveTo>
                      <a:pt x="204" y="282"/>
                    </a:moveTo>
                    <a:cubicBezTo>
                      <a:pt x="204" y="282"/>
                      <a:pt x="203" y="282"/>
                      <a:pt x="203" y="283"/>
                    </a:cubicBezTo>
                    <a:cubicBezTo>
                      <a:pt x="203" y="283"/>
                      <a:pt x="202" y="283"/>
                      <a:pt x="202" y="283"/>
                    </a:cubicBezTo>
                    <a:cubicBezTo>
                      <a:pt x="202" y="282"/>
                      <a:pt x="202" y="282"/>
                      <a:pt x="202" y="282"/>
                    </a:cubicBezTo>
                    <a:cubicBezTo>
                      <a:pt x="202" y="282"/>
                      <a:pt x="200" y="282"/>
                      <a:pt x="201" y="282"/>
                    </a:cubicBezTo>
                    <a:cubicBezTo>
                      <a:pt x="201" y="281"/>
                      <a:pt x="202" y="281"/>
                      <a:pt x="201" y="281"/>
                    </a:cubicBezTo>
                    <a:cubicBezTo>
                      <a:pt x="201" y="281"/>
                      <a:pt x="202" y="280"/>
                      <a:pt x="202" y="280"/>
                    </a:cubicBezTo>
                    <a:cubicBezTo>
                      <a:pt x="201" y="280"/>
                      <a:pt x="200" y="281"/>
                      <a:pt x="199" y="280"/>
                    </a:cubicBezTo>
                    <a:cubicBezTo>
                      <a:pt x="199" y="280"/>
                      <a:pt x="198" y="281"/>
                      <a:pt x="197" y="281"/>
                    </a:cubicBezTo>
                    <a:cubicBezTo>
                      <a:pt x="196" y="281"/>
                      <a:pt x="194" y="282"/>
                      <a:pt x="193" y="282"/>
                    </a:cubicBezTo>
                    <a:cubicBezTo>
                      <a:pt x="192" y="282"/>
                      <a:pt x="191" y="282"/>
                      <a:pt x="190" y="284"/>
                    </a:cubicBezTo>
                    <a:cubicBezTo>
                      <a:pt x="190" y="284"/>
                      <a:pt x="190" y="284"/>
                      <a:pt x="191" y="285"/>
                    </a:cubicBezTo>
                    <a:cubicBezTo>
                      <a:pt x="191" y="285"/>
                      <a:pt x="191" y="285"/>
                      <a:pt x="191" y="286"/>
                    </a:cubicBezTo>
                    <a:cubicBezTo>
                      <a:pt x="191" y="286"/>
                      <a:pt x="192" y="285"/>
                      <a:pt x="192" y="285"/>
                    </a:cubicBezTo>
                    <a:cubicBezTo>
                      <a:pt x="193" y="285"/>
                      <a:pt x="193" y="286"/>
                      <a:pt x="193" y="285"/>
                    </a:cubicBezTo>
                    <a:cubicBezTo>
                      <a:pt x="194" y="285"/>
                      <a:pt x="194" y="285"/>
                      <a:pt x="194" y="285"/>
                    </a:cubicBezTo>
                    <a:cubicBezTo>
                      <a:pt x="195" y="285"/>
                      <a:pt x="195" y="285"/>
                      <a:pt x="195" y="285"/>
                    </a:cubicBezTo>
                    <a:cubicBezTo>
                      <a:pt x="195" y="285"/>
                      <a:pt x="195" y="285"/>
                      <a:pt x="196" y="285"/>
                    </a:cubicBezTo>
                    <a:cubicBezTo>
                      <a:pt x="196" y="285"/>
                      <a:pt x="196" y="285"/>
                      <a:pt x="197" y="285"/>
                    </a:cubicBezTo>
                    <a:cubicBezTo>
                      <a:pt x="197" y="285"/>
                      <a:pt x="197" y="285"/>
                      <a:pt x="198" y="286"/>
                    </a:cubicBezTo>
                    <a:cubicBezTo>
                      <a:pt x="198" y="286"/>
                      <a:pt x="199" y="285"/>
                      <a:pt x="199" y="285"/>
                    </a:cubicBezTo>
                    <a:cubicBezTo>
                      <a:pt x="200" y="284"/>
                      <a:pt x="200" y="284"/>
                      <a:pt x="201" y="283"/>
                    </a:cubicBezTo>
                    <a:cubicBezTo>
                      <a:pt x="202" y="283"/>
                      <a:pt x="203" y="284"/>
                      <a:pt x="203" y="284"/>
                    </a:cubicBezTo>
                    <a:cubicBezTo>
                      <a:pt x="204" y="284"/>
                      <a:pt x="205" y="283"/>
                      <a:pt x="205" y="283"/>
                    </a:cubicBezTo>
                    <a:cubicBezTo>
                      <a:pt x="205" y="283"/>
                      <a:pt x="205" y="282"/>
                      <a:pt x="204" y="282"/>
                    </a:cubicBezTo>
                    <a:close/>
                    <a:moveTo>
                      <a:pt x="252" y="18"/>
                    </a:moveTo>
                    <a:cubicBezTo>
                      <a:pt x="254" y="17"/>
                      <a:pt x="251" y="18"/>
                      <a:pt x="252" y="18"/>
                    </a:cubicBezTo>
                    <a:close/>
                    <a:moveTo>
                      <a:pt x="219" y="18"/>
                    </a:moveTo>
                    <a:cubicBezTo>
                      <a:pt x="222" y="17"/>
                      <a:pt x="217" y="17"/>
                      <a:pt x="219" y="18"/>
                    </a:cubicBezTo>
                    <a:close/>
                    <a:moveTo>
                      <a:pt x="199" y="16"/>
                    </a:moveTo>
                    <a:cubicBezTo>
                      <a:pt x="199" y="16"/>
                      <a:pt x="199" y="16"/>
                      <a:pt x="199" y="17"/>
                    </a:cubicBezTo>
                    <a:cubicBezTo>
                      <a:pt x="199" y="17"/>
                      <a:pt x="200" y="18"/>
                      <a:pt x="201" y="19"/>
                    </a:cubicBezTo>
                    <a:cubicBezTo>
                      <a:pt x="201" y="19"/>
                      <a:pt x="202" y="19"/>
                      <a:pt x="203" y="20"/>
                    </a:cubicBezTo>
                    <a:cubicBezTo>
                      <a:pt x="204" y="21"/>
                      <a:pt x="204" y="20"/>
                      <a:pt x="205" y="19"/>
                    </a:cubicBezTo>
                    <a:cubicBezTo>
                      <a:pt x="206" y="19"/>
                      <a:pt x="206" y="18"/>
                      <a:pt x="207" y="18"/>
                    </a:cubicBezTo>
                    <a:cubicBezTo>
                      <a:pt x="207" y="18"/>
                      <a:pt x="208" y="17"/>
                      <a:pt x="208" y="17"/>
                    </a:cubicBezTo>
                    <a:cubicBezTo>
                      <a:pt x="208" y="17"/>
                      <a:pt x="208" y="17"/>
                      <a:pt x="209" y="16"/>
                    </a:cubicBezTo>
                    <a:cubicBezTo>
                      <a:pt x="209" y="15"/>
                      <a:pt x="209" y="16"/>
                      <a:pt x="209" y="15"/>
                    </a:cubicBezTo>
                    <a:cubicBezTo>
                      <a:pt x="209" y="14"/>
                      <a:pt x="209" y="15"/>
                      <a:pt x="209" y="14"/>
                    </a:cubicBezTo>
                    <a:cubicBezTo>
                      <a:pt x="209" y="14"/>
                      <a:pt x="209" y="13"/>
                      <a:pt x="208" y="13"/>
                    </a:cubicBezTo>
                    <a:cubicBezTo>
                      <a:pt x="208" y="13"/>
                      <a:pt x="208" y="13"/>
                      <a:pt x="208" y="13"/>
                    </a:cubicBezTo>
                    <a:cubicBezTo>
                      <a:pt x="208" y="13"/>
                      <a:pt x="208" y="13"/>
                      <a:pt x="207" y="13"/>
                    </a:cubicBezTo>
                    <a:cubicBezTo>
                      <a:pt x="207" y="13"/>
                      <a:pt x="207" y="12"/>
                      <a:pt x="207" y="12"/>
                    </a:cubicBezTo>
                    <a:cubicBezTo>
                      <a:pt x="206" y="13"/>
                      <a:pt x="206" y="14"/>
                      <a:pt x="206" y="14"/>
                    </a:cubicBezTo>
                    <a:cubicBezTo>
                      <a:pt x="206" y="14"/>
                      <a:pt x="206" y="15"/>
                      <a:pt x="206" y="15"/>
                    </a:cubicBezTo>
                    <a:cubicBezTo>
                      <a:pt x="206" y="14"/>
                      <a:pt x="206" y="13"/>
                      <a:pt x="205" y="13"/>
                    </a:cubicBezTo>
                    <a:cubicBezTo>
                      <a:pt x="205" y="13"/>
                      <a:pt x="205" y="14"/>
                      <a:pt x="204" y="15"/>
                    </a:cubicBezTo>
                    <a:cubicBezTo>
                      <a:pt x="205" y="14"/>
                      <a:pt x="204" y="14"/>
                      <a:pt x="203" y="14"/>
                    </a:cubicBezTo>
                    <a:cubicBezTo>
                      <a:pt x="203" y="14"/>
                      <a:pt x="201" y="14"/>
                      <a:pt x="201" y="15"/>
                    </a:cubicBezTo>
                    <a:cubicBezTo>
                      <a:pt x="201" y="15"/>
                      <a:pt x="201" y="14"/>
                      <a:pt x="201" y="14"/>
                    </a:cubicBezTo>
                    <a:cubicBezTo>
                      <a:pt x="201" y="14"/>
                      <a:pt x="200" y="15"/>
                      <a:pt x="200" y="14"/>
                    </a:cubicBezTo>
                    <a:cubicBezTo>
                      <a:pt x="200" y="14"/>
                      <a:pt x="201" y="14"/>
                      <a:pt x="200" y="13"/>
                    </a:cubicBezTo>
                    <a:cubicBezTo>
                      <a:pt x="200" y="13"/>
                      <a:pt x="200" y="13"/>
                      <a:pt x="200" y="13"/>
                    </a:cubicBezTo>
                    <a:cubicBezTo>
                      <a:pt x="199" y="13"/>
                      <a:pt x="199" y="13"/>
                      <a:pt x="199" y="13"/>
                    </a:cubicBezTo>
                    <a:cubicBezTo>
                      <a:pt x="199" y="13"/>
                      <a:pt x="199" y="11"/>
                      <a:pt x="198" y="12"/>
                    </a:cubicBezTo>
                    <a:cubicBezTo>
                      <a:pt x="198" y="13"/>
                      <a:pt x="199" y="14"/>
                      <a:pt x="199" y="14"/>
                    </a:cubicBezTo>
                    <a:cubicBezTo>
                      <a:pt x="199" y="15"/>
                      <a:pt x="199" y="15"/>
                      <a:pt x="199" y="16"/>
                    </a:cubicBezTo>
                    <a:close/>
                    <a:moveTo>
                      <a:pt x="257" y="310"/>
                    </a:moveTo>
                    <a:cubicBezTo>
                      <a:pt x="257" y="310"/>
                      <a:pt x="256" y="311"/>
                      <a:pt x="257" y="312"/>
                    </a:cubicBezTo>
                    <a:cubicBezTo>
                      <a:pt x="258" y="311"/>
                      <a:pt x="259" y="310"/>
                      <a:pt x="257" y="310"/>
                    </a:cubicBezTo>
                    <a:close/>
                    <a:moveTo>
                      <a:pt x="371" y="133"/>
                    </a:moveTo>
                    <a:cubicBezTo>
                      <a:pt x="371" y="133"/>
                      <a:pt x="371" y="135"/>
                      <a:pt x="370" y="135"/>
                    </a:cubicBezTo>
                    <a:cubicBezTo>
                      <a:pt x="371" y="135"/>
                      <a:pt x="372" y="134"/>
                      <a:pt x="371" y="133"/>
                    </a:cubicBezTo>
                    <a:close/>
                    <a:moveTo>
                      <a:pt x="373" y="148"/>
                    </a:moveTo>
                    <a:cubicBezTo>
                      <a:pt x="373" y="148"/>
                      <a:pt x="373" y="148"/>
                      <a:pt x="373" y="148"/>
                    </a:cubicBezTo>
                    <a:cubicBezTo>
                      <a:pt x="373" y="149"/>
                      <a:pt x="373" y="150"/>
                      <a:pt x="374" y="151"/>
                    </a:cubicBezTo>
                    <a:cubicBezTo>
                      <a:pt x="374" y="150"/>
                      <a:pt x="375" y="150"/>
                      <a:pt x="375" y="149"/>
                    </a:cubicBezTo>
                    <a:cubicBezTo>
                      <a:pt x="374" y="149"/>
                      <a:pt x="374" y="149"/>
                      <a:pt x="374" y="148"/>
                    </a:cubicBezTo>
                    <a:cubicBezTo>
                      <a:pt x="374" y="148"/>
                      <a:pt x="375" y="148"/>
                      <a:pt x="375" y="147"/>
                    </a:cubicBezTo>
                    <a:cubicBezTo>
                      <a:pt x="375" y="148"/>
                      <a:pt x="374" y="148"/>
                      <a:pt x="374" y="148"/>
                    </a:cubicBezTo>
                    <a:cubicBezTo>
                      <a:pt x="374" y="148"/>
                      <a:pt x="373" y="147"/>
                      <a:pt x="373" y="147"/>
                    </a:cubicBezTo>
                    <a:cubicBezTo>
                      <a:pt x="373" y="147"/>
                      <a:pt x="373" y="147"/>
                      <a:pt x="373" y="148"/>
                    </a:cubicBezTo>
                    <a:close/>
                    <a:moveTo>
                      <a:pt x="10" y="164"/>
                    </a:moveTo>
                    <a:cubicBezTo>
                      <a:pt x="11" y="163"/>
                      <a:pt x="11" y="162"/>
                      <a:pt x="11" y="161"/>
                    </a:cubicBezTo>
                    <a:cubicBezTo>
                      <a:pt x="11" y="162"/>
                      <a:pt x="10" y="163"/>
                      <a:pt x="10" y="164"/>
                    </a:cubicBezTo>
                    <a:close/>
                    <a:moveTo>
                      <a:pt x="238" y="324"/>
                    </a:moveTo>
                    <a:cubicBezTo>
                      <a:pt x="237" y="324"/>
                      <a:pt x="237" y="325"/>
                      <a:pt x="236" y="325"/>
                    </a:cubicBezTo>
                    <a:cubicBezTo>
                      <a:pt x="236" y="326"/>
                      <a:pt x="235" y="326"/>
                      <a:pt x="235" y="327"/>
                    </a:cubicBezTo>
                    <a:cubicBezTo>
                      <a:pt x="234" y="328"/>
                      <a:pt x="235" y="328"/>
                      <a:pt x="234" y="329"/>
                    </a:cubicBezTo>
                    <a:cubicBezTo>
                      <a:pt x="234" y="329"/>
                      <a:pt x="233" y="330"/>
                      <a:pt x="234" y="330"/>
                    </a:cubicBezTo>
                    <a:cubicBezTo>
                      <a:pt x="235" y="330"/>
                      <a:pt x="238" y="328"/>
                      <a:pt x="237" y="328"/>
                    </a:cubicBezTo>
                    <a:cubicBezTo>
                      <a:pt x="237" y="328"/>
                      <a:pt x="238" y="326"/>
                      <a:pt x="238" y="325"/>
                    </a:cubicBezTo>
                    <a:cubicBezTo>
                      <a:pt x="238" y="325"/>
                      <a:pt x="238" y="325"/>
                      <a:pt x="238" y="324"/>
                    </a:cubicBezTo>
                    <a:close/>
                    <a:moveTo>
                      <a:pt x="274" y="328"/>
                    </a:moveTo>
                    <a:cubicBezTo>
                      <a:pt x="273" y="328"/>
                      <a:pt x="272" y="326"/>
                      <a:pt x="273" y="326"/>
                    </a:cubicBezTo>
                    <a:cubicBezTo>
                      <a:pt x="272" y="326"/>
                      <a:pt x="270" y="327"/>
                      <a:pt x="270" y="327"/>
                    </a:cubicBezTo>
                    <a:cubicBezTo>
                      <a:pt x="270" y="328"/>
                      <a:pt x="271" y="327"/>
                      <a:pt x="271" y="328"/>
                    </a:cubicBezTo>
                    <a:cubicBezTo>
                      <a:pt x="270" y="328"/>
                      <a:pt x="270" y="329"/>
                      <a:pt x="270" y="329"/>
                    </a:cubicBezTo>
                    <a:cubicBezTo>
                      <a:pt x="270" y="329"/>
                      <a:pt x="270" y="329"/>
                      <a:pt x="270" y="330"/>
                    </a:cubicBezTo>
                    <a:cubicBezTo>
                      <a:pt x="271" y="330"/>
                      <a:pt x="270" y="330"/>
                      <a:pt x="270" y="330"/>
                    </a:cubicBezTo>
                    <a:cubicBezTo>
                      <a:pt x="270" y="331"/>
                      <a:pt x="270" y="331"/>
                      <a:pt x="270" y="331"/>
                    </a:cubicBezTo>
                    <a:cubicBezTo>
                      <a:pt x="270" y="331"/>
                      <a:pt x="270" y="331"/>
                      <a:pt x="270" y="331"/>
                    </a:cubicBezTo>
                    <a:cubicBezTo>
                      <a:pt x="270" y="332"/>
                      <a:pt x="271" y="331"/>
                      <a:pt x="272" y="331"/>
                    </a:cubicBezTo>
                    <a:cubicBezTo>
                      <a:pt x="272" y="331"/>
                      <a:pt x="273" y="332"/>
                      <a:pt x="272" y="331"/>
                    </a:cubicBezTo>
                    <a:cubicBezTo>
                      <a:pt x="272" y="331"/>
                      <a:pt x="273" y="331"/>
                      <a:pt x="273" y="331"/>
                    </a:cubicBezTo>
                    <a:cubicBezTo>
                      <a:pt x="273" y="331"/>
                      <a:pt x="273" y="330"/>
                      <a:pt x="273" y="330"/>
                    </a:cubicBezTo>
                    <a:cubicBezTo>
                      <a:pt x="273" y="330"/>
                      <a:pt x="272" y="330"/>
                      <a:pt x="272" y="330"/>
                    </a:cubicBezTo>
                    <a:cubicBezTo>
                      <a:pt x="272" y="330"/>
                      <a:pt x="274" y="328"/>
                      <a:pt x="274" y="328"/>
                    </a:cubicBezTo>
                    <a:close/>
                    <a:moveTo>
                      <a:pt x="276" y="73"/>
                    </a:moveTo>
                    <a:cubicBezTo>
                      <a:pt x="277" y="73"/>
                      <a:pt x="276" y="72"/>
                      <a:pt x="277" y="72"/>
                    </a:cubicBezTo>
                    <a:cubicBezTo>
                      <a:pt x="277" y="72"/>
                      <a:pt x="277" y="73"/>
                      <a:pt x="278" y="72"/>
                    </a:cubicBezTo>
                    <a:cubicBezTo>
                      <a:pt x="278" y="72"/>
                      <a:pt x="278" y="71"/>
                      <a:pt x="278" y="71"/>
                    </a:cubicBezTo>
                    <a:cubicBezTo>
                      <a:pt x="279" y="72"/>
                      <a:pt x="278" y="71"/>
                      <a:pt x="278" y="71"/>
                    </a:cubicBezTo>
                    <a:cubicBezTo>
                      <a:pt x="278" y="71"/>
                      <a:pt x="279" y="70"/>
                      <a:pt x="279" y="71"/>
                    </a:cubicBezTo>
                    <a:cubicBezTo>
                      <a:pt x="279" y="71"/>
                      <a:pt x="279" y="71"/>
                      <a:pt x="279" y="71"/>
                    </a:cubicBezTo>
                    <a:cubicBezTo>
                      <a:pt x="279" y="71"/>
                      <a:pt x="280" y="71"/>
                      <a:pt x="280" y="71"/>
                    </a:cubicBezTo>
                    <a:cubicBezTo>
                      <a:pt x="280" y="71"/>
                      <a:pt x="280" y="71"/>
                      <a:pt x="280" y="71"/>
                    </a:cubicBezTo>
                    <a:cubicBezTo>
                      <a:pt x="280" y="71"/>
                      <a:pt x="280" y="71"/>
                      <a:pt x="280" y="71"/>
                    </a:cubicBezTo>
                    <a:cubicBezTo>
                      <a:pt x="281" y="71"/>
                      <a:pt x="281" y="70"/>
                      <a:pt x="281" y="70"/>
                    </a:cubicBezTo>
                    <a:cubicBezTo>
                      <a:pt x="280" y="71"/>
                      <a:pt x="280" y="69"/>
                      <a:pt x="279" y="69"/>
                    </a:cubicBezTo>
                    <a:cubicBezTo>
                      <a:pt x="279" y="69"/>
                      <a:pt x="278" y="70"/>
                      <a:pt x="278" y="70"/>
                    </a:cubicBezTo>
                    <a:cubicBezTo>
                      <a:pt x="276" y="70"/>
                      <a:pt x="275" y="71"/>
                      <a:pt x="275" y="72"/>
                    </a:cubicBezTo>
                    <a:cubicBezTo>
                      <a:pt x="275" y="72"/>
                      <a:pt x="275" y="73"/>
                      <a:pt x="276" y="73"/>
                    </a:cubicBezTo>
                    <a:close/>
                    <a:moveTo>
                      <a:pt x="40" y="119"/>
                    </a:moveTo>
                    <a:cubicBezTo>
                      <a:pt x="40" y="118"/>
                      <a:pt x="41" y="118"/>
                      <a:pt x="41" y="117"/>
                    </a:cubicBezTo>
                    <a:cubicBezTo>
                      <a:pt x="41" y="116"/>
                      <a:pt x="40" y="116"/>
                      <a:pt x="40" y="117"/>
                    </a:cubicBezTo>
                    <a:cubicBezTo>
                      <a:pt x="40" y="117"/>
                      <a:pt x="39" y="118"/>
                      <a:pt x="39" y="118"/>
                    </a:cubicBezTo>
                    <a:cubicBezTo>
                      <a:pt x="39" y="119"/>
                      <a:pt x="39" y="118"/>
                      <a:pt x="40" y="119"/>
                    </a:cubicBezTo>
                    <a:close/>
                    <a:moveTo>
                      <a:pt x="339" y="89"/>
                    </a:moveTo>
                    <a:cubicBezTo>
                      <a:pt x="339" y="90"/>
                      <a:pt x="339" y="90"/>
                      <a:pt x="339" y="90"/>
                    </a:cubicBezTo>
                    <a:cubicBezTo>
                      <a:pt x="339" y="90"/>
                      <a:pt x="338" y="89"/>
                      <a:pt x="338" y="90"/>
                    </a:cubicBezTo>
                    <a:cubicBezTo>
                      <a:pt x="338" y="91"/>
                      <a:pt x="339" y="91"/>
                      <a:pt x="339" y="91"/>
                    </a:cubicBezTo>
                    <a:cubicBezTo>
                      <a:pt x="339" y="92"/>
                      <a:pt x="339" y="92"/>
                      <a:pt x="339" y="92"/>
                    </a:cubicBezTo>
                    <a:cubicBezTo>
                      <a:pt x="340" y="92"/>
                      <a:pt x="340" y="92"/>
                      <a:pt x="340" y="92"/>
                    </a:cubicBezTo>
                    <a:cubicBezTo>
                      <a:pt x="340" y="92"/>
                      <a:pt x="340" y="91"/>
                      <a:pt x="340" y="91"/>
                    </a:cubicBezTo>
                    <a:cubicBezTo>
                      <a:pt x="340" y="91"/>
                      <a:pt x="339" y="91"/>
                      <a:pt x="340" y="90"/>
                    </a:cubicBezTo>
                    <a:cubicBezTo>
                      <a:pt x="340" y="90"/>
                      <a:pt x="339" y="90"/>
                      <a:pt x="339" y="89"/>
                    </a:cubicBezTo>
                    <a:close/>
                    <a:moveTo>
                      <a:pt x="239" y="334"/>
                    </a:moveTo>
                    <a:cubicBezTo>
                      <a:pt x="239" y="334"/>
                      <a:pt x="238" y="335"/>
                      <a:pt x="238" y="335"/>
                    </a:cubicBezTo>
                    <a:cubicBezTo>
                      <a:pt x="239" y="335"/>
                      <a:pt x="240" y="334"/>
                      <a:pt x="240" y="333"/>
                    </a:cubicBezTo>
                    <a:cubicBezTo>
                      <a:pt x="240" y="333"/>
                      <a:pt x="240" y="334"/>
                      <a:pt x="239" y="334"/>
                    </a:cubicBezTo>
                    <a:cubicBezTo>
                      <a:pt x="239" y="334"/>
                      <a:pt x="239" y="334"/>
                      <a:pt x="239" y="334"/>
                    </a:cubicBezTo>
                    <a:close/>
                    <a:moveTo>
                      <a:pt x="239" y="337"/>
                    </a:moveTo>
                    <a:cubicBezTo>
                      <a:pt x="239" y="337"/>
                      <a:pt x="239" y="336"/>
                      <a:pt x="240" y="336"/>
                    </a:cubicBezTo>
                    <a:cubicBezTo>
                      <a:pt x="240" y="336"/>
                      <a:pt x="240" y="336"/>
                      <a:pt x="240" y="336"/>
                    </a:cubicBezTo>
                    <a:cubicBezTo>
                      <a:pt x="241" y="336"/>
                      <a:pt x="240" y="336"/>
                      <a:pt x="240" y="335"/>
                    </a:cubicBezTo>
                    <a:cubicBezTo>
                      <a:pt x="239" y="336"/>
                      <a:pt x="239" y="336"/>
                      <a:pt x="239" y="337"/>
                    </a:cubicBezTo>
                    <a:close/>
                    <a:moveTo>
                      <a:pt x="390" y="161"/>
                    </a:moveTo>
                    <a:cubicBezTo>
                      <a:pt x="390" y="161"/>
                      <a:pt x="390" y="162"/>
                      <a:pt x="389" y="162"/>
                    </a:cubicBezTo>
                    <a:cubicBezTo>
                      <a:pt x="390" y="162"/>
                      <a:pt x="389" y="164"/>
                      <a:pt x="389" y="165"/>
                    </a:cubicBezTo>
                    <a:cubicBezTo>
                      <a:pt x="388" y="165"/>
                      <a:pt x="387" y="166"/>
                      <a:pt x="387" y="166"/>
                    </a:cubicBezTo>
                    <a:cubicBezTo>
                      <a:pt x="386" y="167"/>
                      <a:pt x="387" y="166"/>
                      <a:pt x="387" y="167"/>
                    </a:cubicBezTo>
                    <a:cubicBezTo>
                      <a:pt x="387" y="167"/>
                      <a:pt x="387" y="167"/>
                      <a:pt x="387" y="168"/>
                    </a:cubicBezTo>
                    <a:cubicBezTo>
                      <a:pt x="387" y="168"/>
                      <a:pt x="387" y="168"/>
                      <a:pt x="386" y="168"/>
                    </a:cubicBezTo>
                    <a:cubicBezTo>
                      <a:pt x="386" y="169"/>
                      <a:pt x="386" y="170"/>
                      <a:pt x="385" y="170"/>
                    </a:cubicBezTo>
                    <a:cubicBezTo>
                      <a:pt x="385" y="170"/>
                      <a:pt x="385" y="173"/>
                      <a:pt x="386" y="173"/>
                    </a:cubicBezTo>
                    <a:cubicBezTo>
                      <a:pt x="386" y="172"/>
                      <a:pt x="386" y="172"/>
                      <a:pt x="386" y="171"/>
                    </a:cubicBezTo>
                    <a:cubicBezTo>
                      <a:pt x="386" y="170"/>
                      <a:pt x="387" y="170"/>
                      <a:pt x="387" y="169"/>
                    </a:cubicBezTo>
                    <a:cubicBezTo>
                      <a:pt x="388" y="168"/>
                      <a:pt x="389" y="167"/>
                      <a:pt x="390" y="166"/>
                    </a:cubicBezTo>
                    <a:cubicBezTo>
                      <a:pt x="390" y="165"/>
                      <a:pt x="391" y="164"/>
                      <a:pt x="391" y="164"/>
                    </a:cubicBezTo>
                    <a:cubicBezTo>
                      <a:pt x="390" y="163"/>
                      <a:pt x="390" y="163"/>
                      <a:pt x="390" y="162"/>
                    </a:cubicBezTo>
                    <a:cubicBezTo>
                      <a:pt x="390" y="162"/>
                      <a:pt x="391" y="161"/>
                      <a:pt x="390" y="161"/>
                    </a:cubicBezTo>
                    <a:close/>
                    <a:moveTo>
                      <a:pt x="144" y="49"/>
                    </a:moveTo>
                    <a:cubicBezTo>
                      <a:pt x="144" y="49"/>
                      <a:pt x="145" y="49"/>
                      <a:pt x="144" y="48"/>
                    </a:cubicBezTo>
                    <a:cubicBezTo>
                      <a:pt x="144" y="48"/>
                      <a:pt x="144" y="49"/>
                      <a:pt x="144" y="49"/>
                    </a:cubicBezTo>
                    <a:cubicBezTo>
                      <a:pt x="143" y="49"/>
                      <a:pt x="143" y="49"/>
                      <a:pt x="143" y="50"/>
                    </a:cubicBezTo>
                    <a:cubicBezTo>
                      <a:pt x="143" y="50"/>
                      <a:pt x="143" y="50"/>
                      <a:pt x="144" y="50"/>
                    </a:cubicBezTo>
                    <a:cubicBezTo>
                      <a:pt x="144" y="50"/>
                      <a:pt x="144" y="50"/>
                      <a:pt x="144" y="49"/>
                    </a:cubicBezTo>
                    <a:close/>
                    <a:moveTo>
                      <a:pt x="136" y="59"/>
                    </a:moveTo>
                    <a:cubicBezTo>
                      <a:pt x="137" y="59"/>
                      <a:pt x="137" y="59"/>
                      <a:pt x="138" y="58"/>
                    </a:cubicBezTo>
                    <a:cubicBezTo>
                      <a:pt x="137" y="58"/>
                      <a:pt x="137" y="57"/>
                      <a:pt x="137" y="57"/>
                    </a:cubicBezTo>
                    <a:cubicBezTo>
                      <a:pt x="137" y="57"/>
                      <a:pt x="136" y="57"/>
                      <a:pt x="136" y="58"/>
                    </a:cubicBezTo>
                    <a:cubicBezTo>
                      <a:pt x="136" y="58"/>
                      <a:pt x="136" y="58"/>
                      <a:pt x="136" y="58"/>
                    </a:cubicBezTo>
                    <a:cubicBezTo>
                      <a:pt x="136" y="58"/>
                      <a:pt x="137" y="58"/>
                      <a:pt x="137" y="58"/>
                    </a:cubicBezTo>
                    <a:cubicBezTo>
                      <a:pt x="137" y="58"/>
                      <a:pt x="136" y="59"/>
                      <a:pt x="136" y="59"/>
                    </a:cubicBezTo>
                    <a:close/>
                    <a:moveTo>
                      <a:pt x="256" y="63"/>
                    </a:moveTo>
                    <a:cubicBezTo>
                      <a:pt x="256" y="63"/>
                      <a:pt x="256" y="63"/>
                      <a:pt x="256" y="63"/>
                    </a:cubicBezTo>
                    <a:cubicBezTo>
                      <a:pt x="257" y="63"/>
                      <a:pt x="257" y="62"/>
                      <a:pt x="256" y="61"/>
                    </a:cubicBezTo>
                    <a:cubicBezTo>
                      <a:pt x="256" y="61"/>
                      <a:pt x="256" y="61"/>
                      <a:pt x="256" y="61"/>
                    </a:cubicBezTo>
                    <a:cubicBezTo>
                      <a:pt x="255" y="61"/>
                      <a:pt x="255" y="62"/>
                      <a:pt x="255" y="62"/>
                    </a:cubicBezTo>
                    <a:cubicBezTo>
                      <a:pt x="256" y="62"/>
                      <a:pt x="256" y="62"/>
                      <a:pt x="256" y="63"/>
                    </a:cubicBezTo>
                    <a:close/>
                    <a:moveTo>
                      <a:pt x="252" y="40"/>
                    </a:moveTo>
                    <a:cubicBezTo>
                      <a:pt x="252" y="40"/>
                      <a:pt x="252" y="40"/>
                      <a:pt x="252" y="40"/>
                    </a:cubicBezTo>
                    <a:cubicBezTo>
                      <a:pt x="251" y="39"/>
                      <a:pt x="251" y="40"/>
                      <a:pt x="251" y="40"/>
                    </a:cubicBezTo>
                    <a:cubicBezTo>
                      <a:pt x="251" y="40"/>
                      <a:pt x="251" y="40"/>
                      <a:pt x="250" y="40"/>
                    </a:cubicBezTo>
                    <a:cubicBezTo>
                      <a:pt x="250" y="40"/>
                      <a:pt x="250" y="41"/>
                      <a:pt x="250" y="41"/>
                    </a:cubicBezTo>
                    <a:cubicBezTo>
                      <a:pt x="250" y="41"/>
                      <a:pt x="251" y="42"/>
                      <a:pt x="251" y="41"/>
                    </a:cubicBezTo>
                    <a:cubicBezTo>
                      <a:pt x="251" y="41"/>
                      <a:pt x="251" y="40"/>
                      <a:pt x="251" y="41"/>
                    </a:cubicBezTo>
                    <a:cubicBezTo>
                      <a:pt x="251" y="41"/>
                      <a:pt x="251" y="41"/>
                      <a:pt x="251" y="42"/>
                    </a:cubicBezTo>
                    <a:cubicBezTo>
                      <a:pt x="252" y="41"/>
                      <a:pt x="252" y="40"/>
                      <a:pt x="252" y="40"/>
                    </a:cubicBezTo>
                    <a:close/>
                    <a:moveTo>
                      <a:pt x="276" y="78"/>
                    </a:moveTo>
                    <a:cubicBezTo>
                      <a:pt x="277" y="77"/>
                      <a:pt x="277" y="77"/>
                      <a:pt x="277" y="77"/>
                    </a:cubicBezTo>
                    <a:cubicBezTo>
                      <a:pt x="278" y="77"/>
                      <a:pt x="278" y="76"/>
                      <a:pt x="277" y="76"/>
                    </a:cubicBezTo>
                    <a:cubicBezTo>
                      <a:pt x="277" y="77"/>
                      <a:pt x="276" y="77"/>
                      <a:pt x="276" y="78"/>
                    </a:cubicBezTo>
                    <a:close/>
                    <a:moveTo>
                      <a:pt x="251" y="38"/>
                    </a:moveTo>
                    <a:cubicBezTo>
                      <a:pt x="251" y="38"/>
                      <a:pt x="251" y="37"/>
                      <a:pt x="251" y="37"/>
                    </a:cubicBezTo>
                    <a:cubicBezTo>
                      <a:pt x="252" y="37"/>
                      <a:pt x="252" y="37"/>
                      <a:pt x="252" y="37"/>
                    </a:cubicBezTo>
                    <a:cubicBezTo>
                      <a:pt x="252" y="37"/>
                      <a:pt x="251" y="36"/>
                      <a:pt x="251" y="36"/>
                    </a:cubicBezTo>
                    <a:cubicBezTo>
                      <a:pt x="252" y="37"/>
                      <a:pt x="251" y="37"/>
                      <a:pt x="251" y="38"/>
                    </a:cubicBezTo>
                    <a:close/>
                    <a:moveTo>
                      <a:pt x="313" y="8"/>
                    </a:moveTo>
                    <a:cubicBezTo>
                      <a:pt x="313" y="7"/>
                      <a:pt x="314" y="7"/>
                      <a:pt x="314" y="7"/>
                    </a:cubicBezTo>
                    <a:cubicBezTo>
                      <a:pt x="314" y="7"/>
                      <a:pt x="314" y="5"/>
                      <a:pt x="313" y="6"/>
                    </a:cubicBezTo>
                    <a:cubicBezTo>
                      <a:pt x="312" y="6"/>
                      <a:pt x="312" y="7"/>
                      <a:pt x="313" y="8"/>
                    </a:cubicBezTo>
                    <a:close/>
                    <a:moveTo>
                      <a:pt x="241" y="333"/>
                    </a:moveTo>
                    <a:cubicBezTo>
                      <a:pt x="241" y="333"/>
                      <a:pt x="240" y="334"/>
                      <a:pt x="240" y="334"/>
                    </a:cubicBezTo>
                    <a:cubicBezTo>
                      <a:pt x="240" y="334"/>
                      <a:pt x="242" y="333"/>
                      <a:pt x="241" y="333"/>
                    </a:cubicBezTo>
                    <a:close/>
                    <a:moveTo>
                      <a:pt x="383" y="191"/>
                    </a:moveTo>
                    <a:cubicBezTo>
                      <a:pt x="383" y="191"/>
                      <a:pt x="383" y="191"/>
                      <a:pt x="383" y="192"/>
                    </a:cubicBezTo>
                    <a:cubicBezTo>
                      <a:pt x="383" y="192"/>
                      <a:pt x="382" y="193"/>
                      <a:pt x="382" y="194"/>
                    </a:cubicBezTo>
                    <a:cubicBezTo>
                      <a:pt x="383" y="194"/>
                      <a:pt x="383" y="193"/>
                      <a:pt x="383" y="192"/>
                    </a:cubicBezTo>
                    <a:cubicBezTo>
                      <a:pt x="383" y="192"/>
                      <a:pt x="385" y="191"/>
                      <a:pt x="384" y="191"/>
                    </a:cubicBezTo>
                    <a:cubicBezTo>
                      <a:pt x="384" y="191"/>
                      <a:pt x="384" y="190"/>
                      <a:pt x="383" y="191"/>
                    </a:cubicBezTo>
                    <a:close/>
                    <a:moveTo>
                      <a:pt x="361" y="112"/>
                    </a:moveTo>
                    <a:cubicBezTo>
                      <a:pt x="361" y="112"/>
                      <a:pt x="361" y="111"/>
                      <a:pt x="361" y="111"/>
                    </a:cubicBezTo>
                    <a:cubicBezTo>
                      <a:pt x="361" y="111"/>
                      <a:pt x="361" y="112"/>
                      <a:pt x="361" y="112"/>
                    </a:cubicBezTo>
                    <a:cubicBezTo>
                      <a:pt x="360" y="112"/>
                      <a:pt x="361" y="112"/>
                      <a:pt x="361" y="113"/>
                    </a:cubicBezTo>
                    <a:cubicBezTo>
                      <a:pt x="361" y="113"/>
                      <a:pt x="362" y="112"/>
                      <a:pt x="362" y="112"/>
                    </a:cubicBezTo>
                    <a:cubicBezTo>
                      <a:pt x="362" y="113"/>
                      <a:pt x="362" y="112"/>
                      <a:pt x="361" y="112"/>
                    </a:cubicBezTo>
                    <a:close/>
                    <a:moveTo>
                      <a:pt x="252" y="61"/>
                    </a:moveTo>
                    <a:cubicBezTo>
                      <a:pt x="252" y="60"/>
                      <a:pt x="252" y="60"/>
                      <a:pt x="252" y="60"/>
                    </a:cubicBezTo>
                    <a:cubicBezTo>
                      <a:pt x="252" y="60"/>
                      <a:pt x="251" y="61"/>
                      <a:pt x="251" y="61"/>
                    </a:cubicBezTo>
                    <a:cubicBezTo>
                      <a:pt x="252" y="61"/>
                      <a:pt x="252" y="61"/>
                      <a:pt x="252" y="61"/>
                    </a:cubicBezTo>
                    <a:close/>
                    <a:moveTo>
                      <a:pt x="314" y="2"/>
                    </a:moveTo>
                    <a:cubicBezTo>
                      <a:pt x="315" y="2"/>
                      <a:pt x="315" y="1"/>
                      <a:pt x="315" y="1"/>
                    </a:cubicBezTo>
                    <a:cubicBezTo>
                      <a:pt x="314" y="1"/>
                      <a:pt x="314" y="1"/>
                      <a:pt x="314" y="2"/>
                    </a:cubicBezTo>
                    <a:cubicBezTo>
                      <a:pt x="314" y="2"/>
                      <a:pt x="314" y="2"/>
                      <a:pt x="314" y="2"/>
                    </a:cubicBezTo>
                    <a:close/>
                    <a:moveTo>
                      <a:pt x="191" y="273"/>
                    </a:moveTo>
                    <a:cubicBezTo>
                      <a:pt x="191" y="273"/>
                      <a:pt x="191" y="275"/>
                      <a:pt x="191" y="275"/>
                    </a:cubicBezTo>
                    <a:cubicBezTo>
                      <a:pt x="191" y="274"/>
                      <a:pt x="191" y="273"/>
                      <a:pt x="191" y="273"/>
                    </a:cubicBezTo>
                    <a:close/>
                    <a:moveTo>
                      <a:pt x="256" y="313"/>
                    </a:moveTo>
                    <a:cubicBezTo>
                      <a:pt x="256" y="313"/>
                      <a:pt x="256" y="312"/>
                      <a:pt x="256" y="312"/>
                    </a:cubicBezTo>
                    <a:cubicBezTo>
                      <a:pt x="255" y="312"/>
                      <a:pt x="255" y="312"/>
                      <a:pt x="254" y="313"/>
                    </a:cubicBezTo>
                    <a:cubicBezTo>
                      <a:pt x="255" y="313"/>
                      <a:pt x="256" y="312"/>
                      <a:pt x="256" y="313"/>
                    </a:cubicBezTo>
                    <a:close/>
                    <a:moveTo>
                      <a:pt x="10" y="166"/>
                    </a:moveTo>
                    <a:cubicBezTo>
                      <a:pt x="10" y="166"/>
                      <a:pt x="9" y="167"/>
                      <a:pt x="9" y="167"/>
                    </a:cubicBezTo>
                    <a:cubicBezTo>
                      <a:pt x="10" y="166"/>
                      <a:pt x="10" y="165"/>
                      <a:pt x="10" y="164"/>
                    </a:cubicBezTo>
                    <a:cubicBezTo>
                      <a:pt x="10" y="164"/>
                      <a:pt x="10" y="165"/>
                      <a:pt x="10" y="166"/>
                    </a:cubicBezTo>
                    <a:close/>
                    <a:moveTo>
                      <a:pt x="255" y="60"/>
                    </a:moveTo>
                    <a:cubicBezTo>
                      <a:pt x="255" y="60"/>
                      <a:pt x="254" y="61"/>
                      <a:pt x="254" y="61"/>
                    </a:cubicBezTo>
                    <a:cubicBezTo>
                      <a:pt x="255" y="61"/>
                      <a:pt x="255" y="60"/>
                      <a:pt x="255" y="60"/>
                    </a:cubicBezTo>
                    <a:close/>
                    <a:moveTo>
                      <a:pt x="254" y="357"/>
                    </a:moveTo>
                    <a:cubicBezTo>
                      <a:pt x="254" y="358"/>
                      <a:pt x="253" y="358"/>
                      <a:pt x="253" y="359"/>
                    </a:cubicBezTo>
                    <a:cubicBezTo>
                      <a:pt x="253" y="358"/>
                      <a:pt x="254" y="359"/>
                      <a:pt x="254" y="358"/>
                    </a:cubicBezTo>
                    <a:cubicBezTo>
                      <a:pt x="254" y="358"/>
                      <a:pt x="254" y="358"/>
                      <a:pt x="254" y="358"/>
                    </a:cubicBezTo>
                    <a:cubicBezTo>
                      <a:pt x="254" y="358"/>
                      <a:pt x="254" y="358"/>
                      <a:pt x="255" y="358"/>
                    </a:cubicBezTo>
                    <a:cubicBezTo>
                      <a:pt x="255" y="358"/>
                      <a:pt x="255" y="358"/>
                      <a:pt x="255" y="357"/>
                    </a:cubicBezTo>
                    <a:cubicBezTo>
                      <a:pt x="255" y="357"/>
                      <a:pt x="254" y="357"/>
                      <a:pt x="254" y="357"/>
                    </a:cubicBezTo>
                    <a:close/>
                    <a:moveTo>
                      <a:pt x="366" y="132"/>
                    </a:moveTo>
                    <a:cubicBezTo>
                      <a:pt x="365" y="132"/>
                      <a:pt x="365" y="133"/>
                      <a:pt x="365" y="134"/>
                    </a:cubicBezTo>
                    <a:cubicBezTo>
                      <a:pt x="366" y="133"/>
                      <a:pt x="366" y="132"/>
                      <a:pt x="366" y="132"/>
                    </a:cubicBezTo>
                    <a:close/>
                    <a:moveTo>
                      <a:pt x="269" y="335"/>
                    </a:moveTo>
                    <a:cubicBezTo>
                      <a:pt x="270" y="335"/>
                      <a:pt x="270" y="334"/>
                      <a:pt x="270" y="334"/>
                    </a:cubicBezTo>
                    <a:cubicBezTo>
                      <a:pt x="270" y="334"/>
                      <a:pt x="269" y="334"/>
                      <a:pt x="269" y="335"/>
                    </a:cubicBezTo>
                    <a:cubicBezTo>
                      <a:pt x="269" y="335"/>
                      <a:pt x="269" y="335"/>
                      <a:pt x="269" y="335"/>
                    </a:cubicBezTo>
                    <a:close/>
                    <a:moveTo>
                      <a:pt x="181" y="261"/>
                    </a:moveTo>
                    <a:cubicBezTo>
                      <a:pt x="181" y="260"/>
                      <a:pt x="182" y="260"/>
                      <a:pt x="182" y="260"/>
                    </a:cubicBezTo>
                    <a:cubicBezTo>
                      <a:pt x="182" y="259"/>
                      <a:pt x="181" y="260"/>
                      <a:pt x="181" y="261"/>
                    </a:cubicBezTo>
                    <a:close/>
                    <a:moveTo>
                      <a:pt x="244" y="363"/>
                    </a:moveTo>
                    <a:cubicBezTo>
                      <a:pt x="244" y="363"/>
                      <a:pt x="244" y="363"/>
                      <a:pt x="244" y="363"/>
                    </a:cubicBezTo>
                    <a:cubicBezTo>
                      <a:pt x="244" y="364"/>
                      <a:pt x="243" y="364"/>
                      <a:pt x="243" y="365"/>
                    </a:cubicBezTo>
                    <a:cubicBezTo>
                      <a:pt x="242" y="365"/>
                      <a:pt x="242" y="365"/>
                      <a:pt x="242" y="365"/>
                    </a:cubicBezTo>
                    <a:cubicBezTo>
                      <a:pt x="242" y="365"/>
                      <a:pt x="242" y="365"/>
                      <a:pt x="242" y="365"/>
                    </a:cubicBezTo>
                    <a:cubicBezTo>
                      <a:pt x="242" y="365"/>
                      <a:pt x="241" y="366"/>
                      <a:pt x="241" y="366"/>
                    </a:cubicBezTo>
                    <a:cubicBezTo>
                      <a:pt x="241" y="366"/>
                      <a:pt x="241" y="366"/>
                      <a:pt x="241" y="366"/>
                    </a:cubicBezTo>
                    <a:cubicBezTo>
                      <a:pt x="240" y="366"/>
                      <a:pt x="240" y="366"/>
                      <a:pt x="240" y="366"/>
                    </a:cubicBezTo>
                    <a:cubicBezTo>
                      <a:pt x="241" y="367"/>
                      <a:pt x="241" y="366"/>
                      <a:pt x="241" y="366"/>
                    </a:cubicBezTo>
                    <a:cubicBezTo>
                      <a:pt x="241" y="366"/>
                      <a:pt x="241" y="367"/>
                      <a:pt x="242" y="367"/>
                    </a:cubicBezTo>
                    <a:cubicBezTo>
                      <a:pt x="242" y="366"/>
                      <a:pt x="242" y="366"/>
                      <a:pt x="243" y="366"/>
                    </a:cubicBezTo>
                    <a:cubicBezTo>
                      <a:pt x="243" y="365"/>
                      <a:pt x="243" y="364"/>
                      <a:pt x="244" y="364"/>
                    </a:cubicBezTo>
                    <a:cubicBezTo>
                      <a:pt x="244" y="364"/>
                      <a:pt x="245" y="364"/>
                      <a:pt x="245" y="364"/>
                    </a:cubicBezTo>
                    <a:cubicBezTo>
                      <a:pt x="245" y="363"/>
                      <a:pt x="245" y="363"/>
                      <a:pt x="245" y="362"/>
                    </a:cubicBezTo>
                    <a:cubicBezTo>
                      <a:pt x="245" y="362"/>
                      <a:pt x="245" y="363"/>
                      <a:pt x="244" y="363"/>
                    </a:cubicBezTo>
                    <a:close/>
                    <a:moveTo>
                      <a:pt x="267" y="315"/>
                    </a:moveTo>
                    <a:cubicBezTo>
                      <a:pt x="266" y="315"/>
                      <a:pt x="264" y="315"/>
                      <a:pt x="265" y="316"/>
                    </a:cubicBezTo>
                    <a:cubicBezTo>
                      <a:pt x="266" y="315"/>
                      <a:pt x="266" y="315"/>
                      <a:pt x="267" y="315"/>
                    </a:cubicBezTo>
                    <a:close/>
                    <a:moveTo>
                      <a:pt x="8" y="175"/>
                    </a:moveTo>
                    <a:cubicBezTo>
                      <a:pt x="8" y="176"/>
                      <a:pt x="8" y="176"/>
                      <a:pt x="9" y="177"/>
                    </a:cubicBezTo>
                    <a:cubicBezTo>
                      <a:pt x="9" y="176"/>
                      <a:pt x="9" y="175"/>
                      <a:pt x="9" y="175"/>
                    </a:cubicBezTo>
                    <a:cubicBezTo>
                      <a:pt x="9" y="174"/>
                      <a:pt x="8" y="175"/>
                      <a:pt x="8" y="175"/>
                    </a:cubicBezTo>
                    <a:cubicBezTo>
                      <a:pt x="8" y="174"/>
                      <a:pt x="9" y="174"/>
                      <a:pt x="9" y="174"/>
                    </a:cubicBezTo>
                    <a:cubicBezTo>
                      <a:pt x="9" y="174"/>
                      <a:pt x="8" y="173"/>
                      <a:pt x="8" y="173"/>
                    </a:cubicBezTo>
                    <a:cubicBezTo>
                      <a:pt x="8" y="173"/>
                      <a:pt x="8" y="172"/>
                      <a:pt x="8" y="172"/>
                    </a:cubicBezTo>
                    <a:cubicBezTo>
                      <a:pt x="8" y="171"/>
                      <a:pt x="8" y="170"/>
                      <a:pt x="8" y="170"/>
                    </a:cubicBezTo>
                    <a:cubicBezTo>
                      <a:pt x="8" y="169"/>
                      <a:pt x="8" y="169"/>
                      <a:pt x="8" y="169"/>
                    </a:cubicBezTo>
                    <a:cubicBezTo>
                      <a:pt x="7" y="170"/>
                      <a:pt x="7" y="172"/>
                      <a:pt x="7" y="173"/>
                    </a:cubicBezTo>
                    <a:cubicBezTo>
                      <a:pt x="8" y="174"/>
                      <a:pt x="8" y="175"/>
                      <a:pt x="8" y="175"/>
                    </a:cubicBezTo>
                    <a:close/>
                    <a:moveTo>
                      <a:pt x="343" y="99"/>
                    </a:moveTo>
                    <a:cubicBezTo>
                      <a:pt x="343" y="99"/>
                      <a:pt x="343" y="99"/>
                      <a:pt x="343" y="99"/>
                    </a:cubicBezTo>
                    <a:cubicBezTo>
                      <a:pt x="343" y="99"/>
                      <a:pt x="342" y="100"/>
                      <a:pt x="343" y="100"/>
                    </a:cubicBezTo>
                    <a:cubicBezTo>
                      <a:pt x="343" y="100"/>
                      <a:pt x="343" y="100"/>
                      <a:pt x="343" y="99"/>
                    </a:cubicBezTo>
                    <a:close/>
                    <a:moveTo>
                      <a:pt x="253" y="22"/>
                    </a:moveTo>
                    <a:cubicBezTo>
                      <a:pt x="254" y="22"/>
                      <a:pt x="254" y="22"/>
                      <a:pt x="255" y="21"/>
                    </a:cubicBezTo>
                    <a:cubicBezTo>
                      <a:pt x="255" y="21"/>
                      <a:pt x="255" y="21"/>
                      <a:pt x="255" y="21"/>
                    </a:cubicBezTo>
                    <a:cubicBezTo>
                      <a:pt x="254" y="21"/>
                      <a:pt x="253" y="22"/>
                      <a:pt x="254" y="21"/>
                    </a:cubicBezTo>
                    <a:cubicBezTo>
                      <a:pt x="254" y="21"/>
                      <a:pt x="253" y="22"/>
                      <a:pt x="253" y="22"/>
                    </a:cubicBezTo>
                    <a:cubicBezTo>
                      <a:pt x="253" y="21"/>
                      <a:pt x="253" y="21"/>
                      <a:pt x="253" y="21"/>
                    </a:cubicBezTo>
                    <a:cubicBezTo>
                      <a:pt x="253" y="22"/>
                      <a:pt x="253" y="22"/>
                      <a:pt x="253" y="22"/>
                    </a:cubicBezTo>
                    <a:close/>
                    <a:moveTo>
                      <a:pt x="384" y="187"/>
                    </a:moveTo>
                    <a:cubicBezTo>
                      <a:pt x="383" y="188"/>
                      <a:pt x="383" y="189"/>
                      <a:pt x="383" y="190"/>
                    </a:cubicBezTo>
                    <a:cubicBezTo>
                      <a:pt x="384" y="189"/>
                      <a:pt x="384" y="189"/>
                      <a:pt x="384" y="188"/>
                    </a:cubicBezTo>
                    <a:cubicBezTo>
                      <a:pt x="384" y="187"/>
                      <a:pt x="385" y="187"/>
                      <a:pt x="385" y="187"/>
                    </a:cubicBezTo>
                    <a:cubicBezTo>
                      <a:pt x="385" y="186"/>
                      <a:pt x="384" y="187"/>
                      <a:pt x="384" y="187"/>
                    </a:cubicBezTo>
                    <a:close/>
                    <a:moveTo>
                      <a:pt x="153" y="42"/>
                    </a:moveTo>
                    <a:cubicBezTo>
                      <a:pt x="153" y="42"/>
                      <a:pt x="153" y="42"/>
                      <a:pt x="153" y="42"/>
                    </a:cubicBezTo>
                    <a:cubicBezTo>
                      <a:pt x="153" y="42"/>
                      <a:pt x="153" y="42"/>
                      <a:pt x="153" y="42"/>
                    </a:cubicBezTo>
                    <a:close/>
                    <a:moveTo>
                      <a:pt x="385" y="173"/>
                    </a:moveTo>
                    <a:cubicBezTo>
                      <a:pt x="385" y="174"/>
                      <a:pt x="385" y="174"/>
                      <a:pt x="384" y="175"/>
                    </a:cubicBezTo>
                    <a:cubicBezTo>
                      <a:pt x="384" y="174"/>
                      <a:pt x="385" y="174"/>
                      <a:pt x="385" y="173"/>
                    </a:cubicBezTo>
                    <a:cubicBezTo>
                      <a:pt x="385" y="173"/>
                      <a:pt x="385" y="173"/>
                      <a:pt x="384" y="172"/>
                    </a:cubicBezTo>
                    <a:cubicBezTo>
                      <a:pt x="384" y="172"/>
                      <a:pt x="384" y="172"/>
                      <a:pt x="384" y="171"/>
                    </a:cubicBezTo>
                    <a:cubicBezTo>
                      <a:pt x="384" y="171"/>
                      <a:pt x="384" y="170"/>
                      <a:pt x="385" y="170"/>
                    </a:cubicBezTo>
                    <a:cubicBezTo>
                      <a:pt x="385" y="170"/>
                      <a:pt x="385" y="170"/>
                      <a:pt x="385" y="170"/>
                    </a:cubicBezTo>
                    <a:cubicBezTo>
                      <a:pt x="386" y="169"/>
                      <a:pt x="385" y="169"/>
                      <a:pt x="385" y="169"/>
                    </a:cubicBezTo>
                    <a:cubicBezTo>
                      <a:pt x="385" y="169"/>
                      <a:pt x="386" y="167"/>
                      <a:pt x="385" y="167"/>
                    </a:cubicBezTo>
                    <a:cubicBezTo>
                      <a:pt x="385" y="167"/>
                      <a:pt x="385" y="167"/>
                      <a:pt x="384" y="167"/>
                    </a:cubicBezTo>
                    <a:cubicBezTo>
                      <a:pt x="384" y="167"/>
                      <a:pt x="384" y="167"/>
                      <a:pt x="384" y="167"/>
                    </a:cubicBezTo>
                    <a:cubicBezTo>
                      <a:pt x="384" y="167"/>
                      <a:pt x="383" y="166"/>
                      <a:pt x="383" y="166"/>
                    </a:cubicBezTo>
                    <a:cubicBezTo>
                      <a:pt x="383" y="166"/>
                      <a:pt x="383" y="166"/>
                      <a:pt x="383" y="166"/>
                    </a:cubicBezTo>
                    <a:cubicBezTo>
                      <a:pt x="383" y="165"/>
                      <a:pt x="383" y="165"/>
                      <a:pt x="383" y="164"/>
                    </a:cubicBezTo>
                    <a:cubicBezTo>
                      <a:pt x="383" y="163"/>
                      <a:pt x="383" y="162"/>
                      <a:pt x="382" y="161"/>
                    </a:cubicBezTo>
                    <a:cubicBezTo>
                      <a:pt x="381" y="160"/>
                      <a:pt x="380" y="160"/>
                      <a:pt x="380" y="158"/>
                    </a:cubicBezTo>
                    <a:cubicBezTo>
                      <a:pt x="379" y="158"/>
                      <a:pt x="380" y="157"/>
                      <a:pt x="379" y="156"/>
                    </a:cubicBezTo>
                    <a:cubicBezTo>
                      <a:pt x="379" y="156"/>
                      <a:pt x="379" y="155"/>
                      <a:pt x="379" y="155"/>
                    </a:cubicBezTo>
                    <a:cubicBezTo>
                      <a:pt x="379" y="156"/>
                      <a:pt x="378" y="154"/>
                      <a:pt x="378" y="153"/>
                    </a:cubicBezTo>
                    <a:cubicBezTo>
                      <a:pt x="378" y="153"/>
                      <a:pt x="378" y="154"/>
                      <a:pt x="378" y="154"/>
                    </a:cubicBezTo>
                    <a:cubicBezTo>
                      <a:pt x="377" y="153"/>
                      <a:pt x="378" y="154"/>
                      <a:pt x="378" y="153"/>
                    </a:cubicBezTo>
                    <a:cubicBezTo>
                      <a:pt x="378" y="153"/>
                      <a:pt x="377" y="153"/>
                      <a:pt x="377" y="153"/>
                    </a:cubicBezTo>
                    <a:cubicBezTo>
                      <a:pt x="377" y="153"/>
                      <a:pt x="378" y="154"/>
                      <a:pt x="377" y="154"/>
                    </a:cubicBezTo>
                    <a:cubicBezTo>
                      <a:pt x="378" y="154"/>
                      <a:pt x="376" y="154"/>
                      <a:pt x="376" y="154"/>
                    </a:cubicBezTo>
                    <a:cubicBezTo>
                      <a:pt x="376" y="154"/>
                      <a:pt x="376" y="154"/>
                      <a:pt x="376" y="153"/>
                    </a:cubicBezTo>
                    <a:cubicBezTo>
                      <a:pt x="376" y="153"/>
                      <a:pt x="375" y="153"/>
                      <a:pt x="375" y="153"/>
                    </a:cubicBezTo>
                    <a:cubicBezTo>
                      <a:pt x="375" y="152"/>
                      <a:pt x="375" y="152"/>
                      <a:pt x="374" y="151"/>
                    </a:cubicBezTo>
                    <a:cubicBezTo>
                      <a:pt x="374" y="151"/>
                      <a:pt x="373" y="151"/>
                      <a:pt x="373" y="150"/>
                    </a:cubicBezTo>
                    <a:cubicBezTo>
                      <a:pt x="373" y="149"/>
                      <a:pt x="373" y="149"/>
                      <a:pt x="373" y="148"/>
                    </a:cubicBezTo>
                    <a:cubicBezTo>
                      <a:pt x="372" y="148"/>
                      <a:pt x="372" y="148"/>
                      <a:pt x="371" y="148"/>
                    </a:cubicBezTo>
                    <a:cubicBezTo>
                      <a:pt x="371" y="148"/>
                      <a:pt x="371" y="148"/>
                      <a:pt x="371" y="148"/>
                    </a:cubicBezTo>
                    <a:cubicBezTo>
                      <a:pt x="372" y="148"/>
                      <a:pt x="371" y="147"/>
                      <a:pt x="371" y="146"/>
                    </a:cubicBezTo>
                    <a:cubicBezTo>
                      <a:pt x="371" y="146"/>
                      <a:pt x="372" y="145"/>
                      <a:pt x="372" y="145"/>
                    </a:cubicBezTo>
                    <a:cubicBezTo>
                      <a:pt x="372" y="144"/>
                      <a:pt x="371" y="144"/>
                      <a:pt x="371" y="144"/>
                    </a:cubicBezTo>
                    <a:cubicBezTo>
                      <a:pt x="371" y="144"/>
                      <a:pt x="371" y="144"/>
                      <a:pt x="371" y="143"/>
                    </a:cubicBezTo>
                    <a:cubicBezTo>
                      <a:pt x="371" y="143"/>
                      <a:pt x="372" y="142"/>
                      <a:pt x="371" y="141"/>
                    </a:cubicBezTo>
                    <a:cubicBezTo>
                      <a:pt x="372" y="141"/>
                      <a:pt x="372" y="140"/>
                      <a:pt x="373" y="139"/>
                    </a:cubicBezTo>
                    <a:cubicBezTo>
                      <a:pt x="373" y="139"/>
                      <a:pt x="373" y="139"/>
                      <a:pt x="373" y="138"/>
                    </a:cubicBezTo>
                    <a:cubicBezTo>
                      <a:pt x="373" y="138"/>
                      <a:pt x="373" y="137"/>
                      <a:pt x="373" y="137"/>
                    </a:cubicBezTo>
                    <a:cubicBezTo>
                      <a:pt x="373" y="137"/>
                      <a:pt x="372" y="138"/>
                      <a:pt x="372" y="138"/>
                    </a:cubicBezTo>
                    <a:cubicBezTo>
                      <a:pt x="372" y="138"/>
                      <a:pt x="372" y="137"/>
                      <a:pt x="372" y="137"/>
                    </a:cubicBezTo>
                    <a:cubicBezTo>
                      <a:pt x="372" y="137"/>
                      <a:pt x="372" y="137"/>
                      <a:pt x="372" y="137"/>
                    </a:cubicBezTo>
                    <a:cubicBezTo>
                      <a:pt x="372" y="136"/>
                      <a:pt x="373" y="137"/>
                      <a:pt x="373" y="136"/>
                    </a:cubicBezTo>
                    <a:cubicBezTo>
                      <a:pt x="373" y="136"/>
                      <a:pt x="372" y="136"/>
                      <a:pt x="372" y="136"/>
                    </a:cubicBezTo>
                    <a:cubicBezTo>
                      <a:pt x="372" y="136"/>
                      <a:pt x="372" y="135"/>
                      <a:pt x="372" y="135"/>
                    </a:cubicBezTo>
                    <a:cubicBezTo>
                      <a:pt x="372" y="135"/>
                      <a:pt x="372" y="135"/>
                      <a:pt x="372" y="136"/>
                    </a:cubicBezTo>
                    <a:cubicBezTo>
                      <a:pt x="371" y="135"/>
                      <a:pt x="372" y="135"/>
                      <a:pt x="372" y="135"/>
                    </a:cubicBezTo>
                    <a:cubicBezTo>
                      <a:pt x="371" y="135"/>
                      <a:pt x="371" y="135"/>
                      <a:pt x="371" y="135"/>
                    </a:cubicBezTo>
                    <a:cubicBezTo>
                      <a:pt x="371" y="136"/>
                      <a:pt x="371" y="137"/>
                      <a:pt x="371" y="138"/>
                    </a:cubicBezTo>
                    <a:cubicBezTo>
                      <a:pt x="370" y="137"/>
                      <a:pt x="370" y="137"/>
                      <a:pt x="369" y="136"/>
                    </a:cubicBezTo>
                    <a:cubicBezTo>
                      <a:pt x="369" y="136"/>
                      <a:pt x="368" y="136"/>
                      <a:pt x="368" y="135"/>
                    </a:cubicBezTo>
                    <a:cubicBezTo>
                      <a:pt x="367" y="135"/>
                      <a:pt x="368" y="134"/>
                      <a:pt x="367" y="134"/>
                    </a:cubicBezTo>
                    <a:cubicBezTo>
                      <a:pt x="367" y="134"/>
                      <a:pt x="367" y="133"/>
                      <a:pt x="367" y="133"/>
                    </a:cubicBezTo>
                    <a:cubicBezTo>
                      <a:pt x="367" y="132"/>
                      <a:pt x="366" y="133"/>
                      <a:pt x="366" y="133"/>
                    </a:cubicBezTo>
                    <a:cubicBezTo>
                      <a:pt x="365" y="134"/>
                      <a:pt x="365" y="134"/>
                      <a:pt x="365" y="135"/>
                    </a:cubicBezTo>
                    <a:cubicBezTo>
                      <a:pt x="365" y="136"/>
                      <a:pt x="365" y="137"/>
                      <a:pt x="366" y="138"/>
                    </a:cubicBezTo>
                    <a:cubicBezTo>
                      <a:pt x="365" y="138"/>
                      <a:pt x="365" y="137"/>
                      <a:pt x="365" y="137"/>
                    </a:cubicBezTo>
                    <a:cubicBezTo>
                      <a:pt x="365" y="136"/>
                      <a:pt x="364" y="136"/>
                      <a:pt x="364" y="136"/>
                    </a:cubicBezTo>
                    <a:cubicBezTo>
                      <a:pt x="364" y="135"/>
                      <a:pt x="363" y="136"/>
                      <a:pt x="362" y="136"/>
                    </a:cubicBezTo>
                    <a:cubicBezTo>
                      <a:pt x="363" y="136"/>
                      <a:pt x="363" y="135"/>
                      <a:pt x="363" y="135"/>
                    </a:cubicBezTo>
                    <a:cubicBezTo>
                      <a:pt x="363" y="134"/>
                      <a:pt x="362" y="134"/>
                      <a:pt x="362" y="134"/>
                    </a:cubicBezTo>
                    <a:cubicBezTo>
                      <a:pt x="362" y="134"/>
                      <a:pt x="362" y="134"/>
                      <a:pt x="362" y="133"/>
                    </a:cubicBezTo>
                    <a:cubicBezTo>
                      <a:pt x="362" y="133"/>
                      <a:pt x="362" y="132"/>
                      <a:pt x="362" y="131"/>
                    </a:cubicBezTo>
                    <a:cubicBezTo>
                      <a:pt x="362" y="130"/>
                      <a:pt x="362" y="129"/>
                      <a:pt x="362" y="128"/>
                    </a:cubicBezTo>
                    <a:cubicBezTo>
                      <a:pt x="363" y="128"/>
                      <a:pt x="362" y="127"/>
                      <a:pt x="362" y="127"/>
                    </a:cubicBezTo>
                    <a:cubicBezTo>
                      <a:pt x="363" y="127"/>
                      <a:pt x="363" y="127"/>
                      <a:pt x="363" y="126"/>
                    </a:cubicBezTo>
                    <a:cubicBezTo>
                      <a:pt x="363" y="126"/>
                      <a:pt x="362" y="127"/>
                      <a:pt x="362" y="126"/>
                    </a:cubicBezTo>
                    <a:cubicBezTo>
                      <a:pt x="362" y="125"/>
                      <a:pt x="362" y="126"/>
                      <a:pt x="361" y="126"/>
                    </a:cubicBezTo>
                    <a:cubicBezTo>
                      <a:pt x="361" y="125"/>
                      <a:pt x="361" y="125"/>
                      <a:pt x="362" y="125"/>
                    </a:cubicBezTo>
                    <a:cubicBezTo>
                      <a:pt x="362" y="125"/>
                      <a:pt x="361" y="125"/>
                      <a:pt x="361" y="125"/>
                    </a:cubicBezTo>
                    <a:cubicBezTo>
                      <a:pt x="362" y="124"/>
                      <a:pt x="362" y="123"/>
                      <a:pt x="362" y="123"/>
                    </a:cubicBezTo>
                    <a:cubicBezTo>
                      <a:pt x="361" y="123"/>
                      <a:pt x="361" y="123"/>
                      <a:pt x="361" y="123"/>
                    </a:cubicBezTo>
                    <a:cubicBezTo>
                      <a:pt x="361" y="122"/>
                      <a:pt x="361" y="122"/>
                      <a:pt x="361" y="122"/>
                    </a:cubicBezTo>
                    <a:cubicBezTo>
                      <a:pt x="362" y="121"/>
                      <a:pt x="361" y="119"/>
                      <a:pt x="360" y="120"/>
                    </a:cubicBezTo>
                    <a:cubicBezTo>
                      <a:pt x="360" y="120"/>
                      <a:pt x="360" y="119"/>
                      <a:pt x="360" y="119"/>
                    </a:cubicBezTo>
                    <a:cubicBezTo>
                      <a:pt x="360" y="119"/>
                      <a:pt x="360" y="119"/>
                      <a:pt x="360" y="119"/>
                    </a:cubicBezTo>
                    <a:cubicBezTo>
                      <a:pt x="361" y="119"/>
                      <a:pt x="360" y="119"/>
                      <a:pt x="360" y="119"/>
                    </a:cubicBezTo>
                    <a:cubicBezTo>
                      <a:pt x="360" y="119"/>
                      <a:pt x="360" y="119"/>
                      <a:pt x="359" y="119"/>
                    </a:cubicBezTo>
                    <a:cubicBezTo>
                      <a:pt x="359" y="119"/>
                      <a:pt x="359" y="119"/>
                      <a:pt x="358" y="119"/>
                    </a:cubicBezTo>
                    <a:cubicBezTo>
                      <a:pt x="358" y="119"/>
                      <a:pt x="359" y="118"/>
                      <a:pt x="359" y="118"/>
                    </a:cubicBezTo>
                    <a:cubicBezTo>
                      <a:pt x="358" y="117"/>
                      <a:pt x="358" y="117"/>
                      <a:pt x="358" y="117"/>
                    </a:cubicBezTo>
                    <a:cubicBezTo>
                      <a:pt x="358" y="116"/>
                      <a:pt x="358" y="116"/>
                      <a:pt x="358" y="116"/>
                    </a:cubicBezTo>
                    <a:cubicBezTo>
                      <a:pt x="357" y="116"/>
                      <a:pt x="357" y="116"/>
                      <a:pt x="357" y="115"/>
                    </a:cubicBezTo>
                    <a:cubicBezTo>
                      <a:pt x="357" y="115"/>
                      <a:pt x="358" y="115"/>
                      <a:pt x="358" y="115"/>
                    </a:cubicBezTo>
                    <a:cubicBezTo>
                      <a:pt x="358" y="115"/>
                      <a:pt x="358" y="113"/>
                      <a:pt x="358" y="114"/>
                    </a:cubicBezTo>
                    <a:cubicBezTo>
                      <a:pt x="358" y="114"/>
                      <a:pt x="359" y="114"/>
                      <a:pt x="359" y="114"/>
                    </a:cubicBezTo>
                    <a:cubicBezTo>
                      <a:pt x="359" y="114"/>
                      <a:pt x="359" y="114"/>
                      <a:pt x="359" y="114"/>
                    </a:cubicBezTo>
                    <a:cubicBezTo>
                      <a:pt x="359" y="115"/>
                      <a:pt x="360" y="115"/>
                      <a:pt x="360" y="115"/>
                    </a:cubicBezTo>
                    <a:cubicBezTo>
                      <a:pt x="360" y="115"/>
                      <a:pt x="360" y="114"/>
                      <a:pt x="360" y="114"/>
                    </a:cubicBezTo>
                    <a:cubicBezTo>
                      <a:pt x="360" y="114"/>
                      <a:pt x="359" y="114"/>
                      <a:pt x="359" y="113"/>
                    </a:cubicBezTo>
                    <a:cubicBezTo>
                      <a:pt x="360" y="113"/>
                      <a:pt x="359" y="113"/>
                      <a:pt x="359" y="112"/>
                    </a:cubicBezTo>
                    <a:cubicBezTo>
                      <a:pt x="359" y="111"/>
                      <a:pt x="358" y="112"/>
                      <a:pt x="358" y="112"/>
                    </a:cubicBezTo>
                    <a:cubicBezTo>
                      <a:pt x="358" y="111"/>
                      <a:pt x="358" y="111"/>
                      <a:pt x="358" y="111"/>
                    </a:cubicBezTo>
                    <a:cubicBezTo>
                      <a:pt x="358" y="112"/>
                      <a:pt x="357" y="110"/>
                      <a:pt x="357" y="110"/>
                    </a:cubicBezTo>
                    <a:cubicBezTo>
                      <a:pt x="357" y="110"/>
                      <a:pt x="357" y="110"/>
                      <a:pt x="357" y="110"/>
                    </a:cubicBezTo>
                    <a:cubicBezTo>
                      <a:pt x="356" y="110"/>
                      <a:pt x="356" y="110"/>
                      <a:pt x="356" y="110"/>
                    </a:cubicBezTo>
                    <a:cubicBezTo>
                      <a:pt x="357" y="110"/>
                      <a:pt x="356" y="111"/>
                      <a:pt x="356" y="111"/>
                    </a:cubicBezTo>
                    <a:cubicBezTo>
                      <a:pt x="356" y="111"/>
                      <a:pt x="356" y="111"/>
                      <a:pt x="356" y="111"/>
                    </a:cubicBezTo>
                    <a:cubicBezTo>
                      <a:pt x="356" y="111"/>
                      <a:pt x="356" y="111"/>
                      <a:pt x="356" y="111"/>
                    </a:cubicBezTo>
                    <a:cubicBezTo>
                      <a:pt x="356" y="111"/>
                      <a:pt x="356" y="111"/>
                      <a:pt x="356" y="111"/>
                    </a:cubicBezTo>
                    <a:cubicBezTo>
                      <a:pt x="356" y="111"/>
                      <a:pt x="355" y="111"/>
                      <a:pt x="355" y="110"/>
                    </a:cubicBezTo>
                    <a:cubicBezTo>
                      <a:pt x="355" y="110"/>
                      <a:pt x="355" y="109"/>
                      <a:pt x="355" y="109"/>
                    </a:cubicBezTo>
                    <a:cubicBezTo>
                      <a:pt x="354" y="108"/>
                      <a:pt x="354" y="109"/>
                      <a:pt x="354" y="108"/>
                    </a:cubicBezTo>
                    <a:cubicBezTo>
                      <a:pt x="353" y="108"/>
                      <a:pt x="353" y="108"/>
                      <a:pt x="353" y="108"/>
                    </a:cubicBezTo>
                    <a:cubicBezTo>
                      <a:pt x="353" y="108"/>
                      <a:pt x="353" y="108"/>
                      <a:pt x="352" y="108"/>
                    </a:cubicBezTo>
                    <a:cubicBezTo>
                      <a:pt x="351" y="108"/>
                      <a:pt x="351" y="107"/>
                      <a:pt x="351" y="107"/>
                    </a:cubicBezTo>
                    <a:cubicBezTo>
                      <a:pt x="351" y="106"/>
                      <a:pt x="351" y="106"/>
                      <a:pt x="351" y="106"/>
                    </a:cubicBezTo>
                    <a:cubicBezTo>
                      <a:pt x="350" y="106"/>
                      <a:pt x="351" y="107"/>
                      <a:pt x="350" y="107"/>
                    </a:cubicBezTo>
                    <a:cubicBezTo>
                      <a:pt x="350" y="108"/>
                      <a:pt x="349" y="106"/>
                      <a:pt x="349" y="106"/>
                    </a:cubicBezTo>
                    <a:cubicBezTo>
                      <a:pt x="350" y="106"/>
                      <a:pt x="349" y="104"/>
                      <a:pt x="349" y="104"/>
                    </a:cubicBezTo>
                    <a:cubicBezTo>
                      <a:pt x="349" y="103"/>
                      <a:pt x="349" y="103"/>
                      <a:pt x="349" y="102"/>
                    </a:cubicBezTo>
                    <a:cubicBezTo>
                      <a:pt x="349" y="102"/>
                      <a:pt x="348" y="101"/>
                      <a:pt x="348" y="101"/>
                    </a:cubicBezTo>
                    <a:cubicBezTo>
                      <a:pt x="348" y="102"/>
                      <a:pt x="349" y="102"/>
                      <a:pt x="348" y="102"/>
                    </a:cubicBezTo>
                    <a:cubicBezTo>
                      <a:pt x="348" y="103"/>
                      <a:pt x="347" y="103"/>
                      <a:pt x="346" y="103"/>
                    </a:cubicBezTo>
                    <a:cubicBezTo>
                      <a:pt x="345" y="103"/>
                      <a:pt x="345" y="102"/>
                      <a:pt x="345" y="102"/>
                    </a:cubicBezTo>
                    <a:cubicBezTo>
                      <a:pt x="345" y="101"/>
                      <a:pt x="345" y="101"/>
                      <a:pt x="345" y="100"/>
                    </a:cubicBezTo>
                    <a:cubicBezTo>
                      <a:pt x="345" y="101"/>
                      <a:pt x="344" y="101"/>
                      <a:pt x="344" y="101"/>
                    </a:cubicBezTo>
                    <a:cubicBezTo>
                      <a:pt x="343" y="101"/>
                      <a:pt x="343" y="101"/>
                      <a:pt x="342" y="100"/>
                    </a:cubicBezTo>
                    <a:cubicBezTo>
                      <a:pt x="342" y="100"/>
                      <a:pt x="341" y="100"/>
                      <a:pt x="341" y="100"/>
                    </a:cubicBezTo>
                    <a:cubicBezTo>
                      <a:pt x="341" y="100"/>
                      <a:pt x="340" y="99"/>
                      <a:pt x="340" y="99"/>
                    </a:cubicBezTo>
                    <a:cubicBezTo>
                      <a:pt x="339" y="97"/>
                      <a:pt x="338" y="96"/>
                      <a:pt x="339" y="95"/>
                    </a:cubicBezTo>
                    <a:cubicBezTo>
                      <a:pt x="339" y="94"/>
                      <a:pt x="340" y="94"/>
                      <a:pt x="340" y="93"/>
                    </a:cubicBezTo>
                    <a:cubicBezTo>
                      <a:pt x="340" y="93"/>
                      <a:pt x="339" y="93"/>
                      <a:pt x="339" y="93"/>
                    </a:cubicBezTo>
                    <a:cubicBezTo>
                      <a:pt x="338" y="92"/>
                      <a:pt x="339" y="92"/>
                      <a:pt x="338" y="91"/>
                    </a:cubicBezTo>
                    <a:cubicBezTo>
                      <a:pt x="337" y="90"/>
                      <a:pt x="337" y="89"/>
                      <a:pt x="338" y="88"/>
                    </a:cubicBezTo>
                    <a:cubicBezTo>
                      <a:pt x="338" y="87"/>
                      <a:pt x="339" y="87"/>
                      <a:pt x="339" y="85"/>
                    </a:cubicBezTo>
                    <a:cubicBezTo>
                      <a:pt x="339" y="84"/>
                      <a:pt x="340" y="83"/>
                      <a:pt x="340" y="83"/>
                    </a:cubicBezTo>
                    <a:cubicBezTo>
                      <a:pt x="339" y="82"/>
                      <a:pt x="339" y="82"/>
                      <a:pt x="339" y="81"/>
                    </a:cubicBezTo>
                    <a:cubicBezTo>
                      <a:pt x="340" y="81"/>
                      <a:pt x="339" y="80"/>
                      <a:pt x="339" y="80"/>
                    </a:cubicBezTo>
                    <a:cubicBezTo>
                      <a:pt x="339" y="79"/>
                      <a:pt x="339" y="79"/>
                      <a:pt x="339" y="78"/>
                    </a:cubicBezTo>
                    <a:cubicBezTo>
                      <a:pt x="339" y="77"/>
                      <a:pt x="338" y="77"/>
                      <a:pt x="338" y="77"/>
                    </a:cubicBezTo>
                    <a:cubicBezTo>
                      <a:pt x="338" y="76"/>
                      <a:pt x="339" y="76"/>
                      <a:pt x="339" y="75"/>
                    </a:cubicBezTo>
                    <a:cubicBezTo>
                      <a:pt x="339" y="75"/>
                      <a:pt x="339" y="74"/>
                      <a:pt x="339" y="75"/>
                    </a:cubicBezTo>
                    <a:cubicBezTo>
                      <a:pt x="339" y="75"/>
                      <a:pt x="339" y="75"/>
                      <a:pt x="339" y="75"/>
                    </a:cubicBezTo>
                    <a:cubicBezTo>
                      <a:pt x="338" y="75"/>
                      <a:pt x="338" y="75"/>
                      <a:pt x="338" y="75"/>
                    </a:cubicBezTo>
                    <a:cubicBezTo>
                      <a:pt x="338" y="75"/>
                      <a:pt x="338" y="76"/>
                      <a:pt x="338" y="76"/>
                    </a:cubicBezTo>
                    <a:cubicBezTo>
                      <a:pt x="337" y="76"/>
                      <a:pt x="338" y="75"/>
                      <a:pt x="338" y="75"/>
                    </a:cubicBezTo>
                    <a:cubicBezTo>
                      <a:pt x="338" y="74"/>
                      <a:pt x="337" y="74"/>
                      <a:pt x="337" y="73"/>
                    </a:cubicBezTo>
                    <a:cubicBezTo>
                      <a:pt x="336" y="72"/>
                      <a:pt x="336" y="72"/>
                      <a:pt x="336" y="71"/>
                    </a:cubicBezTo>
                    <a:cubicBezTo>
                      <a:pt x="335" y="70"/>
                      <a:pt x="335" y="70"/>
                      <a:pt x="335" y="69"/>
                    </a:cubicBezTo>
                    <a:cubicBezTo>
                      <a:pt x="335" y="69"/>
                      <a:pt x="335" y="69"/>
                      <a:pt x="336" y="68"/>
                    </a:cubicBezTo>
                    <a:cubicBezTo>
                      <a:pt x="336" y="68"/>
                      <a:pt x="336" y="68"/>
                      <a:pt x="336" y="68"/>
                    </a:cubicBezTo>
                    <a:cubicBezTo>
                      <a:pt x="336" y="67"/>
                      <a:pt x="336" y="66"/>
                      <a:pt x="336" y="66"/>
                    </a:cubicBezTo>
                    <a:cubicBezTo>
                      <a:pt x="336" y="65"/>
                      <a:pt x="335" y="64"/>
                      <a:pt x="336" y="64"/>
                    </a:cubicBezTo>
                    <a:cubicBezTo>
                      <a:pt x="336" y="63"/>
                      <a:pt x="336" y="63"/>
                      <a:pt x="336" y="62"/>
                    </a:cubicBezTo>
                    <a:cubicBezTo>
                      <a:pt x="336" y="62"/>
                      <a:pt x="336" y="61"/>
                      <a:pt x="336" y="61"/>
                    </a:cubicBezTo>
                    <a:cubicBezTo>
                      <a:pt x="336" y="61"/>
                      <a:pt x="336" y="60"/>
                      <a:pt x="336" y="60"/>
                    </a:cubicBezTo>
                    <a:cubicBezTo>
                      <a:pt x="336" y="60"/>
                      <a:pt x="335" y="60"/>
                      <a:pt x="336" y="60"/>
                    </a:cubicBezTo>
                    <a:cubicBezTo>
                      <a:pt x="336" y="59"/>
                      <a:pt x="336" y="59"/>
                      <a:pt x="335" y="59"/>
                    </a:cubicBezTo>
                    <a:cubicBezTo>
                      <a:pt x="335" y="59"/>
                      <a:pt x="336" y="58"/>
                      <a:pt x="336" y="57"/>
                    </a:cubicBezTo>
                    <a:cubicBezTo>
                      <a:pt x="336" y="57"/>
                      <a:pt x="337" y="57"/>
                      <a:pt x="337" y="57"/>
                    </a:cubicBezTo>
                    <a:cubicBezTo>
                      <a:pt x="336" y="57"/>
                      <a:pt x="336" y="57"/>
                      <a:pt x="336" y="56"/>
                    </a:cubicBezTo>
                    <a:cubicBezTo>
                      <a:pt x="336" y="55"/>
                      <a:pt x="336" y="55"/>
                      <a:pt x="337" y="54"/>
                    </a:cubicBezTo>
                    <a:cubicBezTo>
                      <a:pt x="337" y="54"/>
                      <a:pt x="337" y="54"/>
                      <a:pt x="337" y="54"/>
                    </a:cubicBezTo>
                    <a:cubicBezTo>
                      <a:pt x="337" y="53"/>
                      <a:pt x="337" y="54"/>
                      <a:pt x="337" y="54"/>
                    </a:cubicBezTo>
                    <a:cubicBezTo>
                      <a:pt x="336" y="53"/>
                      <a:pt x="336" y="53"/>
                      <a:pt x="336" y="52"/>
                    </a:cubicBezTo>
                    <a:cubicBezTo>
                      <a:pt x="335" y="52"/>
                      <a:pt x="335" y="52"/>
                      <a:pt x="334" y="51"/>
                    </a:cubicBezTo>
                    <a:cubicBezTo>
                      <a:pt x="334" y="51"/>
                      <a:pt x="334" y="50"/>
                      <a:pt x="333" y="50"/>
                    </a:cubicBezTo>
                    <a:cubicBezTo>
                      <a:pt x="332" y="50"/>
                      <a:pt x="333" y="49"/>
                      <a:pt x="332" y="49"/>
                    </a:cubicBezTo>
                    <a:cubicBezTo>
                      <a:pt x="332" y="49"/>
                      <a:pt x="332" y="49"/>
                      <a:pt x="332" y="49"/>
                    </a:cubicBezTo>
                    <a:cubicBezTo>
                      <a:pt x="331" y="49"/>
                      <a:pt x="331" y="48"/>
                      <a:pt x="332" y="47"/>
                    </a:cubicBezTo>
                    <a:cubicBezTo>
                      <a:pt x="330" y="47"/>
                      <a:pt x="332" y="46"/>
                      <a:pt x="331" y="45"/>
                    </a:cubicBezTo>
                    <a:cubicBezTo>
                      <a:pt x="330" y="45"/>
                      <a:pt x="329" y="47"/>
                      <a:pt x="328" y="46"/>
                    </a:cubicBezTo>
                    <a:cubicBezTo>
                      <a:pt x="328" y="46"/>
                      <a:pt x="327" y="46"/>
                      <a:pt x="327" y="46"/>
                    </a:cubicBezTo>
                    <a:cubicBezTo>
                      <a:pt x="327" y="47"/>
                      <a:pt x="327" y="47"/>
                      <a:pt x="326" y="48"/>
                    </a:cubicBezTo>
                    <a:cubicBezTo>
                      <a:pt x="325" y="49"/>
                      <a:pt x="324" y="49"/>
                      <a:pt x="323" y="47"/>
                    </a:cubicBezTo>
                    <a:cubicBezTo>
                      <a:pt x="323" y="46"/>
                      <a:pt x="323" y="45"/>
                      <a:pt x="323" y="43"/>
                    </a:cubicBezTo>
                    <a:cubicBezTo>
                      <a:pt x="323" y="43"/>
                      <a:pt x="323" y="43"/>
                      <a:pt x="322" y="43"/>
                    </a:cubicBezTo>
                    <a:cubicBezTo>
                      <a:pt x="322" y="42"/>
                      <a:pt x="322" y="42"/>
                      <a:pt x="322" y="42"/>
                    </a:cubicBezTo>
                    <a:cubicBezTo>
                      <a:pt x="322" y="41"/>
                      <a:pt x="322" y="40"/>
                      <a:pt x="322" y="39"/>
                    </a:cubicBezTo>
                    <a:cubicBezTo>
                      <a:pt x="322" y="38"/>
                      <a:pt x="323" y="38"/>
                      <a:pt x="323" y="37"/>
                    </a:cubicBezTo>
                    <a:cubicBezTo>
                      <a:pt x="323" y="36"/>
                      <a:pt x="322" y="36"/>
                      <a:pt x="322" y="35"/>
                    </a:cubicBezTo>
                    <a:cubicBezTo>
                      <a:pt x="322" y="33"/>
                      <a:pt x="323" y="32"/>
                      <a:pt x="323" y="30"/>
                    </a:cubicBezTo>
                    <a:cubicBezTo>
                      <a:pt x="323" y="31"/>
                      <a:pt x="322" y="30"/>
                      <a:pt x="322" y="31"/>
                    </a:cubicBezTo>
                    <a:cubicBezTo>
                      <a:pt x="322" y="30"/>
                      <a:pt x="322" y="29"/>
                      <a:pt x="322" y="29"/>
                    </a:cubicBezTo>
                    <a:cubicBezTo>
                      <a:pt x="322" y="28"/>
                      <a:pt x="322" y="28"/>
                      <a:pt x="322" y="28"/>
                    </a:cubicBezTo>
                    <a:cubicBezTo>
                      <a:pt x="321" y="27"/>
                      <a:pt x="322" y="26"/>
                      <a:pt x="321" y="25"/>
                    </a:cubicBezTo>
                    <a:cubicBezTo>
                      <a:pt x="320" y="25"/>
                      <a:pt x="320" y="25"/>
                      <a:pt x="320" y="25"/>
                    </a:cubicBezTo>
                    <a:cubicBezTo>
                      <a:pt x="320" y="24"/>
                      <a:pt x="320" y="24"/>
                      <a:pt x="320" y="23"/>
                    </a:cubicBezTo>
                    <a:cubicBezTo>
                      <a:pt x="320" y="23"/>
                      <a:pt x="320" y="22"/>
                      <a:pt x="321" y="22"/>
                    </a:cubicBezTo>
                    <a:cubicBezTo>
                      <a:pt x="321" y="22"/>
                      <a:pt x="322" y="21"/>
                      <a:pt x="322" y="21"/>
                    </a:cubicBezTo>
                    <a:cubicBezTo>
                      <a:pt x="322" y="21"/>
                      <a:pt x="321" y="21"/>
                      <a:pt x="321" y="21"/>
                    </a:cubicBezTo>
                    <a:cubicBezTo>
                      <a:pt x="321" y="21"/>
                      <a:pt x="321" y="20"/>
                      <a:pt x="321" y="20"/>
                    </a:cubicBezTo>
                    <a:cubicBezTo>
                      <a:pt x="320" y="20"/>
                      <a:pt x="320" y="20"/>
                      <a:pt x="319" y="20"/>
                    </a:cubicBezTo>
                    <a:cubicBezTo>
                      <a:pt x="319" y="20"/>
                      <a:pt x="319" y="20"/>
                      <a:pt x="318" y="20"/>
                    </a:cubicBezTo>
                    <a:cubicBezTo>
                      <a:pt x="318" y="19"/>
                      <a:pt x="318" y="19"/>
                      <a:pt x="318" y="18"/>
                    </a:cubicBezTo>
                    <a:cubicBezTo>
                      <a:pt x="318" y="17"/>
                      <a:pt x="318" y="16"/>
                      <a:pt x="318" y="16"/>
                    </a:cubicBezTo>
                    <a:cubicBezTo>
                      <a:pt x="318" y="15"/>
                      <a:pt x="319" y="15"/>
                      <a:pt x="319" y="14"/>
                    </a:cubicBezTo>
                    <a:cubicBezTo>
                      <a:pt x="319" y="14"/>
                      <a:pt x="318" y="13"/>
                      <a:pt x="318" y="13"/>
                    </a:cubicBezTo>
                    <a:cubicBezTo>
                      <a:pt x="318" y="13"/>
                      <a:pt x="318" y="12"/>
                      <a:pt x="318" y="12"/>
                    </a:cubicBezTo>
                    <a:cubicBezTo>
                      <a:pt x="318" y="11"/>
                      <a:pt x="318" y="10"/>
                      <a:pt x="318" y="10"/>
                    </a:cubicBezTo>
                    <a:cubicBezTo>
                      <a:pt x="318" y="10"/>
                      <a:pt x="317" y="10"/>
                      <a:pt x="317" y="10"/>
                    </a:cubicBezTo>
                    <a:cubicBezTo>
                      <a:pt x="317" y="10"/>
                      <a:pt x="317" y="9"/>
                      <a:pt x="317" y="9"/>
                    </a:cubicBezTo>
                    <a:cubicBezTo>
                      <a:pt x="317" y="8"/>
                      <a:pt x="316" y="9"/>
                      <a:pt x="316" y="10"/>
                    </a:cubicBezTo>
                    <a:cubicBezTo>
                      <a:pt x="316" y="9"/>
                      <a:pt x="316" y="9"/>
                      <a:pt x="317" y="8"/>
                    </a:cubicBezTo>
                    <a:cubicBezTo>
                      <a:pt x="317" y="7"/>
                      <a:pt x="317" y="7"/>
                      <a:pt x="316" y="7"/>
                    </a:cubicBezTo>
                    <a:cubicBezTo>
                      <a:pt x="316" y="7"/>
                      <a:pt x="316" y="7"/>
                      <a:pt x="316" y="7"/>
                    </a:cubicBezTo>
                    <a:cubicBezTo>
                      <a:pt x="315" y="7"/>
                      <a:pt x="315" y="8"/>
                      <a:pt x="315" y="8"/>
                    </a:cubicBezTo>
                    <a:cubicBezTo>
                      <a:pt x="314" y="9"/>
                      <a:pt x="313" y="9"/>
                      <a:pt x="313" y="9"/>
                    </a:cubicBezTo>
                    <a:cubicBezTo>
                      <a:pt x="312" y="10"/>
                      <a:pt x="312" y="11"/>
                      <a:pt x="312" y="12"/>
                    </a:cubicBezTo>
                    <a:cubicBezTo>
                      <a:pt x="312" y="13"/>
                      <a:pt x="312" y="13"/>
                      <a:pt x="312" y="14"/>
                    </a:cubicBezTo>
                    <a:cubicBezTo>
                      <a:pt x="311" y="15"/>
                      <a:pt x="311" y="16"/>
                      <a:pt x="310" y="18"/>
                    </a:cubicBezTo>
                    <a:cubicBezTo>
                      <a:pt x="310" y="18"/>
                      <a:pt x="309" y="19"/>
                      <a:pt x="309" y="20"/>
                    </a:cubicBezTo>
                    <a:cubicBezTo>
                      <a:pt x="309" y="20"/>
                      <a:pt x="309" y="21"/>
                      <a:pt x="309" y="21"/>
                    </a:cubicBezTo>
                    <a:cubicBezTo>
                      <a:pt x="310" y="21"/>
                      <a:pt x="310" y="21"/>
                      <a:pt x="310" y="22"/>
                    </a:cubicBezTo>
                    <a:cubicBezTo>
                      <a:pt x="310" y="22"/>
                      <a:pt x="309" y="22"/>
                      <a:pt x="309" y="22"/>
                    </a:cubicBezTo>
                    <a:cubicBezTo>
                      <a:pt x="309" y="22"/>
                      <a:pt x="309" y="22"/>
                      <a:pt x="309" y="22"/>
                    </a:cubicBezTo>
                    <a:cubicBezTo>
                      <a:pt x="309" y="22"/>
                      <a:pt x="309" y="21"/>
                      <a:pt x="309" y="21"/>
                    </a:cubicBezTo>
                    <a:cubicBezTo>
                      <a:pt x="309" y="21"/>
                      <a:pt x="308" y="22"/>
                      <a:pt x="308" y="22"/>
                    </a:cubicBezTo>
                    <a:cubicBezTo>
                      <a:pt x="308" y="22"/>
                      <a:pt x="307" y="23"/>
                      <a:pt x="307" y="23"/>
                    </a:cubicBezTo>
                    <a:cubicBezTo>
                      <a:pt x="307" y="23"/>
                      <a:pt x="308" y="24"/>
                      <a:pt x="307" y="24"/>
                    </a:cubicBezTo>
                    <a:cubicBezTo>
                      <a:pt x="307" y="24"/>
                      <a:pt x="307" y="24"/>
                      <a:pt x="306" y="24"/>
                    </a:cubicBezTo>
                    <a:cubicBezTo>
                      <a:pt x="306" y="25"/>
                      <a:pt x="306" y="25"/>
                      <a:pt x="306" y="26"/>
                    </a:cubicBezTo>
                    <a:cubicBezTo>
                      <a:pt x="306" y="26"/>
                      <a:pt x="305" y="27"/>
                      <a:pt x="305" y="27"/>
                    </a:cubicBezTo>
                    <a:cubicBezTo>
                      <a:pt x="305" y="27"/>
                      <a:pt x="306" y="27"/>
                      <a:pt x="306" y="27"/>
                    </a:cubicBezTo>
                    <a:cubicBezTo>
                      <a:pt x="306" y="27"/>
                      <a:pt x="305" y="27"/>
                      <a:pt x="306" y="26"/>
                    </a:cubicBezTo>
                    <a:cubicBezTo>
                      <a:pt x="306" y="26"/>
                      <a:pt x="307" y="26"/>
                      <a:pt x="307" y="26"/>
                    </a:cubicBezTo>
                    <a:cubicBezTo>
                      <a:pt x="306" y="26"/>
                      <a:pt x="306" y="27"/>
                      <a:pt x="306" y="27"/>
                    </a:cubicBezTo>
                    <a:cubicBezTo>
                      <a:pt x="307" y="27"/>
                      <a:pt x="307" y="28"/>
                      <a:pt x="307" y="28"/>
                    </a:cubicBezTo>
                    <a:cubicBezTo>
                      <a:pt x="308" y="28"/>
                      <a:pt x="308" y="27"/>
                      <a:pt x="309" y="28"/>
                    </a:cubicBezTo>
                    <a:cubicBezTo>
                      <a:pt x="308" y="28"/>
                      <a:pt x="307" y="28"/>
                      <a:pt x="307" y="28"/>
                    </a:cubicBezTo>
                    <a:cubicBezTo>
                      <a:pt x="307" y="29"/>
                      <a:pt x="308" y="29"/>
                      <a:pt x="308" y="29"/>
                    </a:cubicBezTo>
                    <a:cubicBezTo>
                      <a:pt x="308" y="29"/>
                      <a:pt x="308" y="29"/>
                      <a:pt x="309" y="29"/>
                    </a:cubicBezTo>
                    <a:cubicBezTo>
                      <a:pt x="308" y="29"/>
                      <a:pt x="308" y="29"/>
                      <a:pt x="308" y="30"/>
                    </a:cubicBezTo>
                    <a:cubicBezTo>
                      <a:pt x="308" y="30"/>
                      <a:pt x="308" y="31"/>
                      <a:pt x="308" y="31"/>
                    </a:cubicBezTo>
                    <a:cubicBezTo>
                      <a:pt x="308" y="31"/>
                      <a:pt x="308" y="28"/>
                      <a:pt x="307" y="29"/>
                    </a:cubicBezTo>
                    <a:cubicBezTo>
                      <a:pt x="307" y="29"/>
                      <a:pt x="307" y="29"/>
                      <a:pt x="307" y="29"/>
                    </a:cubicBezTo>
                    <a:cubicBezTo>
                      <a:pt x="307" y="29"/>
                      <a:pt x="306" y="32"/>
                      <a:pt x="305" y="31"/>
                    </a:cubicBezTo>
                    <a:cubicBezTo>
                      <a:pt x="304" y="32"/>
                      <a:pt x="304" y="33"/>
                      <a:pt x="305" y="34"/>
                    </a:cubicBezTo>
                    <a:cubicBezTo>
                      <a:pt x="305" y="35"/>
                      <a:pt x="304" y="37"/>
                      <a:pt x="303" y="38"/>
                    </a:cubicBezTo>
                    <a:cubicBezTo>
                      <a:pt x="303" y="39"/>
                      <a:pt x="302" y="40"/>
                      <a:pt x="302" y="41"/>
                    </a:cubicBezTo>
                    <a:cubicBezTo>
                      <a:pt x="302" y="43"/>
                      <a:pt x="303" y="44"/>
                      <a:pt x="302" y="46"/>
                    </a:cubicBezTo>
                    <a:cubicBezTo>
                      <a:pt x="302" y="47"/>
                      <a:pt x="302" y="47"/>
                      <a:pt x="301" y="48"/>
                    </a:cubicBezTo>
                    <a:cubicBezTo>
                      <a:pt x="301" y="49"/>
                      <a:pt x="301" y="50"/>
                      <a:pt x="301" y="51"/>
                    </a:cubicBezTo>
                    <a:cubicBezTo>
                      <a:pt x="301" y="53"/>
                      <a:pt x="302" y="54"/>
                      <a:pt x="301" y="56"/>
                    </a:cubicBezTo>
                    <a:cubicBezTo>
                      <a:pt x="300" y="57"/>
                      <a:pt x="300" y="59"/>
                      <a:pt x="299" y="60"/>
                    </a:cubicBezTo>
                    <a:cubicBezTo>
                      <a:pt x="299" y="61"/>
                      <a:pt x="299" y="61"/>
                      <a:pt x="298" y="62"/>
                    </a:cubicBezTo>
                    <a:cubicBezTo>
                      <a:pt x="298" y="63"/>
                      <a:pt x="297" y="64"/>
                      <a:pt x="298" y="65"/>
                    </a:cubicBezTo>
                    <a:cubicBezTo>
                      <a:pt x="298" y="67"/>
                      <a:pt x="296" y="68"/>
                      <a:pt x="296" y="70"/>
                    </a:cubicBezTo>
                    <a:cubicBezTo>
                      <a:pt x="295" y="71"/>
                      <a:pt x="294" y="73"/>
                      <a:pt x="293" y="74"/>
                    </a:cubicBezTo>
                    <a:cubicBezTo>
                      <a:pt x="293" y="74"/>
                      <a:pt x="293" y="75"/>
                      <a:pt x="292" y="75"/>
                    </a:cubicBezTo>
                    <a:cubicBezTo>
                      <a:pt x="292" y="76"/>
                      <a:pt x="291" y="76"/>
                      <a:pt x="291" y="77"/>
                    </a:cubicBezTo>
                    <a:cubicBezTo>
                      <a:pt x="291" y="78"/>
                      <a:pt x="290" y="79"/>
                      <a:pt x="290" y="80"/>
                    </a:cubicBezTo>
                    <a:cubicBezTo>
                      <a:pt x="290" y="80"/>
                      <a:pt x="290" y="81"/>
                      <a:pt x="289" y="81"/>
                    </a:cubicBezTo>
                    <a:cubicBezTo>
                      <a:pt x="288" y="82"/>
                      <a:pt x="286" y="83"/>
                      <a:pt x="285" y="83"/>
                    </a:cubicBezTo>
                    <a:cubicBezTo>
                      <a:pt x="284" y="84"/>
                      <a:pt x="281" y="85"/>
                      <a:pt x="280" y="83"/>
                    </a:cubicBezTo>
                    <a:cubicBezTo>
                      <a:pt x="280" y="82"/>
                      <a:pt x="278" y="82"/>
                      <a:pt x="277" y="81"/>
                    </a:cubicBezTo>
                    <a:cubicBezTo>
                      <a:pt x="277" y="81"/>
                      <a:pt x="276" y="80"/>
                      <a:pt x="275" y="80"/>
                    </a:cubicBezTo>
                    <a:cubicBezTo>
                      <a:pt x="275" y="80"/>
                      <a:pt x="274" y="80"/>
                      <a:pt x="274" y="79"/>
                    </a:cubicBezTo>
                    <a:cubicBezTo>
                      <a:pt x="274" y="79"/>
                      <a:pt x="274" y="78"/>
                      <a:pt x="274" y="77"/>
                    </a:cubicBezTo>
                    <a:cubicBezTo>
                      <a:pt x="274" y="76"/>
                      <a:pt x="274" y="76"/>
                      <a:pt x="273" y="76"/>
                    </a:cubicBezTo>
                    <a:cubicBezTo>
                      <a:pt x="273" y="75"/>
                      <a:pt x="273" y="75"/>
                      <a:pt x="272" y="75"/>
                    </a:cubicBezTo>
                    <a:cubicBezTo>
                      <a:pt x="271" y="75"/>
                      <a:pt x="271" y="74"/>
                      <a:pt x="270" y="74"/>
                    </a:cubicBezTo>
                    <a:cubicBezTo>
                      <a:pt x="270" y="74"/>
                      <a:pt x="269" y="74"/>
                      <a:pt x="268" y="74"/>
                    </a:cubicBezTo>
                    <a:cubicBezTo>
                      <a:pt x="268" y="74"/>
                      <a:pt x="267" y="73"/>
                      <a:pt x="266" y="73"/>
                    </a:cubicBezTo>
                    <a:cubicBezTo>
                      <a:pt x="265" y="73"/>
                      <a:pt x="264" y="72"/>
                      <a:pt x="263" y="71"/>
                    </a:cubicBezTo>
                    <a:cubicBezTo>
                      <a:pt x="263" y="71"/>
                      <a:pt x="263" y="70"/>
                      <a:pt x="263" y="70"/>
                    </a:cubicBezTo>
                    <a:cubicBezTo>
                      <a:pt x="262" y="69"/>
                      <a:pt x="262" y="67"/>
                      <a:pt x="260" y="67"/>
                    </a:cubicBezTo>
                    <a:cubicBezTo>
                      <a:pt x="259" y="67"/>
                      <a:pt x="259" y="66"/>
                      <a:pt x="258" y="66"/>
                    </a:cubicBezTo>
                    <a:cubicBezTo>
                      <a:pt x="258" y="65"/>
                      <a:pt x="257" y="65"/>
                      <a:pt x="256" y="65"/>
                    </a:cubicBezTo>
                    <a:cubicBezTo>
                      <a:pt x="256" y="64"/>
                      <a:pt x="255" y="63"/>
                      <a:pt x="255" y="64"/>
                    </a:cubicBezTo>
                    <a:cubicBezTo>
                      <a:pt x="255" y="64"/>
                      <a:pt x="254" y="64"/>
                      <a:pt x="255" y="64"/>
                    </a:cubicBezTo>
                    <a:cubicBezTo>
                      <a:pt x="255" y="64"/>
                      <a:pt x="252" y="64"/>
                      <a:pt x="253" y="64"/>
                    </a:cubicBezTo>
                    <a:cubicBezTo>
                      <a:pt x="252" y="64"/>
                      <a:pt x="253" y="64"/>
                      <a:pt x="253" y="63"/>
                    </a:cubicBezTo>
                    <a:cubicBezTo>
                      <a:pt x="252" y="63"/>
                      <a:pt x="252" y="63"/>
                      <a:pt x="252" y="62"/>
                    </a:cubicBezTo>
                    <a:cubicBezTo>
                      <a:pt x="252" y="62"/>
                      <a:pt x="252" y="62"/>
                      <a:pt x="252" y="62"/>
                    </a:cubicBezTo>
                    <a:cubicBezTo>
                      <a:pt x="252" y="62"/>
                      <a:pt x="251" y="62"/>
                      <a:pt x="251" y="62"/>
                    </a:cubicBezTo>
                    <a:cubicBezTo>
                      <a:pt x="251" y="62"/>
                      <a:pt x="251" y="62"/>
                      <a:pt x="251" y="61"/>
                    </a:cubicBezTo>
                    <a:cubicBezTo>
                      <a:pt x="250" y="61"/>
                      <a:pt x="249" y="61"/>
                      <a:pt x="249" y="60"/>
                    </a:cubicBezTo>
                    <a:cubicBezTo>
                      <a:pt x="249" y="59"/>
                      <a:pt x="249" y="59"/>
                      <a:pt x="249" y="58"/>
                    </a:cubicBezTo>
                    <a:cubicBezTo>
                      <a:pt x="248" y="58"/>
                      <a:pt x="247" y="58"/>
                      <a:pt x="247" y="57"/>
                    </a:cubicBezTo>
                    <a:cubicBezTo>
                      <a:pt x="246" y="57"/>
                      <a:pt x="246" y="56"/>
                      <a:pt x="245" y="55"/>
                    </a:cubicBezTo>
                    <a:cubicBezTo>
                      <a:pt x="244" y="55"/>
                      <a:pt x="244" y="55"/>
                      <a:pt x="244" y="55"/>
                    </a:cubicBezTo>
                    <a:cubicBezTo>
                      <a:pt x="244" y="54"/>
                      <a:pt x="244" y="55"/>
                      <a:pt x="243" y="54"/>
                    </a:cubicBezTo>
                    <a:cubicBezTo>
                      <a:pt x="243" y="54"/>
                      <a:pt x="242" y="53"/>
                      <a:pt x="242" y="53"/>
                    </a:cubicBezTo>
                    <a:cubicBezTo>
                      <a:pt x="242" y="52"/>
                      <a:pt x="242" y="51"/>
                      <a:pt x="242" y="51"/>
                    </a:cubicBezTo>
                    <a:cubicBezTo>
                      <a:pt x="242" y="51"/>
                      <a:pt x="243" y="51"/>
                      <a:pt x="243" y="50"/>
                    </a:cubicBezTo>
                    <a:cubicBezTo>
                      <a:pt x="244" y="50"/>
                      <a:pt x="244" y="49"/>
                      <a:pt x="244" y="49"/>
                    </a:cubicBezTo>
                    <a:cubicBezTo>
                      <a:pt x="244" y="49"/>
                      <a:pt x="244" y="48"/>
                      <a:pt x="245" y="48"/>
                    </a:cubicBezTo>
                    <a:cubicBezTo>
                      <a:pt x="245" y="47"/>
                      <a:pt x="247" y="45"/>
                      <a:pt x="248" y="45"/>
                    </a:cubicBezTo>
                    <a:cubicBezTo>
                      <a:pt x="248" y="44"/>
                      <a:pt x="248" y="43"/>
                      <a:pt x="249" y="42"/>
                    </a:cubicBezTo>
                    <a:cubicBezTo>
                      <a:pt x="249" y="42"/>
                      <a:pt x="250" y="39"/>
                      <a:pt x="250" y="39"/>
                    </a:cubicBezTo>
                    <a:cubicBezTo>
                      <a:pt x="250" y="39"/>
                      <a:pt x="249" y="40"/>
                      <a:pt x="249" y="40"/>
                    </a:cubicBezTo>
                    <a:cubicBezTo>
                      <a:pt x="249" y="40"/>
                      <a:pt x="248" y="40"/>
                      <a:pt x="248" y="40"/>
                    </a:cubicBezTo>
                    <a:cubicBezTo>
                      <a:pt x="248" y="40"/>
                      <a:pt x="249" y="40"/>
                      <a:pt x="249" y="40"/>
                    </a:cubicBezTo>
                    <a:cubicBezTo>
                      <a:pt x="249" y="40"/>
                      <a:pt x="248" y="39"/>
                      <a:pt x="248" y="39"/>
                    </a:cubicBezTo>
                    <a:cubicBezTo>
                      <a:pt x="248" y="39"/>
                      <a:pt x="248" y="38"/>
                      <a:pt x="248" y="37"/>
                    </a:cubicBezTo>
                    <a:cubicBezTo>
                      <a:pt x="248" y="37"/>
                      <a:pt x="250" y="38"/>
                      <a:pt x="250" y="37"/>
                    </a:cubicBezTo>
                    <a:cubicBezTo>
                      <a:pt x="250" y="37"/>
                      <a:pt x="249" y="37"/>
                      <a:pt x="249" y="37"/>
                    </a:cubicBezTo>
                    <a:cubicBezTo>
                      <a:pt x="249" y="36"/>
                      <a:pt x="249" y="36"/>
                      <a:pt x="249" y="36"/>
                    </a:cubicBezTo>
                    <a:cubicBezTo>
                      <a:pt x="249" y="35"/>
                      <a:pt x="250" y="35"/>
                      <a:pt x="250" y="35"/>
                    </a:cubicBezTo>
                    <a:cubicBezTo>
                      <a:pt x="250" y="35"/>
                      <a:pt x="250" y="34"/>
                      <a:pt x="250" y="35"/>
                    </a:cubicBezTo>
                    <a:cubicBezTo>
                      <a:pt x="251" y="35"/>
                      <a:pt x="250" y="35"/>
                      <a:pt x="250" y="36"/>
                    </a:cubicBezTo>
                    <a:cubicBezTo>
                      <a:pt x="251" y="35"/>
                      <a:pt x="251" y="33"/>
                      <a:pt x="252" y="34"/>
                    </a:cubicBezTo>
                    <a:cubicBezTo>
                      <a:pt x="252" y="34"/>
                      <a:pt x="251" y="36"/>
                      <a:pt x="252" y="34"/>
                    </a:cubicBezTo>
                    <a:cubicBezTo>
                      <a:pt x="252" y="34"/>
                      <a:pt x="252" y="34"/>
                      <a:pt x="253" y="34"/>
                    </a:cubicBezTo>
                    <a:cubicBezTo>
                      <a:pt x="253" y="33"/>
                      <a:pt x="253" y="34"/>
                      <a:pt x="253" y="34"/>
                    </a:cubicBezTo>
                    <a:cubicBezTo>
                      <a:pt x="253" y="34"/>
                      <a:pt x="254" y="32"/>
                      <a:pt x="254" y="33"/>
                    </a:cubicBezTo>
                    <a:cubicBezTo>
                      <a:pt x="254" y="34"/>
                      <a:pt x="254" y="35"/>
                      <a:pt x="254" y="35"/>
                    </a:cubicBezTo>
                    <a:cubicBezTo>
                      <a:pt x="254" y="35"/>
                      <a:pt x="253" y="35"/>
                      <a:pt x="253" y="36"/>
                    </a:cubicBezTo>
                    <a:cubicBezTo>
                      <a:pt x="254" y="35"/>
                      <a:pt x="254" y="35"/>
                      <a:pt x="254" y="35"/>
                    </a:cubicBezTo>
                    <a:cubicBezTo>
                      <a:pt x="254" y="35"/>
                      <a:pt x="254" y="35"/>
                      <a:pt x="255" y="35"/>
                    </a:cubicBezTo>
                    <a:cubicBezTo>
                      <a:pt x="255" y="35"/>
                      <a:pt x="255" y="34"/>
                      <a:pt x="255" y="34"/>
                    </a:cubicBezTo>
                    <a:cubicBezTo>
                      <a:pt x="255" y="34"/>
                      <a:pt x="256" y="33"/>
                      <a:pt x="256" y="33"/>
                    </a:cubicBezTo>
                    <a:cubicBezTo>
                      <a:pt x="255" y="32"/>
                      <a:pt x="255" y="32"/>
                      <a:pt x="256" y="32"/>
                    </a:cubicBezTo>
                    <a:cubicBezTo>
                      <a:pt x="256" y="32"/>
                      <a:pt x="256" y="32"/>
                      <a:pt x="256" y="32"/>
                    </a:cubicBezTo>
                    <a:cubicBezTo>
                      <a:pt x="256" y="32"/>
                      <a:pt x="256" y="32"/>
                      <a:pt x="256" y="32"/>
                    </a:cubicBezTo>
                    <a:cubicBezTo>
                      <a:pt x="256" y="32"/>
                      <a:pt x="257" y="32"/>
                      <a:pt x="257" y="32"/>
                    </a:cubicBezTo>
                    <a:cubicBezTo>
                      <a:pt x="257" y="32"/>
                      <a:pt x="256" y="31"/>
                      <a:pt x="256" y="31"/>
                    </a:cubicBezTo>
                    <a:cubicBezTo>
                      <a:pt x="256" y="31"/>
                      <a:pt x="256" y="31"/>
                      <a:pt x="256" y="31"/>
                    </a:cubicBezTo>
                    <a:cubicBezTo>
                      <a:pt x="256" y="31"/>
                      <a:pt x="255" y="30"/>
                      <a:pt x="255" y="30"/>
                    </a:cubicBezTo>
                    <a:cubicBezTo>
                      <a:pt x="256" y="30"/>
                      <a:pt x="255" y="30"/>
                      <a:pt x="256" y="30"/>
                    </a:cubicBezTo>
                    <a:cubicBezTo>
                      <a:pt x="256" y="30"/>
                      <a:pt x="256" y="29"/>
                      <a:pt x="256" y="29"/>
                    </a:cubicBezTo>
                    <a:cubicBezTo>
                      <a:pt x="256" y="29"/>
                      <a:pt x="256" y="30"/>
                      <a:pt x="256" y="30"/>
                    </a:cubicBezTo>
                    <a:cubicBezTo>
                      <a:pt x="257" y="30"/>
                      <a:pt x="256" y="29"/>
                      <a:pt x="257" y="29"/>
                    </a:cubicBezTo>
                    <a:cubicBezTo>
                      <a:pt x="258" y="29"/>
                      <a:pt x="258" y="28"/>
                      <a:pt x="258" y="27"/>
                    </a:cubicBezTo>
                    <a:cubicBezTo>
                      <a:pt x="259" y="27"/>
                      <a:pt x="258" y="27"/>
                      <a:pt x="259" y="26"/>
                    </a:cubicBezTo>
                    <a:cubicBezTo>
                      <a:pt x="259" y="26"/>
                      <a:pt x="259" y="27"/>
                      <a:pt x="259" y="27"/>
                    </a:cubicBezTo>
                    <a:cubicBezTo>
                      <a:pt x="259" y="27"/>
                      <a:pt x="259" y="26"/>
                      <a:pt x="260" y="26"/>
                    </a:cubicBezTo>
                    <a:cubicBezTo>
                      <a:pt x="260" y="26"/>
                      <a:pt x="261" y="25"/>
                      <a:pt x="261" y="25"/>
                    </a:cubicBezTo>
                    <a:cubicBezTo>
                      <a:pt x="260" y="25"/>
                      <a:pt x="260" y="24"/>
                      <a:pt x="260" y="24"/>
                    </a:cubicBezTo>
                    <a:cubicBezTo>
                      <a:pt x="260" y="24"/>
                      <a:pt x="259" y="23"/>
                      <a:pt x="259" y="23"/>
                    </a:cubicBezTo>
                    <a:cubicBezTo>
                      <a:pt x="259" y="23"/>
                      <a:pt x="258" y="23"/>
                      <a:pt x="258" y="24"/>
                    </a:cubicBezTo>
                    <a:cubicBezTo>
                      <a:pt x="259" y="24"/>
                      <a:pt x="259" y="24"/>
                      <a:pt x="258" y="24"/>
                    </a:cubicBezTo>
                    <a:cubicBezTo>
                      <a:pt x="257" y="24"/>
                      <a:pt x="257" y="21"/>
                      <a:pt x="257" y="21"/>
                    </a:cubicBezTo>
                    <a:cubicBezTo>
                      <a:pt x="256" y="21"/>
                      <a:pt x="257" y="21"/>
                      <a:pt x="257" y="21"/>
                    </a:cubicBezTo>
                    <a:cubicBezTo>
                      <a:pt x="257" y="21"/>
                      <a:pt x="258" y="20"/>
                      <a:pt x="258" y="20"/>
                    </a:cubicBezTo>
                    <a:cubicBezTo>
                      <a:pt x="258" y="21"/>
                      <a:pt x="257" y="21"/>
                      <a:pt x="256" y="21"/>
                    </a:cubicBezTo>
                    <a:cubicBezTo>
                      <a:pt x="256" y="21"/>
                      <a:pt x="255" y="21"/>
                      <a:pt x="255" y="22"/>
                    </a:cubicBezTo>
                    <a:cubicBezTo>
                      <a:pt x="255" y="22"/>
                      <a:pt x="254" y="22"/>
                      <a:pt x="254" y="22"/>
                    </a:cubicBezTo>
                    <a:cubicBezTo>
                      <a:pt x="254" y="23"/>
                      <a:pt x="254" y="23"/>
                      <a:pt x="253" y="23"/>
                    </a:cubicBezTo>
                    <a:cubicBezTo>
                      <a:pt x="253" y="23"/>
                      <a:pt x="255" y="23"/>
                      <a:pt x="255" y="24"/>
                    </a:cubicBezTo>
                    <a:cubicBezTo>
                      <a:pt x="255" y="25"/>
                      <a:pt x="254" y="26"/>
                      <a:pt x="253" y="26"/>
                    </a:cubicBezTo>
                    <a:cubicBezTo>
                      <a:pt x="253" y="26"/>
                      <a:pt x="253" y="26"/>
                      <a:pt x="252" y="26"/>
                    </a:cubicBezTo>
                    <a:cubicBezTo>
                      <a:pt x="252" y="26"/>
                      <a:pt x="252" y="26"/>
                      <a:pt x="251" y="26"/>
                    </a:cubicBezTo>
                    <a:cubicBezTo>
                      <a:pt x="251" y="26"/>
                      <a:pt x="251" y="26"/>
                      <a:pt x="251" y="25"/>
                    </a:cubicBezTo>
                    <a:cubicBezTo>
                      <a:pt x="251" y="25"/>
                      <a:pt x="252" y="24"/>
                      <a:pt x="252" y="24"/>
                    </a:cubicBezTo>
                    <a:cubicBezTo>
                      <a:pt x="253" y="23"/>
                      <a:pt x="251" y="24"/>
                      <a:pt x="251" y="24"/>
                    </a:cubicBezTo>
                    <a:cubicBezTo>
                      <a:pt x="250" y="23"/>
                      <a:pt x="252" y="23"/>
                      <a:pt x="252" y="22"/>
                    </a:cubicBezTo>
                    <a:cubicBezTo>
                      <a:pt x="252" y="22"/>
                      <a:pt x="251" y="23"/>
                      <a:pt x="251" y="23"/>
                    </a:cubicBezTo>
                    <a:cubicBezTo>
                      <a:pt x="251" y="23"/>
                      <a:pt x="251" y="23"/>
                      <a:pt x="250" y="23"/>
                    </a:cubicBezTo>
                    <a:cubicBezTo>
                      <a:pt x="250" y="23"/>
                      <a:pt x="250" y="23"/>
                      <a:pt x="250" y="24"/>
                    </a:cubicBezTo>
                    <a:cubicBezTo>
                      <a:pt x="249" y="24"/>
                      <a:pt x="249" y="24"/>
                      <a:pt x="249" y="24"/>
                    </a:cubicBezTo>
                    <a:cubicBezTo>
                      <a:pt x="249" y="24"/>
                      <a:pt x="248" y="23"/>
                      <a:pt x="249" y="22"/>
                    </a:cubicBezTo>
                    <a:cubicBezTo>
                      <a:pt x="249" y="22"/>
                      <a:pt x="250" y="22"/>
                      <a:pt x="250" y="21"/>
                    </a:cubicBezTo>
                    <a:cubicBezTo>
                      <a:pt x="250" y="21"/>
                      <a:pt x="251" y="21"/>
                      <a:pt x="251" y="21"/>
                    </a:cubicBezTo>
                    <a:cubicBezTo>
                      <a:pt x="250" y="21"/>
                      <a:pt x="250" y="21"/>
                      <a:pt x="249" y="21"/>
                    </a:cubicBezTo>
                    <a:cubicBezTo>
                      <a:pt x="249" y="21"/>
                      <a:pt x="250" y="20"/>
                      <a:pt x="251" y="20"/>
                    </a:cubicBezTo>
                    <a:cubicBezTo>
                      <a:pt x="251" y="20"/>
                      <a:pt x="252" y="19"/>
                      <a:pt x="251" y="19"/>
                    </a:cubicBezTo>
                    <a:cubicBezTo>
                      <a:pt x="251" y="18"/>
                      <a:pt x="251" y="18"/>
                      <a:pt x="251" y="19"/>
                    </a:cubicBezTo>
                    <a:cubicBezTo>
                      <a:pt x="251" y="19"/>
                      <a:pt x="250" y="20"/>
                      <a:pt x="250" y="20"/>
                    </a:cubicBezTo>
                    <a:cubicBezTo>
                      <a:pt x="250" y="20"/>
                      <a:pt x="250" y="20"/>
                      <a:pt x="249" y="20"/>
                    </a:cubicBezTo>
                    <a:cubicBezTo>
                      <a:pt x="249" y="20"/>
                      <a:pt x="249" y="20"/>
                      <a:pt x="249" y="21"/>
                    </a:cubicBezTo>
                    <a:cubicBezTo>
                      <a:pt x="248" y="21"/>
                      <a:pt x="248" y="21"/>
                      <a:pt x="248" y="21"/>
                    </a:cubicBezTo>
                    <a:cubicBezTo>
                      <a:pt x="247" y="21"/>
                      <a:pt x="248" y="22"/>
                      <a:pt x="248" y="21"/>
                    </a:cubicBezTo>
                    <a:cubicBezTo>
                      <a:pt x="248" y="22"/>
                      <a:pt x="248" y="22"/>
                      <a:pt x="247" y="22"/>
                    </a:cubicBezTo>
                    <a:cubicBezTo>
                      <a:pt x="247" y="22"/>
                      <a:pt x="246" y="23"/>
                      <a:pt x="246" y="22"/>
                    </a:cubicBezTo>
                    <a:cubicBezTo>
                      <a:pt x="245" y="22"/>
                      <a:pt x="245" y="23"/>
                      <a:pt x="245" y="23"/>
                    </a:cubicBezTo>
                    <a:cubicBezTo>
                      <a:pt x="244" y="23"/>
                      <a:pt x="245" y="24"/>
                      <a:pt x="245" y="24"/>
                    </a:cubicBezTo>
                    <a:cubicBezTo>
                      <a:pt x="245" y="24"/>
                      <a:pt x="243" y="23"/>
                      <a:pt x="244" y="24"/>
                    </a:cubicBezTo>
                    <a:cubicBezTo>
                      <a:pt x="243" y="24"/>
                      <a:pt x="243" y="24"/>
                      <a:pt x="243" y="24"/>
                    </a:cubicBezTo>
                    <a:cubicBezTo>
                      <a:pt x="242" y="24"/>
                      <a:pt x="242" y="23"/>
                      <a:pt x="241" y="23"/>
                    </a:cubicBezTo>
                    <a:cubicBezTo>
                      <a:pt x="241" y="22"/>
                      <a:pt x="241" y="22"/>
                      <a:pt x="240" y="22"/>
                    </a:cubicBezTo>
                    <a:cubicBezTo>
                      <a:pt x="240" y="21"/>
                      <a:pt x="240" y="21"/>
                      <a:pt x="240" y="21"/>
                    </a:cubicBezTo>
                    <a:cubicBezTo>
                      <a:pt x="240" y="21"/>
                      <a:pt x="240" y="21"/>
                      <a:pt x="239" y="21"/>
                    </a:cubicBezTo>
                    <a:cubicBezTo>
                      <a:pt x="239" y="21"/>
                      <a:pt x="239" y="21"/>
                      <a:pt x="239" y="21"/>
                    </a:cubicBezTo>
                    <a:cubicBezTo>
                      <a:pt x="238" y="22"/>
                      <a:pt x="238" y="22"/>
                      <a:pt x="238" y="22"/>
                    </a:cubicBezTo>
                    <a:cubicBezTo>
                      <a:pt x="237" y="22"/>
                      <a:pt x="236" y="22"/>
                      <a:pt x="236" y="21"/>
                    </a:cubicBezTo>
                    <a:cubicBezTo>
                      <a:pt x="235" y="21"/>
                      <a:pt x="235" y="21"/>
                      <a:pt x="235" y="21"/>
                    </a:cubicBezTo>
                    <a:cubicBezTo>
                      <a:pt x="235" y="21"/>
                      <a:pt x="234" y="22"/>
                      <a:pt x="234" y="22"/>
                    </a:cubicBezTo>
                    <a:cubicBezTo>
                      <a:pt x="234" y="22"/>
                      <a:pt x="234" y="21"/>
                      <a:pt x="234" y="21"/>
                    </a:cubicBezTo>
                    <a:cubicBezTo>
                      <a:pt x="234" y="21"/>
                      <a:pt x="234" y="21"/>
                      <a:pt x="234" y="21"/>
                    </a:cubicBezTo>
                    <a:cubicBezTo>
                      <a:pt x="234" y="20"/>
                      <a:pt x="234" y="20"/>
                      <a:pt x="234" y="20"/>
                    </a:cubicBezTo>
                    <a:cubicBezTo>
                      <a:pt x="234" y="20"/>
                      <a:pt x="233" y="21"/>
                      <a:pt x="233" y="20"/>
                    </a:cubicBezTo>
                    <a:cubicBezTo>
                      <a:pt x="233" y="19"/>
                      <a:pt x="233" y="20"/>
                      <a:pt x="232" y="20"/>
                    </a:cubicBezTo>
                    <a:cubicBezTo>
                      <a:pt x="232" y="20"/>
                      <a:pt x="231" y="20"/>
                      <a:pt x="231" y="19"/>
                    </a:cubicBezTo>
                    <a:cubicBezTo>
                      <a:pt x="231" y="19"/>
                      <a:pt x="232" y="19"/>
                      <a:pt x="232" y="19"/>
                    </a:cubicBezTo>
                    <a:cubicBezTo>
                      <a:pt x="232" y="18"/>
                      <a:pt x="232" y="18"/>
                      <a:pt x="231" y="18"/>
                    </a:cubicBezTo>
                    <a:cubicBezTo>
                      <a:pt x="231" y="18"/>
                      <a:pt x="231" y="18"/>
                      <a:pt x="230" y="19"/>
                    </a:cubicBezTo>
                    <a:cubicBezTo>
                      <a:pt x="230" y="19"/>
                      <a:pt x="230" y="19"/>
                      <a:pt x="230" y="19"/>
                    </a:cubicBezTo>
                    <a:cubicBezTo>
                      <a:pt x="230" y="19"/>
                      <a:pt x="230" y="19"/>
                      <a:pt x="230" y="19"/>
                    </a:cubicBezTo>
                    <a:cubicBezTo>
                      <a:pt x="229" y="19"/>
                      <a:pt x="229" y="19"/>
                      <a:pt x="229" y="19"/>
                    </a:cubicBezTo>
                    <a:cubicBezTo>
                      <a:pt x="229" y="19"/>
                      <a:pt x="228" y="19"/>
                      <a:pt x="228" y="20"/>
                    </a:cubicBezTo>
                    <a:cubicBezTo>
                      <a:pt x="228" y="19"/>
                      <a:pt x="229" y="18"/>
                      <a:pt x="228" y="19"/>
                    </a:cubicBezTo>
                    <a:cubicBezTo>
                      <a:pt x="228" y="19"/>
                      <a:pt x="227" y="19"/>
                      <a:pt x="227" y="19"/>
                    </a:cubicBezTo>
                    <a:cubicBezTo>
                      <a:pt x="227" y="19"/>
                      <a:pt x="227" y="18"/>
                      <a:pt x="227" y="18"/>
                    </a:cubicBezTo>
                    <a:cubicBezTo>
                      <a:pt x="227" y="18"/>
                      <a:pt x="227" y="19"/>
                      <a:pt x="227" y="19"/>
                    </a:cubicBezTo>
                    <a:cubicBezTo>
                      <a:pt x="226" y="19"/>
                      <a:pt x="226" y="18"/>
                      <a:pt x="226" y="18"/>
                    </a:cubicBezTo>
                    <a:cubicBezTo>
                      <a:pt x="227" y="17"/>
                      <a:pt x="225" y="18"/>
                      <a:pt x="225" y="18"/>
                    </a:cubicBezTo>
                    <a:cubicBezTo>
                      <a:pt x="224" y="18"/>
                      <a:pt x="224" y="16"/>
                      <a:pt x="224" y="15"/>
                    </a:cubicBezTo>
                    <a:cubicBezTo>
                      <a:pt x="224" y="15"/>
                      <a:pt x="223" y="14"/>
                      <a:pt x="222" y="14"/>
                    </a:cubicBezTo>
                    <a:cubicBezTo>
                      <a:pt x="223" y="14"/>
                      <a:pt x="223" y="15"/>
                      <a:pt x="222" y="15"/>
                    </a:cubicBezTo>
                    <a:cubicBezTo>
                      <a:pt x="222" y="14"/>
                      <a:pt x="222" y="15"/>
                      <a:pt x="221" y="15"/>
                    </a:cubicBezTo>
                    <a:cubicBezTo>
                      <a:pt x="221" y="16"/>
                      <a:pt x="220" y="16"/>
                      <a:pt x="220" y="15"/>
                    </a:cubicBezTo>
                    <a:cubicBezTo>
                      <a:pt x="220" y="15"/>
                      <a:pt x="219" y="14"/>
                      <a:pt x="219" y="14"/>
                    </a:cubicBezTo>
                    <a:cubicBezTo>
                      <a:pt x="219" y="14"/>
                      <a:pt x="219" y="13"/>
                      <a:pt x="219" y="13"/>
                    </a:cubicBezTo>
                    <a:cubicBezTo>
                      <a:pt x="218" y="12"/>
                      <a:pt x="218" y="13"/>
                      <a:pt x="218" y="13"/>
                    </a:cubicBezTo>
                    <a:cubicBezTo>
                      <a:pt x="218" y="13"/>
                      <a:pt x="218" y="12"/>
                      <a:pt x="217" y="12"/>
                    </a:cubicBezTo>
                    <a:cubicBezTo>
                      <a:pt x="218" y="12"/>
                      <a:pt x="217" y="12"/>
                      <a:pt x="217" y="12"/>
                    </a:cubicBezTo>
                    <a:cubicBezTo>
                      <a:pt x="217" y="12"/>
                      <a:pt x="217" y="13"/>
                      <a:pt x="217" y="13"/>
                    </a:cubicBezTo>
                    <a:cubicBezTo>
                      <a:pt x="217" y="13"/>
                      <a:pt x="216" y="11"/>
                      <a:pt x="216" y="12"/>
                    </a:cubicBezTo>
                    <a:cubicBezTo>
                      <a:pt x="215" y="12"/>
                      <a:pt x="216" y="12"/>
                      <a:pt x="216" y="13"/>
                    </a:cubicBezTo>
                    <a:cubicBezTo>
                      <a:pt x="216" y="13"/>
                      <a:pt x="216" y="13"/>
                      <a:pt x="216" y="14"/>
                    </a:cubicBezTo>
                    <a:cubicBezTo>
                      <a:pt x="216" y="14"/>
                      <a:pt x="217" y="14"/>
                      <a:pt x="216" y="14"/>
                    </a:cubicBezTo>
                    <a:cubicBezTo>
                      <a:pt x="216" y="14"/>
                      <a:pt x="216" y="14"/>
                      <a:pt x="216" y="14"/>
                    </a:cubicBezTo>
                    <a:cubicBezTo>
                      <a:pt x="216" y="14"/>
                      <a:pt x="216" y="15"/>
                      <a:pt x="216" y="15"/>
                    </a:cubicBezTo>
                    <a:cubicBezTo>
                      <a:pt x="215" y="14"/>
                      <a:pt x="216" y="14"/>
                      <a:pt x="215" y="14"/>
                    </a:cubicBezTo>
                    <a:cubicBezTo>
                      <a:pt x="215" y="14"/>
                      <a:pt x="215" y="14"/>
                      <a:pt x="215" y="14"/>
                    </a:cubicBezTo>
                    <a:cubicBezTo>
                      <a:pt x="215" y="14"/>
                      <a:pt x="215" y="13"/>
                      <a:pt x="215" y="13"/>
                    </a:cubicBezTo>
                    <a:cubicBezTo>
                      <a:pt x="215" y="13"/>
                      <a:pt x="214" y="11"/>
                      <a:pt x="214" y="12"/>
                    </a:cubicBezTo>
                    <a:cubicBezTo>
                      <a:pt x="214" y="12"/>
                      <a:pt x="214" y="12"/>
                      <a:pt x="214" y="13"/>
                    </a:cubicBezTo>
                    <a:cubicBezTo>
                      <a:pt x="214" y="13"/>
                      <a:pt x="213" y="12"/>
                      <a:pt x="213" y="12"/>
                    </a:cubicBezTo>
                    <a:cubicBezTo>
                      <a:pt x="213" y="13"/>
                      <a:pt x="213" y="13"/>
                      <a:pt x="212" y="12"/>
                    </a:cubicBezTo>
                    <a:cubicBezTo>
                      <a:pt x="212" y="12"/>
                      <a:pt x="213" y="13"/>
                      <a:pt x="212" y="13"/>
                    </a:cubicBezTo>
                    <a:cubicBezTo>
                      <a:pt x="212" y="13"/>
                      <a:pt x="212" y="13"/>
                      <a:pt x="212" y="13"/>
                    </a:cubicBezTo>
                    <a:cubicBezTo>
                      <a:pt x="212" y="13"/>
                      <a:pt x="212" y="14"/>
                      <a:pt x="212" y="14"/>
                    </a:cubicBezTo>
                    <a:cubicBezTo>
                      <a:pt x="212" y="14"/>
                      <a:pt x="213" y="14"/>
                      <a:pt x="213" y="14"/>
                    </a:cubicBezTo>
                    <a:cubicBezTo>
                      <a:pt x="213" y="14"/>
                      <a:pt x="214" y="14"/>
                      <a:pt x="214" y="14"/>
                    </a:cubicBezTo>
                    <a:cubicBezTo>
                      <a:pt x="214" y="14"/>
                      <a:pt x="213" y="14"/>
                      <a:pt x="214" y="15"/>
                    </a:cubicBezTo>
                    <a:cubicBezTo>
                      <a:pt x="214" y="15"/>
                      <a:pt x="214" y="15"/>
                      <a:pt x="214" y="15"/>
                    </a:cubicBezTo>
                    <a:cubicBezTo>
                      <a:pt x="214" y="15"/>
                      <a:pt x="214" y="15"/>
                      <a:pt x="214" y="16"/>
                    </a:cubicBezTo>
                    <a:cubicBezTo>
                      <a:pt x="214" y="16"/>
                      <a:pt x="215" y="16"/>
                      <a:pt x="215" y="16"/>
                    </a:cubicBezTo>
                    <a:cubicBezTo>
                      <a:pt x="216" y="16"/>
                      <a:pt x="216" y="15"/>
                      <a:pt x="216" y="15"/>
                    </a:cubicBezTo>
                    <a:cubicBezTo>
                      <a:pt x="217" y="15"/>
                      <a:pt x="217" y="15"/>
                      <a:pt x="218" y="15"/>
                    </a:cubicBezTo>
                    <a:cubicBezTo>
                      <a:pt x="218" y="15"/>
                      <a:pt x="219" y="16"/>
                      <a:pt x="219" y="16"/>
                    </a:cubicBezTo>
                    <a:cubicBezTo>
                      <a:pt x="219" y="17"/>
                      <a:pt x="220" y="17"/>
                      <a:pt x="220" y="18"/>
                    </a:cubicBezTo>
                    <a:cubicBezTo>
                      <a:pt x="220" y="18"/>
                      <a:pt x="219" y="18"/>
                      <a:pt x="219" y="19"/>
                    </a:cubicBezTo>
                    <a:cubicBezTo>
                      <a:pt x="220" y="20"/>
                      <a:pt x="219" y="23"/>
                      <a:pt x="220" y="23"/>
                    </a:cubicBezTo>
                    <a:cubicBezTo>
                      <a:pt x="220" y="23"/>
                      <a:pt x="219" y="23"/>
                      <a:pt x="219" y="22"/>
                    </a:cubicBezTo>
                    <a:cubicBezTo>
                      <a:pt x="218" y="22"/>
                      <a:pt x="218" y="23"/>
                      <a:pt x="218" y="23"/>
                    </a:cubicBezTo>
                    <a:cubicBezTo>
                      <a:pt x="217" y="23"/>
                      <a:pt x="217" y="25"/>
                      <a:pt x="216" y="25"/>
                    </a:cubicBezTo>
                    <a:cubicBezTo>
                      <a:pt x="216" y="25"/>
                      <a:pt x="217" y="24"/>
                      <a:pt x="216" y="23"/>
                    </a:cubicBezTo>
                    <a:cubicBezTo>
                      <a:pt x="216" y="23"/>
                      <a:pt x="216" y="24"/>
                      <a:pt x="216" y="24"/>
                    </a:cubicBezTo>
                    <a:cubicBezTo>
                      <a:pt x="216" y="24"/>
                      <a:pt x="216" y="23"/>
                      <a:pt x="215" y="23"/>
                    </a:cubicBezTo>
                    <a:cubicBezTo>
                      <a:pt x="215" y="23"/>
                      <a:pt x="214" y="25"/>
                      <a:pt x="213" y="24"/>
                    </a:cubicBezTo>
                    <a:cubicBezTo>
                      <a:pt x="213" y="24"/>
                      <a:pt x="212" y="24"/>
                      <a:pt x="212" y="24"/>
                    </a:cubicBezTo>
                    <a:cubicBezTo>
                      <a:pt x="212" y="24"/>
                      <a:pt x="212" y="24"/>
                      <a:pt x="212" y="24"/>
                    </a:cubicBezTo>
                    <a:cubicBezTo>
                      <a:pt x="212" y="23"/>
                      <a:pt x="211" y="24"/>
                      <a:pt x="211" y="24"/>
                    </a:cubicBezTo>
                    <a:cubicBezTo>
                      <a:pt x="210" y="24"/>
                      <a:pt x="208" y="25"/>
                      <a:pt x="207" y="24"/>
                    </a:cubicBezTo>
                    <a:cubicBezTo>
                      <a:pt x="206" y="24"/>
                      <a:pt x="207" y="23"/>
                      <a:pt x="206" y="22"/>
                    </a:cubicBezTo>
                    <a:cubicBezTo>
                      <a:pt x="206" y="22"/>
                      <a:pt x="206" y="24"/>
                      <a:pt x="206" y="24"/>
                    </a:cubicBezTo>
                    <a:cubicBezTo>
                      <a:pt x="205" y="24"/>
                      <a:pt x="204" y="22"/>
                      <a:pt x="203" y="23"/>
                    </a:cubicBezTo>
                    <a:cubicBezTo>
                      <a:pt x="203" y="23"/>
                      <a:pt x="203" y="24"/>
                      <a:pt x="203" y="25"/>
                    </a:cubicBezTo>
                    <a:cubicBezTo>
                      <a:pt x="204" y="25"/>
                      <a:pt x="203" y="25"/>
                      <a:pt x="203" y="25"/>
                    </a:cubicBezTo>
                    <a:cubicBezTo>
                      <a:pt x="203" y="25"/>
                      <a:pt x="202" y="25"/>
                      <a:pt x="202" y="25"/>
                    </a:cubicBezTo>
                    <a:cubicBezTo>
                      <a:pt x="202" y="25"/>
                      <a:pt x="201" y="26"/>
                      <a:pt x="201" y="26"/>
                    </a:cubicBezTo>
                    <a:cubicBezTo>
                      <a:pt x="201" y="26"/>
                      <a:pt x="202" y="26"/>
                      <a:pt x="202" y="26"/>
                    </a:cubicBezTo>
                    <a:cubicBezTo>
                      <a:pt x="202" y="26"/>
                      <a:pt x="202" y="27"/>
                      <a:pt x="203" y="27"/>
                    </a:cubicBezTo>
                    <a:cubicBezTo>
                      <a:pt x="202" y="27"/>
                      <a:pt x="202" y="26"/>
                      <a:pt x="202" y="27"/>
                    </a:cubicBezTo>
                    <a:cubicBezTo>
                      <a:pt x="202" y="28"/>
                      <a:pt x="202" y="27"/>
                      <a:pt x="202" y="28"/>
                    </a:cubicBezTo>
                    <a:cubicBezTo>
                      <a:pt x="202" y="28"/>
                      <a:pt x="202" y="28"/>
                      <a:pt x="202" y="28"/>
                    </a:cubicBezTo>
                    <a:cubicBezTo>
                      <a:pt x="201" y="27"/>
                      <a:pt x="201" y="27"/>
                      <a:pt x="201" y="28"/>
                    </a:cubicBezTo>
                    <a:cubicBezTo>
                      <a:pt x="200" y="27"/>
                      <a:pt x="201" y="26"/>
                      <a:pt x="200" y="26"/>
                    </a:cubicBezTo>
                    <a:cubicBezTo>
                      <a:pt x="200" y="26"/>
                      <a:pt x="199" y="25"/>
                      <a:pt x="199" y="26"/>
                    </a:cubicBezTo>
                    <a:cubicBezTo>
                      <a:pt x="199" y="26"/>
                      <a:pt x="199" y="27"/>
                      <a:pt x="199" y="27"/>
                    </a:cubicBezTo>
                    <a:cubicBezTo>
                      <a:pt x="199" y="27"/>
                      <a:pt x="199" y="27"/>
                      <a:pt x="199" y="27"/>
                    </a:cubicBezTo>
                    <a:cubicBezTo>
                      <a:pt x="199" y="28"/>
                      <a:pt x="199" y="28"/>
                      <a:pt x="199" y="28"/>
                    </a:cubicBezTo>
                    <a:cubicBezTo>
                      <a:pt x="199" y="28"/>
                      <a:pt x="199" y="28"/>
                      <a:pt x="198" y="28"/>
                    </a:cubicBezTo>
                    <a:cubicBezTo>
                      <a:pt x="199" y="28"/>
                      <a:pt x="199" y="29"/>
                      <a:pt x="200" y="29"/>
                    </a:cubicBezTo>
                    <a:cubicBezTo>
                      <a:pt x="199" y="29"/>
                      <a:pt x="198" y="29"/>
                      <a:pt x="198" y="28"/>
                    </a:cubicBezTo>
                    <a:cubicBezTo>
                      <a:pt x="198" y="28"/>
                      <a:pt x="198" y="28"/>
                      <a:pt x="198" y="28"/>
                    </a:cubicBezTo>
                    <a:cubicBezTo>
                      <a:pt x="198" y="28"/>
                      <a:pt x="198" y="28"/>
                      <a:pt x="197" y="28"/>
                    </a:cubicBezTo>
                    <a:cubicBezTo>
                      <a:pt x="197" y="28"/>
                      <a:pt x="197" y="28"/>
                      <a:pt x="197" y="29"/>
                    </a:cubicBezTo>
                    <a:cubicBezTo>
                      <a:pt x="197" y="29"/>
                      <a:pt x="196" y="28"/>
                      <a:pt x="196" y="29"/>
                    </a:cubicBezTo>
                    <a:cubicBezTo>
                      <a:pt x="196" y="30"/>
                      <a:pt x="196" y="32"/>
                      <a:pt x="195" y="31"/>
                    </a:cubicBezTo>
                    <a:cubicBezTo>
                      <a:pt x="194" y="31"/>
                      <a:pt x="193" y="33"/>
                      <a:pt x="194" y="34"/>
                    </a:cubicBezTo>
                    <a:cubicBezTo>
                      <a:pt x="194" y="34"/>
                      <a:pt x="194" y="35"/>
                      <a:pt x="195" y="35"/>
                    </a:cubicBezTo>
                    <a:cubicBezTo>
                      <a:pt x="195" y="35"/>
                      <a:pt x="196" y="36"/>
                      <a:pt x="195" y="36"/>
                    </a:cubicBezTo>
                    <a:cubicBezTo>
                      <a:pt x="195" y="36"/>
                      <a:pt x="195" y="36"/>
                      <a:pt x="195" y="36"/>
                    </a:cubicBezTo>
                    <a:cubicBezTo>
                      <a:pt x="195" y="36"/>
                      <a:pt x="194" y="36"/>
                      <a:pt x="194" y="36"/>
                    </a:cubicBezTo>
                    <a:cubicBezTo>
                      <a:pt x="194" y="37"/>
                      <a:pt x="194" y="37"/>
                      <a:pt x="193" y="37"/>
                    </a:cubicBezTo>
                    <a:cubicBezTo>
                      <a:pt x="193" y="37"/>
                      <a:pt x="192" y="38"/>
                      <a:pt x="192" y="38"/>
                    </a:cubicBezTo>
                    <a:cubicBezTo>
                      <a:pt x="191" y="38"/>
                      <a:pt x="191" y="37"/>
                      <a:pt x="191" y="37"/>
                    </a:cubicBezTo>
                    <a:cubicBezTo>
                      <a:pt x="190" y="37"/>
                      <a:pt x="190" y="40"/>
                      <a:pt x="190" y="40"/>
                    </a:cubicBezTo>
                    <a:cubicBezTo>
                      <a:pt x="190" y="40"/>
                      <a:pt x="190" y="40"/>
                      <a:pt x="190" y="40"/>
                    </a:cubicBezTo>
                    <a:cubicBezTo>
                      <a:pt x="190" y="41"/>
                      <a:pt x="189" y="41"/>
                      <a:pt x="189" y="41"/>
                    </a:cubicBezTo>
                    <a:cubicBezTo>
                      <a:pt x="189" y="42"/>
                      <a:pt x="189" y="42"/>
                      <a:pt x="189" y="42"/>
                    </a:cubicBezTo>
                    <a:cubicBezTo>
                      <a:pt x="189" y="43"/>
                      <a:pt x="187" y="44"/>
                      <a:pt x="187" y="43"/>
                    </a:cubicBezTo>
                    <a:cubicBezTo>
                      <a:pt x="187" y="43"/>
                      <a:pt x="188" y="44"/>
                      <a:pt x="187" y="44"/>
                    </a:cubicBezTo>
                    <a:cubicBezTo>
                      <a:pt x="187" y="44"/>
                      <a:pt x="187" y="44"/>
                      <a:pt x="186" y="44"/>
                    </a:cubicBezTo>
                    <a:cubicBezTo>
                      <a:pt x="186" y="44"/>
                      <a:pt x="186" y="45"/>
                      <a:pt x="186" y="45"/>
                    </a:cubicBezTo>
                    <a:cubicBezTo>
                      <a:pt x="186" y="45"/>
                      <a:pt x="185" y="45"/>
                      <a:pt x="185" y="46"/>
                    </a:cubicBezTo>
                    <a:cubicBezTo>
                      <a:pt x="185" y="46"/>
                      <a:pt x="184" y="47"/>
                      <a:pt x="185" y="48"/>
                    </a:cubicBezTo>
                    <a:cubicBezTo>
                      <a:pt x="185" y="48"/>
                      <a:pt x="186" y="49"/>
                      <a:pt x="186" y="49"/>
                    </a:cubicBezTo>
                    <a:cubicBezTo>
                      <a:pt x="187" y="50"/>
                      <a:pt x="188" y="49"/>
                      <a:pt x="188" y="49"/>
                    </a:cubicBezTo>
                    <a:cubicBezTo>
                      <a:pt x="188" y="50"/>
                      <a:pt x="187" y="49"/>
                      <a:pt x="186" y="50"/>
                    </a:cubicBezTo>
                    <a:cubicBezTo>
                      <a:pt x="186" y="50"/>
                      <a:pt x="187" y="51"/>
                      <a:pt x="187" y="51"/>
                    </a:cubicBezTo>
                    <a:cubicBezTo>
                      <a:pt x="187" y="52"/>
                      <a:pt x="188" y="52"/>
                      <a:pt x="188" y="52"/>
                    </a:cubicBezTo>
                    <a:cubicBezTo>
                      <a:pt x="188" y="52"/>
                      <a:pt x="188" y="52"/>
                      <a:pt x="188" y="52"/>
                    </a:cubicBezTo>
                    <a:cubicBezTo>
                      <a:pt x="188" y="52"/>
                      <a:pt x="190" y="52"/>
                      <a:pt x="190" y="51"/>
                    </a:cubicBezTo>
                    <a:cubicBezTo>
                      <a:pt x="190" y="51"/>
                      <a:pt x="190" y="52"/>
                      <a:pt x="190" y="52"/>
                    </a:cubicBezTo>
                    <a:cubicBezTo>
                      <a:pt x="189" y="51"/>
                      <a:pt x="189" y="52"/>
                      <a:pt x="188" y="52"/>
                    </a:cubicBezTo>
                    <a:cubicBezTo>
                      <a:pt x="188" y="53"/>
                      <a:pt x="188" y="52"/>
                      <a:pt x="187" y="52"/>
                    </a:cubicBezTo>
                    <a:cubicBezTo>
                      <a:pt x="186" y="52"/>
                      <a:pt x="186" y="54"/>
                      <a:pt x="186" y="54"/>
                    </a:cubicBezTo>
                    <a:cubicBezTo>
                      <a:pt x="186" y="55"/>
                      <a:pt x="186" y="55"/>
                      <a:pt x="187" y="56"/>
                    </a:cubicBezTo>
                    <a:cubicBezTo>
                      <a:pt x="187" y="56"/>
                      <a:pt x="187" y="56"/>
                      <a:pt x="186" y="56"/>
                    </a:cubicBezTo>
                    <a:cubicBezTo>
                      <a:pt x="186" y="56"/>
                      <a:pt x="186" y="56"/>
                      <a:pt x="186" y="56"/>
                    </a:cubicBezTo>
                    <a:cubicBezTo>
                      <a:pt x="186" y="56"/>
                      <a:pt x="186" y="56"/>
                      <a:pt x="186" y="56"/>
                    </a:cubicBezTo>
                    <a:cubicBezTo>
                      <a:pt x="186" y="55"/>
                      <a:pt x="186" y="55"/>
                      <a:pt x="185" y="54"/>
                    </a:cubicBezTo>
                    <a:cubicBezTo>
                      <a:pt x="185" y="54"/>
                      <a:pt x="185" y="54"/>
                      <a:pt x="185" y="53"/>
                    </a:cubicBezTo>
                    <a:cubicBezTo>
                      <a:pt x="184" y="53"/>
                      <a:pt x="183" y="52"/>
                      <a:pt x="183" y="53"/>
                    </a:cubicBezTo>
                    <a:cubicBezTo>
                      <a:pt x="183" y="53"/>
                      <a:pt x="183" y="52"/>
                      <a:pt x="182" y="53"/>
                    </a:cubicBezTo>
                    <a:cubicBezTo>
                      <a:pt x="182" y="53"/>
                      <a:pt x="182" y="53"/>
                      <a:pt x="182" y="54"/>
                    </a:cubicBezTo>
                    <a:cubicBezTo>
                      <a:pt x="182" y="55"/>
                      <a:pt x="182" y="56"/>
                      <a:pt x="182" y="57"/>
                    </a:cubicBezTo>
                    <a:cubicBezTo>
                      <a:pt x="182" y="57"/>
                      <a:pt x="182" y="56"/>
                      <a:pt x="182" y="56"/>
                    </a:cubicBezTo>
                    <a:cubicBezTo>
                      <a:pt x="182" y="56"/>
                      <a:pt x="181" y="56"/>
                      <a:pt x="181" y="57"/>
                    </a:cubicBezTo>
                    <a:cubicBezTo>
                      <a:pt x="181" y="56"/>
                      <a:pt x="182" y="56"/>
                      <a:pt x="182" y="55"/>
                    </a:cubicBezTo>
                    <a:cubicBezTo>
                      <a:pt x="182" y="55"/>
                      <a:pt x="182" y="54"/>
                      <a:pt x="182" y="54"/>
                    </a:cubicBezTo>
                    <a:cubicBezTo>
                      <a:pt x="181" y="53"/>
                      <a:pt x="180" y="53"/>
                      <a:pt x="179" y="52"/>
                    </a:cubicBezTo>
                    <a:cubicBezTo>
                      <a:pt x="179" y="52"/>
                      <a:pt x="178" y="52"/>
                      <a:pt x="178" y="52"/>
                    </a:cubicBezTo>
                    <a:cubicBezTo>
                      <a:pt x="177" y="52"/>
                      <a:pt x="177" y="52"/>
                      <a:pt x="176" y="52"/>
                    </a:cubicBezTo>
                    <a:cubicBezTo>
                      <a:pt x="176" y="52"/>
                      <a:pt x="175" y="52"/>
                      <a:pt x="175" y="52"/>
                    </a:cubicBezTo>
                    <a:cubicBezTo>
                      <a:pt x="174" y="52"/>
                      <a:pt x="175" y="52"/>
                      <a:pt x="175" y="53"/>
                    </a:cubicBezTo>
                    <a:cubicBezTo>
                      <a:pt x="175" y="53"/>
                      <a:pt x="175" y="53"/>
                      <a:pt x="175" y="53"/>
                    </a:cubicBezTo>
                    <a:cubicBezTo>
                      <a:pt x="175" y="54"/>
                      <a:pt x="175" y="54"/>
                      <a:pt x="175" y="54"/>
                    </a:cubicBezTo>
                    <a:cubicBezTo>
                      <a:pt x="175" y="55"/>
                      <a:pt x="174" y="53"/>
                      <a:pt x="174" y="55"/>
                    </a:cubicBezTo>
                    <a:cubicBezTo>
                      <a:pt x="174" y="54"/>
                      <a:pt x="174" y="53"/>
                      <a:pt x="174" y="53"/>
                    </a:cubicBezTo>
                    <a:cubicBezTo>
                      <a:pt x="173" y="53"/>
                      <a:pt x="173" y="54"/>
                      <a:pt x="172" y="55"/>
                    </a:cubicBezTo>
                    <a:cubicBezTo>
                      <a:pt x="172" y="55"/>
                      <a:pt x="172" y="55"/>
                      <a:pt x="172" y="56"/>
                    </a:cubicBezTo>
                    <a:cubicBezTo>
                      <a:pt x="172" y="56"/>
                      <a:pt x="172" y="56"/>
                      <a:pt x="172" y="57"/>
                    </a:cubicBezTo>
                    <a:cubicBezTo>
                      <a:pt x="173" y="57"/>
                      <a:pt x="173" y="58"/>
                      <a:pt x="173" y="59"/>
                    </a:cubicBezTo>
                    <a:cubicBezTo>
                      <a:pt x="172" y="58"/>
                      <a:pt x="172" y="57"/>
                      <a:pt x="172" y="56"/>
                    </a:cubicBezTo>
                    <a:cubicBezTo>
                      <a:pt x="171" y="56"/>
                      <a:pt x="171" y="57"/>
                      <a:pt x="171" y="57"/>
                    </a:cubicBezTo>
                    <a:cubicBezTo>
                      <a:pt x="171" y="58"/>
                      <a:pt x="171" y="60"/>
                      <a:pt x="170" y="60"/>
                    </a:cubicBezTo>
                    <a:cubicBezTo>
                      <a:pt x="170" y="59"/>
                      <a:pt x="170" y="59"/>
                      <a:pt x="171" y="59"/>
                    </a:cubicBezTo>
                    <a:cubicBezTo>
                      <a:pt x="171" y="58"/>
                      <a:pt x="170" y="58"/>
                      <a:pt x="170" y="58"/>
                    </a:cubicBezTo>
                    <a:cubicBezTo>
                      <a:pt x="171" y="57"/>
                      <a:pt x="171" y="57"/>
                      <a:pt x="171" y="56"/>
                    </a:cubicBezTo>
                    <a:cubicBezTo>
                      <a:pt x="171" y="56"/>
                      <a:pt x="171" y="55"/>
                      <a:pt x="171" y="55"/>
                    </a:cubicBezTo>
                    <a:cubicBezTo>
                      <a:pt x="171" y="54"/>
                      <a:pt x="172" y="53"/>
                      <a:pt x="172" y="53"/>
                    </a:cubicBezTo>
                    <a:cubicBezTo>
                      <a:pt x="172" y="52"/>
                      <a:pt x="172" y="52"/>
                      <a:pt x="172" y="52"/>
                    </a:cubicBezTo>
                    <a:cubicBezTo>
                      <a:pt x="173" y="52"/>
                      <a:pt x="173" y="52"/>
                      <a:pt x="173" y="52"/>
                    </a:cubicBezTo>
                    <a:cubicBezTo>
                      <a:pt x="173" y="51"/>
                      <a:pt x="173" y="51"/>
                      <a:pt x="173" y="51"/>
                    </a:cubicBezTo>
                    <a:cubicBezTo>
                      <a:pt x="173" y="51"/>
                      <a:pt x="172" y="50"/>
                      <a:pt x="172" y="50"/>
                    </a:cubicBezTo>
                    <a:cubicBezTo>
                      <a:pt x="171" y="49"/>
                      <a:pt x="171" y="50"/>
                      <a:pt x="171" y="49"/>
                    </a:cubicBezTo>
                    <a:cubicBezTo>
                      <a:pt x="171" y="49"/>
                      <a:pt x="170" y="48"/>
                      <a:pt x="170" y="48"/>
                    </a:cubicBezTo>
                    <a:cubicBezTo>
                      <a:pt x="170" y="48"/>
                      <a:pt x="170" y="48"/>
                      <a:pt x="170" y="48"/>
                    </a:cubicBezTo>
                    <a:cubicBezTo>
                      <a:pt x="170" y="48"/>
                      <a:pt x="170" y="48"/>
                      <a:pt x="170" y="48"/>
                    </a:cubicBezTo>
                    <a:cubicBezTo>
                      <a:pt x="170" y="48"/>
                      <a:pt x="170" y="48"/>
                      <a:pt x="170" y="48"/>
                    </a:cubicBezTo>
                    <a:cubicBezTo>
                      <a:pt x="170" y="48"/>
                      <a:pt x="170" y="48"/>
                      <a:pt x="170" y="48"/>
                    </a:cubicBezTo>
                    <a:cubicBezTo>
                      <a:pt x="170" y="47"/>
                      <a:pt x="170" y="47"/>
                      <a:pt x="169" y="47"/>
                    </a:cubicBezTo>
                    <a:cubicBezTo>
                      <a:pt x="169" y="47"/>
                      <a:pt x="169" y="46"/>
                      <a:pt x="169" y="46"/>
                    </a:cubicBezTo>
                    <a:cubicBezTo>
                      <a:pt x="168" y="45"/>
                      <a:pt x="169" y="45"/>
                      <a:pt x="168" y="45"/>
                    </a:cubicBezTo>
                    <a:cubicBezTo>
                      <a:pt x="168" y="45"/>
                      <a:pt x="168" y="44"/>
                      <a:pt x="167" y="44"/>
                    </a:cubicBezTo>
                    <a:cubicBezTo>
                      <a:pt x="167" y="44"/>
                      <a:pt x="167" y="44"/>
                      <a:pt x="167" y="44"/>
                    </a:cubicBezTo>
                    <a:cubicBezTo>
                      <a:pt x="167" y="43"/>
                      <a:pt x="167" y="43"/>
                      <a:pt x="167" y="43"/>
                    </a:cubicBezTo>
                    <a:cubicBezTo>
                      <a:pt x="166" y="43"/>
                      <a:pt x="166" y="42"/>
                      <a:pt x="166" y="42"/>
                    </a:cubicBezTo>
                    <a:cubicBezTo>
                      <a:pt x="166" y="42"/>
                      <a:pt x="166" y="42"/>
                      <a:pt x="166" y="43"/>
                    </a:cubicBezTo>
                    <a:cubicBezTo>
                      <a:pt x="165" y="43"/>
                      <a:pt x="165" y="42"/>
                      <a:pt x="165" y="42"/>
                    </a:cubicBezTo>
                    <a:cubicBezTo>
                      <a:pt x="165" y="42"/>
                      <a:pt x="164" y="43"/>
                      <a:pt x="164" y="43"/>
                    </a:cubicBezTo>
                    <a:cubicBezTo>
                      <a:pt x="164" y="43"/>
                      <a:pt x="164" y="42"/>
                      <a:pt x="164" y="42"/>
                    </a:cubicBezTo>
                    <a:cubicBezTo>
                      <a:pt x="164" y="42"/>
                      <a:pt x="164" y="43"/>
                      <a:pt x="164" y="43"/>
                    </a:cubicBezTo>
                    <a:cubicBezTo>
                      <a:pt x="164" y="43"/>
                      <a:pt x="164" y="42"/>
                      <a:pt x="163" y="42"/>
                    </a:cubicBezTo>
                    <a:cubicBezTo>
                      <a:pt x="163" y="41"/>
                      <a:pt x="163" y="41"/>
                      <a:pt x="163" y="41"/>
                    </a:cubicBezTo>
                    <a:cubicBezTo>
                      <a:pt x="163" y="41"/>
                      <a:pt x="162" y="40"/>
                      <a:pt x="162" y="40"/>
                    </a:cubicBezTo>
                    <a:cubicBezTo>
                      <a:pt x="162" y="40"/>
                      <a:pt x="162" y="40"/>
                      <a:pt x="162" y="40"/>
                    </a:cubicBezTo>
                    <a:cubicBezTo>
                      <a:pt x="161" y="41"/>
                      <a:pt x="162" y="41"/>
                      <a:pt x="161" y="41"/>
                    </a:cubicBezTo>
                    <a:cubicBezTo>
                      <a:pt x="161" y="41"/>
                      <a:pt x="161" y="41"/>
                      <a:pt x="161" y="41"/>
                    </a:cubicBezTo>
                    <a:cubicBezTo>
                      <a:pt x="160" y="40"/>
                      <a:pt x="160" y="41"/>
                      <a:pt x="160" y="42"/>
                    </a:cubicBezTo>
                    <a:cubicBezTo>
                      <a:pt x="160" y="42"/>
                      <a:pt x="160" y="42"/>
                      <a:pt x="161" y="42"/>
                    </a:cubicBezTo>
                    <a:cubicBezTo>
                      <a:pt x="161" y="42"/>
                      <a:pt x="161" y="42"/>
                      <a:pt x="161" y="42"/>
                    </a:cubicBezTo>
                    <a:cubicBezTo>
                      <a:pt x="161" y="43"/>
                      <a:pt x="161" y="43"/>
                      <a:pt x="161" y="43"/>
                    </a:cubicBezTo>
                    <a:cubicBezTo>
                      <a:pt x="161" y="43"/>
                      <a:pt x="160" y="43"/>
                      <a:pt x="160" y="43"/>
                    </a:cubicBezTo>
                    <a:cubicBezTo>
                      <a:pt x="160" y="43"/>
                      <a:pt x="160" y="43"/>
                      <a:pt x="159" y="43"/>
                    </a:cubicBezTo>
                    <a:cubicBezTo>
                      <a:pt x="159" y="43"/>
                      <a:pt x="160" y="43"/>
                      <a:pt x="160" y="43"/>
                    </a:cubicBezTo>
                    <a:cubicBezTo>
                      <a:pt x="160" y="43"/>
                      <a:pt x="160" y="44"/>
                      <a:pt x="159" y="44"/>
                    </a:cubicBezTo>
                    <a:cubicBezTo>
                      <a:pt x="159" y="44"/>
                      <a:pt x="159" y="44"/>
                      <a:pt x="159" y="44"/>
                    </a:cubicBezTo>
                    <a:cubicBezTo>
                      <a:pt x="159" y="44"/>
                      <a:pt x="159" y="45"/>
                      <a:pt x="158" y="45"/>
                    </a:cubicBezTo>
                    <a:cubicBezTo>
                      <a:pt x="158" y="45"/>
                      <a:pt x="158" y="46"/>
                      <a:pt x="158" y="45"/>
                    </a:cubicBezTo>
                    <a:cubicBezTo>
                      <a:pt x="158" y="45"/>
                      <a:pt x="158" y="44"/>
                      <a:pt x="158" y="45"/>
                    </a:cubicBezTo>
                    <a:cubicBezTo>
                      <a:pt x="157" y="45"/>
                      <a:pt x="158" y="44"/>
                      <a:pt x="158" y="44"/>
                    </a:cubicBezTo>
                    <a:cubicBezTo>
                      <a:pt x="158" y="44"/>
                      <a:pt x="157" y="44"/>
                      <a:pt x="157" y="44"/>
                    </a:cubicBezTo>
                    <a:cubicBezTo>
                      <a:pt x="157" y="44"/>
                      <a:pt x="158" y="43"/>
                      <a:pt x="158" y="42"/>
                    </a:cubicBezTo>
                    <a:cubicBezTo>
                      <a:pt x="158" y="42"/>
                      <a:pt x="157" y="43"/>
                      <a:pt x="157" y="43"/>
                    </a:cubicBezTo>
                    <a:cubicBezTo>
                      <a:pt x="157" y="43"/>
                      <a:pt x="156" y="44"/>
                      <a:pt x="156" y="44"/>
                    </a:cubicBezTo>
                    <a:cubicBezTo>
                      <a:pt x="156" y="44"/>
                      <a:pt x="155" y="45"/>
                      <a:pt x="156" y="45"/>
                    </a:cubicBezTo>
                    <a:cubicBezTo>
                      <a:pt x="156" y="45"/>
                      <a:pt x="155" y="45"/>
                      <a:pt x="155" y="46"/>
                    </a:cubicBezTo>
                    <a:cubicBezTo>
                      <a:pt x="155" y="45"/>
                      <a:pt x="155" y="46"/>
                      <a:pt x="155" y="45"/>
                    </a:cubicBezTo>
                    <a:cubicBezTo>
                      <a:pt x="155" y="45"/>
                      <a:pt x="155" y="45"/>
                      <a:pt x="155" y="45"/>
                    </a:cubicBezTo>
                    <a:cubicBezTo>
                      <a:pt x="154" y="45"/>
                      <a:pt x="154" y="45"/>
                      <a:pt x="154" y="45"/>
                    </a:cubicBezTo>
                    <a:cubicBezTo>
                      <a:pt x="154" y="44"/>
                      <a:pt x="155" y="44"/>
                      <a:pt x="154" y="44"/>
                    </a:cubicBezTo>
                    <a:cubicBezTo>
                      <a:pt x="154" y="44"/>
                      <a:pt x="155" y="43"/>
                      <a:pt x="154" y="43"/>
                    </a:cubicBezTo>
                    <a:cubicBezTo>
                      <a:pt x="154" y="43"/>
                      <a:pt x="155" y="43"/>
                      <a:pt x="155" y="43"/>
                    </a:cubicBezTo>
                    <a:cubicBezTo>
                      <a:pt x="155" y="43"/>
                      <a:pt x="154" y="43"/>
                      <a:pt x="154" y="43"/>
                    </a:cubicBezTo>
                    <a:cubicBezTo>
                      <a:pt x="154" y="43"/>
                      <a:pt x="154" y="43"/>
                      <a:pt x="154" y="42"/>
                    </a:cubicBezTo>
                    <a:cubicBezTo>
                      <a:pt x="154" y="43"/>
                      <a:pt x="154" y="42"/>
                      <a:pt x="154" y="42"/>
                    </a:cubicBezTo>
                    <a:cubicBezTo>
                      <a:pt x="154" y="42"/>
                      <a:pt x="153" y="42"/>
                      <a:pt x="153" y="42"/>
                    </a:cubicBezTo>
                    <a:cubicBezTo>
                      <a:pt x="153" y="43"/>
                      <a:pt x="154" y="43"/>
                      <a:pt x="154" y="43"/>
                    </a:cubicBezTo>
                    <a:cubicBezTo>
                      <a:pt x="154" y="44"/>
                      <a:pt x="153" y="43"/>
                      <a:pt x="153" y="43"/>
                    </a:cubicBezTo>
                    <a:cubicBezTo>
                      <a:pt x="153" y="43"/>
                      <a:pt x="153" y="44"/>
                      <a:pt x="153" y="43"/>
                    </a:cubicBezTo>
                    <a:cubicBezTo>
                      <a:pt x="153" y="43"/>
                      <a:pt x="153" y="43"/>
                      <a:pt x="152" y="43"/>
                    </a:cubicBezTo>
                    <a:cubicBezTo>
                      <a:pt x="152" y="44"/>
                      <a:pt x="153" y="44"/>
                      <a:pt x="154" y="44"/>
                    </a:cubicBezTo>
                    <a:cubicBezTo>
                      <a:pt x="154" y="44"/>
                      <a:pt x="154" y="45"/>
                      <a:pt x="154" y="46"/>
                    </a:cubicBezTo>
                    <a:cubicBezTo>
                      <a:pt x="153" y="46"/>
                      <a:pt x="153" y="46"/>
                      <a:pt x="153" y="46"/>
                    </a:cubicBezTo>
                    <a:cubicBezTo>
                      <a:pt x="153" y="46"/>
                      <a:pt x="153" y="47"/>
                      <a:pt x="153" y="47"/>
                    </a:cubicBezTo>
                    <a:cubicBezTo>
                      <a:pt x="153" y="47"/>
                      <a:pt x="152" y="47"/>
                      <a:pt x="152" y="47"/>
                    </a:cubicBezTo>
                    <a:cubicBezTo>
                      <a:pt x="152" y="48"/>
                      <a:pt x="152" y="48"/>
                      <a:pt x="152" y="48"/>
                    </a:cubicBezTo>
                    <a:cubicBezTo>
                      <a:pt x="152" y="48"/>
                      <a:pt x="153" y="49"/>
                      <a:pt x="152" y="49"/>
                    </a:cubicBezTo>
                    <a:cubicBezTo>
                      <a:pt x="152" y="49"/>
                      <a:pt x="151" y="49"/>
                      <a:pt x="151" y="49"/>
                    </a:cubicBezTo>
                    <a:cubicBezTo>
                      <a:pt x="151" y="50"/>
                      <a:pt x="151" y="50"/>
                      <a:pt x="150" y="50"/>
                    </a:cubicBezTo>
                    <a:cubicBezTo>
                      <a:pt x="150" y="49"/>
                      <a:pt x="151" y="49"/>
                      <a:pt x="150" y="48"/>
                    </a:cubicBezTo>
                    <a:cubicBezTo>
                      <a:pt x="150" y="48"/>
                      <a:pt x="150" y="48"/>
                      <a:pt x="150" y="48"/>
                    </a:cubicBezTo>
                    <a:cubicBezTo>
                      <a:pt x="150" y="48"/>
                      <a:pt x="150" y="47"/>
                      <a:pt x="149" y="48"/>
                    </a:cubicBezTo>
                    <a:cubicBezTo>
                      <a:pt x="149" y="48"/>
                      <a:pt x="149" y="49"/>
                      <a:pt x="149" y="49"/>
                    </a:cubicBezTo>
                    <a:cubicBezTo>
                      <a:pt x="149" y="49"/>
                      <a:pt x="148" y="50"/>
                      <a:pt x="148" y="50"/>
                    </a:cubicBezTo>
                    <a:cubicBezTo>
                      <a:pt x="148" y="50"/>
                      <a:pt x="149" y="49"/>
                      <a:pt x="149" y="49"/>
                    </a:cubicBezTo>
                    <a:cubicBezTo>
                      <a:pt x="149" y="48"/>
                      <a:pt x="149" y="48"/>
                      <a:pt x="149" y="47"/>
                    </a:cubicBezTo>
                    <a:cubicBezTo>
                      <a:pt x="149" y="47"/>
                      <a:pt x="150" y="47"/>
                      <a:pt x="150" y="46"/>
                    </a:cubicBezTo>
                    <a:cubicBezTo>
                      <a:pt x="149" y="47"/>
                      <a:pt x="149" y="45"/>
                      <a:pt x="149" y="46"/>
                    </a:cubicBezTo>
                    <a:cubicBezTo>
                      <a:pt x="148" y="46"/>
                      <a:pt x="149" y="47"/>
                      <a:pt x="148" y="48"/>
                    </a:cubicBezTo>
                    <a:cubicBezTo>
                      <a:pt x="148" y="48"/>
                      <a:pt x="148" y="49"/>
                      <a:pt x="148" y="49"/>
                    </a:cubicBezTo>
                    <a:cubicBezTo>
                      <a:pt x="148" y="49"/>
                      <a:pt x="147" y="49"/>
                      <a:pt x="147" y="49"/>
                    </a:cubicBezTo>
                    <a:cubicBezTo>
                      <a:pt x="148" y="49"/>
                      <a:pt x="148" y="49"/>
                      <a:pt x="148" y="49"/>
                    </a:cubicBezTo>
                    <a:cubicBezTo>
                      <a:pt x="147" y="48"/>
                      <a:pt x="147" y="49"/>
                      <a:pt x="147" y="49"/>
                    </a:cubicBezTo>
                    <a:cubicBezTo>
                      <a:pt x="147" y="49"/>
                      <a:pt x="147" y="49"/>
                      <a:pt x="147" y="49"/>
                    </a:cubicBezTo>
                    <a:cubicBezTo>
                      <a:pt x="147" y="49"/>
                      <a:pt x="146" y="50"/>
                      <a:pt x="146" y="50"/>
                    </a:cubicBezTo>
                    <a:cubicBezTo>
                      <a:pt x="146" y="50"/>
                      <a:pt x="146" y="49"/>
                      <a:pt x="146" y="49"/>
                    </a:cubicBezTo>
                    <a:cubicBezTo>
                      <a:pt x="146" y="49"/>
                      <a:pt x="146" y="49"/>
                      <a:pt x="146" y="50"/>
                    </a:cubicBezTo>
                    <a:cubicBezTo>
                      <a:pt x="146" y="49"/>
                      <a:pt x="146" y="49"/>
                      <a:pt x="146" y="49"/>
                    </a:cubicBezTo>
                    <a:cubicBezTo>
                      <a:pt x="146" y="49"/>
                      <a:pt x="146" y="49"/>
                      <a:pt x="145" y="49"/>
                    </a:cubicBezTo>
                    <a:cubicBezTo>
                      <a:pt x="145" y="49"/>
                      <a:pt x="145" y="50"/>
                      <a:pt x="145" y="50"/>
                    </a:cubicBezTo>
                    <a:cubicBezTo>
                      <a:pt x="145" y="50"/>
                      <a:pt x="145" y="50"/>
                      <a:pt x="145" y="50"/>
                    </a:cubicBezTo>
                    <a:cubicBezTo>
                      <a:pt x="145" y="50"/>
                      <a:pt x="145" y="50"/>
                      <a:pt x="144" y="50"/>
                    </a:cubicBezTo>
                    <a:cubicBezTo>
                      <a:pt x="144" y="51"/>
                      <a:pt x="144" y="51"/>
                      <a:pt x="144" y="51"/>
                    </a:cubicBezTo>
                    <a:cubicBezTo>
                      <a:pt x="144" y="51"/>
                      <a:pt x="143" y="51"/>
                      <a:pt x="144" y="52"/>
                    </a:cubicBezTo>
                    <a:cubicBezTo>
                      <a:pt x="144" y="52"/>
                      <a:pt x="143" y="53"/>
                      <a:pt x="144" y="53"/>
                    </a:cubicBezTo>
                    <a:cubicBezTo>
                      <a:pt x="145" y="53"/>
                      <a:pt x="145" y="53"/>
                      <a:pt x="145" y="53"/>
                    </a:cubicBezTo>
                    <a:cubicBezTo>
                      <a:pt x="144" y="54"/>
                      <a:pt x="144" y="53"/>
                      <a:pt x="144" y="53"/>
                    </a:cubicBezTo>
                    <a:cubicBezTo>
                      <a:pt x="143" y="53"/>
                      <a:pt x="144" y="54"/>
                      <a:pt x="144" y="54"/>
                    </a:cubicBezTo>
                    <a:cubicBezTo>
                      <a:pt x="144" y="54"/>
                      <a:pt x="145" y="54"/>
                      <a:pt x="145" y="54"/>
                    </a:cubicBezTo>
                    <a:cubicBezTo>
                      <a:pt x="145" y="54"/>
                      <a:pt x="146" y="54"/>
                      <a:pt x="146" y="54"/>
                    </a:cubicBezTo>
                    <a:cubicBezTo>
                      <a:pt x="146" y="54"/>
                      <a:pt x="145" y="54"/>
                      <a:pt x="145" y="55"/>
                    </a:cubicBezTo>
                    <a:cubicBezTo>
                      <a:pt x="145" y="55"/>
                      <a:pt x="145" y="55"/>
                      <a:pt x="145" y="55"/>
                    </a:cubicBezTo>
                    <a:cubicBezTo>
                      <a:pt x="145" y="55"/>
                      <a:pt x="146" y="55"/>
                      <a:pt x="146" y="56"/>
                    </a:cubicBezTo>
                    <a:cubicBezTo>
                      <a:pt x="146" y="56"/>
                      <a:pt x="145" y="56"/>
                      <a:pt x="145" y="56"/>
                    </a:cubicBezTo>
                    <a:cubicBezTo>
                      <a:pt x="144" y="56"/>
                      <a:pt x="144" y="55"/>
                      <a:pt x="144" y="55"/>
                    </a:cubicBezTo>
                    <a:cubicBezTo>
                      <a:pt x="144" y="55"/>
                      <a:pt x="143" y="55"/>
                      <a:pt x="143" y="54"/>
                    </a:cubicBezTo>
                    <a:cubicBezTo>
                      <a:pt x="143" y="54"/>
                      <a:pt x="143" y="56"/>
                      <a:pt x="143" y="56"/>
                    </a:cubicBezTo>
                    <a:cubicBezTo>
                      <a:pt x="143" y="55"/>
                      <a:pt x="143" y="54"/>
                      <a:pt x="142" y="55"/>
                    </a:cubicBezTo>
                    <a:cubicBezTo>
                      <a:pt x="142" y="54"/>
                      <a:pt x="143" y="54"/>
                      <a:pt x="142" y="54"/>
                    </a:cubicBezTo>
                    <a:cubicBezTo>
                      <a:pt x="142" y="54"/>
                      <a:pt x="142" y="54"/>
                      <a:pt x="142" y="54"/>
                    </a:cubicBezTo>
                    <a:cubicBezTo>
                      <a:pt x="142" y="54"/>
                      <a:pt x="142" y="56"/>
                      <a:pt x="141" y="55"/>
                    </a:cubicBezTo>
                    <a:cubicBezTo>
                      <a:pt x="140" y="55"/>
                      <a:pt x="140" y="56"/>
                      <a:pt x="140" y="56"/>
                    </a:cubicBezTo>
                    <a:cubicBezTo>
                      <a:pt x="140" y="56"/>
                      <a:pt x="140" y="57"/>
                      <a:pt x="140" y="57"/>
                    </a:cubicBezTo>
                    <a:cubicBezTo>
                      <a:pt x="140" y="57"/>
                      <a:pt x="141" y="56"/>
                      <a:pt x="141" y="56"/>
                    </a:cubicBezTo>
                    <a:cubicBezTo>
                      <a:pt x="141" y="56"/>
                      <a:pt x="142" y="56"/>
                      <a:pt x="142" y="56"/>
                    </a:cubicBezTo>
                    <a:cubicBezTo>
                      <a:pt x="141" y="57"/>
                      <a:pt x="141" y="56"/>
                      <a:pt x="140" y="57"/>
                    </a:cubicBezTo>
                    <a:cubicBezTo>
                      <a:pt x="140" y="58"/>
                      <a:pt x="141" y="58"/>
                      <a:pt x="141" y="57"/>
                    </a:cubicBezTo>
                    <a:cubicBezTo>
                      <a:pt x="142" y="57"/>
                      <a:pt x="142" y="57"/>
                      <a:pt x="143" y="58"/>
                    </a:cubicBezTo>
                    <a:cubicBezTo>
                      <a:pt x="141" y="58"/>
                      <a:pt x="143" y="60"/>
                      <a:pt x="143" y="60"/>
                    </a:cubicBezTo>
                    <a:cubicBezTo>
                      <a:pt x="142" y="60"/>
                      <a:pt x="142" y="59"/>
                      <a:pt x="142" y="59"/>
                    </a:cubicBezTo>
                    <a:cubicBezTo>
                      <a:pt x="142" y="59"/>
                      <a:pt x="141" y="59"/>
                      <a:pt x="141" y="60"/>
                    </a:cubicBezTo>
                    <a:cubicBezTo>
                      <a:pt x="142" y="59"/>
                      <a:pt x="141" y="59"/>
                      <a:pt x="141" y="59"/>
                    </a:cubicBezTo>
                    <a:cubicBezTo>
                      <a:pt x="141" y="59"/>
                      <a:pt x="141" y="59"/>
                      <a:pt x="141" y="59"/>
                    </a:cubicBezTo>
                    <a:cubicBezTo>
                      <a:pt x="140" y="58"/>
                      <a:pt x="140" y="58"/>
                      <a:pt x="140" y="58"/>
                    </a:cubicBezTo>
                    <a:cubicBezTo>
                      <a:pt x="139" y="58"/>
                      <a:pt x="140" y="57"/>
                      <a:pt x="139" y="57"/>
                    </a:cubicBezTo>
                    <a:cubicBezTo>
                      <a:pt x="139" y="57"/>
                      <a:pt x="139" y="58"/>
                      <a:pt x="139" y="58"/>
                    </a:cubicBezTo>
                    <a:cubicBezTo>
                      <a:pt x="139" y="58"/>
                      <a:pt x="139" y="57"/>
                      <a:pt x="138" y="57"/>
                    </a:cubicBezTo>
                    <a:cubicBezTo>
                      <a:pt x="138" y="57"/>
                      <a:pt x="138" y="58"/>
                      <a:pt x="138" y="58"/>
                    </a:cubicBezTo>
                    <a:cubicBezTo>
                      <a:pt x="138" y="58"/>
                      <a:pt x="138" y="58"/>
                      <a:pt x="138" y="58"/>
                    </a:cubicBezTo>
                    <a:cubicBezTo>
                      <a:pt x="138" y="58"/>
                      <a:pt x="139" y="58"/>
                      <a:pt x="138" y="58"/>
                    </a:cubicBezTo>
                    <a:cubicBezTo>
                      <a:pt x="138" y="59"/>
                      <a:pt x="138" y="59"/>
                      <a:pt x="138" y="59"/>
                    </a:cubicBezTo>
                    <a:cubicBezTo>
                      <a:pt x="137" y="59"/>
                      <a:pt x="138" y="59"/>
                      <a:pt x="138" y="59"/>
                    </a:cubicBezTo>
                    <a:cubicBezTo>
                      <a:pt x="137" y="59"/>
                      <a:pt x="137" y="60"/>
                      <a:pt x="136" y="59"/>
                    </a:cubicBezTo>
                    <a:cubicBezTo>
                      <a:pt x="136" y="59"/>
                      <a:pt x="135" y="60"/>
                      <a:pt x="135" y="60"/>
                    </a:cubicBezTo>
                    <a:cubicBezTo>
                      <a:pt x="135" y="60"/>
                      <a:pt x="135" y="61"/>
                      <a:pt x="135" y="61"/>
                    </a:cubicBezTo>
                    <a:cubicBezTo>
                      <a:pt x="135" y="61"/>
                      <a:pt x="135" y="61"/>
                      <a:pt x="135" y="61"/>
                    </a:cubicBezTo>
                    <a:cubicBezTo>
                      <a:pt x="135" y="61"/>
                      <a:pt x="135" y="62"/>
                      <a:pt x="135" y="62"/>
                    </a:cubicBezTo>
                    <a:cubicBezTo>
                      <a:pt x="135" y="63"/>
                      <a:pt x="135" y="64"/>
                      <a:pt x="135" y="64"/>
                    </a:cubicBezTo>
                    <a:cubicBezTo>
                      <a:pt x="135" y="64"/>
                      <a:pt x="135" y="63"/>
                      <a:pt x="135" y="63"/>
                    </a:cubicBezTo>
                    <a:cubicBezTo>
                      <a:pt x="135" y="64"/>
                      <a:pt x="135" y="64"/>
                      <a:pt x="135" y="65"/>
                    </a:cubicBezTo>
                    <a:cubicBezTo>
                      <a:pt x="136" y="65"/>
                      <a:pt x="136" y="63"/>
                      <a:pt x="137" y="63"/>
                    </a:cubicBezTo>
                    <a:cubicBezTo>
                      <a:pt x="137" y="63"/>
                      <a:pt x="138" y="63"/>
                      <a:pt x="138" y="63"/>
                    </a:cubicBezTo>
                    <a:cubicBezTo>
                      <a:pt x="138" y="63"/>
                      <a:pt x="137" y="64"/>
                      <a:pt x="137" y="64"/>
                    </a:cubicBezTo>
                    <a:cubicBezTo>
                      <a:pt x="137" y="63"/>
                      <a:pt x="136" y="65"/>
                      <a:pt x="136" y="65"/>
                    </a:cubicBezTo>
                    <a:cubicBezTo>
                      <a:pt x="136" y="65"/>
                      <a:pt x="136" y="66"/>
                      <a:pt x="136" y="66"/>
                    </a:cubicBezTo>
                    <a:cubicBezTo>
                      <a:pt x="136" y="67"/>
                      <a:pt x="135" y="67"/>
                      <a:pt x="135" y="67"/>
                    </a:cubicBezTo>
                    <a:cubicBezTo>
                      <a:pt x="135" y="67"/>
                      <a:pt x="135" y="65"/>
                      <a:pt x="135" y="66"/>
                    </a:cubicBezTo>
                    <a:cubicBezTo>
                      <a:pt x="134" y="67"/>
                      <a:pt x="134" y="67"/>
                      <a:pt x="134" y="68"/>
                    </a:cubicBezTo>
                    <a:cubicBezTo>
                      <a:pt x="134" y="69"/>
                      <a:pt x="135" y="69"/>
                      <a:pt x="136" y="69"/>
                    </a:cubicBezTo>
                    <a:cubicBezTo>
                      <a:pt x="136" y="69"/>
                      <a:pt x="138" y="69"/>
                      <a:pt x="138" y="70"/>
                    </a:cubicBezTo>
                    <a:cubicBezTo>
                      <a:pt x="138" y="70"/>
                      <a:pt x="138" y="70"/>
                      <a:pt x="137" y="69"/>
                    </a:cubicBezTo>
                    <a:cubicBezTo>
                      <a:pt x="137" y="69"/>
                      <a:pt x="136" y="69"/>
                      <a:pt x="136" y="69"/>
                    </a:cubicBezTo>
                    <a:cubicBezTo>
                      <a:pt x="135" y="70"/>
                      <a:pt x="135" y="70"/>
                      <a:pt x="134" y="69"/>
                    </a:cubicBezTo>
                    <a:cubicBezTo>
                      <a:pt x="134" y="69"/>
                      <a:pt x="134" y="69"/>
                      <a:pt x="134" y="69"/>
                    </a:cubicBezTo>
                    <a:cubicBezTo>
                      <a:pt x="133" y="69"/>
                      <a:pt x="133" y="70"/>
                      <a:pt x="132" y="70"/>
                    </a:cubicBezTo>
                    <a:cubicBezTo>
                      <a:pt x="132" y="69"/>
                      <a:pt x="132" y="69"/>
                      <a:pt x="132" y="68"/>
                    </a:cubicBezTo>
                    <a:cubicBezTo>
                      <a:pt x="131" y="68"/>
                      <a:pt x="130" y="68"/>
                      <a:pt x="129" y="68"/>
                    </a:cubicBezTo>
                    <a:cubicBezTo>
                      <a:pt x="129" y="68"/>
                      <a:pt x="130" y="68"/>
                      <a:pt x="130" y="68"/>
                    </a:cubicBezTo>
                    <a:cubicBezTo>
                      <a:pt x="130" y="68"/>
                      <a:pt x="129" y="68"/>
                      <a:pt x="130" y="69"/>
                    </a:cubicBezTo>
                    <a:cubicBezTo>
                      <a:pt x="130" y="69"/>
                      <a:pt x="130" y="69"/>
                      <a:pt x="130" y="69"/>
                    </a:cubicBezTo>
                    <a:cubicBezTo>
                      <a:pt x="129" y="70"/>
                      <a:pt x="129" y="69"/>
                      <a:pt x="129" y="69"/>
                    </a:cubicBezTo>
                    <a:cubicBezTo>
                      <a:pt x="129" y="69"/>
                      <a:pt x="129" y="70"/>
                      <a:pt x="128" y="70"/>
                    </a:cubicBezTo>
                    <a:cubicBezTo>
                      <a:pt x="128" y="69"/>
                      <a:pt x="129" y="69"/>
                      <a:pt x="129" y="69"/>
                    </a:cubicBezTo>
                    <a:cubicBezTo>
                      <a:pt x="128" y="68"/>
                      <a:pt x="128" y="68"/>
                      <a:pt x="128" y="68"/>
                    </a:cubicBezTo>
                    <a:cubicBezTo>
                      <a:pt x="128" y="68"/>
                      <a:pt x="129" y="68"/>
                      <a:pt x="128" y="68"/>
                    </a:cubicBezTo>
                    <a:cubicBezTo>
                      <a:pt x="128" y="68"/>
                      <a:pt x="128" y="68"/>
                      <a:pt x="128" y="67"/>
                    </a:cubicBezTo>
                    <a:cubicBezTo>
                      <a:pt x="128" y="67"/>
                      <a:pt x="128" y="67"/>
                      <a:pt x="128" y="67"/>
                    </a:cubicBezTo>
                    <a:cubicBezTo>
                      <a:pt x="128" y="66"/>
                      <a:pt x="127" y="67"/>
                      <a:pt x="126" y="67"/>
                    </a:cubicBezTo>
                    <a:cubicBezTo>
                      <a:pt x="126" y="67"/>
                      <a:pt x="126" y="68"/>
                      <a:pt x="126" y="68"/>
                    </a:cubicBezTo>
                    <a:cubicBezTo>
                      <a:pt x="126" y="69"/>
                      <a:pt x="126" y="68"/>
                      <a:pt x="126" y="68"/>
                    </a:cubicBezTo>
                    <a:cubicBezTo>
                      <a:pt x="127" y="68"/>
                      <a:pt x="127" y="69"/>
                      <a:pt x="127" y="69"/>
                    </a:cubicBezTo>
                    <a:cubicBezTo>
                      <a:pt x="127" y="69"/>
                      <a:pt x="127" y="69"/>
                      <a:pt x="127" y="69"/>
                    </a:cubicBezTo>
                    <a:cubicBezTo>
                      <a:pt x="126" y="69"/>
                      <a:pt x="127" y="70"/>
                      <a:pt x="127" y="70"/>
                    </a:cubicBezTo>
                    <a:cubicBezTo>
                      <a:pt x="127" y="70"/>
                      <a:pt x="125" y="69"/>
                      <a:pt x="125" y="70"/>
                    </a:cubicBezTo>
                    <a:cubicBezTo>
                      <a:pt x="126" y="70"/>
                      <a:pt x="127" y="71"/>
                      <a:pt x="126" y="71"/>
                    </a:cubicBezTo>
                    <a:cubicBezTo>
                      <a:pt x="126" y="71"/>
                      <a:pt x="126" y="71"/>
                      <a:pt x="126" y="71"/>
                    </a:cubicBezTo>
                    <a:cubicBezTo>
                      <a:pt x="126" y="71"/>
                      <a:pt x="125" y="70"/>
                      <a:pt x="125" y="70"/>
                    </a:cubicBezTo>
                    <a:cubicBezTo>
                      <a:pt x="125" y="71"/>
                      <a:pt x="124" y="70"/>
                      <a:pt x="124" y="71"/>
                    </a:cubicBezTo>
                    <a:cubicBezTo>
                      <a:pt x="124" y="71"/>
                      <a:pt x="125" y="71"/>
                      <a:pt x="125" y="71"/>
                    </a:cubicBezTo>
                    <a:cubicBezTo>
                      <a:pt x="125" y="71"/>
                      <a:pt x="125" y="71"/>
                      <a:pt x="126" y="71"/>
                    </a:cubicBezTo>
                    <a:cubicBezTo>
                      <a:pt x="126" y="71"/>
                      <a:pt x="126" y="71"/>
                      <a:pt x="126" y="71"/>
                    </a:cubicBezTo>
                    <a:cubicBezTo>
                      <a:pt x="126" y="71"/>
                      <a:pt x="125" y="72"/>
                      <a:pt x="125" y="72"/>
                    </a:cubicBezTo>
                    <a:cubicBezTo>
                      <a:pt x="126" y="72"/>
                      <a:pt x="126" y="74"/>
                      <a:pt x="127" y="75"/>
                    </a:cubicBezTo>
                    <a:cubicBezTo>
                      <a:pt x="127" y="76"/>
                      <a:pt x="128" y="74"/>
                      <a:pt x="129" y="74"/>
                    </a:cubicBezTo>
                    <a:cubicBezTo>
                      <a:pt x="129" y="74"/>
                      <a:pt x="128" y="75"/>
                      <a:pt x="128" y="75"/>
                    </a:cubicBezTo>
                    <a:cubicBezTo>
                      <a:pt x="127" y="76"/>
                      <a:pt x="127" y="76"/>
                      <a:pt x="128" y="76"/>
                    </a:cubicBezTo>
                    <a:cubicBezTo>
                      <a:pt x="128" y="76"/>
                      <a:pt x="128" y="76"/>
                      <a:pt x="127" y="76"/>
                    </a:cubicBezTo>
                    <a:cubicBezTo>
                      <a:pt x="126" y="75"/>
                      <a:pt x="127" y="79"/>
                      <a:pt x="128" y="79"/>
                    </a:cubicBezTo>
                    <a:cubicBezTo>
                      <a:pt x="127" y="79"/>
                      <a:pt x="127" y="78"/>
                      <a:pt x="127" y="78"/>
                    </a:cubicBezTo>
                    <a:cubicBezTo>
                      <a:pt x="126" y="77"/>
                      <a:pt x="126" y="77"/>
                      <a:pt x="126" y="77"/>
                    </a:cubicBezTo>
                    <a:cubicBezTo>
                      <a:pt x="126" y="77"/>
                      <a:pt x="126" y="76"/>
                      <a:pt x="125" y="76"/>
                    </a:cubicBezTo>
                    <a:cubicBezTo>
                      <a:pt x="125" y="76"/>
                      <a:pt x="125" y="77"/>
                      <a:pt x="125" y="77"/>
                    </a:cubicBezTo>
                    <a:cubicBezTo>
                      <a:pt x="125" y="77"/>
                      <a:pt x="125" y="78"/>
                      <a:pt x="125" y="78"/>
                    </a:cubicBezTo>
                    <a:cubicBezTo>
                      <a:pt x="125" y="79"/>
                      <a:pt x="125" y="79"/>
                      <a:pt x="124" y="80"/>
                    </a:cubicBezTo>
                    <a:cubicBezTo>
                      <a:pt x="124" y="80"/>
                      <a:pt x="124" y="81"/>
                      <a:pt x="124" y="81"/>
                    </a:cubicBezTo>
                    <a:cubicBezTo>
                      <a:pt x="124" y="82"/>
                      <a:pt x="124" y="82"/>
                      <a:pt x="124" y="83"/>
                    </a:cubicBezTo>
                    <a:cubicBezTo>
                      <a:pt x="124" y="82"/>
                      <a:pt x="123" y="80"/>
                      <a:pt x="123" y="80"/>
                    </a:cubicBezTo>
                    <a:cubicBezTo>
                      <a:pt x="123" y="80"/>
                      <a:pt x="122" y="80"/>
                      <a:pt x="122" y="79"/>
                    </a:cubicBezTo>
                    <a:cubicBezTo>
                      <a:pt x="122" y="79"/>
                      <a:pt x="122" y="79"/>
                      <a:pt x="122" y="78"/>
                    </a:cubicBezTo>
                    <a:cubicBezTo>
                      <a:pt x="122" y="78"/>
                      <a:pt x="122" y="77"/>
                      <a:pt x="122" y="77"/>
                    </a:cubicBezTo>
                    <a:cubicBezTo>
                      <a:pt x="122" y="76"/>
                      <a:pt x="121" y="76"/>
                      <a:pt x="121" y="75"/>
                    </a:cubicBezTo>
                    <a:cubicBezTo>
                      <a:pt x="121" y="75"/>
                      <a:pt x="121" y="75"/>
                      <a:pt x="121" y="74"/>
                    </a:cubicBezTo>
                    <a:cubicBezTo>
                      <a:pt x="121" y="74"/>
                      <a:pt x="121" y="74"/>
                      <a:pt x="121" y="74"/>
                    </a:cubicBezTo>
                    <a:cubicBezTo>
                      <a:pt x="121" y="73"/>
                      <a:pt x="121" y="73"/>
                      <a:pt x="121" y="73"/>
                    </a:cubicBezTo>
                    <a:cubicBezTo>
                      <a:pt x="121" y="73"/>
                      <a:pt x="120" y="73"/>
                      <a:pt x="120" y="73"/>
                    </a:cubicBezTo>
                    <a:cubicBezTo>
                      <a:pt x="120" y="72"/>
                      <a:pt x="120" y="72"/>
                      <a:pt x="120" y="72"/>
                    </a:cubicBezTo>
                    <a:cubicBezTo>
                      <a:pt x="120" y="72"/>
                      <a:pt x="120" y="72"/>
                      <a:pt x="120" y="72"/>
                    </a:cubicBezTo>
                    <a:cubicBezTo>
                      <a:pt x="119" y="72"/>
                      <a:pt x="120" y="70"/>
                      <a:pt x="120" y="70"/>
                    </a:cubicBezTo>
                    <a:cubicBezTo>
                      <a:pt x="121" y="71"/>
                      <a:pt x="121" y="70"/>
                      <a:pt x="120" y="70"/>
                    </a:cubicBezTo>
                    <a:cubicBezTo>
                      <a:pt x="120" y="70"/>
                      <a:pt x="121" y="70"/>
                      <a:pt x="120" y="69"/>
                    </a:cubicBezTo>
                    <a:cubicBezTo>
                      <a:pt x="120" y="69"/>
                      <a:pt x="119" y="71"/>
                      <a:pt x="118" y="71"/>
                    </a:cubicBezTo>
                    <a:cubicBezTo>
                      <a:pt x="117" y="72"/>
                      <a:pt x="117" y="73"/>
                      <a:pt x="118" y="74"/>
                    </a:cubicBezTo>
                    <a:cubicBezTo>
                      <a:pt x="117" y="73"/>
                      <a:pt x="117" y="74"/>
                      <a:pt x="117" y="74"/>
                    </a:cubicBezTo>
                    <a:cubicBezTo>
                      <a:pt x="116" y="74"/>
                      <a:pt x="116" y="74"/>
                      <a:pt x="115" y="74"/>
                    </a:cubicBezTo>
                    <a:cubicBezTo>
                      <a:pt x="115" y="74"/>
                      <a:pt x="115" y="75"/>
                      <a:pt x="115" y="76"/>
                    </a:cubicBezTo>
                    <a:cubicBezTo>
                      <a:pt x="115" y="76"/>
                      <a:pt x="114" y="75"/>
                      <a:pt x="114" y="75"/>
                    </a:cubicBezTo>
                    <a:cubicBezTo>
                      <a:pt x="114" y="75"/>
                      <a:pt x="114" y="76"/>
                      <a:pt x="114" y="76"/>
                    </a:cubicBezTo>
                    <a:cubicBezTo>
                      <a:pt x="114" y="76"/>
                      <a:pt x="114" y="76"/>
                      <a:pt x="114" y="76"/>
                    </a:cubicBezTo>
                    <a:cubicBezTo>
                      <a:pt x="112" y="77"/>
                      <a:pt x="110" y="79"/>
                      <a:pt x="110" y="81"/>
                    </a:cubicBezTo>
                    <a:cubicBezTo>
                      <a:pt x="110" y="82"/>
                      <a:pt x="110" y="83"/>
                      <a:pt x="110" y="84"/>
                    </a:cubicBezTo>
                    <a:cubicBezTo>
                      <a:pt x="110" y="85"/>
                      <a:pt x="110" y="86"/>
                      <a:pt x="110" y="86"/>
                    </a:cubicBezTo>
                    <a:cubicBezTo>
                      <a:pt x="110" y="86"/>
                      <a:pt x="110" y="87"/>
                      <a:pt x="110" y="87"/>
                    </a:cubicBezTo>
                    <a:cubicBezTo>
                      <a:pt x="111" y="86"/>
                      <a:pt x="112" y="88"/>
                      <a:pt x="111" y="89"/>
                    </a:cubicBezTo>
                    <a:cubicBezTo>
                      <a:pt x="110" y="89"/>
                      <a:pt x="109" y="90"/>
                      <a:pt x="108" y="91"/>
                    </a:cubicBezTo>
                    <a:cubicBezTo>
                      <a:pt x="107" y="92"/>
                      <a:pt x="107" y="92"/>
                      <a:pt x="106" y="92"/>
                    </a:cubicBezTo>
                    <a:cubicBezTo>
                      <a:pt x="105" y="92"/>
                      <a:pt x="105" y="92"/>
                      <a:pt x="105" y="93"/>
                    </a:cubicBezTo>
                    <a:cubicBezTo>
                      <a:pt x="105" y="93"/>
                      <a:pt x="104" y="93"/>
                      <a:pt x="105" y="94"/>
                    </a:cubicBezTo>
                    <a:cubicBezTo>
                      <a:pt x="105" y="94"/>
                      <a:pt x="104" y="95"/>
                      <a:pt x="104" y="95"/>
                    </a:cubicBezTo>
                    <a:cubicBezTo>
                      <a:pt x="103" y="95"/>
                      <a:pt x="103" y="95"/>
                      <a:pt x="103" y="96"/>
                    </a:cubicBezTo>
                    <a:cubicBezTo>
                      <a:pt x="103" y="96"/>
                      <a:pt x="103" y="97"/>
                      <a:pt x="102" y="98"/>
                    </a:cubicBezTo>
                    <a:cubicBezTo>
                      <a:pt x="101" y="99"/>
                      <a:pt x="101" y="100"/>
                      <a:pt x="99" y="102"/>
                    </a:cubicBezTo>
                    <a:cubicBezTo>
                      <a:pt x="99" y="102"/>
                      <a:pt x="98" y="103"/>
                      <a:pt x="98" y="103"/>
                    </a:cubicBezTo>
                    <a:cubicBezTo>
                      <a:pt x="96" y="105"/>
                      <a:pt x="93" y="106"/>
                      <a:pt x="90" y="107"/>
                    </a:cubicBezTo>
                    <a:cubicBezTo>
                      <a:pt x="88" y="108"/>
                      <a:pt x="87" y="108"/>
                      <a:pt x="85" y="109"/>
                    </a:cubicBezTo>
                    <a:cubicBezTo>
                      <a:pt x="84" y="109"/>
                      <a:pt x="83" y="109"/>
                      <a:pt x="83" y="109"/>
                    </a:cubicBezTo>
                    <a:cubicBezTo>
                      <a:pt x="82" y="109"/>
                      <a:pt x="82" y="109"/>
                      <a:pt x="82" y="110"/>
                    </a:cubicBezTo>
                    <a:cubicBezTo>
                      <a:pt x="81" y="110"/>
                      <a:pt x="81" y="110"/>
                      <a:pt x="80" y="109"/>
                    </a:cubicBezTo>
                    <a:cubicBezTo>
                      <a:pt x="80" y="109"/>
                      <a:pt x="79" y="109"/>
                      <a:pt x="79" y="109"/>
                    </a:cubicBezTo>
                    <a:cubicBezTo>
                      <a:pt x="79" y="109"/>
                      <a:pt x="78" y="108"/>
                      <a:pt x="78" y="109"/>
                    </a:cubicBezTo>
                    <a:cubicBezTo>
                      <a:pt x="77" y="109"/>
                      <a:pt x="77" y="109"/>
                      <a:pt x="77" y="109"/>
                    </a:cubicBezTo>
                    <a:cubicBezTo>
                      <a:pt x="77" y="109"/>
                      <a:pt x="77" y="109"/>
                      <a:pt x="77" y="109"/>
                    </a:cubicBezTo>
                    <a:cubicBezTo>
                      <a:pt x="76" y="109"/>
                      <a:pt x="75" y="111"/>
                      <a:pt x="74" y="112"/>
                    </a:cubicBezTo>
                    <a:cubicBezTo>
                      <a:pt x="73" y="112"/>
                      <a:pt x="72" y="113"/>
                      <a:pt x="72" y="113"/>
                    </a:cubicBezTo>
                    <a:cubicBezTo>
                      <a:pt x="71" y="112"/>
                      <a:pt x="70" y="113"/>
                      <a:pt x="70" y="113"/>
                    </a:cubicBezTo>
                    <a:cubicBezTo>
                      <a:pt x="69" y="113"/>
                      <a:pt x="69" y="113"/>
                      <a:pt x="68" y="113"/>
                    </a:cubicBezTo>
                    <a:cubicBezTo>
                      <a:pt x="68" y="113"/>
                      <a:pt x="68" y="113"/>
                      <a:pt x="67" y="113"/>
                    </a:cubicBezTo>
                    <a:cubicBezTo>
                      <a:pt x="67" y="113"/>
                      <a:pt x="67" y="113"/>
                      <a:pt x="67" y="113"/>
                    </a:cubicBezTo>
                    <a:cubicBezTo>
                      <a:pt x="67" y="113"/>
                      <a:pt x="66" y="114"/>
                      <a:pt x="66" y="114"/>
                    </a:cubicBezTo>
                    <a:cubicBezTo>
                      <a:pt x="65" y="115"/>
                      <a:pt x="64" y="116"/>
                      <a:pt x="62" y="116"/>
                    </a:cubicBezTo>
                    <a:cubicBezTo>
                      <a:pt x="62" y="117"/>
                      <a:pt x="61" y="116"/>
                      <a:pt x="61" y="117"/>
                    </a:cubicBezTo>
                    <a:cubicBezTo>
                      <a:pt x="60" y="117"/>
                      <a:pt x="59" y="117"/>
                      <a:pt x="59" y="117"/>
                    </a:cubicBezTo>
                    <a:cubicBezTo>
                      <a:pt x="58" y="117"/>
                      <a:pt x="58" y="117"/>
                      <a:pt x="57" y="116"/>
                    </a:cubicBezTo>
                    <a:cubicBezTo>
                      <a:pt x="57" y="116"/>
                      <a:pt x="57" y="115"/>
                      <a:pt x="57" y="116"/>
                    </a:cubicBezTo>
                    <a:cubicBezTo>
                      <a:pt x="56" y="116"/>
                      <a:pt x="57" y="116"/>
                      <a:pt x="56" y="116"/>
                    </a:cubicBezTo>
                    <a:cubicBezTo>
                      <a:pt x="56" y="116"/>
                      <a:pt x="56" y="116"/>
                      <a:pt x="55" y="116"/>
                    </a:cubicBezTo>
                    <a:cubicBezTo>
                      <a:pt x="55" y="117"/>
                      <a:pt x="54" y="117"/>
                      <a:pt x="54" y="117"/>
                    </a:cubicBezTo>
                    <a:cubicBezTo>
                      <a:pt x="53" y="117"/>
                      <a:pt x="54" y="115"/>
                      <a:pt x="54" y="115"/>
                    </a:cubicBezTo>
                    <a:cubicBezTo>
                      <a:pt x="54" y="115"/>
                      <a:pt x="53" y="116"/>
                      <a:pt x="53" y="116"/>
                    </a:cubicBezTo>
                    <a:cubicBezTo>
                      <a:pt x="52" y="117"/>
                      <a:pt x="52" y="117"/>
                      <a:pt x="51" y="117"/>
                    </a:cubicBezTo>
                    <a:cubicBezTo>
                      <a:pt x="50" y="117"/>
                      <a:pt x="50" y="118"/>
                      <a:pt x="50" y="118"/>
                    </a:cubicBezTo>
                    <a:cubicBezTo>
                      <a:pt x="49" y="118"/>
                      <a:pt x="48" y="119"/>
                      <a:pt x="48" y="119"/>
                    </a:cubicBezTo>
                    <a:cubicBezTo>
                      <a:pt x="48" y="119"/>
                      <a:pt x="47" y="118"/>
                      <a:pt x="47" y="119"/>
                    </a:cubicBezTo>
                    <a:cubicBezTo>
                      <a:pt x="47" y="120"/>
                      <a:pt x="47" y="120"/>
                      <a:pt x="46" y="120"/>
                    </a:cubicBezTo>
                    <a:cubicBezTo>
                      <a:pt x="46" y="120"/>
                      <a:pt x="45" y="121"/>
                      <a:pt x="44" y="121"/>
                    </a:cubicBezTo>
                    <a:cubicBezTo>
                      <a:pt x="44" y="122"/>
                      <a:pt x="44" y="122"/>
                      <a:pt x="43" y="123"/>
                    </a:cubicBezTo>
                    <a:cubicBezTo>
                      <a:pt x="42" y="123"/>
                      <a:pt x="42" y="123"/>
                      <a:pt x="41" y="124"/>
                    </a:cubicBezTo>
                    <a:cubicBezTo>
                      <a:pt x="41" y="124"/>
                      <a:pt x="40" y="125"/>
                      <a:pt x="40" y="125"/>
                    </a:cubicBezTo>
                    <a:cubicBezTo>
                      <a:pt x="39" y="126"/>
                      <a:pt x="37" y="127"/>
                      <a:pt x="36" y="127"/>
                    </a:cubicBezTo>
                    <a:cubicBezTo>
                      <a:pt x="35" y="128"/>
                      <a:pt x="34" y="128"/>
                      <a:pt x="34" y="128"/>
                    </a:cubicBezTo>
                    <a:cubicBezTo>
                      <a:pt x="33" y="128"/>
                      <a:pt x="33" y="129"/>
                      <a:pt x="32" y="129"/>
                    </a:cubicBezTo>
                    <a:cubicBezTo>
                      <a:pt x="31" y="129"/>
                      <a:pt x="31" y="129"/>
                      <a:pt x="31" y="130"/>
                    </a:cubicBezTo>
                    <a:cubicBezTo>
                      <a:pt x="30" y="130"/>
                      <a:pt x="30" y="131"/>
                      <a:pt x="30" y="131"/>
                    </a:cubicBezTo>
                    <a:cubicBezTo>
                      <a:pt x="30" y="131"/>
                      <a:pt x="30" y="131"/>
                      <a:pt x="29" y="131"/>
                    </a:cubicBezTo>
                    <a:cubicBezTo>
                      <a:pt x="29" y="131"/>
                      <a:pt x="29" y="133"/>
                      <a:pt x="29" y="133"/>
                    </a:cubicBezTo>
                    <a:cubicBezTo>
                      <a:pt x="29" y="133"/>
                      <a:pt x="28" y="134"/>
                      <a:pt x="28" y="134"/>
                    </a:cubicBezTo>
                    <a:cubicBezTo>
                      <a:pt x="28" y="135"/>
                      <a:pt x="27" y="137"/>
                      <a:pt x="27" y="136"/>
                    </a:cubicBezTo>
                    <a:cubicBezTo>
                      <a:pt x="27" y="136"/>
                      <a:pt x="27" y="136"/>
                      <a:pt x="26" y="136"/>
                    </a:cubicBezTo>
                    <a:cubicBezTo>
                      <a:pt x="26" y="136"/>
                      <a:pt x="26" y="137"/>
                      <a:pt x="25" y="137"/>
                    </a:cubicBezTo>
                    <a:cubicBezTo>
                      <a:pt x="24" y="137"/>
                      <a:pt x="26" y="135"/>
                      <a:pt x="26" y="134"/>
                    </a:cubicBezTo>
                    <a:cubicBezTo>
                      <a:pt x="25" y="134"/>
                      <a:pt x="25" y="135"/>
                      <a:pt x="25" y="135"/>
                    </a:cubicBezTo>
                    <a:cubicBezTo>
                      <a:pt x="25" y="134"/>
                      <a:pt x="25" y="133"/>
                      <a:pt x="25" y="132"/>
                    </a:cubicBezTo>
                    <a:cubicBezTo>
                      <a:pt x="26" y="132"/>
                      <a:pt x="26" y="131"/>
                      <a:pt x="26" y="130"/>
                    </a:cubicBezTo>
                    <a:cubicBezTo>
                      <a:pt x="26" y="130"/>
                      <a:pt x="27" y="129"/>
                      <a:pt x="26" y="129"/>
                    </a:cubicBezTo>
                    <a:cubicBezTo>
                      <a:pt x="26" y="129"/>
                      <a:pt x="25" y="129"/>
                      <a:pt x="25" y="129"/>
                    </a:cubicBezTo>
                    <a:cubicBezTo>
                      <a:pt x="24" y="131"/>
                      <a:pt x="23" y="132"/>
                      <a:pt x="23" y="134"/>
                    </a:cubicBezTo>
                    <a:cubicBezTo>
                      <a:pt x="22" y="135"/>
                      <a:pt x="22" y="135"/>
                      <a:pt x="21" y="136"/>
                    </a:cubicBezTo>
                    <a:cubicBezTo>
                      <a:pt x="21" y="136"/>
                      <a:pt x="21" y="137"/>
                      <a:pt x="20" y="137"/>
                    </a:cubicBezTo>
                    <a:cubicBezTo>
                      <a:pt x="20" y="138"/>
                      <a:pt x="20" y="139"/>
                      <a:pt x="20" y="139"/>
                    </a:cubicBezTo>
                    <a:cubicBezTo>
                      <a:pt x="20" y="139"/>
                      <a:pt x="21" y="139"/>
                      <a:pt x="21" y="139"/>
                    </a:cubicBezTo>
                    <a:cubicBezTo>
                      <a:pt x="21" y="140"/>
                      <a:pt x="21" y="140"/>
                      <a:pt x="21" y="140"/>
                    </a:cubicBezTo>
                    <a:cubicBezTo>
                      <a:pt x="21" y="141"/>
                      <a:pt x="21" y="142"/>
                      <a:pt x="21" y="143"/>
                    </a:cubicBezTo>
                    <a:cubicBezTo>
                      <a:pt x="21" y="143"/>
                      <a:pt x="20" y="143"/>
                      <a:pt x="20" y="144"/>
                    </a:cubicBezTo>
                    <a:cubicBezTo>
                      <a:pt x="20" y="145"/>
                      <a:pt x="20" y="147"/>
                      <a:pt x="19" y="148"/>
                    </a:cubicBezTo>
                    <a:cubicBezTo>
                      <a:pt x="19" y="149"/>
                      <a:pt x="18" y="149"/>
                      <a:pt x="18" y="149"/>
                    </a:cubicBezTo>
                    <a:cubicBezTo>
                      <a:pt x="17" y="150"/>
                      <a:pt x="17" y="150"/>
                      <a:pt x="17" y="150"/>
                    </a:cubicBezTo>
                    <a:cubicBezTo>
                      <a:pt x="17" y="151"/>
                      <a:pt x="17" y="151"/>
                      <a:pt x="16" y="151"/>
                    </a:cubicBezTo>
                    <a:cubicBezTo>
                      <a:pt x="16" y="152"/>
                      <a:pt x="16" y="152"/>
                      <a:pt x="16" y="152"/>
                    </a:cubicBezTo>
                    <a:cubicBezTo>
                      <a:pt x="16" y="153"/>
                      <a:pt x="16" y="153"/>
                      <a:pt x="15" y="154"/>
                    </a:cubicBezTo>
                    <a:cubicBezTo>
                      <a:pt x="15" y="154"/>
                      <a:pt x="15" y="155"/>
                      <a:pt x="15" y="155"/>
                    </a:cubicBezTo>
                    <a:cubicBezTo>
                      <a:pt x="15" y="156"/>
                      <a:pt x="14" y="156"/>
                      <a:pt x="14" y="157"/>
                    </a:cubicBezTo>
                    <a:cubicBezTo>
                      <a:pt x="14" y="158"/>
                      <a:pt x="14" y="159"/>
                      <a:pt x="15" y="159"/>
                    </a:cubicBezTo>
                    <a:cubicBezTo>
                      <a:pt x="15" y="160"/>
                      <a:pt x="16" y="160"/>
                      <a:pt x="16" y="161"/>
                    </a:cubicBezTo>
                    <a:cubicBezTo>
                      <a:pt x="16" y="162"/>
                      <a:pt x="15" y="162"/>
                      <a:pt x="16" y="163"/>
                    </a:cubicBezTo>
                    <a:cubicBezTo>
                      <a:pt x="16" y="163"/>
                      <a:pt x="16" y="163"/>
                      <a:pt x="16" y="164"/>
                    </a:cubicBezTo>
                    <a:cubicBezTo>
                      <a:pt x="15" y="164"/>
                      <a:pt x="16" y="165"/>
                      <a:pt x="16" y="165"/>
                    </a:cubicBezTo>
                    <a:cubicBezTo>
                      <a:pt x="17" y="166"/>
                      <a:pt x="17" y="166"/>
                      <a:pt x="17" y="167"/>
                    </a:cubicBezTo>
                    <a:cubicBezTo>
                      <a:pt x="17" y="168"/>
                      <a:pt x="17" y="170"/>
                      <a:pt x="18" y="171"/>
                    </a:cubicBezTo>
                    <a:cubicBezTo>
                      <a:pt x="18" y="172"/>
                      <a:pt x="18" y="172"/>
                      <a:pt x="19" y="173"/>
                    </a:cubicBezTo>
                    <a:cubicBezTo>
                      <a:pt x="19" y="173"/>
                      <a:pt x="19" y="173"/>
                      <a:pt x="19" y="174"/>
                    </a:cubicBezTo>
                    <a:cubicBezTo>
                      <a:pt x="19" y="174"/>
                      <a:pt x="19" y="174"/>
                      <a:pt x="19" y="175"/>
                    </a:cubicBezTo>
                    <a:cubicBezTo>
                      <a:pt x="19" y="175"/>
                      <a:pt x="18" y="175"/>
                      <a:pt x="18" y="175"/>
                    </a:cubicBezTo>
                    <a:cubicBezTo>
                      <a:pt x="19" y="175"/>
                      <a:pt x="18" y="177"/>
                      <a:pt x="18" y="177"/>
                    </a:cubicBezTo>
                    <a:cubicBezTo>
                      <a:pt x="18" y="178"/>
                      <a:pt x="18" y="178"/>
                      <a:pt x="18" y="179"/>
                    </a:cubicBezTo>
                    <a:cubicBezTo>
                      <a:pt x="17" y="179"/>
                      <a:pt x="17" y="180"/>
                      <a:pt x="16" y="180"/>
                    </a:cubicBezTo>
                    <a:cubicBezTo>
                      <a:pt x="16" y="180"/>
                      <a:pt x="15" y="178"/>
                      <a:pt x="15" y="177"/>
                    </a:cubicBezTo>
                    <a:cubicBezTo>
                      <a:pt x="15" y="177"/>
                      <a:pt x="16" y="175"/>
                      <a:pt x="15" y="174"/>
                    </a:cubicBezTo>
                    <a:cubicBezTo>
                      <a:pt x="15" y="175"/>
                      <a:pt x="15" y="177"/>
                      <a:pt x="14" y="177"/>
                    </a:cubicBezTo>
                    <a:cubicBezTo>
                      <a:pt x="13" y="178"/>
                      <a:pt x="13" y="176"/>
                      <a:pt x="13" y="176"/>
                    </a:cubicBezTo>
                    <a:cubicBezTo>
                      <a:pt x="14" y="175"/>
                      <a:pt x="14" y="174"/>
                      <a:pt x="14" y="174"/>
                    </a:cubicBezTo>
                    <a:cubicBezTo>
                      <a:pt x="14" y="173"/>
                      <a:pt x="14" y="173"/>
                      <a:pt x="14" y="172"/>
                    </a:cubicBezTo>
                    <a:cubicBezTo>
                      <a:pt x="13" y="172"/>
                      <a:pt x="13" y="171"/>
                      <a:pt x="13" y="171"/>
                    </a:cubicBezTo>
                    <a:cubicBezTo>
                      <a:pt x="12" y="170"/>
                      <a:pt x="13" y="170"/>
                      <a:pt x="13" y="170"/>
                    </a:cubicBezTo>
                    <a:cubicBezTo>
                      <a:pt x="13" y="170"/>
                      <a:pt x="12" y="170"/>
                      <a:pt x="12" y="170"/>
                    </a:cubicBezTo>
                    <a:cubicBezTo>
                      <a:pt x="12" y="171"/>
                      <a:pt x="11" y="172"/>
                      <a:pt x="12" y="172"/>
                    </a:cubicBezTo>
                    <a:cubicBezTo>
                      <a:pt x="12" y="173"/>
                      <a:pt x="12" y="175"/>
                      <a:pt x="12" y="176"/>
                    </a:cubicBezTo>
                    <a:cubicBezTo>
                      <a:pt x="12" y="176"/>
                      <a:pt x="13" y="177"/>
                      <a:pt x="13" y="177"/>
                    </a:cubicBezTo>
                    <a:cubicBezTo>
                      <a:pt x="14" y="178"/>
                      <a:pt x="14" y="178"/>
                      <a:pt x="14" y="179"/>
                    </a:cubicBezTo>
                    <a:cubicBezTo>
                      <a:pt x="14" y="180"/>
                      <a:pt x="14" y="181"/>
                      <a:pt x="13" y="182"/>
                    </a:cubicBezTo>
                    <a:cubicBezTo>
                      <a:pt x="13" y="182"/>
                      <a:pt x="13" y="181"/>
                      <a:pt x="13" y="181"/>
                    </a:cubicBezTo>
                    <a:cubicBezTo>
                      <a:pt x="13" y="182"/>
                      <a:pt x="12" y="182"/>
                      <a:pt x="12" y="182"/>
                    </a:cubicBezTo>
                    <a:cubicBezTo>
                      <a:pt x="12" y="182"/>
                      <a:pt x="12" y="183"/>
                      <a:pt x="12" y="182"/>
                    </a:cubicBezTo>
                    <a:cubicBezTo>
                      <a:pt x="12" y="182"/>
                      <a:pt x="12" y="180"/>
                      <a:pt x="12" y="180"/>
                    </a:cubicBezTo>
                    <a:cubicBezTo>
                      <a:pt x="11" y="180"/>
                      <a:pt x="11" y="182"/>
                      <a:pt x="11" y="182"/>
                    </a:cubicBezTo>
                    <a:cubicBezTo>
                      <a:pt x="11" y="182"/>
                      <a:pt x="11" y="179"/>
                      <a:pt x="11" y="178"/>
                    </a:cubicBezTo>
                    <a:cubicBezTo>
                      <a:pt x="11" y="177"/>
                      <a:pt x="11" y="179"/>
                      <a:pt x="11" y="179"/>
                    </a:cubicBezTo>
                    <a:cubicBezTo>
                      <a:pt x="11" y="179"/>
                      <a:pt x="11" y="178"/>
                      <a:pt x="11" y="178"/>
                    </a:cubicBezTo>
                    <a:cubicBezTo>
                      <a:pt x="11" y="178"/>
                      <a:pt x="11" y="176"/>
                      <a:pt x="10" y="177"/>
                    </a:cubicBezTo>
                    <a:cubicBezTo>
                      <a:pt x="10" y="176"/>
                      <a:pt x="11" y="176"/>
                      <a:pt x="10" y="175"/>
                    </a:cubicBezTo>
                    <a:cubicBezTo>
                      <a:pt x="10" y="176"/>
                      <a:pt x="10" y="177"/>
                      <a:pt x="10" y="177"/>
                    </a:cubicBezTo>
                    <a:cubicBezTo>
                      <a:pt x="10" y="178"/>
                      <a:pt x="10" y="179"/>
                      <a:pt x="10" y="179"/>
                    </a:cubicBezTo>
                    <a:cubicBezTo>
                      <a:pt x="9" y="179"/>
                      <a:pt x="9" y="178"/>
                      <a:pt x="9" y="178"/>
                    </a:cubicBezTo>
                    <a:cubicBezTo>
                      <a:pt x="9" y="178"/>
                      <a:pt x="10" y="177"/>
                      <a:pt x="10" y="177"/>
                    </a:cubicBezTo>
                    <a:cubicBezTo>
                      <a:pt x="10" y="176"/>
                      <a:pt x="10" y="175"/>
                      <a:pt x="10" y="175"/>
                    </a:cubicBezTo>
                    <a:cubicBezTo>
                      <a:pt x="10" y="175"/>
                      <a:pt x="9" y="177"/>
                      <a:pt x="9" y="178"/>
                    </a:cubicBezTo>
                    <a:cubicBezTo>
                      <a:pt x="9" y="177"/>
                      <a:pt x="9" y="177"/>
                      <a:pt x="8" y="177"/>
                    </a:cubicBezTo>
                    <a:cubicBezTo>
                      <a:pt x="8" y="177"/>
                      <a:pt x="8" y="177"/>
                      <a:pt x="9" y="178"/>
                    </a:cubicBezTo>
                    <a:cubicBezTo>
                      <a:pt x="9" y="178"/>
                      <a:pt x="9" y="178"/>
                      <a:pt x="9" y="179"/>
                    </a:cubicBezTo>
                    <a:cubicBezTo>
                      <a:pt x="9" y="180"/>
                      <a:pt x="10" y="181"/>
                      <a:pt x="10" y="181"/>
                    </a:cubicBezTo>
                    <a:cubicBezTo>
                      <a:pt x="11" y="183"/>
                      <a:pt x="12" y="185"/>
                      <a:pt x="13" y="187"/>
                    </a:cubicBezTo>
                    <a:cubicBezTo>
                      <a:pt x="13" y="188"/>
                      <a:pt x="14" y="190"/>
                      <a:pt x="14" y="192"/>
                    </a:cubicBezTo>
                    <a:cubicBezTo>
                      <a:pt x="14" y="193"/>
                      <a:pt x="14" y="194"/>
                      <a:pt x="13" y="194"/>
                    </a:cubicBezTo>
                    <a:cubicBezTo>
                      <a:pt x="13" y="195"/>
                      <a:pt x="13" y="196"/>
                      <a:pt x="13" y="197"/>
                    </a:cubicBezTo>
                    <a:cubicBezTo>
                      <a:pt x="13" y="198"/>
                      <a:pt x="14" y="199"/>
                      <a:pt x="14" y="201"/>
                    </a:cubicBezTo>
                    <a:cubicBezTo>
                      <a:pt x="14" y="202"/>
                      <a:pt x="15" y="202"/>
                      <a:pt x="15" y="203"/>
                    </a:cubicBezTo>
                    <a:cubicBezTo>
                      <a:pt x="15" y="204"/>
                      <a:pt x="15" y="205"/>
                      <a:pt x="15" y="205"/>
                    </a:cubicBezTo>
                    <a:cubicBezTo>
                      <a:pt x="14" y="207"/>
                      <a:pt x="15" y="208"/>
                      <a:pt x="15" y="209"/>
                    </a:cubicBezTo>
                    <a:cubicBezTo>
                      <a:pt x="15" y="211"/>
                      <a:pt x="15" y="213"/>
                      <a:pt x="15" y="214"/>
                    </a:cubicBezTo>
                    <a:cubicBezTo>
                      <a:pt x="14" y="215"/>
                      <a:pt x="14" y="216"/>
                      <a:pt x="14" y="217"/>
                    </a:cubicBezTo>
                    <a:cubicBezTo>
                      <a:pt x="14" y="218"/>
                      <a:pt x="14" y="219"/>
                      <a:pt x="14" y="220"/>
                    </a:cubicBezTo>
                    <a:cubicBezTo>
                      <a:pt x="14" y="220"/>
                      <a:pt x="14" y="220"/>
                      <a:pt x="14" y="220"/>
                    </a:cubicBezTo>
                    <a:cubicBezTo>
                      <a:pt x="14" y="221"/>
                      <a:pt x="14" y="221"/>
                      <a:pt x="14" y="221"/>
                    </a:cubicBezTo>
                    <a:cubicBezTo>
                      <a:pt x="14" y="222"/>
                      <a:pt x="14" y="222"/>
                      <a:pt x="14" y="222"/>
                    </a:cubicBezTo>
                    <a:cubicBezTo>
                      <a:pt x="14" y="222"/>
                      <a:pt x="14" y="223"/>
                      <a:pt x="14" y="223"/>
                    </a:cubicBezTo>
                    <a:cubicBezTo>
                      <a:pt x="14" y="224"/>
                      <a:pt x="14" y="225"/>
                      <a:pt x="14" y="226"/>
                    </a:cubicBezTo>
                    <a:cubicBezTo>
                      <a:pt x="14" y="227"/>
                      <a:pt x="14" y="228"/>
                      <a:pt x="14" y="228"/>
                    </a:cubicBezTo>
                    <a:cubicBezTo>
                      <a:pt x="15" y="230"/>
                      <a:pt x="15" y="231"/>
                      <a:pt x="15" y="233"/>
                    </a:cubicBezTo>
                    <a:cubicBezTo>
                      <a:pt x="15" y="235"/>
                      <a:pt x="16" y="237"/>
                      <a:pt x="16" y="238"/>
                    </a:cubicBezTo>
                    <a:cubicBezTo>
                      <a:pt x="16" y="239"/>
                      <a:pt x="15" y="240"/>
                      <a:pt x="15" y="241"/>
                    </a:cubicBezTo>
                    <a:cubicBezTo>
                      <a:pt x="15" y="241"/>
                      <a:pt x="15" y="242"/>
                      <a:pt x="15" y="243"/>
                    </a:cubicBezTo>
                    <a:cubicBezTo>
                      <a:pt x="14" y="244"/>
                      <a:pt x="14" y="244"/>
                      <a:pt x="14" y="244"/>
                    </a:cubicBezTo>
                    <a:cubicBezTo>
                      <a:pt x="14" y="244"/>
                      <a:pt x="14" y="244"/>
                      <a:pt x="14" y="244"/>
                    </a:cubicBezTo>
                    <a:cubicBezTo>
                      <a:pt x="14" y="245"/>
                      <a:pt x="14" y="245"/>
                      <a:pt x="14" y="245"/>
                    </a:cubicBezTo>
                    <a:cubicBezTo>
                      <a:pt x="14" y="246"/>
                      <a:pt x="14" y="246"/>
                      <a:pt x="13" y="247"/>
                    </a:cubicBezTo>
                    <a:cubicBezTo>
                      <a:pt x="13" y="247"/>
                      <a:pt x="13" y="247"/>
                      <a:pt x="13" y="248"/>
                    </a:cubicBezTo>
                    <a:cubicBezTo>
                      <a:pt x="13" y="249"/>
                      <a:pt x="12" y="247"/>
                      <a:pt x="12" y="249"/>
                    </a:cubicBezTo>
                    <a:cubicBezTo>
                      <a:pt x="12" y="249"/>
                      <a:pt x="12" y="250"/>
                      <a:pt x="12" y="249"/>
                    </a:cubicBezTo>
                    <a:cubicBezTo>
                      <a:pt x="12" y="249"/>
                      <a:pt x="12" y="248"/>
                      <a:pt x="12" y="248"/>
                    </a:cubicBezTo>
                    <a:cubicBezTo>
                      <a:pt x="12" y="247"/>
                      <a:pt x="13" y="247"/>
                      <a:pt x="13" y="247"/>
                    </a:cubicBezTo>
                    <a:cubicBezTo>
                      <a:pt x="13" y="247"/>
                      <a:pt x="12" y="248"/>
                      <a:pt x="12" y="248"/>
                    </a:cubicBezTo>
                    <a:cubicBezTo>
                      <a:pt x="11" y="248"/>
                      <a:pt x="11" y="249"/>
                      <a:pt x="11" y="250"/>
                    </a:cubicBezTo>
                    <a:cubicBezTo>
                      <a:pt x="11" y="252"/>
                      <a:pt x="11" y="253"/>
                      <a:pt x="10" y="255"/>
                    </a:cubicBezTo>
                    <a:cubicBezTo>
                      <a:pt x="10" y="255"/>
                      <a:pt x="10" y="254"/>
                      <a:pt x="11" y="254"/>
                    </a:cubicBezTo>
                    <a:cubicBezTo>
                      <a:pt x="11" y="255"/>
                      <a:pt x="10" y="255"/>
                      <a:pt x="9" y="256"/>
                    </a:cubicBezTo>
                    <a:cubicBezTo>
                      <a:pt x="9" y="256"/>
                      <a:pt x="8" y="257"/>
                      <a:pt x="8" y="258"/>
                    </a:cubicBezTo>
                    <a:cubicBezTo>
                      <a:pt x="7" y="258"/>
                      <a:pt x="5" y="260"/>
                      <a:pt x="4" y="259"/>
                    </a:cubicBezTo>
                    <a:cubicBezTo>
                      <a:pt x="3" y="258"/>
                      <a:pt x="4" y="258"/>
                      <a:pt x="3" y="258"/>
                    </a:cubicBezTo>
                    <a:cubicBezTo>
                      <a:pt x="3" y="258"/>
                      <a:pt x="3" y="259"/>
                      <a:pt x="2" y="259"/>
                    </a:cubicBezTo>
                    <a:cubicBezTo>
                      <a:pt x="2" y="260"/>
                      <a:pt x="2" y="260"/>
                      <a:pt x="2" y="261"/>
                    </a:cubicBezTo>
                    <a:cubicBezTo>
                      <a:pt x="1" y="262"/>
                      <a:pt x="1" y="263"/>
                      <a:pt x="1" y="264"/>
                    </a:cubicBezTo>
                    <a:cubicBezTo>
                      <a:pt x="1" y="264"/>
                      <a:pt x="0" y="266"/>
                      <a:pt x="1" y="266"/>
                    </a:cubicBezTo>
                    <a:cubicBezTo>
                      <a:pt x="1" y="267"/>
                      <a:pt x="1" y="266"/>
                      <a:pt x="2" y="266"/>
                    </a:cubicBezTo>
                    <a:cubicBezTo>
                      <a:pt x="4" y="266"/>
                      <a:pt x="5" y="268"/>
                      <a:pt x="6" y="269"/>
                    </a:cubicBezTo>
                    <a:cubicBezTo>
                      <a:pt x="6" y="270"/>
                      <a:pt x="7" y="271"/>
                      <a:pt x="7" y="271"/>
                    </a:cubicBezTo>
                    <a:cubicBezTo>
                      <a:pt x="7" y="272"/>
                      <a:pt x="7" y="272"/>
                      <a:pt x="8" y="272"/>
                    </a:cubicBezTo>
                    <a:cubicBezTo>
                      <a:pt x="9" y="272"/>
                      <a:pt x="9" y="273"/>
                      <a:pt x="10" y="273"/>
                    </a:cubicBezTo>
                    <a:cubicBezTo>
                      <a:pt x="10" y="273"/>
                      <a:pt x="11" y="273"/>
                      <a:pt x="11" y="272"/>
                    </a:cubicBezTo>
                    <a:cubicBezTo>
                      <a:pt x="11" y="273"/>
                      <a:pt x="12" y="273"/>
                      <a:pt x="11" y="273"/>
                    </a:cubicBezTo>
                    <a:cubicBezTo>
                      <a:pt x="10" y="273"/>
                      <a:pt x="11" y="274"/>
                      <a:pt x="11" y="274"/>
                    </a:cubicBezTo>
                    <a:cubicBezTo>
                      <a:pt x="12" y="274"/>
                      <a:pt x="13" y="274"/>
                      <a:pt x="14" y="274"/>
                    </a:cubicBezTo>
                    <a:cubicBezTo>
                      <a:pt x="14" y="274"/>
                      <a:pt x="14" y="275"/>
                      <a:pt x="15" y="274"/>
                    </a:cubicBezTo>
                    <a:cubicBezTo>
                      <a:pt x="15" y="274"/>
                      <a:pt x="15" y="274"/>
                      <a:pt x="15" y="274"/>
                    </a:cubicBezTo>
                    <a:cubicBezTo>
                      <a:pt x="16" y="274"/>
                      <a:pt x="16" y="274"/>
                      <a:pt x="17" y="274"/>
                    </a:cubicBezTo>
                    <a:cubicBezTo>
                      <a:pt x="17" y="274"/>
                      <a:pt x="17" y="274"/>
                      <a:pt x="18" y="274"/>
                    </a:cubicBezTo>
                    <a:cubicBezTo>
                      <a:pt x="18" y="274"/>
                      <a:pt x="19" y="274"/>
                      <a:pt x="19" y="274"/>
                    </a:cubicBezTo>
                    <a:cubicBezTo>
                      <a:pt x="19" y="274"/>
                      <a:pt x="21" y="275"/>
                      <a:pt x="21" y="275"/>
                    </a:cubicBezTo>
                    <a:cubicBezTo>
                      <a:pt x="21" y="275"/>
                      <a:pt x="22" y="274"/>
                      <a:pt x="23" y="275"/>
                    </a:cubicBezTo>
                    <a:cubicBezTo>
                      <a:pt x="23" y="275"/>
                      <a:pt x="23" y="275"/>
                      <a:pt x="24" y="275"/>
                    </a:cubicBezTo>
                    <a:cubicBezTo>
                      <a:pt x="24" y="275"/>
                      <a:pt x="24" y="275"/>
                      <a:pt x="24" y="275"/>
                    </a:cubicBezTo>
                    <a:cubicBezTo>
                      <a:pt x="24" y="275"/>
                      <a:pt x="24" y="275"/>
                      <a:pt x="24" y="275"/>
                    </a:cubicBezTo>
                    <a:cubicBezTo>
                      <a:pt x="24" y="275"/>
                      <a:pt x="24" y="274"/>
                      <a:pt x="24" y="274"/>
                    </a:cubicBezTo>
                    <a:cubicBezTo>
                      <a:pt x="24" y="275"/>
                      <a:pt x="24" y="275"/>
                      <a:pt x="24" y="275"/>
                    </a:cubicBezTo>
                    <a:cubicBezTo>
                      <a:pt x="23" y="274"/>
                      <a:pt x="24" y="274"/>
                      <a:pt x="24" y="274"/>
                    </a:cubicBezTo>
                    <a:cubicBezTo>
                      <a:pt x="24" y="274"/>
                      <a:pt x="25" y="274"/>
                      <a:pt x="26" y="274"/>
                    </a:cubicBezTo>
                    <a:cubicBezTo>
                      <a:pt x="26" y="274"/>
                      <a:pt x="26" y="274"/>
                      <a:pt x="27" y="274"/>
                    </a:cubicBezTo>
                    <a:cubicBezTo>
                      <a:pt x="27" y="274"/>
                      <a:pt x="26" y="274"/>
                      <a:pt x="27" y="274"/>
                    </a:cubicBezTo>
                    <a:cubicBezTo>
                      <a:pt x="27" y="273"/>
                      <a:pt x="27" y="273"/>
                      <a:pt x="28" y="273"/>
                    </a:cubicBezTo>
                    <a:cubicBezTo>
                      <a:pt x="28" y="273"/>
                      <a:pt x="29" y="273"/>
                      <a:pt x="29" y="273"/>
                    </a:cubicBezTo>
                    <a:cubicBezTo>
                      <a:pt x="29" y="272"/>
                      <a:pt x="29" y="272"/>
                      <a:pt x="30" y="271"/>
                    </a:cubicBezTo>
                    <a:cubicBezTo>
                      <a:pt x="31" y="270"/>
                      <a:pt x="32" y="270"/>
                      <a:pt x="33" y="270"/>
                    </a:cubicBezTo>
                    <a:cubicBezTo>
                      <a:pt x="33" y="269"/>
                      <a:pt x="34" y="269"/>
                      <a:pt x="34" y="269"/>
                    </a:cubicBezTo>
                    <a:cubicBezTo>
                      <a:pt x="34" y="269"/>
                      <a:pt x="35" y="269"/>
                      <a:pt x="35" y="268"/>
                    </a:cubicBezTo>
                    <a:cubicBezTo>
                      <a:pt x="35" y="268"/>
                      <a:pt x="35" y="268"/>
                      <a:pt x="35" y="268"/>
                    </a:cubicBezTo>
                    <a:cubicBezTo>
                      <a:pt x="35" y="268"/>
                      <a:pt x="36" y="268"/>
                      <a:pt x="37" y="268"/>
                    </a:cubicBezTo>
                    <a:cubicBezTo>
                      <a:pt x="37" y="268"/>
                      <a:pt x="37" y="268"/>
                      <a:pt x="38" y="268"/>
                    </a:cubicBezTo>
                    <a:cubicBezTo>
                      <a:pt x="38" y="269"/>
                      <a:pt x="38" y="268"/>
                      <a:pt x="38" y="269"/>
                    </a:cubicBezTo>
                    <a:cubicBezTo>
                      <a:pt x="38" y="269"/>
                      <a:pt x="39" y="268"/>
                      <a:pt x="39" y="268"/>
                    </a:cubicBezTo>
                    <a:cubicBezTo>
                      <a:pt x="39" y="268"/>
                      <a:pt x="39" y="269"/>
                      <a:pt x="40" y="268"/>
                    </a:cubicBezTo>
                    <a:cubicBezTo>
                      <a:pt x="40" y="268"/>
                      <a:pt x="40" y="267"/>
                      <a:pt x="40" y="267"/>
                    </a:cubicBezTo>
                    <a:cubicBezTo>
                      <a:pt x="41" y="267"/>
                      <a:pt x="41" y="267"/>
                      <a:pt x="41" y="267"/>
                    </a:cubicBezTo>
                    <a:cubicBezTo>
                      <a:pt x="41" y="267"/>
                      <a:pt x="41" y="267"/>
                      <a:pt x="42" y="267"/>
                    </a:cubicBezTo>
                    <a:cubicBezTo>
                      <a:pt x="40" y="266"/>
                      <a:pt x="43" y="264"/>
                      <a:pt x="44" y="264"/>
                    </a:cubicBezTo>
                    <a:cubicBezTo>
                      <a:pt x="44" y="264"/>
                      <a:pt x="45" y="263"/>
                      <a:pt x="46" y="263"/>
                    </a:cubicBezTo>
                    <a:cubicBezTo>
                      <a:pt x="46" y="262"/>
                      <a:pt x="46" y="263"/>
                      <a:pt x="47" y="262"/>
                    </a:cubicBezTo>
                    <a:cubicBezTo>
                      <a:pt x="47" y="262"/>
                      <a:pt x="47" y="262"/>
                      <a:pt x="48" y="262"/>
                    </a:cubicBezTo>
                    <a:cubicBezTo>
                      <a:pt x="48" y="262"/>
                      <a:pt x="48" y="262"/>
                      <a:pt x="49" y="262"/>
                    </a:cubicBezTo>
                    <a:cubicBezTo>
                      <a:pt x="49" y="262"/>
                      <a:pt x="50" y="262"/>
                      <a:pt x="50" y="262"/>
                    </a:cubicBezTo>
                    <a:cubicBezTo>
                      <a:pt x="51" y="262"/>
                      <a:pt x="51" y="263"/>
                      <a:pt x="52" y="262"/>
                    </a:cubicBezTo>
                    <a:cubicBezTo>
                      <a:pt x="52" y="262"/>
                      <a:pt x="53" y="262"/>
                      <a:pt x="53" y="262"/>
                    </a:cubicBezTo>
                    <a:cubicBezTo>
                      <a:pt x="53" y="262"/>
                      <a:pt x="54" y="262"/>
                      <a:pt x="54" y="262"/>
                    </a:cubicBezTo>
                    <a:cubicBezTo>
                      <a:pt x="55" y="262"/>
                      <a:pt x="56" y="262"/>
                      <a:pt x="57" y="261"/>
                    </a:cubicBezTo>
                    <a:cubicBezTo>
                      <a:pt x="57" y="261"/>
                      <a:pt x="58" y="261"/>
                      <a:pt x="58" y="261"/>
                    </a:cubicBezTo>
                    <a:cubicBezTo>
                      <a:pt x="58" y="262"/>
                      <a:pt x="58" y="261"/>
                      <a:pt x="59" y="261"/>
                    </a:cubicBezTo>
                    <a:cubicBezTo>
                      <a:pt x="60" y="261"/>
                      <a:pt x="60" y="261"/>
                      <a:pt x="61" y="261"/>
                    </a:cubicBezTo>
                    <a:cubicBezTo>
                      <a:pt x="61" y="261"/>
                      <a:pt x="62" y="261"/>
                      <a:pt x="62" y="261"/>
                    </a:cubicBezTo>
                    <a:cubicBezTo>
                      <a:pt x="62" y="261"/>
                      <a:pt x="62" y="261"/>
                      <a:pt x="63" y="262"/>
                    </a:cubicBezTo>
                    <a:cubicBezTo>
                      <a:pt x="63" y="262"/>
                      <a:pt x="63" y="261"/>
                      <a:pt x="64" y="262"/>
                    </a:cubicBezTo>
                    <a:cubicBezTo>
                      <a:pt x="65" y="262"/>
                      <a:pt x="66" y="260"/>
                      <a:pt x="67" y="262"/>
                    </a:cubicBezTo>
                    <a:cubicBezTo>
                      <a:pt x="67" y="262"/>
                      <a:pt x="66" y="263"/>
                      <a:pt x="66" y="263"/>
                    </a:cubicBezTo>
                    <a:cubicBezTo>
                      <a:pt x="67" y="263"/>
                      <a:pt x="68" y="263"/>
                      <a:pt x="68" y="263"/>
                    </a:cubicBezTo>
                    <a:cubicBezTo>
                      <a:pt x="68" y="263"/>
                      <a:pt x="68" y="262"/>
                      <a:pt x="68" y="262"/>
                    </a:cubicBezTo>
                    <a:cubicBezTo>
                      <a:pt x="69" y="262"/>
                      <a:pt x="69" y="262"/>
                      <a:pt x="70" y="262"/>
                    </a:cubicBezTo>
                    <a:cubicBezTo>
                      <a:pt x="71" y="262"/>
                      <a:pt x="71" y="262"/>
                      <a:pt x="72" y="262"/>
                    </a:cubicBezTo>
                    <a:cubicBezTo>
                      <a:pt x="72" y="262"/>
                      <a:pt x="73" y="261"/>
                      <a:pt x="73" y="262"/>
                    </a:cubicBezTo>
                    <a:cubicBezTo>
                      <a:pt x="74" y="262"/>
                      <a:pt x="74" y="262"/>
                      <a:pt x="74" y="262"/>
                    </a:cubicBezTo>
                    <a:cubicBezTo>
                      <a:pt x="75" y="262"/>
                      <a:pt x="76" y="261"/>
                      <a:pt x="76" y="262"/>
                    </a:cubicBezTo>
                    <a:cubicBezTo>
                      <a:pt x="76" y="262"/>
                      <a:pt x="76" y="263"/>
                      <a:pt x="76" y="263"/>
                    </a:cubicBezTo>
                    <a:cubicBezTo>
                      <a:pt x="77" y="263"/>
                      <a:pt x="77" y="263"/>
                      <a:pt x="78" y="262"/>
                    </a:cubicBezTo>
                    <a:cubicBezTo>
                      <a:pt x="78" y="262"/>
                      <a:pt x="79" y="261"/>
                      <a:pt x="79" y="262"/>
                    </a:cubicBezTo>
                    <a:cubicBezTo>
                      <a:pt x="80" y="262"/>
                      <a:pt x="80" y="262"/>
                      <a:pt x="80" y="262"/>
                    </a:cubicBezTo>
                    <a:cubicBezTo>
                      <a:pt x="81" y="261"/>
                      <a:pt x="82" y="261"/>
                      <a:pt x="82" y="261"/>
                    </a:cubicBezTo>
                    <a:cubicBezTo>
                      <a:pt x="83" y="261"/>
                      <a:pt x="83" y="260"/>
                      <a:pt x="83" y="259"/>
                    </a:cubicBezTo>
                    <a:cubicBezTo>
                      <a:pt x="84" y="259"/>
                      <a:pt x="84" y="259"/>
                      <a:pt x="85" y="258"/>
                    </a:cubicBezTo>
                    <a:cubicBezTo>
                      <a:pt x="86" y="258"/>
                      <a:pt x="86" y="257"/>
                      <a:pt x="86" y="256"/>
                    </a:cubicBezTo>
                    <a:cubicBezTo>
                      <a:pt x="87" y="255"/>
                      <a:pt x="88" y="254"/>
                      <a:pt x="89" y="253"/>
                    </a:cubicBezTo>
                    <a:cubicBezTo>
                      <a:pt x="91" y="252"/>
                      <a:pt x="92" y="251"/>
                      <a:pt x="94" y="251"/>
                    </a:cubicBezTo>
                    <a:cubicBezTo>
                      <a:pt x="96" y="251"/>
                      <a:pt x="97" y="250"/>
                      <a:pt x="99" y="249"/>
                    </a:cubicBezTo>
                    <a:cubicBezTo>
                      <a:pt x="99" y="249"/>
                      <a:pt x="100" y="248"/>
                      <a:pt x="101" y="248"/>
                    </a:cubicBezTo>
                    <a:cubicBezTo>
                      <a:pt x="101" y="248"/>
                      <a:pt x="102" y="248"/>
                      <a:pt x="103" y="247"/>
                    </a:cubicBezTo>
                    <a:cubicBezTo>
                      <a:pt x="105" y="246"/>
                      <a:pt x="106" y="245"/>
                      <a:pt x="108" y="244"/>
                    </a:cubicBezTo>
                    <a:cubicBezTo>
                      <a:pt x="109" y="244"/>
                      <a:pt x="110" y="244"/>
                      <a:pt x="110" y="244"/>
                    </a:cubicBezTo>
                    <a:cubicBezTo>
                      <a:pt x="111" y="244"/>
                      <a:pt x="111" y="244"/>
                      <a:pt x="112" y="244"/>
                    </a:cubicBezTo>
                    <a:cubicBezTo>
                      <a:pt x="113" y="244"/>
                      <a:pt x="114" y="244"/>
                      <a:pt x="114" y="244"/>
                    </a:cubicBezTo>
                    <a:cubicBezTo>
                      <a:pt x="115" y="244"/>
                      <a:pt x="117" y="244"/>
                      <a:pt x="118" y="244"/>
                    </a:cubicBezTo>
                    <a:cubicBezTo>
                      <a:pt x="119" y="244"/>
                      <a:pt x="121" y="244"/>
                      <a:pt x="123" y="243"/>
                    </a:cubicBezTo>
                    <a:cubicBezTo>
                      <a:pt x="124" y="243"/>
                      <a:pt x="125" y="243"/>
                      <a:pt x="126" y="242"/>
                    </a:cubicBezTo>
                    <a:cubicBezTo>
                      <a:pt x="127" y="242"/>
                      <a:pt x="128" y="242"/>
                      <a:pt x="129" y="242"/>
                    </a:cubicBezTo>
                    <a:cubicBezTo>
                      <a:pt x="130" y="241"/>
                      <a:pt x="132" y="241"/>
                      <a:pt x="134" y="240"/>
                    </a:cubicBezTo>
                    <a:cubicBezTo>
                      <a:pt x="136" y="239"/>
                      <a:pt x="137" y="238"/>
                      <a:pt x="139" y="238"/>
                    </a:cubicBezTo>
                    <a:cubicBezTo>
                      <a:pt x="141" y="237"/>
                      <a:pt x="143" y="237"/>
                      <a:pt x="145" y="237"/>
                    </a:cubicBezTo>
                    <a:cubicBezTo>
                      <a:pt x="147" y="237"/>
                      <a:pt x="149" y="236"/>
                      <a:pt x="151" y="236"/>
                    </a:cubicBezTo>
                    <a:cubicBezTo>
                      <a:pt x="153" y="236"/>
                      <a:pt x="155" y="237"/>
                      <a:pt x="156" y="237"/>
                    </a:cubicBezTo>
                    <a:cubicBezTo>
                      <a:pt x="157" y="236"/>
                      <a:pt x="158" y="236"/>
                      <a:pt x="159" y="236"/>
                    </a:cubicBezTo>
                    <a:cubicBezTo>
                      <a:pt x="160" y="235"/>
                      <a:pt x="160" y="235"/>
                      <a:pt x="161" y="235"/>
                    </a:cubicBezTo>
                    <a:cubicBezTo>
                      <a:pt x="162" y="236"/>
                      <a:pt x="163" y="237"/>
                      <a:pt x="164" y="238"/>
                    </a:cubicBezTo>
                    <a:cubicBezTo>
                      <a:pt x="165" y="238"/>
                      <a:pt x="166" y="239"/>
                      <a:pt x="166" y="240"/>
                    </a:cubicBezTo>
                    <a:cubicBezTo>
                      <a:pt x="167" y="240"/>
                      <a:pt x="167" y="241"/>
                      <a:pt x="167" y="241"/>
                    </a:cubicBezTo>
                    <a:cubicBezTo>
                      <a:pt x="168" y="241"/>
                      <a:pt x="170" y="241"/>
                      <a:pt x="170" y="241"/>
                    </a:cubicBezTo>
                    <a:cubicBezTo>
                      <a:pt x="170" y="240"/>
                      <a:pt x="172" y="240"/>
                      <a:pt x="173" y="241"/>
                    </a:cubicBezTo>
                    <a:cubicBezTo>
                      <a:pt x="174" y="241"/>
                      <a:pt x="174" y="241"/>
                      <a:pt x="174" y="242"/>
                    </a:cubicBezTo>
                    <a:cubicBezTo>
                      <a:pt x="175" y="242"/>
                      <a:pt x="175" y="242"/>
                      <a:pt x="175" y="242"/>
                    </a:cubicBezTo>
                    <a:cubicBezTo>
                      <a:pt x="175" y="243"/>
                      <a:pt x="175" y="243"/>
                      <a:pt x="176" y="243"/>
                    </a:cubicBezTo>
                    <a:cubicBezTo>
                      <a:pt x="176" y="243"/>
                      <a:pt x="176" y="243"/>
                      <a:pt x="176" y="243"/>
                    </a:cubicBezTo>
                    <a:cubicBezTo>
                      <a:pt x="177" y="243"/>
                      <a:pt x="178" y="243"/>
                      <a:pt x="179" y="243"/>
                    </a:cubicBezTo>
                    <a:cubicBezTo>
                      <a:pt x="179" y="243"/>
                      <a:pt x="179" y="243"/>
                      <a:pt x="179" y="243"/>
                    </a:cubicBezTo>
                    <a:cubicBezTo>
                      <a:pt x="178" y="242"/>
                      <a:pt x="179" y="242"/>
                      <a:pt x="179" y="242"/>
                    </a:cubicBezTo>
                    <a:cubicBezTo>
                      <a:pt x="179" y="242"/>
                      <a:pt x="179" y="243"/>
                      <a:pt x="180" y="243"/>
                    </a:cubicBezTo>
                    <a:cubicBezTo>
                      <a:pt x="180" y="243"/>
                      <a:pt x="180" y="242"/>
                      <a:pt x="181" y="242"/>
                    </a:cubicBezTo>
                    <a:cubicBezTo>
                      <a:pt x="181" y="242"/>
                      <a:pt x="181" y="242"/>
                      <a:pt x="181" y="242"/>
                    </a:cubicBezTo>
                    <a:cubicBezTo>
                      <a:pt x="180" y="243"/>
                      <a:pt x="181" y="243"/>
                      <a:pt x="181" y="243"/>
                    </a:cubicBezTo>
                    <a:cubicBezTo>
                      <a:pt x="181" y="243"/>
                      <a:pt x="181" y="243"/>
                      <a:pt x="181" y="243"/>
                    </a:cubicBezTo>
                    <a:cubicBezTo>
                      <a:pt x="181" y="243"/>
                      <a:pt x="181" y="243"/>
                      <a:pt x="181" y="243"/>
                    </a:cubicBezTo>
                    <a:cubicBezTo>
                      <a:pt x="181" y="244"/>
                      <a:pt x="182" y="244"/>
                      <a:pt x="182" y="244"/>
                    </a:cubicBezTo>
                    <a:cubicBezTo>
                      <a:pt x="182" y="244"/>
                      <a:pt x="182" y="245"/>
                      <a:pt x="182" y="246"/>
                    </a:cubicBezTo>
                    <a:cubicBezTo>
                      <a:pt x="182" y="246"/>
                      <a:pt x="181" y="245"/>
                      <a:pt x="181" y="246"/>
                    </a:cubicBezTo>
                    <a:cubicBezTo>
                      <a:pt x="181" y="246"/>
                      <a:pt x="181" y="247"/>
                      <a:pt x="181" y="247"/>
                    </a:cubicBezTo>
                    <a:cubicBezTo>
                      <a:pt x="182" y="247"/>
                      <a:pt x="182" y="247"/>
                      <a:pt x="182" y="246"/>
                    </a:cubicBezTo>
                    <a:cubicBezTo>
                      <a:pt x="183" y="246"/>
                      <a:pt x="183" y="246"/>
                      <a:pt x="183" y="246"/>
                    </a:cubicBezTo>
                    <a:cubicBezTo>
                      <a:pt x="184" y="246"/>
                      <a:pt x="184" y="247"/>
                      <a:pt x="184" y="247"/>
                    </a:cubicBezTo>
                    <a:cubicBezTo>
                      <a:pt x="184" y="248"/>
                      <a:pt x="184" y="248"/>
                      <a:pt x="184" y="249"/>
                    </a:cubicBezTo>
                    <a:cubicBezTo>
                      <a:pt x="184" y="249"/>
                      <a:pt x="183" y="250"/>
                      <a:pt x="183" y="250"/>
                    </a:cubicBezTo>
                    <a:cubicBezTo>
                      <a:pt x="183" y="250"/>
                      <a:pt x="183" y="249"/>
                      <a:pt x="183" y="249"/>
                    </a:cubicBezTo>
                    <a:cubicBezTo>
                      <a:pt x="183" y="249"/>
                      <a:pt x="182" y="249"/>
                      <a:pt x="182" y="249"/>
                    </a:cubicBezTo>
                    <a:cubicBezTo>
                      <a:pt x="182" y="250"/>
                      <a:pt x="182" y="250"/>
                      <a:pt x="182" y="251"/>
                    </a:cubicBezTo>
                    <a:cubicBezTo>
                      <a:pt x="182" y="251"/>
                      <a:pt x="181" y="251"/>
                      <a:pt x="181" y="251"/>
                    </a:cubicBezTo>
                    <a:cubicBezTo>
                      <a:pt x="181" y="252"/>
                      <a:pt x="182" y="251"/>
                      <a:pt x="182" y="252"/>
                    </a:cubicBezTo>
                    <a:cubicBezTo>
                      <a:pt x="182" y="252"/>
                      <a:pt x="181" y="252"/>
                      <a:pt x="182" y="252"/>
                    </a:cubicBezTo>
                    <a:cubicBezTo>
                      <a:pt x="182" y="253"/>
                      <a:pt x="182" y="253"/>
                      <a:pt x="182" y="254"/>
                    </a:cubicBezTo>
                    <a:cubicBezTo>
                      <a:pt x="182" y="254"/>
                      <a:pt x="182" y="254"/>
                      <a:pt x="183" y="254"/>
                    </a:cubicBezTo>
                    <a:cubicBezTo>
                      <a:pt x="183" y="254"/>
                      <a:pt x="183" y="254"/>
                      <a:pt x="184" y="254"/>
                    </a:cubicBezTo>
                    <a:cubicBezTo>
                      <a:pt x="184" y="254"/>
                      <a:pt x="184" y="254"/>
                      <a:pt x="185" y="254"/>
                    </a:cubicBezTo>
                    <a:cubicBezTo>
                      <a:pt x="185" y="254"/>
                      <a:pt x="185" y="255"/>
                      <a:pt x="185" y="255"/>
                    </a:cubicBezTo>
                    <a:cubicBezTo>
                      <a:pt x="186" y="254"/>
                      <a:pt x="184" y="253"/>
                      <a:pt x="185" y="254"/>
                    </a:cubicBezTo>
                    <a:cubicBezTo>
                      <a:pt x="186" y="254"/>
                      <a:pt x="186" y="254"/>
                      <a:pt x="186" y="255"/>
                    </a:cubicBezTo>
                    <a:cubicBezTo>
                      <a:pt x="186" y="255"/>
                      <a:pt x="185" y="254"/>
                      <a:pt x="185" y="255"/>
                    </a:cubicBezTo>
                    <a:cubicBezTo>
                      <a:pt x="186" y="255"/>
                      <a:pt x="186" y="257"/>
                      <a:pt x="186" y="257"/>
                    </a:cubicBezTo>
                    <a:cubicBezTo>
                      <a:pt x="186" y="258"/>
                      <a:pt x="185" y="259"/>
                      <a:pt x="186" y="259"/>
                    </a:cubicBezTo>
                    <a:cubicBezTo>
                      <a:pt x="186" y="260"/>
                      <a:pt x="186" y="261"/>
                      <a:pt x="187" y="261"/>
                    </a:cubicBezTo>
                    <a:cubicBezTo>
                      <a:pt x="187" y="262"/>
                      <a:pt x="187" y="262"/>
                      <a:pt x="187" y="263"/>
                    </a:cubicBezTo>
                    <a:cubicBezTo>
                      <a:pt x="187" y="263"/>
                      <a:pt x="187" y="264"/>
                      <a:pt x="187" y="264"/>
                    </a:cubicBezTo>
                    <a:cubicBezTo>
                      <a:pt x="187" y="264"/>
                      <a:pt x="186" y="264"/>
                      <a:pt x="187" y="265"/>
                    </a:cubicBezTo>
                    <a:cubicBezTo>
                      <a:pt x="187" y="265"/>
                      <a:pt x="187" y="265"/>
                      <a:pt x="187" y="265"/>
                    </a:cubicBezTo>
                    <a:cubicBezTo>
                      <a:pt x="187" y="266"/>
                      <a:pt x="187" y="266"/>
                      <a:pt x="187" y="267"/>
                    </a:cubicBezTo>
                    <a:cubicBezTo>
                      <a:pt x="186" y="267"/>
                      <a:pt x="187" y="268"/>
                      <a:pt x="186" y="268"/>
                    </a:cubicBezTo>
                    <a:cubicBezTo>
                      <a:pt x="186" y="269"/>
                      <a:pt x="186" y="269"/>
                      <a:pt x="186" y="269"/>
                    </a:cubicBezTo>
                    <a:cubicBezTo>
                      <a:pt x="186" y="269"/>
                      <a:pt x="186" y="269"/>
                      <a:pt x="186" y="269"/>
                    </a:cubicBezTo>
                    <a:cubicBezTo>
                      <a:pt x="186" y="269"/>
                      <a:pt x="187" y="270"/>
                      <a:pt x="187" y="270"/>
                    </a:cubicBezTo>
                    <a:cubicBezTo>
                      <a:pt x="187" y="270"/>
                      <a:pt x="186" y="270"/>
                      <a:pt x="185" y="270"/>
                    </a:cubicBezTo>
                    <a:cubicBezTo>
                      <a:pt x="185" y="269"/>
                      <a:pt x="186" y="269"/>
                      <a:pt x="186" y="269"/>
                    </a:cubicBezTo>
                    <a:cubicBezTo>
                      <a:pt x="185" y="268"/>
                      <a:pt x="185" y="269"/>
                      <a:pt x="185" y="268"/>
                    </a:cubicBezTo>
                    <a:cubicBezTo>
                      <a:pt x="185" y="268"/>
                      <a:pt x="185" y="268"/>
                      <a:pt x="185" y="268"/>
                    </a:cubicBezTo>
                    <a:cubicBezTo>
                      <a:pt x="184" y="268"/>
                      <a:pt x="184" y="269"/>
                      <a:pt x="183" y="269"/>
                    </a:cubicBezTo>
                    <a:cubicBezTo>
                      <a:pt x="184" y="269"/>
                      <a:pt x="184" y="269"/>
                      <a:pt x="185" y="270"/>
                    </a:cubicBezTo>
                    <a:cubicBezTo>
                      <a:pt x="185" y="270"/>
                      <a:pt x="185" y="270"/>
                      <a:pt x="185" y="271"/>
                    </a:cubicBezTo>
                    <a:cubicBezTo>
                      <a:pt x="185" y="271"/>
                      <a:pt x="186" y="271"/>
                      <a:pt x="186" y="271"/>
                    </a:cubicBezTo>
                    <a:cubicBezTo>
                      <a:pt x="186" y="271"/>
                      <a:pt x="186" y="272"/>
                      <a:pt x="186" y="272"/>
                    </a:cubicBezTo>
                    <a:cubicBezTo>
                      <a:pt x="187" y="273"/>
                      <a:pt x="186" y="274"/>
                      <a:pt x="187" y="273"/>
                    </a:cubicBezTo>
                    <a:cubicBezTo>
                      <a:pt x="187" y="273"/>
                      <a:pt x="188" y="272"/>
                      <a:pt x="189" y="273"/>
                    </a:cubicBezTo>
                    <a:cubicBezTo>
                      <a:pt x="189" y="273"/>
                      <a:pt x="189" y="273"/>
                      <a:pt x="189" y="273"/>
                    </a:cubicBezTo>
                    <a:cubicBezTo>
                      <a:pt x="189" y="273"/>
                      <a:pt x="189" y="273"/>
                      <a:pt x="189" y="274"/>
                    </a:cubicBezTo>
                    <a:cubicBezTo>
                      <a:pt x="189" y="274"/>
                      <a:pt x="189" y="274"/>
                      <a:pt x="189" y="274"/>
                    </a:cubicBezTo>
                    <a:cubicBezTo>
                      <a:pt x="190" y="274"/>
                      <a:pt x="190" y="272"/>
                      <a:pt x="190" y="272"/>
                    </a:cubicBezTo>
                    <a:cubicBezTo>
                      <a:pt x="190" y="272"/>
                      <a:pt x="191" y="272"/>
                      <a:pt x="191" y="272"/>
                    </a:cubicBezTo>
                    <a:cubicBezTo>
                      <a:pt x="191" y="272"/>
                      <a:pt x="191" y="271"/>
                      <a:pt x="191" y="271"/>
                    </a:cubicBezTo>
                    <a:cubicBezTo>
                      <a:pt x="191" y="271"/>
                      <a:pt x="191" y="271"/>
                      <a:pt x="190" y="272"/>
                    </a:cubicBezTo>
                    <a:cubicBezTo>
                      <a:pt x="190" y="272"/>
                      <a:pt x="190" y="271"/>
                      <a:pt x="190" y="271"/>
                    </a:cubicBezTo>
                    <a:cubicBezTo>
                      <a:pt x="190" y="272"/>
                      <a:pt x="189" y="272"/>
                      <a:pt x="189" y="272"/>
                    </a:cubicBezTo>
                    <a:cubicBezTo>
                      <a:pt x="189" y="272"/>
                      <a:pt x="190" y="272"/>
                      <a:pt x="190" y="271"/>
                    </a:cubicBezTo>
                    <a:cubicBezTo>
                      <a:pt x="190" y="271"/>
                      <a:pt x="190" y="270"/>
                      <a:pt x="190" y="270"/>
                    </a:cubicBezTo>
                    <a:cubicBezTo>
                      <a:pt x="191" y="270"/>
                      <a:pt x="191" y="270"/>
                      <a:pt x="191" y="270"/>
                    </a:cubicBezTo>
                    <a:cubicBezTo>
                      <a:pt x="191" y="269"/>
                      <a:pt x="191" y="269"/>
                      <a:pt x="191" y="269"/>
                    </a:cubicBezTo>
                    <a:cubicBezTo>
                      <a:pt x="192" y="269"/>
                      <a:pt x="192" y="268"/>
                      <a:pt x="193" y="268"/>
                    </a:cubicBezTo>
                    <a:cubicBezTo>
                      <a:pt x="193" y="268"/>
                      <a:pt x="192" y="269"/>
                      <a:pt x="193" y="269"/>
                    </a:cubicBezTo>
                    <a:cubicBezTo>
                      <a:pt x="193" y="269"/>
                      <a:pt x="193" y="268"/>
                      <a:pt x="193" y="267"/>
                    </a:cubicBezTo>
                    <a:cubicBezTo>
                      <a:pt x="194" y="267"/>
                      <a:pt x="194" y="267"/>
                      <a:pt x="195" y="267"/>
                    </a:cubicBezTo>
                    <a:cubicBezTo>
                      <a:pt x="196" y="266"/>
                      <a:pt x="196" y="264"/>
                      <a:pt x="197" y="264"/>
                    </a:cubicBezTo>
                    <a:cubicBezTo>
                      <a:pt x="198" y="263"/>
                      <a:pt x="199" y="263"/>
                      <a:pt x="199" y="263"/>
                    </a:cubicBezTo>
                    <a:cubicBezTo>
                      <a:pt x="200" y="262"/>
                      <a:pt x="200" y="262"/>
                      <a:pt x="201" y="262"/>
                    </a:cubicBezTo>
                    <a:cubicBezTo>
                      <a:pt x="201" y="261"/>
                      <a:pt x="202" y="261"/>
                      <a:pt x="203" y="261"/>
                    </a:cubicBezTo>
                    <a:cubicBezTo>
                      <a:pt x="203" y="261"/>
                      <a:pt x="204" y="261"/>
                      <a:pt x="204" y="260"/>
                    </a:cubicBezTo>
                    <a:cubicBezTo>
                      <a:pt x="204" y="260"/>
                      <a:pt x="203" y="261"/>
                      <a:pt x="203" y="260"/>
                    </a:cubicBezTo>
                    <a:cubicBezTo>
                      <a:pt x="203" y="260"/>
                      <a:pt x="204" y="259"/>
                      <a:pt x="204" y="259"/>
                    </a:cubicBezTo>
                    <a:cubicBezTo>
                      <a:pt x="205" y="260"/>
                      <a:pt x="204" y="260"/>
                      <a:pt x="205" y="260"/>
                    </a:cubicBezTo>
                    <a:cubicBezTo>
                      <a:pt x="205" y="260"/>
                      <a:pt x="206" y="260"/>
                      <a:pt x="206" y="260"/>
                    </a:cubicBezTo>
                    <a:cubicBezTo>
                      <a:pt x="207" y="259"/>
                      <a:pt x="208" y="258"/>
                      <a:pt x="208" y="258"/>
                    </a:cubicBezTo>
                    <a:cubicBezTo>
                      <a:pt x="209" y="257"/>
                      <a:pt x="210" y="256"/>
                      <a:pt x="211" y="255"/>
                    </a:cubicBezTo>
                    <a:cubicBezTo>
                      <a:pt x="211" y="254"/>
                      <a:pt x="211" y="254"/>
                      <a:pt x="211" y="254"/>
                    </a:cubicBezTo>
                    <a:cubicBezTo>
                      <a:pt x="211" y="253"/>
                      <a:pt x="212" y="253"/>
                      <a:pt x="213" y="253"/>
                    </a:cubicBezTo>
                    <a:cubicBezTo>
                      <a:pt x="213" y="252"/>
                      <a:pt x="214" y="251"/>
                      <a:pt x="214" y="252"/>
                    </a:cubicBezTo>
                    <a:cubicBezTo>
                      <a:pt x="215" y="252"/>
                      <a:pt x="215" y="251"/>
                      <a:pt x="215" y="251"/>
                    </a:cubicBezTo>
                    <a:cubicBezTo>
                      <a:pt x="216" y="250"/>
                      <a:pt x="216" y="250"/>
                      <a:pt x="216" y="249"/>
                    </a:cubicBezTo>
                    <a:cubicBezTo>
                      <a:pt x="216" y="249"/>
                      <a:pt x="216" y="249"/>
                      <a:pt x="216" y="248"/>
                    </a:cubicBezTo>
                    <a:cubicBezTo>
                      <a:pt x="216" y="248"/>
                      <a:pt x="216" y="247"/>
                      <a:pt x="217" y="247"/>
                    </a:cubicBezTo>
                    <a:cubicBezTo>
                      <a:pt x="217" y="247"/>
                      <a:pt x="217" y="248"/>
                      <a:pt x="217" y="249"/>
                    </a:cubicBezTo>
                    <a:cubicBezTo>
                      <a:pt x="217" y="249"/>
                      <a:pt x="217" y="249"/>
                      <a:pt x="217" y="249"/>
                    </a:cubicBezTo>
                    <a:cubicBezTo>
                      <a:pt x="217" y="250"/>
                      <a:pt x="217" y="250"/>
                      <a:pt x="217" y="250"/>
                    </a:cubicBezTo>
                    <a:cubicBezTo>
                      <a:pt x="217" y="251"/>
                      <a:pt x="217" y="252"/>
                      <a:pt x="217" y="252"/>
                    </a:cubicBezTo>
                    <a:cubicBezTo>
                      <a:pt x="217" y="252"/>
                      <a:pt x="217" y="253"/>
                      <a:pt x="217" y="253"/>
                    </a:cubicBezTo>
                    <a:cubicBezTo>
                      <a:pt x="216" y="254"/>
                      <a:pt x="216" y="254"/>
                      <a:pt x="215" y="254"/>
                    </a:cubicBezTo>
                    <a:cubicBezTo>
                      <a:pt x="215" y="254"/>
                      <a:pt x="214" y="255"/>
                      <a:pt x="214" y="255"/>
                    </a:cubicBezTo>
                    <a:cubicBezTo>
                      <a:pt x="214" y="256"/>
                      <a:pt x="214" y="256"/>
                      <a:pt x="214" y="256"/>
                    </a:cubicBezTo>
                    <a:cubicBezTo>
                      <a:pt x="214" y="256"/>
                      <a:pt x="214" y="257"/>
                      <a:pt x="214" y="257"/>
                    </a:cubicBezTo>
                    <a:cubicBezTo>
                      <a:pt x="214" y="259"/>
                      <a:pt x="212" y="259"/>
                      <a:pt x="211" y="260"/>
                    </a:cubicBezTo>
                    <a:cubicBezTo>
                      <a:pt x="211" y="260"/>
                      <a:pt x="210" y="261"/>
                      <a:pt x="210" y="261"/>
                    </a:cubicBezTo>
                    <a:cubicBezTo>
                      <a:pt x="209" y="262"/>
                      <a:pt x="209" y="262"/>
                      <a:pt x="209" y="262"/>
                    </a:cubicBezTo>
                    <a:cubicBezTo>
                      <a:pt x="208" y="263"/>
                      <a:pt x="208" y="263"/>
                      <a:pt x="208" y="264"/>
                    </a:cubicBezTo>
                    <a:cubicBezTo>
                      <a:pt x="208" y="264"/>
                      <a:pt x="207" y="264"/>
                      <a:pt x="207" y="265"/>
                    </a:cubicBezTo>
                    <a:cubicBezTo>
                      <a:pt x="207" y="265"/>
                      <a:pt x="207" y="266"/>
                      <a:pt x="206" y="267"/>
                    </a:cubicBezTo>
                    <a:cubicBezTo>
                      <a:pt x="206" y="267"/>
                      <a:pt x="205" y="267"/>
                      <a:pt x="205" y="268"/>
                    </a:cubicBezTo>
                    <a:cubicBezTo>
                      <a:pt x="206" y="267"/>
                      <a:pt x="205" y="270"/>
                      <a:pt x="205" y="270"/>
                    </a:cubicBezTo>
                    <a:cubicBezTo>
                      <a:pt x="204" y="271"/>
                      <a:pt x="204" y="272"/>
                      <a:pt x="204" y="273"/>
                    </a:cubicBezTo>
                    <a:cubicBezTo>
                      <a:pt x="203" y="273"/>
                      <a:pt x="203" y="273"/>
                      <a:pt x="202" y="273"/>
                    </a:cubicBezTo>
                    <a:cubicBezTo>
                      <a:pt x="202" y="273"/>
                      <a:pt x="202" y="273"/>
                      <a:pt x="201" y="273"/>
                    </a:cubicBezTo>
                    <a:cubicBezTo>
                      <a:pt x="201" y="273"/>
                      <a:pt x="201" y="273"/>
                      <a:pt x="200" y="273"/>
                    </a:cubicBezTo>
                    <a:cubicBezTo>
                      <a:pt x="200" y="273"/>
                      <a:pt x="200" y="273"/>
                      <a:pt x="200" y="273"/>
                    </a:cubicBezTo>
                    <a:cubicBezTo>
                      <a:pt x="199" y="273"/>
                      <a:pt x="199" y="273"/>
                      <a:pt x="199" y="273"/>
                    </a:cubicBezTo>
                    <a:cubicBezTo>
                      <a:pt x="199" y="274"/>
                      <a:pt x="198" y="274"/>
                      <a:pt x="198" y="274"/>
                    </a:cubicBezTo>
                    <a:cubicBezTo>
                      <a:pt x="198" y="274"/>
                      <a:pt x="198" y="275"/>
                      <a:pt x="198" y="275"/>
                    </a:cubicBezTo>
                    <a:cubicBezTo>
                      <a:pt x="198" y="275"/>
                      <a:pt x="197" y="275"/>
                      <a:pt x="197" y="276"/>
                    </a:cubicBezTo>
                    <a:cubicBezTo>
                      <a:pt x="197" y="276"/>
                      <a:pt x="196" y="277"/>
                      <a:pt x="196" y="277"/>
                    </a:cubicBezTo>
                    <a:cubicBezTo>
                      <a:pt x="196" y="278"/>
                      <a:pt x="197" y="277"/>
                      <a:pt x="197" y="277"/>
                    </a:cubicBezTo>
                    <a:cubicBezTo>
                      <a:pt x="198" y="276"/>
                      <a:pt x="198" y="276"/>
                      <a:pt x="199" y="277"/>
                    </a:cubicBezTo>
                    <a:cubicBezTo>
                      <a:pt x="199" y="277"/>
                      <a:pt x="199" y="276"/>
                      <a:pt x="200" y="276"/>
                    </a:cubicBezTo>
                    <a:cubicBezTo>
                      <a:pt x="200" y="276"/>
                      <a:pt x="201" y="276"/>
                      <a:pt x="201" y="276"/>
                    </a:cubicBezTo>
                    <a:cubicBezTo>
                      <a:pt x="203" y="275"/>
                      <a:pt x="203" y="276"/>
                      <a:pt x="204" y="276"/>
                    </a:cubicBezTo>
                    <a:cubicBezTo>
                      <a:pt x="205" y="276"/>
                      <a:pt x="206" y="274"/>
                      <a:pt x="206" y="273"/>
                    </a:cubicBezTo>
                    <a:cubicBezTo>
                      <a:pt x="207" y="272"/>
                      <a:pt x="208" y="271"/>
                      <a:pt x="209" y="270"/>
                    </a:cubicBezTo>
                    <a:cubicBezTo>
                      <a:pt x="209" y="269"/>
                      <a:pt x="209" y="268"/>
                      <a:pt x="210" y="267"/>
                    </a:cubicBezTo>
                    <a:cubicBezTo>
                      <a:pt x="211" y="267"/>
                      <a:pt x="211" y="267"/>
                      <a:pt x="211" y="266"/>
                    </a:cubicBezTo>
                    <a:cubicBezTo>
                      <a:pt x="211" y="266"/>
                      <a:pt x="211" y="266"/>
                      <a:pt x="211" y="266"/>
                    </a:cubicBezTo>
                    <a:cubicBezTo>
                      <a:pt x="212" y="265"/>
                      <a:pt x="212" y="265"/>
                      <a:pt x="212" y="265"/>
                    </a:cubicBezTo>
                    <a:cubicBezTo>
                      <a:pt x="213" y="264"/>
                      <a:pt x="213" y="265"/>
                      <a:pt x="213" y="266"/>
                    </a:cubicBezTo>
                    <a:cubicBezTo>
                      <a:pt x="213" y="266"/>
                      <a:pt x="213" y="266"/>
                      <a:pt x="213" y="266"/>
                    </a:cubicBezTo>
                    <a:cubicBezTo>
                      <a:pt x="213" y="266"/>
                      <a:pt x="213" y="267"/>
                      <a:pt x="213" y="267"/>
                    </a:cubicBezTo>
                    <a:cubicBezTo>
                      <a:pt x="213" y="268"/>
                      <a:pt x="213" y="268"/>
                      <a:pt x="213" y="269"/>
                    </a:cubicBezTo>
                    <a:cubicBezTo>
                      <a:pt x="213" y="269"/>
                      <a:pt x="213" y="269"/>
                      <a:pt x="213" y="270"/>
                    </a:cubicBezTo>
                    <a:cubicBezTo>
                      <a:pt x="213" y="270"/>
                      <a:pt x="214" y="270"/>
                      <a:pt x="214" y="271"/>
                    </a:cubicBezTo>
                    <a:cubicBezTo>
                      <a:pt x="214" y="271"/>
                      <a:pt x="214" y="271"/>
                      <a:pt x="214" y="272"/>
                    </a:cubicBezTo>
                    <a:cubicBezTo>
                      <a:pt x="214" y="271"/>
                      <a:pt x="213" y="273"/>
                      <a:pt x="213" y="273"/>
                    </a:cubicBezTo>
                    <a:cubicBezTo>
                      <a:pt x="213" y="274"/>
                      <a:pt x="212" y="274"/>
                      <a:pt x="212" y="275"/>
                    </a:cubicBezTo>
                    <a:cubicBezTo>
                      <a:pt x="211" y="276"/>
                      <a:pt x="211" y="277"/>
                      <a:pt x="210" y="278"/>
                    </a:cubicBezTo>
                    <a:cubicBezTo>
                      <a:pt x="209" y="278"/>
                      <a:pt x="209" y="279"/>
                      <a:pt x="208" y="279"/>
                    </a:cubicBezTo>
                    <a:cubicBezTo>
                      <a:pt x="208" y="279"/>
                      <a:pt x="207" y="280"/>
                      <a:pt x="207" y="280"/>
                    </a:cubicBezTo>
                    <a:cubicBezTo>
                      <a:pt x="206" y="280"/>
                      <a:pt x="205" y="281"/>
                      <a:pt x="206" y="281"/>
                    </a:cubicBezTo>
                    <a:cubicBezTo>
                      <a:pt x="207" y="281"/>
                      <a:pt x="208" y="281"/>
                      <a:pt x="209" y="281"/>
                    </a:cubicBezTo>
                    <a:cubicBezTo>
                      <a:pt x="210" y="281"/>
                      <a:pt x="211" y="280"/>
                      <a:pt x="212" y="280"/>
                    </a:cubicBezTo>
                    <a:cubicBezTo>
                      <a:pt x="212" y="280"/>
                      <a:pt x="213" y="280"/>
                      <a:pt x="213" y="280"/>
                    </a:cubicBezTo>
                    <a:cubicBezTo>
                      <a:pt x="213" y="280"/>
                      <a:pt x="214" y="280"/>
                      <a:pt x="214" y="280"/>
                    </a:cubicBezTo>
                    <a:cubicBezTo>
                      <a:pt x="214" y="280"/>
                      <a:pt x="213" y="280"/>
                      <a:pt x="213" y="279"/>
                    </a:cubicBezTo>
                    <a:cubicBezTo>
                      <a:pt x="213" y="279"/>
                      <a:pt x="213" y="279"/>
                      <a:pt x="213" y="279"/>
                    </a:cubicBezTo>
                    <a:cubicBezTo>
                      <a:pt x="214" y="279"/>
                      <a:pt x="214" y="280"/>
                      <a:pt x="215" y="280"/>
                    </a:cubicBezTo>
                    <a:cubicBezTo>
                      <a:pt x="215" y="279"/>
                      <a:pt x="214" y="279"/>
                      <a:pt x="214" y="279"/>
                    </a:cubicBezTo>
                    <a:cubicBezTo>
                      <a:pt x="214" y="278"/>
                      <a:pt x="217" y="278"/>
                      <a:pt x="217" y="278"/>
                    </a:cubicBezTo>
                    <a:cubicBezTo>
                      <a:pt x="217" y="277"/>
                      <a:pt x="218" y="277"/>
                      <a:pt x="218" y="278"/>
                    </a:cubicBezTo>
                    <a:cubicBezTo>
                      <a:pt x="218" y="278"/>
                      <a:pt x="218" y="278"/>
                      <a:pt x="218" y="278"/>
                    </a:cubicBezTo>
                    <a:cubicBezTo>
                      <a:pt x="218" y="278"/>
                      <a:pt x="218" y="278"/>
                      <a:pt x="218" y="279"/>
                    </a:cubicBezTo>
                    <a:cubicBezTo>
                      <a:pt x="218" y="279"/>
                      <a:pt x="218" y="279"/>
                      <a:pt x="218" y="279"/>
                    </a:cubicBezTo>
                    <a:cubicBezTo>
                      <a:pt x="218" y="280"/>
                      <a:pt x="217" y="279"/>
                      <a:pt x="217" y="279"/>
                    </a:cubicBezTo>
                    <a:cubicBezTo>
                      <a:pt x="216" y="279"/>
                      <a:pt x="217" y="280"/>
                      <a:pt x="217" y="280"/>
                    </a:cubicBezTo>
                    <a:cubicBezTo>
                      <a:pt x="218" y="281"/>
                      <a:pt x="215" y="282"/>
                      <a:pt x="216" y="281"/>
                    </a:cubicBezTo>
                    <a:cubicBezTo>
                      <a:pt x="216" y="280"/>
                      <a:pt x="217" y="280"/>
                      <a:pt x="216" y="280"/>
                    </a:cubicBezTo>
                    <a:cubicBezTo>
                      <a:pt x="215" y="279"/>
                      <a:pt x="215" y="280"/>
                      <a:pt x="215" y="280"/>
                    </a:cubicBezTo>
                    <a:cubicBezTo>
                      <a:pt x="214" y="280"/>
                      <a:pt x="215" y="281"/>
                      <a:pt x="215" y="281"/>
                    </a:cubicBezTo>
                    <a:cubicBezTo>
                      <a:pt x="216" y="282"/>
                      <a:pt x="219" y="285"/>
                      <a:pt x="217" y="287"/>
                    </a:cubicBezTo>
                    <a:cubicBezTo>
                      <a:pt x="217" y="286"/>
                      <a:pt x="217" y="285"/>
                      <a:pt x="216" y="283"/>
                    </a:cubicBezTo>
                    <a:cubicBezTo>
                      <a:pt x="216" y="283"/>
                      <a:pt x="215" y="282"/>
                      <a:pt x="215" y="282"/>
                    </a:cubicBezTo>
                    <a:cubicBezTo>
                      <a:pt x="215" y="281"/>
                      <a:pt x="214" y="281"/>
                      <a:pt x="214" y="280"/>
                    </a:cubicBezTo>
                    <a:cubicBezTo>
                      <a:pt x="214" y="280"/>
                      <a:pt x="214" y="280"/>
                      <a:pt x="214" y="281"/>
                    </a:cubicBezTo>
                    <a:cubicBezTo>
                      <a:pt x="214" y="281"/>
                      <a:pt x="215" y="282"/>
                      <a:pt x="215" y="282"/>
                    </a:cubicBezTo>
                    <a:cubicBezTo>
                      <a:pt x="216" y="283"/>
                      <a:pt x="216" y="284"/>
                      <a:pt x="217" y="285"/>
                    </a:cubicBezTo>
                    <a:cubicBezTo>
                      <a:pt x="217" y="287"/>
                      <a:pt x="217" y="291"/>
                      <a:pt x="216" y="293"/>
                    </a:cubicBezTo>
                    <a:cubicBezTo>
                      <a:pt x="216" y="294"/>
                      <a:pt x="215" y="294"/>
                      <a:pt x="215" y="295"/>
                    </a:cubicBezTo>
                    <a:cubicBezTo>
                      <a:pt x="214" y="295"/>
                      <a:pt x="214" y="295"/>
                      <a:pt x="214" y="295"/>
                    </a:cubicBezTo>
                    <a:cubicBezTo>
                      <a:pt x="213" y="296"/>
                      <a:pt x="214" y="297"/>
                      <a:pt x="213" y="297"/>
                    </a:cubicBezTo>
                    <a:cubicBezTo>
                      <a:pt x="213" y="298"/>
                      <a:pt x="213" y="297"/>
                      <a:pt x="213" y="298"/>
                    </a:cubicBezTo>
                    <a:cubicBezTo>
                      <a:pt x="213" y="299"/>
                      <a:pt x="213" y="299"/>
                      <a:pt x="213" y="300"/>
                    </a:cubicBezTo>
                    <a:cubicBezTo>
                      <a:pt x="213" y="300"/>
                      <a:pt x="213" y="301"/>
                      <a:pt x="214" y="301"/>
                    </a:cubicBezTo>
                    <a:cubicBezTo>
                      <a:pt x="214" y="301"/>
                      <a:pt x="214" y="301"/>
                      <a:pt x="214" y="301"/>
                    </a:cubicBezTo>
                    <a:cubicBezTo>
                      <a:pt x="215" y="301"/>
                      <a:pt x="214" y="302"/>
                      <a:pt x="214" y="302"/>
                    </a:cubicBezTo>
                    <a:cubicBezTo>
                      <a:pt x="214" y="303"/>
                      <a:pt x="215" y="303"/>
                      <a:pt x="215" y="304"/>
                    </a:cubicBezTo>
                    <a:cubicBezTo>
                      <a:pt x="215" y="305"/>
                      <a:pt x="215" y="306"/>
                      <a:pt x="215" y="306"/>
                    </a:cubicBezTo>
                    <a:cubicBezTo>
                      <a:pt x="216" y="307"/>
                      <a:pt x="216" y="307"/>
                      <a:pt x="217" y="307"/>
                    </a:cubicBezTo>
                    <a:cubicBezTo>
                      <a:pt x="217" y="308"/>
                      <a:pt x="218" y="307"/>
                      <a:pt x="219" y="307"/>
                    </a:cubicBezTo>
                    <a:cubicBezTo>
                      <a:pt x="220" y="307"/>
                      <a:pt x="220" y="308"/>
                      <a:pt x="221" y="309"/>
                    </a:cubicBezTo>
                    <a:cubicBezTo>
                      <a:pt x="221" y="309"/>
                      <a:pt x="222" y="310"/>
                      <a:pt x="222" y="310"/>
                    </a:cubicBezTo>
                    <a:cubicBezTo>
                      <a:pt x="222" y="311"/>
                      <a:pt x="221" y="311"/>
                      <a:pt x="221" y="311"/>
                    </a:cubicBezTo>
                    <a:cubicBezTo>
                      <a:pt x="221" y="311"/>
                      <a:pt x="222" y="311"/>
                      <a:pt x="222" y="311"/>
                    </a:cubicBezTo>
                    <a:cubicBezTo>
                      <a:pt x="223" y="311"/>
                      <a:pt x="222" y="312"/>
                      <a:pt x="222" y="312"/>
                    </a:cubicBezTo>
                    <a:cubicBezTo>
                      <a:pt x="223" y="312"/>
                      <a:pt x="223" y="311"/>
                      <a:pt x="223" y="311"/>
                    </a:cubicBezTo>
                    <a:cubicBezTo>
                      <a:pt x="223" y="311"/>
                      <a:pt x="223" y="311"/>
                      <a:pt x="223" y="311"/>
                    </a:cubicBezTo>
                    <a:cubicBezTo>
                      <a:pt x="224" y="311"/>
                      <a:pt x="223" y="311"/>
                      <a:pt x="224" y="310"/>
                    </a:cubicBezTo>
                    <a:cubicBezTo>
                      <a:pt x="224" y="310"/>
                      <a:pt x="226" y="310"/>
                      <a:pt x="226" y="310"/>
                    </a:cubicBezTo>
                    <a:cubicBezTo>
                      <a:pt x="228" y="310"/>
                      <a:pt x="228" y="311"/>
                      <a:pt x="229" y="311"/>
                    </a:cubicBezTo>
                    <a:cubicBezTo>
                      <a:pt x="229" y="311"/>
                      <a:pt x="230" y="311"/>
                      <a:pt x="230" y="311"/>
                    </a:cubicBezTo>
                    <a:cubicBezTo>
                      <a:pt x="231" y="311"/>
                      <a:pt x="231" y="311"/>
                      <a:pt x="231" y="311"/>
                    </a:cubicBezTo>
                    <a:cubicBezTo>
                      <a:pt x="231" y="311"/>
                      <a:pt x="232" y="313"/>
                      <a:pt x="233" y="313"/>
                    </a:cubicBezTo>
                    <a:cubicBezTo>
                      <a:pt x="233" y="314"/>
                      <a:pt x="234" y="313"/>
                      <a:pt x="235" y="314"/>
                    </a:cubicBezTo>
                    <a:cubicBezTo>
                      <a:pt x="235" y="314"/>
                      <a:pt x="235" y="315"/>
                      <a:pt x="236" y="315"/>
                    </a:cubicBezTo>
                    <a:cubicBezTo>
                      <a:pt x="236" y="315"/>
                      <a:pt x="237" y="315"/>
                      <a:pt x="237" y="315"/>
                    </a:cubicBezTo>
                    <a:cubicBezTo>
                      <a:pt x="237" y="315"/>
                      <a:pt x="238" y="316"/>
                      <a:pt x="238" y="316"/>
                    </a:cubicBezTo>
                    <a:cubicBezTo>
                      <a:pt x="238" y="316"/>
                      <a:pt x="239" y="316"/>
                      <a:pt x="239" y="316"/>
                    </a:cubicBezTo>
                    <a:cubicBezTo>
                      <a:pt x="240" y="315"/>
                      <a:pt x="240" y="315"/>
                      <a:pt x="241" y="315"/>
                    </a:cubicBezTo>
                    <a:cubicBezTo>
                      <a:pt x="242" y="314"/>
                      <a:pt x="242" y="314"/>
                      <a:pt x="243" y="314"/>
                    </a:cubicBezTo>
                    <a:cubicBezTo>
                      <a:pt x="244" y="313"/>
                      <a:pt x="245" y="312"/>
                      <a:pt x="246" y="311"/>
                    </a:cubicBezTo>
                    <a:cubicBezTo>
                      <a:pt x="247" y="311"/>
                      <a:pt x="248" y="310"/>
                      <a:pt x="250" y="310"/>
                    </a:cubicBezTo>
                    <a:cubicBezTo>
                      <a:pt x="250" y="310"/>
                      <a:pt x="251" y="310"/>
                      <a:pt x="251" y="310"/>
                    </a:cubicBezTo>
                    <a:cubicBezTo>
                      <a:pt x="252" y="310"/>
                      <a:pt x="253" y="308"/>
                      <a:pt x="252" y="308"/>
                    </a:cubicBezTo>
                    <a:cubicBezTo>
                      <a:pt x="252" y="308"/>
                      <a:pt x="249" y="309"/>
                      <a:pt x="249" y="308"/>
                    </a:cubicBezTo>
                    <a:cubicBezTo>
                      <a:pt x="250" y="308"/>
                      <a:pt x="250" y="308"/>
                      <a:pt x="250" y="308"/>
                    </a:cubicBezTo>
                    <a:cubicBezTo>
                      <a:pt x="251" y="308"/>
                      <a:pt x="251" y="308"/>
                      <a:pt x="252" y="307"/>
                    </a:cubicBezTo>
                    <a:cubicBezTo>
                      <a:pt x="253" y="307"/>
                      <a:pt x="254" y="307"/>
                      <a:pt x="255" y="306"/>
                    </a:cubicBezTo>
                    <a:cubicBezTo>
                      <a:pt x="255" y="306"/>
                      <a:pt x="256" y="306"/>
                      <a:pt x="256" y="306"/>
                    </a:cubicBezTo>
                    <a:cubicBezTo>
                      <a:pt x="256" y="305"/>
                      <a:pt x="256" y="306"/>
                      <a:pt x="256" y="306"/>
                    </a:cubicBezTo>
                    <a:cubicBezTo>
                      <a:pt x="256" y="306"/>
                      <a:pt x="256" y="307"/>
                      <a:pt x="256" y="307"/>
                    </a:cubicBezTo>
                    <a:cubicBezTo>
                      <a:pt x="256" y="307"/>
                      <a:pt x="257" y="307"/>
                      <a:pt x="257" y="307"/>
                    </a:cubicBezTo>
                    <a:cubicBezTo>
                      <a:pt x="257" y="308"/>
                      <a:pt x="256" y="308"/>
                      <a:pt x="256" y="309"/>
                    </a:cubicBezTo>
                    <a:cubicBezTo>
                      <a:pt x="256" y="309"/>
                      <a:pt x="255" y="309"/>
                      <a:pt x="255" y="310"/>
                    </a:cubicBezTo>
                    <a:cubicBezTo>
                      <a:pt x="254" y="310"/>
                      <a:pt x="254" y="311"/>
                      <a:pt x="253" y="311"/>
                    </a:cubicBezTo>
                    <a:cubicBezTo>
                      <a:pt x="253" y="311"/>
                      <a:pt x="252" y="311"/>
                      <a:pt x="252" y="311"/>
                    </a:cubicBezTo>
                    <a:cubicBezTo>
                      <a:pt x="252" y="311"/>
                      <a:pt x="252" y="310"/>
                      <a:pt x="251" y="310"/>
                    </a:cubicBezTo>
                    <a:cubicBezTo>
                      <a:pt x="252" y="311"/>
                      <a:pt x="252" y="312"/>
                      <a:pt x="252" y="312"/>
                    </a:cubicBezTo>
                    <a:cubicBezTo>
                      <a:pt x="253" y="313"/>
                      <a:pt x="254" y="312"/>
                      <a:pt x="254" y="312"/>
                    </a:cubicBezTo>
                    <a:cubicBezTo>
                      <a:pt x="255" y="311"/>
                      <a:pt x="256" y="312"/>
                      <a:pt x="256" y="311"/>
                    </a:cubicBezTo>
                    <a:cubicBezTo>
                      <a:pt x="256" y="310"/>
                      <a:pt x="257" y="310"/>
                      <a:pt x="257" y="310"/>
                    </a:cubicBezTo>
                    <a:cubicBezTo>
                      <a:pt x="257" y="309"/>
                      <a:pt x="258" y="309"/>
                      <a:pt x="259" y="309"/>
                    </a:cubicBezTo>
                    <a:cubicBezTo>
                      <a:pt x="259" y="310"/>
                      <a:pt x="259" y="310"/>
                      <a:pt x="259" y="311"/>
                    </a:cubicBezTo>
                    <a:cubicBezTo>
                      <a:pt x="259" y="312"/>
                      <a:pt x="258" y="311"/>
                      <a:pt x="257" y="311"/>
                    </a:cubicBezTo>
                    <a:cubicBezTo>
                      <a:pt x="257" y="312"/>
                      <a:pt x="257" y="313"/>
                      <a:pt x="256" y="313"/>
                    </a:cubicBezTo>
                    <a:cubicBezTo>
                      <a:pt x="257" y="313"/>
                      <a:pt x="257" y="313"/>
                      <a:pt x="257" y="314"/>
                    </a:cubicBezTo>
                    <a:cubicBezTo>
                      <a:pt x="257" y="314"/>
                      <a:pt x="258" y="314"/>
                      <a:pt x="258" y="314"/>
                    </a:cubicBezTo>
                    <a:cubicBezTo>
                      <a:pt x="259" y="314"/>
                      <a:pt x="260" y="314"/>
                      <a:pt x="260" y="314"/>
                    </a:cubicBezTo>
                    <a:cubicBezTo>
                      <a:pt x="260" y="315"/>
                      <a:pt x="259" y="314"/>
                      <a:pt x="259" y="314"/>
                    </a:cubicBezTo>
                    <a:cubicBezTo>
                      <a:pt x="259" y="315"/>
                      <a:pt x="259" y="318"/>
                      <a:pt x="260" y="317"/>
                    </a:cubicBezTo>
                    <a:cubicBezTo>
                      <a:pt x="260" y="316"/>
                      <a:pt x="261" y="316"/>
                      <a:pt x="261" y="316"/>
                    </a:cubicBezTo>
                    <a:cubicBezTo>
                      <a:pt x="262" y="316"/>
                      <a:pt x="262" y="317"/>
                      <a:pt x="262" y="317"/>
                    </a:cubicBezTo>
                    <a:cubicBezTo>
                      <a:pt x="262" y="318"/>
                      <a:pt x="262" y="318"/>
                      <a:pt x="262" y="318"/>
                    </a:cubicBezTo>
                    <a:cubicBezTo>
                      <a:pt x="262" y="319"/>
                      <a:pt x="262" y="319"/>
                      <a:pt x="262" y="319"/>
                    </a:cubicBezTo>
                    <a:cubicBezTo>
                      <a:pt x="261" y="319"/>
                      <a:pt x="262" y="319"/>
                      <a:pt x="262" y="319"/>
                    </a:cubicBezTo>
                    <a:cubicBezTo>
                      <a:pt x="263" y="319"/>
                      <a:pt x="263" y="319"/>
                      <a:pt x="263" y="318"/>
                    </a:cubicBezTo>
                    <a:cubicBezTo>
                      <a:pt x="263" y="318"/>
                      <a:pt x="263" y="318"/>
                      <a:pt x="263" y="318"/>
                    </a:cubicBezTo>
                    <a:cubicBezTo>
                      <a:pt x="263" y="318"/>
                      <a:pt x="263" y="317"/>
                      <a:pt x="264" y="317"/>
                    </a:cubicBezTo>
                    <a:cubicBezTo>
                      <a:pt x="264" y="317"/>
                      <a:pt x="264" y="316"/>
                      <a:pt x="265" y="316"/>
                    </a:cubicBezTo>
                    <a:cubicBezTo>
                      <a:pt x="265" y="315"/>
                      <a:pt x="264" y="316"/>
                      <a:pt x="264" y="316"/>
                    </a:cubicBezTo>
                    <a:cubicBezTo>
                      <a:pt x="264" y="316"/>
                      <a:pt x="262" y="317"/>
                      <a:pt x="262" y="317"/>
                    </a:cubicBezTo>
                    <a:cubicBezTo>
                      <a:pt x="262" y="316"/>
                      <a:pt x="263" y="316"/>
                      <a:pt x="262" y="316"/>
                    </a:cubicBezTo>
                    <a:cubicBezTo>
                      <a:pt x="262" y="315"/>
                      <a:pt x="263" y="314"/>
                      <a:pt x="264" y="314"/>
                    </a:cubicBezTo>
                    <a:cubicBezTo>
                      <a:pt x="264" y="314"/>
                      <a:pt x="264" y="315"/>
                      <a:pt x="265" y="315"/>
                    </a:cubicBezTo>
                    <a:cubicBezTo>
                      <a:pt x="266" y="314"/>
                      <a:pt x="267" y="314"/>
                      <a:pt x="267" y="314"/>
                    </a:cubicBezTo>
                    <a:cubicBezTo>
                      <a:pt x="267" y="314"/>
                      <a:pt x="269" y="314"/>
                      <a:pt x="269" y="314"/>
                    </a:cubicBezTo>
                    <a:cubicBezTo>
                      <a:pt x="270" y="314"/>
                      <a:pt x="271" y="313"/>
                      <a:pt x="271" y="312"/>
                    </a:cubicBezTo>
                    <a:cubicBezTo>
                      <a:pt x="273" y="312"/>
                      <a:pt x="274" y="311"/>
                      <a:pt x="275" y="310"/>
                    </a:cubicBezTo>
                    <a:cubicBezTo>
                      <a:pt x="277" y="309"/>
                      <a:pt x="279" y="307"/>
                      <a:pt x="282" y="306"/>
                    </a:cubicBezTo>
                    <a:cubicBezTo>
                      <a:pt x="284" y="305"/>
                      <a:pt x="287" y="305"/>
                      <a:pt x="290" y="305"/>
                    </a:cubicBezTo>
                    <a:cubicBezTo>
                      <a:pt x="290" y="305"/>
                      <a:pt x="296" y="304"/>
                      <a:pt x="296" y="305"/>
                    </a:cubicBezTo>
                    <a:cubicBezTo>
                      <a:pt x="296" y="304"/>
                      <a:pt x="297" y="305"/>
                      <a:pt x="298" y="304"/>
                    </a:cubicBezTo>
                    <a:cubicBezTo>
                      <a:pt x="299" y="304"/>
                      <a:pt x="299" y="304"/>
                      <a:pt x="300" y="304"/>
                    </a:cubicBezTo>
                    <a:cubicBezTo>
                      <a:pt x="300" y="303"/>
                      <a:pt x="302" y="302"/>
                      <a:pt x="301" y="302"/>
                    </a:cubicBezTo>
                    <a:cubicBezTo>
                      <a:pt x="302" y="302"/>
                      <a:pt x="302" y="302"/>
                      <a:pt x="302" y="301"/>
                    </a:cubicBezTo>
                    <a:cubicBezTo>
                      <a:pt x="302" y="302"/>
                      <a:pt x="302" y="302"/>
                      <a:pt x="302" y="302"/>
                    </a:cubicBezTo>
                    <a:cubicBezTo>
                      <a:pt x="303" y="302"/>
                      <a:pt x="304" y="302"/>
                      <a:pt x="304" y="300"/>
                    </a:cubicBezTo>
                    <a:cubicBezTo>
                      <a:pt x="304" y="300"/>
                      <a:pt x="305" y="298"/>
                      <a:pt x="306" y="299"/>
                    </a:cubicBezTo>
                    <a:cubicBezTo>
                      <a:pt x="306" y="299"/>
                      <a:pt x="306" y="298"/>
                      <a:pt x="306" y="298"/>
                    </a:cubicBezTo>
                    <a:cubicBezTo>
                      <a:pt x="306" y="297"/>
                      <a:pt x="305" y="297"/>
                      <a:pt x="305" y="297"/>
                    </a:cubicBezTo>
                    <a:cubicBezTo>
                      <a:pt x="305" y="297"/>
                      <a:pt x="306" y="297"/>
                      <a:pt x="306" y="296"/>
                    </a:cubicBezTo>
                    <a:cubicBezTo>
                      <a:pt x="306" y="296"/>
                      <a:pt x="306" y="296"/>
                      <a:pt x="307" y="295"/>
                    </a:cubicBezTo>
                    <a:cubicBezTo>
                      <a:pt x="307" y="295"/>
                      <a:pt x="306" y="295"/>
                      <a:pt x="306" y="295"/>
                    </a:cubicBezTo>
                    <a:cubicBezTo>
                      <a:pt x="306" y="295"/>
                      <a:pt x="307" y="295"/>
                      <a:pt x="307" y="295"/>
                    </a:cubicBezTo>
                    <a:cubicBezTo>
                      <a:pt x="307" y="294"/>
                      <a:pt x="308" y="294"/>
                      <a:pt x="308" y="293"/>
                    </a:cubicBezTo>
                    <a:cubicBezTo>
                      <a:pt x="309" y="292"/>
                      <a:pt x="310" y="291"/>
                      <a:pt x="310" y="290"/>
                    </a:cubicBezTo>
                    <a:cubicBezTo>
                      <a:pt x="311" y="289"/>
                      <a:pt x="312" y="289"/>
                      <a:pt x="312" y="287"/>
                    </a:cubicBezTo>
                    <a:cubicBezTo>
                      <a:pt x="312" y="287"/>
                      <a:pt x="313" y="286"/>
                      <a:pt x="313" y="286"/>
                    </a:cubicBezTo>
                    <a:cubicBezTo>
                      <a:pt x="313" y="285"/>
                      <a:pt x="313" y="286"/>
                      <a:pt x="313" y="285"/>
                    </a:cubicBezTo>
                    <a:cubicBezTo>
                      <a:pt x="314" y="285"/>
                      <a:pt x="314" y="285"/>
                      <a:pt x="314" y="284"/>
                    </a:cubicBezTo>
                    <a:cubicBezTo>
                      <a:pt x="314" y="284"/>
                      <a:pt x="315" y="283"/>
                      <a:pt x="316" y="283"/>
                    </a:cubicBezTo>
                    <a:cubicBezTo>
                      <a:pt x="316" y="283"/>
                      <a:pt x="316" y="282"/>
                      <a:pt x="316" y="282"/>
                    </a:cubicBezTo>
                    <a:cubicBezTo>
                      <a:pt x="316" y="282"/>
                      <a:pt x="316" y="282"/>
                      <a:pt x="316" y="282"/>
                    </a:cubicBezTo>
                    <a:cubicBezTo>
                      <a:pt x="317" y="281"/>
                      <a:pt x="318" y="281"/>
                      <a:pt x="319" y="280"/>
                    </a:cubicBezTo>
                    <a:cubicBezTo>
                      <a:pt x="319" y="279"/>
                      <a:pt x="319" y="279"/>
                      <a:pt x="319" y="279"/>
                    </a:cubicBezTo>
                    <a:cubicBezTo>
                      <a:pt x="320" y="278"/>
                      <a:pt x="320" y="278"/>
                      <a:pt x="320" y="278"/>
                    </a:cubicBezTo>
                    <a:cubicBezTo>
                      <a:pt x="320" y="277"/>
                      <a:pt x="321" y="277"/>
                      <a:pt x="321" y="277"/>
                    </a:cubicBezTo>
                    <a:cubicBezTo>
                      <a:pt x="322" y="276"/>
                      <a:pt x="322" y="276"/>
                      <a:pt x="323" y="276"/>
                    </a:cubicBezTo>
                    <a:cubicBezTo>
                      <a:pt x="323" y="276"/>
                      <a:pt x="323" y="276"/>
                      <a:pt x="323" y="276"/>
                    </a:cubicBezTo>
                    <a:cubicBezTo>
                      <a:pt x="324" y="276"/>
                      <a:pt x="324" y="276"/>
                      <a:pt x="324" y="275"/>
                    </a:cubicBezTo>
                    <a:cubicBezTo>
                      <a:pt x="323" y="276"/>
                      <a:pt x="323" y="275"/>
                      <a:pt x="324" y="274"/>
                    </a:cubicBezTo>
                    <a:cubicBezTo>
                      <a:pt x="324" y="274"/>
                      <a:pt x="325" y="274"/>
                      <a:pt x="325" y="274"/>
                    </a:cubicBezTo>
                    <a:cubicBezTo>
                      <a:pt x="325" y="274"/>
                      <a:pt x="324" y="275"/>
                      <a:pt x="325" y="275"/>
                    </a:cubicBezTo>
                    <a:cubicBezTo>
                      <a:pt x="325" y="275"/>
                      <a:pt x="325" y="274"/>
                      <a:pt x="325" y="274"/>
                    </a:cubicBezTo>
                    <a:cubicBezTo>
                      <a:pt x="324" y="274"/>
                      <a:pt x="325" y="273"/>
                      <a:pt x="325" y="273"/>
                    </a:cubicBezTo>
                    <a:cubicBezTo>
                      <a:pt x="325" y="273"/>
                      <a:pt x="325" y="273"/>
                      <a:pt x="325" y="273"/>
                    </a:cubicBezTo>
                    <a:cubicBezTo>
                      <a:pt x="325" y="272"/>
                      <a:pt x="326" y="272"/>
                      <a:pt x="327" y="271"/>
                    </a:cubicBezTo>
                    <a:cubicBezTo>
                      <a:pt x="327" y="271"/>
                      <a:pt x="327" y="270"/>
                      <a:pt x="328" y="270"/>
                    </a:cubicBezTo>
                    <a:cubicBezTo>
                      <a:pt x="328" y="269"/>
                      <a:pt x="327" y="269"/>
                      <a:pt x="327" y="269"/>
                    </a:cubicBezTo>
                    <a:cubicBezTo>
                      <a:pt x="327" y="269"/>
                      <a:pt x="328" y="268"/>
                      <a:pt x="328" y="269"/>
                    </a:cubicBezTo>
                    <a:cubicBezTo>
                      <a:pt x="328" y="269"/>
                      <a:pt x="328" y="269"/>
                      <a:pt x="328" y="269"/>
                    </a:cubicBezTo>
                    <a:cubicBezTo>
                      <a:pt x="329" y="269"/>
                      <a:pt x="329" y="268"/>
                      <a:pt x="329" y="267"/>
                    </a:cubicBezTo>
                    <a:cubicBezTo>
                      <a:pt x="330" y="267"/>
                      <a:pt x="330" y="266"/>
                      <a:pt x="331" y="265"/>
                    </a:cubicBezTo>
                    <a:cubicBezTo>
                      <a:pt x="331" y="265"/>
                      <a:pt x="333" y="264"/>
                      <a:pt x="333" y="264"/>
                    </a:cubicBezTo>
                    <a:cubicBezTo>
                      <a:pt x="333" y="264"/>
                      <a:pt x="334" y="263"/>
                      <a:pt x="334" y="263"/>
                    </a:cubicBezTo>
                    <a:cubicBezTo>
                      <a:pt x="334" y="263"/>
                      <a:pt x="333" y="263"/>
                      <a:pt x="333" y="263"/>
                    </a:cubicBezTo>
                    <a:cubicBezTo>
                      <a:pt x="333" y="263"/>
                      <a:pt x="334" y="262"/>
                      <a:pt x="334" y="263"/>
                    </a:cubicBezTo>
                    <a:cubicBezTo>
                      <a:pt x="334" y="263"/>
                      <a:pt x="335" y="262"/>
                      <a:pt x="335" y="261"/>
                    </a:cubicBezTo>
                    <a:cubicBezTo>
                      <a:pt x="335" y="262"/>
                      <a:pt x="335" y="262"/>
                      <a:pt x="335" y="262"/>
                    </a:cubicBezTo>
                    <a:cubicBezTo>
                      <a:pt x="335" y="261"/>
                      <a:pt x="336" y="261"/>
                      <a:pt x="336" y="260"/>
                    </a:cubicBezTo>
                    <a:cubicBezTo>
                      <a:pt x="336" y="260"/>
                      <a:pt x="337" y="259"/>
                      <a:pt x="337" y="259"/>
                    </a:cubicBezTo>
                    <a:cubicBezTo>
                      <a:pt x="337" y="259"/>
                      <a:pt x="337" y="259"/>
                      <a:pt x="336" y="259"/>
                    </a:cubicBezTo>
                    <a:cubicBezTo>
                      <a:pt x="336" y="259"/>
                      <a:pt x="337" y="259"/>
                      <a:pt x="337" y="258"/>
                    </a:cubicBezTo>
                    <a:cubicBezTo>
                      <a:pt x="337" y="258"/>
                      <a:pt x="336" y="259"/>
                      <a:pt x="336" y="259"/>
                    </a:cubicBezTo>
                    <a:cubicBezTo>
                      <a:pt x="336" y="258"/>
                      <a:pt x="336" y="258"/>
                      <a:pt x="337" y="258"/>
                    </a:cubicBezTo>
                    <a:cubicBezTo>
                      <a:pt x="336" y="258"/>
                      <a:pt x="338" y="258"/>
                      <a:pt x="338" y="258"/>
                    </a:cubicBezTo>
                    <a:cubicBezTo>
                      <a:pt x="339" y="258"/>
                      <a:pt x="340" y="256"/>
                      <a:pt x="340" y="256"/>
                    </a:cubicBezTo>
                    <a:cubicBezTo>
                      <a:pt x="339" y="256"/>
                      <a:pt x="339" y="256"/>
                      <a:pt x="339" y="256"/>
                    </a:cubicBezTo>
                    <a:cubicBezTo>
                      <a:pt x="340" y="255"/>
                      <a:pt x="340" y="255"/>
                      <a:pt x="341" y="255"/>
                    </a:cubicBezTo>
                    <a:cubicBezTo>
                      <a:pt x="341" y="255"/>
                      <a:pt x="340" y="255"/>
                      <a:pt x="340" y="256"/>
                    </a:cubicBezTo>
                    <a:cubicBezTo>
                      <a:pt x="341" y="255"/>
                      <a:pt x="342" y="253"/>
                      <a:pt x="343" y="252"/>
                    </a:cubicBezTo>
                    <a:cubicBezTo>
                      <a:pt x="345" y="251"/>
                      <a:pt x="346" y="250"/>
                      <a:pt x="348" y="250"/>
                    </a:cubicBezTo>
                    <a:cubicBezTo>
                      <a:pt x="348" y="250"/>
                      <a:pt x="349" y="250"/>
                      <a:pt x="349" y="249"/>
                    </a:cubicBezTo>
                    <a:cubicBezTo>
                      <a:pt x="349" y="249"/>
                      <a:pt x="349" y="249"/>
                      <a:pt x="348" y="249"/>
                    </a:cubicBezTo>
                    <a:cubicBezTo>
                      <a:pt x="348" y="249"/>
                      <a:pt x="349" y="248"/>
                      <a:pt x="349" y="248"/>
                    </a:cubicBezTo>
                    <a:cubicBezTo>
                      <a:pt x="350" y="248"/>
                      <a:pt x="350" y="249"/>
                      <a:pt x="350" y="248"/>
                    </a:cubicBezTo>
                    <a:cubicBezTo>
                      <a:pt x="350" y="248"/>
                      <a:pt x="351" y="247"/>
                      <a:pt x="352" y="247"/>
                    </a:cubicBezTo>
                    <a:cubicBezTo>
                      <a:pt x="352" y="246"/>
                      <a:pt x="353" y="246"/>
                      <a:pt x="354" y="246"/>
                    </a:cubicBezTo>
                    <a:cubicBezTo>
                      <a:pt x="354" y="245"/>
                      <a:pt x="354" y="245"/>
                      <a:pt x="355" y="244"/>
                    </a:cubicBezTo>
                    <a:cubicBezTo>
                      <a:pt x="355" y="244"/>
                      <a:pt x="355" y="243"/>
                      <a:pt x="355" y="243"/>
                    </a:cubicBezTo>
                    <a:cubicBezTo>
                      <a:pt x="355" y="242"/>
                      <a:pt x="357" y="240"/>
                      <a:pt x="358" y="240"/>
                    </a:cubicBezTo>
                    <a:cubicBezTo>
                      <a:pt x="359" y="239"/>
                      <a:pt x="359" y="238"/>
                      <a:pt x="360" y="237"/>
                    </a:cubicBezTo>
                    <a:cubicBezTo>
                      <a:pt x="361" y="236"/>
                      <a:pt x="362" y="235"/>
                      <a:pt x="363" y="234"/>
                    </a:cubicBezTo>
                    <a:cubicBezTo>
                      <a:pt x="363" y="233"/>
                      <a:pt x="363" y="233"/>
                      <a:pt x="364" y="232"/>
                    </a:cubicBezTo>
                    <a:cubicBezTo>
                      <a:pt x="364" y="232"/>
                      <a:pt x="365" y="231"/>
                      <a:pt x="365" y="230"/>
                    </a:cubicBezTo>
                    <a:cubicBezTo>
                      <a:pt x="365" y="230"/>
                      <a:pt x="366" y="229"/>
                      <a:pt x="366" y="229"/>
                    </a:cubicBezTo>
                    <a:cubicBezTo>
                      <a:pt x="366" y="229"/>
                      <a:pt x="365" y="229"/>
                      <a:pt x="366" y="228"/>
                    </a:cubicBezTo>
                    <a:cubicBezTo>
                      <a:pt x="366" y="227"/>
                      <a:pt x="366" y="227"/>
                      <a:pt x="367" y="226"/>
                    </a:cubicBezTo>
                    <a:cubicBezTo>
                      <a:pt x="367" y="225"/>
                      <a:pt x="367" y="225"/>
                      <a:pt x="367" y="224"/>
                    </a:cubicBezTo>
                    <a:cubicBezTo>
                      <a:pt x="368" y="224"/>
                      <a:pt x="369" y="223"/>
                      <a:pt x="369" y="223"/>
                    </a:cubicBezTo>
                    <a:cubicBezTo>
                      <a:pt x="369" y="222"/>
                      <a:pt x="370" y="222"/>
                      <a:pt x="370" y="221"/>
                    </a:cubicBezTo>
                    <a:cubicBezTo>
                      <a:pt x="371" y="220"/>
                      <a:pt x="371" y="220"/>
                      <a:pt x="371" y="219"/>
                    </a:cubicBezTo>
                    <a:cubicBezTo>
                      <a:pt x="371" y="218"/>
                      <a:pt x="372" y="218"/>
                      <a:pt x="372" y="217"/>
                    </a:cubicBezTo>
                    <a:cubicBezTo>
                      <a:pt x="373" y="216"/>
                      <a:pt x="374" y="214"/>
                      <a:pt x="375" y="212"/>
                    </a:cubicBezTo>
                    <a:cubicBezTo>
                      <a:pt x="375" y="212"/>
                      <a:pt x="375" y="211"/>
                      <a:pt x="376" y="211"/>
                    </a:cubicBezTo>
                    <a:cubicBezTo>
                      <a:pt x="376" y="210"/>
                      <a:pt x="377" y="210"/>
                      <a:pt x="377" y="209"/>
                    </a:cubicBezTo>
                    <a:cubicBezTo>
                      <a:pt x="377" y="208"/>
                      <a:pt x="378" y="208"/>
                      <a:pt x="378" y="207"/>
                    </a:cubicBezTo>
                    <a:cubicBezTo>
                      <a:pt x="379" y="207"/>
                      <a:pt x="380" y="207"/>
                      <a:pt x="380" y="206"/>
                    </a:cubicBezTo>
                    <a:cubicBezTo>
                      <a:pt x="380" y="205"/>
                      <a:pt x="380" y="205"/>
                      <a:pt x="380" y="204"/>
                    </a:cubicBezTo>
                    <a:cubicBezTo>
                      <a:pt x="380" y="203"/>
                      <a:pt x="380" y="203"/>
                      <a:pt x="381" y="202"/>
                    </a:cubicBezTo>
                    <a:cubicBezTo>
                      <a:pt x="381" y="201"/>
                      <a:pt x="382" y="200"/>
                      <a:pt x="381" y="199"/>
                    </a:cubicBezTo>
                    <a:cubicBezTo>
                      <a:pt x="381" y="198"/>
                      <a:pt x="382" y="197"/>
                      <a:pt x="381" y="196"/>
                    </a:cubicBezTo>
                    <a:cubicBezTo>
                      <a:pt x="381" y="196"/>
                      <a:pt x="381" y="197"/>
                      <a:pt x="381" y="197"/>
                    </a:cubicBezTo>
                    <a:cubicBezTo>
                      <a:pt x="381" y="196"/>
                      <a:pt x="382" y="196"/>
                      <a:pt x="382" y="195"/>
                    </a:cubicBezTo>
                    <a:cubicBezTo>
                      <a:pt x="381" y="195"/>
                      <a:pt x="382" y="194"/>
                      <a:pt x="382" y="194"/>
                    </a:cubicBezTo>
                    <a:cubicBezTo>
                      <a:pt x="381" y="193"/>
                      <a:pt x="381" y="193"/>
                      <a:pt x="381" y="192"/>
                    </a:cubicBezTo>
                    <a:cubicBezTo>
                      <a:pt x="382" y="192"/>
                      <a:pt x="382" y="192"/>
                      <a:pt x="381" y="191"/>
                    </a:cubicBezTo>
                    <a:cubicBezTo>
                      <a:pt x="381" y="191"/>
                      <a:pt x="381" y="192"/>
                      <a:pt x="381" y="191"/>
                    </a:cubicBezTo>
                    <a:cubicBezTo>
                      <a:pt x="381" y="190"/>
                      <a:pt x="381" y="190"/>
                      <a:pt x="381" y="190"/>
                    </a:cubicBezTo>
                    <a:cubicBezTo>
                      <a:pt x="380" y="189"/>
                      <a:pt x="382" y="188"/>
                      <a:pt x="381" y="188"/>
                    </a:cubicBezTo>
                    <a:cubicBezTo>
                      <a:pt x="380" y="188"/>
                      <a:pt x="381" y="187"/>
                      <a:pt x="381" y="187"/>
                    </a:cubicBezTo>
                    <a:cubicBezTo>
                      <a:pt x="382" y="187"/>
                      <a:pt x="382" y="187"/>
                      <a:pt x="382" y="187"/>
                    </a:cubicBezTo>
                    <a:cubicBezTo>
                      <a:pt x="383" y="186"/>
                      <a:pt x="382" y="186"/>
                      <a:pt x="382" y="185"/>
                    </a:cubicBezTo>
                    <a:cubicBezTo>
                      <a:pt x="383" y="184"/>
                      <a:pt x="383" y="183"/>
                      <a:pt x="383" y="183"/>
                    </a:cubicBezTo>
                    <a:cubicBezTo>
                      <a:pt x="383" y="182"/>
                      <a:pt x="383" y="182"/>
                      <a:pt x="383" y="182"/>
                    </a:cubicBezTo>
                    <a:cubicBezTo>
                      <a:pt x="383" y="182"/>
                      <a:pt x="383" y="181"/>
                      <a:pt x="383" y="181"/>
                    </a:cubicBezTo>
                    <a:cubicBezTo>
                      <a:pt x="383" y="181"/>
                      <a:pt x="384" y="180"/>
                      <a:pt x="384" y="179"/>
                    </a:cubicBezTo>
                    <a:cubicBezTo>
                      <a:pt x="384" y="179"/>
                      <a:pt x="384" y="178"/>
                      <a:pt x="384" y="178"/>
                    </a:cubicBezTo>
                    <a:cubicBezTo>
                      <a:pt x="385" y="177"/>
                      <a:pt x="385" y="176"/>
                      <a:pt x="386" y="174"/>
                    </a:cubicBezTo>
                    <a:cubicBezTo>
                      <a:pt x="385" y="175"/>
                      <a:pt x="386" y="173"/>
                      <a:pt x="385" y="17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7" name="Armenia">
                <a:extLst>
                  <a:ext uri="{FF2B5EF4-FFF2-40B4-BE49-F238E27FC236}">
                    <a16:creationId xmlns:a16="http://schemas.microsoft.com/office/drawing/2014/main" id="{16E40C92-6CAF-8A3F-0FE4-C42AC746002C}"/>
                  </a:ext>
                </a:extLst>
              </p:cNvPr>
              <p:cNvSpPr>
                <a:spLocks noEditPoints="1"/>
              </p:cNvSpPr>
              <p:nvPr/>
            </p:nvSpPr>
            <p:spPr bwMode="auto">
              <a:xfrm>
                <a:off x="7092436" y="2437860"/>
                <a:ext cx="109779" cy="96056"/>
              </a:xfrm>
              <a:custGeom>
                <a:avLst/>
                <a:gdLst/>
                <a:ahLst/>
                <a:cxnLst>
                  <a:cxn ang="0">
                    <a:pos x="31" y="22"/>
                  </a:cxn>
                  <a:cxn ang="0">
                    <a:pos x="30" y="20"/>
                  </a:cxn>
                  <a:cxn ang="0">
                    <a:pos x="29" y="18"/>
                  </a:cxn>
                  <a:cxn ang="0">
                    <a:pos x="26" y="17"/>
                  </a:cxn>
                  <a:cxn ang="0">
                    <a:pos x="23" y="15"/>
                  </a:cxn>
                  <a:cxn ang="0">
                    <a:pos x="24" y="14"/>
                  </a:cxn>
                  <a:cxn ang="0">
                    <a:pos x="24" y="12"/>
                  </a:cxn>
                  <a:cxn ang="0">
                    <a:pos x="22" y="10"/>
                  </a:cxn>
                  <a:cxn ang="0">
                    <a:pos x="19" y="8"/>
                  </a:cxn>
                  <a:cxn ang="0">
                    <a:pos x="20" y="4"/>
                  </a:cxn>
                  <a:cxn ang="0">
                    <a:pos x="17" y="3"/>
                  </a:cxn>
                  <a:cxn ang="0">
                    <a:pos x="15" y="2"/>
                  </a:cxn>
                  <a:cxn ang="0">
                    <a:pos x="15" y="1"/>
                  </a:cxn>
                  <a:cxn ang="0">
                    <a:pos x="12" y="0"/>
                  </a:cxn>
                  <a:cxn ang="0">
                    <a:pos x="10" y="1"/>
                  </a:cxn>
                  <a:cxn ang="0">
                    <a:pos x="9" y="1"/>
                  </a:cxn>
                  <a:cxn ang="0">
                    <a:pos x="8" y="1"/>
                  </a:cxn>
                  <a:cxn ang="0">
                    <a:pos x="6" y="1"/>
                  </a:cxn>
                  <a:cxn ang="0">
                    <a:pos x="3" y="2"/>
                  </a:cxn>
                  <a:cxn ang="0">
                    <a:pos x="1" y="3"/>
                  </a:cxn>
                  <a:cxn ang="0">
                    <a:pos x="3" y="7"/>
                  </a:cxn>
                  <a:cxn ang="0">
                    <a:pos x="3" y="10"/>
                  </a:cxn>
                  <a:cxn ang="0">
                    <a:pos x="4" y="12"/>
                  </a:cxn>
                  <a:cxn ang="0">
                    <a:pos x="7" y="14"/>
                  </a:cxn>
                  <a:cxn ang="0">
                    <a:pos x="8" y="14"/>
                  </a:cxn>
                  <a:cxn ang="0">
                    <a:pos x="12" y="15"/>
                  </a:cxn>
                  <a:cxn ang="0">
                    <a:pos x="17" y="16"/>
                  </a:cxn>
                  <a:cxn ang="0">
                    <a:pos x="19" y="18"/>
                  </a:cxn>
                  <a:cxn ang="0">
                    <a:pos x="20" y="19"/>
                  </a:cxn>
                  <a:cxn ang="0">
                    <a:pos x="24" y="19"/>
                  </a:cxn>
                  <a:cxn ang="0">
                    <a:pos x="25" y="22"/>
                  </a:cxn>
                  <a:cxn ang="0">
                    <a:pos x="26" y="24"/>
                  </a:cxn>
                  <a:cxn ang="0">
                    <a:pos x="28" y="26"/>
                  </a:cxn>
                  <a:cxn ang="0">
                    <a:pos x="31" y="26"/>
                  </a:cxn>
                  <a:cxn ang="0">
                    <a:pos x="30" y="23"/>
                  </a:cxn>
                  <a:cxn ang="0">
                    <a:pos x="14" y="2"/>
                  </a:cxn>
                  <a:cxn ang="0">
                    <a:pos x="16" y="3"/>
                  </a:cxn>
                </a:cxnLst>
                <a:rect l="0" t="0" r="r" b="b"/>
                <a:pathLst>
                  <a:path w="31" h="27">
                    <a:moveTo>
                      <a:pt x="30" y="23"/>
                    </a:moveTo>
                    <a:cubicBezTo>
                      <a:pt x="29" y="22"/>
                      <a:pt x="31" y="23"/>
                      <a:pt x="31" y="22"/>
                    </a:cubicBezTo>
                    <a:cubicBezTo>
                      <a:pt x="31" y="22"/>
                      <a:pt x="30" y="21"/>
                      <a:pt x="29" y="21"/>
                    </a:cubicBezTo>
                    <a:cubicBezTo>
                      <a:pt x="28" y="20"/>
                      <a:pt x="30" y="20"/>
                      <a:pt x="30" y="20"/>
                    </a:cubicBezTo>
                    <a:cubicBezTo>
                      <a:pt x="30" y="19"/>
                      <a:pt x="30" y="19"/>
                      <a:pt x="30" y="18"/>
                    </a:cubicBezTo>
                    <a:cubicBezTo>
                      <a:pt x="29" y="18"/>
                      <a:pt x="29" y="18"/>
                      <a:pt x="29" y="18"/>
                    </a:cubicBezTo>
                    <a:cubicBezTo>
                      <a:pt x="28" y="18"/>
                      <a:pt x="28" y="19"/>
                      <a:pt x="27" y="18"/>
                    </a:cubicBezTo>
                    <a:cubicBezTo>
                      <a:pt x="27" y="18"/>
                      <a:pt x="26" y="18"/>
                      <a:pt x="26" y="17"/>
                    </a:cubicBezTo>
                    <a:cubicBezTo>
                      <a:pt x="25" y="17"/>
                      <a:pt x="25" y="16"/>
                      <a:pt x="24" y="16"/>
                    </a:cubicBezTo>
                    <a:cubicBezTo>
                      <a:pt x="24" y="16"/>
                      <a:pt x="23" y="16"/>
                      <a:pt x="23" y="15"/>
                    </a:cubicBezTo>
                    <a:cubicBezTo>
                      <a:pt x="22" y="14"/>
                      <a:pt x="22" y="15"/>
                      <a:pt x="21" y="14"/>
                    </a:cubicBezTo>
                    <a:cubicBezTo>
                      <a:pt x="20" y="14"/>
                      <a:pt x="23" y="14"/>
                      <a:pt x="24" y="14"/>
                    </a:cubicBezTo>
                    <a:cubicBezTo>
                      <a:pt x="24" y="13"/>
                      <a:pt x="24" y="13"/>
                      <a:pt x="24" y="13"/>
                    </a:cubicBezTo>
                    <a:cubicBezTo>
                      <a:pt x="24" y="13"/>
                      <a:pt x="24" y="12"/>
                      <a:pt x="24" y="12"/>
                    </a:cubicBezTo>
                    <a:cubicBezTo>
                      <a:pt x="24" y="11"/>
                      <a:pt x="24" y="11"/>
                      <a:pt x="23" y="11"/>
                    </a:cubicBezTo>
                    <a:cubicBezTo>
                      <a:pt x="23" y="11"/>
                      <a:pt x="22" y="10"/>
                      <a:pt x="22" y="10"/>
                    </a:cubicBezTo>
                    <a:cubicBezTo>
                      <a:pt x="21" y="10"/>
                      <a:pt x="21" y="10"/>
                      <a:pt x="20" y="9"/>
                    </a:cubicBezTo>
                    <a:cubicBezTo>
                      <a:pt x="20" y="9"/>
                      <a:pt x="19" y="8"/>
                      <a:pt x="19" y="8"/>
                    </a:cubicBezTo>
                    <a:cubicBezTo>
                      <a:pt x="19" y="7"/>
                      <a:pt x="17" y="7"/>
                      <a:pt x="18" y="6"/>
                    </a:cubicBezTo>
                    <a:cubicBezTo>
                      <a:pt x="19" y="6"/>
                      <a:pt x="20" y="5"/>
                      <a:pt x="20" y="4"/>
                    </a:cubicBezTo>
                    <a:cubicBezTo>
                      <a:pt x="19" y="4"/>
                      <a:pt x="18" y="4"/>
                      <a:pt x="18" y="3"/>
                    </a:cubicBezTo>
                    <a:cubicBezTo>
                      <a:pt x="18" y="3"/>
                      <a:pt x="17" y="3"/>
                      <a:pt x="17" y="3"/>
                    </a:cubicBezTo>
                    <a:cubicBezTo>
                      <a:pt x="16" y="3"/>
                      <a:pt x="16" y="2"/>
                      <a:pt x="15" y="2"/>
                    </a:cubicBezTo>
                    <a:cubicBezTo>
                      <a:pt x="15" y="3"/>
                      <a:pt x="14" y="2"/>
                      <a:pt x="15" y="2"/>
                    </a:cubicBezTo>
                    <a:cubicBezTo>
                      <a:pt x="15" y="2"/>
                      <a:pt x="16" y="2"/>
                      <a:pt x="16" y="1"/>
                    </a:cubicBezTo>
                    <a:cubicBezTo>
                      <a:pt x="16" y="1"/>
                      <a:pt x="15" y="1"/>
                      <a:pt x="15" y="1"/>
                    </a:cubicBezTo>
                    <a:cubicBezTo>
                      <a:pt x="14" y="1"/>
                      <a:pt x="14" y="0"/>
                      <a:pt x="14" y="0"/>
                    </a:cubicBezTo>
                    <a:cubicBezTo>
                      <a:pt x="13" y="0"/>
                      <a:pt x="13" y="0"/>
                      <a:pt x="12" y="0"/>
                    </a:cubicBezTo>
                    <a:cubicBezTo>
                      <a:pt x="12" y="0"/>
                      <a:pt x="12" y="0"/>
                      <a:pt x="13" y="1"/>
                    </a:cubicBezTo>
                    <a:cubicBezTo>
                      <a:pt x="12" y="1"/>
                      <a:pt x="11" y="0"/>
                      <a:pt x="10" y="1"/>
                    </a:cubicBezTo>
                    <a:cubicBezTo>
                      <a:pt x="10" y="1"/>
                      <a:pt x="10" y="1"/>
                      <a:pt x="10" y="1"/>
                    </a:cubicBezTo>
                    <a:cubicBezTo>
                      <a:pt x="10" y="1"/>
                      <a:pt x="10" y="1"/>
                      <a:pt x="9" y="1"/>
                    </a:cubicBezTo>
                    <a:cubicBezTo>
                      <a:pt x="9" y="1"/>
                      <a:pt x="9" y="1"/>
                      <a:pt x="9" y="1"/>
                    </a:cubicBezTo>
                    <a:cubicBezTo>
                      <a:pt x="8" y="1"/>
                      <a:pt x="8" y="1"/>
                      <a:pt x="8" y="1"/>
                    </a:cubicBezTo>
                    <a:cubicBezTo>
                      <a:pt x="7" y="1"/>
                      <a:pt x="7" y="1"/>
                      <a:pt x="7" y="1"/>
                    </a:cubicBezTo>
                    <a:cubicBezTo>
                      <a:pt x="7" y="0"/>
                      <a:pt x="7" y="0"/>
                      <a:pt x="6" y="1"/>
                    </a:cubicBezTo>
                    <a:cubicBezTo>
                      <a:pt x="6" y="1"/>
                      <a:pt x="5" y="1"/>
                      <a:pt x="4" y="1"/>
                    </a:cubicBezTo>
                    <a:cubicBezTo>
                      <a:pt x="4" y="1"/>
                      <a:pt x="3" y="2"/>
                      <a:pt x="3" y="2"/>
                    </a:cubicBezTo>
                    <a:cubicBezTo>
                      <a:pt x="2" y="2"/>
                      <a:pt x="0" y="2"/>
                      <a:pt x="0" y="2"/>
                    </a:cubicBezTo>
                    <a:cubicBezTo>
                      <a:pt x="0" y="2"/>
                      <a:pt x="1" y="3"/>
                      <a:pt x="1" y="3"/>
                    </a:cubicBezTo>
                    <a:cubicBezTo>
                      <a:pt x="2" y="3"/>
                      <a:pt x="2" y="4"/>
                      <a:pt x="3" y="5"/>
                    </a:cubicBezTo>
                    <a:cubicBezTo>
                      <a:pt x="3" y="5"/>
                      <a:pt x="3" y="6"/>
                      <a:pt x="3" y="7"/>
                    </a:cubicBezTo>
                    <a:cubicBezTo>
                      <a:pt x="3" y="7"/>
                      <a:pt x="3" y="8"/>
                      <a:pt x="2" y="8"/>
                    </a:cubicBezTo>
                    <a:cubicBezTo>
                      <a:pt x="2" y="9"/>
                      <a:pt x="3" y="9"/>
                      <a:pt x="3" y="10"/>
                    </a:cubicBezTo>
                    <a:cubicBezTo>
                      <a:pt x="3" y="11"/>
                      <a:pt x="3" y="10"/>
                      <a:pt x="3" y="11"/>
                    </a:cubicBezTo>
                    <a:cubicBezTo>
                      <a:pt x="4" y="11"/>
                      <a:pt x="4" y="12"/>
                      <a:pt x="4" y="12"/>
                    </a:cubicBezTo>
                    <a:cubicBezTo>
                      <a:pt x="3" y="12"/>
                      <a:pt x="3" y="13"/>
                      <a:pt x="4" y="13"/>
                    </a:cubicBezTo>
                    <a:cubicBezTo>
                      <a:pt x="5" y="13"/>
                      <a:pt x="6" y="14"/>
                      <a:pt x="7" y="14"/>
                    </a:cubicBezTo>
                    <a:cubicBezTo>
                      <a:pt x="7" y="14"/>
                      <a:pt x="7" y="14"/>
                      <a:pt x="8" y="13"/>
                    </a:cubicBezTo>
                    <a:cubicBezTo>
                      <a:pt x="8" y="13"/>
                      <a:pt x="8" y="14"/>
                      <a:pt x="8" y="14"/>
                    </a:cubicBezTo>
                    <a:cubicBezTo>
                      <a:pt x="9" y="13"/>
                      <a:pt x="9" y="14"/>
                      <a:pt x="10" y="14"/>
                    </a:cubicBezTo>
                    <a:cubicBezTo>
                      <a:pt x="11" y="14"/>
                      <a:pt x="11" y="15"/>
                      <a:pt x="12" y="15"/>
                    </a:cubicBezTo>
                    <a:cubicBezTo>
                      <a:pt x="13" y="16"/>
                      <a:pt x="14" y="17"/>
                      <a:pt x="15" y="17"/>
                    </a:cubicBezTo>
                    <a:cubicBezTo>
                      <a:pt x="16" y="17"/>
                      <a:pt x="16" y="16"/>
                      <a:pt x="17" y="16"/>
                    </a:cubicBezTo>
                    <a:cubicBezTo>
                      <a:pt x="17" y="17"/>
                      <a:pt x="18" y="17"/>
                      <a:pt x="18" y="18"/>
                    </a:cubicBezTo>
                    <a:cubicBezTo>
                      <a:pt x="18" y="19"/>
                      <a:pt x="18" y="18"/>
                      <a:pt x="19" y="18"/>
                    </a:cubicBezTo>
                    <a:cubicBezTo>
                      <a:pt x="19" y="18"/>
                      <a:pt x="19" y="19"/>
                      <a:pt x="19" y="19"/>
                    </a:cubicBezTo>
                    <a:cubicBezTo>
                      <a:pt x="20" y="19"/>
                      <a:pt x="20" y="19"/>
                      <a:pt x="20" y="19"/>
                    </a:cubicBezTo>
                    <a:cubicBezTo>
                      <a:pt x="21" y="20"/>
                      <a:pt x="22" y="19"/>
                      <a:pt x="23" y="18"/>
                    </a:cubicBezTo>
                    <a:cubicBezTo>
                      <a:pt x="23" y="18"/>
                      <a:pt x="24" y="19"/>
                      <a:pt x="24" y="19"/>
                    </a:cubicBezTo>
                    <a:cubicBezTo>
                      <a:pt x="24" y="20"/>
                      <a:pt x="24" y="20"/>
                      <a:pt x="24" y="21"/>
                    </a:cubicBezTo>
                    <a:cubicBezTo>
                      <a:pt x="24" y="21"/>
                      <a:pt x="25" y="21"/>
                      <a:pt x="25" y="22"/>
                    </a:cubicBezTo>
                    <a:cubicBezTo>
                      <a:pt x="26" y="22"/>
                      <a:pt x="25" y="22"/>
                      <a:pt x="26" y="23"/>
                    </a:cubicBezTo>
                    <a:cubicBezTo>
                      <a:pt x="26" y="23"/>
                      <a:pt x="26" y="24"/>
                      <a:pt x="26" y="24"/>
                    </a:cubicBezTo>
                    <a:cubicBezTo>
                      <a:pt x="27" y="24"/>
                      <a:pt x="27" y="25"/>
                      <a:pt x="27" y="25"/>
                    </a:cubicBezTo>
                    <a:cubicBezTo>
                      <a:pt x="27" y="25"/>
                      <a:pt x="28" y="26"/>
                      <a:pt x="28" y="26"/>
                    </a:cubicBezTo>
                    <a:cubicBezTo>
                      <a:pt x="28" y="27"/>
                      <a:pt x="29" y="26"/>
                      <a:pt x="29" y="26"/>
                    </a:cubicBezTo>
                    <a:cubicBezTo>
                      <a:pt x="30" y="26"/>
                      <a:pt x="31" y="26"/>
                      <a:pt x="31" y="26"/>
                    </a:cubicBezTo>
                    <a:cubicBezTo>
                      <a:pt x="31" y="25"/>
                      <a:pt x="31" y="25"/>
                      <a:pt x="31" y="24"/>
                    </a:cubicBezTo>
                    <a:cubicBezTo>
                      <a:pt x="31" y="23"/>
                      <a:pt x="30" y="23"/>
                      <a:pt x="30" y="23"/>
                    </a:cubicBezTo>
                    <a:close/>
                    <a:moveTo>
                      <a:pt x="14" y="3"/>
                    </a:moveTo>
                    <a:cubicBezTo>
                      <a:pt x="14" y="3"/>
                      <a:pt x="13" y="2"/>
                      <a:pt x="14" y="2"/>
                    </a:cubicBezTo>
                    <a:cubicBezTo>
                      <a:pt x="14" y="2"/>
                      <a:pt x="15" y="2"/>
                      <a:pt x="14" y="3"/>
                    </a:cubicBezTo>
                    <a:close/>
                    <a:moveTo>
                      <a:pt x="16" y="3"/>
                    </a:moveTo>
                    <a:cubicBezTo>
                      <a:pt x="17" y="3"/>
                      <a:pt x="15" y="3"/>
                      <a:pt x="16" y="3"/>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8" name="Argentina">
                <a:extLst>
                  <a:ext uri="{FF2B5EF4-FFF2-40B4-BE49-F238E27FC236}">
                    <a16:creationId xmlns:a16="http://schemas.microsoft.com/office/drawing/2014/main" id="{F163FE8D-C516-4788-FFBA-F02ABAA7E245}"/>
                  </a:ext>
                </a:extLst>
              </p:cNvPr>
              <p:cNvSpPr>
                <a:spLocks noEditPoints="1"/>
              </p:cNvSpPr>
              <p:nvPr/>
            </p:nvSpPr>
            <p:spPr bwMode="auto">
              <a:xfrm>
                <a:off x="3392318" y="4895131"/>
                <a:ext cx="524388" cy="1279115"/>
              </a:xfrm>
              <a:custGeom>
                <a:avLst/>
                <a:gdLst/>
                <a:ahLst/>
                <a:cxnLst>
                  <a:cxn ang="0">
                    <a:pos x="140" y="63"/>
                  </a:cxn>
                  <a:cxn ang="0">
                    <a:pos x="132" y="72"/>
                  </a:cxn>
                  <a:cxn ang="0">
                    <a:pos x="124" y="83"/>
                  </a:cxn>
                  <a:cxn ang="0">
                    <a:pos x="117" y="100"/>
                  </a:cxn>
                  <a:cxn ang="0">
                    <a:pos x="117" y="124"/>
                  </a:cxn>
                  <a:cxn ang="0">
                    <a:pos x="122" y="142"/>
                  </a:cxn>
                  <a:cxn ang="0">
                    <a:pos x="141" y="162"/>
                  </a:cxn>
                  <a:cxn ang="0">
                    <a:pos x="106" y="189"/>
                  </a:cxn>
                  <a:cxn ang="0">
                    <a:pos x="98" y="192"/>
                  </a:cxn>
                  <a:cxn ang="0">
                    <a:pos x="100" y="203"/>
                  </a:cxn>
                  <a:cxn ang="0">
                    <a:pos x="88" y="211"/>
                  </a:cxn>
                  <a:cxn ang="0">
                    <a:pos x="82" y="217"/>
                  </a:cxn>
                  <a:cxn ang="0">
                    <a:pos x="92" y="224"/>
                  </a:cxn>
                  <a:cxn ang="0">
                    <a:pos x="92" y="232"/>
                  </a:cxn>
                  <a:cxn ang="0">
                    <a:pos x="90" y="248"/>
                  </a:cxn>
                  <a:cxn ang="0">
                    <a:pos x="83" y="256"/>
                  </a:cxn>
                  <a:cxn ang="0">
                    <a:pos x="84" y="273"/>
                  </a:cxn>
                  <a:cxn ang="0">
                    <a:pos x="100" y="287"/>
                  </a:cxn>
                  <a:cxn ang="0">
                    <a:pos x="89" y="300"/>
                  </a:cxn>
                  <a:cxn ang="0">
                    <a:pos x="84" y="307"/>
                  </a:cxn>
                  <a:cxn ang="0">
                    <a:pos x="86" y="324"/>
                  </a:cxn>
                  <a:cxn ang="0">
                    <a:pos x="78" y="329"/>
                  </a:cxn>
                  <a:cxn ang="0">
                    <a:pos x="59" y="319"/>
                  </a:cxn>
                  <a:cxn ang="0">
                    <a:pos x="43" y="307"/>
                  </a:cxn>
                  <a:cxn ang="0">
                    <a:pos x="43" y="299"/>
                  </a:cxn>
                  <a:cxn ang="0">
                    <a:pos x="42" y="284"/>
                  </a:cxn>
                  <a:cxn ang="0">
                    <a:pos x="44" y="272"/>
                  </a:cxn>
                  <a:cxn ang="0">
                    <a:pos x="41" y="258"/>
                  </a:cxn>
                  <a:cxn ang="0">
                    <a:pos x="40" y="249"/>
                  </a:cxn>
                  <a:cxn ang="0">
                    <a:pos x="29" y="238"/>
                  </a:cxn>
                  <a:cxn ang="0">
                    <a:pos x="24" y="221"/>
                  </a:cxn>
                  <a:cxn ang="0">
                    <a:pos x="17" y="204"/>
                  </a:cxn>
                  <a:cxn ang="0">
                    <a:pos x="17" y="193"/>
                  </a:cxn>
                  <a:cxn ang="0">
                    <a:pos x="12" y="169"/>
                  </a:cxn>
                  <a:cxn ang="0">
                    <a:pos x="13" y="160"/>
                  </a:cxn>
                  <a:cxn ang="0">
                    <a:pos x="11" y="148"/>
                  </a:cxn>
                  <a:cxn ang="0">
                    <a:pos x="13" y="131"/>
                  </a:cxn>
                  <a:cxn ang="0">
                    <a:pos x="4" y="112"/>
                  </a:cxn>
                  <a:cxn ang="0">
                    <a:pos x="1" y="96"/>
                  </a:cxn>
                  <a:cxn ang="0">
                    <a:pos x="0" y="82"/>
                  </a:cxn>
                  <a:cxn ang="0">
                    <a:pos x="4" y="68"/>
                  </a:cxn>
                  <a:cxn ang="0">
                    <a:pos x="8" y="51"/>
                  </a:cxn>
                  <a:cxn ang="0">
                    <a:pos x="14" y="25"/>
                  </a:cxn>
                  <a:cxn ang="0">
                    <a:pos x="25" y="1"/>
                  </a:cxn>
                  <a:cxn ang="0">
                    <a:pos x="43" y="7"/>
                  </a:cxn>
                  <a:cxn ang="0">
                    <a:pos x="64" y="11"/>
                  </a:cxn>
                  <a:cxn ang="0">
                    <a:pos x="79" y="23"/>
                  </a:cxn>
                  <a:cxn ang="0">
                    <a:pos x="104" y="35"/>
                  </a:cxn>
                  <a:cxn ang="0">
                    <a:pos x="106" y="49"/>
                  </a:cxn>
                  <a:cxn ang="0">
                    <a:pos x="102" y="59"/>
                  </a:cxn>
                  <a:cxn ang="0">
                    <a:pos x="127" y="60"/>
                  </a:cxn>
                  <a:cxn ang="0">
                    <a:pos x="138" y="52"/>
                  </a:cxn>
                  <a:cxn ang="0">
                    <a:pos x="142" y="41"/>
                  </a:cxn>
                  <a:cxn ang="0">
                    <a:pos x="148" y="52"/>
                  </a:cxn>
                  <a:cxn ang="0">
                    <a:pos x="111" y="347"/>
                  </a:cxn>
                  <a:cxn ang="0">
                    <a:pos x="112" y="358"/>
                  </a:cxn>
                  <a:cxn ang="0">
                    <a:pos x="136" y="359"/>
                  </a:cxn>
                  <a:cxn ang="0">
                    <a:pos x="142" y="359"/>
                  </a:cxn>
                </a:cxnLst>
                <a:rect l="0" t="0" r="r" b="b"/>
                <a:pathLst>
                  <a:path w="148" h="361">
                    <a:moveTo>
                      <a:pt x="148" y="57"/>
                    </a:moveTo>
                    <a:cubicBezTo>
                      <a:pt x="148" y="58"/>
                      <a:pt x="148" y="58"/>
                      <a:pt x="148" y="59"/>
                    </a:cubicBezTo>
                    <a:cubicBezTo>
                      <a:pt x="147" y="58"/>
                      <a:pt x="146" y="60"/>
                      <a:pt x="145" y="60"/>
                    </a:cubicBezTo>
                    <a:cubicBezTo>
                      <a:pt x="145" y="60"/>
                      <a:pt x="145" y="59"/>
                      <a:pt x="144" y="60"/>
                    </a:cubicBezTo>
                    <a:cubicBezTo>
                      <a:pt x="144" y="61"/>
                      <a:pt x="144" y="61"/>
                      <a:pt x="144" y="61"/>
                    </a:cubicBezTo>
                    <a:cubicBezTo>
                      <a:pt x="144" y="62"/>
                      <a:pt x="144" y="61"/>
                      <a:pt x="143" y="61"/>
                    </a:cubicBezTo>
                    <a:cubicBezTo>
                      <a:pt x="143" y="61"/>
                      <a:pt x="143" y="62"/>
                      <a:pt x="143" y="62"/>
                    </a:cubicBezTo>
                    <a:cubicBezTo>
                      <a:pt x="143" y="62"/>
                      <a:pt x="142" y="61"/>
                      <a:pt x="142" y="62"/>
                    </a:cubicBezTo>
                    <a:cubicBezTo>
                      <a:pt x="143" y="62"/>
                      <a:pt x="142" y="63"/>
                      <a:pt x="141" y="62"/>
                    </a:cubicBezTo>
                    <a:cubicBezTo>
                      <a:pt x="141" y="62"/>
                      <a:pt x="141" y="63"/>
                      <a:pt x="141" y="63"/>
                    </a:cubicBezTo>
                    <a:cubicBezTo>
                      <a:pt x="141" y="63"/>
                      <a:pt x="140" y="62"/>
                      <a:pt x="140" y="63"/>
                    </a:cubicBezTo>
                    <a:cubicBezTo>
                      <a:pt x="140" y="63"/>
                      <a:pt x="140" y="63"/>
                      <a:pt x="140" y="63"/>
                    </a:cubicBezTo>
                    <a:cubicBezTo>
                      <a:pt x="139" y="63"/>
                      <a:pt x="139" y="63"/>
                      <a:pt x="139" y="63"/>
                    </a:cubicBezTo>
                    <a:cubicBezTo>
                      <a:pt x="139" y="64"/>
                      <a:pt x="138" y="64"/>
                      <a:pt x="138" y="64"/>
                    </a:cubicBezTo>
                    <a:cubicBezTo>
                      <a:pt x="139" y="65"/>
                      <a:pt x="138" y="66"/>
                      <a:pt x="137" y="66"/>
                    </a:cubicBezTo>
                    <a:cubicBezTo>
                      <a:pt x="136" y="65"/>
                      <a:pt x="138" y="66"/>
                      <a:pt x="138" y="66"/>
                    </a:cubicBezTo>
                    <a:cubicBezTo>
                      <a:pt x="138" y="66"/>
                      <a:pt x="137" y="67"/>
                      <a:pt x="137" y="67"/>
                    </a:cubicBezTo>
                    <a:cubicBezTo>
                      <a:pt x="136" y="67"/>
                      <a:pt x="136" y="66"/>
                      <a:pt x="136" y="67"/>
                    </a:cubicBezTo>
                    <a:cubicBezTo>
                      <a:pt x="136" y="67"/>
                      <a:pt x="135" y="67"/>
                      <a:pt x="135" y="67"/>
                    </a:cubicBezTo>
                    <a:cubicBezTo>
                      <a:pt x="135" y="67"/>
                      <a:pt x="135" y="67"/>
                      <a:pt x="135" y="67"/>
                    </a:cubicBezTo>
                    <a:cubicBezTo>
                      <a:pt x="135" y="68"/>
                      <a:pt x="134" y="69"/>
                      <a:pt x="134" y="69"/>
                    </a:cubicBezTo>
                    <a:cubicBezTo>
                      <a:pt x="133" y="69"/>
                      <a:pt x="133" y="70"/>
                      <a:pt x="133" y="69"/>
                    </a:cubicBezTo>
                    <a:cubicBezTo>
                      <a:pt x="133" y="69"/>
                      <a:pt x="132" y="70"/>
                      <a:pt x="132" y="70"/>
                    </a:cubicBezTo>
                    <a:cubicBezTo>
                      <a:pt x="130" y="71"/>
                      <a:pt x="133" y="71"/>
                      <a:pt x="132" y="72"/>
                    </a:cubicBezTo>
                    <a:cubicBezTo>
                      <a:pt x="132" y="73"/>
                      <a:pt x="132" y="72"/>
                      <a:pt x="132" y="72"/>
                    </a:cubicBezTo>
                    <a:cubicBezTo>
                      <a:pt x="131" y="72"/>
                      <a:pt x="131" y="72"/>
                      <a:pt x="130" y="72"/>
                    </a:cubicBezTo>
                    <a:cubicBezTo>
                      <a:pt x="130" y="72"/>
                      <a:pt x="131" y="73"/>
                      <a:pt x="130" y="73"/>
                    </a:cubicBezTo>
                    <a:cubicBezTo>
                      <a:pt x="130" y="73"/>
                      <a:pt x="130" y="73"/>
                      <a:pt x="129" y="74"/>
                    </a:cubicBezTo>
                    <a:cubicBezTo>
                      <a:pt x="129" y="74"/>
                      <a:pt x="130" y="74"/>
                      <a:pt x="130" y="74"/>
                    </a:cubicBezTo>
                    <a:cubicBezTo>
                      <a:pt x="129" y="75"/>
                      <a:pt x="129" y="76"/>
                      <a:pt x="128" y="76"/>
                    </a:cubicBezTo>
                    <a:cubicBezTo>
                      <a:pt x="128" y="76"/>
                      <a:pt x="127" y="76"/>
                      <a:pt x="127" y="77"/>
                    </a:cubicBezTo>
                    <a:cubicBezTo>
                      <a:pt x="127" y="77"/>
                      <a:pt x="127" y="77"/>
                      <a:pt x="127" y="78"/>
                    </a:cubicBezTo>
                    <a:cubicBezTo>
                      <a:pt x="127" y="78"/>
                      <a:pt x="127" y="78"/>
                      <a:pt x="127" y="78"/>
                    </a:cubicBezTo>
                    <a:cubicBezTo>
                      <a:pt x="126" y="79"/>
                      <a:pt x="127" y="80"/>
                      <a:pt x="126" y="80"/>
                    </a:cubicBezTo>
                    <a:cubicBezTo>
                      <a:pt x="126" y="80"/>
                      <a:pt x="125" y="81"/>
                      <a:pt x="125" y="81"/>
                    </a:cubicBezTo>
                    <a:cubicBezTo>
                      <a:pt x="125" y="82"/>
                      <a:pt x="125" y="82"/>
                      <a:pt x="124" y="83"/>
                    </a:cubicBezTo>
                    <a:cubicBezTo>
                      <a:pt x="124" y="83"/>
                      <a:pt x="124" y="84"/>
                      <a:pt x="123" y="85"/>
                    </a:cubicBezTo>
                    <a:cubicBezTo>
                      <a:pt x="123" y="85"/>
                      <a:pt x="122" y="86"/>
                      <a:pt x="122" y="87"/>
                    </a:cubicBezTo>
                    <a:cubicBezTo>
                      <a:pt x="121" y="88"/>
                      <a:pt x="121" y="87"/>
                      <a:pt x="120" y="88"/>
                    </a:cubicBezTo>
                    <a:cubicBezTo>
                      <a:pt x="120" y="88"/>
                      <a:pt x="120" y="89"/>
                      <a:pt x="120" y="89"/>
                    </a:cubicBezTo>
                    <a:cubicBezTo>
                      <a:pt x="120" y="90"/>
                      <a:pt x="119" y="90"/>
                      <a:pt x="119" y="91"/>
                    </a:cubicBezTo>
                    <a:cubicBezTo>
                      <a:pt x="119" y="92"/>
                      <a:pt x="118" y="92"/>
                      <a:pt x="118" y="92"/>
                    </a:cubicBezTo>
                    <a:cubicBezTo>
                      <a:pt x="117" y="92"/>
                      <a:pt x="118" y="93"/>
                      <a:pt x="118" y="93"/>
                    </a:cubicBezTo>
                    <a:cubicBezTo>
                      <a:pt x="118" y="94"/>
                      <a:pt x="117" y="94"/>
                      <a:pt x="117" y="95"/>
                    </a:cubicBezTo>
                    <a:cubicBezTo>
                      <a:pt x="116" y="95"/>
                      <a:pt x="116" y="95"/>
                      <a:pt x="116" y="96"/>
                    </a:cubicBezTo>
                    <a:cubicBezTo>
                      <a:pt x="116" y="97"/>
                      <a:pt x="117" y="97"/>
                      <a:pt x="117" y="98"/>
                    </a:cubicBezTo>
                    <a:cubicBezTo>
                      <a:pt x="117" y="98"/>
                      <a:pt x="118" y="99"/>
                      <a:pt x="117" y="100"/>
                    </a:cubicBezTo>
                    <a:cubicBezTo>
                      <a:pt x="117" y="100"/>
                      <a:pt x="116" y="100"/>
                      <a:pt x="117" y="100"/>
                    </a:cubicBezTo>
                    <a:cubicBezTo>
                      <a:pt x="117" y="101"/>
                      <a:pt x="117" y="101"/>
                      <a:pt x="117" y="102"/>
                    </a:cubicBezTo>
                    <a:cubicBezTo>
                      <a:pt x="117" y="102"/>
                      <a:pt x="117" y="103"/>
                      <a:pt x="117" y="104"/>
                    </a:cubicBezTo>
                    <a:cubicBezTo>
                      <a:pt x="117" y="104"/>
                      <a:pt x="117" y="105"/>
                      <a:pt x="116" y="106"/>
                    </a:cubicBezTo>
                    <a:cubicBezTo>
                      <a:pt x="116" y="106"/>
                      <a:pt x="117" y="107"/>
                      <a:pt x="117" y="108"/>
                    </a:cubicBezTo>
                    <a:cubicBezTo>
                      <a:pt x="117" y="108"/>
                      <a:pt x="117" y="110"/>
                      <a:pt x="117" y="110"/>
                    </a:cubicBezTo>
                    <a:cubicBezTo>
                      <a:pt x="116" y="110"/>
                      <a:pt x="116" y="111"/>
                      <a:pt x="116" y="112"/>
                    </a:cubicBezTo>
                    <a:cubicBezTo>
                      <a:pt x="117" y="112"/>
                      <a:pt x="116" y="114"/>
                      <a:pt x="117" y="114"/>
                    </a:cubicBezTo>
                    <a:cubicBezTo>
                      <a:pt x="118" y="115"/>
                      <a:pt x="117" y="116"/>
                      <a:pt x="117" y="117"/>
                    </a:cubicBezTo>
                    <a:cubicBezTo>
                      <a:pt x="117" y="118"/>
                      <a:pt x="118" y="119"/>
                      <a:pt x="118" y="120"/>
                    </a:cubicBezTo>
                    <a:cubicBezTo>
                      <a:pt x="118" y="121"/>
                      <a:pt x="118" y="121"/>
                      <a:pt x="119" y="121"/>
                    </a:cubicBezTo>
                    <a:cubicBezTo>
                      <a:pt x="119" y="122"/>
                      <a:pt x="119" y="123"/>
                      <a:pt x="119" y="123"/>
                    </a:cubicBezTo>
                    <a:cubicBezTo>
                      <a:pt x="119" y="125"/>
                      <a:pt x="117" y="123"/>
                      <a:pt x="117" y="124"/>
                    </a:cubicBezTo>
                    <a:cubicBezTo>
                      <a:pt x="117" y="125"/>
                      <a:pt x="117" y="125"/>
                      <a:pt x="117" y="126"/>
                    </a:cubicBezTo>
                    <a:cubicBezTo>
                      <a:pt x="117" y="127"/>
                      <a:pt x="117" y="127"/>
                      <a:pt x="117" y="128"/>
                    </a:cubicBezTo>
                    <a:cubicBezTo>
                      <a:pt x="117" y="128"/>
                      <a:pt x="117" y="129"/>
                      <a:pt x="117" y="130"/>
                    </a:cubicBezTo>
                    <a:cubicBezTo>
                      <a:pt x="117" y="131"/>
                      <a:pt x="118" y="131"/>
                      <a:pt x="118" y="132"/>
                    </a:cubicBezTo>
                    <a:cubicBezTo>
                      <a:pt x="118" y="133"/>
                      <a:pt x="118" y="134"/>
                      <a:pt x="119" y="134"/>
                    </a:cubicBezTo>
                    <a:cubicBezTo>
                      <a:pt x="119" y="134"/>
                      <a:pt x="120" y="135"/>
                      <a:pt x="120" y="136"/>
                    </a:cubicBezTo>
                    <a:cubicBezTo>
                      <a:pt x="119" y="136"/>
                      <a:pt x="119" y="137"/>
                      <a:pt x="119" y="137"/>
                    </a:cubicBezTo>
                    <a:cubicBezTo>
                      <a:pt x="119" y="137"/>
                      <a:pt x="118" y="137"/>
                      <a:pt x="118" y="137"/>
                    </a:cubicBezTo>
                    <a:cubicBezTo>
                      <a:pt x="118" y="137"/>
                      <a:pt x="119" y="137"/>
                      <a:pt x="119" y="138"/>
                    </a:cubicBezTo>
                    <a:cubicBezTo>
                      <a:pt x="119" y="139"/>
                      <a:pt x="119" y="139"/>
                      <a:pt x="119" y="139"/>
                    </a:cubicBezTo>
                    <a:cubicBezTo>
                      <a:pt x="120" y="140"/>
                      <a:pt x="120" y="140"/>
                      <a:pt x="121" y="140"/>
                    </a:cubicBezTo>
                    <a:cubicBezTo>
                      <a:pt x="121" y="141"/>
                      <a:pt x="121" y="141"/>
                      <a:pt x="122" y="142"/>
                    </a:cubicBezTo>
                    <a:cubicBezTo>
                      <a:pt x="124" y="142"/>
                      <a:pt x="125" y="143"/>
                      <a:pt x="127" y="144"/>
                    </a:cubicBezTo>
                    <a:cubicBezTo>
                      <a:pt x="128" y="144"/>
                      <a:pt x="129" y="145"/>
                      <a:pt x="129" y="145"/>
                    </a:cubicBezTo>
                    <a:cubicBezTo>
                      <a:pt x="130" y="146"/>
                      <a:pt x="131" y="146"/>
                      <a:pt x="132" y="147"/>
                    </a:cubicBezTo>
                    <a:cubicBezTo>
                      <a:pt x="132" y="147"/>
                      <a:pt x="134" y="149"/>
                      <a:pt x="134" y="150"/>
                    </a:cubicBezTo>
                    <a:cubicBezTo>
                      <a:pt x="134" y="151"/>
                      <a:pt x="134" y="151"/>
                      <a:pt x="133" y="152"/>
                    </a:cubicBezTo>
                    <a:cubicBezTo>
                      <a:pt x="133" y="153"/>
                      <a:pt x="133" y="153"/>
                      <a:pt x="133" y="154"/>
                    </a:cubicBezTo>
                    <a:cubicBezTo>
                      <a:pt x="133" y="156"/>
                      <a:pt x="134" y="157"/>
                      <a:pt x="135" y="158"/>
                    </a:cubicBezTo>
                    <a:cubicBezTo>
                      <a:pt x="136" y="158"/>
                      <a:pt x="136" y="159"/>
                      <a:pt x="137" y="159"/>
                    </a:cubicBezTo>
                    <a:cubicBezTo>
                      <a:pt x="137" y="159"/>
                      <a:pt x="139" y="159"/>
                      <a:pt x="138" y="160"/>
                    </a:cubicBezTo>
                    <a:cubicBezTo>
                      <a:pt x="139" y="160"/>
                      <a:pt x="139" y="160"/>
                      <a:pt x="140" y="160"/>
                    </a:cubicBezTo>
                    <a:cubicBezTo>
                      <a:pt x="139" y="159"/>
                      <a:pt x="140" y="159"/>
                      <a:pt x="140" y="160"/>
                    </a:cubicBezTo>
                    <a:cubicBezTo>
                      <a:pt x="141" y="160"/>
                      <a:pt x="141" y="161"/>
                      <a:pt x="141" y="162"/>
                    </a:cubicBezTo>
                    <a:cubicBezTo>
                      <a:pt x="142" y="163"/>
                      <a:pt x="143" y="165"/>
                      <a:pt x="142" y="166"/>
                    </a:cubicBezTo>
                    <a:cubicBezTo>
                      <a:pt x="141" y="168"/>
                      <a:pt x="141" y="169"/>
                      <a:pt x="140" y="171"/>
                    </a:cubicBezTo>
                    <a:cubicBezTo>
                      <a:pt x="140" y="172"/>
                      <a:pt x="139" y="174"/>
                      <a:pt x="138" y="175"/>
                    </a:cubicBezTo>
                    <a:cubicBezTo>
                      <a:pt x="137" y="176"/>
                      <a:pt x="137" y="176"/>
                      <a:pt x="137" y="177"/>
                    </a:cubicBezTo>
                    <a:cubicBezTo>
                      <a:pt x="137" y="178"/>
                      <a:pt x="138" y="178"/>
                      <a:pt x="138" y="179"/>
                    </a:cubicBezTo>
                    <a:cubicBezTo>
                      <a:pt x="137" y="180"/>
                      <a:pt x="135" y="182"/>
                      <a:pt x="134" y="182"/>
                    </a:cubicBezTo>
                    <a:cubicBezTo>
                      <a:pt x="132" y="183"/>
                      <a:pt x="131" y="184"/>
                      <a:pt x="129" y="184"/>
                    </a:cubicBezTo>
                    <a:cubicBezTo>
                      <a:pt x="127" y="184"/>
                      <a:pt x="126" y="186"/>
                      <a:pt x="124" y="186"/>
                    </a:cubicBezTo>
                    <a:cubicBezTo>
                      <a:pt x="122" y="186"/>
                      <a:pt x="120" y="187"/>
                      <a:pt x="119" y="187"/>
                    </a:cubicBezTo>
                    <a:cubicBezTo>
                      <a:pt x="117" y="187"/>
                      <a:pt x="115" y="188"/>
                      <a:pt x="113" y="188"/>
                    </a:cubicBezTo>
                    <a:cubicBezTo>
                      <a:pt x="112" y="188"/>
                      <a:pt x="110" y="188"/>
                      <a:pt x="108" y="189"/>
                    </a:cubicBezTo>
                    <a:cubicBezTo>
                      <a:pt x="107" y="189"/>
                      <a:pt x="106" y="189"/>
                      <a:pt x="106" y="189"/>
                    </a:cubicBezTo>
                    <a:cubicBezTo>
                      <a:pt x="105" y="189"/>
                      <a:pt x="105" y="189"/>
                      <a:pt x="105" y="189"/>
                    </a:cubicBezTo>
                    <a:cubicBezTo>
                      <a:pt x="104" y="189"/>
                      <a:pt x="103" y="189"/>
                      <a:pt x="103" y="189"/>
                    </a:cubicBezTo>
                    <a:cubicBezTo>
                      <a:pt x="102" y="188"/>
                      <a:pt x="102" y="189"/>
                      <a:pt x="102" y="189"/>
                    </a:cubicBezTo>
                    <a:cubicBezTo>
                      <a:pt x="101" y="189"/>
                      <a:pt x="101" y="188"/>
                      <a:pt x="101" y="188"/>
                    </a:cubicBezTo>
                    <a:cubicBezTo>
                      <a:pt x="100" y="188"/>
                      <a:pt x="99" y="188"/>
                      <a:pt x="99" y="187"/>
                    </a:cubicBezTo>
                    <a:cubicBezTo>
                      <a:pt x="98" y="187"/>
                      <a:pt x="98" y="187"/>
                      <a:pt x="97" y="187"/>
                    </a:cubicBezTo>
                    <a:cubicBezTo>
                      <a:pt x="97" y="187"/>
                      <a:pt x="96" y="186"/>
                      <a:pt x="96" y="187"/>
                    </a:cubicBezTo>
                    <a:cubicBezTo>
                      <a:pt x="96" y="188"/>
                      <a:pt x="97" y="188"/>
                      <a:pt x="97" y="188"/>
                    </a:cubicBezTo>
                    <a:cubicBezTo>
                      <a:pt x="97" y="188"/>
                      <a:pt x="97" y="188"/>
                      <a:pt x="97" y="189"/>
                    </a:cubicBezTo>
                    <a:cubicBezTo>
                      <a:pt x="97" y="189"/>
                      <a:pt x="97" y="189"/>
                      <a:pt x="97" y="190"/>
                    </a:cubicBezTo>
                    <a:cubicBezTo>
                      <a:pt x="97" y="191"/>
                      <a:pt x="98" y="191"/>
                      <a:pt x="99" y="192"/>
                    </a:cubicBezTo>
                    <a:cubicBezTo>
                      <a:pt x="98" y="192"/>
                      <a:pt x="98" y="191"/>
                      <a:pt x="98" y="192"/>
                    </a:cubicBezTo>
                    <a:cubicBezTo>
                      <a:pt x="98" y="192"/>
                      <a:pt x="100" y="192"/>
                      <a:pt x="100" y="192"/>
                    </a:cubicBezTo>
                    <a:cubicBezTo>
                      <a:pt x="100" y="192"/>
                      <a:pt x="102" y="193"/>
                      <a:pt x="101" y="193"/>
                    </a:cubicBezTo>
                    <a:cubicBezTo>
                      <a:pt x="100" y="193"/>
                      <a:pt x="100" y="192"/>
                      <a:pt x="99" y="192"/>
                    </a:cubicBezTo>
                    <a:cubicBezTo>
                      <a:pt x="99" y="192"/>
                      <a:pt x="99" y="192"/>
                      <a:pt x="99" y="192"/>
                    </a:cubicBezTo>
                    <a:cubicBezTo>
                      <a:pt x="98" y="192"/>
                      <a:pt x="99" y="192"/>
                      <a:pt x="99" y="193"/>
                    </a:cubicBezTo>
                    <a:cubicBezTo>
                      <a:pt x="100" y="193"/>
                      <a:pt x="100" y="193"/>
                      <a:pt x="101" y="194"/>
                    </a:cubicBezTo>
                    <a:cubicBezTo>
                      <a:pt x="101" y="194"/>
                      <a:pt x="101" y="195"/>
                      <a:pt x="101" y="196"/>
                    </a:cubicBezTo>
                    <a:cubicBezTo>
                      <a:pt x="101" y="196"/>
                      <a:pt x="102" y="198"/>
                      <a:pt x="102" y="198"/>
                    </a:cubicBezTo>
                    <a:cubicBezTo>
                      <a:pt x="101" y="198"/>
                      <a:pt x="100" y="198"/>
                      <a:pt x="100" y="198"/>
                    </a:cubicBezTo>
                    <a:cubicBezTo>
                      <a:pt x="101" y="198"/>
                      <a:pt x="100" y="200"/>
                      <a:pt x="100" y="201"/>
                    </a:cubicBezTo>
                    <a:cubicBezTo>
                      <a:pt x="101" y="201"/>
                      <a:pt x="101" y="201"/>
                      <a:pt x="101" y="202"/>
                    </a:cubicBezTo>
                    <a:cubicBezTo>
                      <a:pt x="100" y="202"/>
                      <a:pt x="100" y="203"/>
                      <a:pt x="100" y="203"/>
                    </a:cubicBezTo>
                    <a:cubicBezTo>
                      <a:pt x="101" y="204"/>
                      <a:pt x="102" y="205"/>
                      <a:pt x="102" y="206"/>
                    </a:cubicBezTo>
                    <a:cubicBezTo>
                      <a:pt x="103" y="206"/>
                      <a:pt x="103" y="206"/>
                      <a:pt x="103" y="206"/>
                    </a:cubicBezTo>
                    <a:cubicBezTo>
                      <a:pt x="103" y="207"/>
                      <a:pt x="102" y="206"/>
                      <a:pt x="102" y="206"/>
                    </a:cubicBezTo>
                    <a:cubicBezTo>
                      <a:pt x="103" y="207"/>
                      <a:pt x="103" y="207"/>
                      <a:pt x="103" y="207"/>
                    </a:cubicBezTo>
                    <a:cubicBezTo>
                      <a:pt x="104" y="207"/>
                      <a:pt x="103" y="208"/>
                      <a:pt x="103" y="208"/>
                    </a:cubicBezTo>
                    <a:cubicBezTo>
                      <a:pt x="103" y="210"/>
                      <a:pt x="102" y="212"/>
                      <a:pt x="99" y="212"/>
                    </a:cubicBezTo>
                    <a:cubicBezTo>
                      <a:pt x="97" y="213"/>
                      <a:pt x="95" y="212"/>
                      <a:pt x="93" y="212"/>
                    </a:cubicBezTo>
                    <a:cubicBezTo>
                      <a:pt x="92" y="212"/>
                      <a:pt x="91" y="212"/>
                      <a:pt x="90" y="212"/>
                    </a:cubicBezTo>
                    <a:cubicBezTo>
                      <a:pt x="90" y="212"/>
                      <a:pt x="90" y="211"/>
                      <a:pt x="89" y="211"/>
                    </a:cubicBezTo>
                    <a:cubicBezTo>
                      <a:pt x="89" y="211"/>
                      <a:pt x="89" y="211"/>
                      <a:pt x="89" y="211"/>
                    </a:cubicBezTo>
                    <a:cubicBezTo>
                      <a:pt x="88" y="211"/>
                      <a:pt x="88" y="211"/>
                      <a:pt x="88" y="211"/>
                    </a:cubicBezTo>
                    <a:cubicBezTo>
                      <a:pt x="88" y="211"/>
                      <a:pt x="88" y="211"/>
                      <a:pt x="88" y="211"/>
                    </a:cubicBezTo>
                    <a:cubicBezTo>
                      <a:pt x="88" y="211"/>
                      <a:pt x="87" y="211"/>
                      <a:pt x="87" y="211"/>
                    </a:cubicBezTo>
                    <a:cubicBezTo>
                      <a:pt x="86" y="210"/>
                      <a:pt x="85" y="210"/>
                      <a:pt x="84" y="209"/>
                    </a:cubicBezTo>
                    <a:cubicBezTo>
                      <a:pt x="84" y="209"/>
                      <a:pt x="83" y="209"/>
                      <a:pt x="82" y="209"/>
                    </a:cubicBezTo>
                    <a:cubicBezTo>
                      <a:pt x="82" y="209"/>
                      <a:pt x="81" y="209"/>
                      <a:pt x="80" y="209"/>
                    </a:cubicBezTo>
                    <a:cubicBezTo>
                      <a:pt x="80" y="208"/>
                      <a:pt x="82" y="209"/>
                      <a:pt x="81" y="208"/>
                    </a:cubicBezTo>
                    <a:cubicBezTo>
                      <a:pt x="81" y="208"/>
                      <a:pt x="81" y="208"/>
                      <a:pt x="81" y="208"/>
                    </a:cubicBezTo>
                    <a:cubicBezTo>
                      <a:pt x="81" y="208"/>
                      <a:pt x="81" y="208"/>
                      <a:pt x="81" y="208"/>
                    </a:cubicBezTo>
                    <a:cubicBezTo>
                      <a:pt x="80" y="207"/>
                      <a:pt x="80" y="207"/>
                      <a:pt x="79" y="208"/>
                    </a:cubicBezTo>
                    <a:cubicBezTo>
                      <a:pt x="80" y="208"/>
                      <a:pt x="80" y="208"/>
                      <a:pt x="79" y="208"/>
                    </a:cubicBezTo>
                    <a:cubicBezTo>
                      <a:pt x="78" y="208"/>
                      <a:pt x="78" y="209"/>
                      <a:pt x="78" y="210"/>
                    </a:cubicBezTo>
                    <a:cubicBezTo>
                      <a:pt x="78" y="211"/>
                      <a:pt x="80" y="213"/>
                      <a:pt x="81" y="215"/>
                    </a:cubicBezTo>
                    <a:cubicBezTo>
                      <a:pt x="81" y="215"/>
                      <a:pt x="82" y="216"/>
                      <a:pt x="82" y="217"/>
                    </a:cubicBezTo>
                    <a:cubicBezTo>
                      <a:pt x="82" y="217"/>
                      <a:pt x="82" y="218"/>
                      <a:pt x="83" y="219"/>
                    </a:cubicBezTo>
                    <a:cubicBezTo>
                      <a:pt x="83" y="219"/>
                      <a:pt x="83" y="220"/>
                      <a:pt x="83" y="221"/>
                    </a:cubicBezTo>
                    <a:cubicBezTo>
                      <a:pt x="83" y="222"/>
                      <a:pt x="84" y="223"/>
                      <a:pt x="84" y="223"/>
                    </a:cubicBezTo>
                    <a:cubicBezTo>
                      <a:pt x="85" y="223"/>
                      <a:pt x="86" y="224"/>
                      <a:pt x="87" y="224"/>
                    </a:cubicBezTo>
                    <a:cubicBezTo>
                      <a:pt x="87" y="224"/>
                      <a:pt x="89" y="224"/>
                      <a:pt x="89" y="224"/>
                    </a:cubicBezTo>
                    <a:cubicBezTo>
                      <a:pt x="89" y="224"/>
                      <a:pt x="89" y="226"/>
                      <a:pt x="89" y="226"/>
                    </a:cubicBezTo>
                    <a:cubicBezTo>
                      <a:pt x="88" y="227"/>
                      <a:pt x="90" y="226"/>
                      <a:pt x="90" y="226"/>
                    </a:cubicBezTo>
                    <a:cubicBezTo>
                      <a:pt x="90" y="226"/>
                      <a:pt x="91" y="226"/>
                      <a:pt x="92" y="226"/>
                    </a:cubicBezTo>
                    <a:cubicBezTo>
                      <a:pt x="92" y="226"/>
                      <a:pt x="93" y="226"/>
                      <a:pt x="93" y="225"/>
                    </a:cubicBezTo>
                    <a:cubicBezTo>
                      <a:pt x="93" y="225"/>
                      <a:pt x="93" y="224"/>
                      <a:pt x="92" y="224"/>
                    </a:cubicBezTo>
                    <a:cubicBezTo>
                      <a:pt x="92" y="224"/>
                      <a:pt x="90" y="224"/>
                      <a:pt x="90" y="224"/>
                    </a:cubicBezTo>
                    <a:cubicBezTo>
                      <a:pt x="91" y="224"/>
                      <a:pt x="92" y="224"/>
                      <a:pt x="92" y="224"/>
                    </a:cubicBezTo>
                    <a:cubicBezTo>
                      <a:pt x="92" y="223"/>
                      <a:pt x="93" y="223"/>
                      <a:pt x="94" y="223"/>
                    </a:cubicBezTo>
                    <a:cubicBezTo>
                      <a:pt x="95" y="222"/>
                      <a:pt x="95" y="223"/>
                      <a:pt x="96" y="224"/>
                    </a:cubicBezTo>
                    <a:cubicBezTo>
                      <a:pt x="97" y="225"/>
                      <a:pt x="98" y="226"/>
                      <a:pt x="98" y="227"/>
                    </a:cubicBezTo>
                    <a:cubicBezTo>
                      <a:pt x="98" y="228"/>
                      <a:pt x="99" y="230"/>
                      <a:pt x="98" y="230"/>
                    </a:cubicBezTo>
                    <a:cubicBezTo>
                      <a:pt x="96" y="231"/>
                      <a:pt x="94" y="232"/>
                      <a:pt x="93" y="230"/>
                    </a:cubicBezTo>
                    <a:cubicBezTo>
                      <a:pt x="93" y="229"/>
                      <a:pt x="93" y="229"/>
                      <a:pt x="93" y="228"/>
                    </a:cubicBezTo>
                    <a:cubicBezTo>
                      <a:pt x="93" y="228"/>
                      <a:pt x="92" y="228"/>
                      <a:pt x="92" y="228"/>
                    </a:cubicBezTo>
                    <a:cubicBezTo>
                      <a:pt x="91" y="227"/>
                      <a:pt x="89" y="227"/>
                      <a:pt x="88" y="227"/>
                    </a:cubicBezTo>
                    <a:cubicBezTo>
                      <a:pt x="88" y="228"/>
                      <a:pt x="88" y="228"/>
                      <a:pt x="87" y="228"/>
                    </a:cubicBezTo>
                    <a:cubicBezTo>
                      <a:pt x="87" y="228"/>
                      <a:pt x="87" y="228"/>
                      <a:pt x="86" y="229"/>
                    </a:cubicBezTo>
                    <a:cubicBezTo>
                      <a:pt x="86" y="230"/>
                      <a:pt x="87" y="230"/>
                      <a:pt x="88" y="231"/>
                    </a:cubicBezTo>
                    <a:cubicBezTo>
                      <a:pt x="90" y="231"/>
                      <a:pt x="91" y="232"/>
                      <a:pt x="92" y="232"/>
                    </a:cubicBezTo>
                    <a:cubicBezTo>
                      <a:pt x="92" y="232"/>
                      <a:pt x="93" y="232"/>
                      <a:pt x="93" y="232"/>
                    </a:cubicBezTo>
                    <a:cubicBezTo>
                      <a:pt x="94" y="232"/>
                      <a:pt x="92" y="233"/>
                      <a:pt x="92" y="233"/>
                    </a:cubicBezTo>
                    <a:cubicBezTo>
                      <a:pt x="91" y="234"/>
                      <a:pt x="90" y="234"/>
                      <a:pt x="89" y="235"/>
                    </a:cubicBezTo>
                    <a:cubicBezTo>
                      <a:pt x="89" y="235"/>
                      <a:pt x="88" y="236"/>
                      <a:pt x="88" y="236"/>
                    </a:cubicBezTo>
                    <a:cubicBezTo>
                      <a:pt x="89" y="237"/>
                      <a:pt x="88" y="237"/>
                      <a:pt x="88" y="237"/>
                    </a:cubicBezTo>
                    <a:cubicBezTo>
                      <a:pt x="88" y="238"/>
                      <a:pt x="87" y="239"/>
                      <a:pt x="87" y="239"/>
                    </a:cubicBezTo>
                    <a:cubicBezTo>
                      <a:pt x="87" y="240"/>
                      <a:pt x="87" y="240"/>
                      <a:pt x="88" y="241"/>
                    </a:cubicBezTo>
                    <a:cubicBezTo>
                      <a:pt x="88" y="241"/>
                      <a:pt x="89" y="243"/>
                      <a:pt x="89" y="243"/>
                    </a:cubicBezTo>
                    <a:cubicBezTo>
                      <a:pt x="89" y="244"/>
                      <a:pt x="90" y="244"/>
                      <a:pt x="89" y="245"/>
                    </a:cubicBezTo>
                    <a:cubicBezTo>
                      <a:pt x="89" y="245"/>
                      <a:pt x="90" y="246"/>
                      <a:pt x="90" y="247"/>
                    </a:cubicBezTo>
                    <a:cubicBezTo>
                      <a:pt x="90" y="247"/>
                      <a:pt x="89" y="248"/>
                      <a:pt x="90" y="248"/>
                    </a:cubicBezTo>
                    <a:cubicBezTo>
                      <a:pt x="91" y="248"/>
                      <a:pt x="90" y="248"/>
                      <a:pt x="90" y="248"/>
                    </a:cubicBezTo>
                    <a:cubicBezTo>
                      <a:pt x="90" y="248"/>
                      <a:pt x="90" y="249"/>
                      <a:pt x="90" y="249"/>
                    </a:cubicBezTo>
                    <a:cubicBezTo>
                      <a:pt x="90" y="249"/>
                      <a:pt x="90" y="249"/>
                      <a:pt x="89" y="249"/>
                    </a:cubicBezTo>
                    <a:cubicBezTo>
                      <a:pt x="89" y="249"/>
                      <a:pt x="89" y="249"/>
                      <a:pt x="89" y="250"/>
                    </a:cubicBezTo>
                    <a:cubicBezTo>
                      <a:pt x="88" y="250"/>
                      <a:pt x="87" y="251"/>
                      <a:pt x="88" y="252"/>
                    </a:cubicBezTo>
                    <a:cubicBezTo>
                      <a:pt x="89" y="252"/>
                      <a:pt x="89" y="252"/>
                      <a:pt x="90" y="253"/>
                    </a:cubicBezTo>
                    <a:cubicBezTo>
                      <a:pt x="90" y="253"/>
                      <a:pt x="89" y="253"/>
                      <a:pt x="90" y="254"/>
                    </a:cubicBezTo>
                    <a:cubicBezTo>
                      <a:pt x="90" y="255"/>
                      <a:pt x="88" y="254"/>
                      <a:pt x="87" y="254"/>
                    </a:cubicBezTo>
                    <a:cubicBezTo>
                      <a:pt x="87" y="254"/>
                      <a:pt x="87" y="254"/>
                      <a:pt x="87" y="254"/>
                    </a:cubicBezTo>
                    <a:cubicBezTo>
                      <a:pt x="87" y="254"/>
                      <a:pt x="87" y="254"/>
                      <a:pt x="86" y="254"/>
                    </a:cubicBezTo>
                    <a:cubicBezTo>
                      <a:pt x="86" y="254"/>
                      <a:pt x="85" y="253"/>
                      <a:pt x="84" y="254"/>
                    </a:cubicBezTo>
                    <a:cubicBezTo>
                      <a:pt x="84" y="254"/>
                      <a:pt x="83" y="254"/>
                      <a:pt x="83" y="255"/>
                    </a:cubicBezTo>
                    <a:cubicBezTo>
                      <a:pt x="82" y="255"/>
                      <a:pt x="82" y="255"/>
                      <a:pt x="83" y="256"/>
                    </a:cubicBezTo>
                    <a:cubicBezTo>
                      <a:pt x="83" y="256"/>
                      <a:pt x="82" y="255"/>
                      <a:pt x="82" y="256"/>
                    </a:cubicBezTo>
                    <a:cubicBezTo>
                      <a:pt x="82" y="256"/>
                      <a:pt x="83" y="256"/>
                      <a:pt x="82" y="256"/>
                    </a:cubicBezTo>
                    <a:cubicBezTo>
                      <a:pt x="81" y="256"/>
                      <a:pt x="80" y="256"/>
                      <a:pt x="79" y="257"/>
                    </a:cubicBezTo>
                    <a:cubicBezTo>
                      <a:pt x="78" y="257"/>
                      <a:pt x="78" y="259"/>
                      <a:pt x="78" y="259"/>
                    </a:cubicBezTo>
                    <a:cubicBezTo>
                      <a:pt x="78" y="260"/>
                      <a:pt x="78" y="260"/>
                      <a:pt x="77" y="260"/>
                    </a:cubicBezTo>
                    <a:cubicBezTo>
                      <a:pt x="77" y="261"/>
                      <a:pt x="78" y="262"/>
                      <a:pt x="78" y="262"/>
                    </a:cubicBezTo>
                    <a:cubicBezTo>
                      <a:pt x="78" y="263"/>
                      <a:pt x="77" y="263"/>
                      <a:pt x="77" y="263"/>
                    </a:cubicBezTo>
                    <a:cubicBezTo>
                      <a:pt x="77" y="264"/>
                      <a:pt x="77" y="265"/>
                      <a:pt x="77" y="265"/>
                    </a:cubicBezTo>
                    <a:cubicBezTo>
                      <a:pt x="77" y="267"/>
                      <a:pt x="78" y="268"/>
                      <a:pt x="78" y="269"/>
                    </a:cubicBezTo>
                    <a:cubicBezTo>
                      <a:pt x="79" y="270"/>
                      <a:pt x="80" y="271"/>
                      <a:pt x="81" y="271"/>
                    </a:cubicBezTo>
                    <a:cubicBezTo>
                      <a:pt x="81" y="271"/>
                      <a:pt x="81" y="272"/>
                      <a:pt x="82" y="272"/>
                    </a:cubicBezTo>
                    <a:cubicBezTo>
                      <a:pt x="82" y="272"/>
                      <a:pt x="83" y="273"/>
                      <a:pt x="84" y="273"/>
                    </a:cubicBezTo>
                    <a:cubicBezTo>
                      <a:pt x="85" y="274"/>
                      <a:pt x="86" y="274"/>
                      <a:pt x="87" y="275"/>
                    </a:cubicBezTo>
                    <a:cubicBezTo>
                      <a:pt x="87" y="276"/>
                      <a:pt x="88" y="276"/>
                      <a:pt x="89" y="276"/>
                    </a:cubicBezTo>
                    <a:cubicBezTo>
                      <a:pt x="91" y="276"/>
                      <a:pt x="92" y="277"/>
                      <a:pt x="93" y="276"/>
                    </a:cubicBezTo>
                    <a:cubicBezTo>
                      <a:pt x="94" y="276"/>
                      <a:pt x="95" y="276"/>
                      <a:pt x="96" y="277"/>
                    </a:cubicBezTo>
                    <a:cubicBezTo>
                      <a:pt x="98" y="278"/>
                      <a:pt x="99" y="281"/>
                      <a:pt x="99" y="283"/>
                    </a:cubicBezTo>
                    <a:cubicBezTo>
                      <a:pt x="98" y="284"/>
                      <a:pt x="97" y="283"/>
                      <a:pt x="97" y="284"/>
                    </a:cubicBezTo>
                    <a:cubicBezTo>
                      <a:pt x="96" y="285"/>
                      <a:pt x="95" y="285"/>
                      <a:pt x="95" y="285"/>
                    </a:cubicBezTo>
                    <a:cubicBezTo>
                      <a:pt x="95" y="285"/>
                      <a:pt x="97" y="284"/>
                      <a:pt x="98" y="284"/>
                    </a:cubicBezTo>
                    <a:cubicBezTo>
                      <a:pt x="98" y="284"/>
                      <a:pt x="99" y="284"/>
                      <a:pt x="99" y="285"/>
                    </a:cubicBezTo>
                    <a:cubicBezTo>
                      <a:pt x="99" y="285"/>
                      <a:pt x="99" y="285"/>
                      <a:pt x="100" y="285"/>
                    </a:cubicBezTo>
                    <a:cubicBezTo>
                      <a:pt x="101" y="286"/>
                      <a:pt x="99" y="286"/>
                      <a:pt x="99" y="286"/>
                    </a:cubicBezTo>
                    <a:cubicBezTo>
                      <a:pt x="98" y="286"/>
                      <a:pt x="100" y="287"/>
                      <a:pt x="100" y="287"/>
                    </a:cubicBezTo>
                    <a:cubicBezTo>
                      <a:pt x="100" y="287"/>
                      <a:pt x="99" y="287"/>
                      <a:pt x="99" y="287"/>
                    </a:cubicBezTo>
                    <a:cubicBezTo>
                      <a:pt x="98" y="287"/>
                      <a:pt x="98" y="288"/>
                      <a:pt x="98" y="288"/>
                    </a:cubicBezTo>
                    <a:cubicBezTo>
                      <a:pt x="98" y="289"/>
                      <a:pt x="96" y="289"/>
                      <a:pt x="97" y="290"/>
                    </a:cubicBezTo>
                    <a:cubicBezTo>
                      <a:pt x="97" y="290"/>
                      <a:pt x="96" y="290"/>
                      <a:pt x="96" y="290"/>
                    </a:cubicBezTo>
                    <a:cubicBezTo>
                      <a:pt x="96" y="290"/>
                      <a:pt x="96" y="290"/>
                      <a:pt x="96" y="291"/>
                    </a:cubicBezTo>
                    <a:cubicBezTo>
                      <a:pt x="96" y="291"/>
                      <a:pt x="95" y="291"/>
                      <a:pt x="95" y="291"/>
                    </a:cubicBezTo>
                    <a:cubicBezTo>
                      <a:pt x="95" y="291"/>
                      <a:pt x="94" y="292"/>
                      <a:pt x="94" y="292"/>
                    </a:cubicBezTo>
                    <a:cubicBezTo>
                      <a:pt x="94" y="293"/>
                      <a:pt x="93" y="293"/>
                      <a:pt x="92" y="293"/>
                    </a:cubicBezTo>
                    <a:cubicBezTo>
                      <a:pt x="91" y="294"/>
                      <a:pt x="92" y="295"/>
                      <a:pt x="91" y="295"/>
                    </a:cubicBezTo>
                    <a:cubicBezTo>
                      <a:pt x="90" y="296"/>
                      <a:pt x="89" y="297"/>
                      <a:pt x="89" y="298"/>
                    </a:cubicBezTo>
                    <a:cubicBezTo>
                      <a:pt x="90" y="299"/>
                      <a:pt x="90" y="299"/>
                      <a:pt x="90" y="299"/>
                    </a:cubicBezTo>
                    <a:cubicBezTo>
                      <a:pt x="90" y="300"/>
                      <a:pt x="89" y="300"/>
                      <a:pt x="89" y="300"/>
                    </a:cubicBezTo>
                    <a:cubicBezTo>
                      <a:pt x="89" y="300"/>
                      <a:pt x="90" y="300"/>
                      <a:pt x="90" y="300"/>
                    </a:cubicBezTo>
                    <a:cubicBezTo>
                      <a:pt x="89" y="300"/>
                      <a:pt x="89" y="301"/>
                      <a:pt x="89" y="301"/>
                    </a:cubicBezTo>
                    <a:cubicBezTo>
                      <a:pt x="89" y="301"/>
                      <a:pt x="90" y="301"/>
                      <a:pt x="90" y="301"/>
                    </a:cubicBezTo>
                    <a:cubicBezTo>
                      <a:pt x="90" y="301"/>
                      <a:pt x="90" y="300"/>
                      <a:pt x="90" y="300"/>
                    </a:cubicBezTo>
                    <a:cubicBezTo>
                      <a:pt x="90" y="299"/>
                      <a:pt x="90" y="301"/>
                      <a:pt x="90" y="301"/>
                    </a:cubicBezTo>
                    <a:cubicBezTo>
                      <a:pt x="91" y="303"/>
                      <a:pt x="91" y="304"/>
                      <a:pt x="91" y="305"/>
                    </a:cubicBezTo>
                    <a:cubicBezTo>
                      <a:pt x="92" y="307"/>
                      <a:pt x="90" y="309"/>
                      <a:pt x="88" y="309"/>
                    </a:cubicBezTo>
                    <a:cubicBezTo>
                      <a:pt x="86" y="308"/>
                      <a:pt x="85" y="305"/>
                      <a:pt x="83" y="305"/>
                    </a:cubicBezTo>
                    <a:cubicBezTo>
                      <a:pt x="83" y="305"/>
                      <a:pt x="85" y="306"/>
                      <a:pt x="85" y="307"/>
                    </a:cubicBezTo>
                    <a:cubicBezTo>
                      <a:pt x="85" y="308"/>
                      <a:pt x="84" y="307"/>
                      <a:pt x="83" y="307"/>
                    </a:cubicBezTo>
                    <a:cubicBezTo>
                      <a:pt x="83" y="307"/>
                      <a:pt x="81" y="307"/>
                      <a:pt x="82" y="308"/>
                    </a:cubicBezTo>
                    <a:cubicBezTo>
                      <a:pt x="82" y="308"/>
                      <a:pt x="83" y="307"/>
                      <a:pt x="84" y="307"/>
                    </a:cubicBezTo>
                    <a:cubicBezTo>
                      <a:pt x="85" y="308"/>
                      <a:pt x="85" y="307"/>
                      <a:pt x="86" y="308"/>
                    </a:cubicBezTo>
                    <a:cubicBezTo>
                      <a:pt x="87" y="309"/>
                      <a:pt x="87" y="309"/>
                      <a:pt x="88" y="309"/>
                    </a:cubicBezTo>
                    <a:cubicBezTo>
                      <a:pt x="88" y="310"/>
                      <a:pt x="86" y="310"/>
                      <a:pt x="86" y="310"/>
                    </a:cubicBezTo>
                    <a:cubicBezTo>
                      <a:pt x="84" y="311"/>
                      <a:pt x="84" y="313"/>
                      <a:pt x="84" y="315"/>
                    </a:cubicBezTo>
                    <a:cubicBezTo>
                      <a:pt x="84" y="316"/>
                      <a:pt x="85" y="317"/>
                      <a:pt x="85" y="317"/>
                    </a:cubicBezTo>
                    <a:cubicBezTo>
                      <a:pt x="85" y="318"/>
                      <a:pt x="84" y="318"/>
                      <a:pt x="84" y="319"/>
                    </a:cubicBezTo>
                    <a:cubicBezTo>
                      <a:pt x="84" y="319"/>
                      <a:pt x="84" y="318"/>
                      <a:pt x="85" y="318"/>
                    </a:cubicBezTo>
                    <a:cubicBezTo>
                      <a:pt x="85" y="318"/>
                      <a:pt x="86" y="319"/>
                      <a:pt x="86" y="319"/>
                    </a:cubicBezTo>
                    <a:cubicBezTo>
                      <a:pt x="87" y="321"/>
                      <a:pt x="88" y="322"/>
                      <a:pt x="89" y="324"/>
                    </a:cubicBezTo>
                    <a:cubicBezTo>
                      <a:pt x="90" y="324"/>
                      <a:pt x="90" y="324"/>
                      <a:pt x="89" y="324"/>
                    </a:cubicBezTo>
                    <a:cubicBezTo>
                      <a:pt x="89" y="324"/>
                      <a:pt x="89" y="325"/>
                      <a:pt x="88" y="325"/>
                    </a:cubicBezTo>
                    <a:cubicBezTo>
                      <a:pt x="88" y="325"/>
                      <a:pt x="87" y="324"/>
                      <a:pt x="86" y="324"/>
                    </a:cubicBezTo>
                    <a:cubicBezTo>
                      <a:pt x="86" y="324"/>
                      <a:pt x="85" y="325"/>
                      <a:pt x="85" y="325"/>
                    </a:cubicBezTo>
                    <a:cubicBezTo>
                      <a:pt x="86" y="325"/>
                      <a:pt x="86" y="324"/>
                      <a:pt x="87" y="325"/>
                    </a:cubicBezTo>
                    <a:cubicBezTo>
                      <a:pt x="88" y="325"/>
                      <a:pt x="89" y="325"/>
                      <a:pt x="88" y="325"/>
                    </a:cubicBezTo>
                    <a:cubicBezTo>
                      <a:pt x="89" y="326"/>
                      <a:pt x="89" y="325"/>
                      <a:pt x="89" y="325"/>
                    </a:cubicBezTo>
                    <a:cubicBezTo>
                      <a:pt x="90" y="325"/>
                      <a:pt x="90" y="325"/>
                      <a:pt x="91" y="325"/>
                    </a:cubicBezTo>
                    <a:cubicBezTo>
                      <a:pt x="92" y="326"/>
                      <a:pt x="93" y="328"/>
                      <a:pt x="94" y="328"/>
                    </a:cubicBezTo>
                    <a:cubicBezTo>
                      <a:pt x="95" y="329"/>
                      <a:pt x="96" y="330"/>
                      <a:pt x="97" y="331"/>
                    </a:cubicBezTo>
                    <a:cubicBezTo>
                      <a:pt x="97" y="331"/>
                      <a:pt x="99" y="332"/>
                      <a:pt x="98" y="333"/>
                    </a:cubicBezTo>
                    <a:cubicBezTo>
                      <a:pt x="98" y="332"/>
                      <a:pt x="96" y="332"/>
                      <a:pt x="95" y="332"/>
                    </a:cubicBezTo>
                    <a:cubicBezTo>
                      <a:pt x="93" y="331"/>
                      <a:pt x="91" y="330"/>
                      <a:pt x="90" y="330"/>
                    </a:cubicBezTo>
                    <a:cubicBezTo>
                      <a:pt x="88" y="330"/>
                      <a:pt x="86" y="330"/>
                      <a:pt x="84" y="329"/>
                    </a:cubicBezTo>
                    <a:cubicBezTo>
                      <a:pt x="82" y="329"/>
                      <a:pt x="80" y="329"/>
                      <a:pt x="78" y="329"/>
                    </a:cubicBezTo>
                    <a:cubicBezTo>
                      <a:pt x="76" y="329"/>
                      <a:pt x="74" y="329"/>
                      <a:pt x="72" y="329"/>
                    </a:cubicBezTo>
                    <a:cubicBezTo>
                      <a:pt x="71" y="329"/>
                      <a:pt x="70" y="329"/>
                      <a:pt x="69" y="329"/>
                    </a:cubicBezTo>
                    <a:cubicBezTo>
                      <a:pt x="69" y="329"/>
                      <a:pt x="68" y="329"/>
                      <a:pt x="67" y="329"/>
                    </a:cubicBezTo>
                    <a:cubicBezTo>
                      <a:pt x="67" y="328"/>
                      <a:pt x="66" y="328"/>
                      <a:pt x="66" y="327"/>
                    </a:cubicBezTo>
                    <a:cubicBezTo>
                      <a:pt x="65" y="327"/>
                      <a:pt x="65" y="326"/>
                      <a:pt x="64" y="326"/>
                    </a:cubicBezTo>
                    <a:cubicBezTo>
                      <a:pt x="64" y="326"/>
                      <a:pt x="63" y="326"/>
                      <a:pt x="62" y="325"/>
                    </a:cubicBezTo>
                    <a:cubicBezTo>
                      <a:pt x="62" y="325"/>
                      <a:pt x="62" y="325"/>
                      <a:pt x="61" y="324"/>
                    </a:cubicBezTo>
                    <a:cubicBezTo>
                      <a:pt x="61" y="324"/>
                      <a:pt x="61" y="324"/>
                      <a:pt x="61" y="323"/>
                    </a:cubicBezTo>
                    <a:cubicBezTo>
                      <a:pt x="61" y="323"/>
                      <a:pt x="61" y="322"/>
                      <a:pt x="60" y="321"/>
                    </a:cubicBezTo>
                    <a:cubicBezTo>
                      <a:pt x="60" y="321"/>
                      <a:pt x="61" y="321"/>
                      <a:pt x="61" y="321"/>
                    </a:cubicBezTo>
                    <a:cubicBezTo>
                      <a:pt x="61" y="321"/>
                      <a:pt x="60" y="320"/>
                      <a:pt x="60" y="320"/>
                    </a:cubicBezTo>
                    <a:cubicBezTo>
                      <a:pt x="59" y="320"/>
                      <a:pt x="59" y="320"/>
                      <a:pt x="59" y="319"/>
                    </a:cubicBezTo>
                    <a:cubicBezTo>
                      <a:pt x="59" y="318"/>
                      <a:pt x="60" y="319"/>
                      <a:pt x="59" y="318"/>
                    </a:cubicBezTo>
                    <a:cubicBezTo>
                      <a:pt x="59" y="317"/>
                      <a:pt x="59" y="317"/>
                      <a:pt x="58" y="316"/>
                    </a:cubicBezTo>
                    <a:cubicBezTo>
                      <a:pt x="58" y="316"/>
                      <a:pt x="57" y="316"/>
                      <a:pt x="57" y="315"/>
                    </a:cubicBezTo>
                    <a:cubicBezTo>
                      <a:pt x="57" y="314"/>
                      <a:pt x="56" y="314"/>
                      <a:pt x="56" y="314"/>
                    </a:cubicBezTo>
                    <a:cubicBezTo>
                      <a:pt x="56" y="314"/>
                      <a:pt x="55" y="314"/>
                      <a:pt x="55" y="314"/>
                    </a:cubicBezTo>
                    <a:cubicBezTo>
                      <a:pt x="55" y="314"/>
                      <a:pt x="55" y="315"/>
                      <a:pt x="55" y="315"/>
                    </a:cubicBezTo>
                    <a:cubicBezTo>
                      <a:pt x="54" y="315"/>
                      <a:pt x="54" y="314"/>
                      <a:pt x="53" y="314"/>
                    </a:cubicBezTo>
                    <a:cubicBezTo>
                      <a:pt x="52" y="314"/>
                      <a:pt x="52" y="317"/>
                      <a:pt x="50" y="315"/>
                    </a:cubicBezTo>
                    <a:cubicBezTo>
                      <a:pt x="50" y="314"/>
                      <a:pt x="49" y="313"/>
                      <a:pt x="48" y="312"/>
                    </a:cubicBezTo>
                    <a:cubicBezTo>
                      <a:pt x="47" y="311"/>
                      <a:pt x="46" y="310"/>
                      <a:pt x="45" y="309"/>
                    </a:cubicBezTo>
                    <a:cubicBezTo>
                      <a:pt x="44" y="309"/>
                      <a:pt x="44" y="309"/>
                      <a:pt x="44" y="308"/>
                    </a:cubicBezTo>
                    <a:cubicBezTo>
                      <a:pt x="44" y="307"/>
                      <a:pt x="44" y="308"/>
                      <a:pt x="43" y="307"/>
                    </a:cubicBezTo>
                    <a:cubicBezTo>
                      <a:pt x="43" y="306"/>
                      <a:pt x="44" y="306"/>
                      <a:pt x="43" y="305"/>
                    </a:cubicBezTo>
                    <a:cubicBezTo>
                      <a:pt x="43" y="305"/>
                      <a:pt x="42" y="305"/>
                      <a:pt x="42" y="304"/>
                    </a:cubicBezTo>
                    <a:cubicBezTo>
                      <a:pt x="42" y="304"/>
                      <a:pt x="42" y="304"/>
                      <a:pt x="42" y="303"/>
                    </a:cubicBezTo>
                    <a:cubicBezTo>
                      <a:pt x="42" y="303"/>
                      <a:pt x="41" y="303"/>
                      <a:pt x="41" y="303"/>
                    </a:cubicBezTo>
                    <a:cubicBezTo>
                      <a:pt x="41" y="303"/>
                      <a:pt x="41" y="302"/>
                      <a:pt x="41" y="302"/>
                    </a:cubicBezTo>
                    <a:cubicBezTo>
                      <a:pt x="41" y="302"/>
                      <a:pt x="41" y="302"/>
                      <a:pt x="41" y="302"/>
                    </a:cubicBezTo>
                    <a:cubicBezTo>
                      <a:pt x="41" y="301"/>
                      <a:pt x="41" y="301"/>
                      <a:pt x="41" y="301"/>
                    </a:cubicBezTo>
                    <a:cubicBezTo>
                      <a:pt x="41" y="301"/>
                      <a:pt x="41" y="300"/>
                      <a:pt x="41" y="300"/>
                    </a:cubicBezTo>
                    <a:cubicBezTo>
                      <a:pt x="41" y="300"/>
                      <a:pt x="42" y="300"/>
                      <a:pt x="42" y="300"/>
                    </a:cubicBezTo>
                    <a:cubicBezTo>
                      <a:pt x="42" y="300"/>
                      <a:pt x="43" y="300"/>
                      <a:pt x="43" y="300"/>
                    </a:cubicBezTo>
                    <a:cubicBezTo>
                      <a:pt x="44" y="300"/>
                      <a:pt x="44" y="300"/>
                      <a:pt x="44" y="300"/>
                    </a:cubicBezTo>
                    <a:cubicBezTo>
                      <a:pt x="44" y="300"/>
                      <a:pt x="43" y="300"/>
                      <a:pt x="43" y="299"/>
                    </a:cubicBezTo>
                    <a:cubicBezTo>
                      <a:pt x="43" y="299"/>
                      <a:pt x="43" y="298"/>
                      <a:pt x="43" y="297"/>
                    </a:cubicBezTo>
                    <a:cubicBezTo>
                      <a:pt x="43" y="297"/>
                      <a:pt x="44" y="297"/>
                      <a:pt x="44" y="296"/>
                    </a:cubicBezTo>
                    <a:cubicBezTo>
                      <a:pt x="45" y="296"/>
                      <a:pt x="45" y="296"/>
                      <a:pt x="46" y="295"/>
                    </a:cubicBezTo>
                    <a:cubicBezTo>
                      <a:pt x="47" y="294"/>
                      <a:pt x="45" y="293"/>
                      <a:pt x="45" y="292"/>
                    </a:cubicBezTo>
                    <a:cubicBezTo>
                      <a:pt x="44" y="292"/>
                      <a:pt x="44" y="291"/>
                      <a:pt x="45" y="291"/>
                    </a:cubicBezTo>
                    <a:cubicBezTo>
                      <a:pt x="45" y="291"/>
                      <a:pt x="45" y="291"/>
                      <a:pt x="45" y="291"/>
                    </a:cubicBezTo>
                    <a:cubicBezTo>
                      <a:pt x="46" y="290"/>
                      <a:pt x="46" y="290"/>
                      <a:pt x="46" y="290"/>
                    </a:cubicBezTo>
                    <a:cubicBezTo>
                      <a:pt x="47" y="290"/>
                      <a:pt x="46" y="289"/>
                      <a:pt x="46" y="289"/>
                    </a:cubicBezTo>
                    <a:cubicBezTo>
                      <a:pt x="45" y="288"/>
                      <a:pt x="45" y="287"/>
                      <a:pt x="44" y="287"/>
                    </a:cubicBezTo>
                    <a:cubicBezTo>
                      <a:pt x="44" y="287"/>
                      <a:pt x="44" y="287"/>
                      <a:pt x="44" y="286"/>
                    </a:cubicBezTo>
                    <a:cubicBezTo>
                      <a:pt x="44" y="286"/>
                      <a:pt x="43" y="286"/>
                      <a:pt x="43" y="286"/>
                    </a:cubicBezTo>
                    <a:cubicBezTo>
                      <a:pt x="42" y="286"/>
                      <a:pt x="42" y="285"/>
                      <a:pt x="42" y="284"/>
                    </a:cubicBezTo>
                    <a:cubicBezTo>
                      <a:pt x="42" y="283"/>
                      <a:pt x="43" y="281"/>
                      <a:pt x="42" y="281"/>
                    </a:cubicBezTo>
                    <a:cubicBezTo>
                      <a:pt x="41" y="281"/>
                      <a:pt x="42" y="280"/>
                      <a:pt x="42" y="280"/>
                    </a:cubicBezTo>
                    <a:cubicBezTo>
                      <a:pt x="43" y="280"/>
                      <a:pt x="43" y="280"/>
                      <a:pt x="43" y="279"/>
                    </a:cubicBezTo>
                    <a:cubicBezTo>
                      <a:pt x="44" y="279"/>
                      <a:pt x="44" y="279"/>
                      <a:pt x="44" y="278"/>
                    </a:cubicBezTo>
                    <a:cubicBezTo>
                      <a:pt x="43" y="278"/>
                      <a:pt x="43" y="278"/>
                      <a:pt x="44" y="278"/>
                    </a:cubicBezTo>
                    <a:cubicBezTo>
                      <a:pt x="44" y="278"/>
                      <a:pt x="45" y="278"/>
                      <a:pt x="45" y="278"/>
                    </a:cubicBezTo>
                    <a:cubicBezTo>
                      <a:pt x="45" y="277"/>
                      <a:pt x="44" y="277"/>
                      <a:pt x="43" y="276"/>
                    </a:cubicBezTo>
                    <a:cubicBezTo>
                      <a:pt x="43" y="276"/>
                      <a:pt x="44" y="276"/>
                      <a:pt x="44" y="276"/>
                    </a:cubicBezTo>
                    <a:cubicBezTo>
                      <a:pt x="44" y="275"/>
                      <a:pt x="43" y="275"/>
                      <a:pt x="43" y="275"/>
                    </a:cubicBezTo>
                    <a:cubicBezTo>
                      <a:pt x="43" y="275"/>
                      <a:pt x="43" y="275"/>
                      <a:pt x="43" y="274"/>
                    </a:cubicBezTo>
                    <a:cubicBezTo>
                      <a:pt x="43" y="274"/>
                      <a:pt x="42" y="273"/>
                      <a:pt x="43" y="273"/>
                    </a:cubicBezTo>
                    <a:cubicBezTo>
                      <a:pt x="43" y="273"/>
                      <a:pt x="44" y="272"/>
                      <a:pt x="44" y="272"/>
                    </a:cubicBezTo>
                    <a:cubicBezTo>
                      <a:pt x="44" y="271"/>
                      <a:pt x="43" y="270"/>
                      <a:pt x="42" y="269"/>
                    </a:cubicBezTo>
                    <a:cubicBezTo>
                      <a:pt x="42" y="268"/>
                      <a:pt x="42" y="268"/>
                      <a:pt x="41" y="267"/>
                    </a:cubicBezTo>
                    <a:cubicBezTo>
                      <a:pt x="41" y="267"/>
                      <a:pt x="40" y="267"/>
                      <a:pt x="40" y="266"/>
                    </a:cubicBezTo>
                    <a:cubicBezTo>
                      <a:pt x="40" y="266"/>
                      <a:pt x="41" y="266"/>
                      <a:pt x="41" y="266"/>
                    </a:cubicBezTo>
                    <a:cubicBezTo>
                      <a:pt x="41" y="266"/>
                      <a:pt x="42" y="265"/>
                      <a:pt x="42" y="265"/>
                    </a:cubicBezTo>
                    <a:cubicBezTo>
                      <a:pt x="42" y="264"/>
                      <a:pt x="41" y="264"/>
                      <a:pt x="41" y="264"/>
                    </a:cubicBezTo>
                    <a:cubicBezTo>
                      <a:pt x="41" y="263"/>
                      <a:pt x="40" y="263"/>
                      <a:pt x="40" y="263"/>
                    </a:cubicBezTo>
                    <a:cubicBezTo>
                      <a:pt x="40" y="263"/>
                      <a:pt x="40" y="262"/>
                      <a:pt x="39" y="262"/>
                    </a:cubicBezTo>
                    <a:cubicBezTo>
                      <a:pt x="39" y="262"/>
                      <a:pt x="39" y="261"/>
                      <a:pt x="39" y="261"/>
                    </a:cubicBezTo>
                    <a:cubicBezTo>
                      <a:pt x="39" y="260"/>
                      <a:pt x="38" y="260"/>
                      <a:pt x="39" y="260"/>
                    </a:cubicBezTo>
                    <a:cubicBezTo>
                      <a:pt x="39" y="260"/>
                      <a:pt x="41" y="260"/>
                      <a:pt x="41" y="259"/>
                    </a:cubicBezTo>
                    <a:cubicBezTo>
                      <a:pt x="40" y="258"/>
                      <a:pt x="40" y="258"/>
                      <a:pt x="41" y="258"/>
                    </a:cubicBezTo>
                    <a:cubicBezTo>
                      <a:pt x="41" y="258"/>
                      <a:pt x="42" y="257"/>
                      <a:pt x="41" y="257"/>
                    </a:cubicBezTo>
                    <a:cubicBezTo>
                      <a:pt x="41" y="256"/>
                      <a:pt x="40" y="256"/>
                      <a:pt x="40" y="256"/>
                    </a:cubicBezTo>
                    <a:cubicBezTo>
                      <a:pt x="39" y="255"/>
                      <a:pt x="39" y="254"/>
                      <a:pt x="38" y="254"/>
                    </a:cubicBezTo>
                    <a:cubicBezTo>
                      <a:pt x="37" y="254"/>
                      <a:pt x="37" y="254"/>
                      <a:pt x="36" y="253"/>
                    </a:cubicBezTo>
                    <a:cubicBezTo>
                      <a:pt x="36" y="253"/>
                      <a:pt x="35" y="254"/>
                      <a:pt x="35" y="253"/>
                    </a:cubicBezTo>
                    <a:cubicBezTo>
                      <a:pt x="34" y="253"/>
                      <a:pt x="32" y="253"/>
                      <a:pt x="32" y="251"/>
                    </a:cubicBezTo>
                    <a:cubicBezTo>
                      <a:pt x="33" y="251"/>
                      <a:pt x="34" y="252"/>
                      <a:pt x="34" y="252"/>
                    </a:cubicBezTo>
                    <a:cubicBezTo>
                      <a:pt x="34" y="252"/>
                      <a:pt x="34" y="252"/>
                      <a:pt x="35" y="252"/>
                    </a:cubicBezTo>
                    <a:cubicBezTo>
                      <a:pt x="35" y="252"/>
                      <a:pt x="35" y="251"/>
                      <a:pt x="35" y="251"/>
                    </a:cubicBezTo>
                    <a:cubicBezTo>
                      <a:pt x="36" y="251"/>
                      <a:pt x="36" y="252"/>
                      <a:pt x="37" y="251"/>
                    </a:cubicBezTo>
                    <a:cubicBezTo>
                      <a:pt x="38" y="251"/>
                      <a:pt x="38" y="252"/>
                      <a:pt x="39" y="252"/>
                    </a:cubicBezTo>
                    <a:cubicBezTo>
                      <a:pt x="41" y="252"/>
                      <a:pt x="39" y="250"/>
                      <a:pt x="40" y="249"/>
                    </a:cubicBezTo>
                    <a:cubicBezTo>
                      <a:pt x="40" y="249"/>
                      <a:pt x="39" y="248"/>
                      <a:pt x="39" y="248"/>
                    </a:cubicBezTo>
                    <a:cubicBezTo>
                      <a:pt x="39" y="248"/>
                      <a:pt x="38" y="248"/>
                      <a:pt x="37" y="248"/>
                    </a:cubicBezTo>
                    <a:cubicBezTo>
                      <a:pt x="36" y="247"/>
                      <a:pt x="34" y="248"/>
                      <a:pt x="33" y="248"/>
                    </a:cubicBezTo>
                    <a:cubicBezTo>
                      <a:pt x="32" y="248"/>
                      <a:pt x="33" y="247"/>
                      <a:pt x="33" y="247"/>
                    </a:cubicBezTo>
                    <a:cubicBezTo>
                      <a:pt x="33" y="247"/>
                      <a:pt x="32" y="245"/>
                      <a:pt x="32" y="245"/>
                    </a:cubicBezTo>
                    <a:cubicBezTo>
                      <a:pt x="31" y="244"/>
                      <a:pt x="33" y="244"/>
                      <a:pt x="33" y="243"/>
                    </a:cubicBezTo>
                    <a:cubicBezTo>
                      <a:pt x="33" y="242"/>
                      <a:pt x="32" y="242"/>
                      <a:pt x="32" y="241"/>
                    </a:cubicBezTo>
                    <a:cubicBezTo>
                      <a:pt x="31" y="241"/>
                      <a:pt x="31" y="241"/>
                      <a:pt x="31" y="241"/>
                    </a:cubicBezTo>
                    <a:cubicBezTo>
                      <a:pt x="31" y="241"/>
                      <a:pt x="31" y="241"/>
                      <a:pt x="30" y="241"/>
                    </a:cubicBezTo>
                    <a:cubicBezTo>
                      <a:pt x="30" y="240"/>
                      <a:pt x="31" y="240"/>
                      <a:pt x="31" y="240"/>
                    </a:cubicBezTo>
                    <a:cubicBezTo>
                      <a:pt x="31" y="239"/>
                      <a:pt x="31" y="239"/>
                      <a:pt x="30" y="239"/>
                    </a:cubicBezTo>
                    <a:cubicBezTo>
                      <a:pt x="30" y="238"/>
                      <a:pt x="29" y="238"/>
                      <a:pt x="29" y="238"/>
                    </a:cubicBezTo>
                    <a:cubicBezTo>
                      <a:pt x="29" y="237"/>
                      <a:pt x="28" y="238"/>
                      <a:pt x="28" y="237"/>
                    </a:cubicBezTo>
                    <a:cubicBezTo>
                      <a:pt x="28" y="237"/>
                      <a:pt x="28" y="236"/>
                      <a:pt x="28" y="236"/>
                    </a:cubicBezTo>
                    <a:cubicBezTo>
                      <a:pt x="28" y="235"/>
                      <a:pt x="29" y="236"/>
                      <a:pt x="29" y="236"/>
                    </a:cubicBezTo>
                    <a:cubicBezTo>
                      <a:pt x="29" y="235"/>
                      <a:pt x="29" y="235"/>
                      <a:pt x="29" y="234"/>
                    </a:cubicBezTo>
                    <a:cubicBezTo>
                      <a:pt x="28" y="234"/>
                      <a:pt x="27" y="234"/>
                      <a:pt x="27" y="234"/>
                    </a:cubicBezTo>
                    <a:cubicBezTo>
                      <a:pt x="25" y="234"/>
                      <a:pt x="25" y="233"/>
                      <a:pt x="24" y="231"/>
                    </a:cubicBezTo>
                    <a:cubicBezTo>
                      <a:pt x="24" y="230"/>
                      <a:pt x="24" y="230"/>
                      <a:pt x="23" y="229"/>
                    </a:cubicBezTo>
                    <a:cubicBezTo>
                      <a:pt x="23" y="229"/>
                      <a:pt x="22" y="228"/>
                      <a:pt x="23" y="227"/>
                    </a:cubicBezTo>
                    <a:cubicBezTo>
                      <a:pt x="24" y="226"/>
                      <a:pt x="22" y="225"/>
                      <a:pt x="22" y="225"/>
                    </a:cubicBezTo>
                    <a:cubicBezTo>
                      <a:pt x="22" y="224"/>
                      <a:pt x="22" y="222"/>
                      <a:pt x="23" y="223"/>
                    </a:cubicBezTo>
                    <a:cubicBezTo>
                      <a:pt x="23" y="224"/>
                      <a:pt x="25" y="223"/>
                      <a:pt x="24" y="222"/>
                    </a:cubicBezTo>
                    <a:cubicBezTo>
                      <a:pt x="24" y="222"/>
                      <a:pt x="24" y="222"/>
                      <a:pt x="24" y="221"/>
                    </a:cubicBezTo>
                    <a:cubicBezTo>
                      <a:pt x="23" y="221"/>
                      <a:pt x="23" y="221"/>
                      <a:pt x="23" y="220"/>
                    </a:cubicBezTo>
                    <a:cubicBezTo>
                      <a:pt x="23" y="220"/>
                      <a:pt x="22" y="219"/>
                      <a:pt x="22" y="219"/>
                    </a:cubicBezTo>
                    <a:cubicBezTo>
                      <a:pt x="22" y="218"/>
                      <a:pt x="21" y="218"/>
                      <a:pt x="21" y="218"/>
                    </a:cubicBezTo>
                    <a:cubicBezTo>
                      <a:pt x="21" y="217"/>
                      <a:pt x="22" y="217"/>
                      <a:pt x="21" y="217"/>
                    </a:cubicBezTo>
                    <a:cubicBezTo>
                      <a:pt x="21" y="216"/>
                      <a:pt x="20" y="215"/>
                      <a:pt x="20" y="215"/>
                    </a:cubicBezTo>
                    <a:cubicBezTo>
                      <a:pt x="20" y="214"/>
                      <a:pt x="20" y="214"/>
                      <a:pt x="20" y="214"/>
                    </a:cubicBezTo>
                    <a:cubicBezTo>
                      <a:pt x="20" y="213"/>
                      <a:pt x="20" y="213"/>
                      <a:pt x="20" y="213"/>
                    </a:cubicBezTo>
                    <a:cubicBezTo>
                      <a:pt x="19" y="211"/>
                      <a:pt x="19" y="210"/>
                      <a:pt x="18" y="209"/>
                    </a:cubicBezTo>
                    <a:cubicBezTo>
                      <a:pt x="18" y="209"/>
                      <a:pt x="17" y="208"/>
                      <a:pt x="17" y="207"/>
                    </a:cubicBezTo>
                    <a:cubicBezTo>
                      <a:pt x="17" y="207"/>
                      <a:pt x="17" y="207"/>
                      <a:pt x="18" y="207"/>
                    </a:cubicBezTo>
                    <a:cubicBezTo>
                      <a:pt x="18" y="206"/>
                      <a:pt x="17" y="206"/>
                      <a:pt x="17" y="205"/>
                    </a:cubicBezTo>
                    <a:cubicBezTo>
                      <a:pt x="17" y="205"/>
                      <a:pt x="17" y="204"/>
                      <a:pt x="17" y="204"/>
                    </a:cubicBezTo>
                    <a:cubicBezTo>
                      <a:pt x="17" y="204"/>
                      <a:pt x="18" y="204"/>
                      <a:pt x="18" y="204"/>
                    </a:cubicBezTo>
                    <a:cubicBezTo>
                      <a:pt x="18" y="204"/>
                      <a:pt x="18" y="204"/>
                      <a:pt x="18" y="203"/>
                    </a:cubicBezTo>
                    <a:cubicBezTo>
                      <a:pt x="18" y="202"/>
                      <a:pt x="18" y="203"/>
                      <a:pt x="17" y="203"/>
                    </a:cubicBezTo>
                    <a:cubicBezTo>
                      <a:pt x="17" y="202"/>
                      <a:pt x="16" y="202"/>
                      <a:pt x="16" y="201"/>
                    </a:cubicBezTo>
                    <a:cubicBezTo>
                      <a:pt x="16" y="200"/>
                      <a:pt x="16" y="201"/>
                      <a:pt x="17" y="201"/>
                    </a:cubicBezTo>
                    <a:cubicBezTo>
                      <a:pt x="17" y="201"/>
                      <a:pt x="17" y="200"/>
                      <a:pt x="17" y="200"/>
                    </a:cubicBezTo>
                    <a:cubicBezTo>
                      <a:pt x="17" y="199"/>
                      <a:pt x="17" y="199"/>
                      <a:pt x="17" y="198"/>
                    </a:cubicBezTo>
                    <a:cubicBezTo>
                      <a:pt x="16" y="198"/>
                      <a:pt x="16" y="197"/>
                      <a:pt x="16" y="196"/>
                    </a:cubicBezTo>
                    <a:cubicBezTo>
                      <a:pt x="16" y="196"/>
                      <a:pt x="15" y="195"/>
                      <a:pt x="15" y="195"/>
                    </a:cubicBezTo>
                    <a:cubicBezTo>
                      <a:pt x="16" y="195"/>
                      <a:pt x="16" y="196"/>
                      <a:pt x="17" y="195"/>
                    </a:cubicBezTo>
                    <a:cubicBezTo>
                      <a:pt x="17" y="195"/>
                      <a:pt x="16" y="195"/>
                      <a:pt x="17" y="194"/>
                    </a:cubicBezTo>
                    <a:cubicBezTo>
                      <a:pt x="17" y="194"/>
                      <a:pt x="17" y="193"/>
                      <a:pt x="17" y="193"/>
                    </a:cubicBezTo>
                    <a:cubicBezTo>
                      <a:pt x="16" y="193"/>
                      <a:pt x="17" y="192"/>
                      <a:pt x="17" y="192"/>
                    </a:cubicBezTo>
                    <a:cubicBezTo>
                      <a:pt x="16" y="190"/>
                      <a:pt x="14" y="188"/>
                      <a:pt x="17" y="187"/>
                    </a:cubicBezTo>
                    <a:cubicBezTo>
                      <a:pt x="17" y="186"/>
                      <a:pt x="18" y="186"/>
                      <a:pt x="19" y="186"/>
                    </a:cubicBezTo>
                    <a:cubicBezTo>
                      <a:pt x="19" y="186"/>
                      <a:pt x="19" y="186"/>
                      <a:pt x="19" y="185"/>
                    </a:cubicBezTo>
                    <a:cubicBezTo>
                      <a:pt x="19" y="185"/>
                      <a:pt x="19" y="185"/>
                      <a:pt x="19" y="184"/>
                    </a:cubicBezTo>
                    <a:cubicBezTo>
                      <a:pt x="19" y="183"/>
                      <a:pt x="18" y="183"/>
                      <a:pt x="18" y="183"/>
                    </a:cubicBezTo>
                    <a:cubicBezTo>
                      <a:pt x="17" y="182"/>
                      <a:pt x="17" y="181"/>
                      <a:pt x="16" y="180"/>
                    </a:cubicBezTo>
                    <a:cubicBezTo>
                      <a:pt x="16" y="177"/>
                      <a:pt x="14" y="176"/>
                      <a:pt x="13" y="174"/>
                    </a:cubicBezTo>
                    <a:cubicBezTo>
                      <a:pt x="13" y="174"/>
                      <a:pt x="13" y="173"/>
                      <a:pt x="13" y="173"/>
                    </a:cubicBezTo>
                    <a:cubicBezTo>
                      <a:pt x="13" y="172"/>
                      <a:pt x="13" y="172"/>
                      <a:pt x="13" y="171"/>
                    </a:cubicBezTo>
                    <a:cubicBezTo>
                      <a:pt x="12" y="171"/>
                      <a:pt x="12" y="171"/>
                      <a:pt x="12" y="170"/>
                    </a:cubicBezTo>
                    <a:cubicBezTo>
                      <a:pt x="12" y="170"/>
                      <a:pt x="12" y="170"/>
                      <a:pt x="12" y="169"/>
                    </a:cubicBezTo>
                    <a:cubicBezTo>
                      <a:pt x="12" y="169"/>
                      <a:pt x="11" y="168"/>
                      <a:pt x="12" y="168"/>
                    </a:cubicBezTo>
                    <a:cubicBezTo>
                      <a:pt x="12" y="168"/>
                      <a:pt x="11" y="168"/>
                      <a:pt x="11" y="168"/>
                    </a:cubicBezTo>
                    <a:cubicBezTo>
                      <a:pt x="11" y="167"/>
                      <a:pt x="11" y="167"/>
                      <a:pt x="11" y="167"/>
                    </a:cubicBezTo>
                    <a:cubicBezTo>
                      <a:pt x="11" y="167"/>
                      <a:pt x="11" y="167"/>
                      <a:pt x="11" y="167"/>
                    </a:cubicBezTo>
                    <a:cubicBezTo>
                      <a:pt x="11" y="167"/>
                      <a:pt x="11" y="166"/>
                      <a:pt x="11" y="166"/>
                    </a:cubicBezTo>
                    <a:cubicBezTo>
                      <a:pt x="11" y="166"/>
                      <a:pt x="11" y="166"/>
                      <a:pt x="11" y="166"/>
                    </a:cubicBezTo>
                    <a:cubicBezTo>
                      <a:pt x="11" y="165"/>
                      <a:pt x="10" y="165"/>
                      <a:pt x="10" y="165"/>
                    </a:cubicBezTo>
                    <a:cubicBezTo>
                      <a:pt x="10" y="165"/>
                      <a:pt x="10" y="164"/>
                      <a:pt x="10" y="164"/>
                    </a:cubicBezTo>
                    <a:cubicBezTo>
                      <a:pt x="10" y="163"/>
                      <a:pt x="11" y="164"/>
                      <a:pt x="11" y="163"/>
                    </a:cubicBezTo>
                    <a:cubicBezTo>
                      <a:pt x="11" y="163"/>
                      <a:pt x="10" y="161"/>
                      <a:pt x="11" y="161"/>
                    </a:cubicBezTo>
                    <a:cubicBezTo>
                      <a:pt x="11" y="161"/>
                      <a:pt x="12" y="161"/>
                      <a:pt x="12" y="161"/>
                    </a:cubicBezTo>
                    <a:cubicBezTo>
                      <a:pt x="12" y="160"/>
                      <a:pt x="13" y="161"/>
                      <a:pt x="13" y="160"/>
                    </a:cubicBezTo>
                    <a:cubicBezTo>
                      <a:pt x="13" y="160"/>
                      <a:pt x="13" y="159"/>
                      <a:pt x="13" y="159"/>
                    </a:cubicBezTo>
                    <a:cubicBezTo>
                      <a:pt x="13" y="159"/>
                      <a:pt x="14" y="158"/>
                      <a:pt x="14" y="158"/>
                    </a:cubicBezTo>
                    <a:cubicBezTo>
                      <a:pt x="14" y="157"/>
                      <a:pt x="14" y="158"/>
                      <a:pt x="15" y="158"/>
                    </a:cubicBezTo>
                    <a:cubicBezTo>
                      <a:pt x="16" y="158"/>
                      <a:pt x="15" y="156"/>
                      <a:pt x="15" y="156"/>
                    </a:cubicBezTo>
                    <a:cubicBezTo>
                      <a:pt x="14" y="155"/>
                      <a:pt x="15" y="155"/>
                      <a:pt x="15" y="155"/>
                    </a:cubicBezTo>
                    <a:cubicBezTo>
                      <a:pt x="15" y="155"/>
                      <a:pt x="14" y="155"/>
                      <a:pt x="14" y="155"/>
                    </a:cubicBezTo>
                    <a:cubicBezTo>
                      <a:pt x="14" y="154"/>
                      <a:pt x="15" y="154"/>
                      <a:pt x="15" y="154"/>
                    </a:cubicBezTo>
                    <a:cubicBezTo>
                      <a:pt x="14" y="153"/>
                      <a:pt x="14" y="152"/>
                      <a:pt x="13" y="151"/>
                    </a:cubicBezTo>
                    <a:cubicBezTo>
                      <a:pt x="13" y="151"/>
                      <a:pt x="13" y="151"/>
                      <a:pt x="13" y="150"/>
                    </a:cubicBezTo>
                    <a:cubicBezTo>
                      <a:pt x="13" y="150"/>
                      <a:pt x="13" y="150"/>
                      <a:pt x="12" y="149"/>
                    </a:cubicBezTo>
                    <a:cubicBezTo>
                      <a:pt x="12" y="149"/>
                      <a:pt x="13" y="149"/>
                      <a:pt x="12" y="148"/>
                    </a:cubicBezTo>
                    <a:cubicBezTo>
                      <a:pt x="12" y="148"/>
                      <a:pt x="11" y="148"/>
                      <a:pt x="11" y="148"/>
                    </a:cubicBezTo>
                    <a:cubicBezTo>
                      <a:pt x="11" y="147"/>
                      <a:pt x="12" y="147"/>
                      <a:pt x="12" y="146"/>
                    </a:cubicBezTo>
                    <a:cubicBezTo>
                      <a:pt x="12" y="146"/>
                      <a:pt x="12" y="145"/>
                      <a:pt x="12" y="144"/>
                    </a:cubicBezTo>
                    <a:cubicBezTo>
                      <a:pt x="12" y="144"/>
                      <a:pt x="13" y="143"/>
                      <a:pt x="12" y="142"/>
                    </a:cubicBezTo>
                    <a:cubicBezTo>
                      <a:pt x="11" y="142"/>
                      <a:pt x="12" y="142"/>
                      <a:pt x="12" y="142"/>
                    </a:cubicBezTo>
                    <a:cubicBezTo>
                      <a:pt x="12" y="141"/>
                      <a:pt x="12" y="141"/>
                      <a:pt x="12" y="140"/>
                    </a:cubicBezTo>
                    <a:cubicBezTo>
                      <a:pt x="12" y="140"/>
                      <a:pt x="13" y="139"/>
                      <a:pt x="13" y="139"/>
                    </a:cubicBezTo>
                    <a:cubicBezTo>
                      <a:pt x="13" y="138"/>
                      <a:pt x="12" y="137"/>
                      <a:pt x="14" y="137"/>
                    </a:cubicBezTo>
                    <a:cubicBezTo>
                      <a:pt x="14" y="137"/>
                      <a:pt x="15" y="137"/>
                      <a:pt x="15" y="137"/>
                    </a:cubicBezTo>
                    <a:cubicBezTo>
                      <a:pt x="15" y="136"/>
                      <a:pt x="14" y="136"/>
                      <a:pt x="14" y="135"/>
                    </a:cubicBezTo>
                    <a:cubicBezTo>
                      <a:pt x="14" y="135"/>
                      <a:pt x="14" y="134"/>
                      <a:pt x="13" y="134"/>
                    </a:cubicBezTo>
                    <a:cubicBezTo>
                      <a:pt x="13" y="133"/>
                      <a:pt x="13" y="132"/>
                      <a:pt x="13" y="132"/>
                    </a:cubicBezTo>
                    <a:cubicBezTo>
                      <a:pt x="13" y="131"/>
                      <a:pt x="13" y="131"/>
                      <a:pt x="13" y="131"/>
                    </a:cubicBezTo>
                    <a:cubicBezTo>
                      <a:pt x="12" y="130"/>
                      <a:pt x="12" y="129"/>
                      <a:pt x="13" y="128"/>
                    </a:cubicBezTo>
                    <a:cubicBezTo>
                      <a:pt x="13" y="127"/>
                      <a:pt x="13" y="126"/>
                      <a:pt x="12" y="126"/>
                    </a:cubicBezTo>
                    <a:cubicBezTo>
                      <a:pt x="11" y="125"/>
                      <a:pt x="11" y="126"/>
                      <a:pt x="10" y="126"/>
                    </a:cubicBezTo>
                    <a:cubicBezTo>
                      <a:pt x="10" y="126"/>
                      <a:pt x="10" y="125"/>
                      <a:pt x="9" y="125"/>
                    </a:cubicBezTo>
                    <a:cubicBezTo>
                      <a:pt x="9" y="125"/>
                      <a:pt x="9" y="124"/>
                      <a:pt x="9" y="124"/>
                    </a:cubicBezTo>
                    <a:cubicBezTo>
                      <a:pt x="9" y="123"/>
                      <a:pt x="10" y="122"/>
                      <a:pt x="9" y="121"/>
                    </a:cubicBezTo>
                    <a:cubicBezTo>
                      <a:pt x="8" y="121"/>
                      <a:pt x="8" y="120"/>
                      <a:pt x="7" y="119"/>
                    </a:cubicBezTo>
                    <a:cubicBezTo>
                      <a:pt x="7" y="119"/>
                      <a:pt x="7" y="119"/>
                      <a:pt x="7" y="118"/>
                    </a:cubicBezTo>
                    <a:cubicBezTo>
                      <a:pt x="7" y="118"/>
                      <a:pt x="7" y="118"/>
                      <a:pt x="7" y="117"/>
                    </a:cubicBezTo>
                    <a:cubicBezTo>
                      <a:pt x="7" y="117"/>
                      <a:pt x="6" y="117"/>
                      <a:pt x="6" y="116"/>
                    </a:cubicBezTo>
                    <a:cubicBezTo>
                      <a:pt x="5" y="116"/>
                      <a:pt x="6" y="116"/>
                      <a:pt x="5" y="115"/>
                    </a:cubicBezTo>
                    <a:cubicBezTo>
                      <a:pt x="5" y="115"/>
                      <a:pt x="3" y="113"/>
                      <a:pt x="4" y="112"/>
                    </a:cubicBezTo>
                    <a:cubicBezTo>
                      <a:pt x="4" y="112"/>
                      <a:pt x="4" y="113"/>
                      <a:pt x="5" y="112"/>
                    </a:cubicBezTo>
                    <a:cubicBezTo>
                      <a:pt x="5" y="112"/>
                      <a:pt x="5" y="111"/>
                      <a:pt x="4" y="111"/>
                    </a:cubicBezTo>
                    <a:cubicBezTo>
                      <a:pt x="4" y="111"/>
                      <a:pt x="3" y="111"/>
                      <a:pt x="3" y="111"/>
                    </a:cubicBezTo>
                    <a:cubicBezTo>
                      <a:pt x="2" y="110"/>
                      <a:pt x="2" y="109"/>
                      <a:pt x="2" y="109"/>
                    </a:cubicBezTo>
                    <a:cubicBezTo>
                      <a:pt x="1" y="108"/>
                      <a:pt x="1" y="108"/>
                      <a:pt x="0" y="107"/>
                    </a:cubicBezTo>
                    <a:cubicBezTo>
                      <a:pt x="0" y="106"/>
                      <a:pt x="0" y="105"/>
                      <a:pt x="0" y="105"/>
                    </a:cubicBezTo>
                    <a:cubicBezTo>
                      <a:pt x="0" y="104"/>
                      <a:pt x="0" y="104"/>
                      <a:pt x="0" y="103"/>
                    </a:cubicBezTo>
                    <a:cubicBezTo>
                      <a:pt x="0" y="103"/>
                      <a:pt x="0" y="102"/>
                      <a:pt x="1" y="102"/>
                    </a:cubicBezTo>
                    <a:cubicBezTo>
                      <a:pt x="1" y="103"/>
                      <a:pt x="1" y="101"/>
                      <a:pt x="2" y="101"/>
                    </a:cubicBezTo>
                    <a:cubicBezTo>
                      <a:pt x="2" y="101"/>
                      <a:pt x="1" y="101"/>
                      <a:pt x="1" y="100"/>
                    </a:cubicBezTo>
                    <a:cubicBezTo>
                      <a:pt x="1" y="100"/>
                      <a:pt x="1" y="99"/>
                      <a:pt x="1" y="98"/>
                    </a:cubicBezTo>
                    <a:cubicBezTo>
                      <a:pt x="1" y="98"/>
                      <a:pt x="1" y="97"/>
                      <a:pt x="1" y="96"/>
                    </a:cubicBezTo>
                    <a:cubicBezTo>
                      <a:pt x="1" y="96"/>
                      <a:pt x="1" y="95"/>
                      <a:pt x="1" y="95"/>
                    </a:cubicBezTo>
                    <a:cubicBezTo>
                      <a:pt x="2" y="95"/>
                      <a:pt x="2" y="95"/>
                      <a:pt x="2" y="95"/>
                    </a:cubicBezTo>
                    <a:cubicBezTo>
                      <a:pt x="2" y="95"/>
                      <a:pt x="1" y="94"/>
                      <a:pt x="2" y="94"/>
                    </a:cubicBezTo>
                    <a:cubicBezTo>
                      <a:pt x="2" y="94"/>
                      <a:pt x="2" y="94"/>
                      <a:pt x="3" y="94"/>
                    </a:cubicBezTo>
                    <a:cubicBezTo>
                      <a:pt x="4" y="94"/>
                      <a:pt x="4" y="93"/>
                      <a:pt x="4" y="93"/>
                    </a:cubicBezTo>
                    <a:cubicBezTo>
                      <a:pt x="4" y="92"/>
                      <a:pt x="4" y="91"/>
                      <a:pt x="3" y="91"/>
                    </a:cubicBezTo>
                    <a:cubicBezTo>
                      <a:pt x="3" y="91"/>
                      <a:pt x="2" y="91"/>
                      <a:pt x="2" y="90"/>
                    </a:cubicBezTo>
                    <a:cubicBezTo>
                      <a:pt x="3" y="89"/>
                      <a:pt x="3" y="89"/>
                      <a:pt x="2" y="88"/>
                    </a:cubicBezTo>
                    <a:cubicBezTo>
                      <a:pt x="2" y="87"/>
                      <a:pt x="2" y="87"/>
                      <a:pt x="2" y="86"/>
                    </a:cubicBezTo>
                    <a:cubicBezTo>
                      <a:pt x="1" y="86"/>
                      <a:pt x="1" y="85"/>
                      <a:pt x="1" y="84"/>
                    </a:cubicBezTo>
                    <a:cubicBezTo>
                      <a:pt x="1" y="84"/>
                      <a:pt x="0" y="83"/>
                      <a:pt x="0" y="82"/>
                    </a:cubicBezTo>
                    <a:cubicBezTo>
                      <a:pt x="0" y="82"/>
                      <a:pt x="0" y="82"/>
                      <a:pt x="0" y="82"/>
                    </a:cubicBezTo>
                    <a:cubicBezTo>
                      <a:pt x="0" y="81"/>
                      <a:pt x="0" y="81"/>
                      <a:pt x="1" y="81"/>
                    </a:cubicBezTo>
                    <a:cubicBezTo>
                      <a:pt x="1" y="81"/>
                      <a:pt x="1" y="80"/>
                      <a:pt x="1" y="80"/>
                    </a:cubicBezTo>
                    <a:cubicBezTo>
                      <a:pt x="1" y="80"/>
                      <a:pt x="1" y="80"/>
                      <a:pt x="2" y="80"/>
                    </a:cubicBezTo>
                    <a:cubicBezTo>
                      <a:pt x="2" y="80"/>
                      <a:pt x="1" y="79"/>
                      <a:pt x="1" y="78"/>
                    </a:cubicBezTo>
                    <a:cubicBezTo>
                      <a:pt x="2" y="77"/>
                      <a:pt x="2" y="77"/>
                      <a:pt x="1" y="76"/>
                    </a:cubicBezTo>
                    <a:cubicBezTo>
                      <a:pt x="1" y="75"/>
                      <a:pt x="2" y="75"/>
                      <a:pt x="2" y="74"/>
                    </a:cubicBezTo>
                    <a:cubicBezTo>
                      <a:pt x="2" y="74"/>
                      <a:pt x="1" y="73"/>
                      <a:pt x="2" y="72"/>
                    </a:cubicBezTo>
                    <a:cubicBezTo>
                      <a:pt x="2" y="72"/>
                      <a:pt x="2" y="71"/>
                      <a:pt x="3" y="71"/>
                    </a:cubicBezTo>
                    <a:cubicBezTo>
                      <a:pt x="3" y="71"/>
                      <a:pt x="3" y="70"/>
                      <a:pt x="3" y="70"/>
                    </a:cubicBezTo>
                    <a:cubicBezTo>
                      <a:pt x="3" y="70"/>
                      <a:pt x="3" y="70"/>
                      <a:pt x="3" y="70"/>
                    </a:cubicBezTo>
                    <a:cubicBezTo>
                      <a:pt x="4" y="70"/>
                      <a:pt x="4" y="69"/>
                      <a:pt x="4" y="69"/>
                    </a:cubicBezTo>
                    <a:cubicBezTo>
                      <a:pt x="4" y="69"/>
                      <a:pt x="4" y="68"/>
                      <a:pt x="4" y="68"/>
                    </a:cubicBezTo>
                    <a:cubicBezTo>
                      <a:pt x="5" y="67"/>
                      <a:pt x="5" y="68"/>
                      <a:pt x="5" y="67"/>
                    </a:cubicBezTo>
                    <a:cubicBezTo>
                      <a:pt x="5" y="66"/>
                      <a:pt x="5" y="66"/>
                      <a:pt x="5" y="65"/>
                    </a:cubicBezTo>
                    <a:cubicBezTo>
                      <a:pt x="5" y="65"/>
                      <a:pt x="5" y="64"/>
                      <a:pt x="5" y="64"/>
                    </a:cubicBezTo>
                    <a:cubicBezTo>
                      <a:pt x="6" y="63"/>
                      <a:pt x="6" y="63"/>
                      <a:pt x="6" y="63"/>
                    </a:cubicBezTo>
                    <a:cubicBezTo>
                      <a:pt x="6" y="63"/>
                      <a:pt x="6" y="62"/>
                      <a:pt x="6" y="62"/>
                    </a:cubicBezTo>
                    <a:cubicBezTo>
                      <a:pt x="6" y="62"/>
                      <a:pt x="6" y="61"/>
                      <a:pt x="6" y="61"/>
                    </a:cubicBezTo>
                    <a:cubicBezTo>
                      <a:pt x="7" y="60"/>
                      <a:pt x="6" y="58"/>
                      <a:pt x="7" y="58"/>
                    </a:cubicBezTo>
                    <a:cubicBezTo>
                      <a:pt x="8" y="58"/>
                      <a:pt x="9" y="59"/>
                      <a:pt x="9" y="58"/>
                    </a:cubicBezTo>
                    <a:cubicBezTo>
                      <a:pt x="9" y="58"/>
                      <a:pt x="10" y="58"/>
                      <a:pt x="10" y="58"/>
                    </a:cubicBezTo>
                    <a:cubicBezTo>
                      <a:pt x="11" y="58"/>
                      <a:pt x="11" y="57"/>
                      <a:pt x="11" y="57"/>
                    </a:cubicBezTo>
                    <a:cubicBezTo>
                      <a:pt x="11" y="56"/>
                      <a:pt x="11" y="56"/>
                      <a:pt x="10" y="55"/>
                    </a:cubicBezTo>
                    <a:cubicBezTo>
                      <a:pt x="9" y="53"/>
                      <a:pt x="8" y="52"/>
                      <a:pt x="8" y="51"/>
                    </a:cubicBezTo>
                    <a:cubicBezTo>
                      <a:pt x="7" y="50"/>
                      <a:pt x="8" y="49"/>
                      <a:pt x="9" y="48"/>
                    </a:cubicBezTo>
                    <a:cubicBezTo>
                      <a:pt x="9" y="47"/>
                      <a:pt x="8" y="46"/>
                      <a:pt x="8" y="45"/>
                    </a:cubicBezTo>
                    <a:cubicBezTo>
                      <a:pt x="7" y="43"/>
                      <a:pt x="6" y="41"/>
                      <a:pt x="6" y="39"/>
                    </a:cubicBezTo>
                    <a:cubicBezTo>
                      <a:pt x="6" y="38"/>
                      <a:pt x="6" y="37"/>
                      <a:pt x="7" y="37"/>
                    </a:cubicBezTo>
                    <a:cubicBezTo>
                      <a:pt x="8" y="36"/>
                      <a:pt x="7" y="35"/>
                      <a:pt x="7" y="35"/>
                    </a:cubicBezTo>
                    <a:cubicBezTo>
                      <a:pt x="6" y="34"/>
                      <a:pt x="6" y="34"/>
                      <a:pt x="6" y="34"/>
                    </a:cubicBezTo>
                    <a:cubicBezTo>
                      <a:pt x="5" y="33"/>
                      <a:pt x="5" y="33"/>
                      <a:pt x="5" y="32"/>
                    </a:cubicBezTo>
                    <a:cubicBezTo>
                      <a:pt x="5" y="32"/>
                      <a:pt x="5" y="31"/>
                      <a:pt x="5" y="31"/>
                    </a:cubicBezTo>
                    <a:cubicBezTo>
                      <a:pt x="6" y="30"/>
                      <a:pt x="6" y="31"/>
                      <a:pt x="6" y="31"/>
                    </a:cubicBezTo>
                    <a:cubicBezTo>
                      <a:pt x="6" y="31"/>
                      <a:pt x="6" y="30"/>
                      <a:pt x="6" y="29"/>
                    </a:cubicBezTo>
                    <a:cubicBezTo>
                      <a:pt x="7" y="29"/>
                      <a:pt x="7" y="28"/>
                      <a:pt x="8" y="28"/>
                    </a:cubicBezTo>
                    <a:cubicBezTo>
                      <a:pt x="10" y="27"/>
                      <a:pt x="12" y="26"/>
                      <a:pt x="14" y="25"/>
                    </a:cubicBezTo>
                    <a:cubicBezTo>
                      <a:pt x="15" y="24"/>
                      <a:pt x="15" y="24"/>
                      <a:pt x="16" y="23"/>
                    </a:cubicBezTo>
                    <a:cubicBezTo>
                      <a:pt x="16" y="22"/>
                      <a:pt x="16" y="21"/>
                      <a:pt x="16" y="19"/>
                    </a:cubicBezTo>
                    <a:cubicBezTo>
                      <a:pt x="16" y="18"/>
                      <a:pt x="16" y="17"/>
                      <a:pt x="17" y="16"/>
                    </a:cubicBezTo>
                    <a:cubicBezTo>
                      <a:pt x="17" y="15"/>
                      <a:pt x="17" y="13"/>
                      <a:pt x="17" y="13"/>
                    </a:cubicBezTo>
                    <a:cubicBezTo>
                      <a:pt x="16" y="12"/>
                      <a:pt x="14" y="11"/>
                      <a:pt x="16" y="10"/>
                    </a:cubicBezTo>
                    <a:cubicBezTo>
                      <a:pt x="16" y="9"/>
                      <a:pt x="17" y="9"/>
                      <a:pt x="16" y="9"/>
                    </a:cubicBezTo>
                    <a:cubicBezTo>
                      <a:pt x="16" y="8"/>
                      <a:pt x="16" y="8"/>
                      <a:pt x="16" y="8"/>
                    </a:cubicBezTo>
                    <a:cubicBezTo>
                      <a:pt x="17" y="7"/>
                      <a:pt x="18" y="7"/>
                      <a:pt x="18" y="7"/>
                    </a:cubicBezTo>
                    <a:cubicBezTo>
                      <a:pt x="19" y="6"/>
                      <a:pt x="18" y="5"/>
                      <a:pt x="19" y="4"/>
                    </a:cubicBezTo>
                    <a:cubicBezTo>
                      <a:pt x="20" y="4"/>
                      <a:pt x="21" y="4"/>
                      <a:pt x="22" y="4"/>
                    </a:cubicBezTo>
                    <a:cubicBezTo>
                      <a:pt x="23" y="3"/>
                      <a:pt x="22" y="1"/>
                      <a:pt x="23" y="0"/>
                    </a:cubicBezTo>
                    <a:cubicBezTo>
                      <a:pt x="24" y="0"/>
                      <a:pt x="24" y="0"/>
                      <a:pt x="25" y="1"/>
                    </a:cubicBezTo>
                    <a:cubicBezTo>
                      <a:pt x="25" y="1"/>
                      <a:pt x="26" y="1"/>
                      <a:pt x="26" y="2"/>
                    </a:cubicBezTo>
                    <a:cubicBezTo>
                      <a:pt x="27" y="2"/>
                      <a:pt x="27" y="3"/>
                      <a:pt x="28" y="3"/>
                    </a:cubicBezTo>
                    <a:cubicBezTo>
                      <a:pt x="29" y="3"/>
                      <a:pt x="29" y="3"/>
                      <a:pt x="30" y="3"/>
                    </a:cubicBezTo>
                    <a:cubicBezTo>
                      <a:pt x="32" y="3"/>
                      <a:pt x="33" y="3"/>
                      <a:pt x="35" y="3"/>
                    </a:cubicBezTo>
                    <a:cubicBezTo>
                      <a:pt x="36" y="3"/>
                      <a:pt x="39" y="4"/>
                      <a:pt x="40" y="5"/>
                    </a:cubicBezTo>
                    <a:cubicBezTo>
                      <a:pt x="40" y="5"/>
                      <a:pt x="39" y="5"/>
                      <a:pt x="39" y="6"/>
                    </a:cubicBezTo>
                    <a:cubicBezTo>
                      <a:pt x="39" y="6"/>
                      <a:pt x="40" y="6"/>
                      <a:pt x="40" y="6"/>
                    </a:cubicBezTo>
                    <a:cubicBezTo>
                      <a:pt x="40" y="7"/>
                      <a:pt x="41" y="8"/>
                      <a:pt x="41" y="8"/>
                    </a:cubicBezTo>
                    <a:cubicBezTo>
                      <a:pt x="41" y="9"/>
                      <a:pt x="41" y="9"/>
                      <a:pt x="42" y="10"/>
                    </a:cubicBezTo>
                    <a:cubicBezTo>
                      <a:pt x="42" y="10"/>
                      <a:pt x="42" y="11"/>
                      <a:pt x="42" y="11"/>
                    </a:cubicBezTo>
                    <a:cubicBezTo>
                      <a:pt x="43" y="12"/>
                      <a:pt x="43" y="10"/>
                      <a:pt x="43" y="9"/>
                    </a:cubicBezTo>
                    <a:cubicBezTo>
                      <a:pt x="42" y="9"/>
                      <a:pt x="43" y="8"/>
                      <a:pt x="43" y="7"/>
                    </a:cubicBezTo>
                    <a:cubicBezTo>
                      <a:pt x="44" y="6"/>
                      <a:pt x="44" y="5"/>
                      <a:pt x="44" y="5"/>
                    </a:cubicBezTo>
                    <a:cubicBezTo>
                      <a:pt x="45" y="3"/>
                      <a:pt x="44" y="2"/>
                      <a:pt x="46" y="2"/>
                    </a:cubicBezTo>
                    <a:cubicBezTo>
                      <a:pt x="48" y="2"/>
                      <a:pt x="51" y="2"/>
                      <a:pt x="53" y="2"/>
                    </a:cubicBezTo>
                    <a:cubicBezTo>
                      <a:pt x="54" y="2"/>
                      <a:pt x="54" y="2"/>
                      <a:pt x="55" y="2"/>
                    </a:cubicBezTo>
                    <a:cubicBezTo>
                      <a:pt x="56" y="2"/>
                      <a:pt x="56" y="2"/>
                      <a:pt x="56" y="3"/>
                    </a:cubicBezTo>
                    <a:cubicBezTo>
                      <a:pt x="56" y="3"/>
                      <a:pt x="56" y="4"/>
                      <a:pt x="57" y="4"/>
                    </a:cubicBezTo>
                    <a:cubicBezTo>
                      <a:pt x="57" y="4"/>
                      <a:pt x="57" y="5"/>
                      <a:pt x="58" y="6"/>
                    </a:cubicBezTo>
                    <a:cubicBezTo>
                      <a:pt x="58" y="6"/>
                      <a:pt x="59" y="6"/>
                      <a:pt x="59" y="6"/>
                    </a:cubicBezTo>
                    <a:cubicBezTo>
                      <a:pt x="60" y="6"/>
                      <a:pt x="60" y="7"/>
                      <a:pt x="61" y="7"/>
                    </a:cubicBezTo>
                    <a:cubicBezTo>
                      <a:pt x="61" y="7"/>
                      <a:pt x="62" y="7"/>
                      <a:pt x="62" y="8"/>
                    </a:cubicBezTo>
                    <a:cubicBezTo>
                      <a:pt x="62" y="9"/>
                      <a:pt x="62" y="9"/>
                      <a:pt x="62" y="10"/>
                    </a:cubicBezTo>
                    <a:cubicBezTo>
                      <a:pt x="63" y="10"/>
                      <a:pt x="63" y="11"/>
                      <a:pt x="64" y="11"/>
                    </a:cubicBezTo>
                    <a:cubicBezTo>
                      <a:pt x="64" y="12"/>
                      <a:pt x="64" y="13"/>
                      <a:pt x="65" y="13"/>
                    </a:cubicBezTo>
                    <a:cubicBezTo>
                      <a:pt x="65" y="14"/>
                      <a:pt x="66" y="14"/>
                      <a:pt x="66" y="14"/>
                    </a:cubicBezTo>
                    <a:cubicBezTo>
                      <a:pt x="67" y="15"/>
                      <a:pt x="67" y="15"/>
                      <a:pt x="67" y="15"/>
                    </a:cubicBezTo>
                    <a:cubicBezTo>
                      <a:pt x="67" y="15"/>
                      <a:pt x="67" y="16"/>
                      <a:pt x="68" y="16"/>
                    </a:cubicBezTo>
                    <a:cubicBezTo>
                      <a:pt x="68" y="16"/>
                      <a:pt x="69" y="16"/>
                      <a:pt x="69" y="16"/>
                    </a:cubicBezTo>
                    <a:cubicBezTo>
                      <a:pt x="69" y="17"/>
                      <a:pt x="70" y="17"/>
                      <a:pt x="70" y="17"/>
                    </a:cubicBezTo>
                    <a:cubicBezTo>
                      <a:pt x="70" y="18"/>
                      <a:pt x="71" y="18"/>
                      <a:pt x="72" y="19"/>
                    </a:cubicBezTo>
                    <a:cubicBezTo>
                      <a:pt x="72" y="19"/>
                      <a:pt x="73" y="19"/>
                      <a:pt x="73" y="19"/>
                    </a:cubicBezTo>
                    <a:cubicBezTo>
                      <a:pt x="74" y="20"/>
                      <a:pt x="74" y="21"/>
                      <a:pt x="75" y="21"/>
                    </a:cubicBezTo>
                    <a:cubicBezTo>
                      <a:pt x="75" y="21"/>
                      <a:pt x="75" y="22"/>
                      <a:pt x="76" y="22"/>
                    </a:cubicBezTo>
                    <a:cubicBezTo>
                      <a:pt x="76" y="22"/>
                      <a:pt x="77" y="23"/>
                      <a:pt x="77" y="23"/>
                    </a:cubicBezTo>
                    <a:cubicBezTo>
                      <a:pt x="78" y="23"/>
                      <a:pt x="79" y="23"/>
                      <a:pt x="79" y="23"/>
                    </a:cubicBezTo>
                    <a:cubicBezTo>
                      <a:pt x="79" y="23"/>
                      <a:pt x="79" y="23"/>
                      <a:pt x="80" y="24"/>
                    </a:cubicBezTo>
                    <a:cubicBezTo>
                      <a:pt x="80" y="24"/>
                      <a:pt x="80" y="24"/>
                      <a:pt x="80" y="24"/>
                    </a:cubicBezTo>
                    <a:cubicBezTo>
                      <a:pt x="81" y="24"/>
                      <a:pt x="82" y="24"/>
                      <a:pt x="83" y="24"/>
                    </a:cubicBezTo>
                    <a:cubicBezTo>
                      <a:pt x="84" y="25"/>
                      <a:pt x="84" y="24"/>
                      <a:pt x="85" y="24"/>
                    </a:cubicBezTo>
                    <a:cubicBezTo>
                      <a:pt x="86" y="25"/>
                      <a:pt x="86" y="25"/>
                      <a:pt x="87" y="26"/>
                    </a:cubicBezTo>
                    <a:cubicBezTo>
                      <a:pt x="88" y="27"/>
                      <a:pt x="90" y="28"/>
                      <a:pt x="91" y="29"/>
                    </a:cubicBezTo>
                    <a:cubicBezTo>
                      <a:pt x="92" y="30"/>
                      <a:pt x="94" y="30"/>
                      <a:pt x="95" y="31"/>
                    </a:cubicBezTo>
                    <a:cubicBezTo>
                      <a:pt x="96" y="32"/>
                      <a:pt x="97" y="33"/>
                      <a:pt x="98" y="33"/>
                    </a:cubicBezTo>
                    <a:cubicBezTo>
                      <a:pt x="98" y="33"/>
                      <a:pt x="99" y="33"/>
                      <a:pt x="99" y="33"/>
                    </a:cubicBezTo>
                    <a:cubicBezTo>
                      <a:pt x="100" y="33"/>
                      <a:pt x="101" y="33"/>
                      <a:pt x="101" y="34"/>
                    </a:cubicBezTo>
                    <a:cubicBezTo>
                      <a:pt x="102" y="34"/>
                      <a:pt x="102" y="35"/>
                      <a:pt x="103" y="35"/>
                    </a:cubicBezTo>
                    <a:cubicBezTo>
                      <a:pt x="103" y="34"/>
                      <a:pt x="104" y="35"/>
                      <a:pt x="104" y="35"/>
                    </a:cubicBezTo>
                    <a:cubicBezTo>
                      <a:pt x="105" y="36"/>
                      <a:pt x="106" y="36"/>
                      <a:pt x="106" y="36"/>
                    </a:cubicBezTo>
                    <a:cubicBezTo>
                      <a:pt x="108" y="36"/>
                      <a:pt x="108" y="38"/>
                      <a:pt x="109" y="39"/>
                    </a:cubicBezTo>
                    <a:cubicBezTo>
                      <a:pt x="110" y="40"/>
                      <a:pt x="110" y="40"/>
                      <a:pt x="110" y="40"/>
                    </a:cubicBezTo>
                    <a:cubicBezTo>
                      <a:pt x="110" y="41"/>
                      <a:pt x="110" y="42"/>
                      <a:pt x="109" y="42"/>
                    </a:cubicBezTo>
                    <a:cubicBezTo>
                      <a:pt x="109" y="42"/>
                      <a:pt x="109" y="42"/>
                      <a:pt x="109" y="42"/>
                    </a:cubicBezTo>
                    <a:cubicBezTo>
                      <a:pt x="108" y="43"/>
                      <a:pt x="109" y="43"/>
                      <a:pt x="108" y="43"/>
                    </a:cubicBezTo>
                    <a:cubicBezTo>
                      <a:pt x="108" y="44"/>
                      <a:pt x="108" y="44"/>
                      <a:pt x="108" y="45"/>
                    </a:cubicBezTo>
                    <a:cubicBezTo>
                      <a:pt x="107" y="45"/>
                      <a:pt x="108" y="45"/>
                      <a:pt x="108" y="45"/>
                    </a:cubicBezTo>
                    <a:cubicBezTo>
                      <a:pt x="107" y="46"/>
                      <a:pt x="108" y="46"/>
                      <a:pt x="108" y="46"/>
                    </a:cubicBezTo>
                    <a:cubicBezTo>
                      <a:pt x="107" y="47"/>
                      <a:pt x="107" y="47"/>
                      <a:pt x="106" y="47"/>
                    </a:cubicBezTo>
                    <a:cubicBezTo>
                      <a:pt x="106" y="48"/>
                      <a:pt x="106" y="48"/>
                      <a:pt x="106" y="48"/>
                    </a:cubicBezTo>
                    <a:cubicBezTo>
                      <a:pt x="106" y="48"/>
                      <a:pt x="106" y="49"/>
                      <a:pt x="106" y="49"/>
                    </a:cubicBezTo>
                    <a:cubicBezTo>
                      <a:pt x="106" y="49"/>
                      <a:pt x="105" y="49"/>
                      <a:pt x="106" y="50"/>
                    </a:cubicBezTo>
                    <a:cubicBezTo>
                      <a:pt x="106" y="50"/>
                      <a:pt x="105" y="50"/>
                      <a:pt x="105" y="51"/>
                    </a:cubicBezTo>
                    <a:cubicBezTo>
                      <a:pt x="106" y="51"/>
                      <a:pt x="105" y="52"/>
                      <a:pt x="106" y="52"/>
                    </a:cubicBezTo>
                    <a:cubicBezTo>
                      <a:pt x="106" y="52"/>
                      <a:pt x="106" y="53"/>
                      <a:pt x="106" y="53"/>
                    </a:cubicBezTo>
                    <a:cubicBezTo>
                      <a:pt x="105" y="53"/>
                      <a:pt x="106" y="55"/>
                      <a:pt x="105" y="55"/>
                    </a:cubicBezTo>
                    <a:cubicBezTo>
                      <a:pt x="105" y="55"/>
                      <a:pt x="104" y="55"/>
                      <a:pt x="105" y="55"/>
                    </a:cubicBezTo>
                    <a:cubicBezTo>
                      <a:pt x="105" y="56"/>
                      <a:pt x="105" y="56"/>
                      <a:pt x="104" y="56"/>
                    </a:cubicBezTo>
                    <a:cubicBezTo>
                      <a:pt x="104" y="56"/>
                      <a:pt x="104" y="56"/>
                      <a:pt x="104" y="57"/>
                    </a:cubicBezTo>
                    <a:cubicBezTo>
                      <a:pt x="104" y="57"/>
                      <a:pt x="104" y="58"/>
                      <a:pt x="103" y="58"/>
                    </a:cubicBezTo>
                    <a:cubicBezTo>
                      <a:pt x="103" y="58"/>
                      <a:pt x="103" y="58"/>
                      <a:pt x="103" y="58"/>
                    </a:cubicBezTo>
                    <a:cubicBezTo>
                      <a:pt x="103" y="58"/>
                      <a:pt x="103" y="58"/>
                      <a:pt x="103" y="58"/>
                    </a:cubicBezTo>
                    <a:cubicBezTo>
                      <a:pt x="103" y="58"/>
                      <a:pt x="103" y="58"/>
                      <a:pt x="102" y="59"/>
                    </a:cubicBezTo>
                    <a:cubicBezTo>
                      <a:pt x="102" y="59"/>
                      <a:pt x="103" y="60"/>
                      <a:pt x="103" y="60"/>
                    </a:cubicBezTo>
                    <a:cubicBezTo>
                      <a:pt x="105" y="60"/>
                      <a:pt x="106" y="60"/>
                      <a:pt x="108" y="60"/>
                    </a:cubicBezTo>
                    <a:cubicBezTo>
                      <a:pt x="109" y="60"/>
                      <a:pt x="110" y="60"/>
                      <a:pt x="111" y="60"/>
                    </a:cubicBezTo>
                    <a:cubicBezTo>
                      <a:pt x="111" y="60"/>
                      <a:pt x="112" y="61"/>
                      <a:pt x="113" y="61"/>
                    </a:cubicBezTo>
                    <a:cubicBezTo>
                      <a:pt x="114" y="61"/>
                      <a:pt x="114" y="61"/>
                      <a:pt x="115" y="62"/>
                    </a:cubicBezTo>
                    <a:cubicBezTo>
                      <a:pt x="116" y="62"/>
                      <a:pt x="117" y="62"/>
                      <a:pt x="118" y="62"/>
                    </a:cubicBezTo>
                    <a:cubicBezTo>
                      <a:pt x="118" y="62"/>
                      <a:pt x="119" y="61"/>
                      <a:pt x="119" y="62"/>
                    </a:cubicBezTo>
                    <a:cubicBezTo>
                      <a:pt x="120" y="62"/>
                      <a:pt x="121" y="63"/>
                      <a:pt x="121" y="62"/>
                    </a:cubicBezTo>
                    <a:cubicBezTo>
                      <a:pt x="121" y="62"/>
                      <a:pt x="122" y="62"/>
                      <a:pt x="123" y="62"/>
                    </a:cubicBezTo>
                    <a:cubicBezTo>
                      <a:pt x="123" y="62"/>
                      <a:pt x="124" y="63"/>
                      <a:pt x="124" y="63"/>
                    </a:cubicBezTo>
                    <a:cubicBezTo>
                      <a:pt x="125" y="64"/>
                      <a:pt x="125" y="61"/>
                      <a:pt x="126" y="61"/>
                    </a:cubicBezTo>
                    <a:cubicBezTo>
                      <a:pt x="126" y="61"/>
                      <a:pt x="126" y="60"/>
                      <a:pt x="127" y="60"/>
                    </a:cubicBezTo>
                    <a:cubicBezTo>
                      <a:pt x="127" y="60"/>
                      <a:pt x="128" y="60"/>
                      <a:pt x="129" y="61"/>
                    </a:cubicBezTo>
                    <a:cubicBezTo>
                      <a:pt x="129" y="61"/>
                      <a:pt x="129" y="62"/>
                      <a:pt x="130" y="62"/>
                    </a:cubicBezTo>
                    <a:cubicBezTo>
                      <a:pt x="131" y="62"/>
                      <a:pt x="131" y="61"/>
                      <a:pt x="131" y="60"/>
                    </a:cubicBezTo>
                    <a:cubicBezTo>
                      <a:pt x="132" y="60"/>
                      <a:pt x="131" y="59"/>
                      <a:pt x="131" y="59"/>
                    </a:cubicBezTo>
                    <a:cubicBezTo>
                      <a:pt x="131" y="59"/>
                      <a:pt x="131" y="59"/>
                      <a:pt x="131" y="58"/>
                    </a:cubicBezTo>
                    <a:cubicBezTo>
                      <a:pt x="132" y="58"/>
                      <a:pt x="132" y="58"/>
                      <a:pt x="132" y="58"/>
                    </a:cubicBezTo>
                    <a:cubicBezTo>
                      <a:pt x="132" y="58"/>
                      <a:pt x="132" y="57"/>
                      <a:pt x="133" y="57"/>
                    </a:cubicBezTo>
                    <a:cubicBezTo>
                      <a:pt x="133" y="56"/>
                      <a:pt x="134" y="56"/>
                      <a:pt x="134" y="56"/>
                    </a:cubicBezTo>
                    <a:cubicBezTo>
                      <a:pt x="135" y="57"/>
                      <a:pt x="135" y="57"/>
                      <a:pt x="135" y="56"/>
                    </a:cubicBezTo>
                    <a:cubicBezTo>
                      <a:pt x="135" y="55"/>
                      <a:pt x="136" y="55"/>
                      <a:pt x="136" y="55"/>
                    </a:cubicBezTo>
                    <a:cubicBezTo>
                      <a:pt x="137" y="54"/>
                      <a:pt x="136" y="54"/>
                      <a:pt x="137" y="53"/>
                    </a:cubicBezTo>
                    <a:cubicBezTo>
                      <a:pt x="138" y="53"/>
                      <a:pt x="138" y="53"/>
                      <a:pt x="138" y="52"/>
                    </a:cubicBezTo>
                    <a:cubicBezTo>
                      <a:pt x="138" y="51"/>
                      <a:pt x="138" y="52"/>
                      <a:pt x="138" y="51"/>
                    </a:cubicBezTo>
                    <a:cubicBezTo>
                      <a:pt x="139" y="50"/>
                      <a:pt x="138" y="49"/>
                      <a:pt x="138" y="49"/>
                    </a:cubicBezTo>
                    <a:cubicBezTo>
                      <a:pt x="139" y="48"/>
                      <a:pt x="138" y="47"/>
                      <a:pt x="138" y="47"/>
                    </a:cubicBezTo>
                    <a:cubicBezTo>
                      <a:pt x="138" y="46"/>
                      <a:pt x="138" y="46"/>
                      <a:pt x="138" y="46"/>
                    </a:cubicBezTo>
                    <a:cubicBezTo>
                      <a:pt x="139" y="46"/>
                      <a:pt x="138" y="44"/>
                      <a:pt x="138" y="44"/>
                    </a:cubicBezTo>
                    <a:cubicBezTo>
                      <a:pt x="138" y="44"/>
                      <a:pt x="138" y="43"/>
                      <a:pt x="138" y="42"/>
                    </a:cubicBezTo>
                    <a:cubicBezTo>
                      <a:pt x="138" y="42"/>
                      <a:pt x="138" y="42"/>
                      <a:pt x="138" y="42"/>
                    </a:cubicBezTo>
                    <a:cubicBezTo>
                      <a:pt x="138" y="42"/>
                      <a:pt x="138" y="41"/>
                      <a:pt x="138" y="41"/>
                    </a:cubicBezTo>
                    <a:cubicBezTo>
                      <a:pt x="138" y="41"/>
                      <a:pt x="140" y="42"/>
                      <a:pt x="140" y="42"/>
                    </a:cubicBezTo>
                    <a:cubicBezTo>
                      <a:pt x="140" y="42"/>
                      <a:pt x="140" y="41"/>
                      <a:pt x="141" y="41"/>
                    </a:cubicBezTo>
                    <a:cubicBezTo>
                      <a:pt x="141" y="41"/>
                      <a:pt x="141" y="41"/>
                      <a:pt x="141" y="41"/>
                    </a:cubicBezTo>
                    <a:cubicBezTo>
                      <a:pt x="141" y="41"/>
                      <a:pt x="142" y="41"/>
                      <a:pt x="142" y="41"/>
                    </a:cubicBezTo>
                    <a:cubicBezTo>
                      <a:pt x="142" y="41"/>
                      <a:pt x="142" y="41"/>
                      <a:pt x="142" y="41"/>
                    </a:cubicBezTo>
                    <a:cubicBezTo>
                      <a:pt x="142" y="41"/>
                      <a:pt x="142" y="40"/>
                      <a:pt x="143" y="40"/>
                    </a:cubicBezTo>
                    <a:cubicBezTo>
                      <a:pt x="143" y="41"/>
                      <a:pt x="142" y="41"/>
                      <a:pt x="143" y="41"/>
                    </a:cubicBezTo>
                    <a:cubicBezTo>
                      <a:pt x="143" y="41"/>
                      <a:pt x="143" y="41"/>
                      <a:pt x="144" y="41"/>
                    </a:cubicBezTo>
                    <a:cubicBezTo>
                      <a:pt x="144" y="41"/>
                      <a:pt x="144" y="42"/>
                      <a:pt x="145" y="42"/>
                    </a:cubicBezTo>
                    <a:cubicBezTo>
                      <a:pt x="145" y="42"/>
                      <a:pt x="145" y="42"/>
                      <a:pt x="145" y="43"/>
                    </a:cubicBezTo>
                    <a:cubicBezTo>
                      <a:pt x="145" y="43"/>
                      <a:pt x="145" y="43"/>
                      <a:pt x="146" y="44"/>
                    </a:cubicBezTo>
                    <a:cubicBezTo>
                      <a:pt x="146" y="44"/>
                      <a:pt x="146" y="45"/>
                      <a:pt x="146" y="45"/>
                    </a:cubicBezTo>
                    <a:cubicBezTo>
                      <a:pt x="146" y="46"/>
                      <a:pt x="147" y="46"/>
                      <a:pt x="147" y="46"/>
                    </a:cubicBezTo>
                    <a:cubicBezTo>
                      <a:pt x="147" y="47"/>
                      <a:pt x="147" y="47"/>
                      <a:pt x="148" y="48"/>
                    </a:cubicBezTo>
                    <a:cubicBezTo>
                      <a:pt x="148" y="49"/>
                      <a:pt x="148" y="50"/>
                      <a:pt x="148" y="51"/>
                    </a:cubicBezTo>
                    <a:cubicBezTo>
                      <a:pt x="148" y="51"/>
                      <a:pt x="148" y="52"/>
                      <a:pt x="148" y="52"/>
                    </a:cubicBezTo>
                    <a:cubicBezTo>
                      <a:pt x="148" y="53"/>
                      <a:pt x="148" y="53"/>
                      <a:pt x="148" y="53"/>
                    </a:cubicBezTo>
                    <a:cubicBezTo>
                      <a:pt x="148" y="53"/>
                      <a:pt x="148" y="54"/>
                      <a:pt x="148" y="54"/>
                    </a:cubicBezTo>
                    <a:cubicBezTo>
                      <a:pt x="148" y="55"/>
                      <a:pt x="148" y="55"/>
                      <a:pt x="148" y="56"/>
                    </a:cubicBezTo>
                    <a:cubicBezTo>
                      <a:pt x="148" y="57"/>
                      <a:pt x="148" y="57"/>
                      <a:pt x="148" y="57"/>
                    </a:cubicBezTo>
                    <a:close/>
                    <a:moveTo>
                      <a:pt x="136" y="357"/>
                    </a:moveTo>
                    <a:cubicBezTo>
                      <a:pt x="137" y="356"/>
                      <a:pt x="136" y="356"/>
                      <a:pt x="135" y="356"/>
                    </a:cubicBezTo>
                    <a:cubicBezTo>
                      <a:pt x="134" y="356"/>
                      <a:pt x="133" y="357"/>
                      <a:pt x="132" y="357"/>
                    </a:cubicBezTo>
                    <a:cubicBezTo>
                      <a:pt x="130" y="356"/>
                      <a:pt x="129" y="356"/>
                      <a:pt x="127" y="355"/>
                    </a:cubicBezTo>
                    <a:cubicBezTo>
                      <a:pt x="125" y="355"/>
                      <a:pt x="123" y="353"/>
                      <a:pt x="120" y="352"/>
                    </a:cubicBezTo>
                    <a:cubicBezTo>
                      <a:pt x="119" y="351"/>
                      <a:pt x="117" y="351"/>
                      <a:pt x="115" y="350"/>
                    </a:cubicBezTo>
                    <a:cubicBezTo>
                      <a:pt x="114" y="350"/>
                      <a:pt x="113" y="349"/>
                      <a:pt x="113" y="348"/>
                    </a:cubicBezTo>
                    <a:cubicBezTo>
                      <a:pt x="112" y="348"/>
                      <a:pt x="112" y="348"/>
                      <a:pt x="111" y="347"/>
                    </a:cubicBezTo>
                    <a:cubicBezTo>
                      <a:pt x="111" y="347"/>
                      <a:pt x="110" y="347"/>
                      <a:pt x="110" y="346"/>
                    </a:cubicBezTo>
                    <a:cubicBezTo>
                      <a:pt x="109" y="346"/>
                      <a:pt x="108" y="345"/>
                      <a:pt x="107" y="344"/>
                    </a:cubicBezTo>
                    <a:cubicBezTo>
                      <a:pt x="106" y="343"/>
                      <a:pt x="105" y="342"/>
                      <a:pt x="104" y="342"/>
                    </a:cubicBezTo>
                    <a:cubicBezTo>
                      <a:pt x="103" y="343"/>
                      <a:pt x="102" y="342"/>
                      <a:pt x="101" y="341"/>
                    </a:cubicBezTo>
                    <a:cubicBezTo>
                      <a:pt x="101" y="341"/>
                      <a:pt x="102" y="339"/>
                      <a:pt x="102" y="339"/>
                    </a:cubicBezTo>
                    <a:cubicBezTo>
                      <a:pt x="103" y="339"/>
                      <a:pt x="103" y="340"/>
                      <a:pt x="104" y="341"/>
                    </a:cubicBezTo>
                    <a:cubicBezTo>
                      <a:pt x="103" y="338"/>
                      <a:pt x="100" y="337"/>
                      <a:pt x="98" y="336"/>
                    </a:cubicBezTo>
                    <a:cubicBezTo>
                      <a:pt x="100" y="340"/>
                      <a:pt x="103" y="345"/>
                      <a:pt x="105" y="350"/>
                    </a:cubicBezTo>
                    <a:cubicBezTo>
                      <a:pt x="106" y="352"/>
                      <a:pt x="107" y="355"/>
                      <a:pt x="108" y="357"/>
                    </a:cubicBezTo>
                    <a:cubicBezTo>
                      <a:pt x="109" y="358"/>
                      <a:pt x="109" y="359"/>
                      <a:pt x="110" y="359"/>
                    </a:cubicBezTo>
                    <a:cubicBezTo>
                      <a:pt x="110" y="359"/>
                      <a:pt x="112" y="359"/>
                      <a:pt x="112" y="358"/>
                    </a:cubicBezTo>
                    <a:cubicBezTo>
                      <a:pt x="112" y="358"/>
                      <a:pt x="112" y="358"/>
                      <a:pt x="112" y="358"/>
                    </a:cubicBezTo>
                    <a:cubicBezTo>
                      <a:pt x="114" y="359"/>
                      <a:pt x="116" y="359"/>
                      <a:pt x="118" y="359"/>
                    </a:cubicBezTo>
                    <a:cubicBezTo>
                      <a:pt x="120" y="359"/>
                      <a:pt x="123" y="359"/>
                      <a:pt x="125" y="360"/>
                    </a:cubicBezTo>
                    <a:cubicBezTo>
                      <a:pt x="126" y="360"/>
                      <a:pt x="127" y="361"/>
                      <a:pt x="128" y="361"/>
                    </a:cubicBezTo>
                    <a:cubicBezTo>
                      <a:pt x="128" y="361"/>
                      <a:pt x="128" y="360"/>
                      <a:pt x="128" y="360"/>
                    </a:cubicBezTo>
                    <a:cubicBezTo>
                      <a:pt x="129" y="360"/>
                      <a:pt x="129" y="360"/>
                      <a:pt x="129" y="360"/>
                    </a:cubicBezTo>
                    <a:cubicBezTo>
                      <a:pt x="129" y="360"/>
                      <a:pt x="132" y="360"/>
                      <a:pt x="131" y="359"/>
                    </a:cubicBezTo>
                    <a:cubicBezTo>
                      <a:pt x="132" y="359"/>
                      <a:pt x="132" y="359"/>
                      <a:pt x="133" y="359"/>
                    </a:cubicBezTo>
                    <a:cubicBezTo>
                      <a:pt x="133" y="359"/>
                      <a:pt x="133" y="360"/>
                      <a:pt x="134" y="360"/>
                    </a:cubicBezTo>
                    <a:cubicBezTo>
                      <a:pt x="134" y="360"/>
                      <a:pt x="134" y="359"/>
                      <a:pt x="135" y="359"/>
                    </a:cubicBezTo>
                    <a:cubicBezTo>
                      <a:pt x="135" y="360"/>
                      <a:pt x="135" y="359"/>
                      <a:pt x="135" y="359"/>
                    </a:cubicBezTo>
                    <a:cubicBezTo>
                      <a:pt x="135" y="359"/>
                      <a:pt x="136" y="359"/>
                      <a:pt x="136" y="359"/>
                    </a:cubicBezTo>
                    <a:cubicBezTo>
                      <a:pt x="137" y="359"/>
                      <a:pt x="136" y="359"/>
                      <a:pt x="136" y="359"/>
                    </a:cubicBezTo>
                    <a:cubicBezTo>
                      <a:pt x="136" y="359"/>
                      <a:pt x="136" y="359"/>
                      <a:pt x="137" y="358"/>
                    </a:cubicBezTo>
                    <a:cubicBezTo>
                      <a:pt x="137" y="358"/>
                      <a:pt x="136" y="357"/>
                      <a:pt x="136" y="357"/>
                    </a:cubicBezTo>
                    <a:close/>
                    <a:moveTo>
                      <a:pt x="147" y="357"/>
                    </a:moveTo>
                    <a:cubicBezTo>
                      <a:pt x="146" y="357"/>
                      <a:pt x="146" y="358"/>
                      <a:pt x="145" y="357"/>
                    </a:cubicBezTo>
                    <a:cubicBezTo>
                      <a:pt x="145" y="358"/>
                      <a:pt x="144" y="357"/>
                      <a:pt x="144" y="357"/>
                    </a:cubicBezTo>
                    <a:cubicBezTo>
                      <a:pt x="143" y="357"/>
                      <a:pt x="143" y="358"/>
                      <a:pt x="143" y="358"/>
                    </a:cubicBezTo>
                    <a:cubicBezTo>
                      <a:pt x="143" y="358"/>
                      <a:pt x="142" y="357"/>
                      <a:pt x="142" y="357"/>
                    </a:cubicBezTo>
                    <a:cubicBezTo>
                      <a:pt x="142" y="357"/>
                      <a:pt x="142" y="358"/>
                      <a:pt x="142" y="358"/>
                    </a:cubicBezTo>
                    <a:cubicBezTo>
                      <a:pt x="142" y="358"/>
                      <a:pt x="142" y="358"/>
                      <a:pt x="141" y="358"/>
                    </a:cubicBezTo>
                    <a:cubicBezTo>
                      <a:pt x="141" y="358"/>
                      <a:pt x="141" y="358"/>
                      <a:pt x="141" y="358"/>
                    </a:cubicBezTo>
                    <a:cubicBezTo>
                      <a:pt x="141" y="359"/>
                      <a:pt x="141" y="358"/>
                      <a:pt x="141" y="359"/>
                    </a:cubicBezTo>
                    <a:cubicBezTo>
                      <a:pt x="141" y="359"/>
                      <a:pt x="142" y="359"/>
                      <a:pt x="142" y="359"/>
                    </a:cubicBezTo>
                    <a:cubicBezTo>
                      <a:pt x="142" y="359"/>
                      <a:pt x="142" y="359"/>
                      <a:pt x="143" y="359"/>
                    </a:cubicBezTo>
                    <a:cubicBezTo>
                      <a:pt x="143" y="358"/>
                      <a:pt x="143" y="359"/>
                      <a:pt x="144" y="358"/>
                    </a:cubicBezTo>
                    <a:cubicBezTo>
                      <a:pt x="144" y="357"/>
                      <a:pt x="144" y="359"/>
                      <a:pt x="145" y="358"/>
                    </a:cubicBezTo>
                    <a:cubicBezTo>
                      <a:pt x="145" y="358"/>
                      <a:pt x="146" y="357"/>
                      <a:pt x="147" y="358"/>
                    </a:cubicBezTo>
                    <a:cubicBezTo>
                      <a:pt x="147" y="359"/>
                      <a:pt x="148" y="358"/>
                      <a:pt x="148" y="357"/>
                    </a:cubicBezTo>
                    <a:cubicBezTo>
                      <a:pt x="148" y="357"/>
                      <a:pt x="147" y="357"/>
                      <a:pt x="147" y="357"/>
                    </a:cubicBezTo>
                    <a:close/>
                    <a:moveTo>
                      <a:pt x="101" y="190"/>
                    </a:moveTo>
                    <a:cubicBezTo>
                      <a:pt x="101" y="190"/>
                      <a:pt x="100" y="190"/>
                      <a:pt x="100" y="190"/>
                    </a:cubicBezTo>
                    <a:cubicBezTo>
                      <a:pt x="99" y="190"/>
                      <a:pt x="100" y="191"/>
                      <a:pt x="100" y="191"/>
                    </a:cubicBezTo>
                    <a:cubicBezTo>
                      <a:pt x="101" y="191"/>
                      <a:pt x="101" y="191"/>
                      <a:pt x="102" y="191"/>
                    </a:cubicBezTo>
                    <a:cubicBezTo>
                      <a:pt x="102" y="191"/>
                      <a:pt x="102" y="190"/>
                      <a:pt x="101" y="190"/>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89" name="Antigua and Barbuda">
                <a:extLst>
                  <a:ext uri="{FF2B5EF4-FFF2-40B4-BE49-F238E27FC236}">
                    <a16:creationId xmlns:a16="http://schemas.microsoft.com/office/drawing/2014/main" id="{042C5E34-B916-7024-4B85-A6DC5DDE1E75}"/>
                  </a:ext>
                </a:extLst>
              </p:cNvPr>
              <p:cNvSpPr>
                <a:spLocks noEditPoints="1"/>
              </p:cNvSpPr>
              <p:nvPr/>
            </p:nvSpPr>
            <p:spPr bwMode="auto">
              <a:xfrm>
                <a:off x="3601095" y="3352353"/>
                <a:ext cx="6860" cy="32346"/>
              </a:xfrm>
              <a:custGeom>
                <a:avLst/>
                <a:gdLst/>
                <a:ahLst/>
                <a:cxnLst>
                  <a:cxn ang="0">
                    <a:pos x="2" y="2"/>
                  </a:cxn>
                  <a:cxn ang="0">
                    <a:pos x="1" y="1"/>
                  </a:cxn>
                  <a:cxn ang="0">
                    <a:pos x="1" y="2"/>
                  </a:cxn>
                  <a:cxn ang="0">
                    <a:pos x="1" y="1"/>
                  </a:cxn>
                  <a:cxn ang="0">
                    <a:pos x="1" y="1"/>
                  </a:cxn>
                  <a:cxn ang="0">
                    <a:pos x="1" y="1"/>
                  </a:cxn>
                  <a:cxn ang="0">
                    <a:pos x="2" y="2"/>
                  </a:cxn>
                  <a:cxn ang="0">
                    <a:pos x="2" y="7"/>
                  </a:cxn>
                  <a:cxn ang="0">
                    <a:pos x="1" y="7"/>
                  </a:cxn>
                  <a:cxn ang="0">
                    <a:pos x="1" y="7"/>
                  </a:cxn>
                  <a:cxn ang="0">
                    <a:pos x="1" y="7"/>
                  </a:cxn>
                  <a:cxn ang="0">
                    <a:pos x="0" y="7"/>
                  </a:cxn>
                  <a:cxn ang="0">
                    <a:pos x="0" y="8"/>
                  </a:cxn>
                  <a:cxn ang="0">
                    <a:pos x="0" y="8"/>
                  </a:cxn>
                  <a:cxn ang="0">
                    <a:pos x="1" y="9"/>
                  </a:cxn>
                  <a:cxn ang="0">
                    <a:pos x="2" y="8"/>
                  </a:cxn>
                  <a:cxn ang="0">
                    <a:pos x="2" y="7"/>
                  </a:cxn>
                </a:cxnLst>
                <a:rect l="0" t="0" r="r" b="b"/>
                <a:pathLst>
                  <a:path w="2" h="9">
                    <a:moveTo>
                      <a:pt x="2" y="2"/>
                    </a:moveTo>
                    <a:cubicBezTo>
                      <a:pt x="1" y="2"/>
                      <a:pt x="0" y="2"/>
                      <a:pt x="1" y="1"/>
                    </a:cubicBezTo>
                    <a:cubicBezTo>
                      <a:pt x="1" y="1"/>
                      <a:pt x="1" y="1"/>
                      <a:pt x="1" y="2"/>
                    </a:cubicBezTo>
                    <a:cubicBezTo>
                      <a:pt x="1" y="1"/>
                      <a:pt x="1" y="1"/>
                      <a:pt x="1" y="1"/>
                    </a:cubicBezTo>
                    <a:cubicBezTo>
                      <a:pt x="1" y="0"/>
                      <a:pt x="1" y="0"/>
                      <a:pt x="1" y="1"/>
                    </a:cubicBezTo>
                    <a:cubicBezTo>
                      <a:pt x="1" y="1"/>
                      <a:pt x="1" y="1"/>
                      <a:pt x="1" y="1"/>
                    </a:cubicBezTo>
                    <a:cubicBezTo>
                      <a:pt x="2" y="1"/>
                      <a:pt x="2" y="2"/>
                      <a:pt x="2" y="2"/>
                    </a:cubicBezTo>
                    <a:close/>
                    <a:moveTo>
                      <a:pt x="2" y="7"/>
                    </a:moveTo>
                    <a:cubicBezTo>
                      <a:pt x="2" y="7"/>
                      <a:pt x="1" y="7"/>
                      <a:pt x="1" y="7"/>
                    </a:cubicBezTo>
                    <a:cubicBezTo>
                      <a:pt x="1" y="7"/>
                      <a:pt x="1" y="7"/>
                      <a:pt x="1" y="7"/>
                    </a:cubicBezTo>
                    <a:cubicBezTo>
                      <a:pt x="1" y="7"/>
                      <a:pt x="1" y="7"/>
                      <a:pt x="1" y="7"/>
                    </a:cubicBezTo>
                    <a:cubicBezTo>
                      <a:pt x="0" y="6"/>
                      <a:pt x="0" y="7"/>
                      <a:pt x="0" y="7"/>
                    </a:cubicBezTo>
                    <a:cubicBezTo>
                      <a:pt x="0" y="7"/>
                      <a:pt x="0" y="8"/>
                      <a:pt x="0" y="8"/>
                    </a:cubicBezTo>
                    <a:cubicBezTo>
                      <a:pt x="0" y="8"/>
                      <a:pt x="0" y="8"/>
                      <a:pt x="0" y="8"/>
                    </a:cubicBezTo>
                    <a:cubicBezTo>
                      <a:pt x="1" y="8"/>
                      <a:pt x="1" y="8"/>
                      <a:pt x="1" y="9"/>
                    </a:cubicBezTo>
                    <a:cubicBezTo>
                      <a:pt x="1" y="8"/>
                      <a:pt x="2" y="8"/>
                      <a:pt x="2" y="8"/>
                    </a:cubicBezTo>
                    <a:cubicBezTo>
                      <a:pt x="2" y="8"/>
                      <a:pt x="2" y="8"/>
                      <a:pt x="2" y="7"/>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0" name="Anguilla (British overseas territory)">
                <a:extLst>
                  <a:ext uri="{FF2B5EF4-FFF2-40B4-BE49-F238E27FC236}">
                    <a16:creationId xmlns:a16="http://schemas.microsoft.com/office/drawing/2014/main" id="{61F56B70-000B-E4C1-6E59-9DD89BD4FA3E}"/>
                  </a:ext>
                </a:extLst>
              </p:cNvPr>
              <p:cNvSpPr>
                <a:spLocks/>
              </p:cNvSpPr>
              <p:nvPr/>
            </p:nvSpPr>
            <p:spPr bwMode="auto">
              <a:xfrm>
                <a:off x="3561886" y="3331772"/>
                <a:ext cx="7842" cy="6860"/>
              </a:xfrm>
              <a:custGeom>
                <a:avLst/>
                <a:gdLst/>
                <a:ahLst/>
                <a:cxnLst>
                  <a:cxn ang="0">
                    <a:pos x="1" y="1"/>
                  </a:cxn>
                  <a:cxn ang="0">
                    <a:pos x="0" y="2"/>
                  </a:cxn>
                  <a:cxn ang="0">
                    <a:pos x="2" y="1"/>
                  </a:cxn>
                  <a:cxn ang="0">
                    <a:pos x="1" y="1"/>
                  </a:cxn>
                </a:cxnLst>
                <a:rect l="0" t="0" r="r" b="b"/>
                <a:pathLst>
                  <a:path w="2" h="2">
                    <a:moveTo>
                      <a:pt x="1" y="1"/>
                    </a:moveTo>
                    <a:cubicBezTo>
                      <a:pt x="0" y="1"/>
                      <a:pt x="0" y="2"/>
                      <a:pt x="0" y="2"/>
                    </a:cubicBezTo>
                    <a:cubicBezTo>
                      <a:pt x="0" y="2"/>
                      <a:pt x="2" y="1"/>
                      <a:pt x="2" y="1"/>
                    </a:cubicBezTo>
                    <a:cubicBezTo>
                      <a:pt x="2" y="0"/>
                      <a:pt x="1" y="1"/>
                      <a:pt x="1"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1" name="Angola">
                <a:extLst>
                  <a:ext uri="{FF2B5EF4-FFF2-40B4-BE49-F238E27FC236}">
                    <a16:creationId xmlns:a16="http://schemas.microsoft.com/office/drawing/2014/main" id="{AFF2719A-31C6-989F-852B-A74E14BD4085}"/>
                  </a:ext>
                </a:extLst>
              </p:cNvPr>
              <p:cNvSpPr>
                <a:spLocks noEditPoints="1"/>
              </p:cNvSpPr>
              <p:nvPr/>
            </p:nvSpPr>
            <p:spPr bwMode="auto">
              <a:xfrm>
                <a:off x="6097570" y="4213920"/>
                <a:ext cx="421470" cy="535170"/>
              </a:xfrm>
              <a:custGeom>
                <a:avLst/>
                <a:gdLst/>
                <a:ahLst/>
                <a:cxnLst>
                  <a:cxn ang="0">
                    <a:pos x="9" y="6"/>
                  </a:cxn>
                  <a:cxn ang="0">
                    <a:pos x="8" y="9"/>
                  </a:cxn>
                  <a:cxn ang="0">
                    <a:pos x="4" y="14"/>
                  </a:cxn>
                  <a:cxn ang="0">
                    <a:pos x="4" y="7"/>
                  </a:cxn>
                  <a:cxn ang="0">
                    <a:pos x="6" y="5"/>
                  </a:cxn>
                  <a:cxn ang="0">
                    <a:pos x="10" y="0"/>
                  </a:cxn>
                  <a:cxn ang="0">
                    <a:pos x="119" y="76"/>
                  </a:cxn>
                  <a:cxn ang="0">
                    <a:pos x="115" y="73"/>
                  </a:cxn>
                  <a:cxn ang="0">
                    <a:pos x="107" y="74"/>
                  </a:cxn>
                  <a:cxn ang="0">
                    <a:pos x="102" y="75"/>
                  </a:cxn>
                  <a:cxn ang="0">
                    <a:pos x="102" y="68"/>
                  </a:cxn>
                  <a:cxn ang="0">
                    <a:pos x="100" y="60"/>
                  </a:cxn>
                  <a:cxn ang="0">
                    <a:pos x="98" y="50"/>
                  </a:cxn>
                  <a:cxn ang="0">
                    <a:pos x="97" y="40"/>
                  </a:cxn>
                  <a:cxn ang="0">
                    <a:pos x="93" y="32"/>
                  </a:cxn>
                  <a:cxn ang="0">
                    <a:pos x="84" y="28"/>
                  </a:cxn>
                  <a:cxn ang="0">
                    <a:pos x="75" y="32"/>
                  </a:cxn>
                  <a:cxn ang="0">
                    <a:pos x="74" y="37"/>
                  </a:cxn>
                  <a:cxn ang="0">
                    <a:pos x="68" y="40"/>
                  </a:cxn>
                  <a:cxn ang="0">
                    <a:pos x="62" y="41"/>
                  </a:cxn>
                  <a:cxn ang="0">
                    <a:pos x="56" y="40"/>
                  </a:cxn>
                  <a:cxn ang="0">
                    <a:pos x="53" y="35"/>
                  </a:cxn>
                  <a:cxn ang="0">
                    <a:pos x="51" y="28"/>
                  </a:cxn>
                  <a:cxn ang="0">
                    <a:pos x="48" y="21"/>
                  </a:cxn>
                  <a:cxn ang="0">
                    <a:pos x="43" y="17"/>
                  </a:cxn>
                  <a:cxn ang="0">
                    <a:pos x="22" y="17"/>
                  </a:cxn>
                  <a:cxn ang="0">
                    <a:pos x="16" y="17"/>
                  </a:cxn>
                  <a:cxn ang="0">
                    <a:pos x="9" y="18"/>
                  </a:cxn>
                  <a:cxn ang="0">
                    <a:pos x="7" y="24"/>
                  </a:cxn>
                  <a:cxn ang="0">
                    <a:pos x="12" y="35"/>
                  </a:cxn>
                  <a:cxn ang="0">
                    <a:pos x="16" y="48"/>
                  </a:cxn>
                  <a:cxn ang="0">
                    <a:pos x="14" y="50"/>
                  </a:cxn>
                  <a:cxn ang="0">
                    <a:pos x="13" y="54"/>
                  </a:cxn>
                  <a:cxn ang="0">
                    <a:pos x="16" y="61"/>
                  </a:cxn>
                  <a:cxn ang="0">
                    <a:pos x="18" y="67"/>
                  </a:cxn>
                  <a:cxn ang="0">
                    <a:pos x="20" y="83"/>
                  </a:cxn>
                  <a:cxn ang="0">
                    <a:pos x="16" y="90"/>
                  </a:cxn>
                  <a:cxn ang="0">
                    <a:pos x="14" y="91"/>
                  </a:cxn>
                  <a:cxn ang="0">
                    <a:pos x="10" y="97"/>
                  </a:cxn>
                  <a:cxn ang="0">
                    <a:pos x="7" y="105"/>
                  </a:cxn>
                  <a:cxn ang="0">
                    <a:pos x="5" y="112"/>
                  </a:cxn>
                  <a:cxn ang="0">
                    <a:pos x="3" y="122"/>
                  </a:cxn>
                  <a:cxn ang="0">
                    <a:pos x="1" y="128"/>
                  </a:cxn>
                  <a:cxn ang="0">
                    <a:pos x="1" y="137"/>
                  </a:cxn>
                  <a:cxn ang="0">
                    <a:pos x="5" y="142"/>
                  </a:cxn>
                  <a:cxn ang="0">
                    <a:pos x="13" y="139"/>
                  </a:cxn>
                  <a:cxn ang="0">
                    <a:pos x="19" y="142"/>
                  </a:cxn>
                  <a:cxn ang="0">
                    <a:pos x="25" y="143"/>
                  </a:cxn>
                  <a:cxn ang="0">
                    <a:pos x="64" y="143"/>
                  </a:cxn>
                  <a:cxn ang="0">
                    <a:pos x="71" y="148"/>
                  </a:cxn>
                  <a:cxn ang="0">
                    <a:pos x="84" y="149"/>
                  </a:cxn>
                  <a:cxn ang="0">
                    <a:pos x="91" y="149"/>
                  </a:cxn>
                  <a:cxn ang="0">
                    <a:pos x="112" y="146"/>
                  </a:cxn>
                  <a:cxn ang="0">
                    <a:pos x="100" y="134"/>
                  </a:cxn>
                  <a:cxn ang="0">
                    <a:pos x="99" y="99"/>
                  </a:cxn>
                  <a:cxn ang="0">
                    <a:pos x="114" y="95"/>
                  </a:cxn>
                  <a:cxn ang="0">
                    <a:pos x="119" y="89"/>
                  </a:cxn>
                  <a:cxn ang="0">
                    <a:pos x="118" y="80"/>
                  </a:cxn>
                  <a:cxn ang="0">
                    <a:pos x="14" y="50"/>
                  </a:cxn>
                  <a:cxn ang="0">
                    <a:pos x="13" y="51"/>
                  </a:cxn>
                </a:cxnLst>
                <a:rect l="0" t="0" r="r" b="b"/>
                <a:pathLst>
                  <a:path w="119" h="151">
                    <a:moveTo>
                      <a:pt x="13" y="4"/>
                    </a:moveTo>
                    <a:cubicBezTo>
                      <a:pt x="13" y="4"/>
                      <a:pt x="12" y="4"/>
                      <a:pt x="11" y="4"/>
                    </a:cubicBezTo>
                    <a:cubicBezTo>
                      <a:pt x="10" y="4"/>
                      <a:pt x="10" y="6"/>
                      <a:pt x="10" y="6"/>
                    </a:cubicBezTo>
                    <a:cubicBezTo>
                      <a:pt x="10" y="6"/>
                      <a:pt x="9" y="6"/>
                      <a:pt x="9" y="6"/>
                    </a:cubicBezTo>
                    <a:cubicBezTo>
                      <a:pt x="9" y="7"/>
                      <a:pt x="9" y="7"/>
                      <a:pt x="9" y="7"/>
                    </a:cubicBezTo>
                    <a:cubicBezTo>
                      <a:pt x="8" y="7"/>
                      <a:pt x="7" y="8"/>
                      <a:pt x="7" y="8"/>
                    </a:cubicBezTo>
                    <a:cubicBezTo>
                      <a:pt x="7" y="8"/>
                      <a:pt x="8" y="8"/>
                      <a:pt x="8" y="9"/>
                    </a:cubicBezTo>
                    <a:cubicBezTo>
                      <a:pt x="8" y="9"/>
                      <a:pt x="8" y="9"/>
                      <a:pt x="8" y="9"/>
                    </a:cubicBezTo>
                    <a:cubicBezTo>
                      <a:pt x="8" y="10"/>
                      <a:pt x="8" y="11"/>
                      <a:pt x="8" y="12"/>
                    </a:cubicBezTo>
                    <a:cubicBezTo>
                      <a:pt x="8" y="13"/>
                      <a:pt x="8" y="14"/>
                      <a:pt x="8" y="15"/>
                    </a:cubicBezTo>
                    <a:cubicBezTo>
                      <a:pt x="8" y="16"/>
                      <a:pt x="6" y="15"/>
                      <a:pt x="5" y="16"/>
                    </a:cubicBezTo>
                    <a:cubicBezTo>
                      <a:pt x="5" y="15"/>
                      <a:pt x="4" y="14"/>
                      <a:pt x="4" y="14"/>
                    </a:cubicBezTo>
                    <a:cubicBezTo>
                      <a:pt x="5" y="13"/>
                      <a:pt x="5" y="13"/>
                      <a:pt x="5" y="12"/>
                    </a:cubicBezTo>
                    <a:cubicBezTo>
                      <a:pt x="5" y="11"/>
                      <a:pt x="5" y="11"/>
                      <a:pt x="4" y="10"/>
                    </a:cubicBezTo>
                    <a:cubicBezTo>
                      <a:pt x="4" y="9"/>
                      <a:pt x="3" y="8"/>
                      <a:pt x="3" y="8"/>
                    </a:cubicBezTo>
                    <a:cubicBezTo>
                      <a:pt x="3" y="8"/>
                      <a:pt x="4" y="8"/>
                      <a:pt x="4" y="7"/>
                    </a:cubicBezTo>
                    <a:cubicBezTo>
                      <a:pt x="4" y="7"/>
                      <a:pt x="3" y="7"/>
                      <a:pt x="3" y="7"/>
                    </a:cubicBezTo>
                    <a:cubicBezTo>
                      <a:pt x="4" y="7"/>
                      <a:pt x="4" y="6"/>
                      <a:pt x="4" y="6"/>
                    </a:cubicBezTo>
                    <a:cubicBezTo>
                      <a:pt x="5" y="6"/>
                      <a:pt x="5" y="5"/>
                      <a:pt x="5" y="5"/>
                    </a:cubicBezTo>
                    <a:cubicBezTo>
                      <a:pt x="5" y="5"/>
                      <a:pt x="6" y="5"/>
                      <a:pt x="6" y="5"/>
                    </a:cubicBezTo>
                    <a:cubicBezTo>
                      <a:pt x="6" y="5"/>
                      <a:pt x="6" y="4"/>
                      <a:pt x="7" y="4"/>
                    </a:cubicBezTo>
                    <a:cubicBezTo>
                      <a:pt x="7" y="4"/>
                      <a:pt x="7" y="3"/>
                      <a:pt x="7" y="3"/>
                    </a:cubicBezTo>
                    <a:cubicBezTo>
                      <a:pt x="8" y="3"/>
                      <a:pt x="8" y="3"/>
                      <a:pt x="9" y="2"/>
                    </a:cubicBezTo>
                    <a:cubicBezTo>
                      <a:pt x="9" y="2"/>
                      <a:pt x="10" y="1"/>
                      <a:pt x="10" y="0"/>
                    </a:cubicBezTo>
                    <a:cubicBezTo>
                      <a:pt x="11" y="1"/>
                      <a:pt x="11" y="1"/>
                      <a:pt x="12" y="1"/>
                    </a:cubicBezTo>
                    <a:cubicBezTo>
                      <a:pt x="12" y="2"/>
                      <a:pt x="12" y="2"/>
                      <a:pt x="13" y="3"/>
                    </a:cubicBezTo>
                    <a:cubicBezTo>
                      <a:pt x="13" y="3"/>
                      <a:pt x="14" y="3"/>
                      <a:pt x="13" y="4"/>
                    </a:cubicBezTo>
                    <a:close/>
                    <a:moveTo>
                      <a:pt x="119" y="76"/>
                    </a:moveTo>
                    <a:cubicBezTo>
                      <a:pt x="119" y="75"/>
                      <a:pt x="119" y="75"/>
                      <a:pt x="119" y="74"/>
                    </a:cubicBezTo>
                    <a:cubicBezTo>
                      <a:pt x="119" y="73"/>
                      <a:pt x="118" y="72"/>
                      <a:pt x="119" y="72"/>
                    </a:cubicBezTo>
                    <a:cubicBezTo>
                      <a:pt x="118" y="72"/>
                      <a:pt x="118" y="74"/>
                      <a:pt x="117" y="73"/>
                    </a:cubicBezTo>
                    <a:cubicBezTo>
                      <a:pt x="116" y="73"/>
                      <a:pt x="116" y="73"/>
                      <a:pt x="115" y="73"/>
                    </a:cubicBezTo>
                    <a:cubicBezTo>
                      <a:pt x="115" y="73"/>
                      <a:pt x="114" y="73"/>
                      <a:pt x="114" y="73"/>
                    </a:cubicBezTo>
                    <a:cubicBezTo>
                      <a:pt x="112" y="73"/>
                      <a:pt x="111" y="74"/>
                      <a:pt x="110" y="74"/>
                    </a:cubicBezTo>
                    <a:cubicBezTo>
                      <a:pt x="110" y="74"/>
                      <a:pt x="109" y="74"/>
                      <a:pt x="109" y="74"/>
                    </a:cubicBezTo>
                    <a:cubicBezTo>
                      <a:pt x="108" y="74"/>
                      <a:pt x="108" y="74"/>
                      <a:pt x="107" y="74"/>
                    </a:cubicBezTo>
                    <a:cubicBezTo>
                      <a:pt x="107" y="74"/>
                      <a:pt x="106" y="74"/>
                      <a:pt x="105" y="74"/>
                    </a:cubicBezTo>
                    <a:cubicBezTo>
                      <a:pt x="105" y="74"/>
                      <a:pt x="104" y="73"/>
                      <a:pt x="104" y="74"/>
                    </a:cubicBezTo>
                    <a:cubicBezTo>
                      <a:pt x="104" y="75"/>
                      <a:pt x="103" y="75"/>
                      <a:pt x="102" y="76"/>
                    </a:cubicBezTo>
                    <a:cubicBezTo>
                      <a:pt x="102" y="76"/>
                      <a:pt x="102" y="76"/>
                      <a:pt x="102" y="75"/>
                    </a:cubicBezTo>
                    <a:cubicBezTo>
                      <a:pt x="102" y="74"/>
                      <a:pt x="101" y="73"/>
                      <a:pt x="101" y="72"/>
                    </a:cubicBezTo>
                    <a:cubicBezTo>
                      <a:pt x="101" y="71"/>
                      <a:pt x="101" y="71"/>
                      <a:pt x="102" y="71"/>
                    </a:cubicBezTo>
                    <a:cubicBezTo>
                      <a:pt x="103" y="71"/>
                      <a:pt x="103" y="70"/>
                      <a:pt x="102" y="69"/>
                    </a:cubicBezTo>
                    <a:cubicBezTo>
                      <a:pt x="102" y="69"/>
                      <a:pt x="102" y="68"/>
                      <a:pt x="102" y="68"/>
                    </a:cubicBezTo>
                    <a:cubicBezTo>
                      <a:pt x="102" y="67"/>
                      <a:pt x="102" y="67"/>
                      <a:pt x="102" y="66"/>
                    </a:cubicBezTo>
                    <a:cubicBezTo>
                      <a:pt x="102" y="65"/>
                      <a:pt x="102" y="64"/>
                      <a:pt x="101" y="63"/>
                    </a:cubicBezTo>
                    <a:cubicBezTo>
                      <a:pt x="101" y="63"/>
                      <a:pt x="101" y="62"/>
                      <a:pt x="101" y="61"/>
                    </a:cubicBezTo>
                    <a:cubicBezTo>
                      <a:pt x="101" y="61"/>
                      <a:pt x="100" y="61"/>
                      <a:pt x="100" y="60"/>
                    </a:cubicBezTo>
                    <a:cubicBezTo>
                      <a:pt x="99" y="60"/>
                      <a:pt x="99" y="59"/>
                      <a:pt x="98" y="59"/>
                    </a:cubicBezTo>
                    <a:cubicBezTo>
                      <a:pt x="98" y="58"/>
                      <a:pt x="97" y="56"/>
                      <a:pt x="98" y="55"/>
                    </a:cubicBezTo>
                    <a:cubicBezTo>
                      <a:pt x="98" y="54"/>
                      <a:pt x="98" y="53"/>
                      <a:pt x="98" y="52"/>
                    </a:cubicBezTo>
                    <a:cubicBezTo>
                      <a:pt x="98" y="52"/>
                      <a:pt x="98" y="51"/>
                      <a:pt x="98" y="50"/>
                    </a:cubicBezTo>
                    <a:cubicBezTo>
                      <a:pt x="98" y="48"/>
                      <a:pt x="99" y="46"/>
                      <a:pt x="99" y="45"/>
                    </a:cubicBezTo>
                    <a:cubicBezTo>
                      <a:pt x="99" y="45"/>
                      <a:pt x="99" y="43"/>
                      <a:pt x="99" y="43"/>
                    </a:cubicBezTo>
                    <a:cubicBezTo>
                      <a:pt x="98" y="43"/>
                      <a:pt x="98" y="42"/>
                      <a:pt x="98" y="42"/>
                    </a:cubicBezTo>
                    <a:cubicBezTo>
                      <a:pt x="98" y="41"/>
                      <a:pt x="97" y="40"/>
                      <a:pt x="97" y="40"/>
                    </a:cubicBezTo>
                    <a:cubicBezTo>
                      <a:pt x="97" y="39"/>
                      <a:pt x="97" y="38"/>
                      <a:pt x="98" y="37"/>
                    </a:cubicBezTo>
                    <a:cubicBezTo>
                      <a:pt x="98" y="36"/>
                      <a:pt x="99" y="34"/>
                      <a:pt x="98" y="33"/>
                    </a:cubicBezTo>
                    <a:cubicBezTo>
                      <a:pt x="97" y="32"/>
                      <a:pt x="96" y="32"/>
                      <a:pt x="96" y="32"/>
                    </a:cubicBezTo>
                    <a:cubicBezTo>
                      <a:pt x="95" y="32"/>
                      <a:pt x="94" y="32"/>
                      <a:pt x="93" y="32"/>
                    </a:cubicBezTo>
                    <a:cubicBezTo>
                      <a:pt x="91" y="32"/>
                      <a:pt x="89" y="32"/>
                      <a:pt x="87" y="32"/>
                    </a:cubicBezTo>
                    <a:cubicBezTo>
                      <a:pt x="85" y="32"/>
                      <a:pt x="85" y="31"/>
                      <a:pt x="86" y="30"/>
                    </a:cubicBezTo>
                    <a:cubicBezTo>
                      <a:pt x="86" y="30"/>
                      <a:pt x="87" y="28"/>
                      <a:pt x="86" y="28"/>
                    </a:cubicBezTo>
                    <a:cubicBezTo>
                      <a:pt x="86" y="28"/>
                      <a:pt x="85" y="28"/>
                      <a:pt x="84" y="28"/>
                    </a:cubicBezTo>
                    <a:cubicBezTo>
                      <a:pt x="84" y="28"/>
                      <a:pt x="83" y="28"/>
                      <a:pt x="83" y="29"/>
                    </a:cubicBezTo>
                    <a:cubicBezTo>
                      <a:pt x="83" y="29"/>
                      <a:pt x="82" y="29"/>
                      <a:pt x="82" y="29"/>
                    </a:cubicBezTo>
                    <a:cubicBezTo>
                      <a:pt x="80" y="29"/>
                      <a:pt x="78" y="29"/>
                      <a:pt x="76" y="29"/>
                    </a:cubicBezTo>
                    <a:cubicBezTo>
                      <a:pt x="76" y="30"/>
                      <a:pt x="75" y="31"/>
                      <a:pt x="75" y="32"/>
                    </a:cubicBezTo>
                    <a:cubicBezTo>
                      <a:pt x="75" y="33"/>
                      <a:pt x="76" y="33"/>
                      <a:pt x="76" y="34"/>
                    </a:cubicBezTo>
                    <a:cubicBezTo>
                      <a:pt x="76" y="34"/>
                      <a:pt x="75" y="35"/>
                      <a:pt x="75" y="35"/>
                    </a:cubicBezTo>
                    <a:cubicBezTo>
                      <a:pt x="75" y="36"/>
                      <a:pt x="74" y="35"/>
                      <a:pt x="74" y="36"/>
                    </a:cubicBezTo>
                    <a:cubicBezTo>
                      <a:pt x="74" y="36"/>
                      <a:pt x="74" y="36"/>
                      <a:pt x="74" y="37"/>
                    </a:cubicBezTo>
                    <a:cubicBezTo>
                      <a:pt x="74" y="37"/>
                      <a:pt x="74" y="38"/>
                      <a:pt x="74" y="39"/>
                    </a:cubicBezTo>
                    <a:cubicBezTo>
                      <a:pt x="74" y="39"/>
                      <a:pt x="74" y="40"/>
                      <a:pt x="74" y="40"/>
                    </a:cubicBezTo>
                    <a:cubicBezTo>
                      <a:pt x="73" y="40"/>
                      <a:pt x="71" y="40"/>
                      <a:pt x="69" y="40"/>
                    </a:cubicBezTo>
                    <a:cubicBezTo>
                      <a:pt x="69" y="40"/>
                      <a:pt x="68" y="40"/>
                      <a:pt x="68" y="40"/>
                    </a:cubicBezTo>
                    <a:cubicBezTo>
                      <a:pt x="68" y="39"/>
                      <a:pt x="67" y="39"/>
                      <a:pt x="67" y="39"/>
                    </a:cubicBezTo>
                    <a:cubicBezTo>
                      <a:pt x="67" y="39"/>
                      <a:pt x="66" y="39"/>
                      <a:pt x="66" y="40"/>
                    </a:cubicBezTo>
                    <a:cubicBezTo>
                      <a:pt x="66" y="40"/>
                      <a:pt x="65" y="40"/>
                      <a:pt x="64" y="40"/>
                    </a:cubicBezTo>
                    <a:cubicBezTo>
                      <a:pt x="64" y="40"/>
                      <a:pt x="62" y="40"/>
                      <a:pt x="62" y="41"/>
                    </a:cubicBezTo>
                    <a:cubicBezTo>
                      <a:pt x="61" y="41"/>
                      <a:pt x="61" y="41"/>
                      <a:pt x="60" y="41"/>
                    </a:cubicBezTo>
                    <a:cubicBezTo>
                      <a:pt x="59" y="41"/>
                      <a:pt x="59" y="41"/>
                      <a:pt x="58" y="41"/>
                    </a:cubicBezTo>
                    <a:cubicBezTo>
                      <a:pt x="58" y="41"/>
                      <a:pt x="57" y="41"/>
                      <a:pt x="57" y="41"/>
                    </a:cubicBezTo>
                    <a:cubicBezTo>
                      <a:pt x="56" y="41"/>
                      <a:pt x="57" y="41"/>
                      <a:pt x="56" y="40"/>
                    </a:cubicBezTo>
                    <a:cubicBezTo>
                      <a:pt x="56" y="40"/>
                      <a:pt x="55" y="39"/>
                      <a:pt x="55" y="38"/>
                    </a:cubicBezTo>
                    <a:cubicBezTo>
                      <a:pt x="55" y="38"/>
                      <a:pt x="55" y="38"/>
                      <a:pt x="54" y="37"/>
                    </a:cubicBezTo>
                    <a:cubicBezTo>
                      <a:pt x="54" y="37"/>
                      <a:pt x="54" y="37"/>
                      <a:pt x="54" y="36"/>
                    </a:cubicBezTo>
                    <a:cubicBezTo>
                      <a:pt x="54" y="36"/>
                      <a:pt x="53" y="36"/>
                      <a:pt x="53" y="35"/>
                    </a:cubicBezTo>
                    <a:cubicBezTo>
                      <a:pt x="53" y="34"/>
                      <a:pt x="53" y="34"/>
                      <a:pt x="52" y="34"/>
                    </a:cubicBezTo>
                    <a:cubicBezTo>
                      <a:pt x="52" y="34"/>
                      <a:pt x="52" y="33"/>
                      <a:pt x="52" y="33"/>
                    </a:cubicBezTo>
                    <a:cubicBezTo>
                      <a:pt x="51" y="32"/>
                      <a:pt x="50" y="31"/>
                      <a:pt x="51" y="30"/>
                    </a:cubicBezTo>
                    <a:cubicBezTo>
                      <a:pt x="51" y="29"/>
                      <a:pt x="51" y="29"/>
                      <a:pt x="51" y="28"/>
                    </a:cubicBezTo>
                    <a:cubicBezTo>
                      <a:pt x="51" y="28"/>
                      <a:pt x="50" y="28"/>
                      <a:pt x="50" y="27"/>
                    </a:cubicBezTo>
                    <a:cubicBezTo>
                      <a:pt x="50" y="27"/>
                      <a:pt x="49" y="26"/>
                      <a:pt x="49" y="26"/>
                    </a:cubicBezTo>
                    <a:cubicBezTo>
                      <a:pt x="49" y="25"/>
                      <a:pt x="49" y="24"/>
                      <a:pt x="49" y="24"/>
                    </a:cubicBezTo>
                    <a:cubicBezTo>
                      <a:pt x="48" y="23"/>
                      <a:pt x="48" y="22"/>
                      <a:pt x="48" y="21"/>
                    </a:cubicBezTo>
                    <a:cubicBezTo>
                      <a:pt x="48" y="20"/>
                      <a:pt x="48" y="20"/>
                      <a:pt x="48" y="19"/>
                    </a:cubicBezTo>
                    <a:cubicBezTo>
                      <a:pt x="48" y="19"/>
                      <a:pt x="47" y="18"/>
                      <a:pt x="47" y="18"/>
                    </a:cubicBezTo>
                    <a:cubicBezTo>
                      <a:pt x="48" y="17"/>
                      <a:pt x="46" y="17"/>
                      <a:pt x="45" y="17"/>
                    </a:cubicBezTo>
                    <a:cubicBezTo>
                      <a:pt x="45" y="16"/>
                      <a:pt x="44" y="17"/>
                      <a:pt x="43" y="17"/>
                    </a:cubicBezTo>
                    <a:cubicBezTo>
                      <a:pt x="42" y="17"/>
                      <a:pt x="41" y="17"/>
                      <a:pt x="40" y="17"/>
                    </a:cubicBezTo>
                    <a:cubicBezTo>
                      <a:pt x="37" y="17"/>
                      <a:pt x="33" y="16"/>
                      <a:pt x="29" y="17"/>
                    </a:cubicBezTo>
                    <a:cubicBezTo>
                      <a:pt x="28" y="17"/>
                      <a:pt x="26" y="17"/>
                      <a:pt x="24" y="17"/>
                    </a:cubicBezTo>
                    <a:cubicBezTo>
                      <a:pt x="24" y="17"/>
                      <a:pt x="23" y="17"/>
                      <a:pt x="22" y="17"/>
                    </a:cubicBezTo>
                    <a:cubicBezTo>
                      <a:pt x="22" y="16"/>
                      <a:pt x="21" y="17"/>
                      <a:pt x="20" y="17"/>
                    </a:cubicBezTo>
                    <a:cubicBezTo>
                      <a:pt x="20" y="17"/>
                      <a:pt x="19" y="17"/>
                      <a:pt x="18" y="17"/>
                    </a:cubicBezTo>
                    <a:cubicBezTo>
                      <a:pt x="18" y="17"/>
                      <a:pt x="17" y="17"/>
                      <a:pt x="17" y="17"/>
                    </a:cubicBezTo>
                    <a:cubicBezTo>
                      <a:pt x="17" y="17"/>
                      <a:pt x="16" y="17"/>
                      <a:pt x="16" y="17"/>
                    </a:cubicBezTo>
                    <a:cubicBezTo>
                      <a:pt x="15" y="17"/>
                      <a:pt x="15" y="16"/>
                      <a:pt x="14" y="17"/>
                    </a:cubicBezTo>
                    <a:cubicBezTo>
                      <a:pt x="13" y="17"/>
                      <a:pt x="13" y="17"/>
                      <a:pt x="12" y="17"/>
                    </a:cubicBezTo>
                    <a:cubicBezTo>
                      <a:pt x="12" y="17"/>
                      <a:pt x="12" y="18"/>
                      <a:pt x="11" y="18"/>
                    </a:cubicBezTo>
                    <a:cubicBezTo>
                      <a:pt x="10" y="18"/>
                      <a:pt x="10" y="18"/>
                      <a:pt x="9" y="18"/>
                    </a:cubicBezTo>
                    <a:cubicBezTo>
                      <a:pt x="8" y="19"/>
                      <a:pt x="7" y="19"/>
                      <a:pt x="6" y="19"/>
                    </a:cubicBezTo>
                    <a:cubicBezTo>
                      <a:pt x="6" y="19"/>
                      <a:pt x="5" y="19"/>
                      <a:pt x="6" y="19"/>
                    </a:cubicBezTo>
                    <a:cubicBezTo>
                      <a:pt x="5" y="19"/>
                      <a:pt x="6" y="20"/>
                      <a:pt x="6" y="20"/>
                    </a:cubicBezTo>
                    <a:cubicBezTo>
                      <a:pt x="7" y="21"/>
                      <a:pt x="7" y="23"/>
                      <a:pt x="7" y="24"/>
                    </a:cubicBezTo>
                    <a:cubicBezTo>
                      <a:pt x="8" y="25"/>
                      <a:pt x="8" y="26"/>
                      <a:pt x="9" y="26"/>
                    </a:cubicBezTo>
                    <a:cubicBezTo>
                      <a:pt x="9" y="27"/>
                      <a:pt x="10" y="29"/>
                      <a:pt x="11" y="28"/>
                    </a:cubicBezTo>
                    <a:cubicBezTo>
                      <a:pt x="11" y="29"/>
                      <a:pt x="11" y="31"/>
                      <a:pt x="11" y="32"/>
                    </a:cubicBezTo>
                    <a:cubicBezTo>
                      <a:pt x="12" y="33"/>
                      <a:pt x="12" y="34"/>
                      <a:pt x="12" y="35"/>
                    </a:cubicBezTo>
                    <a:cubicBezTo>
                      <a:pt x="13" y="37"/>
                      <a:pt x="14" y="39"/>
                      <a:pt x="15" y="42"/>
                    </a:cubicBezTo>
                    <a:cubicBezTo>
                      <a:pt x="15" y="43"/>
                      <a:pt x="16" y="43"/>
                      <a:pt x="16" y="44"/>
                    </a:cubicBezTo>
                    <a:cubicBezTo>
                      <a:pt x="16" y="45"/>
                      <a:pt x="16" y="46"/>
                      <a:pt x="16" y="47"/>
                    </a:cubicBezTo>
                    <a:cubicBezTo>
                      <a:pt x="16" y="47"/>
                      <a:pt x="17" y="48"/>
                      <a:pt x="16" y="48"/>
                    </a:cubicBezTo>
                    <a:cubicBezTo>
                      <a:pt x="16" y="49"/>
                      <a:pt x="16" y="48"/>
                      <a:pt x="15" y="49"/>
                    </a:cubicBezTo>
                    <a:cubicBezTo>
                      <a:pt x="15" y="49"/>
                      <a:pt x="15" y="49"/>
                      <a:pt x="14" y="49"/>
                    </a:cubicBezTo>
                    <a:cubicBezTo>
                      <a:pt x="15" y="49"/>
                      <a:pt x="15" y="49"/>
                      <a:pt x="15" y="49"/>
                    </a:cubicBezTo>
                    <a:cubicBezTo>
                      <a:pt x="14" y="49"/>
                      <a:pt x="14" y="50"/>
                      <a:pt x="14" y="50"/>
                    </a:cubicBezTo>
                    <a:cubicBezTo>
                      <a:pt x="14" y="51"/>
                      <a:pt x="13" y="51"/>
                      <a:pt x="13" y="51"/>
                    </a:cubicBezTo>
                    <a:cubicBezTo>
                      <a:pt x="13" y="51"/>
                      <a:pt x="13" y="52"/>
                      <a:pt x="13" y="52"/>
                    </a:cubicBezTo>
                    <a:cubicBezTo>
                      <a:pt x="12" y="52"/>
                      <a:pt x="12" y="52"/>
                      <a:pt x="13" y="51"/>
                    </a:cubicBezTo>
                    <a:cubicBezTo>
                      <a:pt x="12" y="52"/>
                      <a:pt x="13" y="53"/>
                      <a:pt x="13" y="54"/>
                    </a:cubicBezTo>
                    <a:cubicBezTo>
                      <a:pt x="14" y="55"/>
                      <a:pt x="14" y="56"/>
                      <a:pt x="14" y="57"/>
                    </a:cubicBezTo>
                    <a:cubicBezTo>
                      <a:pt x="14" y="58"/>
                      <a:pt x="15" y="58"/>
                      <a:pt x="15" y="59"/>
                    </a:cubicBezTo>
                    <a:cubicBezTo>
                      <a:pt x="14" y="59"/>
                      <a:pt x="14" y="59"/>
                      <a:pt x="14" y="59"/>
                    </a:cubicBezTo>
                    <a:cubicBezTo>
                      <a:pt x="15" y="60"/>
                      <a:pt x="16" y="60"/>
                      <a:pt x="16" y="61"/>
                    </a:cubicBezTo>
                    <a:cubicBezTo>
                      <a:pt x="16" y="62"/>
                      <a:pt x="15" y="62"/>
                      <a:pt x="16" y="62"/>
                    </a:cubicBezTo>
                    <a:cubicBezTo>
                      <a:pt x="16" y="63"/>
                      <a:pt x="16" y="63"/>
                      <a:pt x="16" y="63"/>
                    </a:cubicBezTo>
                    <a:cubicBezTo>
                      <a:pt x="17" y="64"/>
                      <a:pt x="17" y="65"/>
                      <a:pt x="17" y="65"/>
                    </a:cubicBezTo>
                    <a:cubicBezTo>
                      <a:pt x="18" y="66"/>
                      <a:pt x="18" y="67"/>
                      <a:pt x="18" y="67"/>
                    </a:cubicBezTo>
                    <a:cubicBezTo>
                      <a:pt x="19" y="68"/>
                      <a:pt x="20" y="69"/>
                      <a:pt x="20" y="70"/>
                    </a:cubicBezTo>
                    <a:cubicBezTo>
                      <a:pt x="20" y="71"/>
                      <a:pt x="19" y="71"/>
                      <a:pt x="20" y="72"/>
                    </a:cubicBezTo>
                    <a:cubicBezTo>
                      <a:pt x="21" y="73"/>
                      <a:pt x="20" y="75"/>
                      <a:pt x="20" y="77"/>
                    </a:cubicBezTo>
                    <a:cubicBezTo>
                      <a:pt x="20" y="79"/>
                      <a:pt x="20" y="81"/>
                      <a:pt x="20" y="83"/>
                    </a:cubicBezTo>
                    <a:cubicBezTo>
                      <a:pt x="19" y="84"/>
                      <a:pt x="19" y="85"/>
                      <a:pt x="19" y="86"/>
                    </a:cubicBezTo>
                    <a:cubicBezTo>
                      <a:pt x="19" y="87"/>
                      <a:pt x="18" y="88"/>
                      <a:pt x="18" y="88"/>
                    </a:cubicBezTo>
                    <a:cubicBezTo>
                      <a:pt x="18" y="88"/>
                      <a:pt x="18" y="88"/>
                      <a:pt x="18" y="88"/>
                    </a:cubicBezTo>
                    <a:cubicBezTo>
                      <a:pt x="17" y="88"/>
                      <a:pt x="17" y="89"/>
                      <a:pt x="16" y="90"/>
                    </a:cubicBezTo>
                    <a:cubicBezTo>
                      <a:pt x="16" y="90"/>
                      <a:pt x="16" y="91"/>
                      <a:pt x="16" y="91"/>
                    </a:cubicBezTo>
                    <a:cubicBezTo>
                      <a:pt x="15" y="91"/>
                      <a:pt x="15" y="90"/>
                      <a:pt x="15" y="91"/>
                    </a:cubicBezTo>
                    <a:cubicBezTo>
                      <a:pt x="15" y="91"/>
                      <a:pt x="15" y="91"/>
                      <a:pt x="15" y="91"/>
                    </a:cubicBezTo>
                    <a:cubicBezTo>
                      <a:pt x="14" y="91"/>
                      <a:pt x="14" y="91"/>
                      <a:pt x="14" y="91"/>
                    </a:cubicBezTo>
                    <a:cubicBezTo>
                      <a:pt x="14" y="91"/>
                      <a:pt x="13" y="91"/>
                      <a:pt x="13" y="92"/>
                    </a:cubicBezTo>
                    <a:cubicBezTo>
                      <a:pt x="13" y="92"/>
                      <a:pt x="12" y="93"/>
                      <a:pt x="12" y="93"/>
                    </a:cubicBezTo>
                    <a:cubicBezTo>
                      <a:pt x="11" y="94"/>
                      <a:pt x="12" y="95"/>
                      <a:pt x="11" y="95"/>
                    </a:cubicBezTo>
                    <a:cubicBezTo>
                      <a:pt x="11" y="96"/>
                      <a:pt x="10" y="97"/>
                      <a:pt x="10" y="97"/>
                    </a:cubicBezTo>
                    <a:cubicBezTo>
                      <a:pt x="9" y="98"/>
                      <a:pt x="9" y="99"/>
                      <a:pt x="8" y="99"/>
                    </a:cubicBezTo>
                    <a:cubicBezTo>
                      <a:pt x="8" y="100"/>
                      <a:pt x="8" y="100"/>
                      <a:pt x="8" y="101"/>
                    </a:cubicBezTo>
                    <a:cubicBezTo>
                      <a:pt x="8" y="102"/>
                      <a:pt x="8" y="103"/>
                      <a:pt x="8" y="104"/>
                    </a:cubicBezTo>
                    <a:cubicBezTo>
                      <a:pt x="7" y="105"/>
                      <a:pt x="7" y="104"/>
                      <a:pt x="7" y="105"/>
                    </a:cubicBezTo>
                    <a:cubicBezTo>
                      <a:pt x="6" y="105"/>
                      <a:pt x="6" y="106"/>
                      <a:pt x="6" y="106"/>
                    </a:cubicBezTo>
                    <a:cubicBezTo>
                      <a:pt x="6" y="107"/>
                      <a:pt x="6" y="107"/>
                      <a:pt x="6" y="107"/>
                    </a:cubicBezTo>
                    <a:cubicBezTo>
                      <a:pt x="6" y="108"/>
                      <a:pt x="6" y="108"/>
                      <a:pt x="6" y="109"/>
                    </a:cubicBezTo>
                    <a:cubicBezTo>
                      <a:pt x="6" y="110"/>
                      <a:pt x="6" y="111"/>
                      <a:pt x="5" y="112"/>
                    </a:cubicBezTo>
                    <a:cubicBezTo>
                      <a:pt x="5" y="113"/>
                      <a:pt x="5" y="114"/>
                      <a:pt x="5" y="115"/>
                    </a:cubicBezTo>
                    <a:cubicBezTo>
                      <a:pt x="5" y="116"/>
                      <a:pt x="3" y="118"/>
                      <a:pt x="4" y="119"/>
                    </a:cubicBezTo>
                    <a:cubicBezTo>
                      <a:pt x="4" y="119"/>
                      <a:pt x="3" y="119"/>
                      <a:pt x="3" y="120"/>
                    </a:cubicBezTo>
                    <a:cubicBezTo>
                      <a:pt x="3" y="121"/>
                      <a:pt x="3" y="121"/>
                      <a:pt x="3" y="122"/>
                    </a:cubicBezTo>
                    <a:cubicBezTo>
                      <a:pt x="3" y="123"/>
                      <a:pt x="3" y="124"/>
                      <a:pt x="2" y="124"/>
                    </a:cubicBezTo>
                    <a:cubicBezTo>
                      <a:pt x="2" y="124"/>
                      <a:pt x="2" y="125"/>
                      <a:pt x="1" y="126"/>
                    </a:cubicBezTo>
                    <a:cubicBezTo>
                      <a:pt x="1" y="126"/>
                      <a:pt x="0" y="126"/>
                      <a:pt x="0" y="126"/>
                    </a:cubicBezTo>
                    <a:cubicBezTo>
                      <a:pt x="0" y="127"/>
                      <a:pt x="1" y="127"/>
                      <a:pt x="1" y="128"/>
                    </a:cubicBezTo>
                    <a:cubicBezTo>
                      <a:pt x="1" y="129"/>
                      <a:pt x="1" y="129"/>
                      <a:pt x="1" y="130"/>
                    </a:cubicBezTo>
                    <a:cubicBezTo>
                      <a:pt x="1" y="131"/>
                      <a:pt x="1" y="132"/>
                      <a:pt x="1" y="133"/>
                    </a:cubicBezTo>
                    <a:cubicBezTo>
                      <a:pt x="1" y="134"/>
                      <a:pt x="1" y="135"/>
                      <a:pt x="1" y="136"/>
                    </a:cubicBezTo>
                    <a:cubicBezTo>
                      <a:pt x="1" y="136"/>
                      <a:pt x="1" y="137"/>
                      <a:pt x="1" y="137"/>
                    </a:cubicBezTo>
                    <a:cubicBezTo>
                      <a:pt x="0" y="137"/>
                      <a:pt x="0" y="137"/>
                      <a:pt x="0" y="138"/>
                    </a:cubicBezTo>
                    <a:cubicBezTo>
                      <a:pt x="1" y="139"/>
                      <a:pt x="0" y="140"/>
                      <a:pt x="0" y="142"/>
                    </a:cubicBezTo>
                    <a:cubicBezTo>
                      <a:pt x="0" y="143"/>
                      <a:pt x="2" y="141"/>
                      <a:pt x="3" y="141"/>
                    </a:cubicBezTo>
                    <a:cubicBezTo>
                      <a:pt x="4" y="140"/>
                      <a:pt x="4" y="142"/>
                      <a:pt x="5" y="142"/>
                    </a:cubicBezTo>
                    <a:cubicBezTo>
                      <a:pt x="6" y="142"/>
                      <a:pt x="7" y="141"/>
                      <a:pt x="7" y="142"/>
                    </a:cubicBezTo>
                    <a:cubicBezTo>
                      <a:pt x="7" y="142"/>
                      <a:pt x="8" y="142"/>
                      <a:pt x="8" y="142"/>
                    </a:cubicBezTo>
                    <a:cubicBezTo>
                      <a:pt x="10" y="141"/>
                      <a:pt x="11" y="140"/>
                      <a:pt x="12" y="139"/>
                    </a:cubicBezTo>
                    <a:cubicBezTo>
                      <a:pt x="12" y="139"/>
                      <a:pt x="13" y="139"/>
                      <a:pt x="13" y="139"/>
                    </a:cubicBezTo>
                    <a:cubicBezTo>
                      <a:pt x="14" y="139"/>
                      <a:pt x="14" y="139"/>
                      <a:pt x="15" y="139"/>
                    </a:cubicBezTo>
                    <a:cubicBezTo>
                      <a:pt x="15" y="139"/>
                      <a:pt x="16" y="139"/>
                      <a:pt x="16" y="139"/>
                    </a:cubicBezTo>
                    <a:cubicBezTo>
                      <a:pt x="17" y="139"/>
                      <a:pt x="17" y="140"/>
                      <a:pt x="17" y="140"/>
                    </a:cubicBezTo>
                    <a:cubicBezTo>
                      <a:pt x="17" y="141"/>
                      <a:pt x="18" y="141"/>
                      <a:pt x="19" y="142"/>
                    </a:cubicBezTo>
                    <a:cubicBezTo>
                      <a:pt x="19" y="142"/>
                      <a:pt x="20" y="142"/>
                      <a:pt x="21" y="143"/>
                    </a:cubicBezTo>
                    <a:cubicBezTo>
                      <a:pt x="21" y="143"/>
                      <a:pt x="21" y="144"/>
                      <a:pt x="22" y="144"/>
                    </a:cubicBezTo>
                    <a:cubicBezTo>
                      <a:pt x="22" y="144"/>
                      <a:pt x="23" y="144"/>
                      <a:pt x="23" y="144"/>
                    </a:cubicBezTo>
                    <a:cubicBezTo>
                      <a:pt x="24" y="144"/>
                      <a:pt x="24" y="143"/>
                      <a:pt x="25" y="143"/>
                    </a:cubicBezTo>
                    <a:cubicBezTo>
                      <a:pt x="26" y="143"/>
                      <a:pt x="28" y="143"/>
                      <a:pt x="30" y="143"/>
                    </a:cubicBezTo>
                    <a:cubicBezTo>
                      <a:pt x="32" y="143"/>
                      <a:pt x="34" y="143"/>
                      <a:pt x="36" y="143"/>
                    </a:cubicBezTo>
                    <a:cubicBezTo>
                      <a:pt x="44" y="143"/>
                      <a:pt x="53" y="143"/>
                      <a:pt x="61" y="143"/>
                    </a:cubicBezTo>
                    <a:cubicBezTo>
                      <a:pt x="62" y="143"/>
                      <a:pt x="63" y="143"/>
                      <a:pt x="64" y="143"/>
                    </a:cubicBezTo>
                    <a:cubicBezTo>
                      <a:pt x="65" y="144"/>
                      <a:pt x="65" y="145"/>
                      <a:pt x="65" y="145"/>
                    </a:cubicBezTo>
                    <a:cubicBezTo>
                      <a:pt x="66" y="146"/>
                      <a:pt x="66" y="146"/>
                      <a:pt x="67" y="147"/>
                    </a:cubicBezTo>
                    <a:cubicBezTo>
                      <a:pt x="67" y="147"/>
                      <a:pt x="68" y="148"/>
                      <a:pt x="69" y="148"/>
                    </a:cubicBezTo>
                    <a:cubicBezTo>
                      <a:pt x="70" y="148"/>
                      <a:pt x="70" y="148"/>
                      <a:pt x="71" y="148"/>
                    </a:cubicBezTo>
                    <a:cubicBezTo>
                      <a:pt x="73" y="148"/>
                      <a:pt x="74" y="149"/>
                      <a:pt x="76" y="148"/>
                    </a:cubicBezTo>
                    <a:cubicBezTo>
                      <a:pt x="76" y="148"/>
                      <a:pt x="77" y="149"/>
                      <a:pt x="77" y="149"/>
                    </a:cubicBezTo>
                    <a:cubicBezTo>
                      <a:pt x="78" y="148"/>
                      <a:pt x="79" y="149"/>
                      <a:pt x="79" y="149"/>
                    </a:cubicBezTo>
                    <a:cubicBezTo>
                      <a:pt x="81" y="149"/>
                      <a:pt x="83" y="148"/>
                      <a:pt x="84" y="149"/>
                    </a:cubicBezTo>
                    <a:cubicBezTo>
                      <a:pt x="84" y="150"/>
                      <a:pt x="85" y="150"/>
                      <a:pt x="86" y="150"/>
                    </a:cubicBezTo>
                    <a:cubicBezTo>
                      <a:pt x="86" y="150"/>
                      <a:pt x="86" y="150"/>
                      <a:pt x="87" y="150"/>
                    </a:cubicBezTo>
                    <a:cubicBezTo>
                      <a:pt x="87" y="151"/>
                      <a:pt x="88" y="150"/>
                      <a:pt x="88" y="150"/>
                    </a:cubicBezTo>
                    <a:cubicBezTo>
                      <a:pt x="89" y="149"/>
                      <a:pt x="90" y="149"/>
                      <a:pt x="91" y="149"/>
                    </a:cubicBezTo>
                    <a:cubicBezTo>
                      <a:pt x="91" y="150"/>
                      <a:pt x="92" y="150"/>
                      <a:pt x="93" y="150"/>
                    </a:cubicBezTo>
                    <a:cubicBezTo>
                      <a:pt x="93" y="150"/>
                      <a:pt x="94" y="150"/>
                      <a:pt x="95" y="150"/>
                    </a:cubicBezTo>
                    <a:cubicBezTo>
                      <a:pt x="96" y="149"/>
                      <a:pt x="98" y="149"/>
                      <a:pt x="100" y="149"/>
                    </a:cubicBezTo>
                    <a:cubicBezTo>
                      <a:pt x="104" y="148"/>
                      <a:pt x="108" y="147"/>
                      <a:pt x="112" y="146"/>
                    </a:cubicBezTo>
                    <a:cubicBezTo>
                      <a:pt x="112" y="145"/>
                      <a:pt x="111" y="145"/>
                      <a:pt x="110" y="144"/>
                    </a:cubicBezTo>
                    <a:cubicBezTo>
                      <a:pt x="109" y="144"/>
                      <a:pt x="109" y="143"/>
                      <a:pt x="108" y="142"/>
                    </a:cubicBezTo>
                    <a:cubicBezTo>
                      <a:pt x="107" y="141"/>
                      <a:pt x="106" y="140"/>
                      <a:pt x="104" y="138"/>
                    </a:cubicBezTo>
                    <a:cubicBezTo>
                      <a:pt x="103" y="137"/>
                      <a:pt x="101" y="135"/>
                      <a:pt x="100" y="134"/>
                    </a:cubicBezTo>
                    <a:cubicBezTo>
                      <a:pt x="100" y="133"/>
                      <a:pt x="100" y="132"/>
                      <a:pt x="100" y="132"/>
                    </a:cubicBezTo>
                    <a:cubicBezTo>
                      <a:pt x="99" y="131"/>
                      <a:pt x="99" y="130"/>
                      <a:pt x="99" y="130"/>
                    </a:cubicBezTo>
                    <a:cubicBezTo>
                      <a:pt x="99" y="121"/>
                      <a:pt x="99" y="113"/>
                      <a:pt x="99" y="105"/>
                    </a:cubicBezTo>
                    <a:cubicBezTo>
                      <a:pt x="99" y="103"/>
                      <a:pt x="99" y="101"/>
                      <a:pt x="99" y="99"/>
                    </a:cubicBezTo>
                    <a:cubicBezTo>
                      <a:pt x="99" y="98"/>
                      <a:pt x="99" y="95"/>
                      <a:pt x="99" y="95"/>
                    </a:cubicBezTo>
                    <a:cubicBezTo>
                      <a:pt x="100" y="95"/>
                      <a:pt x="102" y="95"/>
                      <a:pt x="102" y="95"/>
                    </a:cubicBezTo>
                    <a:cubicBezTo>
                      <a:pt x="104" y="95"/>
                      <a:pt x="106" y="95"/>
                      <a:pt x="108" y="95"/>
                    </a:cubicBezTo>
                    <a:cubicBezTo>
                      <a:pt x="110" y="95"/>
                      <a:pt x="112" y="95"/>
                      <a:pt x="114" y="95"/>
                    </a:cubicBezTo>
                    <a:cubicBezTo>
                      <a:pt x="116" y="95"/>
                      <a:pt x="117" y="95"/>
                      <a:pt x="118" y="95"/>
                    </a:cubicBezTo>
                    <a:cubicBezTo>
                      <a:pt x="119" y="95"/>
                      <a:pt x="117" y="93"/>
                      <a:pt x="117" y="93"/>
                    </a:cubicBezTo>
                    <a:cubicBezTo>
                      <a:pt x="117" y="92"/>
                      <a:pt x="118" y="91"/>
                      <a:pt x="118" y="90"/>
                    </a:cubicBezTo>
                    <a:cubicBezTo>
                      <a:pt x="118" y="90"/>
                      <a:pt x="119" y="89"/>
                      <a:pt x="119" y="89"/>
                    </a:cubicBezTo>
                    <a:cubicBezTo>
                      <a:pt x="119" y="88"/>
                      <a:pt x="119" y="87"/>
                      <a:pt x="118" y="87"/>
                    </a:cubicBezTo>
                    <a:cubicBezTo>
                      <a:pt x="118" y="86"/>
                      <a:pt x="118" y="85"/>
                      <a:pt x="118" y="85"/>
                    </a:cubicBezTo>
                    <a:cubicBezTo>
                      <a:pt x="118" y="84"/>
                      <a:pt x="119" y="83"/>
                      <a:pt x="119" y="82"/>
                    </a:cubicBezTo>
                    <a:cubicBezTo>
                      <a:pt x="119" y="82"/>
                      <a:pt x="118" y="81"/>
                      <a:pt x="118" y="80"/>
                    </a:cubicBezTo>
                    <a:cubicBezTo>
                      <a:pt x="118" y="79"/>
                      <a:pt x="119" y="78"/>
                      <a:pt x="119" y="78"/>
                    </a:cubicBezTo>
                    <a:cubicBezTo>
                      <a:pt x="119" y="77"/>
                      <a:pt x="119" y="76"/>
                      <a:pt x="119" y="76"/>
                    </a:cubicBezTo>
                    <a:close/>
                    <a:moveTo>
                      <a:pt x="13" y="51"/>
                    </a:moveTo>
                    <a:cubicBezTo>
                      <a:pt x="13" y="51"/>
                      <a:pt x="14" y="50"/>
                      <a:pt x="14" y="50"/>
                    </a:cubicBezTo>
                    <a:cubicBezTo>
                      <a:pt x="13" y="50"/>
                      <a:pt x="13" y="51"/>
                      <a:pt x="13" y="51"/>
                    </a:cubicBezTo>
                    <a:close/>
                    <a:moveTo>
                      <a:pt x="13" y="51"/>
                    </a:moveTo>
                    <a:cubicBezTo>
                      <a:pt x="13" y="51"/>
                      <a:pt x="13" y="51"/>
                      <a:pt x="13" y="51"/>
                    </a:cubicBezTo>
                    <a:cubicBezTo>
                      <a:pt x="13" y="51"/>
                      <a:pt x="13" y="51"/>
                      <a:pt x="13" y="5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2" name="Andorra">
                <a:extLst>
                  <a:ext uri="{FF2B5EF4-FFF2-40B4-BE49-F238E27FC236}">
                    <a16:creationId xmlns:a16="http://schemas.microsoft.com/office/drawing/2014/main" id="{3C18D130-E8C8-728F-4951-8369B57B712A}"/>
                  </a:ext>
                </a:extLst>
              </p:cNvPr>
              <p:cNvSpPr>
                <a:spLocks/>
              </p:cNvSpPr>
              <p:nvPr/>
            </p:nvSpPr>
            <p:spPr bwMode="auto">
              <a:xfrm>
                <a:off x="5771177" y="2384934"/>
                <a:ext cx="10781" cy="6860"/>
              </a:xfrm>
              <a:custGeom>
                <a:avLst/>
                <a:gdLst/>
                <a:ahLst/>
                <a:cxnLst>
                  <a:cxn ang="0">
                    <a:pos x="3" y="1"/>
                  </a:cxn>
                  <a:cxn ang="0">
                    <a:pos x="2" y="0"/>
                  </a:cxn>
                  <a:cxn ang="0">
                    <a:pos x="2" y="0"/>
                  </a:cxn>
                  <a:cxn ang="0">
                    <a:pos x="1" y="0"/>
                  </a:cxn>
                  <a:cxn ang="0">
                    <a:pos x="0" y="0"/>
                  </a:cxn>
                  <a:cxn ang="0">
                    <a:pos x="0" y="0"/>
                  </a:cxn>
                  <a:cxn ang="0">
                    <a:pos x="0" y="1"/>
                  </a:cxn>
                  <a:cxn ang="0">
                    <a:pos x="0" y="2"/>
                  </a:cxn>
                  <a:cxn ang="0">
                    <a:pos x="0" y="2"/>
                  </a:cxn>
                  <a:cxn ang="0">
                    <a:pos x="0" y="2"/>
                  </a:cxn>
                  <a:cxn ang="0">
                    <a:pos x="1" y="2"/>
                  </a:cxn>
                  <a:cxn ang="0">
                    <a:pos x="1" y="2"/>
                  </a:cxn>
                  <a:cxn ang="0">
                    <a:pos x="2" y="2"/>
                  </a:cxn>
                  <a:cxn ang="0">
                    <a:pos x="2" y="2"/>
                  </a:cxn>
                  <a:cxn ang="0">
                    <a:pos x="2" y="2"/>
                  </a:cxn>
                  <a:cxn ang="0">
                    <a:pos x="3" y="1"/>
                  </a:cxn>
                  <a:cxn ang="0">
                    <a:pos x="3" y="1"/>
                  </a:cxn>
                </a:cxnLst>
                <a:rect l="0" t="0" r="r" b="b"/>
                <a:pathLst>
                  <a:path w="3" h="2">
                    <a:moveTo>
                      <a:pt x="3" y="1"/>
                    </a:moveTo>
                    <a:cubicBezTo>
                      <a:pt x="2" y="1"/>
                      <a:pt x="3" y="0"/>
                      <a:pt x="2" y="0"/>
                    </a:cubicBezTo>
                    <a:cubicBezTo>
                      <a:pt x="2" y="0"/>
                      <a:pt x="2" y="0"/>
                      <a:pt x="2" y="0"/>
                    </a:cubicBezTo>
                    <a:cubicBezTo>
                      <a:pt x="1" y="0"/>
                      <a:pt x="1" y="0"/>
                      <a:pt x="1" y="0"/>
                    </a:cubicBezTo>
                    <a:cubicBezTo>
                      <a:pt x="1" y="0"/>
                      <a:pt x="1" y="0"/>
                      <a:pt x="0" y="0"/>
                    </a:cubicBezTo>
                    <a:cubicBezTo>
                      <a:pt x="0" y="0"/>
                      <a:pt x="0" y="0"/>
                      <a:pt x="0" y="0"/>
                    </a:cubicBezTo>
                    <a:cubicBezTo>
                      <a:pt x="0" y="1"/>
                      <a:pt x="0" y="1"/>
                      <a:pt x="0" y="1"/>
                    </a:cubicBezTo>
                    <a:cubicBezTo>
                      <a:pt x="0" y="1"/>
                      <a:pt x="0" y="1"/>
                      <a:pt x="0" y="2"/>
                    </a:cubicBezTo>
                    <a:cubicBezTo>
                      <a:pt x="0" y="2"/>
                      <a:pt x="0" y="2"/>
                      <a:pt x="0" y="2"/>
                    </a:cubicBezTo>
                    <a:cubicBezTo>
                      <a:pt x="0" y="2"/>
                      <a:pt x="0" y="2"/>
                      <a:pt x="0" y="2"/>
                    </a:cubicBezTo>
                    <a:cubicBezTo>
                      <a:pt x="0" y="2"/>
                      <a:pt x="1" y="2"/>
                      <a:pt x="1" y="2"/>
                    </a:cubicBezTo>
                    <a:cubicBezTo>
                      <a:pt x="1" y="2"/>
                      <a:pt x="1" y="2"/>
                      <a:pt x="1" y="2"/>
                    </a:cubicBezTo>
                    <a:cubicBezTo>
                      <a:pt x="1" y="2"/>
                      <a:pt x="2" y="2"/>
                      <a:pt x="2" y="2"/>
                    </a:cubicBezTo>
                    <a:cubicBezTo>
                      <a:pt x="2" y="2"/>
                      <a:pt x="2" y="2"/>
                      <a:pt x="2" y="2"/>
                    </a:cubicBezTo>
                    <a:cubicBezTo>
                      <a:pt x="2" y="2"/>
                      <a:pt x="2" y="2"/>
                      <a:pt x="2" y="2"/>
                    </a:cubicBezTo>
                    <a:cubicBezTo>
                      <a:pt x="2" y="1"/>
                      <a:pt x="3" y="1"/>
                      <a:pt x="3" y="1"/>
                    </a:cubicBezTo>
                    <a:cubicBezTo>
                      <a:pt x="3" y="1"/>
                      <a:pt x="3" y="1"/>
                      <a:pt x="3" y="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3" name="American Samoa">
                <a:extLst>
                  <a:ext uri="{FF2B5EF4-FFF2-40B4-BE49-F238E27FC236}">
                    <a16:creationId xmlns:a16="http://schemas.microsoft.com/office/drawing/2014/main" id="{060EA731-ACC9-D2BF-DBAB-B654285D46DE}"/>
                  </a:ext>
                </a:extLst>
              </p:cNvPr>
              <p:cNvSpPr/>
              <p:nvPr/>
            </p:nvSpPr>
            <p:spPr>
              <a:xfrm>
                <a:off x="11670248" y="4783777"/>
                <a:ext cx="9048" cy="3084"/>
              </a:xfrm>
              <a:custGeom>
                <a:avLst/>
                <a:gdLst>
                  <a:gd name="connsiteX0" fmla="*/ 8060 w 8060"/>
                  <a:gd name="connsiteY0" fmla="*/ 196 h 2747"/>
                  <a:gd name="connsiteX1" fmla="*/ 8060 w 8060"/>
                  <a:gd name="connsiteY1" fmla="*/ 196 h 2747"/>
                  <a:gd name="connsiteX2" fmla="*/ 8060 w 8060"/>
                  <a:gd name="connsiteY2" fmla="*/ 196 h 2747"/>
                  <a:gd name="connsiteX3" fmla="*/ 8060 w 8060"/>
                  <a:gd name="connsiteY3" fmla="*/ 196 h 2747"/>
                </a:gdLst>
                <a:ahLst/>
                <a:cxnLst>
                  <a:cxn ang="0">
                    <a:pos x="connsiteX0" y="connsiteY0"/>
                  </a:cxn>
                  <a:cxn ang="0">
                    <a:pos x="connsiteX1" y="connsiteY1"/>
                  </a:cxn>
                  <a:cxn ang="0">
                    <a:pos x="connsiteX2" y="connsiteY2"/>
                  </a:cxn>
                  <a:cxn ang="0">
                    <a:pos x="connsiteX3" y="connsiteY3"/>
                  </a:cxn>
                </a:cxnLst>
                <a:rect l="l" t="t" r="r" b="b"/>
                <a:pathLst>
                  <a:path w="8060" h="2747">
                    <a:moveTo>
                      <a:pt x="8060" y="196"/>
                    </a:moveTo>
                    <a:lnTo>
                      <a:pt x="8060" y="196"/>
                    </a:lnTo>
                    <a:cubicBezTo>
                      <a:pt x="3101" y="6628"/>
                      <a:pt x="-7283" y="-1316"/>
                      <a:pt x="8060" y="196"/>
                    </a:cubicBezTo>
                    <a:lnTo>
                      <a:pt x="8060" y="196"/>
                    </a:ln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4" name="Algeria">
                <a:extLst>
                  <a:ext uri="{FF2B5EF4-FFF2-40B4-BE49-F238E27FC236}">
                    <a16:creationId xmlns:a16="http://schemas.microsoft.com/office/drawing/2014/main" id="{DF9348A1-7459-A6B8-493F-F41D2B5BDA6C}"/>
                  </a:ext>
                </a:extLst>
              </p:cNvPr>
              <p:cNvSpPr>
                <a:spLocks/>
              </p:cNvSpPr>
              <p:nvPr/>
            </p:nvSpPr>
            <p:spPr bwMode="auto">
              <a:xfrm>
                <a:off x="5417336" y="2597627"/>
                <a:ext cx="687095" cy="708660"/>
              </a:xfrm>
              <a:custGeom>
                <a:avLst/>
                <a:gdLst/>
                <a:ahLst/>
                <a:cxnLst>
                  <a:cxn ang="0">
                    <a:pos x="187" y="140"/>
                  </a:cxn>
                  <a:cxn ang="0">
                    <a:pos x="178" y="138"/>
                  </a:cxn>
                  <a:cxn ang="0">
                    <a:pos x="175" y="129"/>
                  </a:cxn>
                  <a:cxn ang="0">
                    <a:pos x="175" y="115"/>
                  </a:cxn>
                  <a:cxn ang="0">
                    <a:pos x="174" y="105"/>
                  </a:cxn>
                  <a:cxn ang="0">
                    <a:pos x="174" y="88"/>
                  </a:cxn>
                  <a:cxn ang="0">
                    <a:pos x="171" y="74"/>
                  </a:cxn>
                  <a:cxn ang="0">
                    <a:pos x="163" y="53"/>
                  </a:cxn>
                  <a:cxn ang="0">
                    <a:pos x="159" y="45"/>
                  </a:cxn>
                  <a:cxn ang="0">
                    <a:pos x="154" y="40"/>
                  </a:cxn>
                  <a:cxn ang="0">
                    <a:pos x="155" y="32"/>
                  </a:cxn>
                  <a:cxn ang="0">
                    <a:pos x="159" y="27"/>
                  </a:cxn>
                  <a:cxn ang="0">
                    <a:pos x="161" y="21"/>
                  </a:cxn>
                  <a:cxn ang="0">
                    <a:pos x="160" y="11"/>
                  </a:cxn>
                  <a:cxn ang="0">
                    <a:pos x="160" y="6"/>
                  </a:cxn>
                  <a:cxn ang="0">
                    <a:pos x="163" y="2"/>
                  </a:cxn>
                  <a:cxn ang="0">
                    <a:pos x="153" y="1"/>
                  </a:cxn>
                  <a:cxn ang="0">
                    <a:pos x="150" y="2"/>
                  </a:cxn>
                  <a:cxn ang="0">
                    <a:pos x="142" y="2"/>
                  </a:cxn>
                  <a:cxn ang="0">
                    <a:pos x="131" y="4"/>
                  </a:cxn>
                  <a:cxn ang="0">
                    <a:pos x="125" y="2"/>
                  </a:cxn>
                  <a:cxn ang="0">
                    <a:pos x="114" y="3"/>
                  </a:cxn>
                  <a:cxn ang="0">
                    <a:pos x="108" y="6"/>
                  </a:cxn>
                  <a:cxn ang="0">
                    <a:pos x="98" y="6"/>
                  </a:cxn>
                  <a:cxn ang="0">
                    <a:pos x="90" y="9"/>
                  </a:cxn>
                  <a:cxn ang="0">
                    <a:pos x="81" y="13"/>
                  </a:cxn>
                  <a:cxn ang="0">
                    <a:pos x="77" y="15"/>
                  </a:cxn>
                  <a:cxn ang="0">
                    <a:pos x="71" y="20"/>
                  </a:cxn>
                  <a:cxn ang="0">
                    <a:pos x="64" y="23"/>
                  </a:cxn>
                  <a:cxn ang="0">
                    <a:pos x="68" y="26"/>
                  </a:cxn>
                  <a:cxn ang="0">
                    <a:pos x="68" y="32"/>
                  </a:cxn>
                  <a:cxn ang="0">
                    <a:pos x="68" y="38"/>
                  </a:cxn>
                  <a:cxn ang="0">
                    <a:pos x="70" y="45"/>
                  </a:cxn>
                  <a:cxn ang="0">
                    <a:pos x="73" y="52"/>
                  </a:cxn>
                  <a:cxn ang="0">
                    <a:pos x="70" y="56"/>
                  </a:cxn>
                  <a:cxn ang="0">
                    <a:pos x="54" y="59"/>
                  </a:cxn>
                  <a:cxn ang="0">
                    <a:pos x="47" y="62"/>
                  </a:cxn>
                  <a:cxn ang="0">
                    <a:pos x="48" y="66"/>
                  </a:cxn>
                  <a:cxn ang="0">
                    <a:pos x="44" y="69"/>
                  </a:cxn>
                  <a:cxn ang="0">
                    <a:pos x="36" y="74"/>
                  </a:cxn>
                  <a:cxn ang="0">
                    <a:pos x="26" y="80"/>
                  </a:cxn>
                  <a:cxn ang="0">
                    <a:pos x="21" y="83"/>
                  </a:cxn>
                  <a:cxn ang="0">
                    <a:pos x="13" y="85"/>
                  </a:cxn>
                  <a:cxn ang="0">
                    <a:pos x="6" y="89"/>
                  </a:cxn>
                  <a:cxn ang="0">
                    <a:pos x="0" y="99"/>
                  </a:cxn>
                  <a:cxn ang="0">
                    <a:pos x="80" y="168"/>
                  </a:cxn>
                  <a:cxn ang="0">
                    <a:pos x="93" y="180"/>
                  </a:cxn>
                  <a:cxn ang="0">
                    <a:pos x="96" y="184"/>
                  </a:cxn>
                  <a:cxn ang="0">
                    <a:pos x="99" y="186"/>
                  </a:cxn>
                  <a:cxn ang="0">
                    <a:pos x="104" y="188"/>
                  </a:cxn>
                  <a:cxn ang="0">
                    <a:pos x="111" y="192"/>
                  </a:cxn>
                  <a:cxn ang="0">
                    <a:pos x="111" y="197"/>
                  </a:cxn>
                  <a:cxn ang="0">
                    <a:pos x="127" y="196"/>
                  </a:cxn>
                  <a:cxn ang="0">
                    <a:pos x="146" y="184"/>
                  </a:cxn>
                  <a:cxn ang="0">
                    <a:pos x="191" y="152"/>
                  </a:cxn>
                </a:cxnLst>
                <a:rect l="0" t="0" r="r" b="b"/>
                <a:pathLst>
                  <a:path w="194" h="200">
                    <a:moveTo>
                      <a:pt x="194" y="148"/>
                    </a:moveTo>
                    <a:cubicBezTo>
                      <a:pt x="193" y="147"/>
                      <a:pt x="193" y="147"/>
                      <a:pt x="193" y="146"/>
                    </a:cubicBezTo>
                    <a:cubicBezTo>
                      <a:pt x="192" y="145"/>
                      <a:pt x="191" y="143"/>
                      <a:pt x="191" y="142"/>
                    </a:cubicBezTo>
                    <a:cubicBezTo>
                      <a:pt x="190" y="141"/>
                      <a:pt x="189" y="141"/>
                      <a:pt x="187" y="140"/>
                    </a:cubicBezTo>
                    <a:cubicBezTo>
                      <a:pt x="187" y="140"/>
                      <a:pt x="185" y="140"/>
                      <a:pt x="185" y="139"/>
                    </a:cubicBezTo>
                    <a:cubicBezTo>
                      <a:pt x="184" y="139"/>
                      <a:pt x="183" y="138"/>
                      <a:pt x="182" y="138"/>
                    </a:cubicBezTo>
                    <a:cubicBezTo>
                      <a:pt x="182" y="138"/>
                      <a:pt x="181" y="139"/>
                      <a:pt x="180" y="139"/>
                    </a:cubicBezTo>
                    <a:cubicBezTo>
                      <a:pt x="179" y="139"/>
                      <a:pt x="179" y="139"/>
                      <a:pt x="178" y="138"/>
                    </a:cubicBezTo>
                    <a:cubicBezTo>
                      <a:pt x="178" y="138"/>
                      <a:pt x="178" y="137"/>
                      <a:pt x="177" y="137"/>
                    </a:cubicBezTo>
                    <a:cubicBezTo>
                      <a:pt x="177" y="136"/>
                      <a:pt x="177" y="136"/>
                      <a:pt x="176" y="135"/>
                    </a:cubicBezTo>
                    <a:cubicBezTo>
                      <a:pt x="176" y="134"/>
                      <a:pt x="176" y="133"/>
                      <a:pt x="176" y="132"/>
                    </a:cubicBezTo>
                    <a:cubicBezTo>
                      <a:pt x="176" y="131"/>
                      <a:pt x="176" y="130"/>
                      <a:pt x="175" y="129"/>
                    </a:cubicBezTo>
                    <a:cubicBezTo>
                      <a:pt x="174" y="127"/>
                      <a:pt x="173" y="125"/>
                      <a:pt x="172" y="124"/>
                    </a:cubicBezTo>
                    <a:cubicBezTo>
                      <a:pt x="171" y="123"/>
                      <a:pt x="170" y="121"/>
                      <a:pt x="170" y="120"/>
                    </a:cubicBezTo>
                    <a:cubicBezTo>
                      <a:pt x="170" y="119"/>
                      <a:pt x="171" y="118"/>
                      <a:pt x="172" y="118"/>
                    </a:cubicBezTo>
                    <a:cubicBezTo>
                      <a:pt x="174" y="117"/>
                      <a:pt x="175" y="117"/>
                      <a:pt x="175" y="115"/>
                    </a:cubicBezTo>
                    <a:cubicBezTo>
                      <a:pt x="175" y="114"/>
                      <a:pt x="175" y="113"/>
                      <a:pt x="174" y="113"/>
                    </a:cubicBezTo>
                    <a:cubicBezTo>
                      <a:pt x="174" y="112"/>
                      <a:pt x="174" y="112"/>
                      <a:pt x="174" y="111"/>
                    </a:cubicBezTo>
                    <a:cubicBezTo>
                      <a:pt x="173" y="110"/>
                      <a:pt x="173" y="109"/>
                      <a:pt x="173" y="107"/>
                    </a:cubicBezTo>
                    <a:cubicBezTo>
                      <a:pt x="174" y="107"/>
                      <a:pt x="174" y="106"/>
                      <a:pt x="174" y="105"/>
                    </a:cubicBezTo>
                    <a:cubicBezTo>
                      <a:pt x="174" y="105"/>
                      <a:pt x="174" y="105"/>
                      <a:pt x="175" y="103"/>
                    </a:cubicBezTo>
                    <a:cubicBezTo>
                      <a:pt x="175" y="102"/>
                      <a:pt x="175" y="101"/>
                      <a:pt x="174" y="100"/>
                    </a:cubicBezTo>
                    <a:cubicBezTo>
                      <a:pt x="173" y="98"/>
                      <a:pt x="174" y="97"/>
                      <a:pt x="174" y="95"/>
                    </a:cubicBezTo>
                    <a:cubicBezTo>
                      <a:pt x="174" y="93"/>
                      <a:pt x="174" y="90"/>
                      <a:pt x="174" y="88"/>
                    </a:cubicBezTo>
                    <a:cubicBezTo>
                      <a:pt x="174" y="85"/>
                      <a:pt x="172" y="81"/>
                      <a:pt x="170" y="78"/>
                    </a:cubicBezTo>
                    <a:cubicBezTo>
                      <a:pt x="169" y="78"/>
                      <a:pt x="169" y="77"/>
                      <a:pt x="170" y="77"/>
                    </a:cubicBezTo>
                    <a:cubicBezTo>
                      <a:pt x="170" y="77"/>
                      <a:pt x="171" y="76"/>
                      <a:pt x="171" y="76"/>
                    </a:cubicBezTo>
                    <a:cubicBezTo>
                      <a:pt x="172" y="75"/>
                      <a:pt x="171" y="74"/>
                      <a:pt x="171" y="74"/>
                    </a:cubicBezTo>
                    <a:cubicBezTo>
                      <a:pt x="170" y="73"/>
                      <a:pt x="170" y="72"/>
                      <a:pt x="170" y="71"/>
                    </a:cubicBezTo>
                    <a:cubicBezTo>
                      <a:pt x="169" y="67"/>
                      <a:pt x="168" y="63"/>
                      <a:pt x="168" y="59"/>
                    </a:cubicBezTo>
                    <a:cubicBezTo>
                      <a:pt x="167" y="58"/>
                      <a:pt x="167" y="56"/>
                      <a:pt x="166" y="55"/>
                    </a:cubicBezTo>
                    <a:cubicBezTo>
                      <a:pt x="166" y="54"/>
                      <a:pt x="164" y="53"/>
                      <a:pt x="163" y="53"/>
                    </a:cubicBezTo>
                    <a:cubicBezTo>
                      <a:pt x="162" y="52"/>
                      <a:pt x="161" y="52"/>
                      <a:pt x="160" y="51"/>
                    </a:cubicBezTo>
                    <a:cubicBezTo>
                      <a:pt x="160" y="50"/>
                      <a:pt x="160" y="49"/>
                      <a:pt x="160" y="49"/>
                    </a:cubicBezTo>
                    <a:cubicBezTo>
                      <a:pt x="160" y="48"/>
                      <a:pt x="160" y="48"/>
                      <a:pt x="160" y="47"/>
                    </a:cubicBezTo>
                    <a:cubicBezTo>
                      <a:pt x="159" y="46"/>
                      <a:pt x="159" y="46"/>
                      <a:pt x="159" y="45"/>
                    </a:cubicBezTo>
                    <a:cubicBezTo>
                      <a:pt x="158" y="44"/>
                      <a:pt x="158" y="45"/>
                      <a:pt x="157" y="44"/>
                    </a:cubicBezTo>
                    <a:cubicBezTo>
                      <a:pt x="157" y="44"/>
                      <a:pt x="156" y="44"/>
                      <a:pt x="155" y="43"/>
                    </a:cubicBezTo>
                    <a:cubicBezTo>
                      <a:pt x="155" y="43"/>
                      <a:pt x="154" y="43"/>
                      <a:pt x="154" y="42"/>
                    </a:cubicBezTo>
                    <a:cubicBezTo>
                      <a:pt x="154" y="41"/>
                      <a:pt x="154" y="40"/>
                      <a:pt x="154" y="40"/>
                    </a:cubicBezTo>
                    <a:cubicBezTo>
                      <a:pt x="154" y="39"/>
                      <a:pt x="153" y="38"/>
                      <a:pt x="153" y="37"/>
                    </a:cubicBezTo>
                    <a:cubicBezTo>
                      <a:pt x="152" y="36"/>
                      <a:pt x="153" y="35"/>
                      <a:pt x="153" y="34"/>
                    </a:cubicBezTo>
                    <a:cubicBezTo>
                      <a:pt x="153" y="33"/>
                      <a:pt x="153" y="33"/>
                      <a:pt x="154" y="33"/>
                    </a:cubicBezTo>
                    <a:cubicBezTo>
                      <a:pt x="154" y="32"/>
                      <a:pt x="155" y="32"/>
                      <a:pt x="155" y="32"/>
                    </a:cubicBezTo>
                    <a:cubicBezTo>
                      <a:pt x="156" y="31"/>
                      <a:pt x="155" y="30"/>
                      <a:pt x="156" y="30"/>
                    </a:cubicBezTo>
                    <a:cubicBezTo>
                      <a:pt x="156" y="29"/>
                      <a:pt x="158" y="29"/>
                      <a:pt x="158" y="29"/>
                    </a:cubicBezTo>
                    <a:cubicBezTo>
                      <a:pt x="159" y="28"/>
                      <a:pt x="159" y="28"/>
                      <a:pt x="159" y="28"/>
                    </a:cubicBezTo>
                    <a:cubicBezTo>
                      <a:pt x="159" y="27"/>
                      <a:pt x="159" y="27"/>
                      <a:pt x="159" y="27"/>
                    </a:cubicBezTo>
                    <a:cubicBezTo>
                      <a:pt x="159" y="27"/>
                      <a:pt x="160" y="27"/>
                      <a:pt x="160" y="26"/>
                    </a:cubicBezTo>
                    <a:cubicBezTo>
                      <a:pt x="160" y="26"/>
                      <a:pt x="160" y="25"/>
                      <a:pt x="160" y="24"/>
                    </a:cubicBezTo>
                    <a:cubicBezTo>
                      <a:pt x="160" y="23"/>
                      <a:pt x="160" y="22"/>
                      <a:pt x="161" y="22"/>
                    </a:cubicBezTo>
                    <a:cubicBezTo>
                      <a:pt x="161" y="21"/>
                      <a:pt x="161" y="21"/>
                      <a:pt x="161" y="21"/>
                    </a:cubicBezTo>
                    <a:cubicBezTo>
                      <a:pt x="161" y="21"/>
                      <a:pt x="161" y="20"/>
                      <a:pt x="160" y="20"/>
                    </a:cubicBezTo>
                    <a:cubicBezTo>
                      <a:pt x="160" y="20"/>
                      <a:pt x="160" y="18"/>
                      <a:pt x="160" y="18"/>
                    </a:cubicBezTo>
                    <a:cubicBezTo>
                      <a:pt x="161" y="17"/>
                      <a:pt x="160" y="16"/>
                      <a:pt x="160" y="16"/>
                    </a:cubicBezTo>
                    <a:cubicBezTo>
                      <a:pt x="159" y="14"/>
                      <a:pt x="160" y="13"/>
                      <a:pt x="160" y="11"/>
                    </a:cubicBezTo>
                    <a:cubicBezTo>
                      <a:pt x="160" y="10"/>
                      <a:pt x="160" y="10"/>
                      <a:pt x="161" y="9"/>
                    </a:cubicBezTo>
                    <a:cubicBezTo>
                      <a:pt x="161" y="8"/>
                      <a:pt x="161" y="8"/>
                      <a:pt x="160" y="8"/>
                    </a:cubicBezTo>
                    <a:cubicBezTo>
                      <a:pt x="160" y="8"/>
                      <a:pt x="159" y="8"/>
                      <a:pt x="159" y="7"/>
                    </a:cubicBezTo>
                    <a:cubicBezTo>
                      <a:pt x="159" y="7"/>
                      <a:pt x="160" y="6"/>
                      <a:pt x="160" y="6"/>
                    </a:cubicBezTo>
                    <a:cubicBezTo>
                      <a:pt x="161" y="6"/>
                      <a:pt x="161" y="5"/>
                      <a:pt x="162" y="5"/>
                    </a:cubicBezTo>
                    <a:cubicBezTo>
                      <a:pt x="162" y="4"/>
                      <a:pt x="161" y="4"/>
                      <a:pt x="161" y="4"/>
                    </a:cubicBezTo>
                    <a:cubicBezTo>
                      <a:pt x="161" y="4"/>
                      <a:pt x="163" y="4"/>
                      <a:pt x="163" y="4"/>
                    </a:cubicBezTo>
                    <a:cubicBezTo>
                      <a:pt x="163" y="3"/>
                      <a:pt x="163" y="2"/>
                      <a:pt x="163" y="2"/>
                    </a:cubicBezTo>
                    <a:cubicBezTo>
                      <a:pt x="162" y="2"/>
                      <a:pt x="161" y="2"/>
                      <a:pt x="160" y="2"/>
                    </a:cubicBezTo>
                    <a:cubicBezTo>
                      <a:pt x="160" y="2"/>
                      <a:pt x="159" y="2"/>
                      <a:pt x="159" y="2"/>
                    </a:cubicBezTo>
                    <a:cubicBezTo>
                      <a:pt x="157" y="3"/>
                      <a:pt x="155" y="4"/>
                      <a:pt x="155" y="1"/>
                    </a:cubicBezTo>
                    <a:cubicBezTo>
                      <a:pt x="155" y="2"/>
                      <a:pt x="154" y="2"/>
                      <a:pt x="153" y="1"/>
                    </a:cubicBezTo>
                    <a:cubicBezTo>
                      <a:pt x="153" y="1"/>
                      <a:pt x="153" y="1"/>
                      <a:pt x="152" y="1"/>
                    </a:cubicBezTo>
                    <a:cubicBezTo>
                      <a:pt x="152" y="1"/>
                      <a:pt x="152" y="0"/>
                      <a:pt x="152" y="0"/>
                    </a:cubicBezTo>
                    <a:cubicBezTo>
                      <a:pt x="151" y="1"/>
                      <a:pt x="150" y="0"/>
                      <a:pt x="150" y="1"/>
                    </a:cubicBezTo>
                    <a:cubicBezTo>
                      <a:pt x="151" y="2"/>
                      <a:pt x="150" y="2"/>
                      <a:pt x="150" y="2"/>
                    </a:cubicBezTo>
                    <a:cubicBezTo>
                      <a:pt x="149" y="2"/>
                      <a:pt x="148" y="3"/>
                      <a:pt x="147" y="2"/>
                    </a:cubicBezTo>
                    <a:cubicBezTo>
                      <a:pt x="146" y="1"/>
                      <a:pt x="145" y="2"/>
                      <a:pt x="145" y="1"/>
                    </a:cubicBezTo>
                    <a:cubicBezTo>
                      <a:pt x="144" y="1"/>
                      <a:pt x="144" y="0"/>
                      <a:pt x="143" y="0"/>
                    </a:cubicBezTo>
                    <a:cubicBezTo>
                      <a:pt x="142" y="1"/>
                      <a:pt x="142" y="1"/>
                      <a:pt x="142" y="2"/>
                    </a:cubicBezTo>
                    <a:cubicBezTo>
                      <a:pt x="141" y="3"/>
                      <a:pt x="138" y="3"/>
                      <a:pt x="137" y="3"/>
                    </a:cubicBezTo>
                    <a:cubicBezTo>
                      <a:pt x="136" y="3"/>
                      <a:pt x="135" y="4"/>
                      <a:pt x="135" y="4"/>
                    </a:cubicBezTo>
                    <a:cubicBezTo>
                      <a:pt x="134" y="5"/>
                      <a:pt x="133" y="5"/>
                      <a:pt x="133" y="5"/>
                    </a:cubicBezTo>
                    <a:cubicBezTo>
                      <a:pt x="132" y="5"/>
                      <a:pt x="131" y="5"/>
                      <a:pt x="131" y="4"/>
                    </a:cubicBezTo>
                    <a:cubicBezTo>
                      <a:pt x="131" y="4"/>
                      <a:pt x="131" y="4"/>
                      <a:pt x="131" y="4"/>
                    </a:cubicBezTo>
                    <a:cubicBezTo>
                      <a:pt x="131" y="4"/>
                      <a:pt x="130" y="3"/>
                      <a:pt x="130" y="3"/>
                    </a:cubicBezTo>
                    <a:cubicBezTo>
                      <a:pt x="129" y="3"/>
                      <a:pt x="129" y="3"/>
                      <a:pt x="128" y="2"/>
                    </a:cubicBezTo>
                    <a:cubicBezTo>
                      <a:pt x="127" y="2"/>
                      <a:pt x="126" y="3"/>
                      <a:pt x="125" y="2"/>
                    </a:cubicBezTo>
                    <a:cubicBezTo>
                      <a:pt x="124" y="2"/>
                      <a:pt x="122" y="3"/>
                      <a:pt x="120" y="2"/>
                    </a:cubicBezTo>
                    <a:cubicBezTo>
                      <a:pt x="119" y="2"/>
                      <a:pt x="119" y="3"/>
                      <a:pt x="118" y="3"/>
                    </a:cubicBezTo>
                    <a:cubicBezTo>
                      <a:pt x="117" y="4"/>
                      <a:pt x="116" y="4"/>
                      <a:pt x="115" y="4"/>
                    </a:cubicBezTo>
                    <a:cubicBezTo>
                      <a:pt x="115" y="4"/>
                      <a:pt x="114" y="3"/>
                      <a:pt x="114" y="3"/>
                    </a:cubicBezTo>
                    <a:cubicBezTo>
                      <a:pt x="114" y="3"/>
                      <a:pt x="114" y="4"/>
                      <a:pt x="114" y="4"/>
                    </a:cubicBezTo>
                    <a:cubicBezTo>
                      <a:pt x="114" y="4"/>
                      <a:pt x="113" y="4"/>
                      <a:pt x="113" y="4"/>
                    </a:cubicBezTo>
                    <a:cubicBezTo>
                      <a:pt x="111" y="3"/>
                      <a:pt x="111" y="4"/>
                      <a:pt x="110" y="5"/>
                    </a:cubicBezTo>
                    <a:cubicBezTo>
                      <a:pt x="109" y="5"/>
                      <a:pt x="108" y="6"/>
                      <a:pt x="108" y="6"/>
                    </a:cubicBezTo>
                    <a:cubicBezTo>
                      <a:pt x="107" y="6"/>
                      <a:pt x="107" y="6"/>
                      <a:pt x="106" y="5"/>
                    </a:cubicBezTo>
                    <a:cubicBezTo>
                      <a:pt x="106" y="5"/>
                      <a:pt x="105" y="6"/>
                      <a:pt x="104" y="6"/>
                    </a:cubicBezTo>
                    <a:cubicBezTo>
                      <a:pt x="103" y="6"/>
                      <a:pt x="103" y="6"/>
                      <a:pt x="102" y="6"/>
                    </a:cubicBezTo>
                    <a:cubicBezTo>
                      <a:pt x="101" y="6"/>
                      <a:pt x="100" y="6"/>
                      <a:pt x="98" y="6"/>
                    </a:cubicBezTo>
                    <a:cubicBezTo>
                      <a:pt x="98" y="7"/>
                      <a:pt x="97" y="6"/>
                      <a:pt x="96" y="7"/>
                    </a:cubicBezTo>
                    <a:cubicBezTo>
                      <a:pt x="95" y="7"/>
                      <a:pt x="94" y="7"/>
                      <a:pt x="94" y="7"/>
                    </a:cubicBezTo>
                    <a:cubicBezTo>
                      <a:pt x="93" y="7"/>
                      <a:pt x="93" y="8"/>
                      <a:pt x="92" y="8"/>
                    </a:cubicBezTo>
                    <a:cubicBezTo>
                      <a:pt x="91" y="8"/>
                      <a:pt x="90" y="9"/>
                      <a:pt x="90" y="9"/>
                    </a:cubicBezTo>
                    <a:cubicBezTo>
                      <a:pt x="89" y="10"/>
                      <a:pt x="88" y="10"/>
                      <a:pt x="88" y="10"/>
                    </a:cubicBezTo>
                    <a:cubicBezTo>
                      <a:pt x="87" y="11"/>
                      <a:pt x="85" y="11"/>
                      <a:pt x="85" y="13"/>
                    </a:cubicBezTo>
                    <a:cubicBezTo>
                      <a:pt x="85" y="14"/>
                      <a:pt x="83" y="15"/>
                      <a:pt x="82" y="14"/>
                    </a:cubicBezTo>
                    <a:cubicBezTo>
                      <a:pt x="81" y="14"/>
                      <a:pt x="82" y="13"/>
                      <a:pt x="81" y="13"/>
                    </a:cubicBezTo>
                    <a:cubicBezTo>
                      <a:pt x="81" y="13"/>
                      <a:pt x="80" y="14"/>
                      <a:pt x="80" y="14"/>
                    </a:cubicBezTo>
                    <a:cubicBezTo>
                      <a:pt x="80" y="14"/>
                      <a:pt x="80" y="14"/>
                      <a:pt x="80" y="15"/>
                    </a:cubicBezTo>
                    <a:cubicBezTo>
                      <a:pt x="79" y="15"/>
                      <a:pt x="79" y="15"/>
                      <a:pt x="79" y="15"/>
                    </a:cubicBezTo>
                    <a:cubicBezTo>
                      <a:pt x="78" y="15"/>
                      <a:pt x="78" y="15"/>
                      <a:pt x="77" y="15"/>
                    </a:cubicBezTo>
                    <a:cubicBezTo>
                      <a:pt x="77" y="15"/>
                      <a:pt x="77" y="15"/>
                      <a:pt x="76" y="15"/>
                    </a:cubicBezTo>
                    <a:cubicBezTo>
                      <a:pt x="75" y="16"/>
                      <a:pt x="75" y="16"/>
                      <a:pt x="74" y="16"/>
                    </a:cubicBezTo>
                    <a:cubicBezTo>
                      <a:pt x="74" y="17"/>
                      <a:pt x="73" y="17"/>
                      <a:pt x="73" y="18"/>
                    </a:cubicBezTo>
                    <a:cubicBezTo>
                      <a:pt x="73" y="19"/>
                      <a:pt x="72" y="19"/>
                      <a:pt x="71" y="20"/>
                    </a:cubicBezTo>
                    <a:cubicBezTo>
                      <a:pt x="71" y="20"/>
                      <a:pt x="70" y="20"/>
                      <a:pt x="70" y="21"/>
                    </a:cubicBezTo>
                    <a:cubicBezTo>
                      <a:pt x="69" y="21"/>
                      <a:pt x="68" y="22"/>
                      <a:pt x="68" y="22"/>
                    </a:cubicBezTo>
                    <a:cubicBezTo>
                      <a:pt x="67" y="22"/>
                      <a:pt x="66" y="23"/>
                      <a:pt x="65" y="22"/>
                    </a:cubicBezTo>
                    <a:cubicBezTo>
                      <a:pt x="65" y="22"/>
                      <a:pt x="64" y="22"/>
                      <a:pt x="64" y="23"/>
                    </a:cubicBezTo>
                    <a:cubicBezTo>
                      <a:pt x="64" y="23"/>
                      <a:pt x="64" y="24"/>
                      <a:pt x="65" y="24"/>
                    </a:cubicBezTo>
                    <a:cubicBezTo>
                      <a:pt x="65" y="24"/>
                      <a:pt x="65" y="24"/>
                      <a:pt x="65" y="24"/>
                    </a:cubicBezTo>
                    <a:cubicBezTo>
                      <a:pt x="66" y="25"/>
                      <a:pt x="66" y="25"/>
                      <a:pt x="66" y="25"/>
                    </a:cubicBezTo>
                    <a:cubicBezTo>
                      <a:pt x="66" y="25"/>
                      <a:pt x="67" y="26"/>
                      <a:pt x="68" y="26"/>
                    </a:cubicBezTo>
                    <a:cubicBezTo>
                      <a:pt x="68" y="27"/>
                      <a:pt x="67" y="27"/>
                      <a:pt x="67" y="28"/>
                    </a:cubicBezTo>
                    <a:cubicBezTo>
                      <a:pt x="67" y="28"/>
                      <a:pt x="68" y="29"/>
                      <a:pt x="68" y="29"/>
                    </a:cubicBezTo>
                    <a:cubicBezTo>
                      <a:pt x="68" y="29"/>
                      <a:pt x="68" y="30"/>
                      <a:pt x="67" y="30"/>
                    </a:cubicBezTo>
                    <a:cubicBezTo>
                      <a:pt x="67" y="31"/>
                      <a:pt x="68" y="31"/>
                      <a:pt x="68" y="32"/>
                    </a:cubicBezTo>
                    <a:cubicBezTo>
                      <a:pt x="68" y="32"/>
                      <a:pt x="68" y="33"/>
                      <a:pt x="68" y="34"/>
                    </a:cubicBezTo>
                    <a:cubicBezTo>
                      <a:pt x="68" y="34"/>
                      <a:pt x="68" y="35"/>
                      <a:pt x="68" y="35"/>
                    </a:cubicBezTo>
                    <a:cubicBezTo>
                      <a:pt x="68" y="36"/>
                      <a:pt x="68" y="37"/>
                      <a:pt x="68" y="37"/>
                    </a:cubicBezTo>
                    <a:cubicBezTo>
                      <a:pt x="68" y="37"/>
                      <a:pt x="67" y="38"/>
                      <a:pt x="68" y="38"/>
                    </a:cubicBezTo>
                    <a:cubicBezTo>
                      <a:pt x="69" y="38"/>
                      <a:pt x="69" y="39"/>
                      <a:pt x="69" y="40"/>
                    </a:cubicBezTo>
                    <a:cubicBezTo>
                      <a:pt x="68" y="41"/>
                      <a:pt x="68" y="42"/>
                      <a:pt x="68" y="43"/>
                    </a:cubicBezTo>
                    <a:cubicBezTo>
                      <a:pt x="68" y="44"/>
                      <a:pt x="69" y="44"/>
                      <a:pt x="69" y="44"/>
                    </a:cubicBezTo>
                    <a:cubicBezTo>
                      <a:pt x="69" y="45"/>
                      <a:pt x="70" y="45"/>
                      <a:pt x="70" y="45"/>
                    </a:cubicBezTo>
                    <a:cubicBezTo>
                      <a:pt x="70" y="46"/>
                      <a:pt x="69" y="46"/>
                      <a:pt x="69" y="47"/>
                    </a:cubicBezTo>
                    <a:cubicBezTo>
                      <a:pt x="69" y="47"/>
                      <a:pt x="70" y="47"/>
                      <a:pt x="70" y="48"/>
                    </a:cubicBezTo>
                    <a:cubicBezTo>
                      <a:pt x="70" y="49"/>
                      <a:pt x="71" y="49"/>
                      <a:pt x="72" y="49"/>
                    </a:cubicBezTo>
                    <a:cubicBezTo>
                      <a:pt x="73" y="50"/>
                      <a:pt x="74" y="51"/>
                      <a:pt x="73" y="52"/>
                    </a:cubicBezTo>
                    <a:cubicBezTo>
                      <a:pt x="72" y="52"/>
                      <a:pt x="72" y="52"/>
                      <a:pt x="72" y="53"/>
                    </a:cubicBezTo>
                    <a:cubicBezTo>
                      <a:pt x="72" y="54"/>
                      <a:pt x="71" y="55"/>
                      <a:pt x="71" y="55"/>
                    </a:cubicBezTo>
                    <a:cubicBezTo>
                      <a:pt x="72" y="55"/>
                      <a:pt x="72" y="55"/>
                      <a:pt x="72" y="55"/>
                    </a:cubicBezTo>
                    <a:cubicBezTo>
                      <a:pt x="71" y="56"/>
                      <a:pt x="70" y="56"/>
                      <a:pt x="70" y="56"/>
                    </a:cubicBezTo>
                    <a:cubicBezTo>
                      <a:pt x="69" y="55"/>
                      <a:pt x="68" y="55"/>
                      <a:pt x="67" y="55"/>
                    </a:cubicBezTo>
                    <a:cubicBezTo>
                      <a:pt x="65" y="55"/>
                      <a:pt x="62" y="55"/>
                      <a:pt x="59" y="55"/>
                    </a:cubicBezTo>
                    <a:cubicBezTo>
                      <a:pt x="58" y="56"/>
                      <a:pt x="56" y="55"/>
                      <a:pt x="56" y="57"/>
                    </a:cubicBezTo>
                    <a:cubicBezTo>
                      <a:pt x="56" y="58"/>
                      <a:pt x="55" y="58"/>
                      <a:pt x="54" y="59"/>
                    </a:cubicBezTo>
                    <a:cubicBezTo>
                      <a:pt x="53" y="59"/>
                      <a:pt x="52" y="59"/>
                      <a:pt x="52" y="60"/>
                    </a:cubicBezTo>
                    <a:cubicBezTo>
                      <a:pt x="51" y="60"/>
                      <a:pt x="51" y="60"/>
                      <a:pt x="50" y="60"/>
                    </a:cubicBezTo>
                    <a:cubicBezTo>
                      <a:pt x="49" y="60"/>
                      <a:pt x="48" y="59"/>
                      <a:pt x="47" y="61"/>
                    </a:cubicBezTo>
                    <a:cubicBezTo>
                      <a:pt x="47" y="61"/>
                      <a:pt x="47" y="62"/>
                      <a:pt x="47" y="62"/>
                    </a:cubicBezTo>
                    <a:cubicBezTo>
                      <a:pt x="47" y="63"/>
                      <a:pt x="48" y="63"/>
                      <a:pt x="48" y="63"/>
                    </a:cubicBezTo>
                    <a:cubicBezTo>
                      <a:pt x="47" y="64"/>
                      <a:pt x="47" y="64"/>
                      <a:pt x="47" y="65"/>
                    </a:cubicBezTo>
                    <a:cubicBezTo>
                      <a:pt x="47" y="65"/>
                      <a:pt x="47" y="66"/>
                      <a:pt x="47" y="66"/>
                    </a:cubicBezTo>
                    <a:cubicBezTo>
                      <a:pt x="48" y="66"/>
                      <a:pt x="48" y="65"/>
                      <a:pt x="48" y="66"/>
                    </a:cubicBezTo>
                    <a:cubicBezTo>
                      <a:pt x="48" y="66"/>
                      <a:pt x="48" y="66"/>
                      <a:pt x="48" y="66"/>
                    </a:cubicBezTo>
                    <a:cubicBezTo>
                      <a:pt x="49" y="66"/>
                      <a:pt x="49" y="67"/>
                      <a:pt x="49" y="67"/>
                    </a:cubicBezTo>
                    <a:cubicBezTo>
                      <a:pt x="49" y="68"/>
                      <a:pt x="47" y="68"/>
                      <a:pt x="46" y="68"/>
                    </a:cubicBezTo>
                    <a:cubicBezTo>
                      <a:pt x="45" y="68"/>
                      <a:pt x="45" y="69"/>
                      <a:pt x="44" y="69"/>
                    </a:cubicBezTo>
                    <a:cubicBezTo>
                      <a:pt x="44" y="70"/>
                      <a:pt x="43" y="70"/>
                      <a:pt x="42" y="71"/>
                    </a:cubicBezTo>
                    <a:cubicBezTo>
                      <a:pt x="42" y="71"/>
                      <a:pt x="41" y="71"/>
                      <a:pt x="40" y="72"/>
                    </a:cubicBezTo>
                    <a:cubicBezTo>
                      <a:pt x="39" y="72"/>
                      <a:pt x="39" y="72"/>
                      <a:pt x="38" y="73"/>
                    </a:cubicBezTo>
                    <a:cubicBezTo>
                      <a:pt x="37" y="73"/>
                      <a:pt x="36" y="73"/>
                      <a:pt x="36" y="74"/>
                    </a:cubicBezTo>
                    <a:cubicBezTo>
                      <a:pt x="36" y="75"/>
                      <a:pt x="35" y="75"/>
                      <a:pt x="35" y="76"/>
                    </a:cubicBezTo>
                    <a:cubicBezTo>
                      <a:pt x="34" y="77"/>
                      <a:pt x="33" y="78"/>
                      <a:pt x="31" y="79"/>
                    </a:cubicBezTo>
                    <a:cubicBezTo>
                      <a:pt x="30" y="80"/>
                      <a:pt x="29" y="80"/>
                      <a:pt x="29" y="80"/>
                    </a:cubicBezTo>
                    <a:cubicBezTo>
                      <a:pt x="28" y="80"/>
                      <a:pt x="27" y="80"/>
                      <a:pt x="26" y="80"/>
                    </a:cubicBezTo>
                    <a:cubicBezTo>
                      <a:pt x="25" y="80"/>
                      <a:pt x="25" y="80"/>
                      <a:pt x="24" y="81"/>
                    </a:cubicBezTo>
                    <a:cubicBezTo>
                      <a:pt x="24" y="81"/>
                      <a:pt x="23" y="81"/>
                      <a:pt x="22" y="81"/>
                    </a:cubicBezTo>
                    <a:cubicBezTo>
                      <a:pt x="22" y="80"/>
                      <a:pt x="22" y="80"/>
                      <a:pt x="22" y="81"/>
                    </a:cubicBezTo>
                    <a:cubicBezTo>
                      <a:pt x="21" y="82"/>
                      <a:pt x="22" y="83"/>
                      <a:pt x="21" y="83"/>
                    </a:cubicBezTo>
                    <a:cubicBezTo>
                      <a:pt x="20" y="83"/>
                      <a:pt x="20" y="83"/>
                      <a:pt x="19" y="83"/>
                    </a:cubicBezTo>
                    <a:cubicBezTo>
                      <a:pt x="18" y="83"/>
                      <a:pt x="18" y="83"/>
                      <a:pt x="17" y="83"/>
                    </a:cubicBezTo>
                    <a:cubicBezTo>
                      <a:pt x="16" y="83"/>
                      <a:pt x="16" y="83"/>
                      <a:pt x="15" y="83"/>
                    </a:cubicBezTo>
                    <a:cubicBezTo>
                      <a:pt x="14" y="84"/>
                      <a:pt x="14" y="84"/>
                      <a:pt x="13" y="85"/>
                    </a:cubicBezTo>
                    <a:cubicBezTo>
                      <a:pt x="13" y="85"/>
                      <a:pt x="12" y="85"/>
                      <a:pt x="12" y="85"/>
                    </a:cubicBezTo>
                    <a:cubicBezTo>
                      <a:pt x="11" y="85"/>
                      <a:pt x="11" y="85"/>
                      <a:pt x="10" y="86"/>
                    </a:cubicBezTo>
                    <a:cubicBezTo>
                      <a:pt x="10" y="86"/>
                      <a:pt x="9" y="87"/>
                      <a:pt x="8" y="87"/>
                    </a:cubicBezTo>
                    <a:cubicBezTo>
                      <a:pt x="8" y="88"/>
                      <a:pt x="7" y="88"/>
                      <a:pt x="6" y="89"/>
                    </a:cubicBezTo>
                    <a:cubicBezTo>
                      <a:pt x="5" y="90"/>
                      <a:pt x="4" y="91"/>
                      <a:pt x="3" y="92"/>
                    </a:cubicBezTo>
                    <a:cubicBezTo>
                      <a:pt x="2" y="92"/>
                      <a:pt x="2" y="92"/>
                      <a:pt x="1" y="93"/>
                    </a:cubicBezTo>
                    <a:cubicBezTo>
                      <a:pt x="1" y="93"/>
                      <a:pt x="1" y="93"/>
                      <a:pt x="1" y="94"/>
                    </a:cubicBezTo>
                    <a:cubicBezTo>
                      <a:pt x="1" y="96"/>
                      <a:pt x="1" y="97"/>
                      <a:pt x="0" y="99"/>
                    </a:cubicBezTo>
                    <a:cubicBezTo>
                      <a:pt x="0" y="101"/>
                      <a:pt x="0" y="103"/>
                      <a:pt x="0" y="105"/>
                    </a:cubicBezTo>
                    <a:cubicBezTo>
                      <a:pt x="0" y="106"/>
                      <a:pt x="0" y="108"/>
                      <a:pt x="0" y="108"/>
                    </a:cubicBezTo>
                    <a:cubicBezTo>
                      <a:pt x="14" y="118"/>
                      <a:pt x="27" y="127"/>
                      <a:pt x="40" y="137"/>
                    </a:cubicBezTo>
                    <a:cubicBezTo>
                      <a:pt x="54" y="147"/>
                      <a:pt x="67" y="157"/>
                      <a:pt x="80" y="168"/>
                    </a:cubicBezTo>
                    <a:cubicBezTo>
                      <a:pt x="83" y="170"/>
                      <a:pt x="86" y="172"/>
                      <a:pt x="89" y="175"/>
                    </a:cubicBezTo>
                    <a:cubicBezTo>
                      <a:pt x="91" y="176"/>
                      <a:pt x="92" y="176"/>
                      <a:pt x="92" y="178"/>
                    </a:cubicBezTo>
                    <a:cubicBezTo>
                      <a:pt x="92" y="179"/>
                      <a:pt x="91" y="179"/>
                      <a:pt x="91" y="180"/>
                    </a:cubicBezTo>
                    <a:cubicBezTo>
                      <a:pt x="91" y="181"/>
                      <a:pt x="92" y="180"/>
                      <a:pt x="93" y="180"/>
                    </a:cubicBezTo>
                    <a:cubicBezTo>
                      <a:pt x="93" y="181"/>
                      <a:pt x="93" y="181"/>
                      <a:pt x="93" y="181"/>
                    </a:cubicBezTo>
                    <a:cubicBezTo>
                      <a:pt x="94" y="181"/>
                      <a:pt x="94" y="181"/>
                      <a:pt x="94" y="181"/>
                    </a:cubicBezTo>
                    <a:cubicBezTo>
                      <a:pt x="95" y="182"/>
                      <a:pt x="95" y="182"/>
                      <a:pt x="96" y="182"/>
                    </a:cubicBezTo>
                    <a:cubicBezTo>
                      <a:pt x="96" y="183"/>
                      <a:pt x="96" y="183"/>
                      <a:pt x="96" y="184"/>
                    </a:cubicBezTo>
                    <a:cubicBezTo>
                      <a:pt x="96" y="184"/>
                      <a:pt x="97" y="185"/>
                      <a:pt x="97" y="185"/>
                    </a:cubicBezTo>
                    <a:cubicBezTo>
                      <a:pt x="97" y="185"/>
                      <a:pt x="98" y="185"/>
                      <a:pt x="98" y="185"/>
                    </a:cubicBezTo>
                    <a:cubicBezTo>
                      <a:pt x="98" y="185"/>
                      <a:pt x="98" y="186"/>
                      <a:pt x="98" y="186"/>
                    </a:cubicBezTo>
                    <a:cubicBezTo>
                      <a:pt x="99" y="186"/>
                      <a:pt x="99" y="186"/>
                      <a:pt x="99" y="186"/>
                    </a:cubicBezTo>
                    <a:cubicBezTo>
                      <a:pt x="99" y="186"/>
                      <a:pt x="99" y="186"/>
                      <a:pt x="100" y="186"/>
                    </a:cubicBezTo>
                    <a:cubicBezTo>
                      <a:pt x="100" y="186"/>
                      <a:pt x="100" y="186"/>
                      <a:pt x="101" y="185"/>
                    </a:cubicBezTo>
                    <a:cubicBezTo>
                      <a:pt x="102" y="185"/>
                      <a:pt x="102" y="186"/>
                      <a:pt x="103" y="187"/>
                    </a:cubicBezTo>
                    <a:cubicBezTo>
                      <a:pt x="103" y="187"/>
                      <a:pt x="103" y="188"/>
                      <a:pt x="104" y="188"/>
                    </a:cubicBezTo>
                    <a:cubicBezTo>
                      <a:pt x="105" y="188"/>
                      <a:pt x="105" y="188"/>
                      <a:pt x="106" y="189"/>
                    </a:cubicBezTo>
                    <a:cubicBezTo>
                      <a:pt x="107" y="189"/>
                      <a:pt x="108" y="189"/>
                      <a:pt x="108" y="189"/>
                    </a:cubicBezTo>
                    <a:cubicBezTo>
                      <a:pt x="109" y="189"/>
                      <a:pt x="110" y="190"/>
                      <a:pt x="110" y="190"/>
                    </a:cubicBezTo>
                    <a:cubicBezTo>
                      <a:pt x="111" y="191"/>
                      <a:pt x="111" y="191"/>
                      <a:pt x="111" y="192"/>
                    </a:cubicBezTo>
                    <a:cubicBezTo>
                      <a:pt x="111" y="192"/>
                      <a:pt x="111" y="193"/>
                      <a:pt x="111" y="194"/>
                    </a:cubicBezTo>
                    <a:cubicBezTo>
                      <a:pt x="111" y="194"/>
                      <a:pt x="111" y="195"/>
                      <a:pt x="111" y="195"/>
                    </a:cubicBezTo>
                    <a:cubicBezTo>
                      <a:pt x="111" y="195"/>
                      <a:pt x="111" y="195"/>
                      <a:pt x="111" y="196"/>
                    </a:cubicBezTo>
                    <a:cubicBezTo>
                      <a:pt x="111" y="196"/>
                      <a:pt x="111" y="196"/>
                      <a:pt x="111" y="197"/>
                    </a:cubicBezTo>
                    <a:cubicBezTo>
                      <a:pt x="110" y="197"/>
                      <a:pt x="109" y="198"/>
                      <a:pt x="110" y="198"/>
                    </a:cubicBezTo>
                    <a:cubicBezTo>
                      <a:pt x="110" y="199"/>
                      <a:pt x="111" y="199"/>
                      <a:pt x="111" y="199"/>
                    </a:cubicBezTo>
                    <a:cubicBezTo>
                      <a:pt x="112" y="200"/>
                      <a:pt x="115" y="199"/>
                      <a:pt x="116" y="199"/>
                    </a:cubicBezTo>
                    <a:cubicBezTo>
                      <a:pt x="120" y="198"/>
                      <a:pt x="124" y="197"/>
                      <a:pt x="127" y="196"/>
                    </a:cubicBezTo>
                    <a:cubicBezTo>
                      <a:pt x="130" y="196"/>
                      <a:pt x="132" y="195"/>
                      <a:pt x="134" y="195"/>
                    </a:cubicBezTo>
                    <a:cubicBezTo>
                      <a:pt x="134" y="195"/>
                      <a:pt x="135" y="195"/>
                      <a:pt x="136" y="194"/>
                    </a:cubicBezTo>
                    <a:cubicBezTo>
                      <a:pt x="136" y="194"/>
                      <a:pt x="137" y="193"/>
                      <a:pt x="137" y="193"/>
                    </a:cubicBezTo>
                    <a:cubicBezTo>
                      <a:pt x="140" y="190"/>
                      <a:pt x="143" y="187"/>
                      <a:pt x="146" y="184"/>
                    </a:cubicBezTo>
                    <a:cubicBezTo>
                      <a:pt x="149" y="181"/>
                      <a:pt x="152" y="179"/>
                      <a:pt x="155" y="176"/>
                    </a:cubicBezTo>
                    <a:cubicBezTo>
                      <a:pt x="158" y="174"/>
                      <a:pt x="162" y="172"/>
                      <a:pt x="165" y="169"/>
                    </a:cubicBezTo>
                    <a:cubicBezTo>
                      <a:pt x="172" y="165"/>
                      <a:pt x="179" y="160"/>
                      <a:pt x="186" y="156"/>
                    </a:cubicBezTo>
                    <a:cubicBezTo>
                      <a:pt x="187" y="154"/>
                      <a:pt x="189" y="153"/>
                      <a:pt x="191" y="152"/>
                    </a:cubicBezTo>
                    <a:cubicBezTo>
                      <a:pt x="192" y="151"/>
                      <a:pt x="193" y="151"/>
                      <a:pt x="193" y="150"/>
                    </a:cubicBezTo>
                    <a:cubicBezTo>
                      <a:pt x="194" y="150"/>
                      <a:pt x="194" y="150"/>
                      <a:pt x="194" y="150"/>
                    </a:cubicBezTo>
                    <a:cubicBezTo>
                      <a:pt x="194" y="149"/>
                      <a:pt x="194" y="149"/>
                      <a:pt x="194" y="148"/>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5" name="Akrotiri and Dhedelia (British overseas territory)">
                <a:extLst>
                  <a:ext uri="{FF2B5EF4-FFF2-40B4-BE49-F238E27FC236}">
                    <a16:creationId xmlns:a16="http://schemas.microsoft.com/office/drawing/2014/main" id="{039C69C5-6F1D-1B4B-772A-4F0A13739407}"/>
                  </a:ext>
                </a:extLst>
              </p:cNvPr>
              <p:cNvSpPr>
                <a:spLocks noEditPoints="1"/>
              </p:cNvSpPr>
              <p:nvPr/>
            </p:nvSpPr>
            <p:spPr bwMode="auto">
              <a:xfrm>
                <a:off x="6776825" y="2676038"/>
                <a:ext cx="35285" cy="20584"/>
              </a:xfrm>
              <a:custGeom>
                <a:avLst/>
                <a:gdLst/>
                <a:ahLst/>
                <a:cxnLst>
                  <a:cxn ang="0">
                    <a:pos x="3" y="6"/>
                  </a:cxn>
                  <a:cxn ang="0">
                    <a:pos x="2" y="6"/>
                  </a:cxn>
                  <a:cxn ang="0">
                    <a:pos x="1" y="5"/>
                  </a:cxn>
                  <a:cxn ang="0">
                    <a:pos x="0" y="5"/>
                  </a:cxn>
                  <a:cxn ang="0">
                    <a:pos x="1" y="5"/>
                  </a:cxn>
                  <a:cxn ang="0">
                    <a:pos x="2" y="5"/>
                  </a:cxn>
                  <a:cxn ang="0">
                    <a:pos x="2" y="5"/>
                  </a:cxn>
                  <a:cxn ang="0">
                    <a:pos x="2" y="6"/>
                  </a:cxn>
                  <a:cxn ang="0">
                    <a:pos x="3" y="6"/>
                  </a:cxn>
                  <a:cxn ang="0">
                    <a:pos x="10" y="2"/>
                  </a:cxn>
                  <a:cxn ang="0">
                    <a:pos x="9" y="1"/>
                  </a:cxn>
                  <a:cxn ang="0">
                    <a:pos x="10" y="1"/>
                  </a:cxn>
                  <a:cxn ang="0">
                    <a:pos x="10" y="0"/>
                  </a:cxn>
                  <a:cxn ang="0">
                    <a:pos x="9" y="1"/>
                  </a:cxn>
                  <a:cxn ang="0">
                    <a:pos x="9" y="1"/>
                  </a:cxn>
                  <a:cxn ang="0">
                    <a:pos x="8" y="1"/>
                  </a:cxn>
                  <a:cxn ang="0">
                    <a:pos x="8" y="1"/>
                  </a:cxn>
                  <a:cxn ang="0">
                    <a:pos x="8" y="2"/>
                  </a:cxn>
                  <a:cxn ang="0">
                    <a:pos x="10" y="2"/>
                  </a:cxn>
                  <a:cxn ang="0">
                    <a:pos x="10" y="2"/>
                  </a:cxn>
                </a:cxnLst>
                <a:rect l="0" t="0" r="r" b="b"/>
                <a:pathLst>
                  <a:path w="10" h="6">
                    <a:moveTo>
                      <a:pt x="3" y="6"/>
                    </a:moveTo>
                    <a:cubicBezTo>
                      <a:pt x="2" y="6"/>
                      <a:pt x="2" y="6"/>
                      <a:pt x="2" y="6"/>
                    </a:cubicBezTo>
                    <a:cubicBezTo>
                      <a:pt x="1" y="6"/>
                      <a:pt x="1" y="5"/>
                      <a:pt x="1" y="5"/>
                    </a:cubicBezTo>
                    <a:cubicBezTo>
                      <a:pt x="1" y="5"/>
                      <a:pt x="0" y="5"/>
                      <a:pt x="0" y="5"/>
                    </a:cubicBezTo>
                    <a:cubicBezTo>
                      <a:pt x="0" y="5"/>
                      <a:pt x="1" y="5"/>
                      <a:pt x="1" y="5"/>
                    </a:cubicBezTo>
                    <a:cubicBezTo>
                      <a:pt x="1" y="5"/>
                      <a:pt x="1" y="5"/>
                      <a:pt x="2" y="5"/>
                    </a:cubicBezTo>
                    <a:cubicBezTo>
                      <a:pt x="2" y="5"/>
                      <a:pt x="2" y="5"/>
                      <a:pt x="2" y="5"/>
                    </a:cubicBezTo>
                    <a:cubicBezTo>
                      <a:pt x="2" y="5"/>
                      <a:pt x="1" y="6"/>
                      <a:pt x="2" y="6"/>
                    </a:cubicBezTo>
                    <a:cubicBezTo>
                      <a:pt x="2" y="6"/>
                      <a:pt x="2" y="6"/>
                      <a:pt x="3" y="6"/>
                    </a:cubicBezTo>
                    <a:close/>
                    <a:moveTo>
                      <a:pt x="10" y="2"/>
                    </a:moveTo>
                    <a:cubicBezTo>
                      <a:pt x="10" y="2"/>
                      <a:pt x="9" y="1"/>
                      <a:pt x="9" y="1"/>
                    </a:cubicBezTo>
                    <a:cubicBezTo>
                      <a:pt x="9" y="1"/>
                      <a:pt x="10" y="1"/>
                      <a:pt x="10" y="1"/>
                    </a:cubicBezTo>
                    <a:cubicBezTo>
                      <a:pt x="10" y="1"/>
                      <a:pt x="10" y="0"/>
                      <a:pt x="10" y="0"/>
                    </a:cubicBezTo>
                    <a:cubicBezTo>
                      <a:pt x="10" y="1"/>
                      <a:pt x="10" y="1"/>
                      <a:pt x="9" y="1"/>
                    </a:cubicBezTo>
                    <a:cubicBezTo>
                      <a:pt x="9" y="1"/>
                      <a:pt x="9" y="1"/>
                      <a:pt x="9" y="1"/>
                    </a:cubicBezTo>
                    <a:cubicBezTo>
                      <a:pt x="9" y="1"/>
                      <a:pt x="9" y="1"/>
                      <a:pt x="8" y="1"/>
                    </a:cubicBezTo>
                    <a:cubicBezTo>
                      <a:pt x="9" y="1"/>
                      <a:pt x="8" y="1"/>
                      <a:pt x="8" y="1"/>
                    </a:cubicBezTo>
                    <a:cubicBezTo>
                      <a:pt x="8" y="1"/>
                      <a:pt x="8" y="2"/>
                      <a:pt x="8" y="2"/>
                    </a:cubicBezTo>
                    <a:cubicBezTo>
                      <a:pt x="9" y="2"/>
                      <a:pt x="10" y="3"/>
                      <a:pt x="10" y="2"/>
                    </a:cubicBezTo>
                    <a:cubicBezTo>
                      <a:pt x="10" y="2"/>
                      <a:pt x="10" y="2"/>
                      <a:pt x="10" y="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6" name="Albania">
                <a:extLst>
                  <a:ext uri="{FF2B5EF4-FFF2-40B4-BE49-F238E27FC236}">
                    <a16:creationId xmlns:a16="http://schemas.microsoft.com/office/drawing/2014/main" id="{D37988F0-2E4D-19AB-F62D-AF5625CCC277}"/>
                  </a:ext>
                </a:extLst>
              </p:cNvPr>
              <p:cNvSpPr>
                <a:spLocks/>
              </p:cNvSpPr>
              <p:nvPr/>
            </p:nvSpPr>
            <p:spPr bwMode="auto">
              <a:xfrm>
                <a:off x="6330849" y="2384931"/>
                <a:ext cx="56849" cy="116640"/>
              </a:xfrm>
              <a:custGeom>
                <a:avLst/>
                <a:gdLst/>
                <a:ahLst/>
                <a:cxnLst>
                  <a:cxn ang="0">
                    <a:pos x="15" y="20"/>
                  </a:cxn>
                  <a:cxn ang="0">
                    <a:pos x="13" y="18"/>
                  </a:cxn>
                  <a:cxn ang="0">
                    <a:pos x="11" y="16"/>
                  </a:cxn>
                  <a:cxn ang="0">
                    <a:pos x="11" y="13"/>
                  </a:cxn>
                  <a:cxn ang="0">
                    <a:pos x="11" y="11"/>
                  </a:cxn>
                  <a:cxn ang="0">
                    <a:pos x="11" y="8"/>
                  </a:cxn>
                  <a:cxn ang="0">
                    <a:pos x="10" y="5"/>
                  </a:cxn>
                  <a:cxn ang="0">
                    <a:pos x="8" y="3"/>
                  </a:cxn>
                  <a:cxn ang="0">
                    <a:pos x="4" y="1"/>
                  </a:cxn>
                  <a:cxn ang="0">
                    <a:pos x="2" y="1"/>
                  </a:cxn>
                  <a:cxn ang="0">
                    <a:pos x="1" y="3"/>
                  </a:cxn>
                  <a:cxn ang="0">
                    <a:pos x="1" y="6"/>
                  </a:cxn>
                  <a:cxn ang="0">
                    <a:pos x="0" y="9"/>
                  </a:cxn>
                  <a:cxn ang="0">
                    <a:pos x="2" y="10"/>
                  </a:cxn>
                  <a:cxn ang="0">
                    <a:pos x="2" y="12"/>
                  </a:cxn>
                  <a:cxn ang="0">
                    <a:pos x="2" y="13"/>
                  </a:cxn>
                  <a:cxn ang="0">
                    <a:pos x="1" y="14"/>
                  </a:cxn>
                  <a:cxn ang="0">
                    <a:pos x="2" y="16"/>
                  </a:cxn>
                  <a:cxn ang="0">
                    <a:pos x="2" y="18"/>
                  </a:cxn>
                  <a:cxn ang="0">
                    <a:pos x="2" y="19"/>
                  </a:cxn>
                  <a:cxn ang="0">
                    <a:pos x="1" y="21"/>
                  </a:cxn>
                  <a:cxn ang="0">
                    <a:pos x="2" y="23"/>
                  </a:cxn>
                  <a:cxn ang="0">
                    <a:pos x="2" y="24"/>
                  </a:cxn>
                  <a:cxn ang="0">
                    <a:pos x="1" y="24"/>
                  </a:cxn>
                  <a:cxn ang="0">
                    <a:pos x="2" y="26"/>
                  </a:cxn>
                  <a:cxn ang="0">
                    <a:pos x="6" y="28"/>
                  </a:cxn>
                  <a:cxn ang="0">
                    <a:pos x="7" y="31"/>
                  </a:cxn>
                  <a:cxn ang="0">
                    <a:pos x="8" y="33"/>
                  </a:cxn>
                  <a:cxn ang="0">
                    <a:pos x="10" y="31"/>
                  </a:cxn>
                  <a:cxn ang="0">
                    <a:pos x="10" y="29"/>
                  </a:cxn>
                  <a:cxn ang="0">
                    <a:pos x="11" y="28"/>
                  </a:cxn>
                  <a:cxn ang="0">
                    <a:pos x="13" y="27"/>
                  </a:cxn>
                  <a:cxn ang="0">
                    <a:pos x="13" y="26"/>
                  </a:cxn>
                  <a:cxn ang="0">
                    <a:pos x="15" y="24"/>
                  </a:cxn>
                </a:cxnLst>
                <a:rect l="0" t="0" r="r" b="b"/>
                <a:pathLst>
                  <a:path w="16" h="33">
                    <a:moveTo>
                      <a:pt x="16" y="21"/>
                    </a:moveTo>
                    <a:cubicBezTo>
                      <a:pt x="16" y="21"/>
                      <a:pt x="15" y="21"/>
                      <a:pt x="15" y="20"/>
                    </a:cubicBezTo>
                    <a:cubicBezTo>
                      <a:pt x="15" y="19"/>
                      <a:pt x="15" y="19"/>
                      <a:pt x="15" y="19"/>
                    </a:cubicBezTo>
                    <a:cubicBezTo>
                      <a:pt x="14" y="18"/>
                      <a:pt x="13" y="20"/>
                      <a:pt x="13" y="18"/>
                    </a:cubicBezTo>
                    <a:cubicBezTo>
                      <a:pt x="13" y="18"/>
                      <a:pt x="13" y="17"/>
                      <a:pt x="12" y="17"/>
                    </a:cubicBezTo>
                    <a:cubicBezTo>
                      <a:pt x="11" y="17"/>
                      <a:pt x="12" y="16"/>
                      <a:pt x="11" y="16"/>
                    </a:cubicBezTo>
                    <a:cubicBezTo>
                      <a:pt x="11" y="15"/>
                      <a:pt x="11" y="14"/>
                      <a:pt x="11" y="14"/>
                    </a:cubicBezTo>
                    <a:cubicBezTo>
                      <a:pt x="11" y="14"/>
                      <a:pt x="11" y="13"/>
                      <a:pt x="11" y="13"/>
                    </a:cubicBezTo>
                    <a:cubicBezTo>
                      <a:pt x="11" y="13"/>
                      <a:pt x="10" y="12"/>
                      <a:pt x="10" y="12"/>
                    </a:cubicBezTo>
                    <a:cubicBezTo>
                      <a:pt x="11" y="12"/>
                      <a:pt x="11" y="12"/>
                      <a:pt x="11" y="11"/>
                    </a:cubicBezTo>
                    <a:cubicBezTo>
                      <a:pt x="11" y="11"/>
                      <a:pt x="11" y="10"/>
                      <a:pt x="11" y="9"/>
                    </a:cubicBezTo>
                    <a:cubicBezTo>
                      <a:pt x="11" y="9"/>
                      <a:pt x="11" y="9"/>
                      <a:pt x="11" y="8"/>
                    </a:cubicBezTo>
                    <a:cubicBezTo>
                      <a:pt x="11" y="8"/>
                      <a:pt x="11" y="7"/>
                      <a:pt x="11" y="6"/>
                    </a:cubicBezTo>
                    <a:cubicBezTo>
                      <a:pt x="11" y="6"/>
                      <a:pt x="11" y="5"/>
                      <a:pt x="10" y="5"/>
                    </a:cubicBezTo>
                    <a:cubicBezTo>
                      <a:pt x="10" y="4"/>
                      <a:pt x="9" y="4"/>
                      <a:pt x="9" y="3"/>
                    </a:cubicBezTo>
                    <a:cubicBezTo>
                      <a:pt x="8" y="3"/>
                      <a:pt x="8" y="3"/>
                      <a:pt x="8" y="3"/>
                    </a:cubicBezTo>
                    <a:cubicBezTo>
                      <a:pt x="7" y="2"/>
                      <a:pt x="7" y="1"/>
                      <a:pt x="6" y="1"/>
                    </a:cubicBezTo>
                    <a:cubicBezTo>
                      <a:pt x="5" y="1"/>
                      <a:pt x="4" y="2"/>
                      <a:pt x="4" y="1"/>
                    </a:cubicBezTo>
                    <a:cubicBezTo>
                      <a:pt x="3" y="1"/>
                      <a:pt x="4" y="0"/>
                      <a:pt x="3" y="0"/>
                    </a:cubicBezTo>
                    <a:cubicBezTo>
                      <a:pt x="3" y="0"/>
                      <a:pt x="2" y="1"/>
                      <a:pt x="2" y="1"/>
                    </a:cubicBezTo>
                    <a:cubicBezTo>
                      <a:pt x="2" y="1"/>
                      <a:pt x="2" y="2"/>
                      <a:pt x="1" y="2"/>
                    </a:cubicBezTo>
                    <a:cubicBezTo>
                      <a:pt x="1" y="3"/>
                      <a:pt x="1" y="3"/>
                      <a:pt x="1" y="3"/>
                    </a:cubicBezTo>
                    <a:cubicBezTo>
                      <a:pt x="0" y="4"/>
                      <a:pt x="0" y="4"/>
                      <a:pt x="0" y="5"/>
                    </a:cubicBezTo>
                    <a:cubicBezTo>
                      <a:pt x="0" y="6"/>
                      <a:pt x="1" y="6"/>
                      <a:pt x="1" y="6"/>
                    </a:cubicBezTo>
                    <a:cubicBezTo>
                      <a:pt x="1" y="7"/>
                      <a:pt x="1" y="7"/>
                      <a:pt x="0" y="7"/>
                    </a:cubicBezTo>
                    <a:cubicBezTo>
                      <a:pt x="0" y="8"/>
                      <a:pt x="1" y="8"/>
                      <a:pt x="0" y="9"/>
                    </a:cubicBezTo>
                    <a:cubicBezTo>
                      <a:pt x="1" y="8"/>
                      <a:pt x="2" y="9"/>
                      <a:pt x="2" y="9"/>
                    </a:cubicBezTo>
                    <a:cubicBezTo>
                      <a:pt x="3" y="9"/>
                      <a:pt x="2" y="10"/>
                      <a:pt x="2" y="10"/>
                    </a:cubicBezTo>
                    <a:cubicBezTo>
                      <a:pt x="2" y="11"/>
                      <a:pt x="3" y="11"/>
                      <a:pt x="3" y="11"/>
                    </a:cubicBezTo>
                    <a:cubicBezTo>
                      <a:pt x="2" y="11"/>
                      <a:pt x="2" y="12"/>
                      <a:pt x="2" y="12"/>
                    </a:cubicBezTo>
                    <a:cubicBezTo>
                      <a:pt x="2" y="12"/>
                      <a:pt x="2" y="12"/>
                      <a:pt x="1" y="12"/>
                    </a:cubicBezTo>
                    <a:cubicBezTo>
                      <a:pt x="1" y="12"/>
                      <a:pt x="2" y="12"/>
                      <a:pt x="2" y="13"/>
                    </a:cubicBezTo>
                    <a:cubicBezTo>
                      <a:pt x="2" y="13"/>
                      <a:pt x="1" y="14"/>
                      <a:pt x="1" y="14"/>
                    </a:cubicBezTo>
                    <a:cubicBezTo>
                      <a:pt x="1" y="14"/>
                      <a:pt x="1" y="14"/>
                      <a:pt x="1" y="14"/>
                    </a:cubicBezTo>
                    <a:cubicBezTo>
                      <a:pt x="1" y="15"/>
                      <a:pt x="1" y="14"/>
                      <a:pt x="2" y="15"/>
                    </a:cubicBezTo>
                    <a:cubicBezTo>
                      <a:pt x="2" y="15"/>
                      <a:pt x="2" y="16"/>
                      <a:pt x="2" y="16"/>
                    </a:cubicBezTo>
                    <a:cubicBezTo>
                      <a:pt x="1" y="17"/>
                      <a:pt x="2" y="18"/>
                      <a:pt x="2" y="19"/>
                    </a:cubicBezTo>
                    <a:cubicBezTo>
                      <a:pt x="2" y="18"/>
                      <a:pt x="2" y="18"/>
                      <a:pt x="2" y="18"/>
                    </a:cubicBezTo>
                    <a:cubicBezTo>
                      <a:pt x="2" y="18"/>
                      <a:pt x="3" y="19"/>
                      <a:pt x="2" y="19"/>
                    </a:cubicBezTo>
                    <a:cubicBezTo>
                      <a:pt x="1" y="19"/>
                      <a:pt x="1" y="19"/>
                      <a:pt x="2" y="19"/>
                    </a:cubicBezTo>
                    <a:cubicBezTo>
                      <a:pt x="1" y="19"/>
                      <a:pt x="1" y="19"/>
                      <a:pt x="1" y="20"/>
                    </a:cubicBezTo>
                    <a:cubicBezTo>
                      <a:pt x="1" y="20"/>
                      <a:pt x="1" y="20"/>
                      <a:pt x="1" y="21"/>
                    </a:cubicBezTo>
                    <a:cubicBezTo>
                      <a:pt x="1" y="22"/>
                      <a:pt x="0" y="22"/>
                      <a:pt x="1" y="23"/>
                    </a:cubicBezTo>
                    <a:cubicBezTo>
                      <a:pt x="1" y="22"/>
                      <a:pt x="2" y="23"/>
                      <a:pt x="2" y="23"/>
                    </a:cubicBezTo>
                    <a:cubicBezTo>
                      <a:pt x="2" y="24"/>
                      <a:pt x="1" y="23"/>
                      <a:pt x="1" y="23"/>
                    </a:cubicBezTo>
                    <a:cubicBezTo>
                      <a:pt x="1" y="24"/>
                      <a:pt x="2" y="24"/>
                      <a:pt x="2" y="24"/>
                    </a:cubicBezTo>
                    <a:cubicBezTo>
                      <a:pt x="2" y="25"/>
                      <a:pt x="2" y="26"/>
                      <a:pt x="2" y="25"/>
                    </a:cubicBezTo>
                    <a:cubicBezTo>
                      <a:pt x="1" y="25"/>
                      <a:pt x="1" y="24"/>
                      <a:pt x="1" y="24"/>
                    </a:cubicBezTo>
                    <a:cubicBezTo>
                      <a:pt x="0" y="24"/>
                      <a:pt x="1" y="25"/>
                      <a:pt x="1" y="25"/>
                    </a:cubicBezTo>
                    <a:cubicBezTo>
                      <a:pt x="1" y="25"/>
                      <a:pt x="2" y="26"/>
                      <a:pt x="2" y="26"/>
                    </a:cubicBezTo>
                    <a:cubicBezTo>
                      <a:pt x="3" y="27"/>
                      <a:pt x="3" y="27"/>
                      <a:pt x="4" y="27"/>
                    </a:cubicBezTo>
                    <a:cubicBezTo>
                      <a:pt x="4" y="28"/>
                      <a:pt x="5" y="28"/>
                      <a:pt x="6" y="28"/>
                    </a:cubicBezTo>
                    <a:cubicBezTo>
                      <a:pt x="6" y="29"/>
                      <a:pt x="7" y="29"/>
                      <a:pt x="6" y="30"/>
                    </a:cubicBezTo>
                    <a:cubicBezTo>
                      <a:pt x="7" y="30"/>
                      <a:pt x="7" y="30"/>
                      <a:pt x="7" y="31"/>
                    </a:cubicBezTo>
                    <a:cubicBezTo>
                      <a:pt x="7" y="31"/>
                      <a:pt x="7" y="32"/>
                      <a:pt x="7" y="32"/>
                    </a:cubicBezTo>
                    <a:cubicBezTo>
                      <a:pt x="7" y="32"/>
                      <a:pt x="8" y="32"/>
                      <a:pt x="8" y="33"/>
                    </a:cubicBezTo>
                    <a:cubicBezTo>
                      <a:pt x="9" y="33"/>
                      <a:pt x="9" y="33"/>
                      <a:pt x="9" y="32"/>
                    </a:cubicBezTo>
                    <a:cubicBezTo>
                      <a:pt x="10" y="32"/>
                      <a:pt x="10" y="32"/>
                      <a:pt x="10" y="31"/>
                    </a:cubicBezTo>
                    <a:cubicBezTo>
                      <a:pt x="10" y="31"/>
                      <a:pt x="10" y="31"/>
                      <a:pt x="10" y="31"/>
                    </a:cubicBezTo>
                    <a:cubicBezTo>
                      <a:pt x="11" y="31"/>
                      <a:pt x="10" y="29"/>
                      <a:pt x="10" y="29"/>
                    </a:cubicBezTo>
                    <a:cubicBezTo>
                      <a:pt x="10" y="29"/>
                      <a:pt x="10" y="29"/>
                      <a:pt x="10" y="29"/>
                    </a:cubicBezTo>
                    <a:cubicBezTo>
                      <a:pt x="11" y="29"/>
                      <a:pt x="11" y="28"/>
                      <a:pt x="11" y="28"/>
                    </a:cubicBezTo>
                    <a:cubicBezTo>
                      <a:pt x="11" y="28"/>
                      <a:pt x="12" y="28"/>
                      <a:pt x="12" y="28"/>
                    </a:cubicBezTo>
                    <a:cubicBezTo>
                      <a:pt x="13" y="28"/>
                      <a:pt x="13" y="27"/>
                      <a:pt x="13" y="27"/>
                    </a:cubicBezTo>
                    <a:cubicBezTo>
                      <a:pt x="13" y="27"/>
                      <a:pt x="13" y="27"/>
                      <a:pt x="13" y="26"/>
                    </a:cubicBezTo>
                    <a:cubicBezTo>
                      <a:pt x="13" y="26"/>
                      <a:pt x="13" y="26"/>
                      <a:pt x="13" y="26"/>
                    </a:cubicBezTo>
                    <a:cubicBezTo>
                      <a:pt x="14" y="25"/>
                      <a:pt x="14" y="25"/>
                      <a:pt x="14" y="24"/>
                    </a:cubicBezTo>
                    <a:cubicBezTo>
                      <a:pt x="14" y="24"/>
                      <a:pt x="14" y="24"/>
                      <a:pt x="15" y="24"/>
                    </a:cubicBezTo>
                    <a:cubicBezTo>
                      <a:pt x="16" y="24"/>
                      <a:pt x="16" y="22"/>
                      <a:pt x="16" y="21"/>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sp>
            <p:nvSpPr>
              <p:cNvPr id="1697" name="Afghanistan">
                <a:extLst>
                  <a:ext uri="{FF2B5EF4-FFF2-40B4-BE49-F238E27FC236}">
                    <a16:creationId xmlns:a16="http://schemas.microsoft.com/office/drawing/2014/main" id="{79A57E87-1303-BF34-890A-D17D1D4A2924}"/>
                  </a:ext>
                </a:extLst>
              </p:cNvPr>
              <p:cNvSpPr>
                <a:spLocks/>
              </p:cNvSpPr>
              <p:nvPr/>
            </p:nvSpPr>
            <p:spPr bwMode="auto">
              <a:xfrm>
                <a:off x="7679555" y="2547637"/>
                <a:ext cx="443035" cy="351880"/>
              </a:xfrm>
              <a:custGeom>
                <a:avLst/>
                <a:gdLst/>
                <a:ahLst/>
                <a:cxnLst>
                  <a:cxn ang="0">
                    <a:pos x="118" y="12"/>
                  </a:cxn>
                  <a:cxn ang="0">
                    <a:pos x="114" y="11"/>
                  </a:cxn>
                  <a:cxn ang="0">
                    <a:pos x="109" y="11"/>
                  </a:cxn>
                  <a:cxn ang="0">
                    <a:pos x="106" y="13"/>
                  </a:cxn>
                  <a:cxn ang="0">
                    <a:pos x="96" y="19"/>
                  </a:cxn>
                  <a:cxn ang="0">
                    <a:pos x="93" y="8"/>
                  </a:cxn>
                  <a:cxn ang="0">
                    <a:pos x="90" y="4"/>
                  </a:cxn>
                  <a:cxn ang="0">
                    <a:pos x="86" y="0"/>
                  </a:cxn>
                  <a:cxn ang="0">
                    <a:pos x="83" y="1"/>
                  </a:cxn>
                  <a:cxn ang="0">
                    <a:pos x="80" y="5"/>
                  </a:cxn>
                  <a:cxn ang="0">
                    <a:pos x="78" y="9"/>
                  </a:cxn>
                  <a:cxn ang="0">
                    <a:pos x="74" y="11"/>
                  </a:cxn>
                  <a:cxn ang="0">
                    <a:pos x="70" y="12"/>
                  </a:cxn>
                  <a:cxn ang="0">
                    <a:pos x="68" y="13"/>
                  </a:cxn>
                  <a:cxn ang="0">
                    <a:pos x="63" y="16"/>
                  </a:cxn>
                  <a:cxn ang="0">
                    <a:pos x="58" y="13"/>
                  </a:cxn>
                  <a:cxn ang="0">
                    <a:pos x="54" y="12"/>
                  </a:cxn>
                  <a:cxn ang="0">
                    <a:pos x="46" y="12"/>
                  </a:cxn>
                  <a:cxn ang="0">
                    <a:pos x="40" y="10"/>
                  </a:cxn>
                  <a:cxn ang="0">
                    <a:pos x="34" y="14"/>
                  </a:cxn>
                  <a:cxn ang="0">
                    <a:pos x="32" y="24"/>
                  </a:cxn>
                  <a:cxn ang="0">
                    <a:pos x="26" y="27"/>
                  </a:cxn>
                  <a:cxn ang="0">
                    <a:pos x="21" y="28"/>
                  </a:cxn>
                  <a:cxn ang="0">
                    <a:pos x="20" y="33"/>
                  </a:cxn>
                  <a:cxn ang="0">
                    <a:pos x="14" y="35"/>
                  </a:cxn>
                  <a:cxn ang="0">
                    <a:pos x="5" y="31"/>
                  </a:cxn>
                  <a:cxn ang="0">
                    <a:pos x="4" y="35"/>
                  </a:cxn>
                  <a:cxn ang="0">
                    <a:pos x="3" y="42"/>
                  </a:cxn>
                  <a:cxn ang="0">
                    <a:pos x="2" y="45"/>
                  </a:cxn>
                  <a:cxn ang="0">
                    <a:pos x="2" y="53"/>
                  </a:cxn>
                  <a:cxn ang="0">
                    <a:pos x="4" y="55"/>
                  </a:cxn>
                  <a:cxn ang="0">
                    <a:pos x="7" y="72"/>
                  </a:cxn>
                  <a:cxn ang="0">
                    <a:pos x="13" y="77"/>
                  </a:cxn>
                  <a:cxn ang="0">
                    <a:pos x="18" y="83"/>
                  </a:cxn>
                  <a:cxn ang="0">
                    <a:pos x="26" y="99"/>
                  </a:cxn>
                  <a:cxn ang="0">
                    <a:pos x="42" y="99"/>
                  </a:cxn>
                  <a:cxn ang="0">
                    <a:pos x="57" y="96"/>
                  </a:cxn>
                  <a:cxn ang="0">
                    <a:pos x="60" y="87"/>
                  </a:cxn>
                  <a:cxn ang="0">
                    <a:pos x="63" y="80"/>
                  </a:cxn>
                  <a:cxn ang="0">
                    <a:pos x="68" y="79"/>
                  </a:cxn>
                  <a:cxn ang="0">
                    <a:pos x="70" y="76"/>
                  </a:cxn>
                  <a:cxn ang="0">
                    <a:pos x="76" y="73"/>
                  </a:cxn>
                  <a:cxn ang="0">
                    <a:pos x="78" y="72"/>
                  </a:cxn>
                  <a:cxn ang="0">
                    <a:pos x="83" y="74"/>
                  </a:cxn>
                  <a:cxn ang="0">
                    <a:pos x="85" y="69"/>
                  </a:cxn>
                  <a:cxn ang="0">
                    <a:pos x="85" y="63"/>
                  </a:cxn>
                  <a:cxn ang="0">
                    <a:pos x="89" y="58"/>
                  </a:cxn>
                  <a:cxn ang="0">
                    <a:pos x="91" y="54"/>
                  </a:cxn>
                  <a:cxn ang="0">
                    <a:pos x="87" y="49"/>
                  </a:cxn>
                  <a:cxn ang="0">
                    <a:pos x="96" y="49"/>
                  </a:cxn>
                  <a:cxn ang="0">
                    <a:pos x="98" y="47"/>
                  </a:cxn>
                  <a:cxn ang="0">
                    <a:pos x="96" y="42"/>
                  </a:cxn>
                  <a:cxn ang="0">
                    <a:pos x="99" y="38"/>
                  </a:cxn>
                  <a:cxn ang="0">
                    <a:pos x="99" y="32"/>
                  </a:cxn>
                  <a:cxn ang="0">
                    <a:pos x="94" y="25"/>
                  </a:cxn>
                  <a:cxn ang="0">
                    <a:pos x="98" y="22"/>
                  </a:cxn>
                  <a:cxn ang="0">
                    <a:pos x="101" y="20"/>
                  </a:cxn>
                  <a:cxn ang="0">
                    <a:pos x="108" y="17"/>
                  </a:cxn>
                  <a:cxn ang="0">
                    <a:pos x="118" y="18"/>
                  </a:cxn>
                  <a:cxn ang="0">
                    <a:pos x="122" y="16"/>
                  </a:cxn>
                  <a:cxn ang="0">
                    <a:pos x="123" y="13"/>
                  </a:cxn>
                </a:cxnLst>
                <a:rect l="0" t="0" r="r" b="b"/>
                <a:pathLst>
                  <a:path w="125" h="99">
                    <a:moveTo>
                      <a:pt x="123" y="12"/>
                    </a:moveTo>
                    <a:cubicBezTo>
                      <a:pt x="122" y="11"/>
                      <a:pt x="121" y="11"/>
                      <a:pt x="120" y="11"/>
                    </a:cubicBezTo>
                    <a:cubicBezTo>
                      <a:pt x="120" y="11"/>
                      <a:pt x="119" y="11"/>
                      <a:pt x="119" y="11"/>
                    </a:cubicBezTo>
                    <a:cubicBezTo>
                      <a:pt x="118" y="11"/>
                      <a:pt x="119" y="11"/>
                      <a:pt x="118" y="12"/>
                    </a:cubicBezTo>
                    <a:cubicBezTo>
                      <a:pt x="118" y="12"/>
                      <a:pt x="117" y="12"/>
                      <a:pt x="116" y="12"/>
                    </a:cubicBezTo>
                    <a:cubicBezTo>
                      <a:pt x="116" y="13"/>
                      <a:pt x="115" y="13"/>
                      <a:pt x="115" y="13"/>
                    </a:cubicBezTo>
                    <a:cubicBezTo>
                      <a:pt x="114" y="13"/>
                      <a:pt x="112" y="13"/>
                      <a:pt x="114" y="12"/>
                    </a:cubicBezTo>
                    <a:cubicBezTo>
                      <a:pt x="114" y="12"/>
                      <a:pt x="114" y="12"/>
                      <a:pt x="114" y="11"/>
                    </a:cubicBezTo>
                    <a:cubicBezTo>
                      <a:pt x="114" y="11"/>
                      <a:pt x="113" y="11"/>
                      <a:pt x="113" y="11"/>
                    </a:cubicBezTo>
                    <a:cubicBezTo>
                      <a:pt x="112" y="11"/>
                      <a:pt x="111" y="10"/>
                      <a:pt x="111" y="11"/>
                    </a:cubicBezTo>
                    <a:cubicBezTo>
                      <a:pt x="110" y="11"/>
                      <a:pt x="110" y="11"/>
                      <a:pt x="110" y="11"/>
                    </a:cubicBezTo>
                    <a:cubicBezTo>
                      <a:pt x="109" y="11"/>
                      <a:pt x="109" y="11"/>
                      <a:pt x="109" y="11"/>
                    </a:cubicBezTo>
                    <a:cubicBezTo>
                      <a:pt x="109" y="11"/>
                      <a:pt x="109" y="11"/>
                      <a:pt x="108" y="11"/>
                    </a:cubicBezTo>
                    <a:cubicBezTo>
                      <a:pt x="108" y="12"/>
                      <a:pt x="108" y="12"/>
                      <a:pt x="108" y="12"/>
                    </a:cubicBezTo>
                    <a:cubicBezTo>
                      <a:pt x="108" y="12"/>
                      <a:pt x="107" y="12"/>
                      <a:pt x="107" y="13"/>
                    </a:cubicBezTo>
                    <a:cubicBezTo>
                      <a:pt x="107" y="13"/>
                      <a:pt x="106" y="13"/>
                      <a:pt x="106" y="13"/>
                    </a:cubicBezTo>
                    <a:cubicBezTo>
                      <a:pt x="105" y="14"/>
                      <a:pt x="106" y="15"/>
                      <a:pt x="104" y="15"/>
                    </a:cubicBezTo>
                    <a:cubicBezTo>
                      <a:pt x="103" y="16"/>
                      <a:pt x="103" y="16"/>
                      <a:pt x="102" y="16"/>
                    </a:cubicBezTo>
                    <a:cubicBezTo>
                      <a:pt x="101" y="16"/>
                      <a:pt x="101" y="17"/>
                      <a:pt x="100" y="17"/>
                    </a:cubicBezTo>
                    <a:cubicBezTo>
                      <a:pt x="99" y="18"/>
                      <a:pt x="98" y="20"/>
                      <a:pt x="96" y="19"/>
                    </a:cubicBezTo>
                    <a:cubicBezTo>
                      <a:pt x="95" y="18"/>
                      <a:pt x="94" y="16"/>
                      <a:pt x="94" y="14"/>
                    </a:cubicBezTo>
                    <a:cubicBezTo>
                      <a:pt x="94" y="14"/>
                      <a:pt x="94" y="13"/>
                      <a:pt x="94" y="12"/>
                    </a:cubicBezTo>
                    <a:cubicBezTo>
                      <a:pt x="93" y="11"/>
                      <a:pt x="94" y="10"/>
                      <a:pt x="93" y="10"/>
                    </a:cubicBezTo>
                    <a:cubicBezTo>
                      <a:pt x="93" y="9"/>
                      <a:pt x="93" y="8"/>
                      <a:pt x="93" y="8"/>
                    </a:cubicBezTo>
                    <a:cubicBezTo>
                      <a:pt x="93" y="7"/>
                      <a:pt x="93" y="7"/>
                      <a:pt x="93" y="6"/>
                    </a:cubicBezTo>
                    <a:cubicBezTo>
                      <a:pt x="93" y="6"/>
                      <a:pt x="93" y="5"/>
                      <a:pt x="92" y="5"/>
                    </a:cubicBezTo>
                    <a:cubicBezTo>
                      <a:pt x="91" y="6"/>
                      <a:pt x="91" y="6"/>
                      <a:pt x="90" y="6"/>
                    </a:cubicBezTo>
                    <a:cubicBezTo>
                      <a:pt x="90" y="5"/>
                      <a:pt x="90" y="4"/>
                      <a:pt x="90" y="4"/>
                    </a:cubicBezTo>
                    <a:cubicBezTo>
                      <a:pt x="90" y="2"/>
                      <a:pt x="90" y="2"/>
                      <a:pt x="89" y="1"/>
                    </a:cubicBezTo>
                    <a:cubicBezTo>
                      <a:pt x="88" y="1"/>
                      <a:pt x="88" y="0"/>
                      <a:pt x="87" y="0"/>
                    </a:cubicBezTo>
                    <a:cubicBezTo>
                      <a:pt x="87" y="0"/>
                      <a:pt x="86" y="0"/>
                      <a:pt x="86" y="0"/>
                    </a:cubicBezTo>
                    <a:cubicBezTo>
                      <a:pt x="86" y="0"/>
                      <a:pt x="86" y="0"/>
                      <a:pt x="86" y="0"/>
                    </a:cubicBezTo>
                    <a:cubicBezTo>
                      <a:pt x="86" y="0"/>
                      <a:pt x="85" y="0"/>
                      <a:pt x="85" y="0"/>
                    </a:cubicBezTo>
                    <a:cubicBezTo>
                      <a:pt x="85" y="0"/>
                      <a:pt x="84" y="0"/>
                      <a:pt x="83" y="0"/>
                    </a:cubicBezTo>
                    <a:cubicBezTo>
                      <a:pt x="83" y="0"/>
                      <a:pt x="84" y="1"/>
                      <a:pt x="84" y="1"/>
                    </a:cubicBezTo>
                    <a:cubicBezTo>
                      <a:pt x="83" y="1"/>
                      <a:pt x="83" y="1"/>
                      <a:pt x="83" y="1"/>
                    </a:cubicBezTo>
                    <a:cubicBezTo>
                      <a:pt x="83" y="1"/>
                      <a:pt x="83" y="2"/>
                      <a:pt x="83" y="2"/>
                    </a:cubicBezTo>
                    <a:cubicBezTo>
                      <a:pt x="83" y="3"/>
                      <a:pt x="82" y="3"/>
                      <a:pt x="82" y="4"/>
                    </a:cubicBezTo>
                    <a:cubicBezTo>
                      <a:pt x="82" y="4"/>
                      <a:pt x="81" y="5"/>
                      <a:pt x="81" y="5"/>
                    </a:cubicBezTo>
                    <a:cubicBezTo>
                      <a:pt x="81" y="6"/>
                      <a:pt x="81" y="5"/>
                      <a:pt x="80" y="5"/>
                    </a:cubicBezTo>
                    <a:cubicBezTo>
                      <a:pt x="80" y="6"/>
                      <a:pt x="81" y="6"/>
                      <a:pt x="81" y="7"/>
                    </a:cubicBezTo>
                    <a:cubicBezTo>
                      <a:pt x="81" y="7"/>
                      <a:pt x="82" y="7"/>
                      <a:pt x="82" y="8"/>
                    </a:cubicBezTo>
                    <a:cubicBezTo>
                      <a:pt x="82" y="9"/>
                      <a:pt x="81" y="10"/>
                      <a:pt x="80" y="10"/>
                    </a:cubicBezTo>
                    <a:cubicBezTo>
                      <a:pt x="80" y="10"/>
                      <a:pt x="79" y="9"/>
                      <a:pt x="78" y="9"/>
                    </a:cubicBezTo>
                    <a:cubicBezTo>
                      <a:pt x="78" y="9"/>
                      <a:pt x="78" y="9"/>
                      <a:pt x="77" y="9"/>
                    </a:cubicBezTo>
                    <a:cubicBezTo>
                      <a:pt x="77" y="9"/>
                      <a:pt x="76" y="9"/>
                      <a:pt x="76" y="9"/>
                    </a:cubicBezTo>
                    <a:cubicBezTo>
                      <a:pt x="75" y="9"/>
                      <a:pt x="75" y="9"/>
                      <a:pt x="75" y="10"/>
                    </a:cubicBezTo>
                    <a:cubicBezTo>
                      <a:pt x="75" y="10"/>
                      <a:pt x="74" y="11"/>
                      <a:pt x="74" y="11"/>
                    </a:cubicBezTo>
                    <a:cubicBezTo>
                      <a:pt x="75" y="12"/>
                      <a:pt x="75" y="12"/>
                      <a:pt x="75" y="13"/>
                    </a:cubicBezTo>
                    <a:cubicBezTo>
                      <a:pt x="75" y="13"/>
                      <a:pt x="75" y="14"/>
                      <a:pt x="74" y="14"/>
                    </a:cubicBezTo>
                    <a:cubicBezTo>
                      <a:pt x="74" y="15"/>
                      <a:pt x="73" y="14"/>
                      <a:pt x="73" y="14"/>
                    </a:cubicBezTo>
                    <a:cubicBezTo>
                      <a:pt x="72" y="13"/>
                      <a:pt x="71" y="12"/>
                      <a:pt x="70" y="12"/>
                    </a:cubicBezTo>
                    <a:cubicBezTo>
                      <a:pt x="70" y="12"/>
                      <a:pt x="71" y="13"/>
                      <a:pt x="70" y="13"/>
                    </a:cubicBezTo>
                    <a:cubicBezTo>
                      <a:pt x="70" y="13"/>
                      <a:pt x="69" y="12"/>
                      <a:pt x="69" y="12"/>
                    </a:cubicBezTo>
                    <a:cubicBezTo>
                      <a:pt x="69" y="12"/>
                      <a:pt x="70" y="13"/>
                      <a:pt x="70" y="13"/>
                    </a:cubicBezTo>
                    <a:cubicBezTo>
                      <a:pt x="69" y="12"/>
                      <a:pt x="68" y="13"/>
                      <a:pt x="68" y="13"/>
                    </a:cubicBezTo>
                    <a:cubicBezTo>
                      <a:pt x="68" y="14"/>
                      <a:pt x="66" y="14"/>
                      <a:pt x="66" y="14"/>
                    </a:cubicBezTo>
                    <a:cubicBezTo>
                      <a:pt x="66" y="15"/>
                      <a:pt x="65" y="14"/>
                      <a:pt x="65" y="15"/>
                    </a:cubicBezTo>
                    <a:cubicBezTo>
                      <a:pt x="66" y="16"/>
                      <a:pt x="65" y="15"/>
                      <a:pt x="64" y="16"/>
                    </a:cubicBezTo>
                    <a:cubicBezTo>
                      <a:pt x="64" y="16"/>
                      <a:pt x="63" y="17"/>
                      <a:pt x="63" y="16"/>
                    </a:cubicBezTo>
                    <a:cubicBezTo>
                      <a:pt x="62" y="15"/>
                      <a:pt x="62" y="15"/>
                      <a:pt x="61" y="15"/>
                    </a:cubicBezTo>
                    <a:cubicBezTo>
                      <a:pt x="60" y="14"/>
                      <a:pt x="61" y="13"/>
                      <a:pt x="60" y="13"/>
                    </a:cubicBezTo>
                    <a:cubicBezTo>
                      <a:pt x="59" y="13"/>
                      <a:pt x="59" y="13"/>
                      <a:pt x="59" y="13"/>
                    </a:cubicBezTo>
                    <a:cubicBezTo>
                      <a:pt x="58" y="13"/>
                      <a:pt x="58" y="13"/>
                      <a:pt x="58" y="13"/>
                    </a:cubicBezTo>
                    <a:cubicBezTo>
                      <a:pt x="58" y="12"/>
                      <a:pt x="57" y="13"/>
                      <a:pt x="57" y="13"/>
                    </a:cubicBezTo>
                    <a:cubicBezTo>
                      <a:pt x="56" y="13"/>
                      <a:pt x="56" y="14"/>
                      <a:pt x="56" y="14"/>
                    </a:cubicBezTo>
                    <a:cubicBezTo>
                      <a:pt x="55" y="14"/>
                      <a:pt x="55" y="13"/>
                      <a:pt x="55" y="13"/>
                    </a:cubicBezTo>
                    <a:cubicBezTo>
                      <a:pt x="55" y="13"/>
                      <a:pt x="54" y="13"/>
                      <a:pt x="54" y="12"/>
                    </a:cubicBezTo>
                    <a:cubicBezTo>
                      <a:pt x="54" y="12"/>
                      <a:pt x="54" y="12"/>
                      <a:pt x="53" y="12"/>
                    </a:cubicBezTo>
                    <a:cubicBezTo>
                      <a:pt x="53" y="11"/>
                      <a:pt x="51" y="12"/>
                      <a:pt x="50" y="12"/>
                    </a:cubicBezTo>
                    <a:cubicBezTo>
                      <a:pt x="49" y="12"/>
                      <a:pt x="49" y="12"/>
                      <a:pt x="48" y="12"/>
                    </a:cubicBezTo>
                    <a:cubicBezTo>
                      <a:pt x="48" y="12"/>
                      <a:pt x="46" y="12"/>
                      <a:pt x="46" y="12"/>
                    </a:cubicBezTo>
                    <a:cubicBezTo>
                      <a:pt x="46" y="11"/>
                      <a:pt x="45" y="12"/>
                      <a:pt x="45" y="11"/>
                    </a:cubicBezTo>
                    <a:cubicBezTo>
                      <a:pt x="44" y="11"/>
                      <a:pt x="44" y="11"/>
                      <a:pt x="44" y="11"/>
                    </a:cubicBezTo>
                    <a:cubicBezTo>
                      <a:pt x="43" y="10"/>
                      <a:pt x="42" y="10"/>
                      <a:pt x="41" y="9"/>
                    </a:cubicBezTo>
                    <a:cubicBezTo>
                      <a:pt x="41" y="9"/>
                      <a:pt x="41" y="10"/>
                      <a:pt x="40" y="10"/>
                    </a:cubicBezTo>
                    <a:cubicBezTo>
                      <a:pt x="40" y="11"/>
                      <a:pt x="41" y="11"/>
                      <a:pt x="41" y="12"/>
                    </a:cubicBezTo>
                    <a:cubicBezTo>
                      <a:pt x="40" y="13"/>
                      <a:pt x="39" y="13"/>
                      <a:pt x="37" y="13"/>
                    </a:cubicBezTo>
                    <a:cubicBezTo>
                      <a:pt x="37" y="13"/>
                      <a:pt x="36" y="13"/>
                      <a:pt x="35" y="13"/>
                    </a:cubicBezTo>
                    <a:cubicBezTo>
                      <a:pt x="35" y="14"/>
                      <a:pt x="34" y="14"/>
                      <a:pt x="34" y="14"/>
                    </a:cubicBezTo>
                    <a:cubicBezTo>
                      <a:pt x="33" y="15"/>
                      <a:pt x="34" y="16"/>
                      <a:pt x="34" y="17"/>
                    </a:cubicBezTo>
                    <a:cubicBezTo>
                      <a:pt x="33" y="18"/>
                      <a:pt x="33" y="19"/>
                      <a:pt x="33" y="19"/>
                    </a:cubicBezTo>
                    <a:cubicBezTo>
                      <a:pt x="33" y="20"/>
                      <a:pt x="33" y="21"/>
                      <a:pt x="33" y="21"/>
                    </a:cubicBezTo>
                    <a:cubicBezTo>
                      <a:pt x="33" y="22"/>
                      <a:pt x="33" y="24"/>
                      <a:pt x="32" y="24"/>
                    </a:cubicBezTo>
                    <a:cubicBezTo>
                      <a:pt x="31" y="24"/>
                      <a:pt x="31" y="25"/>
                      <a:pt x="30" y="25"/>
                    </a:cubicBezTo>
                    <a:cubicBezTo>
                      <a:pt x="29" y="25"/>
                      <a:pt x="29" y="26"/>
                      <a:pt x="29" y="27"/>
                    </a:cubicBezTo>
                    <a:cubicBezTo>
                      <a:pt x="29" y="26"/>
                      <a:pt x="28" y="26"/>
                      <a:pt x="28" y="26"/>
                    </a:cubicBezTo>
                    <a:cubicBezTo>
                      <a:pt x="27" y="27"/>
                      <a:pt x="27" y="27"/>
                      <a:pt x="26" y="27"/>
                    </a:cubicBezTo>
                    <a:cubicBezTo>
                      <a:pt x="25" y="27"/>
                      <a:pt x="25" y="27"/>
                      <a:pt x="25" y="27"/>
                    </a:cubicBezTo>
                    <a:cubicBezTo>
                      <a:pt x="25" y="28"/>
                      <a:pt x="24" y="28"/>
                      <a:pt x="24" y="28"/>
                    </a:cubicBezTo>
                    <a:cubicBezTo>
                      <a:pt x="23" y="28"/>
                      <a:pt x="23" y="28"/>
                      <a:pt x="22" y="28"/>
                    </a:cubicBezTo>
                    <a:cubicBezTo>
                      <a:pt x="22" y="28"/>
                      <a:pt x="21" y="28"/>
                      <a:pt x="21" y="28"/>
                    </a:cubicBezTo>
                    <a:cubicBezTo>
                      <a:pt x="21" y="28"/>
                      <a:pt x="22" y="30"/>
                      <a:pt x="22" y="30"/>
                    </a:cubicBezTo>
                    <a:cubicBezTo>
                      <a:pt x="22" y="30"/>
                      <a:pt x="21" y="31"/>
                      <a:pt x="21" y="31"/>
                    </a:cubicBezTo>
                    <a:cubicBezTo>
                      <a:pt x="21" y="31"/>
                      <a:pt x="21" y="31"/>
                      <a:pt x="22" y="32"/>
                    </a:cubicBezTo>
                    <a:cubicBezTo>
                      <a:pt x="22" y="33"/>
                      <a:pt x="21" y="33"/>
                      <a:pt x="20" y="33"/>
                    </a:cubicBezTo>
                    <a:cubicBezTo>
                      <a:pt x="19" y="34"/>
                      <a:pt x="19" y="35"/>
                      <a:pt x="18" y="35"/>
                    </a:cubicBezTo>
                    <a:cubicBezTo>
                      <a:pt x="17" y="35"/>
                      <a:pt x="16" y="34"/>
                      <a:pt x="16" y="35"/>
                    </a:cubicBezTo>
                    <a:cubicBezTo>
                      <a:pt x="15" y="35"/>
                      <a:pt x="15" y="36"/>
                      <a:pt x="15" y="36"/>
                    </a:cubicBezTo>
                    <a:cubicBezTo>
                      <a:pt x="15" y="36"/>
                      <a:pt x="14" y="35"/>
                      <a:pt x="14" y="35"/>
                    </a:cubicBezTo>
                    <a:cubicBezTo>
                      <a:pt x="14" y="34"/>
                      <a:pt x="13" y="34"/>
                      <a:pt x="13" y="33"/>
                    </a:cubicBezTo>
                    <a:cubicBezTo>
                      <a:pt x="12" y="33"/>
                      <a:pt x="11" y="33"/>
                      <a:pt x="10" y="33"/>
                    </a:cubicBezTo>
                    <a:cubicBezTo>
                      <a:pt x="9" y="33"/>
                      <a:pt x="8" y="33"/>
                      <a:pt x="7" y="32"/>
                    </a:cubicBezTo>
                    <a:cubicBezTo>
                      <a:pt x="7" y="32"/>
                      <a:pt x="5" y="30"/>
                      <a:pt x="5" y="31"/>
                    </a:cubicBezTo>
                    <a:cubicBezTo>
                      <a:pt x="4" y="31"/>
                      <a:pt x="5" y="31"/>
                      <a:pt x="5" y="32"/>
                    </a:cubicBezTo>
                    <a:cubicBezTo>
                      <a:pt x="5" y="32"/>
                      <a:pt x="4" y="33"/>
                      <a:pt x="4" y="33"/>
                    </a:cubicBezTo>
                    <a:cubicBezTo>
                      <a:pt x="4" y="33"/>
                      <a:pt x="4" y="34"/>
                      <a:pt x="4" y="34"/>
                    </a:cubicBezTo>
                    <a:cubicBezTo>
                      <a:pt x="4" y="34"/>
                      <a:pt x="4" y="35"/>
                      <a:pt x="4" y="35"/>
                    </a:cubicBezTo>
                    <a:cubicBezTo>
                      <a:pt x="4" y="36"/>
                      <a:pt x="4" y="36"/>
                      <a:pt x="4" y="37"/>
                    </a:cubicBezTo>
                    <a:cubicBezTo>
                      <a:pt x="4" y="38"/>
                      <a:pt x="4" y="39"/>
                      <a:pt x="4" y="40"/>
                    </a:cubicBezTo>
                    <a:cubicBezTo>
                      <a:pt x="4" y="41"/>
                      <a:pt x="4" y="41"/>
                      <a:pt x="3" y="42"/>
                    </a:cubicBezTo>
                    <a:cubicBezTo>
                      <a:pt x="3" y="42"/>
                      <a:pt x="3" y="42"/>
                      <a:pt x="3" y="42"/>
                    </a:cubicBezTo>
                    <a:cubicBezTo>
                      <a:pt x="2" y="43"/>
                      <a:pt x="1" y="43"/>
                      <a:pt x="2" y="43"/>
                    </a:cubicBezTo>
                    <a:cubicBezTo>
                      <a:pt x="3" y="44"/>
                      <a:pt x="3" y="44"/>
                      <a:pt x="4" y="45"/>
                    </a:cubicBezTo>
                    <a:cubicBezTo>
                      <a:pt x="3" y="45"/>
                      <a:pt x="2" y="45"/>
                      <a:pt x="2" y="45"/>
                    </a:cubicBezTo>
                    <a:cubicBezTo>
                      <a:pt x="1" y="45"/>
                      <a:pt x="2" y="45"/>
                      <a:pt x="2" y="45"/>
                    </a:cubicBezTo>
                    <a:cubicBezTo>
                      <a:pt x="1" y="46"/>
                      <a:pt x="1" y="46"/>
                      <a:pt x="1" y="46"/>
                    </a:cubicBezTo>
                    <a:cubicBezTo>
                      <a:pt x="0" y="47"/>
                      <a:pt x="1" y="48"/>
                      <a:pt x="1" y="49"/>
                    </a:cubicBezTo>
                    <a:cubicBezTo>
                      <a:pt x="1" y="50"/>
                      <a:pt x="2" y="51"/>
                      <a:pt x="1" y="51"/>
                    </a:cubicBezTo>
                    <a:cubicBezTo>
                      <a:pt x="1" y="52"/>
                      <a:pt x="1" y="52"/>
                      <a:pt x="2" y="53"/>
                    </a:cubicBezTo>
                    <a:cubicBezTo>
                      <a:pt x="3" y="54"/>
                      <a:pt x="4" y="53"/>
                      <a:pt x="5" y="54"/>
                    </a:cubicBezTo>
                    <a:cubicBezTo>
                      <a:pt x="6" y="54"/>
                      <a:pt x="5" y="54"/>
                      <a:pt x="5" y="54"/>
                    </a:cubicBezTo>
                    <a:cubicBezTo>
                      <a:pt x="5" y="54"/>
                      <a:pt x="5" y="55"/>
                      <a:pt x="5" y="55"/>
                    </a:cubicBezTo>
                    <a:cubicBezTo>
                      <a:pt x="5" y="55"/>
                      <a:pt x="4" y="55"/>
                      <a:pt x="4" y="55"/>
                    </a:cubicBezTo>
                    <a:cubicBezTo>
                      <a:pt x="3" y="56"/>
                      <a:pt x="3" y="58"/>
                      <a:pt x="3" y="59"/>
                    </a:cubicBezTo>
                    <a:cubicBezTo>
                      <a:pt x="4" y="62"/>
                      <a:pt x="5" y="65"/>
                      <a:pt x="7" y="67"/>
                    </a:cubicBezTo>
                    <a:cubicBezTo>
                      <a:pt x="7" y="68"/>
                      <a:pt x="7" y="69"/>
                      <a:pt x="7" y="70"/>
                    </a:cubicBezTo>
                    <a:cubicBezTo>
                      <a:pt x="7" y="71"/>
                      <a:pt x="7" y="72"/>
                      <a:pt x="7" y="72"/>
                    </a:cubicBezTo>
                    <a:cubicBezTo>
                      <a:pt x="7" y="73"/>
                      <a:pt x="7" y="74"/>
                      <a:pt x="8" y="75"/>
                    </a:cubicBezTo>
                    <a:cubicBezTo>
                      <a:pt x="8" y="75"/>
                      <a:pt x="8" y="76"/>
                      <a:pt x="8" y="76"/>
                    </a:cubicBezTo>
                    <a:cubicBezTo>
                      <a:pt x="8" y="76"/>
                      <a:pt x="10" y="76"/>
                      <a:pt x="10" y="76"/>
                    </a:cubicBezTo>
                    <a:cubicBezTo>
                      <a:pt x="11" y="77"/>
                      <a:pt x="12" y="77"/>
                      <a:pt x="13" y="77"/>
                    </a:cubicBezTo>
                    <a:cubicBezTo>
                      <a:pt x="14" y="77"/>
                      <a:pt x="16" y="77"/>
                      <a:pt x="17" y="78"/>
                    </a:cubicBezTo>
                    <a:cubicBezTo>
                      <a:pt x="17" y="78"/>
                      <a:pt x="17" y="79"/>
                      <a:pt x="18" y="80"/>
                    </a:cubicBezTo>
                    <a:cubicBezTo>
                      <a:pt x="18" y="81"/>
                      <a:pt x="18" y="82"/>
                      <a:pt x="18" y="82"/>
                    </a:cubicBezTo>
                    <a:cubicBezTo>
                      <a:pt x="18" y="82"/>
                      <a:pt x="18" y="83"/>
                      <a:pt x="18" y="83"/>
                    </a:cubicBezTo>
                    <a:cubicBezTo>
                      <a:pt x="17" y="84"/>
                      <a:pt x="17" y="85"/>
                      <a:pt x="17" y="85"/>
                    </a:cubicBezTo>
                    <a:cubicBezTo>
                      <a:pt x="15" y="88"/>
                      <a:pt x="13" y="91"/>
                      <a:pt x="11" y="94"/>
                    </a:cubicBezTo>
                    <a:cubicBezTo>
                      <a:pt x="14" y="95"/>
                      <a:pt x="17" y="96"/>
                      <a:pt x="20" y="97"/>
                    </a:cubicBezTo>
                    <a:cubicBezTo>
                      <a:pt x="22" y="98"/>
                      <a:pt x="24" y="98"/>
                      <a:pt x="26" y="99"/>
                    </a:cubicBezTo>
                    <a:cubicBezTo>
                      <a:pt x="27" y="99"/>
                      <a:pt x="29" y="99"/>
                      <a:pt x="31" y="99"/>
                    </a:cubicBezTo>
                    <a:cubicBezTo>
                      <a:pt x="33" y="98"/>
                      <a:pt x="35" y="98"/>
                      <a:pt x="37" y="98"/>
                    </a:cubicBezTo>
                    <a:cubicBezTo>
                      <a:pt x="38" y="98"/>
                      <a:pt x="38" y="98"/>
                      <a:pt x="39" y="99"/>
                    </a:cubicBezTo>
                    <a:cubicBezTo>
                      <a:pt x="40" y="99"/>
                      <a:pt x="41" y="99"/>
                      <a:pt x="42" y="99"/>
                    </a:cubicBezTo>
                    <a:cubicBezTo>
                      <a:pt x="42" y="99"/>
                      <a:pt x="42" y="98"/>
                      <a:pt x="43" y="98"/>
                    </a:cubicBezTo>
                    <a:cubicBezTo>
                      <a:pt x="44" y="98"/>
                      <a:pt x="44" y="97"/>
                      <a:pt x="45" y="97"/>
                    </a:cubicBezTo>
                    <a:cubicBezTo>
                      <a:pt x="47" y="97"/>
                      <a:pt x="49" y="98"/>
                      <a:pt x="51" y="97"/>
                    </a:cubicBezTo>
                    <a:cubicBezTo>
                      <a:pt x="53" y="97"/>
                      <a:pt x="55" y="96"/>
                      <a:pt x="57" y="96"/>
                    </a:cubicBezTo>
                    <a:cubicBezTo>
                      <a:pt x="57" y="95"/>
                      <a:pt x="58" y="95"/>
                      <a:pt x="59" y="95"/>
                    </a:cubicBezTo>
                    <a:cubicBezTo>
                      <a:pt x="60" y="95"/>
                      <a:pt x="61" y="94"/>
                      <a:pt x="61" y="94"/>
                    </a:cubicBezTo>
                    <a:cubicBezTo>
                      <a:pt x="63" y="93"/>
                      <a:pt x="60" y="92"/>
                      <a:pt x="61" y="91"/>
                    </a:cubicBezTo>
                    <a:cubicBezTo>
                      <a:pt x="61" y="90"/>
                      <a:pt x="61" y="88"/>
                      <a:pt x="60" y="87"/>
                    </a:cubicBezTo>
                    <a:cubicBezTo>
                      <a:pt x="60" y="86"/>
                      <a:pt x="60" y="85"/>
                      <a:pt x="60" y="84"/>
                    </a:cubicBezTo>
                    <a:cubicBezTo>
                      <a:pt x="60" y="84"/>
                      <a:pt x="60" y="83"/>
                      <a:pt x="60" y="82"/>
                    </a:cubicBezTo>
                    <a:cubicBezTo>
                      <a:pt x="61" y="82"/>
                      <a:pt x="62" y="82"/>
                      <a:pt x="62" y="82"/>
                    </a:cubicBezTo>
                    <a:cubicBezTo>
                      <a:pt x="63" y="81"/>
                      <a:pt x="63" y="81"/>
                      <a:pt x="63" y="80"/>
                    </a:cubicBezTo>
                    <a:cubicBezTo>
                      <a:pt x="63" y="79"/>
                      <a:pt x="63" y="79"/>
                      <a:pt x="64" y="79"/>
                    </a:cubicBezTo>
                    <a:cubicBezTo>
                      <a:pt x="64" y="78"/>
                      <a:pt x="65" y="78"/>
                      <a:pt x="65" y="78"/>
                    </a:cubicBezTo>
                    <a:cubicBezTo>
                      <a:pt x="66" y="78"/>
                      <a:pt x="66" y="79"/>
                      <a:pt x="66" y="79"/>
                    </a:cubicBezTo>
                    <a:cubicBezTo>
                      <a:pt x="67" y="79"/>
                      <a:pt x="68" y="79"/>
                      <a:pt x="68" y="79"/>
                    </a:cubicBezTo>
                    <a:cubicBezTo>
                      <a:pt x="69" y="79"/>
                      <a:pt x="70" y="79"/>
                      <a:pt x="71" y="78"/>
                    </a:cubicBezTo>
                    <a:cubicBezTo>
                      <a:pt x="72" y="78"/>
                      <a:pt x="73" y="78"/>
                      <a:pt x="73" y="77"/>
                    </a:cubicBezTo>
                    <a:cubicBezTo>
                      <a:pt x="73" y="77"/>
                      <a:pt x="72" y="77"/>
                      <a:pt x="71" y="77"/>
                    </a:cubicBezTo>
                    <a:cubicBezTo>
                      <a:pt x="71" y="77"/>
                      <a:pt x="71" y="76"/>
                      <a:pt x="70" y="76"/>
                    </a:cubicBezTo>
                    <a:cubicBezTo>
                      <a:pt x="71" y="76"/>
                      <a:pt x="72" y="76"/>
                      <a:pt x="72" y="75"/>
                    </a:cubicBezTo>
                    <a:cubicBezTo>
                      <a:pt x="73" y="74"/>
                      <a:pt x="73" y="75"/>
                      <a:pt x="74" y="74"/>
                    </a:cubicBezTo>
                    <a:cubicBezTo>
                      <a:pt x="75" y="74"/>
                      <a:pt x="75" y="73"/>
                      <a:pt x="75" y="73"/>
                    </a:cubicBezTo>
                    <a:cubicBezTo>
                      <a:pt x="75" y="72"/>
                      <a:pt x="76" y="73"/>
                      <a:pt x="76" y="73"/>
                    </a:cubicBezTo>
                    <a:cubicBezTo>
                      <a:pt x="77" y="73"/>
                      <a:pt x="77" y="73"/>
                      <a:pt x="78" y="73"/>
                    </a:cubicBezTo>
                    <a:cubicBezTo>
                      <a:pt x="78" y="73"/>
                      <a:pt x="78" y="74"/>
                      <a:pt x="79" y="73"/>
                    </a:cubicBezTo>
                    <a:cubicBezTo>
                      <a:pt x="79" y="73"/>
                      <a:pt x="79" y="73"/>
                      <a:pt x="79" y="73"/>
                    </a:cubicBezTo>
                    <a:cubicBezTo>
                      <a:pt x="78" y="73"/>
                      <a:pt x="78" y="73"/>
                      <a:pt x="78" y="72"/>
                    </a:cubicBezTo>
                    <a:cubicBezTo>
                      <a:pt x="79" y="72"/>
                      <a:pt x="80" y="73"/>
                      <a:pt x="80" y="73"/>
                    </a:cubicBezTo>
                    <a:cubicBezTo>
                      <a:pt x="81" y="73"/>
                      <a:pt x="80" y="73"/>
                      <a:pt x="81" y="74"/>
                    </a:cubicBezTo>
                    <a:cubicBezTo>
                      <a:pt x="81" y="74"/>
                      <a:pt x="81" y="74"/>
                      <a:pt x="81" y="74"/>
                    </a:cubicBezTo>
                    <a:cubicBezTo>
                      <a:pt x="82" y="75"/>
                      <a:pt x="82" y="75"/>
                      <a:pt x="83" y="74"/>
                    </a:cubicBezTo>
                    <a:cubicBezTo>
                      <a:pt x="83" y="74"/>
                      <a:pt x="84" y="74"/>
                      <a:pt x="84" y="74"/>
                    </a:cubicBezTo>
                    <a:cubicBezTo>
                      <a:pt x="84" y="74"/>
                      <a:pt x="84" y="74"/>
                      <a:pt x="84" y="73"/>
                    </a:cubicBezTo>
                    <a:cubicBezTo>
                      <a:pt x="85" y="73"/>
                      <a:pt x="85" y="72"/>
                      <a:pt x="86" y="71"/>
                    </a:cubicBezTo>
                    <a:cubicBezTo>
                      <a:pt x="86" y="71"/>
                      <a:pt x="85" y="70"/>
                      <a:pt x="85" y="69"/>
                    </a:cubicBezTo>
                    <a:cubicBezTo>
                      <a:pt x="85" y="68"/>
                      <a:pt x="85" y="68"/>
                      <a:pt x="85" y="67"/>
                    </a:cubicBezTo>
                    <a:cubicBezTo>
                      <a:pt x="84" y="66"/>
                      <a:pt x="84" y="66"/>
                      <a:pt x="84" y="65"/>
                    </a:cubicBezTo>
                    <a:cubicBezTo>
                      <a:pt x="84" y="65"/>
                      <a:pt x="85" y="64"/>
                      <a:pt x="85" y="64"/>
                    </a:cubicBezTo>
                    <a:cubicBezTo>
                      <a:pt x="86" y="64"/>
                      <a:pt x="86" y="63"/>
                      <a:pt x="85" y="63"/>
                    </a:cubicBezTo>
                    <a:cubicBezTo>
                      <a:pt x="85" y="62"/>
                      <a:pt x="85" y="62"/>
                      <a:pt x="85" y="61"/>
                    </a:cubicBezTo>
                    <a:cubicBezTo>
                      <a:pt x="86" y="61"/>
                      <a:pt x="85" y="59"/>
                      <a:pt x="86" y="59"/>
                    </a:cubicBezTo>
                    <a:cubicBezTo>
                      <a:pt x="86" y="58"/>
                      <a:pt x="87" y="59"/>
                      <a:pt x="87" y="58"/>
                    </a:cubicBezTo>
                    <a:cubicBezTo>
                      <a:pt x="88" y="58"/>
                      <a:pt x="88" y="59"/>
                      <a:pt x="89" y="58"/>
                    </a:cubicBezTo>
                    <a:cubicBezTo>
                      <a:pt x="89" y="58"/>
                      <a:pt x="90" y="58"/>
                      <a:pt x="90" y="58"/>
                    </a:cubicBezTo>
                    <a:cubicBezTo>
                      <a:pt x="90" y="57"/>
                      <a:pt x="91" y="57"/>
                      <a:pt x="91" y="57"/>
                    </a:cubicBezTo>
                    <a:cubicBezTo>
                      <a:pt x="92" y="57"/>
                      <a:pt x="92" y="56"/>
                      <a:pt x="92" y="55"/>
                    </a:cubicBezTo>
                    <a:cubicBezTo>
                      <a:pt x="92" y="55"/>
                      <a:pt x="91" y="55"/>
                      <a:pt x="91" y="54"/>
                    </a:cubicBezTo>
                    <a:cubicBezTo>
                      <a:pt x="90" y="54"/>
                      <a:pt x="91" y="53"/>
                      <a:pt x="90" y="52"/>
                    </a:cubicBezTo>
                    <a:cubicBezTo>
                      <a:pt x="90" y="52"/>
                      <a:pt x="90" y="52"/>
                      <a:pt x="89" y="52"/>
                    </a:cubicBezTo>
                    <a:cubicBezTo>
                      <a:pt x="88" y="51"/>
                      <a:pt x="88" y="51"/>
                      <a:pt x="87" y="50"/>
                    </a:cubicBezTo>
                    <a:cubicBezTo>
                      <a:pt x="87" y="50"/>
                      <a:pt x="87" y="50"/>
                      <a:pt x="87" y="49"/>
                    </a:cubicBezTo>
                    <a:cubicBezTo>
                      <a:pt x="87" y="48"/>
                      <a:pt x="88" y="48"/>
                      <a:pt x="89" y="48"/>
                    </a:cubicBezTo>
                    <a:cubicBezTo>
                      <a:pt x="90" y="49"/>
                      <a:pt x="91" y="49"/>
                      <a:pt x="92" y="49"/>
                    </a:cubicBezTo>
                    <a:cubicBezTo>
                      <a:pt x="93" y="49"/>
                      <a:pt x="93" y="49"/>
                      <a:pt x="94" y="49"/>
                    </a:cubicBezTo>
                    <a:cubicBezTo>
                      <a:pt x="95" y="49"/>
                      <a:pt x="96" y="49"/>
                      <a:pt x="96" y="49"/>
                    </a:cubicBezTo>
                    <a:cubicBezTo>
                      <a:pt x="96" y="49"/>
                      <a:pt x="96" y="49"/>
                      <a:pt x="96" y="49"/>
                    </a:cubicBezTo>
                    <a:cubicBezTo>
                      <a:pt x="96" y="48"/>
                      <a:pt x="97" y="48"/>
                      <a:pt x="97" y="48"/>
                    </a:cubicBezTo>
                    <a:cubicBezTo>
                      <a:pt x="97" y="48"/>
                      <a:pt x="98" y="48"/>
                      <a:pt x="98" y="47"/>
                    </a:cubicBezTo>
                    <a:cubicBezTo>
                      <a:pt x="97" y="47"/>
                      <a:pt x="98" y="47"/>
                      <a:pt x="98" y="47"/>
                    </a:cubicBezTo>
                    <a:cubicBezTo>
                      <a:pt x="98" y="46"/>
                      <a:pt x="98" y="46"/>
                      <a:pt x="97" y="45"/>
                    </a:cubicBezTo>
                    <a:cubicBezTo>
                      <a:pt x="97" y="45"/>
                      <a:pt x="98" y="45"/>
                      <a:pt x="97" y="44"/>
                    </a:cubicBezTo>
                    <a:cubicBezTo>
                      <a:pt x="97" y="44"/>
                      <a:pt x="96" y="44"/>
                      <a:pt x="96" y="43"/>
                    </a:cubicBezTo>
                    <a:cubicBezTo>
                      <a:pt x="95" y="43"/>
                      <a:pt x="96" y="42"/>
                      <a:pt x="96" y="42"/>
                    </a:cubicBezTo>
                    <a:cubicBezTo>
                      <a:pt x="97" y="42"/>
                      <a:pt x="96" y="41"/>
                      <a:pt x="96" y="41"/>
                    </a:cubicBezTo>
                    <a:cubicBezTo>
                      <a:pt x="97" y="41"/>
                      <a:pt x="97" y="41"/>
                      <a:pt x="97" y="40"/>
                    </a:cubicBezTo>
                    <a:cubicBezTo>
                      <a:pt x="98" y="40"/>
                      <a:pt x="98" y="39"/>
                      <a:pt x="98" y="39"/>
                    </a:cubicBezTo>
                    <a:cubicBezTo>
                      <a:pt x="98" y="38"/>
                      <a:pt x="99" y="39"/>
                      <a:pt x="99" y="38"/>
                    </a:cubicBezTo>
                    <a:cubicBezTo>
                      <a:pt x="100" y="37"/>
                      <a:pt x="99" y="37"/>
                      <a:pt x="100" y="36"/>
                    </a:cubicBezTo>
                    <a:cubicBezTo>
                      <a:pt x="101" y="36"/>
                      <a:pt x="100" y="35"/>
                      <a:pt x="100" y="35"/>
                    </a:cubicBezTo>
                    <a:cubicBezTo>
                      <a:pt x="99" y="34"/>
                      <a:pt x="99" y="34"/>
                      <a:pt x="99" y="33"/>
                    </a:cubicBezTo>
                    <a:cubicBezTo>
                      <a:pt x="100" y="33"/>
                      <a:pt x="99" y="32"/>
                      <a:pt x="99" y="32"/>
                    </a:cubicBezTo>
                    <a:cubicBezTo>
                      <a:pt x="99" y="31"/>
                      <a:pt x="98" y="31"/>
                      <a:pt x="98" y="31"/>
                    </a:cubicBezTo>
                    <a:cubicBezTo>
                      <a:pt x="98" y="30"/>
                      <a:pt x="98" y="30"/>
                      <a:pt x="98" y="29"/>
                    </a:cubicBezTo>
                    <a:cubicBezTo>
                      <a:pt x="97" y="29"/>
                      <a:pt x="97" y="28"/>
                      <a:pt x="96" y="27"/>
                    </a:cubicBezTo>
                    <a:cubicBezTo>
                      <a:pt x="95" y="27"/>
                      <a:pt x="93" y="26"/>
                      <a:pt x="94" y="25"/>
                    </a:cubicBezTo>
                    <a:cubicBezTo>
                      <a:pt x="94" y="25"/>
                      <a:pt x="95" y="24"/>
                      <a:pt x="95" y="24"/>
                    </a:cubicBezTo>
                    <a:cubicBezTo>
                      <a:pt x="96" y="24"/>
                      <a:pt x="96" y="23"/>
                      <a:pt x="96" y="23"/>
                    </a:cubicBezTo>
                    <a:cubicBezTo>
                      <a:pt x="97" y="23"/>
                      <a:pt x="97" y="22"/>
                      <a:pt x="97" y="22"/>
                    </a:cubicBezTo>
                    <a:cubicBezTo>
                      <a:pt x="97" y="21"/>
                      <a:pt x="97" y="22"/>
                      <a:pt x="98" y="22"/>
                    </a:cubicBezTo>
                    <a:cubicBezTo>
                      <a:pt x="98" y="22"/>
                      <a:pt x="99" y="22"/>
                      <a:pt x="99" y="22"/>
                    </a:cubicBezTo>
                    <a:cubicBezTo>
                      <a:pt x="99" y="22"/>
                      <a:pt x="98" y="21"/>
                      <a:pt x="99" y="21"/>
                    </a:cubicBezTo>
                    <a:cubicBezTo>
                      <a:pt x="100" y="21"/>
                      <a:pt x="100" y="21"/>
                      <a:pt x="101" y="20"/>
                    </a:cubicBezTo>
                    <a:cubicBezTo>
                      <a:pt x="101" y="20"/>
                      <a:pt x="101" y="20"/>
                      <a:pt x="101" y="20"/>
                    </a:cubicBezTo>
                    <a:cubicBezTo>
                      <a:pt x="102" y="19"/>
                      <a:pt x="101" y="19"/>
                      <a:pt x="101" y="19"/>
                    </a:cubicBezTo>
                    <a:cubicBezTo>
                      <a:pt x="102" y="18"/>
                      <a:pt x="103" y="18"/>
                      <a:pt x="103" y="18"/>
                    </a:cubicBezTo>
                    <a:cubicBezTo>
                      <a:pt x="104" y="18"/>
                      <a:pt x="105" y="18"/>
                      <a:pt x="105" y="18"/>
                    </a:cubicBezTo>
                    <a:cubicBezTo>
                      <a:pt x="106" y="17"/>
                      <a:pt x="107" y="18"/>
                      <a:pt x="108" y="17"/>
                    </a:cubicBezTo>
                    <a:cubicBezTo>
                      <a:pt x="108" y="17"/>
                      <a:pt x="109" y="17"/>
                      <a:pt x="109" y="17"/>
                    </a:cubicBezTo>
                    <a:cubicBezTo>
                      <a:pt x="110" y="17"/>
                      <a:pt x="110" y="17"/>
                      <a:pt x="111" y="17"/>
                    </a:cubicBezTo>
                    <a:cubicBezTo>
                      <a:pt x="113" y="17"/>
                      <a:pt x="114" y="17"/>
                      <a:pt x="116" y="17"/>
                    </a:cubicBezTo>
                    <a:cubicBezTo>
                      <a:pt x="117" y="17"/>
                      <a:pt x="117" y="18"/>
                      <a:pt x="118" y="18"/>
                    </a:cubicBezTo>
                    <a:cubicBezTo>
                      <a:pt x="119" y="18"/>
                      <a:pt x="119" y="17"/>
                      <a:pt x="119" y="17"/>
                    </a:cubicBezTo>
                    <a:cubicBezTo>
                      <a:pt x="119" y="17"/>
                      <a:pt x="120" y="17"/>
                      <a:pt x="120" y="17"/>
                    </a:cubicBezTo>
                    <a:cubicBezTo>
                      <a:pt x="120" y="17"/>
                      <a:pt x="120" y="16"/>
                      <a:pt x="120" y="16"/>
                    </a:cubicBezTo>
                    <a:cubicBezTo>
                      <a:pt x="121" y="16"/>
                      <a:pt x="121" y="15"/>
                      <a:pt x="122" y="16"/>
                    </a:cubicBezTo>
                    <a:cubicBezTo>
                      <a:pt x="122" y="16"/>
                      <a:pt x="123" y="16"/>
                      <a:pt x="122" y="15"/>
                    </a:cubicBezTo>
                    <a:cubicBezTo>
                      <a:pt x="122" y="15"/>
                      <a:pt x="121" y="15"/>
                      <a:pt x="121" y="14"/>
                    </a:cubicBezTo>
                    <a:cubicBezTo>
                      <a:pt x="120" y="14"/>
                      <a:pt x="121" y="14"/>
                      <a:pt x="121" y="13"/>
                    </a:cubicBezTo>
                    <a:cubicBezTo>
                      <a:pt x="121" y="13"/>
                      <a:pt x="122" y="13"/>
                      <a:pt x="123" y="13"/>
                    </a:cubicBezTo>
                    <a:cubicBezTo>
                      <a:pt x="123" y="13"/>
                      <a:pt x="123" y="12"/>
                      <a:pt x="123" y="13"/>
                    </a:cubicBezTo>
                    <a:cubicBezTo>
                      <a:pt x="124" y="13"/>
                      <a:pt x="124" y="13"/>
                      <a:pt x="125" y="13"/>
                    </a:cubicBezTo>
                    <a:cubicBezTo>
                      <a:pt x="124" y="13"/>
                      <a:pt x="124" y="12"/>
                      <a:pt x="123" y="12"/>
                    </a:cubicBezTo>
                    <a:close/>
                  </a:path>
                </a:pathLst>
              </a:custGeom>
              <a:solidFill>
                <a:srgbClr val="FFFFFF"/>
              </a:solidFill>
              <a:ln w="1905">
                <a:solidFill>
                  <a:schemeClr val="bg1">
                    <a:lumMod val="75000"/>
                  </a:schemeClr>
                </a:solidFill>
                <a:round/>
                <a:headEnd/>
                <a:tailEnd/>
              </a:ln>
            </p:spPr>
            <p:txBody>
              <a:bodyPr vert="horz" wrap="square" lIns="65259" tIns="32631" rIns="65259" bIns="32631" numCol="1" anchor="t" anchorCtr="0" compatLnSpc="1">
                <a:prstTxWarp prst="textNoShape">
                  <a:avLst/>
                </a:prstTxWarp>
              </a:bodyPr>
              <a:lstStyle/>
              <a:p>
                <a:pPr defTabSz="1305025">
                  <a:defRPr/>
                </a:pPr>
                <a:endParaRPr lang="en-US" sz="2568" kern="0">
                  <a:solidFill>
                    <a:srgbClr val="FFFFFF"/>
                  </a:solidFill>
                  <a:latin typeface="Segoe"/>
                </a:endParaRPr>
              </a:p>
            </p:txBody>
          </p:sp>
        </p:grpSp>
        <p:grpSp>
          <p:nvGrpSpPr>
            <p:cNvPr id="1698" name="Group 1697">
              <a:extLst>
                <a:ext uri="{FF2B5EF4-FFF2-40B4-BE49-F238E27FC236}">
                  <a16:creationId xmlns:a16="http://schemas.microsoft.com/office/drawing/2014/main" id="{31F5D280-5893-A1E6-705C-F4EDF62EFCC9}"/>
                </a:ext>
              </a:extLst>
            </p:cNvPr>
            <p:cNvGrpSpPr/>
            <p:nvPr/>
          </p:nvGrpSpPr>
          <p:grpSpPr>
            <a:xfrm>
              <a:off x="5731389" y="5351263"/>
              <a:ext cx="2496422" cy="396978"/>
              <a:chOff x="-5371" y="9998725"/>
              <a:chExt cx="3901218" cy="620370"/>
            </a:xfrm>
            <a:solidFill>
              <a:srgbClr val="F4364C"/>
            </a:solidFill>
          </p:grpSpPr>
          <p:sp>
            <p:nvSpPr>
              <p:cNvPr id="1699" name="Oval 1698">
                <a:extLst>
                  <a:ext uri="{FF2B5EF4-FFF2-40B4-BE49-F238E27FC236}">
                    <a16:creationId xmlns:a16="http://schemas.microsoft.com/office/drawing/2014/main" id="{E33682A8-A010-A282-D19D-365B78EEA1B0}"/>
                  </a:ext>
                </a:extLst>
              </p:cNvPr>
              <p:cNvSpPr/>
              <p:nvPr/>
            </p:nvSpPr>
            <p:spPr bwMode="auto">
              <a:xfrm>
                <a:off x="-5371" y="10278205"/>
                <a:ext cx="152454" cy="152454"/>
              </a:xfrm>
              <a:prstGeom prst="ellipse">
                <a:avLst/>
              </a:prstGeom>
              <a:gradFill>
                <a:gsLst>
                  <a:gs pos="54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pPr algn="ctr" defTabSz="914049"/>
                <a:endParaRPr lang="en-US" sz="2000">
                  <a:solidFill>
                    <a:srgbClr val="FFFFFF"/>
                  </a:solidFill>
                  <a:latin typeface="Segoe UI Semibold"/>
                  <a:cs typeface="Segoe UI" panose="020B0502040204020203" pitchFamily="34" charset="0"/>
                </a:endParaRPr>
              </a:p>
            </p:txBody>
          </p:sp>
          <p:sp>
            <p:nvSpPr>
              <p:cNvPr id="1700" name="Oval 1699">
                <a:extLst>
                  <a:ext uri="{FF2B5EF4-FFF2-40B4-BE49-F238E27FC236}">
                    <a16:creationId xmlns:a16="http://schemas.microsoft.com/office/drawing/2014/main" id="{23122F01-28F6-76A2-25E1-E6D33415C3F8}"/>
                  </a:ext>
                </a:extLst>
              </p:cNvPr>
              <p:cNvSpPr/>
              <p:nvPr/>
            </p:nvSpPr>
            <p:spPr bwMode="auto">
              <a:xfrm>
                <a:off x="760292" y="10466640"/>
                <a:ext cx="152455" cy="152455"/>
              </a:xfrm>
              <a:prstGeom prst="ellipse">
                <a:avLst/>
              </a:prstGeom>
              <a:gradFill>
                <a:gsLst>
                  <a:gs pos="54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pPr algn="ctr" defTabSz="914049"/>
                <a:endParaRPr lang="en-US" sz="2000">
                  <a:solidFill>
                    <a:srgbClr val="FFFFFF"/>
                  </a:solidFill>
                  <a:latin typeface="Segoe UI Semibold"/>
                  <a:cs typeface="Segoe UI" panose="020B0502040204020203" pitchFamily="34" charset="0"/>
                </a:endParaRPr>
              </a:p>
            </p:txBody>
          </p:sp>
          <p:sp>
            <p:nvSpPr>
              <p:cNvPr id="1701" name="Oval 1700">
                <a:extLst>
                  <a:ext uri="{FF2B5EF4-FFF2-40B4-BE49-F238E27FC236}">
                    <a16:creationId xmlns:a16="http://schemas.microsoft.com/office/drawing/2014/main" id="{BB773E09-AB67-8FAA-1605-F15735730187}"/>
                  </a:ext>
                </a:extLst>
              </p:cNvPr>
              <p:cNvSpPr/>
              <p:nvPr/>
            </p:nvSpPr>
            <p:spPr bwMode="auto">
              <a:xfrm>
                <a:off x="3610771" y="10164262"/>
                <a:ext cx="152455" cy="152455"/>
              </a:xfrm>
              <a:prstGeom prst="ellipse">
                <a:avLst/>
              </a:prstGeom>
              <a:gradFill>
                <a:gsLst>
                  <a:gs pos="54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pPr algn="ctr" defTabSz="914049"/>
                <a:endParaRPr lang="en-US" sz="2000">
                  <a:solidFill>
                    <a:srgbClr val="FFFFFF"/>
                  </a:solidFill>
                  <a:latin typeface="Segoe UI Semibold"/>
                  <a:cs typeface="Segoe UI" panose="020B0502040204020203" pitchFamily="34" charset="0"/>
                </a:endParaRPr>
              </a:p>
            </p:txBody>
          </p:sp>
          <p:sp>
            <p:nvSpPr>
              <p:cNvPr id="1702" name="Oval 1701">
                <a:extLst>
                  <a:ext uri="{FF2B5EF4-FFF2-40B4-BE49-F238E27FC236}">
                    <a16:creationId xmlns:a16="http://schemas.microsoft.com/office/drawing/2014/main" id="{C6EA9EEF-BCFC-EE0B-3673-3A1370C204AB}"/>
                  </a:ext>
                </a:extLst>
              </p:cNvPr>
              <p:cNvSpPr/>
              <p:nvPr/>
            </p:nvSpPr>
            <p:spPr bwMode="auto">
              <a:xfrm>
                <a:off x="3743392" y="10044190"/>
                <a:ext cx="152455" cy="152455"/>
              </a:xfrm>
              <a:prstGeom prst="ellipse">
                <a:avLst/>
              </a:prstGeom>
              <a:gradFill>
                <a:gsLst>
                  <a:gs pos="54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pPr algn="ctr" defTabSz="914049"/>
                <a:endParaRPr lang="en-US" sz="2000">
                  <a:solidFill>
                    <a:srgbClr val="FFFFFF"/>
                  </a:solidFill>
                  <a:latin typeface="Segoe UI Semibold"/>
                  <a:cs typeface="Segoe UI" panose="020B0502040204020203" pitchFamily="34" charset="0"/>
                </a:endParaRPr>
              </a:p>
            </p:txBody>
          </p:sp>
          <p:sp>
            <p:nvSpPr>
              <p:cNvPr id="1703" name="Oval 1702">
                <a:extLst>
                  <a:ext uri="{FF2B5EF4-FFF2-40B4-BE49-F238E27FC236}">
                    <a16:creationId xmlns:a16="http://schemas.microsoft.com/office/drawing/2014/main" id="{A4BAE0B0-D578-0413-3EDF-662ACEBC9C70}"/>
                  </a:ext>
                </a:extLst>
              </p:cNvPr>
              <p:cNvSpPr/>
              <p:nvPr/>
            </p:nvSpPr>
            <p:spPr bwMode="auto">
              <a:xfrm>
                <a:off x="3558867" y="9998725"/>
                <a:ext cx="152455" cy="152455"/>
              </a:xfrm>
              <a:prstGeom prst="ellipse">
                <a:avLst/>
              </a:prstGeom>
              <a:gradFill>
                <a:gsLst>
                  <a:gs pos="54000">
                    <a:srgbClr val="0078D4"/>
                  </a:gs>
                  <a:gs pos="0">
                    <a:srgbClr val="C03BC4"/>
                  </a:gs>
                </a:gsLst>
                <a:path path="circle">
                  <a:fillToRect l="100000" t="100000"/>
                </a:path>
              </a:gradFill>
              <a:ln w="51197" cap="flat">
                <a:noFill/>
                <a:prstDash val="solid"/>
                <a:miter/>
              </a:ln>
              <a:effectLst>
                <a:outerShdw blurRad="63500" dist="127000" dir="2700000" algn="ctr" rotWithShape="0">
                  <a:srgbClr val="454142">
                    <a:alpha val="20000"/>
                  </a:srgbClr>
                </a:outerShdw>
              </a:effectLst>
            </p:spPr>
            <p:txBody>
              <a:bodyPr rtlCol="0" anchor="ctr"/>
              <a:lstStyle/>
              <a:p>
                <a:pPr algn="ctr" defTabSz="914049"/>
                <a:endParaRPr lang="en-US" sz="2000">
                  <a:solidFill>
                    <a:srgbClr val="FFFFFF"/>
                  </a:solidFill>
                  <a:latin typeface="Segoe UI Semibold"/>
                  <a:cs typeface="Segoe UI" panose="020B0502040204020203" pitchFamily="34" charset="0"/>
                </a:endParaRPr>
              </a:p>
            </p:txBody>
          </p:sp>
        </p:grpSp>
      </p:grpSp>
      <p:cxnSp>
        <p:nvCxnSpPr>
          <p:cNvPr id="1707" name="Straight Connector 1706">
            <a:extLst>
              <a:ext uri="{FF2B5EF4-FFF2-40B4-BE49-F238E27FC236}">
                <a16:creationId xmlns:a16="http://schemas.microsoft.com/office/drawing/2014/main" id="{E9CA56C3-E1E3-6F99-0B4C-12E02230DD6C}"/>
              </a:ext>
              <a:ext uri="{C183D7F6-B498-43B3-948B-1728B52AA6E4}">
                <adec:decorative xmlns:adec="http://schemas.microsoft.com/office/drawing/2017/decorative" val="1"/>
              </a:ext>
            </a:extLst>
          </p:cNvPr>
          <p:cNvCxnSpPr>
            <a:cxnSpLocks/>
          </p:cNvCxnSpPr>
          <p:nvPr/>
        </p:nvCxnSpPr>
        <p:spPr>
          <a:xfrm>
            <a:off x="589825" y="3425423"/>
            <a:ext cx="3700958"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08" name="Straight Connector 1707">
            <a:extLst>
              <a:ext uri="{FF2B5EF4-FFF2-40B4-BE49-F238E27FC236}">
                <a16:creationId xmlns:a16="http://schemas.microsoft.com/office/drawing/2014/main" id="{612EC58A-9641-9B8E-35D5-5E8B182C33FE}"/>
              </a:ext>
              <a:ext uri="{C183D7F6-B498-43B3-948B-1728B52AA6E4}">
                <adec:decorative xmlns:adec="http://schemas.microsoft.com/office/drawing/2017/decorative" val="1"/>
              </a:ext>
            </a:extLst>
          </p:cNvPr>
          <p:cNvCxnSpPr>
            <a:cxnSpLocks/>
          </p:cNvCxnSpPr>
          <p:nvPr/>
        </p:nvCxnSpPr>
        <p:spPr>
          <a:xfrm rot="5400000">
            <a:off x="5116950" y="4260209"/>
            <a:ext cx="1556564" cy="292408"/>
          </a:xfrm>
          <a:prstGeom prst="bentConnector3">
            <a:avLst>
              <a:gd name="adj1" fmla="val 50000"/>
            </a:avLst>
          </a:prstGeom>
          <a:noFill/>
          <a:ln w="12700" cap="flat" cmpd="sng" algn="ctr">
            <a:solidFill>
              <a:schemeClr val="tx1"/>
            </a:solidFill>
            <a:prstDash val="solid"/>
            <a:headEnd type="none" w="med" len="med"/>
            <a:tailEnd type="arrow" w="med" len="med"/>
          </a:ln>
          <a:effectLst/>
        </p:spPr>
      </p:cxnSp>
      <p:cxnSp>
        <p:nvCxnSpPr>
          <p:cNvPr id="1709" name="Straight Connector 1708">
            <a:extLst>
              <a:ext uri="{FF2B5EF4-FFF2-40B4-BE49-F238E27FC236}">
                <a16:creationId xmlns:a16="http://schemas.microsoft.com/office/drawing/2014/main" id="{2435A4F4-1A9D-3923-5899-A6713A76CF81}"/>
              </a:ext>
              <a:ext uri="{C183D7F6-B498-43B3-948B-1728B52AA6E4}">
                <adec:decorative xmlns:adec="http://schemas.microsoft.com/office/drawing/2017/decorative" val="1"/>
              </a:ext>
            </a:extLst>
          </p:cNvPr>
          <p:cNvCxnSpPr>
            <a:cxnSpLocks/>
            <a:endCxn id="1701" idx="4"/>
          </p:cNvCxnSpPr>
          <p:nvPr/>
        </p:nvCxnSpPr>
        <p:spPr>
          <a:xfrm rot="10800000" flipV="1">
            <a:off x="8085302" y="3628126"/>
            <a:ext cx="2688923" cy="1335429"/>
          </a:xfrm>
          <a:prstGeom prst="bentConnector4">
            <a:avLst>
              <a:gd name="adj1" fmla="val 49042"/>
              <a:gd name="adj2" fmla="val 117118"/>
            </a:avLst>
          </a:prstGeom>
          <a:noFill/>
          <a:ln w="12700" cap="flat" cmpd="sng" algn="ctr">
            <a:solidFill>
              <a:schemeClr val="tx1"/>
            </a:solidFill>
            <a:prstDash val="solid"/>
            <a:headEnd type="none" w="med" len="med"/>
            <a:tailEnd type="arrow" w="med" len="med"/>
          </a:ln>
          <a:effectLst/>
        </p:spPr>
      </p:cxnSp>
      <p:cxnSp>
        <p:nvCxnSpPr>
          <p:cNvPr id="1710" name="Straight Connector 1709">
            <a:extLst>
              <a:ext uri="{FF2B5EF4-FFF2-40B4-BE49-F238E27FC236}">
                <a16:creationId xmlns:a16="http://schemas.microsoft.com/office/drawing/2014/main" id="{8892410C-4316-6036-E7EC-F4A045101224}"/>
              </a:ext>
              <a:ext uri="{C183D7F6-B498-43B3-948B-1728B52AA6E4}">
                <adec:decorative xmlns:adec="http://schemas.microsoft.com/office/drawing/2017/decorative" val="1"/>
              </a:ext>
            </a:extLst>
          </p:cNvPr>
          <p:cNvCxnSpPr>
            <a:cxnSpLocks/>
            <a:endCxn id="1702" idx="6"/>
          </p:cNvCxnSpPr>
          <p:nvPr/>
        </p:nvCxnSpPr>
        <p:spPr>
          <a:xfrm rot="10800000" flipV="1">
            <a:off x="8226425" y="3628127"/>
            <a:ext cx="1364603" cy="1228503"/>
          </a:xfrm>
          <a:prstGeom prst="bentConnector3">
            <a:avLst>
              <a:gd name="adj1" fmla="val 50000"/>
            </a:avLst>
          </a:prstGeom>
          <a:noFill/>
          <a:ln w="12700" cap="flat" cmpd="sng" algn="ctr">
            <a:solidFill>
              <a:schemeClr val="tx1"/>
            </a:solidFill>
            <a:prstDash val="solid"/>
            <a:headEnd type="none" w="med" len="med"/>
            <a:tailEnd type="arrow" w="med" len="med"/>
          </a:ln>
          <a:effectLst/>
        </p:spPr>
      </p:cxnSp>
      <p:cxnSp>
        <p:nvCxnSpPr>
          <p:cNvPr id="1711" name="Straight Connector 1710">
            <a:extLst>
              <a:ext uri="{FF2B5EF4-FFF2-40B4-BE49-F238E27FC236}">
                <a16:creationId xmlns:a16="http://schemas.microsoft.com/office/drawing/2014/main" id="{EAF69B9D-780D-948F-8460-D236DA0B88E8}"/>
              </a:ext>
              <a:ext uri="{C183D7F6-B498-43B3-948B-1728B52AA6E4}">
                <adec:decorative xmlns:adec="http://schemas.microsoft.com/office/drawing/2017/decorative" val="1"/>
              </a:ext>
            </a:extLst>
          </p:cNvPr>
          <p:cNvCxnSpPr>
            <a:cxnSpLocks/>
            <a:endCxn id="1703" idx="1"/>
          </p:cNvCxnSpPr>
          <p:nvPr/>
        </p:nvCxnSpPr>
        <p:spPr>
          <a:xfrm rot="5400000">
            <a:off x="7623632" y="4018306"/>
            <a:ext cx="1174375" cy="394023"/>
          </a:xfrm>
          <a:prstGeom prst="bentConnector3">
            <a:avLst>
              <a:gd name="adj1" fmla="val 50000"/>
            </a:avLst>
          </a:prstGeom>
          <a:noFill/>
          <a:ln w="12700" cap="flat" cmpd="sng" algn="ctr">
            <a:solidFill>
              <a:schemeClr val="tx1"/>
            </a:solidFill>
            <a:prstDash val="solid"/>
            <a:headEnd type="none" w="med" len="med"/>
            <a:tailEnd type="arrow" w="med" len="med"/>
          </a:ln>
          <a:effectLst/>
        </p:spPr>
      </p:cxnSp>
      <p:cxnSp>
        <p:nvCxnSpPr>
          <p:cNvPr id="1712" name="Straight Connector 1711">
            <a:extLst>
              <a:ext uri="{FF2B5EF4-FFF2-40B4-BE49-F238E27FC236}">
                <a16:creationId xmlns:a16="http://schemas.microsoft.com/office/drawing/2014/main" id="{64CE5CDF-B89C-9882-C3DC-867180FEBDC4}"/>
              </a:ext>
              <a:ext uri="{C183D7F6-B498-43B3-948B-1728B52AA6E4}">
                <adec:decorative xmlns:adec="http://schemas.microsoft.com/office/drawing/2017/decorative" val="1"/>
              </a:ext>
            </a:extLst>
          </p:cNvPr>
          <p:cNvCxnSpPr>
            <a:cxnSpLocks/>
            <a:endCxn id="1700" idx="6"/>
          </p:cNvCxnSpPr>
          <p:nvPr/>
        </p:nvCxnSpPr>
        <p:spPr>
          <a:xfrm rot="5400000">
            <a:off x="5988354" y="3850466"/>
            <a:ext cx="1458615" cy="1013938"/>
          </a:xfrm>
          <a:prstGeom prst="bentConnector2">
            <a:avLst/>
          </a:prstGeom>
          <a:noFill/>
          <a:ln w="12700" cap="flat" cmpd="sng" algn="ctr">
            <a:solidFill>
              <a:schemeClr val="tx1"/>
            </a:solidFill>
            <a:prstDash val="solid"/>
            <a:headEnd type="none" w="med" len="med"/>
            <a:tailEnd type="arrow" w="med" len="med"/>
          </a:ln>
          <a:effectLst/>
        </p:spPr>
      </p:cxnSp>
    </p:spTree>
    <p:extLst>
      <p:ext uri="{BB962C8B-B14F-4D97-AF65-F5344CB8AC3E}">
        <p14:creationId xmlns:p14="http://schemas.microsoft.com/office/powerpoint/2010/main" val="40444643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55"/>
                                        </p:tgtEl>
                                        <p:attrNameLst>
                                          <p:attrName>style.visibility</p:attrName>
                                        </p:attrNameLst>
                                      </p:cBhvr>
                                      <p:to>
                                        <p:strVal val="visible"/>
                                      </p:to>
                                    </p:set>
                                    <p:animEffect transition="in" filter="fade">
                                      <p:cBhvr>
                                        <p:cTn id="7" dur="500"/>
                                        <p:tgtEl>
                                          <p:spTgt spid="1455"/>
                                        </p:tgtEl>
                                      </p:cBhvr>
                                    </p:animEffect>
                                  </p:childTnLst>
                                </p:cTn>
                              </p:par>
                              <p:par>
                                <p:cTn id="8" presetID="10" presetClass="entr" presetSubtype="0" fill="hold" nodeType="withEffect">
                                  <p:stCondLst>
                                    <p:cond delay="0"/>
                                  </p:stCondLst>
                                  <p:childTnLst>
                                    <p:set>
                                      <p:cBhvr>
                                        <p:cTn id="9" dur="1" fill="hold">
                                          <p:stCondLst>
                                            <p:cond delay="0"/>
                                          </p:stCondLst>
                                        </p:cTn>
                                        <p:tgtEl>
                                          <p:spTgt spid="1707"/>
                                        </p:tgtEl>
                                        <p:attrNameLst>
                                          <p:attrName>style.visibility</p:attrName>
                                        </p:attrNameLst>
                                      </p:cBhvr>
                                      <p:to>
                                        <p:strVal val="visible"/>
                                      </p:to>
                                    </p:set>
                                    <p:animEffect transition="in" filter="fade">
                                      <p:cBhvr>
                                        <p:cTn id="10" dur="500"/>
                                        <p:tgtEl>
                                          <p:spTgt spid="17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5"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2891EA6B-41BD-7D48-925A-BE2A0C87473B}"/>
              </a:ext>
            </a:extLst>
          </p:cNvPr>
          <p:cNvSpPr>
            <a:spLocks noGrp="1"/>
          </p:cNvSpPr>
          <p:nvPr>
            <p:ph type="title"/>
          </p:nvPr>
        </p:nvSpPr>
        <p:spPr>
          <a:xfrm>
            <a:off x="581025" y="365125"/>
            <a:ext cx="11029949" cy="549275"/>
          </a:xfrm>
        </p:spPr>
        <p:txBody>
          <a:bodyPr>
            <a:normAutofit/>
          </a:bodyPr>
          <a:lstStyle/>
          <a:p>
            <a:r>
              <a:rPr lang="en-US"/>
              <a:t>Compliance with Microsoft Fabric</a:t>
            </a:r>
          </a:p>
        </p:txBody>
      </p:sp>
      <p:sp>
        <p:nvSpPr>
          <p:cNvPr id="15" name="Rectangle 14">
            <a:extLst>
              <a:ext uri="{FF2B5EF4-FFF2-40B4-BE49-F238E27FC236}">
                <a16:creationId xmlns:a16="http://schemas.microsoft.com/office/drawing/2014/main" id="{681571DB-5E60-0CB4-F60F-6CC0772D7599}"/>
              </a:ext>
            </a:extLst>
          </p:cNvPr>
          <p:cNvSpPr>
            <a:spLocks/>
          </p:cNvSpPr>
          <p:nvPr/>
        </p:nvSpPr>
        <p:spPr bwMode="auto">
          <a:xfrm>
            <a:off x="581025" y="1542638"/>
            <a:ext cx="4783201" cy="3539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1200"/>
              </a:spcBef>
              <a:spcAft>
                <a:spcPts val="0"/>
              </a:spcAft>
              <a:buClr>
                <a:srgbClr val="000000"/>
              </a:buClr>
              <a:buSzPct val="100000"/>
              <a:buFontTx/>
              <a:buNone/>
              <a:tabLst/>
              <a:defRPr/>
            </a:pPr>
            <a:r>
              <a:rPr kumimoji="0" lang="en-US" sz="1800" b="0" i="0" u="none" strike="noStrike" kern="1200" cap="none" spc="0" normalizeH="0" baseline="0" noProof="0">
                <a:ln>
                  <a:noFill/>
                </a:ln>
                <a:solidFill>
                  <a:srgbClr val="000000"/>
                </a:solidFill>
                <a:effectLst/>
                <a:uLnTx/>
                <a:uFillTx/>
                <a:latin typeface="Segoe Sans Text Semilight"/>
                <a:ea typeface="+mn-ea"/>
                <a:cs typeface="+mn-cs"/>
              </a:rPr>
              <a:t>Microsoft Fabric is a core Microsoft online service and supports a wide range of compliance standards including:</a:t>
            </a:r>
          </a:p>
          <a:p>
            <a:pPr marL="342900" marR="0" lvl="0" indent="-228600" algn="l" defTabSz="914400"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Sans Text Semilight"/>
                <a:ea typeface="+mn-ea"/>
                <a:cs typeface="+mn-cs"/>
              </a:rPr>
              <a:t>GDPR</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Sans Text Semilight"/>
                <a:ea typeface="+mn-ea"/>
                <a:cs typeface="+mn-cs"/>
              </a:rPr>
              <a:t>EUDB</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Sans Text Semilight"/>
                <a:ea typeface="+mn-ea"/>
                <a:cs typeface="+mn-cs"/>
              </a:rPr>
              <a:t>ISO certifications including ISO 27001, 27701, 27017, 27018</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Sans Text Semilight"/>
                <a:ea typeface="+mn-ea"/>
                <a:cs typeface="+mn-cs"/>
              </a:rPr>
              <a:t>HIPAA compliance</a:t>
            </a:r>
          </a:p>
          <a:p>
            <a:pPr marL="342900" marR="0" lvl="0" indent="-228600" algn="l" defTabSz="914400" rtl="0" eaLnBrk="1" fontAlgn="auto" latinLnBrk="0" hangingPunct="1">
              <a:lnSpc>
                <a:spcPct val="100000"/>
              </a:lnSpc>
              <a:spcBef>
                <a:spcPts val="1200"/>
              </a:spcBef>
              <a:spcAft>
                <a:spcPts val="0"/>
              </a:spcAft>
              <a:buClr>
                <a:srgbClr val="000000"/>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Sans Text Semilight"/>
                <a:ea typeface="+mn-ea"/>
                <a:cs typeface="+mn-cs"/>
              </a:rPr>
              <a:t>Other certifications will continue to be available…</a:t>
            </a:r>
          </a:p>
        </p:txBody>
      </p:sp>
      <p:grpSp>
        <p:nvGrpSpPr>
          <p:cNvPr id="16" name="Group 15">
            <a:extLst>
              <a:ext uri="{FF2B5EF4-FFF2-40B4-BE49-F238E27FC236}">
                <a16:creationId xmlns:a16="http://schemas.microsoft.com/office/drawing/2014/main" id="{17CA95BA-D3B3-DB2A-022A-8EA3BAAEBFB3}"/>
              </a:ext>
              <a:ext uri="{C183D7F6-B498-43B3-948B-1728B52AA6E4}">
                <adec:decorative xmlns:adec="http://schemas.microsoft.com/office/drawing/2017/decorative" val="1"/>
              </a:ext>
            </a:extLst>
          </p:cNvPr>
          <p:cNvGrpSpPr/>
          <p:nvPr/>
        </p:nvGrpSpPr>
        <p:grpSpPr>
          <a:xfrm>
            <a:off x="5079150" y="1109071"/>
            <a:ext cx="7683553" cy="5748929"/>
            <a:chOff x="5079150" y="1109071"/>
            <a:chExt cx="7683553" cy="5748929"/>
          </a:xfrm>
        </p:grpSpPr>
        <p:sp>
          <p:nvSpPr>
            <p:cNvPr id="17" name="Graphic 28">
              <a:extLst>
                <a:ext uri="{FF2B5EF4-FFF2-40B4-BE49-F238E27FC236}">
                  <a16:creationId xmlns:a16="http://schemas.microsoft.com/office/drawing/2014/main" id="{C9FB1B17-0819-54F2-DBDD-3A840F318EED}"/>
                </a:ext>
              </a:extLst>
            </p:cNvPr>
            <p:cNvSpPr>
              <a:spLocks/>
            </p:cNvSpPr>
            <p:nvPr/>
          </p:nvSpPr>
          <p:spPr>
            <a:xfrm rot="10800000" flipV="1">
              <a:off x="8242300" y="1109071"/>
              <a:ext cx="3949700" cy="4269947"/>
            </a:xfrm>
            <a:custGeom>
              <a:avLst/>
              <a:gdLst>
                <a:gd name="connsiteX0" fmla="*/ 0 w 3727306"/>
                <a:gd name="connsiteY0" fmla="*/ 0 h 4067175"/>
                <a:gd name="connsiteX1" fmla="*/ 1961198 w 3727306"/>
                <a:gd name="connsiteY1" fmla="*/ 0 h 4067175"/>
                <a:gd name="connsiteX2" fmla="*/ 2151612 w 3727306"/>
                <a:gd name="connsiteY2" fmla="*/ 89525 h 4067175"/>
                <a:gd name="connsiteX3" fmla="*/ 3700482 w 3727306"/>
                <a:gd name="connsiteY3" fmla="*/ 1959169 h 4067175"/>
                <a:gd name="connsiteX4" fmla="*/ 3700482 w 3727306"/>
                <a:gd name="connsiteY4" fmla="*/ 2108006 h 4067175"/>
                <a:gd name="connsiteX5" fmla="*/ 2151612 w 3727306"/>
                <a:gd name="connsiteY5" fmla="*/ 3977650 h 4067175"/>
                <a:gd name="connsiteX6" fmla="*/ 1961198 w 3727306"/>
                <a:gd name="connsiteY6" fmla="*/ 4067175 h 4067175"/>
                <a:gd name="connsiteX7" fmla="*/ 0 w 3727306"/>
                <a:gd name="connsiteY7" fmla="*/ 4067175 h 406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7306" h="4067175">
                  <a:moveTo>
                    <a:pt x="0" y="0"/>
                  </a:moveTo>
                  <a:lnTo>
                    <a:pt x="1961198" y="0"/>
                  </a:lnTo>
                  <a:cubicBezTo>
                    <a:pt x="2034835" y="0"/>
                    <a:pt x="2104635" y="32819"/>
                    <a:pt x="2151612" y="89525"/>
                  </a:cubicBezTo>
                  <a:lnTo>
                    <a:pt x="3700482" y="1959169"/>
                  </a:lnTo>
                  <a:cubicBezTo>
                    <a:pt x="3736248" y="2002336"/>
                    <a:pt x="3736248" y="2064839"/>
                    <a:pt x="3700482" y="2108006"/>
                  </a:cubicBezTo>
                  <a:lnTo>
                    <a:pt x="2151612" y="3977650"/>
                  </a:lnTo>
                  <a:cubicBezTo>
                    <a:pt x="2104635" y="4034352"/>
                    <a:pt x="2034835" y="4067175"/>
                    <a:pt x="1961198" y="4067175"/>
                  </a:cubicBezTo>
                  <a:lnTo>
                    <a:pt x="0" y="4067175"/>
                  </a:lnTo>
                  <a:close/>
                </a:path>
              </a:pathLst>
            </a:custGeom>
            <a:solidFill>
              <a:schemeClr val="bg2">
                <a:lumMod val="60000"/>
                <a:lumOff val="40000"/>
              </a:schemeClr>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9" name="Rectangle: Rounded Corners 18">
              <a:extLst>
                <a:ext uri="{FF2B5EF4-FFF2-40B4-BE49-F238E27FC236}">
                  <a16:creationId xmlns:a16="http://schemas.microsoft.com/office/drawing/2014/main" id="{B8334F93-05B5-142D-A385-08C9F00CF7C3}"/>
                </a:ext>
              </a:extLst>
            </p:cNvPr>
            <p:cNvSpPr/>
            <p:nvPr/>
          </p:nvSpPr>
          <p:spPr>
            <a:xfrm flipV="1">
              <a:off x="5904037" y="1406880"/>
              <a:ext cx="4104360" cy="1401250"/>
            </a:xfrm>
            <a:prstGeom prst="roundRect">
              <a:avLst>
                <a:gd name="adj" fmla="val 7143"/>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Semilight"/>
                <a:ea typeface="+mn-ea"/>
                <a:cs typeface="+mn-cs"/>
              </a:endParaRPr>
            </a:p>
          </p:txBody>
        </p:sp>
        <p:pic>
          <p:nvPicPr>
            <p:cNvPr id="21" name="Picture 20" descr="A black screen with a black background&#10;&#10;Description automatically generated">
              <a:extLst>
                <a:ext uri="{FF2B5EF4-FFF2-40B4-BE49-F238E27FC236}">
                  <a16:creationId xmlns:a16="http://schemas.microsoft.com/office/drawing/2014/main" id="{A52FA0A9-0664-F222-4C36-7975D4290C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34132" y="1476681"/>
              <a:ext cx="7128571" cy="4835628"/>
            </a:xfrm>
            <a:prstGeom prst="rect">
              <a:avLst/>
            </a:prstGeom>
          </p:spPr>
        </p:pic>
        <p:sp>
          <p:nvSpPr>
            <p:cNvPr id="22" name="Rectangle 21">
              <a:extLst>
                <a:ext uri="{FF2B5EF4-FFF2-40B4-BE49-F238E27FC236}">
                  <a16:creationId xmlns:a16="http://schemas.microsoft.com/office/drawing/2014/main" id="{E46DDA5F-9189-8C96-4CA0-2AC6FD733A09}"/>
                </a:ext>
              </a:extLst>
            </p:cNvPr>
            <p:cNvSpPr/>
            <p:nvPr/>
          </p:nvSpPr>
          <p:spPr>
            <a:xfrm>
              <a:off x="10464800" y="5659288"/>
              <a:ext cx="1727200" cy="1198712"/>
            </a:xfrm>
            <a:prstGeom prst="rect">
              <a:avLst/>
            </a:prstGeom>
            <a:solidFill>
              <a:srgbClr val="FFFD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Semilight"/>
                <a:ea typeface="+mn-ea"/>
                <a:cs typeface="+mn-cs"/>
              </a:endParaRPr>
            </a:p>
          </p:txBody>
        </p:sp>
        <p:pic>
          <p:nvPicPr>
            <p:cNvPr id="23" name="Picture 22" descr="A close up of a circular object&#10;&#10;Description automatically generated">
              <a:extLst>
                <a:ext uri="{FF2B5EF4-FFF2-40B4-BE49-F238E27FC236}">
                  <a16:creationId xmlns:a16="http://schemas.microsoft.com/office/drawing/2014/main" id="{4793F252-28AC-EF46-F35A-3E0A8CCEF4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79150" y="5142271"/>
              <a:ext cx="1161593" cy="1160205"/>
            </a:xfrm>
            <a:prstGeom prst="rect">
              <a:avLst/>
            </a:prstGeom>
          </p:spPr>
        </p:pic>
      </p:grpSp>
      <p:grpSp>
        <p:nvGrpSpPr>
          <p:cNvPr id="24" name="Group 23">
            <a:extLst>
              <a:ext uri="{FF2B5EF4-FFF2-40B4-BE49-F238E27FC236}">
                <a16:creationId xmlns:a16="http://schemas.microsoft.com/office/drawing/2014/main" id="{8B89DAA1-F82A-6FF1-A58E-75D7EEB59EE4}"/>
              </a:ext>
            </a:extLst>
          </p:cNvPr>
          <p:cNvGrpSpPr/>
          <p:nvPr/>
        </p:nvGrpSpPr>
        <p:grpSpPr>
          <a:xfrm>
            <a:off x="5900952" y="1747531"/>
            <a:ext cx="6583148" cy="3729344"/>
            <a:chOff x="5900952" y="1747531"/>
            <a:chExt cx="6583148" cy="3729344"/>
          </a:xfrm>
        </p:grpSpPr>
        <p:sp>
          <p:nvSpPr>
            <p:cNvPr id="25" name="Rectangle 24">
              <a:extLst>
                <a:ext uri="{FF2B5EF4-FFF2-40B4-BE49-F238E27FC236}">
                  <a16:creationId xmlns:a16="http://schemas.microsoft.com/office/drawing/2014/main" id="{F2AF33BD-AA3F-05B6-DA61-97889CBAFCDB}"/>
                </a:ext>
                <a:ext uri="{C183D7F6-B498-43B3-948B-1728B52AA6E4}">
                  <adec:decorative xmlns:adec="http://schemas.microsoft.com/office/drawing/2017/decorative" val="1"/>
                </a:ext>
              </a:extLst>
            </p:cNvPr>
            <p:cNvSpPr/>
            <p:nvPr/>
          </p:nvSpPr>
          <p:spPr>
            <a:xfrm>
              <a:off x="5900952" y="1747531"/>
              <a:ext cx="6583148" cy="37293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000000"/>
                </a:solidFill>
                <a:effectLst/>
                <a:uLnTx/>
                <a:uFillTx/>
                <a:latin typeface="Segoe Sans Text Semilight"/>
                <a:ea typeface="+mn-ea"/>
                <a:cs typeface="+mn-cs"/>
              </a:endParaRPr>
            </a:p>
          </p:txBody>
        </p:sp>
        <p:pic>
          <p:nvPicPr>
            <p:cNvPr id="26" name="Picture 4" descr="GDPR Logo">
              <a:extLst>
                <a:ext uri="{FF2B5EF4-FFF2-40B4-BE49-F238E27FC236}">
                  <a16:creationId xmlns:a16="http://schemas.microsoft.com/office/drawing/2014/main" id="{BE4B8640-C834-BB71-0549-DCF2871F49D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975883" y="2086044"/>
              <a:ext cx="1331674" cy="133167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ISO logo">
              <a:extLst>
                <a:ext uri="{FF2B5EF4-FFF2-40B4-BE49-F238E27FC236}">
                  <a16:creationId xmlns:a16="http://schemas.microsoft.com/office/drawing/2014/main" id="{4E629040-7CB4-9CF9-9F13-BC21DC7BCE1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57868" y="3818649"/>
              <a:ext cx="1567704" cy="1275144"/>
            </a:xfrm>
            <a:prstGeom prst="rect">
              <a:avLst/>
            </a:prstGeom>
          </p:spPr>
        </p:pic>
        <p:pic>
          <p:nvPicPr>
            <p:cNvPr id="28" name="Picture 27" descr="EU logo">
              <a:extLst>
                <a:ext uri="{FF2B5EF4-FFF2-40B4-BE49-F238E27FC236}">
                  <a16:creationId xmlns:a16="http://schemas.microsoft.com/office/drawing/2014/main" id="{8413BC1E-147A-4AC0-8C27-ABC554F8885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547178" y="2086044"/>
              <a:ext cx="1339997" cy="1331674"/>
            </a:xfrm>
            <a:prstGeom prst="rect">
              <a:avLst/>
            </a:prstGeom>
          </p:spPr>
        </p:pic>
        <p:pic>
          <p:nvPicPr>
            <p:cNvPr id="29" name="Picture 2" descr="HIPAA Compliant logo">
              <a:extLst>
                <a:ext uri="{FF2B5EF4-FFF2-40B4-BE49-F238E27FC236}">
                  <a16:creationId xmlns:a16="http://schemas.microsoft.com/office/drawing/2014/main" id="{242D5AF2-BEE0-4E92-6415-EEC2EB1180DD}"/>
                </a:ext>
              </a:extLst>
            </p:cNvPr>
            <p:cNvPicPr>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059567" y="3819328"/>
              <a:ext cx="2315218" cy="130580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Slide Number Placeholder 3">
            <a:extLst>
              <a:ext uri="{FF2B5EF4-FFF2-40B4-BE49-F238E27FC236}">
                <a16:creationId xmlns:a16="http://schemas.microsoft.com/office/drawing/2014/main" id="{382A7C24-6671-876D-1462-34773ABD137F}"/>
              </a:ext>
            </a:extLst>
          </p:cNvPr>
          <p:cNvSpPr>
            <a:spLocks noGrp="1"/>
          </p:cNvSpPr>
          <p:nvPr>
            <p:ph type="sldNum" sz="quarter" idx="11"/>
          </p:nvPr>
        </p:nvSpPr>
        <p:spPr>
          <a:xfrm>
            <a:off x="612571" y="6309519"/>
            <a:ext cx="399288"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800" b="0" i="0" u="none" strike="noStrike" kern="1200" cap="none" spc="0" normalizeH="0" baseline="0" noProof="0" smtClean="0">
                <a:ln>
                  <a:noFill/>
                </a:ln>
                <a:solidFill>
                  <a:srgbClr val="225B61">
                    <a:tint val="75000"/>
                  </a:srgbClr>
                </a:solidFill>
                <a:effectLst/>
                <a:uLnTx/>
                <a:uFillTx/>
                <a:latin typeface="Segoe Sans Small Semilight" pitchFamily="2" charset="0"/>
                <a:ea typeface="+mn-ea"/>
                <a:cs typeface="Segoe Sans Small Semilight" pitchFamily="2" charset="0"/>
              </a:rPr>
              <a:pPr marL="0" marR="0" lvl="0" indent="0" algn="l" defTabSz="914367"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225B61">
                  <a:tint val="75000"/>
                </a:srgbClr>
              </a:solidFill>
              <a:effectLst/>
              <a:uLnTx/>
              <a:uFillTx/>
              <a:latin typeface="Segoe Sans Small Semilight" pitchFamily="2" charset="0"/>
              <a:ea typeface="+mn-ea"/>
              <a:cs typeface="Segoe Sans Small Semilight" pitchFamily="2" charset="0"/>
            </a:endParaRPr>
          </a:p>
        </p:txBody>
      </p:sp>
      <p:sp>
        <p:nvSpPr>
          <p:cNvPr id="31" name="Footer Placeholder 2">
            <a:extLst>
              <a:ext uri="{FF2B5EF4-FFF2-40B4-BE49-F238E27FC236}">
                <a16:creationId xmlns:a16="http://schemas.microsoft.com/office/drawing/2014/main" id="{7D1AA53D-B14F-8936-1AC5-30F75E028D7C}"/>
              </a:ext>
            </a:extLst>
          </p:cNvPr>
          <p:cNvSpPr>
            <a:spLocks noGrp="1"/>
          </p:cNvSpPr>
          <p:nvPr>
            <p:ph type="ftr" sz="quarter" idx="10"/>
          </p:nvPr>
        </p:nvSpPr>
        <p:spPr>
          <a:xfrm>
            <a:off x="1011859" y="6309519"/>
            <a:ext cx="2078736" cy="365125"/>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25B61">
                    <a:tint val="75000"/>
                  </a:srgbClr>
                </a:solidFill>
                <a:effectLst/>
                <a:uLnTx/>
                <a:uFillTx/>
                <a:latin typeface="Segoe Sans Small Semilight" pitchFamily="2" charset="0"/>
                <a:ea typeface="+mn-ea"/>
                <a:cs typeface="Segoe Sans Small Semilight" pitchFamily="2" charset="0"/>
              </a:rPr>
              <a:t>Microsoft Fabric</a:t>
            </a:r>
          </a:p>
        </p:txBody>
      </p:sp>
    </p:spTree>
    <p:extLst>
      <p:ext uri="{BB962C8B-B14F-4D97-AF65-F5344CB8AC3E}">
        <p14:creationId xmlns:p14="http://schemas.microsoft.com/office/powerpoint/2010/main" val="13972642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0832EB-B417-E43B-D664-D266A8334DC1}"/>
              </a:ext>
            </a:extLst>
          </p:cNvPr>
          <p:cNvSpPr>
            <a:spLocks noGrp="1"/>
          </p:cNvSpPr>
          <p:nvPr>
            <p:ph type="sldNum" sz="quarter" idx="11"/>
          </p:nvPr>
        </p:nvSpPr>
        <p:spPr/>
        <p:txBody>
          <a:bodyPr/>
          <a:lstStyle/>
          <a:p>
            <a:fld id="{B1356FBF-028C-F74E-A7B4-9B8ED246DD1B}" type="slidenum">
              <a:rPr lang="en-US" smtClean="0"/>
              <a:pPr/>
              <a:t>4</a:t>
            </a:fld>
            <a:endParaRPr lang="en-US"/>
          </a:p>
        </p:txBody>
      </p:sp>
      <p:sp>
        <p:nvSpPr>
          <p:cNvPr id="6" name="Title 5">
            <a:extLst>
              <a:ext uri="{FF2B5EF4-FFF2-40B4-BE49-F238E27FC236}">
                <a16:creationId xmlns:a16="http://schemas.microsoft.com/office/drawing/2014/main" id="{1328C68C-4E88-CA59-F72B-87BC66B169A5}"/>
              </a:ext>
            </a:extLst>
          </p:cNvPr>
          <p:cNvSpPr>
            <a:spLocks noGrp="1"/>
          </p:cNvSpPr>
          <p:nvPr>
            <p:ph type="title"/>
          </p:nvPr>
        </p:nvSpPr>
        <p:spPr/>
        <p:txBody>
          <a:bodyPr/>
          <a:lstStyle/>
          <a:p>
            <a:r>
              <a:rPr lang="en-US"/>
              <a:t>Agenda</a:t>
            </a:r>
            <a:endParaRPr lang="en-NL"/>
          </a:p>
        </p:txBody>
      </p:sp>
      <p:sp>
        <p:nvSpPr>
          <p:cNvPr id="7" name="TextBox 6">
            <a:extLst>
              <a:ext uri="{FF2B5EF4-FFF2-40B4-BE49-F238E27FC236}">
                <a16:creationId xmlns:a16="http://schemas.microsoft.com/office/drawing/2014/main" id="{915848F9-F5F4-D22B-1B72-B2946B73B9D2}"/>
              </a:ext>
            </a:extLst>
          </p:cNvPr>
          <p:cNvSpPr txBox="1"/>
          <p:nvPr/>
        </p:nvSpPr>
        <p:spPr>
          <a:xfrm>
            <a:off x="777279" y="1454872"/>
            <a:ext cx="9830960" cy="4031873"/>
          </a:xfrm>
          <a:prstGeom prst="rect">
            <a:avLst/>
          </a:prstGeom>
          <a:noFill/>
        </p:spPr>
        <p:txBody>
          <a:bodyPr wrap="square" rtlCol="0">
            <a:spAutoFit/>
          </a:bodyPr>
          <a:lstStyle/>
          <a:p>
            <a:pPr marL="285750" indent="-285750">
              <a:buFont typeface="Arial" panose="020B0604020202020204" pitchFamily="34" charset="0"/>
              <a:buChar char="•"/>
            </a:pPr>
            <a:r>
              <a:rPr lang="en-US" sz="3200"/>
              <a:t>Intro to Fabric as a SaaS platform</a:t>
            </a:r>
          </a:p>
          <a:p>
            <a:pPr marL="285750" indent="-285750">
              <a:buFont typeface="Arial" panose="020B0604020202020204" pitchFamily="34" charset="0"/>
              <a:buChar char="•"/>
            </a:pPr>
            <a:r>
              <a:rPr lang="en-US" sz="3200"/>
              <a:t>Authentication to Fabric </a:t>
            </a:r>
          </a:p>
          <a:p>
            <a:pPr marL="285750" indent="-285750">
              <a:buFont typeface="Arial" panose="020B0604020202020204" pitchFamily="34" charset="0"/>
              <a:buChar char="•"/>
            </a:pPr>
            <a:r>
              <a:rPr lang="en-US" sz="3200"/>
              <a:t>Network protection (</a:t>
            </a:r>
            <a:r>
              <a:rPr lang="en-US" sz="3200" err="1"/>
              <a:t>Entra</a:t>
            </a:r>
            <a:r>
              <a:rPr lang="en-US" sz="3200"/>
              <a:t> &amp; Private Link)</a:t>
            </a:r>
          </a:p>
          <a:p>
            <a:pPr marL="285750" indent="-285750">
              <a:buFont typeface="Arial" panose="020B0604020202020204" pitchFamily="34" charset="0"/>
              <a:buChar char="•"/>
            </a:pPr>
            <a:r>
              <a:rPr lang="en-US" sz="3200"/>
              <a:t>Connecting to secure data</a:t>
            </a:r>
          </a:p>
          <a:p>
            <a:pPr marL="285750" indent="-285750">
              <a:buFont typeface="Arial" panose="020B0604020202020204" pitchFamily="34" charset="0"/>
              <a:buChar char="•"/>
            </a:pPr>
            <a:r>
              <a:rPr lang="en-US" sz="3200"/>
              <a:t>Data encryption</a:t>
            </a:r>
          </a:p>
          <a:p>
            <a:pPr marL="285750" indent="-285750">
              <a:buFont typeface="Arial" panose="020B0604020202020204" pitchFamily="34" charset="0"/>
              <a:buChar char="•"/>
            </a:pPr>
            <a:r>
              <a:rPr lang="en-US" sz="3200"/>
              <a:t>Item level security </a:t>
            </a:r>
          </a:p>
          <a:p>
            <a:pPr marL="285750" indent="-285750">
              <a:buFont typeface="Arial" panose="020B0604020202020204" pitchFamily="34" charset="0"/>
              <a:buChar char="•"/>
            </a:pPr>
            <a:r>
              <a:rPr lang="en-US" sz="3200"/>
              <a:t>Data residency</a:t>
            </a:r>
          </a:p>
          <a:p>
            <a:pPr marL="285750" indent="-285750">
              <a:buFont typeface="Arial" panose="020B0604020202020204" pitchFamily="34" charset="0"/>
              <a:buChar char="•"/>
            </a:pPr>
            <a:r>
              <a:rPr lang="en-US" sz="3200"/>
              <a:t>Data Governance and compliance</a:t>
            </a:r>
          </a:p>
        </p:txBody>
      </p:sp>
    </p:spTree>
    <p:extLst>
      <p:ext uri="{BB962C8B-B14F-4D97-AF65-F5344CB8AC3E}">
        <p14:creationId xmlns:p14="http://schemas.microsoft.com/office/powerpoint/2010/main" val="246250425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4CF1A77-B524-9B88-677D-3979604FDD7E}"/>
              </a:ext>
            </a:extLst>
          </p:cNvPr>
          <p:cNvSpPr>
            <a:spLocks noGrp="1"/>
          </p:cNvSpPr>
          <p:nvPr>
            <p:ph type="body" sz="quarter" idx="11"/>
          </p:nvPr>
        </p:nvSpPr>
        <p:spPr>
          <a:xfrm>
            <a:off x="7199551" y="4038049"/>
            <a:ext cx="4056278" cy="1398587"/>
          </a:xfrm>
        </p:spPr>
        <p:txBody>
          <a:bodyPr/>
          <a:lstStyle/>
          <a:p>
            <a:pPr marL="0" indent="0">
              <a:buNone/>
            </a:pPr>
            <a:r>
              <a:rPr lang="en-US" sz="3600">
                <a:latin typeface="Segoe UI Semibold"/>
              </a:rPr>
              <a:t>Administration and governance</a:t>
            </a:r>
          </a:p>
          <a:p>
            <a:endParaRPr lang="en-US"/>
          </a:p>
        </p:txBody>
      </p:sp>
    </p:spTree>
    <p:extLst>
      <p:ext uri="{BB962C8B-B14F-4D97-AF65-F5344CB8AC3E}">
        <p14:creationId xmlns:p14="http://schemas.microsoft.com/office/powerpoint/2010/main" val="8368850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1F380FA-7E2D-FD82-6A80-CC6CD0F09FEC}"/>
              </a:ext>
            </a:extLst>
          </p:cNvPr>
          <p:cNvSpPr>
            <a:spLocks noGrp="1"/>
          </p:cNvSpPr>
          <p:nvPr>
            <p:ph type="title"/>
          </p:nvPr>
        </p:nvSpPr>
        <p:spPr>
          <a:xfrm>
            <a:off x="581025" y="338231"/>
            <a:ext cx="11029949" cy="549275"/>
          </a:xfrm>
        </p:spPr>
        <p:txBody>
          <a:bodyPr anchor="t">
            <a:normAutofit fontScale="90000"/>
          </a:bodyPr>
          <a:lstStyle/>
          <a:p>
            <a:r>
              <a:rPr lang="en-US" noProof="0"/>
              <a:t>Admin and Monitor activity across your tenant</a:t>
            </a:r>
            <a:endParaRPr lang="en-IN"/>
          </a:p>
        </p:txBody>
      </p:sp>
      <p:grpSp>
        <p:nvGrpSpPr>
          <p:cNvPr id="2" name="Group 1">
            <a:extLst>
              <a:ext uri="{FF2B5EF4-FFF2-40B4-BE49-F238E27FC236}">
                <a16:creationId xmlns:a16="http://schemas.microsoft.com/office/drawing/2014/main" id="{62A1349F-6503-D241-5C56-F277529EF962}"/>
              </a:ext>
              <a:ext uri="{C183D7F6-B498-43B3-948B-1728B52AA6E4}">
                <adec:decorative xmlns:adec="http://schemas.microsoft.com/office/drawing/2017/decorative" val="1"/>
              </a:ext>
            </a:extLst>
          </p:cNvPr>
          <p:cNvGrpSpPr/>
          <p:nvPr/>
        </p:nvGrpSpPr>
        <p:grpSpPr>
          <a:xfrm>
            <a:off x="392723" y="1410837"/>
            <a:ext cx="11799276" cy="4606955"/>
            <a:chOff x="392723" y="1410837"/>
            <a:chExt cx="11799276" cy="4606955"/>
          </a:xfrm>
        </p:grpSpPr>
        <p:sp>
          <p:nvSpPr>
            <p:cNvPr id="13" name="Freeform: Shape 12">
              <a:extLst>
                <a:ext uri="{FF2B5EF4-FFF2-40B4-BE49-F238E27FC236}">
                  <a16:creationId xmlns:a16="http://schemas.microsoft.com/office/drawing/2014/main" id="{8AB8F630-B196-A2DC-45DE-5E0C5E69EEB5}"/>
                </a:ext>
              </a:extLst>
            </p:cNvPr>
            <p:cNvSpPr>
              <a:spLocks/>
            </p:cNvSpPr>
            <p:nvPr/>
          </p:nvSpPr>
          <p:spPr>
            <a:xfrm rot="10800000" flipV="1">
              <a:off x="682892" y="1410837"/>
              <a:ext cx="11509107" cy="1755769"/>
            </a:xfrm>
            <a:custGeom>
              <a:avLst/>
              <a:gdLst>
                <a:gd name="connsiteX0" fmla="*/ 10739566 w 11509107"/>
                <a:gd name="connsiteY0" fmla="*/ 0 h 1755769"/>
                <a:gd name="connsiteX1" fmla="*/ 10039267 w 11509107"/>
                <a:gd name="connsiteY1" fmla="*/ 0 h 1755769"/>
                <a:gd name="connsiteX2" fmla="*/ 9885020 w 11509107"/>
                <a:gd name="connsiteY2" fmla="*/ 0 h 1755769"/>
                <a:gd name="connsiteX3" fmla="*/ 9811392 w 11509107"/>
                <a:gd name="connsiteY3" fmla="*/ 0 h 1755769"/>
                <a:gd name="connsiteX4" fmla="*/ 9184721 w 11509107"/>
                <a:gd name="connsiteY4" fmla="*/ 0 h 1755769"/>
                <a:gd name="connsiteX5" fmla="*/ 9111092 w 11509107"/>
                <a:gd name="connsiteY5" fmla="*/ 0 h 1755769"/>
                <a:gd name="connsiteX6" fmla="*/ 9038839 w 11509107"/>
                <a:gd name="connsiteY6" fmla="*/ 0 h 1755769"/>
                <a:gd name="connsiteX7" fmla="*/ 8998655 w 11509107"/>
                <a:gd name="connsiteY7" fmla="*/ 0 h 1755769"/>
                <a:gd name="connsiteX8" fmla="*/ 8956846 w 11509107"/>
                <a:gd name="connsiteY8" fmla="*/ 0 h 1755769"/>
                <a:gd name="connsiteX9" fmla="*/ 8758391 w 11509107"/>
                <a:gd name="connsiteY9" fmla="*/ 0 h 1755769"/>
                <a:gd name="connsiteX10" fmla="*/ 8638668 w 11509107"/>
                <a:gd name="connsiteY10" fmla="*/ 0 h 1755769"/>
                <a:gd name="connsiteX11" fmla="*/ 8338539 w 11509107"/>
                <a:gd name="connsiteY11" fmla="*/ 0 h 1755769"/>
                <a:gd name="connsiteX12" fmla="*/ 8298355 w 11509107"/>
                <a:gd name="connsiteY12" fmla="*/ 0 h 1755769"/>
                <a:gd name="connsiteX13" fmla="*/ 8256547 w 11509107"/>
                <a:gd name="connsiteY13" fmla="*/ 0 h 1755769"/>
                <a:gd name="connsiteX14" fmla="*/ 8184294 w 11509107"/>
                <a:gd name="connsiteY14" fmla="*/ 0 h 1755769"/>
                <a:gd name="connsiteX15" fmla="*/ 8144110 w 11509107"/>
                <a:gd name="connsiteY15" fmla="*/ 0 h 1755769"/>
                <a:gd name="connsiteX16" fmla="*/ 8110665 w 11509107"/>
                <a:gd name="connsiteY16" fmla="*/ 0 h 1755769"/>
                <a:gd name="connsiteX17" fmla="*/ 8070480 w 11509107"/>
                <a:gd name="connsiteY17" fmla="*/ 0 h 1755769"/>
                <a:gd name="connsiteX18" fmla="*/ 8058092 w 11509107"/>
                <a:gd name="connsiteY18" fmla="*/ 0 h 1755769"/>
                <a:gd name="connsiteX19" fmla="*/ 7938369 w 11509107"/>
                <a:gd name="connsiteY19" fmla="*/ 0 h 1755769"/>
                <a:gd name="connsiteX20" fmla="*/ 7903846 w 11509107"/>
                <a:gd name="connsiteY20" fmla="*/ 0 h 1755769"/>
                <a:gd name="connsiteX21" fmla="*/ 7830217 w 11509107"/>
                <a:gd name="connsiteY21" fmla="*/ 0 h 1755769"/>
                <a:gd name="connsiteX22" fmla="*/ 7784123 w 11509107"/>
                <a:gd name="connsiteY22" fmla="*/ 0 h 1755769"/>
                <a:gd name="connsiteX23" fmla="*/ 7710494 w 11509107"/>
                <a:gd name="connsiteY23" fmla="*/ 0 h 1755769"/>
                <a:gd name="connsiteX24" fmla="*/ 7483995 w 11509107"/>
                <a:gd name="connsiteY24" fmla="*/ 0 h 1755769"/>
                <a:gd name="connsiteX25" fmla="*/ 7443810 w 11509107"/>
                <a:gd name="connsiteY25" fmla="*/ 0 h 1755769"/>
                <a:gd name="connsiteX26" fmla="*/ 7410366 w 11509107"/>
                <a:gd name="connsiteY26" fmla="*/ 0 h 1755769"/>
                <a:gd name="connsiteX27" fmla="*/ 7370181 w 11509107"/>
                <a:gd name="connsiteY27" fmla="*/ 0 h 1755769"/>
                <a:gd name="connsiteX28" fmla="*/ 7297929 w 11509107"/>
                <a:gd name="connsiteY28" fmla="*/ 0 h 1755769"/>
                <a:gd name="connsiteX29" fmla="*/ 7256120 w 11509107"/>
                <a:gd name="connsiteY29" fmla="*/ 0 h 1755769"/>
                <a:gd name="connsiteX30" fmla="*/ 7215935 w 11509107"/>
                <a:gd name="connsiteY30" fmla="*/ 0 h 1755769"/>
                <a:gd name="connsiteX31" fmla="*/ 7203546 w 11509107"/>
                <a:gd name="connsiteY31" fmla="*/ 0 h 1755769"/>
                <a:gd name="connsiteX32" fmla="*/ 7129918 w 11509107"/>
                <a:gd name="connsiteY32" fmla="*/ 0 h 1755769"/>
                <a:gd name="connsiteX33" fmla="*/ 7083824 w 11509107"/>
                <a:gd name="connsiteY33" fmla="*/ 0 h 1755769"/>
                <a:gd name="connsiteX34" fmla="*/ 7057664 w 11509107"/>
                <a:gd name="connsiteY34" fmla="*/ 0 h 1755769"/>
                <a:gd name="connsiteX35" fmla="*/ 7017480 w 11509107"/>
                <a:gd name="connsiteY35" fmla="*/ 0 h 1755769"/>
                <a:gd name="connsiteX36" fmla="*/ 7010195 w 11509107"/>
                <a:gd name="connsiteY36" fmla="*/ 0 h 1755769"/>
                <a:gd name="connsiteX37" fmla="*/ 6975671 w 11509107"/>
                <a:gd name="connsiteY37" fmla="*/ 0 h 1755769"/>
                <a:gd name="connsiteX38" fmla="*/ 6937942 w 11509107"/>
                <a:gd name="connsiteY38" fmla="*/ 0 h 1755769"/>
                <a:gd name="connsiteX39" fmla="*/ 6897757 w 11509107"/>
                <a:gd name="connsiteY39" fmla="*/ 0 h 1755769"/>
                <a:gd name="connsiteX40" fmla="*/ 6855949 w 11509107"/>
                <a:gd name="connsiteY40" fmla="*/ 0 h 1755769"/>
                <a:gd name="connsiteX41" fmla="*/ 6657494 w 11509107"/>
                <a:gd name="connsiteY41" fmla="*/ 0 h 1755769"/>
                <a:gd name="connsiteX42" fmla="*/ 6597629 w 11509107"/>
                <a:gd name="connsiteY42" fmla="*/ 0 h 1755769"/>
                <a:gd name="connsiteX43" fmla="*/ 6555820 w 11509107"/>
                <a:gd name="connsiteY43" fmla="*/ 0 h 1755769"/>
                <a:gd name="connsiteX44" fmla="*/ 6515636 w 11509107"/>
                <a:gd name="connsiteY44" fmla="*/ 0 h 1755769"/>
                <a:gd name="connsiteX45" fmla="*/ 6443383 w 11509107"/>
                <a:gd name="connsiteY45" fmla="*/ 0 h 1755769"/>
                <a:gd name="connsiteX46" fmla="*/ 6369754 w 11509107"/>
                <a:gd name="connsiteY46" fmla="*/ 0 h 1755769"/>
                <a:gd name="connsiteX47" fmla="*/ 6357365 w 11509107"/>
                <a:gd name="connsiteY47" fmla="*/ 0 h 1755769"/>
                <a:gd name="connsiteX48" fmla="*/ 6317181 w 11509107"/>
                <a:gd name="connsiteY48" fmla="*/ 0 h 1755769"/>
                <a:gd name="connsiteX49" fmla="*/ 6275372 w 11509107"/>
                <a:gd name="connsiteY49" fmla="*/ 0 h 1755769"/>
                <a:gd name="connsiteX50" fmla="*/ 6237643 w 11509107"/>
                <a:gd name="connsiteY50" fmla="*/ 0 h 1755769"/>
                <a:gd name="connsiteX51" fmla="*/ 6203119 w 11509107"/>
                <a:gd name="connsiteY51" fmla="*/ 0 h 1755769"/>
                <a:gd name="connsiteX52" fmla="*/ 6197458 w 11509107"/>
                <a:gd name="connsiteY52" fmla="*/ 0 h 1755769"/>
                <a:gd name="connsiteX53" fmla="*/ 6162935 w 11509107"/>
                <a:gd name="connsiteY53" fmla="*/ 0 h 1755769"/>
                <a:gd name="connsiteX54" fmla="*/ 6155649 w 11509107"/>
                <a:gd name="connsiteY54" fmla="*/ 0 h 1755769"/>
                <a:gd name="connsiteX55" fmla="*/ 6129491 w 11509107"/>
                <a:gd name="connsiteY55" fmla="*/ 0 h 1755769"/>
                <a:gd name="connsiteX56" fmla="*/ 6089306 w 11509107"/>
                <a:gd name="connsiteY56" fmla="*/ 0 h 1755769"/>
                <a:gd name="connsiteX57" fmla="*/ 6083396 w 11509107"/>
                <a:gd name="connsiteY57" fmla="*/ 0 h 1755769"/>
                <a:gd name="connsiteX58" fmla="*/ 6043212 w 11509107"/>
                <a:gd name="connsiteY58" fmla="*/ 0 h 1755769"/>
                <a:gd name="connsiteX59" fmla="*/ 6009767 w 11509107"/>
                <a:gd name="connsiteY59" fmla="*/ 0 h 1755769"/>
                <a:gd name="connsiteX60" fmla="*/ 5969583 w 11509107"/>
                <a:gd name="connsiteY60" fmla="*/ 0 h 1755769"/>
                <a:gd name="connsiteX61" fmla="*/ 5957194 w 11509107"/>
                <a:gd name="connsiteY61" fmla="*/ 0 h 1755769"/>
                <a:gd name="connsiteX62" fmla="*/ 5802948 w 11509107"/>
                <a:gd name="connsiteY62" fmla="*/ 0 h 1755769"/>
                <a:gd name="connsiteX63" fmla="*/ 5743083 w 11509107"/>
                <a:gd name="connsiteY63" fmla="*/ 0 h 1755769"/>
                <a:gd name="connsiteX64" fmla="*/ 5729319 w 11509107"/>
                <a:gd name="connsiteY64" fmla="*/ 0 h 1755769"/>
                <a:gd name="connsiteX65" fmla="*/ 5669455 w 11509107"/>
                <a:gd name="connsiteY65" fmla="*/ 0 h 1755769"/>
                <a:gd name="connsiteX66" fmla="*/ 5515208 w 11509107"/>
                <a:gd name="connsiteY66" fmla="*/ 0 h 1755769"/>
                <a:gd name="connsiteX67" fmla="*/ 5502820 w 11509107"/>
                <a:gd name="connsiteY67" fmla="*/ 0 h 1755769"/>
                <a:gd name="connsiteX68" fmla="*/ 5462635 w 11509107"/>
                <a:gd name="connsiteY68" fmla="*/ 0 h 1755769"/>
                <a:gd name="connsiteX69" fmla="*/ 5429191 w 11509107"/>
                <a:gd name="connsiteY69" fmla="*/ 0 h 1755769"/>
                <a:gd name="connsiteX70" fmla="*/ 5389006 w 11509107"/>
                <a:gd name="connsiteY70" fmla="*/ 0 h 1755769"/>
                <a:gd name="connsiteX71" fmla="*/ 5383097 w 11509107"/>
                <a:gd name="connsiteY71" fmla="*/ 0 h 1755769"/>
                <a:gd name="connsiteX72" fmla="*/ 5342913 w 11509107"/>
                <a:gd name="connsiteY72" fmla="*/ 0 h 1755769"/>
                <a:gd name="connsiteX73" fmla="*/ 5316754 w 11509107"/>
                <a:gd name="connsiteY73" fmla="*/ 0 h 1755769"/>
                <a:gd name="connsiteX74" fmla="*/ 5309468 w 11509107"/>
                <a:gd name="connsiteY74" fmla="*/ 0 h 1755769"/>
                <a:gd name="connsiteX75" fmla="*/ 5274945 w 11509107"/>
                <a:gd name="connsiteY75" fmla="*/ 0 h 1755769"/>
                <a:gd name="connsiteX76" fmla="*/ 5269284 w 11509107"/>
                <a:gd name="connsiteY76" fmla="*/ 0 h 1755769"/>
                <a:gd name="connsiteX77" fmla="*/ 5234760 w 11509107"/>
                <a:gd name="connsiteY77" fmla="*/ 0 h 1755769"/>
                <a:gd name="connsiteX78" fmla="*/ 5197031 w 11509107"/>
                <a:gd name="connsiteY78" fmla="*/ 0 h 1755769"/>
                <a:gd name="connsiteX79" fmla="*/ 5155222 w 11509107"/>
                <a:gd name="connsiteY79" fmla="*/ 0 h 1755769"/>
                <a:gd name="connsiteX80" fmla="*/ 5115037 w 11509107"/>
                <a:gd name="connsiteY80" fmla="*/ 0 h 1755769"/>
                <a:gd name="connsiteX81" fmla="*/ 5102649 w 11509107"/>
                <a:gd name="connsiteY81" fmla="*/ 0 h 1755769"/>
                <a:gd name="connsiteX82" fmla="*/ 5029020 w 11509107"/>
                <a:gd name="connsiteY82" fmla="*/ 0 h 1755769"/>
                <a:gd name="connsiteX83" fmla="*/ 4959319 w 11509107"/>
                <a:gd name="connsiteY83" fmla="*/ 0 h 1755769"/>
                <a:gd name="connsiteX84" fmla="*/ 4956767 w 11509107"/>
                <a:gd name="connsiteY84" fmla="*/ 0 h 1755769"/>
                <a:gd name="connsiteX85" fmla="*/ 4916582 w 11509107"/>
                <a:gd name="connsiteY85" fmla="*/ 0 h 1755769"/>
                <a:gd name="connsiteX86" fmla="*/ 4874774 w 11509107"/>
                <a:gd name="connsiteY86" fmla="*/ 0 h 1755769"/>
                <a:gd name="connsiteX87" fmla="*/ 4814909 w 11509107"/>
                <a:gd name="connsiteY87" fmla="*/ 0 h 1755769"/>
                <a:gd name="connsiteX88" fmla="*/ 4616454 w 11509107"/>
                <a:gd name="connsiteY88" fmla="*/ 0 h 1755769"/>
                <a:gd name="connsiteX89" fmla="*/ 4574645 w 11509107"/>
                <a:gd name="connsiteY89" fmla="*/ 0 h 1755769"/>
                <a:gd name="connsiteX90" fmla="*/ 4534461 w 11509107"/>
                <a:gd name="connsiteY90" fmla="*/ 0 h 1755769"/>
                <a:gd name="connsiteX91" fmla="*/ 4496730 w 11509107"/>
                <a:gd name="connsiteY91" fmla="*/ 0 h 1755769"/>
                <a:gd name="connsiteX92" fmla="*/ 4462208 w 11509107"/>
                <a:gd name="connsiteY92" fmla="*/ 0 h 1755769"/>
                <a:gd name="connsiteX93" fmla="*/ 4454922 w 11509107"/>
                <a:gd name="connsiteY93" fmla="*/ 0 h 1755769"/>
                <a:gd name="connsiteX94" fmla="*/ 4414738 w 11509107"/>
                <a:gd name="connsiteY94" fmla="*/ 0 h 1755769"/>
                <a:gd name="connsiteX95" fmla="*/ 4388579 w 11509107"/>
                <a:gd name="connsiteY95" fmla="*/ 0 h 1755769"/>
                <a:gd name="connsiteX96" fmla="*/ 4342485 w 11509107"/>
                <a:gd name="connsiteY96" fmla="*/ 0 h 1755769"/>
                <a:gd name="connsiteX97" fmla="*/ 4268856 w 11509107"/>
                <a:gd name="connsiteY97" fmla="*/ 0 h 1755769"/>
                <a:gd name="connsiteX98" fmla="*/ 4256468 w 11509107"/>
                <a:gd name="connsiteY98" fmla="*/ 0 h 1755769"/>
                <a:gd name="connsiteX99" fmla="*/ 4216283 w 11509107"/>
                <a:gd name="connsiteY99" fmla="*/ 0 h 1755769"/>
                <a:gd name="connsiteX100" fmla="*/ 4174474 w 11509107"/>
                <a:gd name="connsiteY100" fmla="*/ 0 h 1755769"/>
                <a:gd name="connsiteX101" fmla="*/ 4104774 w 11509107"/>
                <a:gd name="connsiteY101" fmla="*/ 0 h 1755769"/>
                <a:gd name="connsiteX102" fmla="*/ 4102221 w 11509107"/>
                <a:gd name="connsiteY102" fmla="*/ 0 h 1755769"/>
                <a:gd name="connsiteX103" fmla="*/ 4062037 w 11509107"/>
                <a:gd name="connsiteY103" fmla="*/ 0 h 1755769"/>
                <a:gd name="connsiteX104" fmla="*/ 4028592 w 11509107"/>
                <a:gd name="connsiteY104" fmla="*/ 0 h 1755769"/>
                <a:gd name="connsiteX105" fmla="*/ 3988408 w 11509107"/>
                <a:gd name="connsiteY105" fmla="*/ 0 h 1755769"/>
                <a:gd name="connsiteX106" fmla="*/ 3761908 w 11509107"/>
                <a:gd name="connsiteY106" fmla="*/ 0 h 1755769"/>
                <a:gd name="connsiteX107" fmla="*/ 3688280 w 11509107"/>
                <a:gd name="connsiteY107" fmla="*/ 0 h 1755769"/>
                <a:gd name="connsiteX108" fmla="*/ 3642185 w 11509107"/>
                <a:gd name="connsiteY108" fmla="*/ 0 h 1755769"/>
                <a:gd name="connsiteX109" fmla="*/ 3568557 w 11509107"/>
                <a:gd name="connsiteY109" fmla="*/ 0 h 1755769"/>
                <a:gd name="connsiteX110" fmla="*/ 3534033 w 11509107"/>
                <a:gd name="connsiteY110" fmla="*/ 0 h 1755769"/>
                <a:gd name="connsiteX111" fmla="*/ 3414311 w 11509107"/>
                <a:gd name="connsiteY111" fmla="*/ 0 h 1755769"/>
                <a:gd name="connsiteX112" fmla="*/ 3401921 w 11509107"/>
                <a:gd name="connsiteY112" fmla="*/ 0 h 1755769"/>
                <a:gd name="connsiteX113" fmla="*/ 3361737 w 11509107"/>
                <a:gd name="connsiteY113" fmla="*/ 0 h 1755769"/>
                <a:gd name="connsiteX114" fmla="*/ 3328293 w 11509107"/>
                <a:gd name="connsiteY114" fmla="*/ 0 h 1755769"/>
                <a:gd name="connsiteX115" fmla="*/ 3288109 w 11509107"/>
                <a:gd name="connsiteY115" fmla="*/ 0 h 1755769"/>
                <a:gd name="connsiteX116" fmla="*/ 3218407 w 11509107"/>
                <a:gd name="connsiteY116" fmla="*/ 0 h 1755769"/>
                <a:gd name="connsiteX117" fmla="*/ 3215855 w 11509107"/>
                <a:gd name="connsiteY117" fmla="*/ 0 h 1755769"/>
                <a:gd name="connsiteX118" fmla="*/ 3174047 w 11509107"/>
                <a:gd name="connsiteY118" fmla="*/ 0 h 1755769"/>
                <a:gd name="connsiteX119" fmla="*/ 3133862 w 11509107"/>
                <a:gd name="connsiteY119" fmla="*/ 0 h 1755769"/>
                <a:gd name="connsiteX120" fmla="*/ 2978143 w 11509107"/>
                <a:gd name="connsiteY120" fmla="*/ 0 h 1755769"/>
                <a:gd name="connsiteX121" fmla="*/ 2833733 w 11509107"/>
                <a:gd name="connsiteY121" fmla="*/ 0 h 1755769"/>
                <a:gd name="connsiteX122" fmla="*/ 2714011 w 11509107"/>
                <a:gd name="connsiteY122" fmla="*/ 0 h 1755769"/>
                <a:gd name="connsiteX123" fmla="*/ 2675120 w 11509107"/>
                <a:gd name="connsiteY123" fmla="*/ 0 h 1755769"/>
                <a:gd name="connsiteX124" fmla="*/ 2515555 w 11509107"/>
                <a:gd name="connsiteY124" fmla="*/ 0 h 1755769"/>
                <a:gd name="connsiteX125" fmla="*/ 2473747 w 11509107"/>
                <a:gd name="connsiteY125" fmla="*/ 0 h 1755769"/>
                <a:gd name="connsiteX126" fmla="*/ 2433563 w 11509107"/>
                <a:gd name="connsiteY126" fmla="*/ 0 h 1755769"/>
                <a:gd name="connsiteX127" fmla="*/ 2363862 w 11509107"/>
                <a:gd name="connsiteY127" fmla="*/ 0 h 1755769"/>
                <a:gd name="connsiteX128" fmla="*/ 2361309 w 11509107"/>
                <a:gd name="connsiteY128" fmla="*/ 0 h 1755769"/>
                <a:gd name="connsiteX129" fmla="*/ 2287681 w 11509107"/>
                <a:gd name="connsiteY129" fmla="*/ 0 h 1755769"/>
                <a:gd name="connsiteX130" fmla="*/ 2123599 w 11509107"/>
                <a:gd name="connsiteY130" fmla="*/ 0 h 1755769"/>
                <a:gd name="connsiteX131" fmla="*/ 2041625 w 11509107"/>
                <a:gd name="connsiteY131" fmla="*/ 0 h 1755769"/>
                <a:gd name="connsiteX132" fmla="*/ 1661010 w 11509107"/>
                <a:gd name="connsiteY132" fmla="*/ 0 h 1755769"/>
                <a:gd name="connsiteX133" fmla="*/ 1587382 w 11509107"/>
                <a:gd name="connsiteY133" fmla="*/ 0 h 1755769"/>
                <a:gd name="connsiteX134" fmla="*/ 1433136 w 11509107"/>
                <a:gd name="connsiteY134" fmla="*/ 0 h 1755769"/>
                <a:gd name="connsiteX135" fmla="*/ 1237232 w 11509107"/>
                <a:gd name="connsiteY135" fmla="*/ 0 h 1755769"/>
                <a:gd name="connsiteX136" fmla="*/ 732835 w 11509107"/>
                <a:gd name="connsiteY136" fmla="*/ 0 h 1755769"/>
                <a:gd name="connsiteX137" fmla="*/ 693945 w 11509107"/>
                <a:gd name="connsiteY137" fmla="*/ 0 h 1755769"/>
                <a:gd name="connsiteX138" fmla="*/ 382687 w 11509107"/>
                <a:gd name="connsiteY138" fmla="*/ 0 h 1755769"/>
                <a:gd name="connsiteX139" fmla="*/ 60450 w 11509107"/>
                <a:gd name="connsiteY139" fmla="*/ 0 h 1755769"/>
                <a:gd name="connsiteX140" fmla="*/ 0 w 11509107"/>
                <a:gd name="connsiteY140" fmla="*/ 60450 h 1755769"/>
                <a:gd name="connsiteX141" fmla="*/ 0 w 11509107"/>
                <a:gd name="connsiteY141" fmla="*/ 1695319 h 1755769"/>
                <a:gd name="connsiteX142" fmla="*/ 60450 w 11509107"/>
                <a:gd name="connsiteY142" fmla="*/ 1755769 h 1755769"/>
                <a:gd name="connsiteX143" fmla="*/ 382687 w 11509107"/>
                <a:gd name="connsiteY143" fmla="*/ 1755769 h 1755769"/>
                <a:gd name="connsiteX144" fmla="*/ 693945 w 11509107"/>
                <a:gd name="connsiteY144" fmla="*/ 1755769 h 1755769"/>
                <a:gd name="connsiteX145" fmla="*/ 732835 w 11509107"/>
                <a:gd name="connsiteY145" fmla="*/ 1755769 h 1755769"/>
                <a:gd name="connsiteX146" fmla="*/ 1237232 w 11509107"/>
                <a:gd name="connsiteY146" fmla="*/ 1755769 h 1755769"/>
                <a:gd name="connsiteX147" fmla="*/ 1433136 w 11509107"/>
                <a:gd name="connsiteY147" fmla="*/ 1755769 h 1755769"/>
                <a:gd name="connsiteX148" fmla="*/ 1587382 w 11509107"/>
                <a:gd name="connsiteY148" fmla="*/ 1755769 h 1755769"/>
                <a:gd name="connsiteX149" fmla="*/ 1661010 w 11509107"/>
                <a:gd name="connsiteY149" fmla="*/ 1755769 h 1755769"/>
                <a:gd name="connsiteX150" fmla="*/ 2041625 w 11509107"/>
                <a:gd name="connsiteY150" fmla="*/ 1755769 h 1755769"/>
                <a:gd name="connsiteX151" fmla="*/ 2123599 w 11509107"/>
                <a:gd name="connsiteY151" fmla="*/ 1755769 h 1755769"/>
                <a:gd name="connsiteX152" fmla="*/ 2287681 w 11509107"/>
                <a:gd name="connsiteY152" fmla="*/ 1755769 h 1755769"/>
                <a:gd name="connsiteX153" fmla="*/ 2361309 w 11509107"/>
                <a:gd name="connsiteY153" fmla="*/ 1755769 h 1755769"/>
                <a:gd name="connsiteX154" fmla="*/ 2363862 w 11509107"/>
                <a:gd name="connsiteY154" fmla="*/ 1755769 h 1755769"/>
                <a:gd name="connsiteX155" fmla="*/ 2433563 w 11509107"/>
                <a:gd name="connsiteY155" fmla="*/ 1755769 h 1755769"/>
                <a:gd name="connsiteX156" fmla="*/ 2473747 w 11509107"/>
                <a:gd name="connsiteY156" fmla="*/ 1755769 h 1755769"/>
                <a:gd name="connsiteX157" fmla="*/ 2515555 w 11509107"/>
                <a:gd name="connsiteY157" fmla="*/ 1755769 h 1755769"/>
                <a:gd name="connsiteX158" fmla="*/ 2675120 w 11509107"/>
                <a:gd name="connsiteY158" fmla="*/ 1755769 h 1755769"/>
                <a:gd name="connsiteX159" fmla="*/ 2714011 w 11509107"/>
                <a:gd name="connsiteY159" fmla="*/ 1755769 h 1755769"/>
                <a:gd name="connsiteX160" fmla="*/ 2833733 w 11509107"/>
                <a:gd name="connsiteY160" fmla="*/ 1755769 h 1755769"/>
                <a:gd name="connsiteX161" fmla="*/ 2978143 w 11509107"/>
                <a:gd name="connsiteY161" fmla="*/ 1755769 h 1755769"/>
                <a:gd name="connsiteX162" fmla="*/ 3133862 w 11509107"/>
                <a:gd name="connsiteY162" fmla="*/ 1755769 h 1755769"/>
                <a:gd name="connsiteX163" fmla="*/ 3174047 w 11509107"/>
                <a:gd name="connsiteY163" fmla="*/ 1755769 h 1755769"/>
                <a:gd name="connsiteX164" fmla="*/ 3215855 w 11509107"/>
                <a:gd name="connsiteY164" fmla="*/ 1755769 h 1755769"/>
                <a:gd name="connsiteX165" fmla="*/ 3218407 w 11509107"/>
                <a:gd name="connsiteY165" fmla="*/ 1755769 h 1755769"/>
                <a:gd name="connsiteX166" fmla="*/ 3288109 w 11509107"/>
                <a:gd name="connsiteY166" fmla="*/ 1755769 h 1755769"/>
                <a:gd name="connsiteX167" fmla="*/ 3328293 w 11509107"/>
                <a:gd name="connsiteY167" fmla="*/ 1755769 h 1755769"/>
                <a:gd name="connsiteX168" fmla="*/ 3361737 w 11509107"/>
                <a:gd name="connsiteY168" fmla="*/ 1755769 h 1755769"/>
                <a:gd name="connsiteX169" fmla="*/ 3401921 w 11509107"/>
                <a:gd name="connsiteY169" fmla="*/ 1755769 h 1755769"/>
                <a:gd name="connsiteX170" fmla="*/ 3414311 w 11509107"/>
                <a:gd name="connsiteY170" fmla="*/ 1755769 h 1755769"/>
                <a:gd name="connsiteX171" fmla="*/ 3534033 w 11509107"/>
                <a:gd name="connsiteY171" fmla="*/ 1755769 h 1755769"/>
                <a:gd name="connsiteX172" fmla="*/ 3568557 w 11509107"/>
                <a:gd name="connsiteY172" fmla="*/ 1755769 h 1755769"/>
                <a:gd name="connsiteX173" fmla="*/ 3642185 w 11509107"/>
                <a:gd name="connsiteY173" fmla="*/ 1755769 h 1755769"/>
                <a:gd name="connsiteX174" fmla="*/ 3688280 w 11509107"/>
                <a:gd name="connsiteY174" fmla="*/ 1755769 h 1755769"/>
                <a:gd name="connsiteX175" fmla="*/ 3761908 w 11509107"/>
                <a:gd name="connsiteY175" fmla="*/ 1755769 h 1755769"/>
                <a:gd name="connsiteX176" fmla="*/ 3988408 w 11509107"/>
                <a:gd name="connsiteY176" fmla="*/ 1755769 h 1755769"/>
                <a:gd name="connsiteX177" fmla="*/ 4028592 w 11509107"/>
                <a:gd name="connsiteY177" fmla="*/ 1755769 h 1755769"/>
                <a:gd name="connsiteX178" fmla="*/ 4062037 w 11509107"/>
                <a:gd name="connsiteY178" fmla="*/ 1755769 h 1755769"/>
                <a:gd name="connsiteX179" fmla="*/ 4102221 w 11509107"/>
                <a:gd name="connsiteY179" fmla="*/ 1755769 h 1755769"/>
                <a:gd name="connsiteX180" fmla="*/ 4104774 w 11509107"/>
                <a:gd name="connsiteY180" fmla="*/ 1755769 h 1755769"/>
                <a:gd name="connsiteX181" fmla="*/ 4174474 w 11509107"/>
                <a:gd name="connsiteY181" fmla="*/ 1755769 h 1755769"/>
                <a:gd name="connsiteX182" fmla="*/ 4216283 w 11509107"/>
                <a:gd name="connsiteY182" fmla="*/ 1755769 h 1755769"/>
                <a:gd name="connsiteX183" fmla="*/ 4256468 w 11509107"/>
                <a:gd name="connsiteY183" fmla="*/ 1755769 h 1755769"/>
                <a:gd name="connsiteX184" fmla="*/ 4268856 w 11509107"/>
                <a:gd name="connsiteY184" fmla="*/ 1755769 h 1755769"/>
                <a:gd name="connsiteX185" fmla="*/ 4342485 w 11509107"/>
                <a:gd name="connsiteY185" fmla="*/ 1755769 h 1755769"/>
                <a:gd name="connsiteX186" fmla="*/ 4388579 w 11509107"/>
                <a:gd name="connsiteY186" fmla="*/ 1755769 h 1755769"/>
                <a:gd name="connsiteX187" fmla="*/ 4414738 w 11509107"/>
                <a:gd name="connsiteY187" fmla="*/ 1755769 h 1755769"/>
                <a:gd name="connsiteX188" fmla="*/ 4454922 w 11509107"/>
                <a:gd name="connsiteY188" fmla="*/ 1755769 h 1755769"/>
                <a:gd name="connsiteX189" fmla="*/ 4462208 w 11509107"/>
                <a:gd name="connsiteY189" fmla="*/ 1755769 h 1755769"/>
                <a:gd name="connsiteX190" fmla="*/ 4496730 w 11509107"/>
                <a:gd name="connsiteY190" fmla="*/ 1755769 h 1755769"/>
                <a:gd name="connsiteX191" fmla="*/ 4534461 w 11509107"/>
                <a:gd name="connsiteY191" fmla="*/ 1755769 h 1755769"/>
                <a:gd name="connsiteX192" fmla="*/ 4574645 w 11509107"/>
                <a:gd name="connsiteY192" fmla="*/ 1755769 h 1755769"/>
                <a:gd name="connsiteX193" fmla="*/ 4616454 w 11509107"/>
                <a:gd name="connsiteY193" fmla="*/ 1755769 h 1755769"/>
                <a:gd name="connsiteX194" fmla="*/ 4814909 w 11509107"/>
                <a:gd name="connsiteY194" fmla="*/ 1755769 h 1755769"/>
                <a:gd name="connsiteX195" fmla="*/ 4874774 w 11509107"/>
                <a:gd name="connsiteY195" fmla="*/ 1755769 h 1755769"/>
                <a:gd name="connsiteX196" fmla="*/ 4916582 w 11509107"/>
                <a:gd name="connsiteY196" fmla="*/ 1755769 h 1755769"/>
                <a:gd name="connsiteX197" fmla="*/ 4956767 w 11509107"/>
                <a:gd name="connsiteY197" fmla="*/ 1755769 h 1755769"/>
                <a:gd name="connsiteX198" fmla="*/ 4959319 w 11509107"/>
                <a:gd name="connsiteY198" fmla="*/ 1755769 h 1755769"/>
                <a:gd name="connsiteX199" fmla="*/ 5029020 w 11509107"/>
                <a:gd name="connsiteY199" fmla="*/ 1755769 h 1755769"/>
                <a:gd name="connsiteX200" fmla="*/ 5102649 w 11509107"/>
                <a:gd name="connsiteY200" fmla="*/ 1755769 h 1755769"/>
                <a:gd name="connsiteX201" fmla="*/ 5115037 w 11509107"/>
                <a:gd name="connsiteY201" fmla="*/ 1755769 h 1755769"/>
                <a:gd name="connsiteX202" fmla="*/ 5155222 w 11509107"/>
                <a:gd name="connsiteY202" fmla="*/ 1755769 h 1755769"/>
                <a:gd name="connsiteX203" fmla="*/ 5197031 w 11509107"/>
                <a:gd name="connsiteY203" fmla="*/ 1755769 h 1755769"/>
                <a:gd name="connsiteX204" fmla="*/ 5234760 w 11509107"/>
                <a:gd name="connsiteY204" fmla="*/ 1755769 h 1755769"/>
                <a:gd name="connsiteX205" fmla="*/ 5269284 w 11509107"/>
                <a:gd name="connsiteY205" fmla="*/ 1755769 h 1755769"/>
                <a:gd name="connsiteX206" fmla="*/ 5274945 w 11509107"/>
                <a:gd name="connsiteY206" fmla="*/ 1755769 h 1755769"/>
                <a:gd name="connsiteX207" fmla="*/ 5309468 w 11509107"/>
                <a:gd name="connsiteY207" fmla="*/ 1755769 h 1755769"/>
                <a:gd name="connsiteX208" fmla="*/ 5316754 w 11509107"/>
                <a:gd name="connsiteY208" fmla="*/ 1755769 h 1755769"/>
                <a:gd name="connsiteX209" fmla="*/ 5342913 w 11509107"/>
                <a:gd name="connsiteY209" fmla="*/ 1755769 h 1755769"/>
                <a:gd name="connsiteX210" fmla="*/ 5383097 w 11509107"/>
                <a:gd name="connsiteY210" fmla="*/ 1755769 h 1755769"/>
                <a:gd name="connsiteX211" fmla="*/ 5389006 w 11509107"/>
                <a:gd name="connsiteY211" fmla="*/ 1755769 h 1755769"/>
                <a:gd name="connsiteX212" fmla="*/ 5429191 w 11509107"/>
                <a:gd name="connsiteY212" fmla="*/ 1755769 h 1755769"/>
                <a:gd name="connsiteX213" fmla="*/ 5462635 w 11509107"/>
                <a:gd name="connsiteY213" fmla="*/ 1755769 h 1755769"/>
                <a:gd name="connsiteX214" fmla="*/ 5502820 w 11509107"/>
                <a:gd name="connsiteY214" fmla="*/ 1755769 h 1755769"/>
                <a:gd name="connsiteX215" fmla="*/ 5515208 w 11509107"/>
                <a:gd name="connsiteY215" fmla="*/ 1755769 h 1755769"/>
                <a:gd name="connsiteX216" fmla="*/ 5669455 w 11509107"/>
                <a:gd name="connsiteY216" fmla="*/ 1755769 h 1755769"/>
                <a:gd name="connsiteX217" fmla="*/ 5729319 w 11509107"/>
                <a:gd name="connsiteY217" fmla="*/ 1755769 h 1755769"/>
                <a:gd name="connsiteX218" fmla="*/ 5743083 w 11509107"/>
                <a:gd name="connsiteY218" fmla="*/ 1755769 h 1755769"/>
                <a:gd name="connsiteX219" fmla="*/ 5802948 w 11509107"/>
                <a:gd name="connsiteY219" fmla="*/ 1755769 h 1755769"/>
                <a:gd name="connsiteX220" fmla="*/ 5957194 w 11509107"/>
                <a:gd name="connsiteY220" fmla="*/ 1755769 h 1755769"/>
                <a:gd name="connsiteX221" fmla="*/ 5969583 w 11509107"/>
                <a:gd name="connsiteY221" fmla="*/ 1755769 h 1755769"/>
                <a:gd name="connsiteX222" fmla="*/ 6009767 w 11509107"/>
                <a:gd name="connsiteY222" fmla="*/ 1755769 h 1755769"/>
                <a:gd name="connsiteX223" fmla="*/ 6043212 w 11509107"/>
                <a:gd name="connsiteY223" fmla="*/ 1755769 h 1755769"/>
                <a:gd name="connsiteX224" fmla="*/ 6083396 w 11509107"/>
                <a:gd name="connsiteY224" fmla="*/ 1755769 h 1755769"/>
                <a:gd name="connsiteX225" fmla="*/ 6089306 w 11509107"/>
                <a:gd name="connsiteY225" fmla="*/ 1755769 h 1755769"/>
                <a:gd name="connsiteX226" fmla="*/ 6129491 w 11509107"/>
                <a:gd name="connsiteY226" fmla="*/ 1755769 h 1755769"/>
                <a:gd name="connsiteX227" fmla="*/ 6155649 w 11509107"/>
                <a:gd name="connsiteY227" fmla="*/ 1755769 h 1755769"/>
                <a:gd name="connsiteX228" fmla="*/ 6162935 w 11509107"/>
                <a:gd name="connsiteY228" fmla="*/ 1755769 h 1755769"/>
                <a:gd name="connsiteX229" fmla="*/ 6197458 w 11509107"/>
                <a:gd name="connsiteY229" fmla="*/ 1755769 h 1755769"/>
                <a:gd name="connsiteX230" fmla="*/ 6203119 w 11509107"/>
                <a:gd name="connsiteY230" fmla="*/ 1755769 h 1755769"/>
                <a:gd name="connsiteX231" fmla="*/ 6237643 w 11509107"/>
                <a:gd name="connsiteY231" fmla="*/ 1755769 h 1755769"/>
                <a:gd name="connsiteX232" fmla="*/ 6275372 w 11509107"/>
                <a:gd name="connsiteY232" fmla="*/ 1755769 h 1755769"/>
                <a:gd name="connsiteX233" fmla="*/ 6317181 w 11509107"/>
                <a:gd name="connsiteY233" fmla="*/ 1755769 h 1755769"/>
                <a:gd name="connsiteX234" fmla="*/ 6357365 w 11509107"/>
                <a:gd name="connsiteY234" fmla="*/ 1755769 h 1755769"/>
                <a:gd name="connsiteX235" fmla="*/ 6369754 w 11509107"/>
                <a:gd name="connsiteY235" fmla="*/ 1755769 h 1755769"/>
                <a:gd name="connsiteX236" fmla="*/ 6443383 w 11509107"/>
                <a:gd name="connsiteY236" fmla="*/ 1755769 h 1755769"/>
                <a:gd name="connsiteX237" fmla="*/ 6515636 w 11509107"/>
                <a:gd name="connsiteY237" fmla="*/ 1755769 h 1755769"/>
                <a:gd name="connsiteX238" fmla="*/ 6555820 w 11509107"/>
                <a:gd name="connsiteY238" fmla="*/ 1755769 h 1755769"/>
                <a:gd name="connsiteX239" fmla="*/ 6597629 w 11509107"/>
                <a:gd name="connsiteY239" fmla="*/ 1755769 h 1755769"/>
                <a:gd name="connsiteX240" fmla="*/ 6657494 w 11509107"/>
                <a:gd name="connsiteY240" fmla="*/ 1755769 h 1755769"/>
                <a:gd name="connsiteX241" fmla="*/ 6855949 w 11509107"/>
                <a:gd name="connsiteY241" fmla="*/ 1755769 h 1755769"/>
                <a:gd name="connsiteX242" fmla="*/ 6897757 w 11509107"/>
                <a:gd name="connsiteY242" fmla="*/ 1755769 h 1755769"/>
                <a:gd name="connsiteX243" fmla="*/ 6937942 w 11509107"/>
                <a:gd name="connsiteY243" fmla="*/ 1755769 h 1755769"/>
                <a:gd name="connsiteX244" fmla="*/ 6975671 w 11509107"/>
                <a:gd name="connsiteY244" fmla="*/ 1755769 h 1755769"/>
                <a:gd name="connsiteX245" fmla="*/ 7010195 w 11509107"/>
                <a:gd name="connsiteY245" fmla="*/ 1755769 h 1755769"/>
                <a:gd name="connsiteX246" fmla="*/ 7017480 w 11509107"/>
                <a:gd name="connsiteY246" fmla="*/ 1755769 h 1755769"/>
                <a:gd name="connsiteX247" fmla="*/ 7057664 w 11509107"/>
                <a:gd name="connsiteY247" fmla="*/ 1755769 h 1755769"/>
                <a:gd name="connsiteX248" fmla="*/ 7083824 w 11509107"/>
                <a:gd name="connsiteY248" fmla="*/ 1755769 h 1755769"/>
                <a:gd name="connsiteX249" fmla="*/ 7129918 w 11509107"/>
                <a:gd name="connsiteY249" fmla="*/ 1755769 h 1755769"/>
                <a:gd name="connsiteX250" fmla="*/ 7203546 w 11509107"/>
                <a:gd name="connsiteY250" fmla="*/ 1755769 h 1755769"/>
                <a:gd name="connsiteX251" fmla="*/ 7215935 w 11509107"/>
                <a:gd name="connsiteY251" fmla="*/ 1755769 h 1755769"/>
                <a:gd name="connsiteX252" fmla="*/ 7256120 w 11509107"/>
                <a:gd name="connsiteY252" fmla="*/ 1755769 h 1755769"/>
                <a:gd name="connsiteX253" fmla="*/ 7297929 w 11509107"/>
                <a:gd name="connsiteY253" fmla="*/ 1755769 h 1755769"/>
                <a:gd name="connsiteX254" fmla="*/ 7370181 w 11509107"/>
                <a:gd name="connsiteY254" fmla="*/ 1755769 h 1755769"/>
                <a:gd name="connsiteX255" fmla="*/ 7410366 w 11509107"/>
                <a:gd name="connsiteY255" fmla="*/ 1755769 h 1755769"/>
                <a:gd name="connsiteX256" fmla="*/ 7443810 w 11509107"/>
                <a:gd name="connsiteY256" fmla="*/ 1755769 h 1755769"/>
                <a:gd name="connsiteX257" fmla="*/ 7483995 w 11509107"/>
                <a:gd name="connsiteY257" fmla="*/ 1755769 h 1755769"/>
                <a:gd name="connsiteX258" fmla="*/ 7710494 w 11509107"/>
                <a:gd name="connsiteY258" fmla="*/ 1755769 h 1755769"/>
                <a:gd name="connsiteX259" fmla="*/ 7784123 w 11509107"/>
                <a:gd name="connsiteY259" fmla="*/ 1755769 h 1755769"/>
                <a:gd name="connsiteX260" fmla="*/ 7830217 w 11509107"/>
                <a:gd name="connsiteY260" fmla="*/ 1755769 h 1755769"/>
                <a:gd name="connsiteX261" fmla="*/ 7903846 w 11509107"/>
                <a:gd name="connsiteY261" fmla="*/ 1755769 h 1755769"/>
                <a:gd name="connsiteX262" fmla="*/ 7938369 w 11509107"/>
                <a:gd name="connsiteY262" fmla="*/ 1755769 h 1755769"/>
                <a:gd name="connsiteX263" fmla="*/ 8058092 w 11509107"/>
                <a:gd name="connsiteY263" fmla="*/ 1755769 h 1755769"/>
                <a:gd name="connsiteX264" fmla="*/ 8070480 w 11509107"/>
                <a:gd name="connsiteY264" fmla="*/ 1755769 h 1755769"/>
                <a:gd name="connsiteX265" fmla="*/ 8110665 w 11509107"/>
                <a:gd name="connsiteY265" fmla="*/ 1755769 h 1755769"/>
                <a:gd name="connsiteX266" fmla="*/ 8144110 w 11509107"/>
                <a:gd name="connsiteY266" fmla="*/ 1755769 h 1755769"/>
                <a:gd name="connsiteX267" fmla="*/ 8184294 w 11509107"/>
                <a:gd name="connsiteY267" fmla="*/ 1755769 h 1755769"/>
                <a:gd name="connsiteX268" fmla="*/ 8256547 w 11509107"/>
                <a:gd name="connsiteY268" fmla="*/ 1755769 h 1755769"/>
                <a:gd name="connsiteX269" fmla="*/ 8298355 w 11509107"/>
                <a:gd name="connsiteY269" fmla="*/ 1755769 h 1755769"/>
                <a:gd name="connsiteX270" fmla="*/ 8338539 w 11509107"/>
                <a:gd name="connsiteY270" fmla="*/ 1755769 h 1755769"/>
                <a:gd name="connsiteX271" fmla="*/ 8638668 w 11509107"/>
                <a:gd name="connsiteY271" fmla="*/ 1755769 h 1755769"/>
                <a:gd name="connsiteX272" fmla="*/ 8758391 w 11509107"/>
                <a:gd name="connsiteY272" fmla="*/ 1755769 h 1755769"/>
                <a:gd name="connsiteX273" fmla="*/ 8956846 w 11509107"/>
                <a:gd name="connsiteY273" fmla="*/ 1755769 h 1755769"/>
                <a:gd name="connsiteX274" fmla="*/ 8998655 w 11509107"/>
                <a:gd name="connsiteY274" fmla="*/ 1755769 h 1755769"/>
                <a:gd name="connsiteX275" fmla="*/ 9038839 w 11509107"/>
                <a:gd name="connsiteY275" fmla="*/ 1755769 h 1755769"/>
                <a:gd name="connsiteX276" fmla="*/ 9111092 w 11509107"/>
                <a:gd name="connsiteY276" fmla="*/ 1755769 h 1755769"/>
                <a:gd name="connsiteX277" fmla="*/ 9184721 w 11509107"/>
                <a:gd name="connsiteY277" fmla="*/ 1755769 h 1755769"/>
                <a:gd name="connsiteX278" fmla="*/ 9811392 w 11509107"/>
                <a:gd name="connsiteY278" fmla="*/ 1755769 h 1755769"/>
                <a:gd name="connsiteX279" fmla="*/ 9885020 w 11509107"/>
                <a:gd name="connsiteY279" fmla="*/ 1755769 h 1755769"/>
                <a:gd name="connsiteX280" fmla="*/ 10039267 w 11509107"/>
                <a:gd name="connsiteY280" fmla="*/ 1755769 h 1755769"/>
                <a:gd name="connsiteX281" fmla="*/ 10739566 w 11509107"/>
                <a:gd name="connsiteY281" fmla="*/ 1755769 h 1755769"/>
                <a:gd name="connsiteX282" fmla="*/ 10822534 w 11509107"/>
                <a:gd name="connsiteY282" fmla="*/ 1717122 h 1755769"/>
                <a:gd name="connsiteX283" fmla="*/ 11497419 w 11509107"/>
                <a:gd name="connsiteY283" fmla="*/ 910010 h 1755769"/>
                <a:gd name="connsiteX284" fmla="*/ 11497419 w 11509107"/>
                <a:gd name="connsiteY284" fmla="*/ 845758 h 1755769"/>
                <a:gd name="connsiteX285" fmla="*/ 10822534 w 11509107"/>
                <a:gd name="connsiteY285" fmla="*/ 38647 h 1755769"/>
                <a:gd name="connsiteX286" fmla="*/ 10739566 w 11509107"/>
                <a:gd name="connsiteY286" fmla="*/ 0 h 175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1509107" h="1755769">
                  <a:moveTo>
                    <a:pt x="10739566" y="0"/>
                  </a:moveTo>
                  <a:lnTo>
                    <a:pt x="10039267" y="0"/>
                  </a:lnTo>
                  <a:lnTo>
                    <a:pt x="9885020" y="0"/>
                  </a:lnTo>
                  <a:lnTo>
                    <a:pt x="9811392" y="0"/>
                  </a:lnTo>
                  <a:lnTo>
                    <a:pt x="9184721" y="0"/>
                  </a:lnTo>
                  <a:lnTo>
                    <a:pt x="9111092" y="0"/>
                  </a:lnTo>
                  <a:lnTo>
                    <a:pt x="9038839" y="0"/>
                  </a:lnTo>
                  <a:lnTo>
                    <a:pt x="8998655" y="0"/>
                  </a:lnTo>
                  <a:lnTo>
                    <a:pt x="8956846" y="0"/>
                  </a:lnTo>
                  <a:lnTo>
                    <a:pt x="8758391" y="0"/>
                  </a:lnTo>
                  <a:lnTo>
                    <a:pt x="8638668" y="0"/>
                  </a:lnTo>
                  <a:lnTo>
                    <a:pt x="8338539" y="0"/>
                  </a:lnTo>
                  <a:lnTo>
                    <a:pt x="8298355" y="0"/>
                  </a:lnTo>
                  <a:lnTo>
                    <a:pt x="8256547" y="0"/>
                  </a:lnTo>
                  <a:lnTo>
                    <a:pt x="8184294" y="0"/>
                  </a:lnTo>
                  <a:lnTo>
                    <a:pt x="8144110" y="0"/>
                  </a:lnTo>
                  <a:lnTo>
                    <a:pt x="8110665" y="0"/>
                  </a:lnTo>
                  <a:lnTo>
                    <a:pt x="8070480" y="0"/>
                  </a:lnTo>
                  <a:lnTo>
                    <a:pt x="8058092" y="0"/>
                  </a:lnTo>
                  <a:lnTo>
                    <a:pt x="7938369" y="0"/>
                  </a:lnTo>
                  <a:lnTo>
                    <a:pt x="7903846" y="0"/>
                  </a:lnTo>
                  <a:lnTo>
                    <a:pt x="7830217" y="0"/>
                  </a:lnTo>
                  <a:lnTo>
                    <a:pt x="7784123" y="0"/>
                  </a:lnTo>
                  <a:lnTo>
                    <a:pt x="7710494" y="0"/>
                  </a:lnTo>
                  <a:lnTo>
                    <a:pt x="7483995" y="0"/>
                  </a:lnTo>
                  <a:lnTo>
                    <a:pt x="7443810" y="0"/>
                  </a:lnTo>
                  <a:lnTo>
                    <a:pt x="7410366" y="0"/>
                  </a:lnTo>
                  <a:lnTo>
                    <a:pt x="7370181" y="0"/>
                  </a:lnTo>
                  <a:lnTo>
                    <a:pt x="7297929" y="0"/>
                  </a:lnTo>
                  <a:lnTo>
                    <a:pt x="7256120" y="0"/>
                  </a:lnTo>
                  <a:lnTo>
                    <a:pt x="7215935" y="0"/>
                  </a:lnTo>
                  <a:lnTo>
                    <a:pt x="7203546" y="0"/>
                  </a:lnTo>
                  <a:lnTo>
                    <a:pt x="7129918" y="0"/>
                  </a:lnTo>
                  <a:lnTo>
                    <a:pt x="7083824" y="0"/>
                  </a:lnTo>
                  <a:lnTo>
                    <a:pt x="7057664" y="0"/>
                  </a:lnTo>
                  <a:lnTo>
                    <a:pt x="7017480" y="0"/>
                  </a:lnTo>
                  <a:lnTo>
                    <a:pt x="7010195" y="0"/>
                  </a:lnTo>
                  <a:lnTo>
                    <a:pt x="6975671" y="0"/>
                  </a:lnTo>
                  <a:lnTo>
                    <a:pt x="6937942" y="0"/>
                  </a:lnTo>
                  <a:lnTo>
                    <a:pt x="6897757" y="0"/>
                  </a:lnTo>
                  <a:lnTo>
                    <a:pt x="6855949" y="0"/>
                  </a:lnTo>
                  <a:lnTo>
                    <a:pt x="6657494" y="0"/>
                  </a:lnTo>
                  <a:lnTo>
                    <a:pt x="6597629" y="0"/>
                  </a:lnTo>
                  <a:lnTo>
                    <a:pt x="6555820" y="0"/>
                  </a:lnTo>
                  <a:lnTo>
                    <a:pt x="6515636" y="0"/>
                  </a:lnTo>
                  <a:lnTo>
                    <a:pt x="6443383" y="0"/>
                  </a:lnTo>
                  <a:lnTo>
                    <a:pt x="6369754" y="0"/>
                  </a:lnTo>
                  <a:lnTo>
                    <a:pt x="6357365" y="0"/>
                  </a:lnTo>
                  <a:lnTo>
                    <a:pt x="6317181" y="0"/>
                  </a:lnTo>
                  <a:lnTo>
                    <a:pt x="6275372" y="0"/>
                  </a:lnTo>
                  <a:lnTo>
                    <a:pt x="6237643" y="0"/>
                  </a:lnTo>
                  <a:lnTo>
                    <a:pt x="6203119" y="0"/>
                  </a:lnTo>
                  <a:lnTo>
                    <a:pt x="6197458" y="0"/>
                  </a:lnTo>
                  <a:lnTo>
                    <a:pt x="6162935" y="0"/>
                  </a:lnTo>
                  <a:lnTo>
                    <a:pt x="6155649" y="0"/>
                  </a:lnTo>
                  <a:lnTo>
                    <a:pt x="6129491" y="0"/>
                  </a:lnTo>
                  <a:lnTo>
                    <a:pt x="6089306" y="0"/>
                  </a:lnTo>
                  <a:lnTo>
                    <a:pt x="6083396" y="0"/>
                  </a:lnTo>
                  <a:lnTo>
                    <a:pt x="6043212" y="0"/>
                  </a:lnTo>
                  <a:lnTo>
                    <a:pt x="6009767" y="0"/>
                  </a:lnTo>
                  <a:lnTo>
                    <a:pt x="5969583" y="0"/>
                  </a:lnTo>
                  <a:lnTo>
                    <a:pt x="5957194" y="0"/>
                  </a:lnTo>
                  <a:lnTo>
                    <a:pt x="5802948" y="0"/>
                  </a:lnTo>
                  <a:lnTo>
                    <a:pt x="5743083" y="0"/>
                  </a:lnTo>
                  <a:lnTo>
                    <a:pt x="5729319" y="0"/>
                  </a:lnTo>
                  <a:lnTo>
                    <a:pt x="5669455" y="0"/>
                  </a:lnTo>
                  <a:lnTo>
                    <a:pt x="5515208" y="0"/>
                  </a:lnTo>
                  <a:lnTo>
                    <a:pt x="5502820" y="0"/>
                  </a:lnTo>
                  <a:lnTo>
                    <a:pt x="5462635" y="0"/>
                  </a:lnTo>
                  <a:lnTo>
                    <a:pt x="5429191" y="0"/>
                  </a:lnTo>
                  <a:lnTo>
                    <a:pt x="5389006" y="0"/>
                  </a:lnTo>
                  <a:lnTo>
                    <a:pt x="5383097" y="0"/>
                  </a:lnTo>
                  <a:lnTo>
                    <a:pt x="5342913" y="0"/>
                  </a:lnTo>
                  <a:lnTo>
                    <a:pt x="5316754" y="0"/>
                  </a:lnTo>
                  <a:lnTo>
                    <a:pt x="5309468" y="0"/>
                  </a:lnTo>
                  <a:lnTo>
                    <a:pt x="5274945" y="0"/>
                  </a:lnTo>
                  <a:lnTo>
                    <a:pt x="5269284" y="0"/>
                  </a:lnTo>
                  <a:lnTo>
                    <a:pt x="5234760" y="0"/>
                  </a:lnTo>
                  <a:lnTo>
                    <a:pt x="5197031" y="0"/>
                  </a:lnTo>
                  <a:lnTo>
                    <a:pt x="5155222" y="0"/>
                  </a:lnTo>
                  <a:lnTo>
                    <a:pt x="5115037" y="0"/>
                  </a:lnTo>
                  <a:lnTo>
                    <a:pt x="5102649" y="0"/>
                  </a:lnTo>
                  <a:lnTo>
                    <a:pt x="5029020" y="0"/>
                  </a:lnTo>
                  <a:lnTo>
                    <a:pt x="4959319" y="0"/>
                  </a:lnTo>
                  <a:lnTo>
                    <a:pt x="4956767" y="0"/>
                  </a:lnTo>
                  <a:lnTo>
                    <a:pt x="4916582" y="0"/>
                  </a:lnTo>
                  <a:lnTo>
                    <a:pt x="4874774" y="0"/>
                  </a:lnTo>
                  <a:lnTo>
                    <a:pt x="4814909" y="0"/>
                  </a:lnTo>
                  <a:lnTo>
                    <a:pt x="4616454" y="0"/>
                  </a:lnTo>
                  <a:lnTo>
                    <a:pt x="4574645" y="0"/>
                  </a:lnTo>
                  <a:lnTo>
                    <a:pt x="4534461" y="0"/>
                  </a:lnTo>
                  <a:lnTo>
                    <a:pt x="4496730" y="0"/>
                  </a:lnTo>
                  <a:lnTo>
                    <a:pt x="4462208" y="0"/>
                  </a:lnTo>
                  <a:lnTo>
                    <a:pt x="4454922" y="0"/>
                  </a:lnTo>
                  <a:lnTo>
                    <a:pt x="4414738" y="0"/>
                  </a:lnTo>
                  <a:lnTo>
                    <a:pt x="4388579" y="0"/>
                  </a:lnTo>
                  <a:lnTo>
                    <a:pt x="4342485" y="0"/>
                  </a:lnTo>
                  <a:lnTo>
                    <a:pt x="4268856" y="0"/>
                  </a:lnTo>
                  <a:lnTo>
                    <a:pt x="4256468" y="0"/>
                  </a:lnTo>
                  <a:lnTo>
                    <a:pt x="4216283" y="0"/>
                  </a:lnTo>
                  <a:lnTo>
                    <a:pt x="4174474" y="0"/>
                  </a:lnTo>
                  <a:lnTo>
                    <a:pt x="4104774" y="0"/>
                  </a:lnTo>
                  <a:lnTo>
                    <a:pt x="4102221" y="0"/>
                  </a:lnTo>
                  <a:lnTo>
                    <a:pt x="4062037" y="0"/>
                  </a:lnTo>
                  <a:lnTo>
                    <a:pt x="4028592" y="0"/>
                  </a:lnTo>
                  <a:lnTo>
                    <a:pt x="3988408" y="0"/>
                  </a:lnTo>
                  <a:lnTo>
                    <a:pt x="3761908" y="0"/>
                  </a:lnTo>
                  <a:lnTo>
                    <a:pt x="3688280" y="0"/>
                  </a:lnTo>
                  <a:lnTo>
                    <a:pt x="3642185" y="0"/>
                  </a:lnTo>
                  <a:lnTo>
                    <a:pt x="3568557" y="0"/>
                  </a:lnTo>
                  <a:lnTo>
                    <a:pt x="3534033" y="0"/>
                  </a:lnTo>
                  <a:lnTo>
                    <a:pt x="3414311" y="0"/>
                  </a:lnTo>
                  <a:lnTo>
                    <a:pt x="3401921" y="0"/>
                  </a:lnTo>
                  <a:lnTo>
                    <a:pt x="3361737" y="0"/>
                  </a:lnTo>
                  <a:lnTo>
                    <a:pt x="3328293" y="0"/>
                  </a:lnTo>
                  <a:lnTo>
                    <a:pt x="3288109" y="0"/>
                  </a:lnTo>
                  <a:lnTo>
                    <a:pt x="3218407" y="0"/>
                  </a:lnTo>
                  <a:lnTo>
                    <a:pt x="3215855" y="0"/>
                  </a:lnTo>
                  <a:lnTo>
                    <a:pt x="3174047" y="0"/>
                  </a:lnTo>
                  <a:lnTo>
                    <a:pt x="3133862" y="0"/>
                  </a:lnTo>
                  <a:lnTo>
                    <a:pt x="2978143" y="0"/>
                  </a:lnTo>
                  <a:lnTo>
                    <a:pt x="2833733" y="0"/>
                  </a:lnTo>
                  <a:lnTo>
                    <a:pt x="2714011" y="0"/>
                  </a:lnTo>
                  <a:lnTo>
                    <a:pt x="2675120" y="0"/>
                  </a:lnTo>
                  <a:lnTo>
                    <a:pt x="2515555" y="0"/>
                  </a:lnTo>
                  <a:lnTo>
                    <a:pt x="2473747" y="0"/>
                  </a:lnTo>
                  <a:lnTo>
                    <a:pt x="2433563" y="0"/>
                  </a:lnTo>
                  <a:lnTo>
                    <a:pt x="2363862" y="0"/>
                  </a:lnTo>
                  <a:lnTo>
                    <a:pt x="2361309" y="0"/>
                  </a:lnTo>
                  <a:lnTo>
                    <a:pt x="2287681" y="0"/>
                  </a:lnTo>
                  <a:lnTo>
                    <a:pt x="2123599" y="0"/>
                  </a:lnTo>
                  <a:lnTo>
                    <a:pt x="2041625" y="0"/>
                  </a:lnTo>
                  <a:lnTo>
                    <a:pt x="1661010" y="0"/>
                  </a:lnTo>
                  <a:lnTo>
                    <a:pt x="1587382" y="0"/>
                  </a:lnTo>
                  <a:lnTo>
                    <a:pt x="1433136" y="0"/>
                  </a:lnTo>
                  <a:lnTo>
                    <a:pt x="1237232" y="0"/>
                  </a:lnTo>
                  <a:lnTo>
                    <a:pt x="732835" y="0"/>
                  </a:lnTo>
                  <a:lnTo>
                    <a:pt x="693945" y="0"/>
                  </a:lnTo>
                  <a:lnTo>
                    <a:pt x="382687" y="0"/>
                  </a:lnTo>
                  <a:lnTo>
                    <a:pt x="60450" y="0"/>
                  </a:lnTo>
                  <a:cubicBezTo>
                    <a:pt x="27065" y="0"/>
                    <a:pt x="0" y="27065"/>
                    <a:pt x="0" y="60450"/>
                  </a:cubicBezTo>
                  <a:lnTo>
                    <a:pt x="0" y="1695319"/>
                  </a:lnTo>
                  <a:cubicBezTo>
                    <a:pt x="0" y="1728704"/>
                    <a:pt x="27065" y="1755769"/>
                    <a:pt x="60450" y="1755769"/>
                  </a:cubicBezTo>
                  <a:lnTo>
                    <a:pt x="382687" y="1755769"/>
                  </a:lnTo>
                  <a:lnTo>
                    <a:pt x="693945" y="1755769"/>
                  </a:lnTo>
                  <a:lnTo>
                    <a:pt x="732835" y="1755769"/>
                  </a:lnTo>
                  <a:lnTo>
                    <a:pt x="1237232" y="1755769"/>
                  </a:lnTo>
                  <a:lnTo>
                    <a:pt x="1433136" y="1755769"/>
                  </a:lnTo>
                  <a:lnTo>
                    <a:pt x="1587382" y="1755769"/>
                  </a:lnTo>
                  <a:lnTo>
                    <a:pt x="1661010" y="1755769"/>
                  </a:lnTo>
                  <a:lnTo>
                    <a:pt x="2041625" y="1755769"/>
                  </a:lnTo>
                  <a:lnTo>
                    <a:pt x="2123599" y="1755769"/>
                  </a:lnTo>
                  <a:lnTo>
                    <a:pt x="2287681" y="1755769"/>
                  </a:lnTo>
                  <a:lnTo>
                    <a:pt x="2361309" y="1755769"/>
                  </a:lnTo>
                  <a:lnTo>
                    <a:pt x="2363862" y="1755769"/>
                  </a:lnTo>
                  <a:lnTo>
                    <a:pt x="2433563" y="1755769"/>
                  </a:lnTo>
                  <a:lnTo>
                    <a:pt x="2473747" y="1755769"/>
                  </a:lnTo>
                  <a:lnTo>
                    <a:pt x="2515555" y="1755769"/>
                  </a:lnTo>
                  <a:lnTo>
                    <a:pt x="2675120" y="1755769"/>
                  </a:lnTo>
                  <a:lnTo>
                    <a:pt x="2714011" y="1755769"/>
                  </a:lnTo>
                  <a:lnTo>
                    <a:pt x="2833733" y="1755769"/>
                  </a:lnTo>
                  <a:lnTo>
                    <a:pt x="2978143" y="1755769"/>
                  </a:lnTo>
                  <a:lnTo>
                    <a:pt x="3133862" y="1755769"/>
                  </a:lnTo>
                  <a:lnTo>
                    <a:pt x="3174047" y="1755769"/>
                  </a:lnTo>
                  <a:lnTo>
                    <a:pt x="3215855" y="1755769"/>
                  </a:lnTo>
                  <a:lnTo>
                    <a:pt x="3218407" y="1755769"/>
                  </a:lnTo>
                  <a:lnTo>
                    <a:pt x="3288109" y="1755769"/>
                  </a:lnTo>
                  <a:lnTo>
                    <a:pt x="3328293" y="1755769"/>
                  </a:lnTo>
                  <a:lnTo>
                    <a:pt x="3361737" y="1755769"/>
                  </a:lnTo>
                  <a:lnTo>
                    <a:pt x="3401921" y="1755769"/>
                  </a:lnTo>
                  <a:lnTo>
                    <a:pt x="3414311" y="1755769"/>
                  </a:lnTo>
                  <a:lnTo>
                    <a:pt x="3534033" y="1755769"/>
                  </a:lnTo>
                  <a:lnTo>
                    <a:pt x="3568557" y="1755769"/>
                  </a:lnTo>
                  <a:lnTo>
                    <a:pt x="3642185" y="1755769"/>
                  </a:lnTo>
                  <a:lnTo>
                    <a:pt x="3688280" y="1755769"/>
                  </a:lnTo>
                  <a:lnTo>
                    <a:pt x="3761908" y="1755769"/>
                  </a:lnTo>
                  <a:lnTo>
                    <a:pt x="3988408" y="1755769"/>
                  </a:lnTo>
                  <a:lnTo>
                    <a:pt x="4028592" y="1755769"/>
                  </a:lnTo>
                  <a:lnTo>
                    <a:pt x="4062037" y="1755769"/>
                  </a:lnTo>
                  <a:lnTo>
                    <a:pt x="4102221" y="1755769"/>
                  </a:lnTo>
                  <a:lnTo>
                    <a:pt x="4104774" y="1755769"/>
                  </a:lnTo>
                  <a:lnTo>
                    <a:pt x="4174474" y="1755769"/>
                  </a:lnTo>
                  <a:lnTo>
                    <a:pt x="4216283" y="1755769"/>
                  </a:lnTo>
                  <a:lnTo>
                    <a:pt x="4256468" y="1755769"/>
                  </a:lnTo>
                  <a:lnTo>
                    <a:pt x="4268856" y="1755769"/>
                  </a:lnTo>
                  <a:lnTo>
                    <a:pt x="4342485" y="1755769"/>
                  </a:lnTo>
                  <a:lnTo>
                    <a:pt x="4388579" y="1755769"/>
                  </a:lnTo>
                  <a:lnTo>
                    <a:pt x="4414738" y="1755769"/>
                  </a:lnTo>
                  <a:lnTo>
                    <a:pt x="4454922" y="1755769"/>
                  </a:lnTo>
                  <a:lnTo>
                    <a:pt x="4462208" y="1755769"/>
                  </a:lnTo>
                  <a:lnTo>
                    <a:pt x="4496730" y="1755769"/>
                  </a:lnTo>
                  <a:lnTo>
                    <a:pt x="4534461" y="1755769"/>
                  </a:lnTo>
                  <a:lnTo>
                    <a:pt x="4574645" y="1755769"/>
                  </a:lnTo>
                  <a:lnTo>
                    <a:pt x="4616454" y="1755769"/>
                  </a:lnTo>
                  <a:lnTo>
                    <a:pt x="4814909" y="1755769"/>
                  </a:lnTo>
                  <a:lnTo>
                    <a:pt x="4874774" y="1755769"/>
                  </a:lnTo>
                  <a:lnTo>
                    <a:pt x="4916582" y="1755769"/>
                  </a:lnTo>
                  <a:lnTo>
                    <a:pt x="4956767" y="1755769"/>
                  </a:lnTo>
                  <a:lnTo>
                    <a:pt x="4959319" y="1755769"/>
                  </a:lnTo>
                  <a:lnTo>
                    <a:pt x="5029020" y="1755769"/>
                  </a:lnTo>
                  <a:lnTo>
                    <a:pt x="5102649" y="1755769"/>
                  </a:lnTo>
                  <a:lnTo>
                    <a:pt x="5115037" y="1755769"/>
                  </a:lnTo>
                  <a:lnTo>
                    <a:pt x="5155222" y="1755769"/>
                  </a:lnTo>
                  <a:lnTo>
                    <a:pt x="5197031" y="1755769"/>
                  </a:lnTo>
                  <a:lnTo>
                    <a:pt x="5234760" y="1755769"/>
                  </a:lnTo>
                  <a:lnTo>
                    <a:pt x="5269284" y="1755769"/>
                  </a:lnTo>
                  <a:lnTo>
                    <a:pt x="5274945" y="1755769"/>
                  </a:lnTo>
                  <a:lnTo>
                    <a:pt x="5309468" y="1755769"/>
                  </a:lnTo>
                  <a:lnTo>
                    <a:pt x="5316754" y="1755769"/>
                  </a:lnTo>
                  <a:lnTo>
                    <a:pt x="5342913" y="1755769"/>
                  </a:lnTo>
                  <a:lnTo>
                    <a:pt x="5383097" y="1755769"/>
                  </a:lnTo>
                  <a:lnTo>
                    <a:pt x="5389006" y="1755769"/>
                  </a:lnTo>
                  <a:lnTo>
                    <a:pt x="5429191" y="1755769"/>
                  </a:lnTo>
                  <a:lnTo>
                    <a:pt x="5462635" y="1755769"/>
                  </a:lnTo>
                  <a:lnTo>
                    <a:pt x="5502820" y="1755769"/>
                  </a:lnTo>
                  <a:lnTo>
                    <a:pt x="5515208" y="1755769"/>
                  </a:lnTo>
                  <a:lnTo>
                    <a:pt x="5669455" y="1755769"/>
                  </a:lnTo>
                  <a:lnTo>
                    <a:pt x="5729319" y="1755769"/>
                  </a:lnTo>
                  <a:lnTo>
                    <a:pt x="5743083" y="1755769"/>
                  </a:lnTo>
                  <a:lnTo>
                    <a:pt x="5802948" y="1755769"/>
                  </a:lnTo>
                  <a:lnTo>
                    <a:pt x="5957194" y="1755769"/>
                  </a:lnTo>
                  <a:lnTo>
                    <a:pt x="5969583" y="1755769"/>
                  </a:lnTo>
                  <a:lnTo>
                    <a:pt x="6009767" y="1755769"/>
                  </a:lnTo>
                  <a:lnTo>
                    <a:pt x="6043212" y="1755769"/>
                  </a:lnTo>
                  <a:lnTo>
                    <a:pt x="6083396" y="1755769"/>
                  </a:lnTo>
                  <a:lnTo>
                    <a:pt x="6089306" y="1755769"/>
                  </a:lnTo>
                  <a:lnTo>
                    <a:pt x="6129491" y="1755769"/>
                  </a:lnTo>
                  <a:lnTo>
                    <a:pt x="6155649" y="1755769"/>
                  </a:lnTo>
                  <a:lnTo>
                    <a:pt x="6162935" y="1755769"/>
                  </a:lnTo>
                  <a:lnTo>
                    <a:pt x="6197458" y="1755769"/>
                  </a:lnTo>
                  <a:lnTo>
                    <a:pt x="6203119" y="1755769"/>
                  </a:lnTo>
                  <a:lnTo>
                    <a:pt x="6237643" y="1755769"/>
                  </a:lnTo>
                  <a:lnTo>
                    <a:pt x="6275372" y="1755769"/>
                  </a:lnTo>
                  <a:lnTo>
                    <a:pt x="6317181" y="1755769"/>
                  </a:lnTo>
                  <a:lnTo>
                    <a:pt x="6357365" y="1755769"/>
                  </a:lnTo>
                  <a:lnTo>
                    <a:pt x="6369754" y="1755769"/>
                  </a:lnTo>
                  <a:lnTo>
                    <a:pt x="6443383" y="1755769"/>
                  </a:lnTo>
                  <a:lnTo>
                    <a:pt x="6515636" y="1755769"/>
                  </a:lnTo>
                  <a:lnTo>
                    <a:pt x="6555820" y="1755769"/>
                  </a:lnTo>
                  <a:lnTo>
                    <a:pt x="6597629" y="1755769"/>
                  </a:lnTo>
                  <a:lnTo>
                    <a:pt x="6657494" y="1755769"/>
                  </a:lnTo>
                  <a:lnTo>
                    <a:pt x="6855949" y="1755769"/>
                  </a:lnTo>
                  <a:lnTo>
                    <a:pt x="6897757" y="1755769"/>
                  </a:lnTo>
                  <a:lnTo>
                    <a:pt x="6937942" y="1755769"/>
                  </a:lnTo>
                  <a:lnTo>
                    <a:pt x="6975671" y="1755769"/>
                  </a:lnTo>
                  <a:lnTo>
                    <a:pt x="7010195" y="1755769"/>
                  </a:lnTo>
                  <a:lnTo>
                    <a:pt x="7017480" y="1755769"/>
                  </a:lnTo>
                  <a:lnTo>
                    <a:pt x="7057664" y="1755769"/>
                  </a:lnTo>
                  <a:lnTo>
                    <a:pt x="7083824" y="1755769"/>
                  </a:lnTo>
                  <a:lnTo>
                    <a:pt x="7129918" y="1755769"/>
                  </a:lnTo>
                  <a:lnTo>
                    <a:pt x="7203546" y="1755769"/>
                  </a:lnTo>
                  <a:lnTo>
                    <a:pt x="7215935" y="1755769"/>
                  </a:lnTo>
                  <a:lnTo>
                    <a:pt x="7256120" y="1755769"/>
                  </a:lnTo>
                  <a:lnTo>
                    <a:pt x="7297929" y="1755769"/>
                  </a:lnTo>
                  <a:lnTo>
                    <a:pt x="7370181" y="1755769"/>
                  </a:lnTo>
                  <a:lnTo>
                    <a:pt x="7410366" y="1755769"/>
                  </a:lnTo>
                  <a:lnTo>
                    <a:pt x="7443810" y="1755769"/>
                  </a:lnTo>
                  <a:lnTo>
                    <a:pt x="7483995" y="1755769"/>
                  </a:lnTo>
                  <a:lnTo>
                    <a:pt x="7710494" y="1755769"/>
                  </a:lnTo>
                  <a:lnTo>
                    <a:pt x="7784123" y="1755769"/>
                  </a:lnTo>
                  <a:lnTo>
                    <a:pt x="7830217" y="1755769"/>
                  </a:lnTo>
                  <a:lnTo>
                    <a:pt x="7903846" y="1755769"/>
                  </a:lnTo>
                  <a:lnTo>
                    <a:pt x="7938369" y="1755769"/>
                  </a:lnTo>
                  <a:lnTo>
                    <a:pt x="8058092" y="1755769"/>
                  </a:lnTo>
                  <a:lnTo>
                    <a:pt x="8070480" y="1755769"/>
                  </a:lnTo>
                  <a:lnTo>
                    <a:pt x="8110665" y="1755769"/>
                  </a:lnTo>
                  <a:lnTo>
                    <a:pt x="8144110" y="1755769"/>
                  </a:lnTo>
                  <a:lnTo>
                    <a:pt x="8184294" y="1755769"/>
                  </a:lnTo>
                  <a:lnTo>
                    <a:pt x="8256547" y="1755769"/>
                  </a:lnTo>
                  <a:lnTo>
                    <a:pt x="8298355" y="1755769"/>
                  </a:lnTo>
                  <a:lnTo>
                    <a:pt x="8338539" y="1755769"/>
                  </a:lnTo>
                  <a:lnTo>
                    <a:pt x="8638668" y="1755769"/>
                  </a:lnTo>
                  <a:lnTo>
                    <a:pt x="8758391" y="1755769"/>
                  </a:lnTo>
                  <a:lnTo>
                    <a:pt x="8956846" y="1755769"/>
                  </a:lnTo>
                  <a:lnTo>
                    <a:pt x="8998655" y="1755769"/>
                  </a:lnTo>
                  <a:lnTo>
                    <a:pt x="9038839" y="1755769"/>
                  </a:lnTo>
                  <a:lnTo>
                    <a:pt x="9111092" y="1755769"/>
                  </a:lnTo>
                  <a:lnTo>
                    <a:pt x="9184721" y="1755769"/>
                  </a:lnTo>
                  <a:lnTo>
                    <a:pt x="9811392" y="1755769"/>
                  </a:lnTo>
                  <a:lnTo>
                    <a:pt x="9885020" y="1755769"/>
                  </a:lnTo>
                  <a:lnTo>
                    <a:pt x="10039267" y="1755769"/>
                  </a:lnTo>
                  <a:lnTo>
                    <a:pt x="10739566" y="1755769"/>
                  </a:lnTo>
                  <a:cubicBezTo>
                    <a:pt x="10771651" y="1755769"/>
                    <a:pt x="10802065" y="1741599"/>
                    <a:pt x="10822534" y="1717122"/>
                  </a:cubicBezTo>
                  <a:lnTo>
                    <a:pt x="11497419" y="910010"/>
                  </a:lnTo>
                  <a:cubicBezTo>
                    <a:pt x="11513003" y="891375"/>
                    <a:pt x="11513003" y="864393"/>
                    <a:pt x="11497419" y="845758"/>
                  </a:cubicBezTo>
                  <a:lnTo>
                    <a:pt x="10822534" y="38647"/>
                  </a:lnTo>
                  <a:cubicBezTo>
                    <a:pt x="10802065" y="14168"/>
                    <a:pt x="10771651" y="0"/>
                    <a:pt x="10739566" y="0"/>
                  </a:cubicBezTo>
                  <a:close/>
                </a:path>
              </a:pathLst>
            </a:custGeom>
            <a:solidFill>
              <a:schemeClr val="bg2">
                <a:lumMod val="60000"/>
                <a:lumOff val="40000"/>
              </a:schemeClr>
            </a:solidFill>
            <a:ln w="9525" cap="flat">
              <a:noFill/>
              <a:prstDash val="solid"/>
              <a:miter/>
            </a:ln>
          </p:spPr>
          <p:txBody>
            <a:bodyPr wrap="square" rtlCol="0" anchor="ctr">
              <a:noAutofit/>
            </a:bodyPr>
            <a:lstStyle/>
            <a:p>
              <a:endParaRPr lang="en-IN"/>
            </a:p>
          </p:txBody>
        </p:sp>
        <p:sp>
          <p:nvSpPr>
            <p:cNvPr id="18" name="Rectangle: Rounded Corners 17">
              <a:extLst>
                <a:ext uri="{FF2B5EF4-FFF2-40B4-BE49-F238E27FC236}">
                  <a16:creationId xmlns:a16="http://schemas.microsoft.com/office/drawing/2014/main" id="{04D20652-4601-1377-BE7D-6921FAAB31BB}"/>
                </a:ext>
              </a:extLst>
            </p:cNvPr>
            <p:cNvSpPr/>
            <p:nvPr/>
          </p:nvSpPr>
          <p:spPr>
            <a:xfrm flipV="1">
              <a:off x="581024" y="1895468"/>
              <a:ext cx="1842136" cy="1466004"/>
            </a:xfrm>
            <a:prstGeom prst="roundRect">
              <a:avLst>
                <a:gd name="adj" fmla="val 11819"/>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IN" sz="1800"/>
            </a:p>
          </p:txBody>
        </p:sp>
        <p:sp>
          <p:nvSpPr>
            <p:cNvPr id="19" name="Rounded Rectangle 34">
              <a:extLst>
                <a:ext uri="{FF2B5EF4-FFF2-40B4-BE49-F238E27FC236}">
                  <a16:creationId xmlns:a16="http://schemas.microsoft.com/office/drawing/2014/main" id="{6BF8306F-A9EC-DF48-E14E-B1283FB48B89}"/>
                </a:ext>
                <a:ext uri="{C183D7F6-B498-43B3-948B-1728B52AA6E4}">
                  <adec:decorative xmlns:adec="http://schemas.microsoft.com/office/drawing/2017/decorative" val="1"/>
                </a:ext>
              </a:extLst>
            </p:cNvPr>
            <p:cNvSpPr/>
            <p:nvPr/>
          </p:nvSpPr>
          <p:spPr bwMode="auto">
            <a:xfrm>
              <a:off x="392723" y="1985564"/>
              <a:ext cx="11406554" cy="4032228"/>
            </a:xfrm>
            <a:prstGeom prst="roundRect">
              <a:avLst>
                <a:gd name="adj" fmla="val 6454"/>
              </a:avLst>
            </a:prstGeom>
            <a:solidFill>
              <a:srgbClr val="F9F9F9">
                <a:alpha val="70000"/>
              </a:srgbClr>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1" name="Rounded Rectangle 34">
              <a:extLst>
                <a:ext uri="{FF2B5EF4-FFF2-40B4-BE49-F238E27FC236}">
                  <a16:creationId xmlns:a16="http://schemas.microsoft.com/office/drawing/2014/main" id="{5C1BFF5B-3EA9-F56E-CAE6-A258682B7F4F}"/>
                </a:ext>
                <a:ext uri="{C183D7F6-B498-43B3-948B-1728B52AA6E4}">
                  <adec:decorative xmlns:adec="http://schemas.microsoft.com/office/drawing/2017/decorative" val="1"/>
                </a:ext>
              </a:extLst>
            </p:cNvPr>
            <p:cNvSpPr/>
            <p:nvPr/>
          </p:nvSpPr>
          <p:spPr bwMode="auto">
            <a:xfrm>
              <a:off x="581025" y="2198641"/>
              <a:ext cx="2613850" cy="3605791"/>
            </a:xfrm>
            <a:prstGeom prst="roundRect">
              <a:avLst>
                <a:gd name="adj" fmla="val 3442"/>
              </a:avLst>
            </a:prstGeom>
            <a:solidFill>
              <a:srgbClr val="F9F9F9"/>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2" name="Rounded Rectangle 34">
              <a:extLst>
                <a:ext uri="{FF2B5EF4-FFF2-40B4-BE49-F238E27FC236}">
                  <a16:creationId xmlns:a16="http://schemas.microsoft.com/office/drawing/2014/main" id="{3D85F9E0-8B2F-55B3-336C-1B4A23657E7B}"/>
                </a:ext>
                <a:ext uri="{C183D7F6-B498-43B3-948B-1728B52AA6E4}">
                  <adec:decorative xmlns:adec="http://schemas.microsoft.com/office/drawing/2017/decorative" val="1"/>
                </a:ext>
              </a:extLst>
            </p:cNvPr>
            <p:cNvSpPr/>
            <p:nvPr/>
          </p:nvSpPr>
          <p:spPr bwMode="auto">
            <a:xfrm>
              <a:off x="3386392" y="2198641"/>
              <a:ext cx="2613850" cy="3605791"/>
            </a:xfrm>
            <a:prstGeom prst="roundRect">
              <a:avLst>
                <a:gd name="adj" fmla="val 3442"/>
              </a:avLst>
            </a:prstGeom>
            <a:solidFill>
              <a:srgbClr val="F9F9F9"/>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3" name="Rounded Rectangle 34">
              <a:extLst>
                <a:ext uri="{FF2B5EF4-FFF2-40B4-BE49-F238E27FC236}">
                  <a16:creationId xmlns:a16="http://schemas.microsoft.com/office/drawing/2014/main" id="{A248CD0E-5B36-9821-9FB2-86365F16402B}"/>
                </a:ext>
                <a:ext uri="{C183D7F6-B498-43B3-948B-1728B52AA6E4}">
                  <adec:decorative xmlns:adec="http://schemas.microsoft.com/office/drawing/2017/decorative" val="1"/>
                </a:ext>
              </a:extLst>
            </p:cNvPr>
            <p:cNvSpPr/>
            <p:nvPr/>
          </p:nvSpPr>
          <p:spPr bwMode="auto">
            <a:xfrm>
              <a:off x="6191759" y="2198641"/>
              <a:ext cx="2613850" cy="3605791"/>
            </a:xfrm>
            <a:prstGeom prst="roundRect">
              <a:avLst>
                <a:gd name="adj" fmla="val 3442"/>
              </a:avLst>
            </a:prstGeom>
            <a:solidFill>
              <a:srgbClr val="F9F9F9"/>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4" name="Rounded Rectangle 34">
              <a:extLst>
                <a:ext uri="{FF2B5EF4-FFF2-40B4-BE49-F238E27FC236}">
                  <a16:creationId xmlns:a16="http://schemas.microsoft.com/office/drawing/2014/main" id="{8E7C9808-2667-DF7E-0874-51BF1C4E17CC}"/>
                </a:ext>
                <a:ext uri="{C183D7F6-B498-43B3-948B-1728B52AA6E4}">
                  <adec:decorative xmlns:adec="http://schemas.microsoft.com/office/drawing/2017/decorative" val="1"/>
                </a:ext>
              </a:extLst>
            </p:cNvPr>
            <p:cNvSpPr/>
            <p:nvPr/>
          </p:nvSpPr>
          <p:spPr bwMode="auto">
            <a:xfrm>
              <a:off x="8997125" y="2198641"/>
              <a:ext cx="2613850" cy="3605791"/>
            </a:xfrm>
            <a:prstGeom prst="roundRect">
              <a:avLst>
                <a:gd name="adj" fmla="val 3442"/>
              </a:avLst>
            </a:prstGeom>
            <a:solidFill>
              <a:srgbClr val="F9F9F9"/>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grpSp>
      <p:pic>
        <p:nvPicPr>
          <p:cNvPr id="33" name="Picture 32" descr="Microsoft Fabric logo">
            <a:extLst>
              <a:ext uri="{FF2B5EF4-FFF2-40B4-BE49-F238E27FC236}">
                <a16:creationId xmlns:a16="http://schemas.microsoft.com/office/drawing/2014/main" id="{C6ED6AC9-1A22-83E8-6D47-C4B9634CE2F9}"/>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93172" y="5333947"/>
            <a:ext cx="284426" cy="284424"/>
          </a:xfrm>
          <a:prstGeom prst="rect">
            <a:avLst/>
          </a:prstGeom>
        </p:spPr>
      </p:pic>
      <p:sp>
        <p:nvSpPr>
          <p:cNvPr id="4" name="Slide Number Placeholder 3">
            <a:extLst>
              <a:ext uri="{FF2B5EF4-FFF2-40B4-BE49-F238E27FC236}">
                <a16:creationId xmlns:a16="http://schemas.microsoft.com/office/drawing/2014/main" id="{D080EDA4-C144-A343-BD03-3F3541A6A3B3}"/>
              </a:ext>
            </a:extLst>
          </p:cNvPr>
          <p:cNvSpPr>
            <a:spLocks noGrp="1"/>
          </p:cNvSpPr>
          <p:nvPr>
            <p:ph type="sldNum" sz="quarter" idx="11"/>
          </p:nvPr>
        </p:nvSpPr>
        <p:spPr/>
        <p:txBody>
          <a:bodyPr/>
          <a:lstStyle/>
          <a:p>
            <a:fld id="{B1356FBF-028C-F74E-A7B4-9B8ED246DD1B}" type="slidenum">
              <a:rPr lang="en-US" smtClean="0"/>
              <a:pPr/>
              <a:t>41</a:t>
            </a:fld>
            <a:endParaRPr lang="en-US"/>
          </a:p>
        </p:txBody>
      </p:sp>
      <p:sp>
        <p:nvSpPr>
          <p:cNvPr id="3" name="Footer Placeholder 2">
            <a:extLst>
              <a:ext uri="{FF2B5EF4-FFF2-40B4-BE49-F238E27FC236}">
                <a16:creationId xmlns:a16="http://schemas.microsoft.com/office/drawing/2014/main" id="{3AB8C1F3-CC2C-CB2D-095A-FAE67947E6BB}"/>
              </a:ext>
            </a:extLst>
          </p:cNvPr>
          <p:cNvSpPr>
            <a:spLocks noGrp="1"/>
          </p:cNvSpPr>
          <p:nvPr>
            <p:ph type="ftr" sz="quarter" idx="10"/>
          </p:nvPr>
        </p:nvSpPr>
        <p:spPr/>
        <p:txBody>
          <a:bodyPr/>
          <a:lstStyle/>
          <a:p>
            <a:r>
              <a:rPr lang="en-US"/>
              <a:t>Microsoft Fabric</a:t>
            </a:r>
          </a:p>
        </p:txBody>
      </p:sp>
      <p:sp>
        <p:nvSpPr>
          <p:cNvPr id="29" name="TextBox 28">
            <a:extLst>
              <a:ext uri="{FF2B5EF4-FFF2-40B4-BE49-F238E27FC236}">
                <a16:creationId xmlns:a16="http://schemas.microsoft.com/office/drawing/2014/main" id="{5417494D-E0F5-9305-C8FD-34A930635B27}"/>
              </a:ext>
            </a:extLst>
          </p:cNvPr>
          <p:cNvSpPr txBox="1">
            <a:spLocks/>
          </p:cNvSpPr>
          <p:nvPr/>
        </p:nvSpPr>
        <p:spPr>
          <a:xfrm>
            <a:off x="6235695" y="3756408"/>
            <a:ext cx="2410113"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latin typeface="Segoe Sans Display Semibold" pitchFamily="2" charset="0"/>
                <a:cs typeface="Segoe Sans Display Semibold" pitchFamily="2" charset="0"/>
              </a:rPr>
              <a:t>Admin monitoring</a:t>
            </a:r>
          </a:p>
        </p:txBody>
      </p:sp>
      <p:sp>
        <p:nvSpPr>
          <p:cNvPr id="26" name="TextBox 25">
            <a:extLst>
              <a:ext uri="{FF2B5EF4-FFF2-40B4-BE49-F238E27FC236}">
                <a16:creationId xmlns:a16="http://schemas.microsoft.com/office/drawing/2014/main" id="{D0075C35-5FB4-373D-2ED0-FFCCCB985F95}"/>
              </a:ext>
            </a:extLst>
          </p:cNvPr>
          <p:cNvSpPr txBox="1">
            <a:spLocks/>
          </p:cNvSpPr>
          <p:nvPr/>
        </p:nvSpPr>
        <p:spPr>
          <a:xfrm>
            <a:off x="6235695" y="4166865"/>
            <a:ext cx="2410113" cy="1519628"/>
          </a:xfrm>
          <a:prstGeom prst="roundRect">
            <a:avLst>
              <a:gd name="adj" fmla="val 6200"/>
            </a:avLst>
          </a:prstGeom>
          <a:solidFill>
            <a:srgbClr val="F4F2F7"/>
          </a:solidFill>
        </p:spPr>
        <p:txBody>
          <a:bodyPr wrap="square" lIns="91440" tIns="45720" rIns="91440" bIns="45720" anchor="t">
            <a:noAutofit/>
          </a:bodyPr>
          <a:lstStyle/>
          <a:p>
            <a:pPr algn="ctr">
              <a:defRPr/>
            </a:pPr>
            <a:r>
              <a:rPr lang="en-US" sz="1100" kern="0">
                <a:solidFill>
                  <a:schemeClr val="accent3">
                    <a:lumMod val="75000"/>
                  </a:schemeClr>
                </a:solidFill>
              </a:rPr>
              <a:t>Uncover insights for effective governance </a:t>
            </a:r>
            <a:r>
              <a:rPr lang="en-US" sz="1100" kern="0">
                <a:solidFill>
                  <a:schemeClr val="bg1"/>
                </a:solidFill>
              </a:rPr>
              <a:t>with pre-built reports and datasets built for admins</a:t>
            </a:r>
          </a:p>
        </p:txBody>
      </p:sp>
      <p:pic>
        <p:nvPicPr>
          <p:cNvPr id="34" name="Picture 33" descr="Microsoft Fabric logo">
            <a:extLst>
              <a:ext uri="{FF2B5EF4-FFF2-40B4-BE49-F238E27FC236}">
                <a16:creationId xmlns:a16="http://schemas.microsoft.com/office/drawing/2014/main" id="{C242B7E5-1C98-2C7E-BEB3-9C4B90509F30}"/>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98539" y="5333947"/>
            <a:ext cx="284426" cy="284424"/>
          </a:xfrm>
          <a:prstGeom prst="rect">
            <a:avLst/>
          </a:prstGeom>
        </p:spPr>
      </p:pic>
      <p:sp>
        <p:nvSpPr>
          <p:cNvPr id="31" name="TextBox 30">
            <a:extLst>
              <a:ext uri="{FF2B5EF4-FFF2-40B4-BE49-F238E27FC236}">
                <a16:creationId xmlns:a16="http://schemas.microsoft.com/office/drawing/2014/main" id="{6BE6C82A-6C5B-0BEF-9B6F-9CE219AEAE44}"/>
              </a:ext>
            </a:extLst>
          </p:cNvPr>
          <p:cNvSpPr txBox="1">
            <a:spLocks/>
          </p:cNvSpPr>
          <p:nvPr/>
        </p:nvSpPr>
        <p:spPr>
          <a:xfrm>
            <a:off x="628935" y="3741335"/>
            <a:ext cx="2410113"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latin typeface="Segoe Sans Display Semibold" pitchFamily="2" charset="0"/>
                <a:cs typeface="Segoe Sans Display Semibold" pitchFamily="2" charset="0"/>
              </a:rPr>
              <a:t>Delegated admin permission</a:t>
            </a:r>
          </a:p>
        </p:txBody>
      </p:sp>
      <p:sp>
        <p:nvSpPr>
          <p:cNvPr id="32" name="TextBox 31">
            <a:extLst>
              <a:ext uri="{FF2B5EF4-FFF2-40B4-BE49-F238E27FC236}">
                <a16:creationId xmlns:a16="http://schemas.microsoft.com/office/drawing/2014/main" id="{A13D90E0-7585-D210-1CB3-64D1D5A699EA}"/>
              </a:ext>
            </a:extLst>
          </p:cNvPr>
          <p:cNvSpPr txBox="1">
            <a:spLocks/>
          </p:cNvSpPr>
          <p:nvPr/>
        </p:nvSpPr>
        <p:spPr>
          <a:xfrm>
            <a:off x="628935" y="4098743"/>
            <a:ext cx="2410113" cy="1519628"/>
          </a:xfrm>
          <a:prstGeom prst="roundRect">
            <a:avLst>
              <a:gd name="adj" fmla="val 6200"/>
            </a:avLst>
          </a:prstGeom>
          <a:solidFill>
            <a:srgbClr val="F4F2F7"/>
          </a:solidFill>
        </p:spPr>
        <p:txBody>
          <a:bodyPr wrap="square" lIns="91440" tIns="45720" rIns="91440" bIns="4572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a:t>Provide </a:t>
            </a:r>
            <a:r>
              <a:rPr lang="en-US" sz="1100" kern="0">
                <a:solidFill>
                  <a:schemeClr val="accent3">
                    <a:lumMod val="75000"/>
                  </a:schemeClr>
                </a:solidFill>
              </a:rPr>
              <a:t>delegated admin permissions </a:t>
            </a:r>
            <a:r>
              <a:rPr lang="en-US" sz="1100" kern="0"/>
              <a:t>per Domain and Capacity</a:t>
            </a:r>
          </a:p>
        </p:txBody>
      </p:sp>
      <p:pic>
        <p:nvPicPr>
          <p:cNvPr id="36" name="Picture 35" descr="Microsoft Fabric logo">
            <a:extLst>
              <a:ext uri="{FF2B5EF4-FFF2-40B4-BE49-F238E27FC236}">
                <a16:creationId xmlns:a16="http://schemas.microsoft.com/office/drawing/2014/main" id="{0458C2AF-718E-5C13-99C6-1D5574CC3DA6}"/>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56220" y="5265825"/>
            <a:ext cx="284426" cy="284424"/>
          </a:xfrm>
          <a:prstGeom prst="rect">
            <a:avLst/>
          </a:prstGeom>
        </p:spPr>
      </p:pic>
      <p:sp>
        <p:nvSpPr>
          <p:cNvPr id="6" name="TextBox 5">
            <a:extLst>
              <a:ext uri="{FF2B5EF4-FFF2-40B4-BE49-F238E27FC236}">
                <a16:creationId xmlns:a16="http://schemas.microsoft.com/office/drawing/2014/main" id="{4F036179-6678-84A0-5AE7-5F8512A71904}"/>
              </a:ext>
            </a:extLst>
          </p:cNvPr>
          <p:cNvSpPr txBox="1">
            <a:spLocks/>
          </p:cNvSpPr>
          <p:nvPr/>
        </p:nvSpPr>
        <p:spPr>
          <a:xfrm>
            <a:off x="9041062" y="3768026"/>
            <a:ext cx="2410113"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latin typeface="Segoe Sans Display Semibold" pitchFamily="2" charset="0"/>
                <a:cs typeface="Segoe Sans Display Semibold" pitchFamily="2" charset="0"/>
              </a:rPr>
              <a:t>Capacity metrics</a:t>
            </a:r>
          </a:p>
        </p:txBody>
      </p:sp>
      <p:sp>
        <p:nvSpPr>
          <p:cNvPr id="7" name="TextBox 6">
            <a:extLst>
              <a:ext uri="{FF2B5EF4-FFF2-40B4-BE49-F238E27FC236}">
                <a16:creationId xmlns:a16="http://schemas.microsoft.com/office/drawing/2014/main" id="{BE57BBFB-5C8B-76B1-8D1F-ED812A339BF4}"/>
              </a:ext>
            </a:extLst>
          </p:cNvPr>
          <p:cNvSpPr txBox="1">
            <a:spLocks/>
          </p:cNvSpPr>
          <p:nvPr/>
        </p:nvSpPr>
        <p:spPr>
          <a:xfrm>
            <a:off x="9041062" y="4166865"/>
            <a:ext cx="2410113" cy="1519628"/>
          </a:xfrm>
          <a:prstGeom prst="roundRect">
            <a:avLst>
              <a:gd name="adj" fmla="val 6200"/>
            </a:avLst>
          </a:prstGeom>
          <a:solidFill>
            <a:srgbClr val="F4F2F7"/>
          </a:solidFill>
        </p:spPr>
        <p:txBody>
          <a:bodyPr wrap="square" lIns="91440" tIns="45720" rIns="91440" bIns="45720">
            <a:noAutofit/>
          </a:bodyPr>
          <a:lstStyle/>
          <a:p>
            <a:pPr algn="ctr">
              <a:defRPr/>
            </a:pPr>
            <a:r>
              <a:rPr lang="en-US" sz="1100" kern="0">
                <a:solidFill>
                  <a:schemeClr val="bg1"/>
                </a:solidFill>
              </a:rPr>
              <a:t>Gain visibility into </a:t>
            </a:r>
            <a:r>
              <a:rPr lang="en-US" sz="1100" kern="0">
                <a:solidFill>
                  <a:schemeClr val="accent3">
                    <a:lumMod val="75000"/>
                  </a:schemeClr>
                </a:solidFill>
              </a:rPr>
              <a:t>capacity utilization and usage trends </a:t>
            </a:r>
            <a:r>
              <a:rPr lang="en-US" sz="1100" kern="0">
                <a:solidFill>
                  <a:schemeClr val="bg1"/>
                </a:solidFill>
              </a:rPr>
              <a:t>with daily aggregation so you can plan and scale your capacity accordingly</a:t>
            </a:r>
          </a:p>
        </p:txBody>
      </p:sp>
      <p:pic>
        <p:nvPicPr>
          <p:cNvPr id="9" name="Picture 8" descr="Microsoft Fabric logo">
            <a:extLst>
              <a:ext uri="{FF2B5EF4-FFF2-40B4-BE49-F238E27FC236}">
                <a16:creationId xmlns:a16="http://schemas.microsoft.com/office/drawing/2014/main" id="{A1D00E3E-AE6C-9F88-7937-A43A255E65F2}"/>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03906" y="5333947"/>
            <a:ext cx="284426" cy="284424"/>
          </a:xfrm>
          <a:prstGeom prst="rect">
            <a:avLst/>
          </a:prstGeom>
        </p:spPr>
      </p:pic>
      <p:pic>
        <p:nvPicPr>
          <p:cNvPr id="46" name="Picture 45">
            <a:extLst>
              <a:ext uri="{FF2B5EF4-FFF2-40B4-BE49-F238E27FC236}">
                <a16:creationId xmlns:a16="http://schemas.microsoft.com/office/drawing/2014/main" id="{BBC382D7-BE95-0E8E-4E89-A05F66558E47}"/>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3449773" y="2290763"/>
            <a:ext cx="2374106" cy="1351448"/>
          </a:xfrm>
          <a:custGeom>
            <a:avLst/>
            <a:gdLst>
              <a:gd name="connsiteX0" fmla="*/ 78612 w 2557805"/>
              <a:gd name="connsiteY0" fmla="*/ 0 h 1247805"/>
              <a:gd name="connsiteX1" fmla="*/ 2479193 w 2557805"/>
              <a:gd name="connsiteY1" fmla="*/ 0 h 1247805"/>
              <a:gd name="connsiteX2" fmla="*/ 2557805 w 2557805"/>
              <a:gd name="connsiteY2" fmla="*/ 78612 h 1247805"/>
              <a:gd name="connsiteX3" fmla="*/ 2557805 w 2557805"/>
              <a:gd name="connsiteY3" fmla="*/ 1169193 h 1247805"/>
              <a:gd name="connsiteX4" fmla="*/ 2479193 w 2557805"/>
              <a:gd name="connsiteY4" fmla="*/ 1247805 h 1247805"/>
              <a:gd name="connsiteX5" fmla="*/ 78612 w 2557805"/>
              <a:gd name="connsiteY5" fmla="*/ 1247805 h 1247805"/>
              <a:gd name="connsiteX6" fmla="*/ 0 w 2557805"/>
              <a:gd name="connsiteY6" fmla="*/ 1169193 h 1247805"/>
              <a:gd name="connsiteX7" fmla="*/ 0 w 2557805"/>
              <a:gd name="connsiteY7" fmla="*/ 78612 h 1247805"/>
              <a:gd name="connsiteX8" fmla="*/ 78612 w 2557805"/>
              <a:gd name="connsiteY8" fmla="*/ 0 h 124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7805" h="1247805">
                <a:moveTo>
                  <a:pt x="78612" y="0"/>
                </a:moveTo>
                <a:lnTo>
                  <a:pt x="2479193" y="0"/>
                </a:lnTo>
                <a:cubicBezTo>
                  <a:pt x="2522609" y="0"/>
                  <a:pt x="2557805" y="35196"/>
                  <a:pt x="2557805" y="78612"/>
                </a:cubicBezTo>
                <a:lnTo>
                  <a:pt x="2557805" y="1169193"/>
                </a:lnTo>
                <a:cubicBezTo>
                  <a:pt x="2557805" y="1212609"/>
                  <a:pt x="2522609" y="1247805"/>
                  <a:pt x="2479193" y="1247805"/>
                </a:cubicBezTo>
                <a:lnTo>
                  <a:pt x="78612" y="1247805"/>
                </a:lnTo>
                <a:cubicBezTo>
                  <a:pt x="35196" y="1247805"/>
                  <a:pt x="0" y="1212609"/>
                  <a:pt x="0" y="1169193"/>
                </a:cubicBezTo>
                <a:lnTo>
                  <a:pt x="0" y="78612"/>
                </a:lnTo>
                <a:cubicBezTo>
                  <a:pt x="0" y="35196"/>
                  <a:pt x="35196" y="0"/>
                  <a:pt x="78612" y="0"/>
                </a:cubicBezTo>
                <a:close/>
              </a:path>
            </a:pathLst>
          </a:custGeom>
          <a:solidFill>
            <a:srgbClr val="FFFDF9">
              <a:alpha val="70000"/>
            </a:srgbClr>
          </a:solidFill>
          <a:ln>
            <a:noFill/>
            <a:headEnd type="none" w="med" len="med"/>
            <a:tailEnd type="none" w="med" len="med"/>
          </a:ln>
          <a:effectLst/>
        </p:spPr>
      </p:pic>
      <p:sp>
        <p:nvSpPr>
          <p:cNvPr id="47" name="TextBox 46">
            <a:extLst>
              <a:ext uri="{FF2B5EF4-FFF2-40B4-BE49-F238E27FC236}">
                <a16:creationId xmlns:a16="http://schemas.microsoft.com/office/drawing/2014/main" id="{99733B75-CE01-3D7C-F284-EFFA2B54C9BE}"/>
              </a:ext>
            </a:extLst>
          </p:cNvPr>
          <p:cNvSpPr txBox="1">
            <a:spLocks/>
          </p:cNvSpPr>
          <p:nvPr/>
        </p:nvSpPr>
        <p:spPr>
          <a:xfrm>
            <a:off x="3431770" y="3756408"/>
            <a:ext cx="2410113"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latin typeface="Segoe Sans Display Semibold" pitchFamily="2" charset="0"/>
                <a:cs typeface="Segoe Sans Display Semibold" pitchFamily="2" charset="0"/>
              </a:rPr>
              <a:t>Admin monitoring &amp; auditing</a:t>
            </a:r>
          </a:p>
        </p:txBody>
      </p:sp>
      <p:sp>
        <p:nvSpPr>
          <p:cNvPr id="48" name="TextBox 47">
            <a:extLst>
              <a:ext uri="{FF2B5EF4-FFF2-40B4-BE49-F238E27FC236}">
                <a16:creationId xmlns:a16="http://schemas.microsoft.com/office/drawing/2014/main" id="{EEABE272-3F15-6D88-908B-DC14F30956C7}"/>
              </a:ext>
            </a:extLst>
          </p:cNvPr>
          <p:cNvSpPr txBox="1">
            <a:spLocks/>
          </p:cNvSpPr>
          <p:nvPr/>
        </p:nvSpPr>
        <p:spPr>
          <a:xfrm>
            <a:off x="3431770" y="4166865"/>
            <a:ext cx="2410113" cy="1519628"/>
          </a:xfrm>
          <a:prstGeom prst="roundRect">
            <a:avLst>
              <a:gd name="adj" fmla="val 6200"/>
            </a:avLst>
          </a:prstGeom>
          <a:solidFill>
            <a:srgbClr val="F4F2F7"/>
          </a:solidFill>
        </p:spPr>
        <p:txBody>
          <a:bodyPr wrap="square" lIns="91440" tIns="45720" rIns="91440" bIns="45720" anchor="t">
            <a:noAutofit/>
          </a:bodyPr>
          <a:lstStyle/>
          <a:p>
            <a:pPr algn="ctr">
              <a:defRPr/>
            </a:pPr>
            <a:r>
              <a:rPr lang="en-US" sz="1100" kern="0">
                <a:solidFill>
                  <a:schemeClr val="accent3">
                    <a:lumMod val="75000"/>
                  </a:schemeClr>
                </a:solidFill>
              </a:rPr>
              <a:t>Uncover insights for effective governance </a:t>
            </a:r>
            <a:r>
              <a:rPr lang="en-US" sz="1100" kern="0"/>
              <a:t>with reports and datasets built for admins. </a:t>
            </a:r>
            <a:r>
              <a:rPr lang="en-US" sz="1100" kern="0">
                <a:solidFill>
                  <a:schemeClr val="accent3">
                    <a:lumMod val="75000"/>
                  </a:schemeClr>
                </a:solidFill>
              </a:rPr>
              <a:t>Log, view and export user activities</a:t>
            </a:r>
            <a:r>
              <a:rPr kumimoji="0" lang="en-US" sz="1100" b="0" i="0" u="none" strike="noStrike" kern="0" cap="none" spc="0" normalizeH="0" baseline="0" noProof="0">
                <a:ln>
                  <a:noFill/>
                </a:ln>
                <a:solidFill>
                  <a:srgbClr val="8661C5">
                    <a:lumMod val="75000"/>
                  </a:srgbClr>
                </a:solidFill>
                <a:effectLst/>
                <a:uLnTx/>
                <a:uFillTx/>
                <a:latin typeface="Segoe Sans Text Semilight"/>
                <a:ea typeface="+mn-ea"/>
                <a:cs typeface="+mn-cs"/>
              </a:rPr>
              <a:t> </a:t>
            </a:r>
            <a:r>
              <a:rPr lang="en-US" sz="1100" kern="0"/>
              <a:t>from Microsoft Fabric to support auditing</a:t>
            </a:r>
            <a:endParaRPr kumimoji="0" lang="en-US" sz="1100" b="0" i="1" u="none" strike="noStrike" kern="0" cap="none" spc="0" normalizeH="0" baseline="0" noProof="0">
              <a:ln>
                <a:noFill/>
              </a:ln>
              <a:solidFill>
                <a:srgbClr val="000000"/>
              </a:solidFill>
              <a:effectLst/>
              <a:uLnTx/>
              <a:uFillTx/>
              <a:latin typeface="Segoe Sans Text Semilight"/>
              <a:ea typeface="+mn-ea"/>
              <a:cs typeface="+mn-cs"/>
            </a:endParaRPr>
          </a:p>
          <a:p>
            <a:pPr algn="ctr">
              <a:defRPr/>
            </a:pPr>
            <a:endParaRPr lang="en-US" sz="1100" kern="0"/>
          </a:p>
        </p:txBody>
      </p:sp>
      <p:pic>
        <p:nvPicPr>
          <p:cNvPr id="49" name="Picture 48" descr="Microsoft Fabric logo">
            <a:extLst>
              <a:ext uri="{FF2B5EF4-FFF2-40B4-BE49-F238E27FC236}">
                <a16:creationId xmlns:a16="http://schemas.microsoft.com/office/drawing/2014/main" id="{B0753CC9-E8E0-DF1B-FC65-8A3C5E7111E6}"/>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55094" y="5331717"/>
            <a:ext cx="284426" cy="284424"/>
          </a:xfrm>
          <a:prstGeom prst="rect">
            <a:avLst/>
          </a:prstGeom>
        </p:spPr>
      </p:pic>
      <p:sp>
        <p:nvSpPr>
          <p:cNvPr id="51" name="TextBox 50">
            <a:extLst>
              <a:ext uri="{FF2B5EF4-FFF2-40B4-BE49-F238E27FC236}">
                <a16:creationId xmlns:a16="http://schemas.microsoft.com/office/drawing/2014/main" id="{E6C8BA17-46B1-12E8-F626-6C17B6DDE065}"/>
              </a:ext>
            </a:extLst>
          </p:cNvPr>
          <p:cNvSpPr txBox="1">
            <a:spLocks/>
          </p:cNvSpPr>
          <p:nvPr/>
        </p:nvSpPr>
        <p:spPr>
          <a:xfrm>
            <a:off x="9042503" y="3756409"/>
            <a:ext cx="2410113"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effectLst/>
                <a:uLnTx/>
                <a:uFillTx/>
                <a:latin typeface="Segoe Sans Display Semibold" pitchFamily="2" charset="0"/>
                <a:cs typeface="Segoe Sans Display Semibold" pitchFamily="2" charset="0"/>
              </a:rPr>
              <a:t>Capacity metrics</a:t>
            </a:r>
          </a:p>
        </p:txBody>
      </p:sp>
      <p:sp>
        <p:nvSpPr>
          <p:cNvPr id="52" name="TextBox 51">
            <a:extLst>
              <a:ext uri="{FF2B5EF4-FFF2-40B4-BE49-F238E27FC236}">
                <a16:creationId xmlns:a16="http://schemas.microsoft.com/office/drawing/2014/main" id="{C8154A48-09EC-C6A6-51AA-0785EF6826DC}"/>
              </a:ext>
            </a:extLst>
          </p:cNvPr>
          <p:cNvSpPr txBox="1">
            <a:spLocks/>
          </p:cNvSpPr>
          <p:nvPr/>
        </p:nvSpPr>
        <p:spPr>
          <a:xfrm>
            <a:off x="9042503" y="4166865"/>
            <a:ext cx="2410113" cy="1519628"/>
          </a:xfrm>
          <a:prstGeom prst="roundRect">
            <a:avLst>
              <a:gd name="adj" fmla="val 6200"/>
            </a:avLst>
          </a:prstGeom>
          <a:solidFill>
            <a:srgbClr val="F4F2F7"/>
          </a:solidFill>
        </p:spPr>
        <p:txBody>
          <a:bodyPr wrap="square" lIns="91440" tIns="45720" rIns="91440" bIns="45720">
            <a:noAutofit/>
          </a:bodyPr>
          <a:lstStyle/>
          <a:p>
            <a:pPr algn="ctr">
              <a:defRPr/>
            </a:pPr>
            <a:r>
              <a:rPr lang="en-US" sz="1100" kern="0"/>
              <a:t>Gain visibility into </a:t>
            </a:r>
            <a:r>
              <a:rPr lang="en-US" sz="1100" kern="0">
                <a:solidFill>
                  <a:schemeClr val="accent3">
                    <a:lumMod val="75000"/>
                  </a:schemeClr>
                </a:solidFill>
              </a:rPr>
              <a:t>capacity utilization and usage trends </a:t>
            </a:r>
            <a:r>
              <a:rPr lang="en-US" sz="1100" kern="0">
                <a:solidFill>
                  <a:schemeClr val="bg1"/>
                </a:solidFill>
              </a:rPr>
              <a:t>with </a:t>
            </a:r>
            <a:r>
              <a:rPr lang="en-US" sz="1100" kern="0"/>
              <a:t>daily aggregation so you can plan and scale your capacity accordingly</a:t>
            </a:r>
          </a:p>
        </p:txBody>
      </p:sp>
      <p:pic>
        <p:nvPicPr>
          <p:cNvPr id="53" name="Picture 52" descr="Microsoft Fabric logo">
            <a:extLst>
              <a:ext uri="{FF2B5EF4-FFF2-40B4-BE49-F238E27FC236}">
                <a16:creationId xmlns:a16="http://schemas.microsoft.com/office/drawing/2014/main" id="{91A1509E-D832-ECEB-9DE6-C4ECA034A96C}"/>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05347" y="5333947"/>
            <a:ext cx="284426" cy="284424"/>
          </a:xfrm>
          <a:prstGeom prst="rect">
            <a:avLst/>
          </a:prstGeom>
        </p:spPr>
      </p:pic>
      <p:sp>
        <p:nvSpPr>
          <p:cNvPr id="55" name="TextBox 54">
            <a:extLst>
              <a:ext uri="{FF2B5EF4-FFF2-40B4-BE49-F238E27FC236}">
                <a16:creationId xmlns:a16="http://schemas.microsoft.com/office/drawing/2014/main" id="{8B910498-1C3D-0EA3-8E15-249623AB2113}"/>
              </a:ext>
            </a:extLst>
          </p:cNvPr>
          <p:cNvSpPr txBox="1">
            <a:spLocks/>
          </p:cNvSpPr>
          <p:nvPr/>
        </p:nvSpPr>
        <p:spPr>
          <a:xfrm>
            <a:off x="6237137" y="3768026"/>
            <a:ext cx="2410113"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algn="ctr" defTabSz="914400">
              <a:defRPr/>
            </a:pPr>
            <a:r>
              <a:rPr lang="en-US" sz="1200" kern="0">
                <a:latin typeface="Segoe Sans Display Semibold" pitchFamily="2" charset="0"/>
                <a:cs typeface="Segoe Sans Display Semibold" pitchFamily="2" charset="0"/>
              </a:rPr>
              <a:t>Monitoring hub</a:t>
            </a:r>
          </a:p>
        </p:txBody>
      </p:sp>
      <p:sp>
        <p:nvSpPr>
          <p:cNvPr id="56" name="TextBox 55">
            <a:extLst>
              <a:ext uri="{FF2B5EF4-FFF2-40B4-BE49-F238E27FC236}">
                <a16:creationId xmlns:a16="http://schemas.microsoft.com/office/drawing/2014/main" id="{3B43DF6B-0A82-C3D4-0CA9-39941BBBB462}"/>
              </a:ext>
            </a:extLst>
          </p:cNvPr>
          <p:cNvSpPr txBox="1">
            <a:spLocks/>
          </p:cNvSpPr>
          <p:nvPr/>
        </p:nvSpPr>
        <p:spPr>
          <a:xfrm>
            <a:off x="6237137" y="4166865"/>
            <a:ext cx="2410113" cy="1519628"/>
          </a:xfrm>
          <a:prstGeom prst="roundRect">
            <a:avLst>
              <a:gd name="adj" fmla="val 6200"/>
            </a:avLst>
          </a:prstGeom>
          <a:solidFill>
            <a:srgbClr val="F4F2F7"/>
          </a:solidFill>
        </p:spPr>
        <p:txBody>
          <a:bodyPr wrap="square" lIns="91440" tIns="45720" rIns="91440" bIns="45720">
            <a:noAutofit/>
          </a:bodyPr>
          <a:lstStyle/>
          <a:p>
            <a:pPr algn="ctr">
              <a:defRPr/>
            </a:pPr>
            <a:r>
              <a:rPr lang="en-US" sz="1100" kern="0">
                <a:solidFill>
                  <a:schemeClr val="accent3">
                    <a:lumMod val="75000"/>
                  </a:schemeClr>
                </a:solidFill>
              </a:rPr>
              <a:t>Monitor Fabric activities</a:t>
            </a:r>
            <a:r>
              <a:rPr lang="en-US" sz="1100" kern="0"/>
              <a:t>, such as semantic model refresh and Spark Job runs and many others, from a central location</a:t>
            </a:r>
          </a:p>
        </p:txBody>
      </p:sp>
      <p:pic>
        <p:nvPicPr>
          <p:cNvPr id="57" name="Picture 56" descr="Microsoft Fabric logo">
            <a:extLst>
              <a:ext uri="{FF2B5EF4-FFF2-40B4-BE49-F238E27FC236}">
                <a16:creationId xmlns:a16="http://schemas.microsoft.com/office/drawing/2014/main" id="{5DA496A2-6FEF-28A9-7A6C-D6085DD469F7}"/>
              </a:ext>
              <a:ext uri="{C183D7F6-B498-43B3-948B-1728B52AA6E4}">
                <adec:decorative xmlns:adec="http://schemas.microsoft.com/office/drawing/2017/decorative" val="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99981" y="5333947"/>
            <a:ext cx="284426" cy="284424"/>
          </a:xfrm>
          <a:prstGeom prst="rect">
            <a:avLst/>
          </a:prstGeom>
        </p:spPr>
      </p:pic>
      <p:pic>
        <p:nvPicPr>
          <p:cNvPr id="59" name="Picture 58" descr="A screen capture of Premium Capacity usage and resource utilization and it's different bar chart datas">
            <a:extLst>
              <a:ext uri="{FF2B5EF4-FFF2-40B4-BE49-F238E27FC236}">
                <a16:creationId xmlns:a16="http://schemas.microsoft.com/office/drawing/2014/main" id="{6E5E90AA-3AC6-FD57-DEDD-521226DABC3E}"/>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9039621" y="2290763"/>
            <a:ext cx="2410113" cy="1351448"/>
          </a:xfrm>
          <a:custGeom>
            <a:avLst/>
            <a:gdLst>
              <a:gd name="connsiteX0" fmla="*/ 78612 w 2557805"/>
              <a:gd name="connsiteY0" fmla="*/ 0 h 1247805"/>
              <a:gd name="connsiteX1" fmla="*/ 2479193 w 2557805"/>
              <a:gd name="connsiteY1" fmla="*/ 0 h 1247805"/>
              <a:gd name="connsiteX2" fmla="*/ 2557805 w 2557805"/>
              <a:gd name="connsiteY2" fmla="*/ 78612 h 1247805"/>
              <a:gd name="connsiteX3" fmla="*/ 2557805 w 2557805"/>
              <a:gd name="connsiteY3" fmla="*/ 1169193 h 1247805"/>
              <a:gd name="connsiteX4" fmla="*/ 2479193 w 2557805"/>
              <a:gd name="connsiteY4" fmla="*/ 1247805 h 1247805"/>
              <a:gd name="connsiteX5" fmla="*/ 78612 w 2557805"/>
              <a:gd name="connsiteY5" fmla="*/ 1247805 h 1247805"/>
              <a:gd name="connsiteX6" fmla="*/ 0 w 2557805"/>
              <a:gd name="connsiteY6" fmla="*/ 1169193 h 1247805"/>
              <a:gd name="connsiteX7" fmla="*/ 0 w 2557805"/>
              <a:gd name="connsiteY7" fmla="*/ 78612 h 1247805"/>
              <a:gd name="connsiteX8" fmla="*/ 78612 w 2557805"/>
              <a:gd name="connsiteY8" fmla="*/ 0 h 124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7805" h="1247805">
                <a:moveTo>
                  <a:pt x="78612" y="0"/>
                </a:moveTo>
                <a:lnTo>
                  <a:pt x="2479193" y="0"/>
                </a:lnTo>
                <a:cubicBezTo>
                  <a:pt x="2522609" y="0"/>
                  <a:pt x="2557805" y="35196"/>
                  <a:pt x="2557805" y="78612"/>
                </a:cubicBezTo>
                <a:lnTo>
                  <a:pt x="2557805" y="1169193"/>
                </a:lnTo>
                <a:cubicBezTo>
                  <a:pt x="2557805" y="1212609"/>
                  <a:pt x="2522609" y="1247805"/>
                  <a:pt x="2479193" y="1247805"/>
                </a:cubicBezTo>
                <a:lnTo>
                  <a:pt x="78612" y="1247805"/>
                </a:lnTo>
                <a:cubicBezTo>
                  <a:pt x="35196" y="1247805"/>
                  <a:pt x="0" y="1212609"/>
                  <a:pt x="0" y="1169193"/>
                </a:cubicBezTo>
                <a:lnTo>
                  <a:pt x="0" y="78612"/>
                </a:lnTo>
                <a:cubicBezTo>
                  <a:pt x="0" y="35196"/>
                  <a:pt x="35196" y="0"/>
                  <a:pt x="78612" y="0"/>
                </a:cubicBezTo>
                <a:close/>
              </a:path>
            </a:pathLst>
          </a:custGeom>
          <a:solidFill>
            <a:srgbClr val="FFFDF9">
              <a:alpha val="70000"/>
            </a:srgbClr>
          </a:solidFill>
          <a:ln>
            <a:noFill/>
            <a:headEnd type="none" w="med" len="med"/>
            <a:tailEnd type="none" w="med" len="med"/>
          </a:ln>
          <a:effectLst/>
        </p:spPr>
      </p:pic>
      <p:pic>
        <p:nvPicPr>
          <p:cNvPr id="60" name="Picture 4" descr="A screen capture of Admin center highlighting Domain (preview) to create new domains">
            <a:extLst>
              <a:ext uri="{FF2B5EF4-FFF2-40B4-BE49-F238E27FC236}">
                <a16:creationId xmlns:a16="http://schemas.microsoft.com/office/drawing/2014/main" id="{2AEA5C12-4644-CC8A-8843-3FA22F45007E}"/>
              </a:ext>
            </a:extLst>
          </p:cNvPr>
          <p:cNvPicPr>
            <a:picLocks noChangeArrowheads="1"/>
          </p:cNvPicPr>
          <p:nvPr/>
        </p:nvPicPr>
        <p:blipFill rotWithShape="1">
          <a:blip r:embed="rId6" cstate="screen">
            <a:extLst>
              <a:ext uri="{28A0092B-C50C-407E-A947-70E740481C1C}">
                <a14:useLocalDpi xmlns:a14="http://schemas.microsoft.com/office/drawing/2010/main"/>
              </a:ext>
            </a:extLst>
          </a:blip>
          <a:srcRect t="-7352" b="-7352"/>
          <a:stretch/>
        </p:blipFill>
        <p:spPr bwMode="auto">
          <a:xfrm>
            <a:off x="6237137" y="2290763"/>
            <a:ext cx="2410113" cy="1351448"/>
          </a:xfrm>
          <a:custGeom>
            <a:avLst/>
            <a:gdLst>
              <a:gd name="connsiteX0" fmla="*/ 78612 w 2557805"/>
              <a:gd name="connsiteY0" fmla="*/ 0 h 1247805"/>
              <a:gd name="connsiteX1" fmla="*/ 2479193 w 2557805"/>
              <a:gd name="connsiteY1" fmla="*/ 0 h 1247805"/>
              <a:gd name="connsiteX2" fmla="*/ 2557805 w 2557805"/>
              <a:gd name="connsiteY2" fmla="*/ 78612 h 1247805"/>
              <a:gd name="connsiteX3" fmla="*/ 2557805 w 2557805"/>
              <a:gd name="connsiteY3" fmla="*/ 1169193 h 1247805"/>
              <a:gd name="connsiteX4" fmla="*/ 2479193 w 2557805"/>
              <a:gd name="connsiteY4" fmla="*/ 1247805 h 1247805"/>
              <a:gd name="connsiteX5" fmla="*/ 78612 w 2557805"/>
              <a:gd name="connsiteY5" fmla="*/ 1247805 h 1247805"/>
              <a:gd name="connsiteX6" fmla="*/ 0 w 2557805"/>
              <a:gd name="connsiteY6" fmla="*/ 1169193 h 1247805"/>
              <a:gd name="connsiteX7" fmla="*/ 0 w 2557805"/>
              <a:gd name="connsiteY7" fmla="*/ 78612 h 1247805"/>
              <a:gd name="connsiteX8" fmla="*/ 78612 w 2557805"/>
              <a:gd name="connsiteY8" fmla="*/ 0 h 124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7805" h="1247805">
                <a:moveTo>
                  <a:pt x="78612" y="0"/>
                </a:moveTo>
                <a:lnTo>
                  <a:pt x="2479193" y="0"/>
                </a:lnTo>
                <a:cubicBezTo>
                  <a:pt x="2522609" y="0"/>
                  <a:pt x="2557805" y="35196"/>
                  <a:pt x="2557805" y="78612"/>
                </a:cubicBezTo>
                <a:lnTo>
                  <a:pt x="2557805" y="1169193"/>
                </a:lnTo>
                <a:cubicBezTo>
                  <a:pt x="2557805" y="1212609"/>
                  <a:pt x="2522609" y="1247805"/>
                  <a:pt x="2479193" y="1247805"/>
                </a:cubicBezTo>
                <a:lnTo>
                  <a:pt x="78612" y="1247805"/>
                </a:lnTo>
                <a:cubicBezTo>
                  <a:pt x="35196" y="1247805"/>
                  <a:pt x="0" y="1212609"/>
                  <a:pt x="0" y="1169193"/>
                </a:cubicBezTo>
                <a:lnTo>
                  <a:pt x="0" y="78612"/>
                </a:lnTo>
                <a:cubicBezTo>
                  <a:pt x="0" y="35196"/>
                  <a:pt x="35196" y="0"/>
                  <a:pt x="78612" y="0"/>
                </a:cubicBezTo>
                <a:close/>
              </a:path>
            </a:pathLst>
          </a:custGeom>
          <a:solidFill>
            <a:srgbClr val="FFFFFF"/>
          </a:solidFill>
          <a:ln>
            <a:noFill/>
            <a:headEnd type="none" w="med" len="med"/>
            <a:tailEnd type="none" w="med" len="med"/>
          </a:ln>
          <a:effectLst/>
        </p:spPr>
      </p:pic>
      <p:pic>
        <p:nvPicPr>
          <p:cNvPr id="10" name="Picture 9">
            <a:extLst>
              <a:ext uri="{FF2B5EF4-FFF2-40B4-BE49-F238E27FC236}">
                <a16:creationId xmlns:a16="http://schemas.microsoft.com/office/drawing/2014/main" id="{D034796A-0D0B-7566-3BA9-DA4AE44E59FE}"/>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78995" y="5286165"/>
            <a:ext cx="329976" cy="329976"/>
          </a:xfrm>
          <a:prstGeom prst="rect">
            <a:avLst/>
          </a:prstGeom>
        </p:spPr>
      </p:pic>
      <p:pic>
        <p:nvPicPr>
          <p:cNvPr id="14" name="Picture 13">
            <a:extLst>
              <a:ext uri="{FF2B5EF4-FFF2-40B4-BE49-F238E27FC236}">
                <a16:creationId xmlns:a16="http://schemas.microsoft.com/office/drawing/2014/main" id="{1424EC2E-D78A-4D56-2A9D-B0EF3670E278}"/>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682892" y="2286859"/>
            <a:ext cx="2417861" cy="1331575"/>
          </a:xfrm>
          <a:prstGeom prst="rect">
            <a:avLst/>
          </a:prstGeom>
        </p:spPr>
      </p:pic>
      <p:sp>
        <p:nvSpPr>
          <p:cNvPr id="15" name="Oval 14">
            <a:extLst>
              <a:ext uri="{FF2B5EF4-FFF2-40B4-BE49-F238E27FC236}">
                <a16:creationId xmlns:a16="http://schemas.microsoft.com/office/drawing/2014/main" id="{662A22B0-0154-0022-E544-148B863F02F9}"/>
              </a:ext>
              <a:ext uri="{C183D7F6-B498-43B3-948B-1728B52AA6E4}">
                <adec:decorative xmlns:adec="http://schemas.microsoft.com/office/drawing/2017/decorative" val="1"/>
              </a:ext>
            </a:extLst>
          </p:cNvPr>
          <p:cNvSpPr/>
          <p:nvPr/>
        </p:nvSpPr>
        <p:spPr>
          <a:xfrm flipH="1">
            <a:off x="4960843" y="5293289"/>
            <a:ext cx="378828" cy="378828"/>
          </a:xfrm>
          <a:prstGeom prst="ellipse">
            <a:avLst/>
          </a:prstGeom>
          <a:solidFill>
            <a:srgbClr val="FFFFFF"/>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371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IN" sz="2000" b="0" i="0" u="none" strike="noStrike" kern="1200" cap="none" spc="0" normalizeH="0" baseline="0" noProof="0">
                <a:ln>
                  <a:noFill/>
                </a:ln>
                <a:solidFill>
                  <a:srgbClr val="225B61"/>
                </a:solidFill>
                <a:effectLst/>
                <a:uLnTx/>
                <a:uFillTx/>
                <a:latin typeface="Segoe Sans Text Semilight"/>
                <a:ea typeface="+mn-ea"/>
                <a:cs typeface="Segoe UI" pitchFamily="34" charset="0"/>
              </a:rPr>
              <a:t>…</a:t>
            </a:r>
          </a:p>
        </p:txBody>
      </p:sp>
    </p:spTree>
    <p:extLst>
      <p:ext uri="{BB962C8B-B14F-4D97-AF65-F5344CB8AC3E}">
        <p14:creationId xmlns:p14="http://schemas.microsoft.com/office/powerpoint/2010/main" val="14244119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FA21823-DBAF-4ABA-E8B5-9E39BC3A6BE5}"/>
              </a:ext>
            </a:extLst>
          </p:cNvPr>
          <p:cNvSpPr>
            <a:spLocks noGrp="1"/>
          </p:cNvSpPr>
          <p:nvPr>
            <p:ph type="title"/>
          </p:nvPr>
        </p:nvSpPr>
        <p:spPr>
          <a:xfrm>
            <a:off x="581025" y="365125"/>
            <a:ext cx="11029949" cy="549275"/>
          </a:xfrm>
        </p:spPr>
        <p:txBody>
          <a:bodyPr anchor="t">
            <a:normAutofit fontScale="90000"/>
          </a:bodyPr>
          <a:lstStyle/>
          <a:p>
            <a:pPr lvl="0"/>
            <a:r>
              <a:rPr lang="en-US"/>
              <a:t>Security and compliance features</a:t>
            </a:r>
            <a:endParaRPr lang="en-IN"/>
          </a:p>
        </p:txBody>
      </p:sp>
      <p:grpSp>
        <p:nvGrpSpPr>
          <p:cNvPr id="2" name="Group 1">
            <a:extLst>
              <a:ext uri="{FF2B5EF4-FFF2-40B4-BE49-F238E27FC236}">
                <a16:creationId xmlns:a16="http://schemas.microsoft.com/office/drawing/2014/main" id="{9521CF99-C7AC-0662-2F97-8E71C626ABE1}"/>
              </a:ext>
              <a:ext uri="{C183D7F6-B498-43B3-948B-1728B52AA6E4}">
                <adec:decorative xmlns:adec="http://schemas.microsoft.com/office/drawing/2017/decorative" val="1"/>
              </a:ext>
            </a:extLst>
          </p:cNvPr>
          <p:cNvGrpSpPr/>
          <p:nvPr/>
        </p:nvGrpSpPr>
        <p:grpSpPr>
          <a:xfrm>
            <a:off x="392723" y="1249045"/>
            <a:ext cx="11799276" cy="5083976"/>
            <a:chOff x="392723" y="1553845"/>
            <a:chExt cx="11799276" cy="5083976"/>
          </a:xfrm>
        </p:grpSpPr>
        <p:sp>
          <p:nvSpPr>
            <p:cNvPr id="12" name="Freeform: Shape 11">
              <a:extLst>
                <a:ext uri="{FF2B5EF4-FFF2-40B4-BE49-F238E27FC236}">
                  <a16:creationId xmlns:a16="http://schemas.microsoft.com/office/drawing/2014/main" id="{291FC21C-CB1C-18CC-B570-040725729C3A}"/>
                </a:ext>
              </a:extLst>
            </p:cNvPr>
            <p:cNvSpPr>
              <a:spLocks/>
            </p:cNvSpPr>
            <p:nvPr/>
          </p:nvSpPr>
          <p:spPr>
            <a:xfrm rot="10800000" flipV="1">
              <a:off x="682892" y="1553845"/>
              <a:ext cx="11509107" cy="1755769"/>
            </a:xfrm>
            <a:custGeom>
              <a:avLst/>
              <a:gdLst>
                <a:gd name="connsiteX0" fmla="*/ 10739566 w 11509107"/>
                <a:gd name="connsiteY0" fmla="*/ 0 h 1755769"/>
                <a:gd name="connsiteX1" fmla="*/ 10039267 w 11509107"/>
                <a:gd name="connsiteY1" fmla="*/ 0 h 1755769"/>
                <a:gd name="connsiteX2" fmla="*/ 9885020 w 11509107"/>
                <a:gd name="connsiteY2" fmla="*/ 0 h 1755769"/>
                <a:gd name="connsiteX3" fmla="*/ 9811392 w 11509107"/>
                <a:gd name="connsiteY3" fmla="*/ 0 h 1755769"/>
                <a:gd name="connsiteX4" fmla="*/ 9184721 w 11509107"/>
                <a:gd name="connsiteY4" fmla="*/ 0 h 1755769"/>
                <a:gd name="connsiteX5" fmla="*/ 9111092 w 11509107"/>
                <a:gd name="connsiteY5" fmla="*/ 0 h 1755769"/>
                <a:gd name="connsiteX6" fmla="*/ 9038839 w 11509107"/>
                <a:gd name="connsiteY6" fmla="*/ 0 h 1755769"/>
                <a:gd name="connsiteX7" fmla="*/ 8998655 w 11509107"/>
                <a:gd name="connsiteY7" fmla="*/ 0 h 1755769"/>
                <a:gd name="connsiteX8" fmla="*/ 8956846 w 11509107"/>
                <a:gd name="connsiteY8" fmla="*/ 0 h 1755769"/>
                <a:gd name="connsiteX9" fmla="*/ 8758391 w 11509107"/>
                <a:gd name="connsiteY9" fmla="*/ 0 h 1755769"/>
                <a:gd name="connsiteX10" fmla="*/ 8638668 w 11509107"/>
                <a:gd name="connsiteY10" fmla="*/ 0 h 1755769"/>
                <a:gd name="connsiteX11" fmla="*/ 8338539 w 11509107"/>
                <a:gd name="connsiteY11" fmla="*/ 0 h 1755769"/>
                <a:gd name="connsiteX12" fmla="*/ 8298355 w 11509107"/>
                <a:gd name="connsiteY12" fmla="*/ 0 h 1755769"/>
                <a:gd name="connsiteX13" fmla="*/ 8256547 w 11509107"/>
                <a:gd name="connsiteY13" fmla="*/ 0 h 1755769"/>
                <a:gd name="connsiteX14" fmla="*/ 8184294 w 11509107"/>
                <a:gd name="connsiteY14" fmla="*/ 0 h 1755769"/>
                <a:gd name="connsiteX15" fmla="*/ 8144110 w 11509107"/>
                <a:gd name="connsiteY15" fmla="*/ 0 h 1755769"/>
                <a:gd name="connsiteX16" fmla="*/ 8110665 w 11509107"/>
                <a:gd name="connsiteY16" fmla="*/ 0 h 1755769"/>
                <a:gd name="connsiteX17" fmla="*/ 8070480 w 11509107"/>
                <a:gd name="connsiteY17" fmla="*/ 0 h 1755769"/>
                <a:gd name="connsiteX18" fmla="*/ 8058092 w 11509107"/>
                <a:gd name="connsiteY18" fmla="*/ 0 h 1755769"/>
                <a:gd name="connsiteX19" fmla="*/ 7938369 w 11509107"/>
                <a:gd name="connsiteY19" fmla="*/ 0 h 1755769"/>
                <a:gd name="connsiteX20" fmla="*/ 7903846 w 11509107"/>
                <a:gd name="connsiteY20" fmla="*/ 0 h 1755769"/>
                <a:gd name="connsiteX21" fmla="*/ 7830217 w 11509107"/>
                <a:gd name="connsiteY21" fmla="*/ 0 h 1755769"/>
                <a:gd name="connsiteX22" fmla="*/ 7784123 w 11509107"/>
                <a:gd name="connsiteY22" fmla="*/ 0 h 1755769"/>
                <a:gd name="connsiteX23" fmla="*/ 7710494 w 11509107"/>
                <a:gd name="connsiteY23" fmla="*/ 0 h 1755769"/>
                <a:gd name="connsiteX24" fmla="*/ 7483995 w 11509107"/>
                <a:gd name="connsiteY24" fmla="*/ 0 h 1755769"/>
                <a:gd name="connsiteX25" fmla="*/ 7443810 w 11509107"/>
                <a:gd name="connsiteY25" fmla="*/ 0 h 1755769"/>
                <a:gd name="connsiteX26" fmla="*/ 7410366 w 11509107"/>
                <a:gd name="connsiteY26" fmla="*/ 0 h 1755769"/>
                <a:gd name="connsiteX27" fmla="*/ 7370181 w 11509107"/>
                <a:gd name="connsiteY27" fmla="*/ 0 h 1755769"/>
                <a:gd name="connsiteX28" fmla="*/ 7297929 w 11509107"/>
                <a:gd name="connsiteY28" fmla="*/ 0 h 1755769"/>
                <a:gd name="connsiteX29" fmla="*/ 7256120 w 11509107"/>
                <a:gd name="connsiteY29" fmla="*/ 0 h 1755769"/>
                <a:gd name="connsiteX30" fmla="*/ 7215935 w 11509107"/>
                <a:gd name="connsiteY30" fmla="*/ 0 h 1755769"/>
                <a:gd name="connsiteX31" fmla="*/ 7203546 w 11509107"/>
                <a:gd name="connsiteY31" fmla="*/ 0 h 1755769"/>
                <a:gd name="connsiteX32" fmla="*/ 7129918 w 11509107"/>
                <a:gd name="connsiteY32" fmla="*/ 0 h 1755769"/>
                <a:gd name="connsiteX33" fmla="*/ 7083824 w 11509107"/>
                <a:gd name="connsiteY33" fmla="*/ 0 h 1755769"/>
                <a:gd name="connsiteX34" fmla="*/ 7057664 w 11509107"/>
                <a:gd name="connsiteY34" fmla="*/ 0 h 1755769"/>
                <a:gd name="connsiteX35" fmla="*/ 7017480 w 11509107"/>
                <a:gd name="connsiteY35" fmla="*/ 0 h 1755769"/>
                <a:gd name="connsiteX36" fmla="*/ 7010195 w 11509107"/>
                <a:gd name="connsiteY36" fmla="*/ 0 h 1755769"/>
                <a:gd name="connsiteX37" fmla="*/ 6975671 w 11509107"/>
                <a:gd name="connsiteY37" fmla="*/ 0 h 1755769"/>
                <a:gd name="connsiteX38" fmla="*/ 6937942 w 11509107"/>
                <a:gd name="connsiteY38" fmla="*/ 0 h 1755769"/>
                <a:gd name="connsiteX39" fmla="*/ 6897757 w 11509107"/>
                <a:gd name="connsiteY39" fmla="*/ 0 h 1755769"/>
                <a:gd name="connsiteX40" fmla="*/ 6855949 w 11509107"/>
                <a:gd name="connsiteY40" fmla="*/ 0 h 1755769"/>
                <a:gd name="connsiteX41" fmla="*/ 6657494 w 11509107"/>
                <a:gd name="connsiteY41" fmla="*/ 0 h 1755769"/>
                <a:gd name="connsiteX42" fmla="*/ 6597629 w 11509107"/>
                <a:gd name="connsiteY42" fmla="*/ 0 h 1755769"/>
                <a:gd name="connsiteX43" fmla="*/ 6555820 w 11509107"/>
                <a:gd name="connsiteY43" fmla="*/ 0 h 1755769"/>
                <a:gd name="connsiteX44" fmla="*/ 6515636 w 11509107"/>
                <a:gd name="connsiteY44" fmla="*/ 0 h 1755769"/>
                <a:gd name="connsiteX45" fmla="*/ 6443383 w 11509107"/>
                <a:gd name="connsiteY45" fmla="*/ 0 h 1755769"/>
                <a:gd name="connsiteX46" fmla="*/ 6369754 w 11509107"/>
                <a:gd name="connsiteY46" fmla="*/ 0 h 1755769"/>
                <a:gd name="connsiteX47" fmla="*/ 6357365 w 11509107"/>
                <a:gd name="connsiteY47" fmla="*/ 0 h 1755769"/>
                <a:gd name="connsiteX48" fmla="*/ 6317181 w 11509107"/>
                <a:gd name="connsiteY48" fmla="*/ 0 h 1755769"/>
                <a:gd name="connsiteX49" fmla="*/ 6275372 w 11509107"/>
                <a:gd name="connsiteY49" fmla="*/ 0 h 1755769"/>
                <a:gd name="connsiteX50" fmla="*/ 6237643 w 11509107"/>
                <a:gd name="connsiteY50" fmla="*/ 0 h 1755769"/>
                <a:gd name="connsiteX51" fmla="*/ 6203119 w 11509107"/>
                <a:gd name="connsiteY51" fmla="*/ 0 h 1755769"/>
                <a:gd name="connsiteX52" fmla="*/ 6197458 w 11509107"/>
                <a:gd name="connsiteY52" fmla="*/ 0 h 1755769"/>
                <a:gd name="connsiteX53" fmla="*/ 6162935 w 11509107"/>
                <a:gd name="connsiteY53" fmla="*/ 0 h 1755769"/>
                <a:gd name="connsiteX54" fmla="*/ 6155649 w 11509107"/>
                <a:gd name="connsiteY54" fmla="*/ 0 h 1755769"/>
                <a:gd name="connsiteX55" fmla="*/ 6129491 w 11509107"/>
                <a:gd name="connsiteY55" fmla="*/ 0 h 1755769"/>
                <a:gd name="connsiteX56" fmla="*/ 6089306 w 11509107"/>
                <a:gd name="connsiteY56" fmla="*/ 0 h 1755769"/>
                <a:gd name="connsiteX57" fmla="*/ 6083396 w 11509107"/>
                <a:gd name="connsiteY57" fmla="*/ 0 h 1755769"/>
                <a:gd name="connsiteX58" fmla="*/ 6043212 w 11509107"/>
                <a:gd name="connsiteY58" fmla="*/ 0 h 1755769"/>
                <a:gd name="connsiteX59" fmla="*/ 6009767 w 11509107"/>
                <a:gd name="connsiteY59" fmla="*/ 0 h 1755769"/>
                <a:gd name="connsiteX60" fmla="*/ 5969583 w 11509107"/>
                <a:gd name="connsiteY60" fmla="*/ 0 h 1755769"/>
                <a:gd name="connsiteX61" fmla="*/ 5957194 w 11509107"/>
                <a:gd name="connsiteY61" fmla="*/ 0 h 1755769"/>
                <a:gd name="connsiteX62" fmla="*/ 5802948 w 11509107"/>
                <a:gd name="connsiteY62" fmla="*/ 0 h 1755769"/>
                <a:gd name="connsiteX63" fmla="*/ 5743083 w 11509107"/>
                <a:gd name="connsiteY63" fmla="*/ 0 h 1755769"/>
                <a:gd name="connsiteX64" fmla="*/ 5729319 w 11509107"/>
                <a:gd name="connsiteY64" fmla="*/ 0 h 1755769"/>
                <a:gd name="connsiteX65" fmla="*/ 5669455 w 11509107"/>
                <a:gd name="connsiteY65" fmla="*/ 0 h 1755769"/>
                <a:gd name="connsiteX66" fmla="*/ 5515208 w 11509107"/>
                <a:gd name="connsiteY66" fmla="*/ 0 h 1755769"/>
                <a:gd name="connsiteX67" fmla="*/ 5502820 w 11509107"/>
                <a:gd name="connsiteY67" fmla="*/ 0 h 1755769"/>
                <a:gd name="connsiteX68" fmla="*/ 5462635 w 11509107"/>
                <a:gd name="connsiteY68" fmla="*/ 0 h 1755769"/>
                <a:gd name="connsiteX69" fmla="*/ 5429191 w 11509107"/>
                <a:gd name="connsiteY69" fmla="*/ 0 h 1755769"/>
                <a:gd name="connsiteX70" fmla="*/ 5389006 w 11509107"/>
                <a:gd name="connsiteY70" fmla="*/ 0 h 1755769"/>
                <a:gd name="connsiteX71" fmla="*/ 5383097 w 11509107"/>
                <a:gd name="connsiteY71" fmla="*/ 0 h 1755769"/>
                <a:gd name="connsiteX72" fmla="*/ 5342913 w 11509107"/>
                <a:gd name="connsiteY72" fmla="*/ 0 h 1755769"/>
                <a:gd name="connsiteX73" fmla="*/ 5316754 w 11509107"/>
                <a:gd name="connsiteY73" fmla="*/ 0 h 1755769"/>
                <a:gd name="connsiteX74" fmla="*/ 5309468 w 11509107"/>
                <a:gd name="connsiteY74" fmla="*/ 0 h 1755769"/>
                <a:gd name="connsiteX75" fmla="*/ 5274945 w 11509107"/>
                <a:gd name="connsiteY75" fmla="*/ 0 h 1755769"/>
                <a:gd name="connsiteX76" fmla="*/ 5269284 w 11509107"/>
                <a:gd name="connsiteY76" fmla="*/ 0 h 1755769"/>
                <a:gd name="connsiteX77" fmla="*/ 5234760 w 11509107"/>
                <a:gd name="connsiteY77" fmla="*/ 0 h 1755769"/>
                <a:gd name="connsiteX78" fmla="*/ 5197031 w 11509107"/>
                <a:gd name="connsiteY78" fmla="*/ 0 h 1755769"/>
                <a:gd name="connsiteX79" fmla="*/ 5155222 w 11509107"/>
                <a:gd name="connsiteY79" fmla="*/ 0 h 1755769"/>
                <a:gd name="connsiteX80" fmla="*/ 5115037 w 11509107"/>
                <a:gd name="connsiteY80" fmla="*/ 0 h 1755769"/>
                <a:gd name="connsiteX81" fmla="*/ 5102649 w 11509107"/>
                <a:gd name="connsiteY81" fmla="*/ 0 h 1755769"/>
                <a:gd name="connsiteX82" fmla="*/ 5029020 w 11509107"/>
                <a:gd name="connsiteY82" fmla="*/ 0 h 1755769"/>
                <a:gd name="connsiteX83" fmla="*/ 4959319 w 11509107"/>
                <a:gd name="connsiteY83" fmla="*/ 0 h 1755769"/>
                <a:gd name="connsiteX84" fmla="*/ 4956767 w 11509107"/>
                <a:gd name="connsiteY84" fmla="*/ 0 h 1755769"/>
                <a:gd name="connsiteX85" fmla="*/ 4916582 w 11509107"/>
                <a:gd name="connsiteY85" fmla="*/ 0 h 1755769"/>
                <a:gd name="connsiteX86" fmla="*/ 4874774 w 11509107"/>
                <a:gd name="connsiteY86" fmla="*/ 0 h 1755769"/>
                <a:gd name="connsiteX87" fmla="*/ 4814909 w 11509107"/>
                <a:gd name="connsiteY87" fmla="*/ 0 h 1755769"/>
                <a:gd name="connsiteX88" fmla="*/ 4616454 w 11509107"/>
                <a:gd name="connsiteY88" fmla="*/ 0 h 1755769"/>
                <a:gd name="connsiteX89" fmla="*/ 4574645 w 11509107"/>
                <a:gd name="connsiteY89" fmla="*/ 0 h 1755769"/>
                <a:gd name="connsiteX90" fmla="*/ 4534461 w 11509107"/>
                <a:gd name="connsiteY90" fmla="*/ 0 h 1755769"/>
                <a:gd name="connsiteX91" fmla="*/ 4496730 w 11509107"/>
                <a:gd name="connsiteY91" fmla="*/ 0 h 1755769"/>
                <a:gd name="connsiteX92" fmla="*/ 4462208 w 11509107"/>
                <a:gd name="connsiteY92" fmla="*/ 0 h 1755769"/>
                <a:gd name="connsiteX93" fmla="*/ 4454922 w 11509107"/>
                <a:gd name="connsiteY93" fmla="*/ 0 h 1755769"/>
                <a:gd name="connsiteX94" fmla="*/ 4414738 w 11509107"/>
                <a:gd name="connsiteY94" fmla="*/ 0 h 1755769"/>
                <a:gd name="connsiteX95" fmla="*/ 4388579 w 11509107"/>
                <a:gd name="connsiteY95" fmla="*/ 0 h 1755769"/>
                <a:gd name="connsiteX96" fmla="*/ 4342485 w 11509107"/>
                <a:gd name="connsiteY96" fmla="*/ 0 h 1755769"/>
                <a:gd name="connsiteX97" fmla="*/ 4268856 w 11509107"/>
                <a:gd name="connsiteY97" fmla="*/ 0 h 1755769"/>
                <a:gd name="connsiteX98" fmla="*/ 4256468 w 11509107"/>
                <a:gd name="connsiteY98" fmla="*/ 0 h 1755769"/>
                <a:gd name="connsiteX99" fmla="*/ 4216283 w 11509107"/>
                <a:gd name="connsiteY99" fmla="*/ 0 h 1755769"/>
                <a:gd name="connsiteX100" fmla="*/ 4174474 w 11509107"/>
                <a:gd name="connsiteY100" fmla="*/ 0 h 1755769"/>
                <a:gd name="connsiteX101" fmla="*/ 4104774 w 11509107"/>
                <a:gd name="connsiteY101" fmla="*/ 0 h 1755769"/>
                <a:gd name="connsiteX102" fmla="*/ 4102221 w 11509107"/>
                <a:gd name="connsiteY102" fmla="*/ 0 h 1755769"/>
                <a:gd name="connsiteX103" fmla="*/ 4062037 w 11509107"/>
                <a:gd name="connsiteY103" fmla="*/ 0 h 1755769"/>
                <a:gd name="connsiteX104" fmla="*/ 4028592 w 11509107"/>
                <a:gd name="connsiteY104" fmla="*/ 0 h 1755769"/>
                <a:gd name="connsiteX105" fmla="*/ 3988408 w 11509107"/>
                <a:gd name="connsiteY105" fmla="*/ 0 h 1755769"/>
                <a:gd name="connsiteX106" fmla="*/ 3761908 w 11509107"/>
                <a:gd name="connsiteY106" fmla="*/ 0 h 1755769"/>
                <a:gd name="connsiteX107" fmla="*/ 3688280 w 11509107"/>
                <a:gd name="connsiteY107" fmla="*/ 0 h 1755769"/>
                <a:gd name="connsiteX108" fmla="*/ 3642185 w 11509107"/>
                <a:gd name="connsiteY108" fmla="*/ 0 h 1755769"/>
                <a:gd name="connsiteX109" fmla="*/ 3568557 w 11509107"/>
                <a:gd name="connsiteY109" fmla="*/ 0 h 1755769"/>
                <a:gd name="connsiteX110" fmla="*/ 3534033 w 11509107"/>
                <a:gd name="connsiteY110" fmla="*/ 0 h 1755769"/>
                <a:gd name="connsiteX111" fmla="*/ 3414311 w 11509107"/>
                <a:gd name="connsiteY111" fmla="*/ 0 h 1755769"/>
                <a:gd name="connsiteX112" fmla="*/ 3401921 w 11509107"/>
                <a:gd name="connsiteY112" fmla="*/ 0 h 1755769"/>
                <a:gd name="connsiteX113" fmla="*/ 3361737 w 11509107"/>
                <a:gd name="connsiteY113" fmla="*/ 0 h 1755769"/>
                <a:gd name="connsiteX114" fmla="*/ 3328293 w 11509107"/>
                <a:gd name="connsiteY114" fmla="*/ 0 h 1755769"/>
                <a:gd name="connsiteX115" fmla="*/ 3288109 w 11509107"/>
                <a:gd name="connsiteY115" fmla="*/ 0 h 1755769"/>
                <a:gd name="connsiteX116" fmla="*/ 3218407 w 11509107"/>
                <a:gd name="connsiteY116" fmla="*/ 0 h 1755769"/>
                <a:gd name="connsiteX117" fmla="*/ 3215855 w 11509107"/>
                <a:gd name="connsiteY117" fmla="*/ 0 h 1755769"/>
                <a:gd name="connsiteX118" fmla="*/ 3174047 w 11509107"/>
                <a:gd name="connsiteY118" fmla="*/ 0 h 1755769"/>
                <a:gd name="connsiteX119" fmla="*/ 3133862 w 11509107"/>
                <a:gd name="connsiteY119" fmla="*/ 0 h 1755769"/>
                <a:gd name="connsiteX120" fmla="*/ 2978143 w 11509107"/>
                <a:gd name="connsiteY120" fmla="*/ 0 h 1755769"/>
                <a:gd name="connsiteX121" fmla="*/ 2833733 w 11509107"/>
                <a:gd name="connsiteY121" fmla="*/ 0 h 1755769"/>
                <a:gd name="connsiteX122" fmla="*/ 2714011 w 11509107"/>
                <a:gd name="connsiteY122" fmla="*/ 0 h 1755769"/>
                <a:gd name="connsiteX123" fmla="*/ 2675120 w 11509107"/>
                <a:gd name="connsiteY123" fmla="*/ 0 h 1755769"/>
                <a:gd name="connsiteX124" fmla="*/ 2515555 w 11509107"/>
                <a:gd name="connsiteY124" fmla="*/ 0 h 1755769"/>
                <a:gd name="connsiteX125" fmla="*/ 2473747 w 11509107"/>
                <a:gd name="connsiteY125" fmla="*/ 0 h 1755769"/>
                <a:gd name="connsiteX126" fmla="*/ 2433563 w 11509107"/>
                <a:gd name="connsiteY126" fmla="*/ 0 h 1755769"/>
                <a:gd name="connsiteX127" fmla="*/ 2363862 w 11509107"/>
                <a:gd name="connsiteY127" fmla="*/ 0 h 1755769"/>
                <a:gd name="connsiteX128" fmla="*/ 2361309 w 11509107"/>
                <a:gd name="connsiteY128" fmla="*/ 0 h 1755769"/>
                <a:gd name="connsiteX129" fmla="*/ 2287681 w 11509107"/>
                <a:gd name="connsiteY129" fmla="*/ 0 h 1755769"/>
                <a:gd name="connsiteX130" fmla="*/ 2123599 w 11509107"/>
                <a:gd name="connsiteY130" fmla="*/ 0 h 1755769"/>
                <a:gd name="connsiteX131" fmla="*/ 2041625 w 11509107"/>
                <a:gd name="connsiteY131" fmla="*/ 0 h 1755769"/>
                <a:gd name="connsiteX132" fmla="*/ 1661010 w 11509107"/>
                <a:gd name="connsiteY132" fmla="*/ 0 h 1755769"/>
                <a:gd name="connsiteX133" fmla="*/ 1587382 w 11509107"/>
                <a:gd name="connsiteY133" fmla="*/ 0 h 1755769"/>
                <a:gd name="connsiteX134" fmla="*/ 1433136 w 11509107"/>
                <a:gd name="connsiteY134" fmla="*/ 0 h 1755769"/>
                <a:gd name="connsiteX135" fmla="*/ 1237232 w 11509107"/>
                <a:gd name="connsiteY135" fmla="*/ 0 h 1755769"/>
                <a:gd name="connsiteX136" fmla="*/ 732835 w 11509107"/>
                <a:gd name="connsiteY136" fmla="*/ 0 h 1755769"/>
                <a:gd name="connsiteX137" fmla="*/ 693945 w 11509107"/>
                <a:gd name="connsiteY137" fmla="*/ 0 h 1755769"/>
                <a:gd name="connsiteX138" fmla="*/ 382687 w 11509107"/>
                <a:gd name="connsiteY138" fmla="*/ 0 h 1755769"/>
                <a:gd name="connsiteX139" fmla="*/ 60450 w 11509107"/>
                <a:gd name="connsiteY139" fmla="*/ 0 h 1755769"/>
                <a:gd name="connsiteX140" fmla="*/ 0 w 11509107"/>
                <a:gd name="connsiteY140" fmla="*/ 60450 h 1755769"/>
                <a:gd name="connsiteX141" fmla="*/ 0 w 11509107"/>
                <a:gd name="connsiteY141" fmla="*/ 1695319 h 1755769"/>
                <a:gd name="connsiteX142" fmla="*/ 60450 w 11509107"/>
                <a:gd name="connsiteY142" fmla="*/ 1755769 h 1755769"/>
                <a:gd name="connsiteX143" fmla="*/ 382687 w 11509107"/>
                <a:gd name="connsiteY143" fmla="*/ 1755769 h 1755769"/>
                <a:gd name="connsiteX144" fmla="*/ 693945 w 11509107"/>
                <a:gd name="connsiteY144" fmla="*/ 1755769 h 1755769"/>
                <a:gd name="connsiteX145" fmla="*/ 732835 w 11509107"/>
                <a:gd name="connsiteY145" fmla="*/ 1755769 h 1755769"/>
                <a:gd name="connsiteX146" fmla="*/ 1237232 w 11509107"/>
                <a:gd name="connsiteY146" fmla="*/ 1755769 h 1755769"/>
                <a:gd name="connsiteX147" fmla="*/ 1433136 w 11509107"/>
                <a:gd name="connsiteY147" fmla="*/ 1755769 h 1755769"/>
                <a:gd name="connsiteX148" fmla="*/ 1587382 w 11509107"/>
                <a:gd name="connsiteY148" fmla="*/ 1755769 h 1755769"/>
                <a:gd name="connsiteX149" fmla="*/ 1661010 w 11509107"/>
                <a:gd name="connsiteY149" fmla="*/ 1755769 h 1755769"/>
                <a:gd name="connsiteX150" fmla="*/ 2041625 w 11509107"/>
                <a:gd name="connsiteY150" fmla="*/ 1755769 h 1755769"/>
                <a:gd name="connsiteX151" fmla="*/ 2123599 w 11509107"/>
                <a:gd name="connsiteY151" fmla="*/ 1755769 h 1755769"/>
                <a:gd name="connsiteX152" fmla="*/ 2287681 w 11509107"/>
                <a:gd name="connsiteY152" fmla="*/ 1755769 h 1755769"/>
                <a:gd name="connsiteX153" fmla="*/ 2361309 w 11509107"/>
                <a:gd name="connsiteY153" fmla="*/ 1755769 h 1755769"/>
                <a:gd name="connsiteX154" fmla="*/ 2363862 w 11509107"/>
                <a:gd name="connsiteY154" fmla="*/ 1755769 h 1755769"/>
                <a:gd name="connsiteX155" fmla="*/ 2433563 w 11509107"/>
                <a:gd name="connsiteY155" fmla="*/ 1755769 h 1755769"/>
                <a:gd name="connsiteX156" fmla="*/ 2473747 w 11509107"/>
                <a:gd name="connsiteY156" fmla="*/ 1755769 h 1755769"/>
                <a:gd name="connsiteX157" fmla="*/ 2515555 w 11509107"/>
                <a:gd name="connsiteY157" fmla="*/ 1755769 h 1755769"/>
                <a:gd name="connsiteX158" fmla="*/ 2675120 w 11509107"/>
                <a:gd name="connsiteY158" fmla="*/ 1755769 h 1755769"/>
                <a:gd name="connsiteX159" fmla="*/ 2714011 w 11509107"/>
                <a:gd name="connsiteY159" fmla="*/ 1755769 h 1755769"/>
                <a:gd name="connsiteX160" fmla="*/ 2833733 w 11509107"/>
                <a:gd name="connsiteY160" fmla="*/ 1755769 h 1755769"/>
                <a:gd name="connsiteX161" fmla="*/ 2978143 w 11509107"/>
                <a:gd name="connsiteY161" fmla="*/ 1755769 h 1755769"/>
                <a:gd name="connsiteX162" fmla="*/ 3133862 w 11509107"/>
                <a:gd name="connsiteY162" fmla="*/ 1755769 h 1755769"/>
                <a:gd name="connsiteX163" fmla="*/ 3174047 w 11509107"/>
                <a:gd name="connsiteY163" fmla="*/ 1755769 h 1755769"/>
                <a:gd name="connsiteX164" fmla="*/ 3215855 w 11509107"/>
                <a:gd name="connsiteY164" fmla="*/ 1755769 h 1755769"/>
                <a:gd name="connsiteX165" fmla="*/ 3218407 w 11509107"/>
                <a:gd name="connsiteY165" fmla="*/ 1755769 h 1755769"/>
                <a:gd name="connsiteX166" fmla="*/ 3288109 w 11509107"/>
                <a:gd name="connsiteY166" fmla="*/ 1755769 h 1755769"/>
                <a:gd name="connsiteX167" fmla="*/ 3328293 w 11509107"/>
                <a:gd name="connsiteY167" fmla="*/ 1755769 h 1755769"/>
                <a:gd name="connsiteX168" fmla="*/ 3361737 w 11509107"/>
                <a:gd name="connsiteY168" fmla="*/ 1755769 h 1755769"/>
                <a:gd name="connsiteX169" fmla="*/ 3401921 w 11509107"/>
                <a:gd name="connsiteY169" fmla="*/ 1755769 h 1755769"/>
                <a:gd name="connsiteX170" fmla="*/ 3414311 w 11509107"/>
                <a:gd name="connsiteY170" fmla="*/ 1755769 h 1755769"/>
                <a:gd name="connsiteX171" fmla="*/ 3534033 w 11509107"/>
                <a:gd name="connsiteY171" fmla="*/ 1755769 h 1755769"/>
                <a:gd name="connsiteX172" fmla="*/ 3568557 w 11509107"/>
                <a:gd name="connsiteY172" fmla="*/ 1755769 h 1755769"/>
                <a:gd name="connsiteX173" fmla="*/ 3642185 w 11509107"/>
                <a:gd name="connsiteY173" fmla="*/ 1755769 h 1755769"/>
                <a:gd name="connsiteX174" fmla="*/ 3688280 w 11509107"/>
                <a:gd name="connsiteY174" fmla="*/ 1755769 h 1755769"/>
                <a:gd name="connsiteX175" fmla="*/ 3761908 w 11509107"/>
                <a:gd name="connsiteY175" fmla="*/ 1755769 h 1755769"/>
                <a:gd name="connsiteX176" fmla="*/ 3988408 w 11509107"/>
                <a:gd name="connsiteY176" fmla="*/ 1755769 h 1755769"/>
                <a:gd name="connsiteX177" fmla="*/ 4028592 w 11509107"/>
                <a:gd name="connsiteY177" fmla="*/ 1755769 h 1755769"/>
                <a:gd name="connsiteX178" fmla="*/ 4062037 w 11509107"/>
                <a:gd name="connsiteY178" fmla="*/ 1755769 h 1755769"/>
                <a:gd name="connsiteX179" fmla="*/ 4102221 w 11509107"/>
                <a:gd name="connsiteY179" fmla="*/ 1755769 h 1755769"/>
                <a:gd name="connsiteX180" fmla="*/ 4104774 w 11509107"/>
                <a:gd name="connsiteY180" fmla="*/ 1755769 h 1755769"/>
                <a:gd name="connsiteX181" fmla="*/ 4174474 w 11509107"/>
                <a:gd name="connsiteY181" fmla="*/ 1755769 h 1755769"/>
                <a:gd name="connsiteX182" fmla="*/ 4216283 w 11509107"/>
                <a:gd name="connsiteY182" fmla="*/ 1755769 h 1755769"/>
                <a:gd name="connsiteX183" fmla="*/ 4256468 w 11509107"/>
                <a:gd name="connsiteY183" fmla="*/ 1755769 h 1755769"/>
                <a:gd name="connsiteX184" fmla="*/ 4268856 w 11509107"/>
                <a:gd name="connsiteY184" fmla="*/ 1755769 h 1755769"/>
                <a:gd name="connsiteX185" fmla="*/ 4342485 w 11509107"/>
                <a:gd name="connsiteY185" fmla="*/ 1755769 h 1755769"/>
                <a:gd name="connsiteX186" fmla="*/ 4388579 w 11509107"/>
                <a:gd name="connsiteY186" fmla="*/ 1755769 h 1755769"/>
                <a:gd name="connsiteX187" fmla="*/ 4414738 w 11509107"/>
                <a:gd name="connsiteY187" fmla="*/ 1755769 h 1755769"/>
                <a:gd name="connsiteX188" fmla="*/ 4454922 w 11509107"/>
                <a:gd name="connsiteY188" fmla="*/ 1755769 h 1755769"/>
                <a:gd name="connsiteX189" fmla="*/ 4462208 w 11509107"/>
                <a:gd name="connsiteY189" fmla="*/ 1755769 h 1755769"/>
                <a:gd name="connsiteX190" fmla="*/ 4496730 w 11509107"/>
                <a:gd name="connsiteY190" fmla="*/ 1755769 h 1755769"/>
                <a:gd name="connsiteX191" fmla="*/ 4534461 w 11509107"/>
                <a:gd name="connsiteY191" fmla="*/ 1755769 h 1755769"/>
                <a:gd name="connsiteX192" fmla="*/ 4574645 w 11509107"/>
                <a:gd name="connsiteY192" fmla="*/ 1755769 h 1755769"/>
                <a:gd name="connsiteX193" fmla="*/ 4616454 w 11509107"/>
                <a:gd name="connsiteY193" fmla="*/ 1755769 h 1755769"/>
                <a:gd name="connsiteX194" fmla="*/ 4814909 w 11509107"/>
                <a:gd name="connsiteY194" fmla="*/ 1755769 h 1755769"/>
                <a:gd name="connsiteX195" fmla="*/ 4874774 w 11509107"/>
                <a:gd name="connsiteY195" fmla="*/ 1755769 h 1755769"/>
                <a:gd name="connsiteX196" fmla="*/ 4916582 w 11509107"/>
                <a:gd name="connsiteY196" fmla="*/ 1755769 h 1755769"/>
                <a:gd name="connsiteX197" fmla="*/ 4956767 w 11509107"/>
                <a:gd name="connsiteY197" fmla="*/ 1755769 h 1755769"/>
                <a:gd name="connsiteX198" fmla="*/ 4959319 w 11509107"/>
                <a:gd name="connsiteY198" fmla="*/ 1755769 h 1755769"/>
                <a:gd name="connsiteX199" fmla="*/ 5029020 w 11509107"/>
                <a:gd name="connsiteY199" fmla="*/ 1755769 h 1755769"/>
                <a:gd name="connsiteX200" fmla="*/ 5102649 w 11509107"/>
                <a:gd name="connsiteY200" fmla="*/ 1755769 h 1755769"/>
                <a:gd name="connsiteX201" fmla="*/ 5115037 w 11509107"/>
                <a:gd name="connsiteY201" fmla="*/ 1755769 h 1755769"/>
                <a:gd name="connsiteX202" fmla="*/ 5155222 w 11509107"/>
                <a:gd name="connsiteY202" fmla="*/ 1755769 h 1755769"/>
                <a:gd name="connsiteX203" fmla="*/ 5197031 w 11509107"/>
                <a:gd name="connsiteY203" fmla="*/ 1755769 h 1755769"/>
                <a:gd name="connsiteX204" fmla="*/ 5234760 w 11509107"/>
                <a:gd name="connsiteY204" fmla="*/ 1755769 h 1755769"/>
                <a:gd name="connsiteX205" fmla="*/ 5269284 w 11509107"/>
                <a:gd name="connsiteY205" fmla="*/ 1755769 h 1755769"/>
                <a:gd name="connsiteX206" fmla="*/ 5274945 w 11509107"/>
                <a:gd name="connsiteY206" fmla="*/ 1755769 h 1755769"/>
                <a:gd name="connsiteX207" fmla="*/ 5309468 w 11509107"/>
                <a:gd name="connsiteY207" fmla="*/ 1755769 h 1755769"/>
                <a:gd name="connsiteX208" fmla="*/ 5316754 w 11509107"/>
                <a:gd name="connsiteY208" fmla="*/ 1755769 h 1755769"/>
                <a:gd name="connsiteX209" fmla="*/ 5342913 w 11509107"/>
                <a:gd name="connsiteY209" fmla="*/ 1755769 h 1755769"/>
                <a:gd name="connsiteX210" fmla="*/ 5383097 w 11509107"/>
                <a:gd name="connsiteY210" fmla="*/ 1755769 h 1755769"/>
                <a:gd name="connsiteX211" fmla="*/ 5389006 w 11509107"/>
                <a:gd name="connsiteY211" fmla="*/ 1755769 h 1755769"/>
                <a:gd name="connsiteX212" fmla="*/ 5429191 w 11509107"/>
                <a:gd name="connsiteY212" fmla="*/ 1755769 h 1755769"/>
                <a:gd name="connsiteX213" fmla="*/ 5462635 w 11509107"/>
                <a:gd name="connsiteY213" fmla="*/ 1755769 h 1755769"/>
                <a:gd name="connsiteX214" fmla="*/ 5502820 w 11509107"/>
                <a:gd name="connsiteY214" fmla="*/ 1755769 h 1755769"/>
                <a:gd name="connsiteX215" fmla="*/ 5515208 w 11509107"/>
                <a:gd name="connsiteY215" fmla="*/ 1755769 h 1755769"/>
                <a:gd name="connsiteX216" fmla="*/ 5669455 w 11509107"/>
                <a:gd name="connsiteY216" fmla="*/ 1755769 h 1755769"/>
                <a:gd name="connsiteX217" fmla="*/ 5729319 w 11509107"/>
                <a:gd name="connsiteY217" fmla="*/ 1755769 h 1755769"/>
                <a:gd name="connsiteX218" fmla="*/ 5743083 w 11509107"/>
                <a:gd name="connsiteY218" fmla="*/ 1755769 h 1755769"/>
                <a:gd name="connsiteX219" fmla="*/ 5802948 w 11509107"/>
                <a:gd name="connsiteY219" fmla="*/ 1755769 h 1755769"/>
                <a:gd name="connsiteX220" fmla="*/ 5957194 w 11509107"/>
                <a:gd name="connsiteY220" fmla="*/ 1755769 h 1755769"/>
                <a:gd name="connsiteX221" fmla="*/ 5969583 w 11509107"/>
                <a:gd name="connsiteY221" fmla="*/ 1755769 h 1755769"/>
                <a:gd name="connsiteX222" fmla="*/ 6009767 w 11509107"/>
                <a:gd name="connsiteY222" fmla="*/ 1755769 h 1755769"/>
                <a:gd name="connsiteX223" fmla="*/ 6043212 w 11509107"/>
                <a:gd name="connsiteY223" fmla="*/ 1755769 h 1755769"/>
                <a:gd name="connsiteX224" fmla="*/ 6083396 w 11509107"/>
                <a:gd name="connsiteY224" fmla="*/ 1755769 h 1755769"/>
                <a:gd name="connsiteX225" fmla="*/ 6089306 w 11509107"/>
                <a:gd name="connsiteY225" fmla="*/ 1755769 h 1755769"/>
                <a:gd name="connsiteX226" fmla="*/ 6129491 w 11509107"/>
                <a:gd name="connsiteY226" fmla="*/ 1755769 h 1755769"/>
                <a:gd name="connsiteX227" fmla="*/ 6155649 w 11509107"/>
                <a:gd name="connsiteY227" fmla="*/ 1755769 h 1755769"/>
                <a:gd name="connsiteX228" fmla="*/ 6162935 w 11509107"/>
                <a:gd name="connsiteY228" fmla="*/ 1755769 h 1755769"/>
                <a:gd name="connsiteX229" fmla="*/ 6197458 w 11509107"/>
                <a:gd name="connsiteY229" fmla="*/ 1755769 h 1755769"/>
                <a:gd name="connsiteX230" fmla="*/ 6203119 w 11509107"/>
                <a:gd name="connsiteY230" fmla="*/ 1755769 h 1755769"/>
                <a:gd name="connsiteX231" fmla="*/ 6237643 w 11509107"/>
                <a:gd name="connsiteY231" fmla="*/ 1755769 h 1755769"/>
                <a:gd name="connsiteX232" fmla="*/ 6275372 w 11509107"/>
                <a:gd name="connsiteY232" fmla="*/ 1755769 h 1755769"/>
                <a:gd name="connsiteX233" fmla="*/ 6317181 w 11509107"/>
                <a:gd name="connsiteY233" fmla="*/ 1755769 h 1755769"/>
                <a:gd name="connsiteX234" fmla="*/ 6357365 w 11509107"/>
                <a:gd name="connsiteY234" fmla="*/ 1755769 h 1755769"/>
                <a:gd name="connsiteX235" fmla="*/ 6369754 w 11509107"/>
                <a:gd name="connsiteY235" fmla="*/ 1755769 h 1755769"/>
                <a:gd name="connsiteX236" fmla="*/ 6443383 w 11509107"/>
                <a:gd name="connsiteY236" fmla="*/ 1755769 h 1755769"/>
                <a:gd name="connsiteX237" fmla="*/ 6515636 w 11509107"/>
                <a:gd name="connsiteY237" fmla="*/ 1755769 h 1755769"/>
                <a:gd name="connsiteX238" fmla="*/ 6555820 w 11509107"/>
                <a:gd name="connsiteY238" fmla="*/ 1755769 h 1755769"/>
                <a:gd name="connsiteX239" fmla="*/ 6597629 w 11509107"/>
                <a:gd name="connsiteY239" fmla="*/ 1755769 h 1755769"/>
                <a:gd name="connsiteX240" fmla="*/ 6657494 w 11509107"/>
                <a:gd name="connsiteY240" fmla="*/ 1755769 h 1755769"/>
                <a:gd name="connsiteX241" fmla="*/ 6855949 w 11509107"/>
                <a:gd name="connsiteY241" fmla="*/ 1755769 h 1755769"/>
                <a:gd name="connsiteX242" fmla="*/ 6897757 w 11509107"/>
                <a:gd name="connsiteY242" fmla="*/ 1755769 h 1755769"/>
                <a:gd name="connsiteX243" fmla="*/ 6937942 w 11509107"/>
                <a:gd name="connsiteY243" fmla="*/ 1755769 h 1755769"/>
                <a:gd name="connsiteX244" fmla="*/ 6975671 w 11509107"/>
                <a:gd name="connsiteY244" fmla="*/ 1755769 h 1755769"/>
                <a:gd name="connsiteX245" fmla="*/ 7010195 w 11509107"/>
                <a:gd name="connsiteY245" fmla="*/ 1755769 h 1755769"/>
                <a:gd name="connsiteX246" fmla="*/ 7017480 w 11509107"/>
                <a:gd name="connsiteY246" fmla="*/ 1755769 h 1755769"/>
                <a:gd name="connsiteX247" fmla="*/ 7057664 w 11509107"/>
                <a:gd name="connsiteY247" fmla="*/ 1755769 h 1755769"/>
                <a:gd name="connsiteX248" fmla="*/ 7083824 w 11509107"/>
                <a:gd name="connsiteY248" fmla="*/ 1755769 h 1755769"/>
                <a:gd name="connsiteX249" fmla="*/ 7129918 w 11509107"/>
                <a:gd name="connsiteY249" fmla="*/ 1755769 h 1755769"/>
                <a:gd name="connsiteX250" fmla="*/ 7203546 w 11509107"/>
                <a:gd name="connsiteY250" fmla="*/ 1755769 h 1755769"/>
                <a:gd name="connsiteX251" fmla="*/ 7215935 w 11509107"/>
                <a:gd name="connsiteY251" fmla="*/ 1755769 h 1755769"/>
                <a:gd name="connsiteX252" fmla="*/ 7256120 w 11509107"/>
                <a:gd name="connsiteY252" fmla="*/ 1755769 h 1755769"/>
                <a:gd name="connsiteX253" fmla="*/ 7297929 w 11509107"/>
                <a:gd name="connsiteY253" fmla="*/ 1755769 h 1755769"/>
                <a:gd name="connsiteX254" fmla="*/ 7370181 w 11509107"/>
                <a:gd name="connsiteY254" fmla="*/ 1755769 h 1755769"/>
                <a:gd name="connsiteX255" fmla="*/ 7410366 w 11509107"/>
                <a:gd name="connsiteY255" fmla="*/ 1755769 h 1755769"/>
                <a:gd name="connsiteX256" fmla="*/ 7443810 w 11509107"/>
                <a:gd name="connsiteY256" fmla="*/ 1755769 h 1755769"/>
                <a:gd name="connsiteX257" fmla="*/ 7483995 w 11509107"/>
                <a:gd name="connsiteY257" fmla="*/ 1755769 h 1755769"/>
                <a:gd name="connsiteX258" fmla="*/ 7710494 w 11509107"/>
                <a:gd name="connsiteY258" fmla="*/ 1755769 h 1755769"/>
                <a:gd name="connsiteX259" fmla="*/ 7784123 w 11509107"/>
                <a:gd name="connsiteY259" fmla="*/ 1755769 h 1755769"/>
                <a:gd name="connsiteX260" fmla="*/ 7830217 w 11509107"/>
                <a:gd name="connsiteY260" fmla="*/ 1755769 h 1755769"/>
                <a:gd name="connsiteX261" fmla="*/ 7903846 w 11509107"/>
                <a:gd name="connsiteY261" fmla="*/ 1755769 h 1755769"/>
                <a:gd name="connsiteX262" fmla="*/ 7938369 w 11509107"/>
                <a:gd name="connsiteY262" fmla="*/ 1755769 h 1755769"/>
                <a:gd name="connsiteX263" fmla="*/ 8058092 w 11509107"/>
                <a:gd name="connsiteY263" fmla="*/ 1755769 h 1755769"/>
                <a:gd name="connsiteX264" fmla="*/ 8070480 w 11509107"/>
                <a:gd name="connsiteY264" fmla="*/ 1755769 h 1755769"/>
                <a:gd name="connsiteX265" fmla="*/ 8110665 w 11509107"/>
                <a:gd name="connsiteY265" fmla="*/ 1755769 h 1755769"/>
                <a:gd name="connsiteX266" fmla="*/ 8144110 w 11509107"/>
                <a:gd name="connsiteY266" fmla="*/ 1755769 h 1755769"/>
                <a:gd name="connsiteX267" fmla="*/ 8184294 w 11509107"/>
                <a:gd name="connsiteY267" fmla="*/ 1755769 h 1755769"/>
                <a:gd name="connsiteX268" fmla="*/ 8256547 w 11509107"/>
                <a:gd name="connsiteY268" fmla="*/ 1755769 h 1755769"/>
                <a:gd name="connsiteX269" fmla="*/ 8298355 w 11509107"/>
                <a:gd name="connsiteY269" fmla="*/ 1755769 h 1755769"/>
                <a:gd name="connsiteX270" fmla="*/ 8338539 w 11509107"/>
                <a:gd name="connsiteY270" fmla="*/ 1755769 h 1755769"/>
                <a:gd name="connsiteX271" fmla="*/ 8638668 w 11509107"/>
                <a:gd name="connsiteY271" fmla="*/ 1755769 h 1755769"/>
                <a:gd name="connsiteX272" fmla="*/ 8758391 w 11509107"/>
                <a:gd name="connsiteY272" fmla="*/ 1755769 h 1755769"/>
                <a:gd name="connsiteX273" fmla="*/ 8956846 w 11509107"/>
                <a:gd name="connsiteY273" fmla="*/ 1755769 h 1755769"/>
                <a:gd name="connsiteX274" fmla="*/ 8998655 w 11509107"/>
                <a:gd name="connsiteY274" fmla="*/ 1755769 h 1755769"/>
                <a:gd name="connsiteX275" fmla="*/ 9038839 w 11509107"/>
                <a:gd name="connsiteY275" fmla="*/ 1755769 h 1755769"/>
                <a:gd name="connsiteX276" fmla="*/ 9111092 w 11509107"/>
                <a:gd name="connsiteY276" fmla="*/ 1755769 h 1755769"/>
                <a:gd name="connsiteX277" fmla="*/ 9184721 w 11509107"/>
                <a:gd name="connsiteY277" fmla="*/ 1755769 h 1755769"/>
                <a:gd name="connsiteX278" fmla="*/ 9811392 w 11509107"/>
                <a:gd name="connsiteY278" fmla="*/ 1755769 h 1755769"/>
                <a:gd name="connsiteX279" fmla="*/ 9885020 w 11509107"/>
                <a:gd name="connsiteY279" fmla="*/ 1755769 h 1755769"/>
                <a:gd name="connsiteX280" fmla="*/ 10039267 w 11509107"/>
                <a:gd name="connsiteY280" fmla="*/ 1755769 h 1755769"/>
                <a:gd name="connsiteX281" fmla="*/ 10739566 w 11509107"/>
                <a:gd name="connsiteY281" fmla="*/ 1755769 h 1755769"/>
                <a:gd name="connsiteX282" fmla="*/ 10822534 w 11509107"/>
                <a:gd name="connsiteY282" fmla="*/ 1717122 h 1755769"/>
                <a:gd name="connsiteX283" fmla="*/ 11497419 w 11509107"/>
                <a:gd name="connsiteY283" fmla="*/ 910010 h 1755769"/>
                <a:gd name="connsiteX284" fmla="*/ 11497419 w 11509107"/>
                <a:gd name="connsiteY284" fmla="*/ 845758 h 1755769"/>
                <a:gd name="connsiteX285" fmla="*/ 10822534 w 11509107"/>
                <a:gd name="connsiteY285" fmla="*/ 38647 h 1755769"/>
                <a:gd name="connsiteX286" fmla="*/ 10739566 w 11509107"/>
                <a:gd name="connsiteY286" fmla="*/ 0 h 175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1509107" h="1755769">
                  <a:moveTo>
                    <a:pt x="10739566" y="0"/>
                  </a:moveTo>
                  <a:lnTo>
                    <a:pt x="10039267" y="0"/>
                  </a:lnTo>
                  <a:lnTo>
                    <a:pt x="9885020" y="0"/>
                  </a:lnTo>
                  <a:lnTo>
                    <a:pt x="9811392" y="0"/>
                  </a:lnTo>
                  <a:lnTo>
                    <a:pt x="9184721" y="0"/>
                  </a:lnTo>
                  <a:lnTo>
                    <a:pt x="9111092" y="0"/>
                  </a:lnTo>
                  <a:lnTo>
                    <a:pt x="9038839" y="0"/>
                  </a:lnTo>
                  <a:lnTo>
                    <a:pt x="8998655" y="0"/>
                  </a:lnTo>
                  <a:lnTo>
                    <a:pt x="8956846" y="0"/>
                  </a:lnTo>
                  <a:lnTo>
                    <a:pt x="8758391" y="0"/>
                  </a:lnTo>
                  <a:lnTo>
                    <a:pt x="8638668" y="0"/>
                  </a:lnTo>
                  <a:lnTo>
                    <a:pt x="8338539" y="0"/>
                  </a:lnTo>
                  <a:lnTo>
                    <a:pt x="8298355" y="0"/>
                  </a:lnTo>
                  <a:lnTo>
                    <a:pt x="8256547" y="0"/>
                  </a:lnTo>
                  <a:lnTo>
                    <a:pt x="8184294" y="0"/>
                  </a:lnTo>
                  <a:lnTo>
                    <a:pt x="8144110" y="0"/>
                  </a:lnTo>
                  <a:lnTo>
                    <a:pt x="8110665" y="0"/>
                  </a:lnTo>
                  <a:lnTo>
                    <a:pt x="8070480" y="0"/>
                  </a:lnTo>
                  <a:lnTo>
                    <a:pt x="8058092" y="0"/>
                  </a:lnTo>
                  <a:lnTo>
                    <a:pt x="7938369" y="0"/>
                  </a:lnTo>
                  <a:lnTo>
                    <a:pt x="7903846" y="0"/>
                  </a:lnTo>
                  <a:lnTo>
                    <a:pt x="7830217" y="0"/>
                  </a:lnTo>
                  <a:lnTo>
                    <a:pt x="7784123" y="0"/>
                  </a:lnTo>
                  <a:lnTo>
                    <a:pt x="7710494" y="0"/>
                  </a:lnTo>
                  <a:lnTo>
                    <a:pt x="7483995" y="0"/>
                  </a:lnTo>
                  <a:lnTo>
                    <a:pt x="7443810" y="0"/>
                  </a:lnTo>
                  <a:lnTo>
                    <a:pt x="7410366" y="0"/>
                  </a:lnTo>
                  <a:lnTo>
                    <a:pt x="7370181" y="0"/>
                  </a:lnTo>
                  <a:lnTo>
                    <a:pt x="7297929" y="0"/>
                  </a:lnTo>
                  <a:lnTo>
                    <a:pt x="7256120" y="0"/>
                  </a:lnTo>
                  <a:lnTo>
                    <a:pt x="7215935" y="0"/>
                  </a:lnTo>
                  <a:lnTo>
                    <a:pt x="7203546" y="0"/>
                  </a:lnTo>
                  <a:lnTo>
                    <a:pt x="7129918" y="0"/>
                  </a:lnTo>
                  <a:lnTo>
                    <a:pt x="7083824" y="0"/>
                  </a:lnTo>
                  <a:lnTo>
                    <a:pt x="7057664" y="0"/>
                  </a:lnTo>
                  <a:lnTo>
                    <a:pt x="7017480" y="0"/>
                  </a:lnTo>
                  <a:lnTo>
                    <a:pt x="7010195" y="0"/>
                  </a:lnTo>
                  <a:lnTo>
                    <a:pt x="6975671" y="0"/>
                  </a:lnTo>
                  <a:lnTo>
                    <a:pt x="6937942" y="0"/>
                  </a:lnTo>
                  <a:lnTo>
                    <a:pt x="6897757" y="0"/>
                  </a:lnTo>
                  <a:lnTo>
                    <a:pt x="6855949" y="0"/>
                  </a:lnTo>
                  <a:lnTo>
                    <a:pt x="6657494" y="0"/>
                  </a:lnTo>
                  <a:lnTo>
                    <a:pt x="6597629" y="0"/>
                  </a:lnTo>
                  <a:lnTo>
                    <a:pt x="6555820" y="0"/>
                  </a:lnTo>
                  <a:lnTo>
                    <a:pt x="6515636" y="0"/>
                  </a:lnTo>
                  <a:lnTo>
                    <a:pt x="6443383" y="0"/>
                  </a:lnTo>
                  <a:lnTo>
                    <a:pt x="6369754" y="0"/>
                  </a:lnTo>
                  <a:lnTo>
                    <a:pt x="6357365" y="0"/>
                  </a:lnTo>
                  <a:lnTo>
                    <a:pt x="6317181" y="0"/>
                  </a:lnTo>
                  <a:lnTo>
                    <a:pt x="6275372" y="0"/>
                  </a:lnTo>
                  <a:lnTo>
                    <a:pt x="6237643" y="0"/>
                  </a:lnTo>
                  <a:lnTo>
                    <a:pt x="6203119" y="0"/>
                  </a:lnTo>
                  <a:lnTo>
                    <a:pt x="6197458" y="0"/>
                  </a:lnTo>
                  <a:lnTo>
                    <a:pt x="6162935" y="0"/>
                  </a:lnTo>
                  <a:lnTo>
                    <a:pt x="6155649" y="0"/>
                  </a:lnTo>
                  <a:lnTo>
                    <a:pt x="6129491" y="0"/>
                  </a:lnTo>
                  <a:lnTo>
                    <a:pt x="6089306" y="0"/>
                  </a:lnTo>
                  <a:lnTo>
                    <a:pt x="6083396" y="0"/>
                  </a:lnTo>
                  <a:lnTo>
                    <a:pt x="6043212" y="0"/>
                  </a:lnTo>
                  <a:lnTo>
                    <a:pt x="6009767" y="0"/>
                  </a:lnTo>
                  <a:lnTo>
                    <a:pt x="5969583" y="0"/>
                  </a:lnTo>
                  <a:lnTo>
                    <a:pt x="5957194" y="0"/>
                  </a:lnTo>
                  <a:lnTo>
                    <a:pt x="5802948" y="0"/>
                  </a:lnTo>
                  <a:lnTo>
                    <a:pt x="5743083" y="0"/>
                  </a:lnTo>
                  <a:lnTo>
                    <a:pt x="5729319" y="0"/>
                  </a:lnTo>
                  <a:lnTo>
                    <a:pt x="5669455" y="0"/>
                  </a:lnTo>
                  <a:lnTo>
                    <a:pt x="5515208" y="0"/>
                  </a:lnTo>
                  <a:lnTo>
                    <a:pt x="5502820" y="0"/>
                  </a:lnTo>
                  <a:lnTo>
                    <a:pt x="5462635" y="0"/>
                  </a:lnTo>
                  <a:lnTo>
                    <a:pt x="5429191" y="0"/>
                  </a:lnTo>
                  <a:lnTo>
                    <a:pt x="5389006" y="0"/>
                  </a:lnTo>
                  <a:lnTo>
                    <a:pt x="5383097" y="0"/>
                  </a:lnTo>
                  <a:lnTo>
                    <a:pt x="5342913" y="0"/>
                  </a:lnTo>
                  <a:lnTo>
                    <a:pt x="5316754" y="0"/>
                  </a:lnTo>
                  <a:lnTo>
                    <a:pt x="5309468" y="0"/>
                  </a:lnTo>
                  <a:lnTo>
                    <a:pt x="5274945" y="0"/>
                  </a:lnTo>
                  <a:lnTo>
                    <a:pt x="5269284" y="0"/>
                  </a:lnTo>
                  <a:lnTo>
                    <a:pt x="5234760" y="0"/>
                  </a:lnTo>
                  <a:lnTo>
                    <a:pt x="5197031" y="0"/>
                  </a:lnTo>
                  <a:lnTo>
                    <a:pt x="5155222" y="0"/>
                  </a:lnTo>
                  <a:lnTo>
                    <a:pt x="5115037" y="0"/>
                  </a:lnTo>
                  <a:lnTo>
                    <a:pt x="5102649" y="0"/>
                  </a:lnTo>
                  <a:lnTo>
                    <a:pt x="5029020" y="0"/>
                  </a:lnTo>
                  <a:lnTo>
                    <a:pt x="4959319" y="0"/>
                  </a:lnTo>
                  <a:lnTo>
                    <a:pt x="4956767" y="0"/>
                  </a:lnTo>
                  <a:lnTo>
                    <a:pt x="4916582" y="0"/>
                  </a:lnTo>
                  <a:lnTo>
                    <a:pt x="4874774" y="0"/>
                  </a:lnTo>
                  <a:lnTo>
                    <a:pt x="4814909" y="0"/>
                  </a:lnTo>
                  <a:lnTo>
                    <a:pt x="4616454" y="0"/>
                  </a:lnTo>
                  <a:lnTo>
                    <a:pt x="4574645" y="0"/>
                  </a:lnTo>
                  <a:lnTo>
                    <a:pt x="4534461" y="0"/>
                  </a:lnTo>
                  <a:lnTo>
                    <a:pt x="4496730" y="0"/>
                  </a:lnTo>
                  <a:lnTo>
                    <a:pt x="4462208" y="0"/>
                  </a:lnTo>
                  <a:lnTo>
                    <a:pt x="4454922" y="0"/>
                  </a:lnTo>
                  <a:lnTo>
                    <a:pt x="4414738" y="0"/>
                  </a:lnTo>
                  <a:lnTo>
                    <a:pt x="4388579" y="0"/>
                  </a:lnTo>
                  <a:lnTo>
                    <a:pt x="4342485" y="0"/>
                  </a:lnTo>
                  <a:lnTo>
                    <a:pt x="4268856" y="0"/>
                  </a:lnTo>
                  <a:lnTo>
                    <a:pt x="4256468" y="0"/>
                  </a:lnTo>
                  <a:lnTo>
                    <a:pt x="4216283" y="0"/>
                  </a:lnTo>
                  <a:lnTo>
                    <a:pt x="4174474" y="0"/>
                  </a:lnTo>
                  <a:lnTo>
                    <a:pt x="4104774" y="0"/>
                  </a:lnTo>
                  <a:lnTo>
                    <a:pt x="4102221" y="0"/>
                  </a:lnTo>
                  <a:lnTo>
                    <a:pt x="4062037" y="0"/>
                  </a:lnTo>
                  <a:lnTo>
                    <a:pt x="4028592" y="0"/>
                  </a:lnTo>
                  <a:lnTo>
                    <a:pt x="3988408" y="0"/>
                  </a:lnTo>
                  <a:lnTo>
                    <a:pt x="3761908" y="0"/>
                  </a:lnTo>
                  <a:lnTo>
                    <a:pt x="3688280" y="0"/>
                  </a:lnTo>
                  <a:lnTo>
                    <a:pt x="3642185" y="0"/>
                  </a:lnTo>
                  <a:lnTo>
                    <a:pt x="3568557" y="0"/>
                  </a:lnTo>
                  <a:lnTo>
                    <a:pt x="3534033" y="0"/>
                  </a:lnTo>
                  <a:lnTo>
                    <a:pt x="3414311" y="0"/>
                  </a:lnTo>
                  <a:lnTo>
                    <a:pt x="3401921" y="0"/>
                  </a:lnTo>
                  <a:lnTo>
                    <a:pt x="3361737" y="0"/>
                  </a:lnTo>
                  <a:lnTo>
                    <a:pt x="3328293" y="0"/>
                  </a:lnTo>
                  <a:lnTo>
                    <a:pt x="3288109" y="0"/>
                  </a:lnTo>
                  <a:lnTo>
                    <a:pt x="3218407" y="0"/>
                  </a:lnTo>
                  <a:lnTo>
                    <a:pt x="3215855" y="0"/>
                  </a:lnTo>
                  <a:lnTo>
                    <a:pt x="3174047" y="0"/>
                  </a:lnTo>
                  <a:lnTo>
                    <a:pt x="3133862" y="0"/>
                  </a:lnTo>
                  <a:lnTo>
                    <a:pt x="2978143" y="0"/>
                  </a:lnTo>
                  <a:lnTo>
                    <a:pt x="2833733" y="0"/>
                  </a:lnTo>
                  <a:lnTo>
                    <a:pt x="2714011" y="0"/>
                  </a:lnTo>
                  <a:lnTo>
                    <a:pt x="2675120" y="0"/>
                  </a:lnTo>
                  <a:lnTo>
                    <a:pt x="2515555" y="0"/>
                  </a:lnTo>
                  <a:lnTo>
                    <a:pt x="2473747" y="0"/>
                  </a:lnTo>
                  <a:lnTo>
                    <a:pt x="2433563" y="0"/>
                  </a:lnTo>
                  <a:lnTo>
                    <a:pt x="2363862" y="0"/>
                  </a:lnTo>
                  <a:lnTo>
                    <a:pt x="2361309" y="0"/>
                  </a:lnTo>
                  <a:lnTo>
                    <a:pt x="2287681" y="0"/>
                  </a:lnTo>
                  <a:lnTo>
                    <a:pt x="2123599" y="0"/>
                  </a:lnTo>
                  <a:lnTo>
                    <a:pt x="2041625" y="0"/>
                  </a:lnTo>
                  <a:lnTo>
                    <a:pt x="1661010" y="0"/>
                  </a:lnTo>
                  <a:lnTo>
                    <a:pt x="1587382" y="0"/>
                  </a:lnTo>
                  <a:lnTo>
                    <a:pt x="1433136" y="0"/>
                  </a:lnTo>
                  <a:lnTo>
                    <a:pt x="1237232" y="0"/>
                  </a:lnTo>
                  <a:lnTo>
                    <a:pt x="732835" y="0"/>
                  </a:lnTo>
                  <a:lnTo>
                    <a:pt x="693945" y="0"/>
                  </a:lnTo>
                  <a:lnTo>
                    <a:pt x="382687" y="0"/>
                  </a:lnTo>
                  <a:lnTo>
                    <a:pt x="60450" y="0"/>
                  </a:lnTo>
                  <a:cubicBezTo>
                    <a:pt x="27065" y="0"/>
                    <a:pt x="0" y="27065"/>
                    <a:pt x="0" y="60450"/>
                  </a:cubicBezTo>
                  <a:lnTo>
                    <a:pt x="0" y="1695319"/>
                  </a:lnTo>
                  <a:cubicBezTo>
                    <a:pt x="0" y="1728704"/>
                    <a:pt x="27065" y="1755769"/>
                    <a:pt x="60450" y="1755769"/>
                  </a:cubicBezTo>
                  <a:lnTo>
                    <a:pt x="382687" y="1755769"/>
                  </a:lnTo>
                  <a:lnTo>
                    <a:pt x="693945" y="1755769"/>
                  </a:lnTo>
                  <a:lnTo>
                    <a:pt x="732835" y="1755769"/>
                  </a:lnTo>
                  <a:lnTo>
                    <a:pt x="1237232" y="1755769"/>
                  </a:lnTo>
                  <a:lnTo>
                    <a:pt x="1433136" y="1755769"/>
                  </a:lnTo>
                  <a:lnTo>
                    <a:pt x="1587382" y="1755769"/>
                  </a:lnTo>
                  <a:lnTo>
                    <a:pt x="1661010" y="1755769"/>
                  </a:lnTo>
                  <a:lnTo>
                    <a:pt x="2041625" y="1755769"/>
                  </a:lnTo>
                  <a:lnTo>
                    <a:pt x="2123599" y="1755769"/>
                  </a:lnTo>
                  <a:lnTo>
                    <a:pt x="2287681" y="1755769"/>
                  </a:lnTo>
                  <a:lnTo>
                    <a:pt x="2361309" y="1755769"/>
                  </a:lnTo>
                  <a:lnTo>
                    <a:pt x="2363862" y="1755769"/>
                  </a:lnTo>
                  <a:lnTo>
                    <a:pt x="2433563" y="1755769"/>
                  </a:lnTo>
                  <a:lnTo>
                    <a:pt x="2473747" y="1755769"/>
                  </a:lnTo>
                  <a:lnTo>
                    <a:pt x="2515555" y="1755769"/>
                  </a:lnTo>
                  <a:lnTo>
                    <a:pt x="2675120" y="1755769"/>
                  </a:lnTo>
                  <a:lnTo>
                    <a:pt x="2714011" y="1755769"/>
                  </a:lnTo>
                  <a:lnTo>
                    <a:pt x="2833733" y="1755769"/>
                  </a:lnTo>
                  <a:lnTo>
                    <a:pt x="2978143" y="1755769"/>
                  </a:lnTo>
                  <a:lnTo>
                    <a:pt x="3133862" y="1755769"/>
                  </a:lnTo>
                  <a:lnTo>
                    <a:pt x="3174047" y="1755769"/>
                  </a:lnTo>
                  <a:lnTo>
                    <a:pt x="3215855" y="1755769"/>
                  </a:lnTo>
                  <a:lnTo>
                    <a:pt x="3218407" y="1755769"/>
                  </a:lnTo>
                  <a:lnTo>
                    <a:pt x="3288109" y="1755769"/>
                  </a:lnTo>
                  <a:lnTo>
                    <a:pt x="3328293" y="1755769"/>
                  </a:lnTo>
                  <a:lnTo>
                    <a:pt x="3361737" y="1755769"/>
                  </a:lnTo>
                  <a:lnTo>
                    <a:pt x="3401921" y="1755769"/>
                  </a:lnTo>
                  <a:lnTo>
                    <a:pt x="3414311" y="1755769"/>
                  </a:lnTo>
                  <a:lnTo>
                    <a:pt x="3534033" y="1755769"/>
                  </a:lnTo>
                  <a:lnTo>
                    <a:pt x="3568557" y="1755769"/>
                  </a:lnTo>
                  <a:lnTo>
                    <a:pt x="3642185" y="1755769"/>
                  </a:lnTo>
                  <a:lnTo>
                    <a:pt x="3688280" y="1755769"/>
                  </a:lnTo>
                  <a:lnTo>
                    <a:pt x="3761908" y="1755769"/>
                  </a:lnTo>
                  <a:lnTo>
                    <a:pt x="3988408" y="1755769"/>
                  </a:lnTo>
                  <a:lnTo>
                    <a:pt x="4028592" y="1755769"/>
                  </a:lnTo>
                  <a:lnTo>
                    <a:pt x="4062037" y="1755769"/>
                  </a:lnTo>
                  <a:lnTo>
                    <a:pt x="4102221" y="1755769"/>
                  </a:lnTo>
                  <a:lnTo>
                    <a:pt x="4104774" y="1755769"/>
                  </a:lnTo>
                  <a:lnTo>
                    <a:pt x="4174474" y="1755769"/>
                  </a:lnTo>
                  <a:lnTo>
                    <a:pt x="4216283" y="1755769"/>
                  </a:lnTo>
                  <a:lnTo>
                    <a:pt x="4256468" y="1755769"/>
                  </a:lnTo>
                  <a:lnTo>
                    <a:pt x="4268856" y="1755769"/>
                  </a:lnTo>
                  <a:lnTo>
                    <a:pt x="4342485" y="1755769"/>
                  </a:lnTo>
                  <a:lnTo>
                    <a:pt x="4388579" y="1755769"/>
                  </a:lnTo>
                  <a:lnTo>
                    <a:pt x="4414738" y="1755769"/>
                  </a:lnTo>
                  <a:lnTo>
                    <a:pt x="4454922" y="1755769"/>
                  </a:lnTo>
                  <a:lnTo>
                    <a:pt x="4462208" y="1755769"/>
                  </a:lnTo>
                  <a:lnTo>
                    <a:pt x="4496730" y="1755769"/>
                  </a:lnTo>
                  <a:lnTo>
                    <a:pt x="4534461" y="1755769"/>
                  </a:lnTo>
                  <a:lnTo>
                    <a:pt x="4574645" y="1755769"/>
                  </a:lnTo>
                  <a:lnTo>
                    <a:pt x="4616454" y="1755769"/>
                  </a:lnTo>
                  <a:lnTo>
                    <a:pt x="4814909" y="1755769"/>
                  </a:lnTo>
                  <a:lnTo>
                    <a:pt x="4874774" y="1755769"/>
                  </a:lnTo>
                  <a:lnTo>
                    <a:pt x="4916582" y="1755769"/>
                  </a:lnTo>
                  <a:lnTo>
                    <a:pt x="4956767" y="1755769"/>
                  </a:lnTo>
                  <a:lnTo>
                    <a:pt x="4959319" y="1755769"/>
                  </a:lnTo>
                  <a:lnTo>
                    <a:pt x="5029020" y="1755769"/>
                  </a:lnTo>
                  <a:lnTo>
                    <a:pt x="5102649" y="1755769"/>
                  </a:lnTo>
                  <a:lnTo>
                    <a:pt x="5115037" y="1755769"/>
                  </a:lnTo>
                  <a:lnTo>
                    <a:pt x="5155222" y="1755769"/>
                  </a:lnTo>
                  <a:lnTo>
                    <a:pt x="5197031" y="1755769"/>
                  </a:lnTo>
                  <a:lnTo>
                    <a:pt x="5234760" y="1755769"/>
                  </a:lnTo>
                  <a:lnTo>
                    <a:pt x="5269284" y="1755769"/>
                  </a:lnTo>
                  <a:lnTo>
                    <a:pt x="5274945" y="1755769"/>
                  </a:lnTo>
                  <a:lnTo>
                    <a:pt x="5309468" y="1755769"/>
                  </a:lnTo>
                  <a:lnTo>
                    <a:pt x="5316754" y="1755769"/>
                  </a:lnTo>
                  <a:lnTo>
                    <a:pt x="5342913" y="1755769"/>
                  </a:lnTo>
                  <a:lnTo>
                    <a:pt x="5383097" y="1755769"/>
                  </a:lnTo>
                  <a:lnTo>
                    <a:pt x="5389006" y="1755769"/>
                  </a:lnTo>
                  <a:lnTo>
                    <a:pt x="5429191" y="1755769"/>
                  </a:lnTo>
                  <a:lnTo>
                    <a:pt x="5462635" y="1755769"/>
                  </a:lnTo>
                  <a:lnTo>
                    <a:pt x="5502820" y="1755769"/>
                  </a:lnTo>
                  <a:lnTo>
                    <a:pt x="5515208" y="1755769"/>
                  </a:lnTo>
                  <a:lnTo>
                    <a:pt x="5669455" y="1755769"/>
                  </a:lnTo>
                  <a:lnTo>
                    <a:pt x="5729319" y="1755769"/>
                  </a:lnTo>
                  <a:lnTo>
                    <a:pt x="5743083" y="1755769"/>
                  </a:lnTo>
                  <a:lnTo>
                    <a:pt x="5802948" y="1755769"/>
                  </a:lnTo>
                  <a:lnTo>
                    <a:pt x="5957194" y="1755769"/>
                  </a:lnTo>
                  <a:lnTo>
                    <a:pt x="5969583" y="1755769"/>
                  </a:lnTo>
                  <a:lnTo>
                    <a:pt x="6009767" y="1755769"/>
                  </a:lnTo>
                  <a:lnTo>
                    <a:pt x="6043212" y="1755769"/>
                  </a:lnTo>
                  <a:lnTo>
                    <a:pt x="6083396" y="1755769"/>
                  </a:lnTo>
                  <a:lnTo>
                    <a:pt x="6089306" y="1755769"/>
                  </a:lnTo>
                  <a:lnTo>
                    <a:pt x="6129491" y="1755769"/>
                  </a:lnTo>
                  <a:lnTo>
                    <a:pt x="6155649" y="1755769"/>
                  </a:lnTo>
                  <a:lnTo>
                    <a:pt x="6162935" y="1755769"/>
                  </a:lnTo>
                  <a:lnTo>
                    <a:pt x="6197458" y="1755769"/>
                  </a:lnTo>
                  <a:lnTo>
                    <a:pt x="6203119" y="1755769"/>
                  </a:lnTo>
                  <a:lnTo>
                    <a:pt x="6237643" y="1755769"/>
                  </a:lnTo>
                  <a:lnTo>
                    <a:pt x="6275372" y="1755769"/>
                  </a:lnTo>
                  <a:lnTo>
                    <a:pt x="6317181" y="1755769"/>
                  </a:lnTo>
                  <a:lnTo>
                    <a:pt x="6357365" y="1755769"/>
                  </a:lnTo>
                  <a:lnTo>
                    <a:pt x="6369754" y="1755769"/>
                  </a:lnTo>
                  <a:lnTo>
                    <a:pt x="6443383" y="1755769"/>
                  </a:lnTo>
                  <a:lnTo>
                    <a:pt x="6515636" y="1755769"/>
                  </a:lnTo>
                  <a:lnTo>
                    <a:pt x="6555820" y="1755769"/>
                  </a:lnTo>
                  <a:lnTo>
                    <a:pt x="6597629" y="1755769"/>
                  </a:lnTo>
                  <a:lnTo>
                    <a:pt x="6657494" y="1755769"/>
                  </a:lnTo>
                  <a:lnTo>
                    <a:pt x="6855949" y="1755769"/>
                  </a:lnTo>
                  <a:lnTo>
                    <a:pt x="6897757" y="1755769"/>
                  </a:lnTo>
                  <a:lnTo>
                    <a:pt x="6937942" y="1755769"/>
                  </a:lnTo>
                  <a:lnTo>
                    <a:pt x="6975671" y="1755769"/>
                  </a:lnTo>
                  <a:lnTo>
                    <a:pt x="7010195" y="1755769"/>
                  </a:lnTo>
                  <a:lnTo>
                    <a:pt x="7017480" y="1755769"/>
                  </a:lnTo>
                  <a:lnTo>
                    <a:pt x="7057664" y="1755769"/>
                  </a:lnTo>
                  <a:lnTo>
                    <a:pt x="7083824" y="1755769"/>
                  </a:lnTo>
                  <a:lnTo>
                    <a:pt x="7129918" y="1755769"/>
                  </a:lnTo>
                  <a:lnTo>
                    <a:pt x="7203546" y="1755769"/>
                  </a:lnTo>
                  <a:lnTo>
                    <a:pt x="7215935" y="1755769"/>
                  </a:lnTo>
                  <a:lnTo>
                    <a:pt x="7256120" y="1755769"/>
                  </a:lnTo>
                  <a:lnTo>
                    <a:pt x="7297929" y="1755769"/>
                  </a:lnTo>
                  <a:lnTo>
                    <a:pt x="7370181" y="1755769"/>
                  </a:lnTo>
                  <a:lnTo>
                    <a:pt x="7410366" y="1755769"/>
                  </a:lnTo>
                  <a:lnTo>
                    <a:pt x="7443810" y="1755769"/>
                  </a:lnTo>
                  <a:lnTo>
                    <a:pt x="7483995" y="1755769"/>
                  </a:lnTo>
                  <a:lnTo>
                    <a:pt x="7710494" y="1755769"/>
                  </a:lnTo>
                  <a:lnTo>
                    <a:pt x="7784123" y="1755769"/>
                  </a:lnTo>
                  <a:lnTo>
                    <a:pt x="7830217" y="1755769"/>
                  </a:lnTo>
                  <a:lnTo>
                    <a:pt x="7903846" y="1755769"/>
                  </a:lnTo>
                  <a:lnTo>
                    <a:pt x="7938369" y="1755769"/>
                  </a:lnTo>
                  <a:lnTo>
                    <a:pt x="8058092" y="1755769"/>
                  </a:lnTo>
                  <a:lnTo>
                    <a:pt x="8070480" y="1755769"/>
                  </a:lnTo>
                  <a:lnTo>
                    <a:pt x="8110665" y="1755769"/>
                  </a:lnTo>
                  <a:lnTo>
                    <a:pt x="8144110" y="1755769"/>
                  </a:lnTo>
                  <a:lnTo>
                    <a:pt x="8184294" y="1755769"/>
                  </a:lnTo>
                  <a:lnTo>
                    <a:pt x="8256547" y="1755769"/>
                  </a:lnTo>
                  <a:lnTo>
                    <a:pt x="8298355" y="1755769"/>
                  </a:lnTo>
                  <a:lnTo>
                    <a:pt x="8338539" y="1755769"/>
                  </a:lnTo>
                  <a:lnTo>
                    <a:pt x="8638668" y="1755769"/>
                  </a:lnTo>
                  <a:lnTo>
                    <a:pt x="8758391" y="1755769"/>
                  </a:lnTo>
                  <a:lnTo>
                    <a:pt x="8956846" y="1755769"/>
                  </a:lnTo>
                  <a:lnTo>
                    <a:pt x="8998655" y="1755769"/>
                  </a:lnTo>
                  <a:lnTo>
                    <a:pt x="9038839" y="1755769"/>
                  </a:lnTo>
                  <a:lnTo>
                    <a:pt x="9111092" y="1755769"/>
                  </a:lnTo>
                  <a:lnTo>
                    <a:pt x="9184721" y="1755769"/>
                  </a:lnTo>
                  <a:lnTo>
                    <a:pt x="9811392" y="1755769"/>
                  </a:lnTo>
                  <a:lnTo>
                    <a:pt x="9885020" y="1755769"/>
                  </a:lnTo>
                  <a:lnTo>
                    <a:pt x="10039267" y="1755769"/>
                  </a:lnTo>
                  <a:lnTo>
                    <a:pt x="10739566" y="1755769"/>
                  </a:lnTo>
                  <a:cubicBezTo>
                    <a:pt x="10771651" y="1755769"/>
                    <a:pt x="10802065" y="1741599"/>
                    <a:pt x="10822534" y="1717122"/>
                  </a:cubicBezTo>
                  <a:lnTo>
                    <a:pt x="11497419" y="910010"/>
                  </a:lnTo>
                  <a:cubicBezTo>
                    <a:pt x="11513003" y="891375"/>
                    <a:pt x="11513003" y="864393"/>
                    <a:pt x="11497419" y="845758"/>
                  </a:cubicBezTo>
                  <a:lnTo>
                    <a:pt x="10822534" y="38647"/>
                  </a:lnTo>
                  <a:cubicBezTo>
                    <a:pt x="10802065" y="14168"/>
                    <a:pt x="10771651" y="0"/>
                    <a:pt x="10739566" y="0"/>
                  </a:cubicBezTo>
                  <a:close/>
                </a:path>
              </a:pathLst>
            </a:custGeom>
            <a:solidFill>
              <a:schemeClr val="bg2">
                <a:lumMod val="60000"/>
                <a:lumOff val="40000"/>
              </a:schemeClr>
            </a:solidFill>
            <a:ln w="9525"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IN" sz="1765" b="0" i="0" u="none" strike="noStrike" kern="1200" cap="none" spc="0" normalizeH="0" baseline="0" noProof="0">
                <a:ln>
                  <a:noFill/>
                </a:ln>
                <a:solidFill>
                  <a:srgbClr val="225B61"/>
                </a:solidFill>
                <a:effectLst/>
                <a:uLnTx/>
                <a:uFillTx/>
                <a:latin typeface="Segoe Sans Text Semilight"/>
                <a:ea typeface="+mn-ea"/>
                <a:cs typeface="+mn-cs"/>
              </a:endParaRPr>
            </a:p>
          </p:txBody>
        </p:sp>
        <p:sp>
          <p:nvSpPr>
            <p:cNvPr id="13" name="Rectangle: Rounded Corners 12">
              <a:extLst>
                <a:ext uri="{FF2B5EF4-FFF2-40B4-BE49-F238E27FC236}">
                  <a16:creationId xmlns:a16="http://schemas.microsoft.com/office/drawing/2014/main" id="{FFA6AD99-348C-0E5E-6421-52C153E95AAB}"/>
                </a:ext>
              </a:extLst>
            </p:cNvPr>
            <p:cNvSpPr/>
            <p:nvPr/>
          </p:nvSpPr>
          <p:spPr>
            <a:xfrm flipV="1">
              <a:off x="581024" y="1922362"/>
              <a:ext cx="1842136" cy="1466004"/>
            </a:xfrm>
            <a:prstGeom prst="roundRect">
              <a:avLst>
                <a:gd name="adj" fmla="val 11819"/>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Sans Text Semilight"/>
                <a:ea typeface="+mn-ea"/>
                <a:cs typeface="+mn-cs"/>
              </a:endParaRPr>
            </a:p>
          </p:txBody>
        </p:sp>
        <p:sp>
          <p:nvSpPr>
            <p:cNvPr id="14" name="Rounded Rectangle 34">
              <a:extLst>
                <a:ext uri="{FF2B5EF4-FFF2-40B4-BE49-F238E27FC236}">
                  <a16:creationId xmlns:a16="http://schemas.microsoft.com/office/drawing/2014/main" id="{C162F4A6-BE01-5527-1317-F69947A2582E}"/>
                </a:ext>
                <a:ext uri="{C183D7F6-B498-43B3-948B-1728B52AA6E4}">
                  <adec:decorative xmlns:adec="http://schemas.microsoft.com/office/drawing/2017/decorative" val="1"/>
                </a:ext>
              </a:extLst>
            </p:cNvPr>
            <p:cNvSpPr/>
            <p:nvPr/>
          </p:nvSpPr>
          <p:spPr bwMode="auto">
            <a:xfrm>
              <a:off x="392723" y="2012458"/>
              <a:ext cx="11406554" cy="4032228"/>
            </a:xfrm>
            <a:prstGeom prst="roundRect">
              <a:avLst>
                <a:gd name="adj" fmla="val 6454"/>
              </a:avLst>
            </a:prstGeom>
            <a:solidFill>
              <a:srgbClr val="F9F9F9">
                <a:alpha val="70000"/>
              </a:srgbClr>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16" name="Rounded Rectangle 34">
              <a:extLst>
                <a:ext uri="{FF2B5EF4-FFF2-40B4-BE49-F238E27FC236}">
                  <a16:creationId xmlns:a16="http://schemas.microsoft.com/office/drawing/2014/main" id="{DEEB9753-47DA-598B-2294-0DDD76FB2DC1}"/>
                </a:ext>
                <a:ext uri="{C183D7F6-B498-43B3-948B-1728B52AA6E4}">
                  <adec:decorative xmlns:adec="http://schemas.microsoft.com/office/drawing/2017/decorative" val="1"/>
                </a:ext>
              </a:extLst>
            </p:cNvPr>
            <p:cNvSpPr/>
            <p:nvPr/>
          </p:nvSpPr>
          <p:spPr bwMode="auto">
            <a:xfrm>
              <a:off x="581025" y="2225535"/>
              <a:ext cx="3574900" cy="3605791"/>
            </a:xfrm>
            <a:prstGeom prst="roundRect">
              <a:avLst>
                <a:gd name="adj" fmla="val 3442"/>
              </a:avLst>
            </a:prstGeom>
            <a:solidFill>
              <a:srgbClr val="F9F9F9"/>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19" name="Rounded Rectangle 34">
              <a:extLst>
                <a:ext uri="{FF2B5EF4-FFF2-40B4-BE49-F238E27FC236}">
                  <a16:creationId xmlns:a16="http://schemas.microsoft.com/office/drawing/2014/main" id="{2885CA4C-2DA0-4A53-91F2-2053A929C783}"/>
                </a:ext>
                <a:ext uri="{C183D7F6-B498-43B3-948B-1728B52AA6E4}">
                  <adec:decorative xmlns:adec="http://schemas.microsoft.com/office/drawing/2017/decorative" val="1"/>
                </a:ext>
              </a:extLst>
            </p:cNvPr>
            <p:cNvSpPr/>
            <p:nvPr/>
          </p:nvSpPr>
          <p:spPr bwMode="auto">
            <a:xfrm>
              <a:off x="4308550" y="2225535"/>
              <a:ext cx="3574900" cy="3605791"/>
            </a:xfrm>
            <a:prstGeom prst="roundRect">
              <a:avLst>
                <a:gd name="adj" fmla="val 3442"/>
              </a:avLst>
            </a:prstGeom>
            <a:solidFill>
              <a:srgbClr val="F9F9F9"/>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22" name="Rounded Rectangle 34">
              <a:extLst>
                <a:ext uri="{FF2B5EF4-FFF2-40B4-BE49-F238E27FC236}">
                  <a16:creationId xmlns:a16="http://schemas.microsoft.com/office/drawing/2014/main" id="{B1BD7D00-8581-6904-8931-934B652B63C5}"/>
                </a:ext>
                <a:ext uri="{C183D7F6-B498-43B3-948B-1728B52AA6E4}">
                  <adec:decorative xmlns:adec="http://schemas.microsoft.com/office/drawing/2017/decorative" val="1"/>
                </a:ext>
              </a:extLst>
            </p:cNvPr>
            <p:cNvSpPr/>
            <p:nvPr/>
          </p:nvSpPr>
          <p:spPr bwMode="auto">
            <a:xfrm>
              <a:off x="8036075" y="2225535"/>
              <a:ext cx="3574900" cy="3605791"/>
            </a:xfrm>
            <a:prstGeom prst="roundRect">
              <a:avLst>
                <a:gd name="adj" fmla="val 3442"/>
              </a:avLst>
            </a:prstGeom>
            <a:solidFill>
              <a:srgbClr val="F9F9F9"/>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2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sp>
          <p:nvSpPr>
            <p:cNvPr id="37" name="Rounded Rectangle 34">
              <a:extLst>
                <a:ext uri="{FF2B5EF4-FFF2-40B4-BE49-F238E27FC236}">
                  <a16:creationId xmlns:a16="http://schemas.microsoft.com/office/drawing/2014/main" id="{D34D202A-EF90-5690-8A1C-0534E89CDF1D}"/>
                </a:ext>
                <a:ext uri="{C183D7F6-B498-43B3-948B-1728B52AA6E4}">
                  <adec:decorative xmlns:adec="http://schemas.microsoft.com/office/drawing/2017/decorative" val="1"/>
                </a:ext>
              </a:extLst>
            </p:cNvPr>
            <p:cNvSpPr>
              <a:spLocks/>
            </p:cNvSpPr>
            <p:nvPr/>
          </p:nvSpPr>
          <p:spPr bwMode="auto">
            <a:xfrm>
              <a:off x="581026" y="6203844"/>
              <a:ext cx="3782556" cy="433977"/>
            </a:xfrm>
            <a:prstGeom prst="roundRect">
              <a:avLst>
                <a:gd name="adj" fmla="val 50000"/>
              </a:avLst>
            </a:prstGeom>
            <a:solidFill>
              <a:srgbClr val="FFFFFF"/>
            </a:solidFill>
            <a:ln>
              <a:noFill/>
              <a:headEnd type="none" w="med" len="med"/>
              <a:tailEnd type="none" w="med" len="med"/>
            </a:ln>
            <a:effectLst>
              <a:outerShdw blurRad="2286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ct val="20000"/>
                </a:spcBef>
                <a:spcAft>
                  <a:spcPts val="0"/>
                </a:spcAft>
                <a:buClrTx/>
                <a:buSzPct val="90000"/>
                <a:buFontTx/>
                <a:buNone/>
                <a:tabLst/>
                <a:defRPr/>
              </a:pPr>
              <a:endParaRPr kumimoji="0" lang="en-US" sz="1100" b="0" i="0" u="none" strike="noStrike" kern="1200" cap="none" spc="0" normalizeH="0" baseline="0" noProof="0" err="1">
                <a:ln>
                  <a:noFill/>
                </a:ln>
                <a:gradFill>
                  <a:gsLst>
                    <a:gs pos="2874">
                      <a:srgbClr val="FFFFFF"/>
                    </a:gs>
                    <a:gs pos="17978">
                      <a:srgbClr val="FFFFFF"/>
                    </a:gs>
                  </a:gsLst>
                  <a:lin ang="2700000" scaled="0"/>
                </a:gradFill>
                <a:effectLst/>
                <a:uLnTx/>
                <a:uFillTx/>
                <a:latin typeface="Segoe UI"/>
                <a:ea typeface="+mn-ea"/>
                <a:cs typeface="+mn-cs"/>
              </a:endParaRPr>
            </a:p>
          </p:txBody>
        </p:sp>
      </p:grpSp>
      <p:sp>
        <p:nvSpPr>
          <p:cNvPr id="34" name="Rectangle: Rounded Corners 5">
            <a:extLst>
              <a:ext uri="{FF2B5EF4-FFF2-40B4-BE49-F238E27FC236}">
                <a16:creationId xmlns:a16="http://schemas.microsoft.com/office/drawing/2014/main" id="{F74C910B-2D2E-7EC2-6629-63BF51D87E68}"/>
              </a:ext>
            </a:extLst>
          </p:cNvPr>
          <p:cNvSpPr>
            <a:spLocks/>
          </p:cNvSpPr>
          <p:nvPr/>
        </p:nvSpPr>
        <p:spPr bwMode="auto">
          <a:xfrm>
            <a:off x="755918" y="1318315"/>
            <a:ext cx="10680164" cy="2769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Secure and protect data across your organization</a:t>
            </a:r>
          </a:p>
        </p:txBody>
      </p:sp>
      <p:pic>
        <p:nvPicPr>
          <p:cNvPr id="69" name="Picture 68" descr="A screen capture of a SharePoint site which shows that the site is set to confidential and within confidential has three points of Microsoft FTE, Microsoft Extended and Any User (No Protection)">
            <a:extLst>
              <a:ext uri="{FF2B5EF4-FFF2-40B4-BE49-F238E27FC236}">
                <a16:creationId xmlns:a16="http://schemas.microsoft.com/office/drawing/2014/main" id="{8F699AC6-778A-C5A7-3C70-E30956B7371E}"/>
              </a:ext>
            </a:extLst>
          </p:cNvPr>
          <p:cNvPicPr>
            <a:picLocks/>
          </p:cNvPicPr>
          <p:nvPr/>
        </p:nvPicPr>
        <p:blipFill rotWithShape="1">
          <a:blip r:embed="rId3" cstate="screen">
            <a:extLst>
              <a:ext uri="{28A0092B-C50C-407E-A947-70E740481C1C}">
                <a14:useLocalDpi xmlns:a14="http://schemas.microsoft.com/office/drawing/2010/main"/>
              </a:ext>
            </a:extLst>
          </a:blip>
          <a:srcRect t="-113"/>
          <a:stretch/>
        </p:blipFill>
        <p:spPr>
          <a:xfrm>
            <a:off x="720349" y="2024116"/>
            <a:ext cx="3296254" cy="1351448"/>
          </a:xfrm>
          <a:custGeom>
            <a:avLst/>
            <a:gdLst>
              <a:gd name="connsiteX0" fmla="*/ 78612 w 2557805"/>
              <a:gd name="connsiteY0" fmla="*/ 0 h 1247805"/>
              <a:gd name="connsiteX1" fmla="*/ 2479193 w 2557805"/>
              <a:gd name="connsiteY1" fmla="*/ 0 h 1247805"/>
              <a:gd name="connsiteX2" fmla="*/ 2557805 w 2557805"/>
              <a:gd name="connsiteY2" fmla="*/ 78612 h 1247805"/>
              <a:gd name="connsiteX3" fmla="*/ 2557805 w 2557805"/>
              <a:gd name="connsiteY3" fmla="*/ 1169193 h 1247805"/>
              <a:gd name="connsiteX4" fmla="*/ 2479193 w 2557805"/>
              <a:gd name="connsiteY4" fmla="*/ 1247805 h 1247805"/>
              <a:gd name="connsiteX5" fmla="*/ 78612 w 2557805"/>
              <a:gd name="connsiteY5" fmla="*/ 1247805 h 1247805"/>
              <a:gd name="connsiteX6" fmla="*/ 0 w 2557805"/>
              <a:gd name="connsiteY6" fmla="*/ 1169193 h 1247805"/>
              <a:gd name="connsiteX7" fmla="*/ 0 w 2557805"/>
              <a:gd name="connsiteY7" fmla="*/ 78612 h 1247805"/>
              <a:gd name="connsiteX8" fmla="*/ 78612 w 2557805"/>
              <a:gd name="connsiteY8" fmla="*/ 0 h 124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7805" h="1247805">
                <a:moveTo>
                  <a:pt x="78612" y="0"/>
                </a:moveTo>
                <a:lnTo>
                  <a:pt x="2479193" y="0"/>
                </a:lnTo>
                <a:cubicBezTo>
                  <a:pt x="2522609" y="0"/>
                  <a:pt x="2557805" y="35196"/>
                  <a:pt x="2557805" y="78612"/>
                </a:cubicBezTo>
                <a:lnTo>
                  <a:pt x="2557805" y="1169193"/>
                </a:lnTo>
                <a:cubicBezTo>
                  <a:pt x="2557805" y="1212609"/>
                  <a:pt x="2522609" y="1247805"/>
                  <a:pt x="2479193" y="1247805"/>
                </a:cubicBezTo>
                <a:lnTo>
                  <a:pt x="78612" y="1247805"/>
                </a:lnTo>
                <a:cubicBezTo>
                  <a:pt x="35196" y="1247805"/>
                  <a:pt x="0" y="1212609"/>
                  <a:pt x="0" y="1169193"/>
                </a:cubicBezTo>
                <a:lnTo>
                  <a:pt x="0" y="78612"/>
                </a:lnTo>
                <a:cubicBezTo>
                  <a:pt x="0" y="35196"/>
                  <a:pt x="35196" y="0"/>
                  <a:pt x="78612" y="0"/>
                </a:cubicBezTo>
                <a:close/>
              </a:path>
            </a:pathLst>
          </a:custGeom>
          <a:solidFill>
            <a:srgbClr val="F3F3F0"/>
          </a:solidFill>
          <a:ln>
            <a:noFill/>
            <a:headEnd type="none" w="med" len="med"/>
            <a:tailEnd type="none" w="med" len="med"/>
          </a:ln>
          <a:effectLst/>
        </p:spPr>
      </p:pic>
      <p:sp>
        <p:nvSpPr>
          <p:cNvPr id="71" name="TextBox 70">
            <a:extLst>
              <a:ext uri="{FF2B5EF4-FFF2-40B4-BE49-F238E27FC236}">
                <a16:creationId xmlns:a16="http://schemas.microsoft.com/office/drawing/2014/main" id="{E44A71EC-050E-79A8-4B40-2E6B44CE4CCA}"/>
              </a:ext>
            </a:extLst>
          </p:cNvPr>
          <p:cNvSpPr txBox="1">
            <a:spLocks/>
          </p:cNvSpPr>
          <p:nvPr/>
        </p:nvSpPr>
        <p:spPr>
          <a:xfrm>
            <a:off x="720349" y="3480116"/>
            <a:ext cx="3296254"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rPr>
              <a:t>Information Protection labels*</a:t>
            </a:r>
          </a:p>
        </p:txBody>
      </p:sp>
      <p:sp>
        <p:nvSpPr>
          <p:cNvPr id="83" name="TextBox 82">
            <a:extLst>
              <a:ext uri="{FF2B5EF4-FFF2-40B4-BE49-F238E27FC236}">
                <a16:creationId xmlns:a16="http://schemas.microsoft.com/office/drawing/2014/main" id="{BA2B3F31-1A86-D5EC-C110-212189ED13F9}"/>
              </a:ext>
            </a:extLst>
          </p:cNvPr>
          <p:cNvSpPr txBox="1">
            <a:spLocks/>
          </p:cNvSpPr>
          <p:nvPr/>
        </p:nvSpPr>
        <p:spPr>
          <a:xfrm>
            <a:off x="720349" y="3900218"/>
            <a:ext cx="3296254" cy="1519628"/>
          </a:xfrm>
          <a:prstGeom prst="roundRect">
            <a:avLst>
              <a:gd name="adj" fmla="val 6200"/>
            </a:avLst>
          </a:prstGeom>
          <a:solidFill>
            <a:srgbClr val="F4F2F7"/>
          </a:solidFill>
        </p:spPr>
        <p:txBody>
          <a:bodyPr wrap="square" lIns="91440" tIns="45720" rIns="91440" bIns="4572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Sans Text Semilight"/>
                <a:ea typeface="+mn-ea"/>
                <a:cs typeface="+mn-cs"/>
              </a:rPr>
              <a:t>Classify sensitive Fabric data using the</a:t>
            </a:r>
            <a:br>
              <a:rPr kumimoji="0" lang="en-US" sz="1200" b="0" i="0" u="none" strike="noStrike" kern="0" cap="none" spc="0" normalizeH="0" baseline="0" noProof="0">
                <a:ln>
                  <a:noFill/>
                </a:ln>
                <a:solidFill>
                  <a:srgbClr val="000000"/>
                </a:solidFill>
                <a:effectLst/>
                <a:uLnTx/>
                <a:uFillTx/>
                <a:latin typeface="Segoe Sans Text Semilight"/>
                <a:ea typeface="+mn-ea"/>
                <a:cs typeface="+mn-cs"/>
              </a:rPr>
            </a:br>
            <a:r>
              <a:rPr kumimoji="0" lang="en-US" sz="1200" b="0" i="0" u="none" strike="noStrike" kern="0" cap="none" spc="0" normalizeH="0" baseline="0" noProof="0">
                <a:ln>
                  <a:noFill/>
                </a:ln>
                <a:solidFill>
                  <a:srgbClr val="000000"/>
                </a:solidFill>
                <a:effectLst/>
                <a:uLnTx/>
                <a:uFillTx/>
                <a:latin typeface="Segoe Sans Text Semilight"/>
                <a:ea typeface="+mn-ea"/>
                <a:cs typeface="+mn-cs"/>
              </a:rPr>
              <a:t>same </a:t>
            </a:r>
            <a:r>
              <a:rPr kumimoji="0" lang="en-US" sz="1200" b="0" i="0" u="none" strike="noStrike" kern="0" cap="none" spc="0" normalizeH="0" baseline="0" noProof="0">
                <a:ln>
                  <a:noFill/>
                </a:ln>
                <a:solidFill>
                  <a:srgbClr val="8661C5">
                    <a:lumMod val="75000"/>
                  </a:srgbClr>
                </a:solidFill>
                <a:effectLst/>
                <a:uLnTx/>
                <a:uFillTx/>
                <a:latin typeface="Segoe Sans Text Semilight"/>
                <a:ea typeface="+mn-ea"/>
                <a:cs typeface="+mn-cs"/>
              </a:rPr>
              <a:t>sensitivity labels </a:t>
            </a:r>
            <a:r>
              <a:rPr kumimoji="0" lang="en-US" sz="1200" b="0" i="0" u="none" strike="noStrike" kern="0" cap="none" spc="0" normalizeH="0" baseline="0" noProof="0">
                <a:ln>
                  <a:noFill/>
                </a:ln>
                <a:solidFill>
                  <a:srgbClr val="000000"/>
                </a:solidFill>
                <a:effectLst/>
                <a:uLnTx/>
                <a:uFillTx/>
                <a:latin typeface="Segoe Sans Text Semilight"/>
                <a:ea typeface="+mn-ea"/>
                <a:cs typeface="+mn-cs"/>
              </a:rPr>
              <a:t>that are used in Microsoft 365—enforced even when</a:t>
            </a:r>
            <a:br>
              <a:rPr kumimoji="0" lang="en-US" sz="1200" b="0" i="0" u="none" strike="noStrike" kern="0" cap="none" spc="0" normalizeH="0" baseline="0" noProof="0">
                <a:ln>
                  <a:noFill/>
                </a:ln>
                <a:solidFill>
                  <a:srgbClr val="000000"/>
                </a:solidFill>
                <a:effectLst/>
                <a:uLnTx/>
                <a:uFillTx/>
                <a:latin typeface="Segoe Sans Text Semilight"/>
                <a:ea typeface="+mn-ea"/>
                <a:cs typeface="+mn-cs"/>
              </a:rPr>
            </a:br>
            <a:r>
              <a:rPr kumimoji="0" lang="en-US" sz="1200" b="0" i="0" u="none" strike="noStrike" kern="0" cap="none" spc="0" normalizeH="0" baseline="0" noProof="0">
                <a:ln>
                  <a:noFill/>
                </a:ln>
                <a:solidFill>
                  <a:srgbClr val="000000"/>
                </a:solidFill>
                <a:effectLst/>
                <a:uLnTx/>
                <a:uFillTx/>
                <a:latin typeface="Segoe Sans Text Semilight"/>
                <a:ea typeface="+mn-ea"/>
                <a:cs typeface="+mn-cs"/>
              </a:rPr>
              <a:t>the data is exported</a:t>
            </a:r>
          </a:p>
        </p:txBody>
      </p:sp>
      <p:pic>
        <p:nvPicPr>
          <p:cNvPr id="101" name="Picture 100">
            <a:extLst>
              <a:ext uri="{FF2B5EF4-FFF2-40B4-BE49-F238E27FC236}">
                <a16:creationId xmlns:a16="http://schemas.microsoft.com/office/drawing/2014/main" id="{16696F55-C65E-3CB4-129E-4979FD0CE783}"/>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24033" y="4946245"/>
            <a:ext cx="400348" cy="400348"/>
          </a:xfrm>
          <a:prstGeom prst="rect">
            <a:avLst/>
          </a:prstGeom>
        </p:spPr>
      </p:pic>
      <p:pic>
        <p:nvPicPr>
          <p:cNvPr id="114" name="Picture 113" descr="A screen capture of a SharePoint website of Microsoft Purview of Data loss prevention showing: Choose locations to apply the policy.">
            <a:extLst>
              <a:ext uri="{FF2B5EF4-FFF2-40B4-BE49-F238E27FC236}">
                <a16:creationId xmlns:a16="http://schemas.microsoft.com/office/drawing/2014/main" id="{8A32D9AD-5034-3FEE-E94E-991E60C8F3B1}"/>
              </a:ext>
              <a:ext uri="{C183D7F6-B498-43B3-948B-1728B52AA6E4}">
                <adec:decorative xmlns:adec="http://schemas.microsoft.com/office/drawing/2017/decorative" val="0"/>
              </a:ext>
            </a:extLst>
          </p:cNvPr>
          <p:cNvPicPr>
            <a:picLocks/>
          </p:cNvPicPr>
          <p:nvPr/>
        </p:nvPicPr>
        <p:blipFill rotWithShape="1">
          <a:blip r:embed="rId5" cstate="screen">
            <a:extLst>
              <a:ext uri="{28A0092B-C50C-407E-A947-70E740481C1C}">
                <a14:useLocalDpi xmlns:a14="http://schemas.microsoft.com/office/drawing/2010/main"/>
              </a:ext>
            </a:extLst>
          </a:blip>
          <a:srcRect l="-11775" t="-470" r="-11775" b="-470"/>
          <a:stretch/>
        </p:blipFill>
        <p:spPr>
          <a:xfrm>
            <a:off x="4407352" y="1979154"/>
            <a:ext cx="3336775" cy="1396409"/>
          </a:xfrm>
          <a:custGeom>
            <a:avLst/>
            <a:gdLst>
              <a:gd name="connsiteX0" fmla="*/ 78612 w 2557805"/>
              <a:gd name="connsiteY0" fmla="*/ 0 h 1247805"/>
              <a:gd name="connsiteX1" fmla="*/ 2479193 w 2557805"/>
              <a:gd name="connsiteY1" fmla="*/ 0 h 1247805"/>
              <a:gd name="connsiteX2" fmla="*/ 2557805 w 2557805"/>
              <a:gd name="connsiteY2" fmla="*/ 78612 h 1247805"/>
              <a:gd name="connsiteX3" fmla="*/ 2557805 w 2557805"/>
              <a:gd name="connsiteY3" fmla="*/ 1169193 h 1247805"/>
              <a:gd name="connsiteX4" fmla="*/ 2479193 w 2557805"/>
              <a:gd name="connsiteY4" fmla="*/ 1247805 h 1247805"/>
              <a:gd name="connsiteX5" fmla="*/ 78612 w 2557805"/>
              <a:gd name="connsiteY5" fmla="*/ 1247805 h 1247805"/>
              <a:gd name="connsiteX6" fmla="*/ 0 w 2557805"/>
              <a:gd name="connsiteY6" fmla="*/ 1169193 h 1247805"/>
              <a:gd name="connsiteX7" fmla="*/ 0 w 2557805"/>
              <a:gd name="connsiteY7" fmla="*/ 78612 h 1247805"/>
              <a:gd name="connsiteX8" fmla="*/ 78612 w 2557805"/>
              <a:gd name="connsiteY8" fmla="*/ 0 h 124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7805" h="1247805">
                <a:moveTo>
                  <a:pt x="78612" y="0"/>
                </a:moveTo>
                <a:lnTo>
                  <a:pt x="2479193" y="0"/>
                </a:lnTo>
                <a:cubicBezTo>
                  <a:pt x="2522609" y="0"/>
                  <a:pt x="2557805" y="35196"/>
                  <a:pt x="2557805" y="78612"/>
                </a:cubicBezTo>
                <a:lnTo>
                  <a:pt x="2557805" y="1169193"/>
                </a:lnTo>
                <a:cubicBezTo>
                  <a:pt x="2557805" y="1212609"/>
                  <a:pt x="2522609" y="1247805"/>
                  <a:pt x="2479193" y="1247805"/>
                </a:cubicBezTo>
                <a:lnTo>
                  <a:pt x="78612" y="1247805"/>
                </a:lnTo>
                <a:cubicBezTo>
                  <a:pt x="35196" y="1247805"/>
                  <a:pt x="0" y="1212609"/>
                  <a:pt x="0" y="1169193"/>
                </a:cubicBezTo>
                <a:lnTo>
                  <a:pt x="0" y="78612"/>
                </a:lnTo>
                <a:cubicBezTo>
                  <a:pt x="0" y="35196"/>
                  <a:pt x="35196" y="0"/>
                  <a:pt x="78612" y="0"/>
                </a:cubicBezTo>
                <a:close/>
              </a:path>
            </a:pathLst>
          </a:custGeom>
          <a:solidFill>
            <a:srgbClr val="F3F3F0"/>
          </a:solidFill>
          <a:ln>
            <a:noFill/>
            <a:headEnd type="none" w="med" len="med"/>
            <a:tailEnd type="none" w="med" len="med"/>
          </a:ln>
          <a:effectLst/>
        </p:spPr>
      </p:pic>
      <p:sp>
        <p:nvSpPr>
          <p:cNvPr id="117" name="TextBox 116">
            <a:extLst>
              <a:ext uri="{FF2B5EF4-FFF2-40B4-BE49-F238E27FC236}">
                <a16:creationId xmlns:a16="http://schemas.microsoft.com/office/drawing/2014/main" id="{C0A26897-DE5A-23D2-D9D3-593CBB0D9711}"/>
              </a:ext>
            </a:extLst>
          </p:cNvPr>
          <p:cNvSpPr txBox="1">
            <a:spLocks/>
          </p:cNvSpPr>
          <p:nvPr/>
        </p:nvSpPr>
        <p:spPr>
          <a:xfrm>
            <a:off x="4447874" y="3489761"/>
            <a:ext cx="3296254"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rPr>
              <a:t>Data Loss Prevention policies*</a:t>
            </a:r>
          </a:p>
        </p:txBody>
      </p:sp>
      <p:sp>
        <p:nvSpPr>
          <p:cNvPr id="125" name="TextBox 124">
            <a:extLst>
              <a:ext uri="{FF2B5EF4-FFF2-40B4-BE49-F238E27FC236}">
                <a16:creationId xmlns:a16="http://schemas.microsoft.com/office/drawing/2014/main" id="{05E4E02E-A5F1-E634-0F69-5E945C0F6E59}"/>
              </a:ext>
            </a:extLst>
          </p:cNvPr>
          <p:cNvSpPr txBox="1">
            <a:spLocks/>
          </p:cNvSpPr>
          <p:nvPr/>
        </p:nvSpPr>
        <p:spPr>
          <a:xfrm>
            <a:off x="4447874" y="3900218"/>
            <a:ext cx="3296254" cy="1519628"/>
          </a:xfrm>
          <a:prstGeom prst="roundRect">
            <a:avLst>
              <a:gd name="adj" fmla="val 6200"/>
            </a:avLst>
          </a:prstGeom>
          <a:solidFill>
            <a:srgbClr val="F4F2F7"/>
          </a:solidFill>
        </p:spPr>
        <p:txBody>
          <a:bodyPr wrap="square" lIns="91440" tIns="45720" rIns="91440" bIns="45720" anchor="t">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8661C5">
                    <a:lumMod val="75000"/>
                  </a:srgbClr>
                </a:solidFill>
                <a:effectLst/>
                <a:uLnTx/>
                <a:uFillTx/>
                <a:latin typeface="Segoe Sans Text Semilight"/>
                <a:ea typeface="+mn-ea"/>
                <a:cs typeface="+mn-cs"/>
              </a:rPr>
              <a:t>Automatically detect </a:t>
            </a:r>
            <a:r>
              <a:rPr kumimoji="0" lang="en-US" sz="1200" b="0" i="0" u="none" strike="noStrike" kern="0" cap="none" spc="0" normalizeH="0" baseline="0" noProof="0">
                <a:ln>
                  <a:noFill/>
                </a:ln>
                <a:solidFill>
                  <a:srgbClr val="000000"/>
                </a:solidFill>
                <a:effectLst/>
                <a:uLnTx/>
                <a:uFillTx/>
                <a:latin typeface="Segoe Sans Text Semilight"/>
                <a:ea typeface="+mn-ea"/>
                <a:cs typeface="+mn-cs"/>
              </a:rPr>
              <a:t>the upload of sensitive data such as PII and trigger automatic risk remediation actions such as alerts</a:t>
            </a:r>
          </a:p>
        </p:txBody>
      </p:sp>
      <p:pic>
        <p:nvPicPr>
          <p:cNvPr id="135" name="Picture 134">
            <a:extLst>
              <a:ext uri="{FF2B5EF4-FFF2-40B4-BE49-F238E27FC236}">
                <a16:creationId xmlns:a16="http://schemas.microsoft.com/office/drawing/2014/main" id="{EC93E165-E936-7B86-73DC-58EB5396DD8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51558" y="4946245"/>
            <a:ext cx="400348" cy="400348"/>
          </a:xfrm>
          <a:prstGeom prst="rect">
            <a:avLst/>
          </a:prstGeom>
        </p:spPr>
      </p:pic>
      <p:sp>
        <p:nvSpPr>
          <p:cNvPr id="147" name="TextBox 146">
            <a:extLst>
              <a:ext uri="{FF2B5EF4-FFF2-40B4-BE49-F238E27FC236}">
                <a16:creationId xmlns:a16="http://schemas.microsoft.com/office/drawing/2014/main" id="{4709E6E4-5550-9DAA-6352-B098461B9E0E}"/>
              </a:ext>
            </a:extLst>
          </p:cNvPr>
          <p:cNvSpPr txBox="1">
            <a:spLocks/>
          </p:cNvSpPr>
          <p:nvPr/>
        </p:nvSpPr>
        <p:spPr>
          <a:xfrm>
            <a:off x="8175399" y="3501379"/>
            <a:ext cx="3296254" cy="294287"/>
          </a:xfrm>
          <a:prstGeom prst="roundRect">
            <a:avLst>
              <a:gd name="adj" fmla="val 24100"/>
            </a:avLst>
          </a:prstGeom>
          <a:solidFill>
            <a:schemeClr val="bg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25B61"/>
                </a:solidFill>
                <a:effectLst/>
                <a:uLnTx/>
                <a:uFillTx/>
                <a:latin typeface="Segoe Sans Display Semibold" pitchFamily="2" charset="0"/>
                <a:ea typeface="+mn-ea"/>
                <a:cs typeface="Segoe Sans Display Semibold" pitchFamily="2" charset="0"/>
              </a:rPr>
              <a:t>Metadata &amp; Lineage</a:t>
            </a:r>
          </a:p>
        </p:txBody>
      </p:sp>
      <p:sp>
        <p:nvSpPr>
          <p:cNvPr id="151" name="TextBox 150">
            <a:extLst>
              <a:ext uri="{FF2B5EF4-FFF2-40B4-BE49-F238E27FC236}">
                <a16:creationId xmlns:a16="http://schemas.microsoft.com/office/drawing/2014/main" id="{715A3B82-DBE1-B3CC-8ABA-CDA04CD33D7B}"/>
              </a:ext>
            </a:extLst>
          </p:cNvPr>
          <p:cNvSpPr txBox="1">
            <a:spLocks/>
          </p:cNvSpPr>
          <p:nvPr/>
        </p:nvSpPr>
        <p:spPr>
          <a:xfrm>
            <a:off x="8175399" y="3900218"/>
            <a:ext cx="3296254" cy="1519628"/>
          </a:xfrm>
          <a:prstGeom prst="roundRect">
            <a:avLst>
              <a:gd name="adj" fmla="val 6200"/>
            </a:avLst>
          </a:prstGeom>
          <a:solidFill>
            <a:srgbClr val="F4F2F7"/>
          </a:solidFill>
        </p:spPr>
        <p:txBody>
          <a:bodyPr wrap="square" lIns="91440" tIns="45720" rIns="91440" bIns="45720">
            <a:noAutofit/>
          </a:bodyPr>
          <a:lstStyle/>
          <a:p>
            <a:pPr lvl="0" algn="ctr" defTabSz="914400">
              <a:defRPr/>
            </a:pPr>
            <a:r>
              <a:rPr lang="en-US" sz="1200" kern="0">
                <a:solidFill>
                  <a:srgbClr val="000000"/>
                </a:solidFill>
                <a:latin typeface="Segoe Sans Text Semilight"/>
              </a:rPr>
              <a:t>See lineage view of analytical projects to </a:t>
            </a:r>
            <a:r>
              <a:rPr lang="en-US" sz="1200" kern="0">
                <a:solidFill>
                  <a:srgbClr val="8661C5">
                    <a:lumMod val="75000"/>
                  </a:srgbClr>
                </a:solidFill>
                <a:latin typeface="Segoe Sans Text Semilight"/>
              </a:rPr>
              <a:t>see how data flows </a:t>
            </a:r>
            <a:r>
              <a:rPr lang="en-US" sz="1200" kern="0">
                <a:solidFill>
                  <a:srgbClr val="000000"/>
                </a:solidFill>
                <a:latin typeface="Segoe Sans Text Semilight"/>
              </a:rPr>
              <a:t>through items and perform impact analysis to </a:t>
            </a:r>
            <a:r>
              <a:rPr lang="en-US" sz="1200" kern="0">
                <a:solidFill>
                  <a:srgbClr val="8661C5">
                    <a:lumMod val="75000"/>
                  </a:srgbClr>
                </a:solidFill>
                <a:latin typeface="Segoe Sans Text Semilight"/>
              </a:rPr>
              <a:t>assess impact of changes</a:t>
            </a:r>
            <a:r>
              <a:rPr lang="en-US" sz="1200" kern="0">
                <a:solidFill>
                  <a:srgbClr val="000000"/>
                </a:solidFill>
                <a:latin typeface="Segoe Sans Text Semilight"/>
              </a:rPr>
              <a:t>.</a:t>
            </a:r>
          </a:p>
          <a:p>
            <a:pPr lvl="0" algn="ctr" defTabSz="914400">
              <a:defRPr/>
            </a:pPr>
            <a:r>
              <a:rPr lang="en-US" sz="1200" kern="0">
                <a:solidFill>
                  <a:srgbClr val="000000"/>
                </a:solidFill>
                <a:latin typeface="Segoe Sans Text Semilight"/>
              </a:rPr>
              <a:t>Can be extended with Purview Data Map and Scanner API’s</a:t>
            </a:r>
            <a:endParaRPr lang="en-US" sz="1200" kern="0">
              <a:solidFill>
                <a:srgbClr val="8661C5">
                  <a:lumMod val="75000"/>
                </a:srgbClr>
              </a:solidFill>
              <a:latin typeface="Segoe Sans Text Semilight"/>
            </a:endParaRPr>
          </a:p>
        </p:txBody>
      </p:sp>
      <p:pic>
        <p:nvPicPr>
          <p:cNvPr id="155" name="Picture 154">
            <a:extLst>
              <a:ext uri="{FF2B5EF4-FFF2-40B4-BE49-F238E27FC236}">
                <a16:creationId xmlns:a16="http://schemas.microsoft.com/office/drawing/2014/main" id="{5B68097B-0ACB-89D2-95A1-6E2661A7990E}"/>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92764" y="4997937"/>
            <a:ext cx="348656" cy="348656"/>
          </a:xfrm>
          <a:prstGeom prst="rect">
            <a:avLst/>
          </a:prstGeom>
        </p:spPr>
      </p:pic>
      <p:sp>
        <p:nvSpPr>
          <p:cNvPr id="159" name="Rectangle 158">
            <a:extLst>
              <a:ext uri="{FF2B5EF4-FFF2-40B4-BE49-F238E27FC236}">
                <a16:creationId xmlns:a16="http://schemas.microsoft.com/office/drawing/2014/main" id="{CDC6FAE9-7D1F-AF43-0394-61E1B64E9C2E}"/>
              </a:ext>
            </a:extLst>
          </p:cNvPr>
          <p:cNvSpPr/>
          <p:nvPr/>
        </p:nvSpPr>
        <p:spPr bwMode="auto">
          <a:xfrm>
            <a:off x="719648" y="6023700"/>
            <a:ext cx="3238873" cy="1846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1200"/>
              </a:spcBef>
              <a:spcAft>
                <a:spcPts val="0"/>
              </a:spcAft>
              <a:buClr>
                <a:srgbClr val="000000"/>
              </a:buClr>
              <a:buSzPct val="100000"/>
              <a:buFontTx/>
              <a:buNone/>
              <a:tabLst/>
              <a:defRPr/>
            </a:pPr>
            <a:r>
              <a:rPr kumimoji="0" lang="en-US" sz="1200" b="0" i="1" u="none" strike="noStrike" kern="1200" cap="none" spc="0" normalizeH="0" baseline="30000" noProof="0">
                <a:ln>
                  <a:noFill/>
                </a:ln>
                <a:solidFill>
                  <a:srgbClr val="000000"/>
                </a:solidFill>
                <a:effectLst/>
                <a:uLnTx/>
                <a:uFillTx/>
                <a:latin typeface="Segoe Sans Text Semilight"/>
                <a:ea typeface="+mn-ea"/>
                <a:cs typeface="+mn-cs"/>
              </a:rPr>
              <a:t>*</a:t>
            </a:r>
            <a:r>
              <a:rPr kumimoji="0" lang="en-US" sz="1200" b="0" i="1" u="none" strike="noStrike" kern="1200" cap="none" spc="0" normalizeH="0" baseline="0" noProof="0">
                <a:ln>
                  <a:noFill/>
                </a:ln>
                <a:solidFill>
                  <a:srgbClr val="000000"/>
                </a:solidFill>
                <a:effectLst/>
                <a:uLnTx/>
                <a:uFillTx/>
                <a:latin typeface="Segoe Sans Text Semilight"/>
                <a:ea typeface="+mn-ea"/>
                <a:cs typeface="+mn-cs"/>
              </a:rPr>
              <a:t>Additional Microsoft Purview purchase required</a:t>
            </a:r>
          </a:p>
        </p:txBody>
      </p:sp>
      <p:pic>
        <p:nvPicPr>
          <p:cNvPr id="160" name="Picture 159">
            <a:extLst>
              <a:ext uri="{FF2B5EF4-FFF2-40B4-BE49-F238E27FC236}">
                <a16:creationId xmlns:a16="http://schemas.microsoft.com/office/drawing/2014/main" id="{907AC916-72D2-8998-C614-103602E81F39}"/>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58593" y="5967684"/>
            <a:ext cx="296697" cy="296697"/>
          </a:xfrm>
          <a:prstGeom prst="rect">
            <a:avLst/>
          </a:prstGeom>
        </p:spPr>
      </p:pic>
      <p:pic>
        <p:nvPicPr>
          <p:cNvPr id="5" name="Picture 4" descr="A screen capture of Power BI My_Fabric and what/who is Impacted by Lakehouse and under the child items showing nine impacted child items, three workspaces and below it is to browse by items.">
            <a:extLst>
              <a:ext uri="{FF2B5EF4-FFF2-40B4-BE49-F238E27FC236}">
                <a16:creationId xmlns:a16="http://schemas.microsoft.com/office/drawing/2014/main" id="{5358B40E-3790-23C9-8F8F-18FF155AE57D}"/>
              </a:ext>
              <a:ext uri="{C183D7F6-B498-43B3-948B-1728B52AA6E4}">
                <adec:decorative xmlns:adec="http://schemas.microsoft.com/office/drawing/2017/decorative" val="0"/>
              </a:ext>
            </a:extLst>
          </p:cNvPr>
          <p:cNvPicPr>
            <a:picLocks/>
          </p:cNvPicPr>
          <p:nvPr/>
        </p:nvPicPr>
        <p:blipFill>
          <a:blip r:embed="rId8" cstate="screen">
            <a:extLst>
              <a:ext uri="{28A0092B-C50C-407E-A947-70E740481C1C}">
                <a14:useLocalDpi xmlns:a14="http://schemas.microsoft.com/office/drawing/2010/main"/>
              </a:ext>
            </a:extLst>
          </a:blip>
          <a:srcRect/>
          <a:stretch/>
        </p:blipFill>
        <p:spPr>
          <a:xfrm>
            <a:off x="8698214" y="1998390"/>
            <a:ext cx="2250622" cy="1511520"/>
          </a:xfrm>
          <a:prstGeom prst="rect">
            <a:avLst/>
          </a:prstGeom>
        </p:spPr>
      </p:pic>
      <p:pic>
        <p:nvPicPr>
          <p:cNvPr id="6" name="Picture 5" descr="Microsoft Fabric logo">
            <a:extLst>
              <a:ext uri="{FF2B5EF4-FFF2-40B4-BE49-F238E27FC236}">
                <a16:creationId xmlns:a16="http://schemas.microsoft.com/office/drawing/2014/main" id="{1D668615-CA86-425E-EE50-DA5FB7AC39FB}"/>
              </a:ext>
              <a:ext uri="{C183D7F6-B498-43B3-948B-1728B52AA6E4}">
                <adec:decorative xmlns:adec="http://schemas.microsoft.com/office/drawing/2017/decorative" val="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224002" y="5019415"/>
            <a:ext cx="314913" cy="314910"/>
          </a:xfrm>
          <a:prstGeom prst="rect">
            <a:avLst/>
          </a:prstGeom>
        </p:spPr>
      </p:pic>
      <p:sp>
        <p:nvSpPr>
          <p:cNvPr id="8" name="Oval 7">
            <a:extLst>
              <a:ext uri="{FF2B5EF4-FFF2-40B4-BE49-F238E27FC236}">
                <a16:creationId xmlns:a16="http://schemas.microsoft.com/office/drawing/2014/main" id="{8DC58956-3E8F-A284-F9AF-EE94D1939D00}"/>
              </a:ext>
              <a:ext uri="{C183D7F6-B498-43B3-948B-1728B52AA6E4}">
                <adec:decorative xmlns:adec="http://schemas.microsoft.com/office/drawing/2017/decorative" val="1"/>
              </a:ext>
            </a:extLst>
          </p:cNvPr>
          <p:cNvSpPr/>
          <p:nvPr/>
        </p:nvSpPr>
        <p:spPr>
          <a:xfrm flipH="1">
            <a:off x="10359159" y="4982851"/>
            <a:ext cx="378828" cy="378828"/>
          </a:xfrm>
          <a:prstGeom prst="ellipse">
            <a:avLst/>
          </a:prstGeom>
          <a:solidFill>
            <a:srgbClr val="FFFFFF"/>
          </a:solidFill>
          <a:ln>
            <a:noFill/>
            <a:headEnd type="none" w="med" len="med"/>
            <a:tailEnd type="none" w="med" len="med"/>
          </a:ln>
          <a:effectLst>
            <a:outerShdw blurRad="235619" dist="38100" dir="2700000" algn="tl" rotWithShape="0">
              <a:prstClr val="black">
                <a:alpha val="1983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371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IN" sz="2000" b="0" i="0" u="none" strike="noStrike" kern="1200" cap="none" spc="0" normalizeH="0" baseline="0" noProof="0">
                <a:ln>
                  <a:noFill/>
                </a:ln>
                <a:solidFill>
                  <a:srgbClr val="225B61"/>
                </a:solidFill>
                <a:effectLst/>
                <a:uLnTx/>
                <a:uFillTx/>
                <a:latin typeface="Segoe Sans Text Semilight"/>
                <a:ea typeface="+mn-ea"/>
                <a:cs typeface="Segoe UI" pitchFamily="34" charset="0"/>
              </a:rPr>
              <a:t>…</a:t>
            </a:r>
          </a:p>
        </p:txBody>
      </p:sp>
    </p:spTree>
    <p:extLst>
      <p:ext uri="{BB962C8B-B14F-4D97-AF65-F5344CB8AC3E}">
        <p14:creationId xmlns:p14="http://schemas.microsoft.com/office/powerpoint/2010/main" val="40629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par>
                                <p:cTn id="8" presetID="42" presetClass="path" presetSubtype="0" decel="50000" fill="hold" grpId="1" nodeType="withEffect">
                                  <p:stCondLst>
                                    <p:cond delay="200"/>
                                  </p:stCondLst>
                                  <p:childTnLst>
                                    <p:animMotion origin="layout" path="M -6.25E-7 -0.03356 L -6.25E-7 -4.44444E-6 " pathEditMode="relative" rAng="0" ptsTypes="AA">
                                      <p:cBhvr>
                                        <p:cTn id="9" dur="500" fill="hold"/>
                                        <p:tgtEl>
                                          <p:spTgt spid="83"/>
                                        </p:tgtEl>
                                        <p:attrNameLst>
                                          <p:attrName>ppt_x</p:attrName>
                                          <p:attrName>ppt_y</p:attrName>
                                        </p:attrNameLst>
                                      </p:cBhvr>
                                      <p:rCtr x="0" y="1667"/>
                                    </p:animMotion>
                                  </p:childTnLst>
                                </p:cTn>
                              </p:par>
                              <p:par>
                                <p:cTn id="10" presetID="10" presetClass="entr" presetSubtype="0" fill="hold" grpId="0" nodeType="withEffect">
                                  <p:stCondLst>
                                    <p:cond delay="200"/>
                                  </p:stCondLst>
                                  <p:childTnLst>
                                    <p:set>
                                      <p:cBhvr>
                                        <p:cTn id="11" dur="1" fill="hold">
                                          <p:stCondLst>
                                            <p:cond delay="0"/>
                                          </p:stCondLst>
                                        </p:cTn>
                                        <p:tgtEl>
                                          <p:spTgt spid="125"/>
                                        </p:tgtEl>
                                        <p:attrNameLst>
                                          <p:attrName>style.visibility</p:attrName>
                                        </p:attrNameLst>
                                      </p:cBhvr>
                                      <p:to>
                                        <p:strVal val="visible"/>
                                      </p:to>
                                    </p:set>
                                    <p:animEffect transition="in" filter="fade">
                                      <p:cBhvr>
                                        <p:cTn id="12" dur="500"/>
                                        <p:tgtEl>
                                          <p:spTgt spid="125"/>
                                        </p:tgtEl>
                                      </p:cBhvr>
                                    </p:animEffect>
                                  </p:childTnLst>
                                </p:cTn>
                              </p:par>
                              <p:par>
                                <p:cTn id="13" presetID="42" presetClass="path" presetSubtype="0" decel="50000" fill="hold" grpId="1" nodeType="withEffect">
                                  <p:stCondLst>
                                    <p:cond delay="200"/>
                                  </p:stCondLst>
                                  <p:childTnLst>
                                    <p:animMotion origin="layout" path="M -3.125E-6 -0.03356 L -3.125E-6 -3.7037E-6 " pathEditMode="relative" rAng="0" ptsTypes="AA">
                                      <p:cBhvr>
                                        <p:cTn id="14" dur="500" fill="hold"/>
                                        <p:tgtEl>
                                          <p:spTgt spid="125"/>
                                        </p:tgtEl>
                                        <p:attrNameLst>
                                          <p:attrName>ppt_x</p:attrName>
                                          <p:attrName>ppt_y</p:attrName>
                                        </p:attrNameLst>
                                      </p:cBhvr>
                                      <p:rCtr x="0" y="1667"/>
                                    </p:animMotion>
                                  </p:childTnLst>
                                </p:cTn>
                              </p:par>
                              <p:par>
                                <p:cTn id="15" presetID="10" presetClass="entr" presetSubtype="0" fill="hold" grpId="0" nodeType="withEffect">
                                  <p:stCondLst>
                                    <p:cond delay="200"/>
                                  </p:stCondLst>
                                  <p:childTnLst>
                                    <p:set>
                                      <p:cBhvr>
                                        <p:cTn id="16" dur="1" fill="hold">
                                          <p:stCondLst>
                                            <p:cond delay="0"/>
                                          </p:stCondLst>
                                        </p:cTn>
                                        <p:tgtEl>
                                          <p:spTgt spid="151"/>
                                        </p:tgtEl>
                                        <p:attrNameLst>
                                          <p:attrName>style.visibility</p:attrName>
                                        </p:attrNameLst>
                                      </p:cBhvr>
                                      <p:to>
                                        <p:strVal val="visible"/>
                                      </p:to>
                                    </p:set>
                                    <p:animEffect transition="in" filter="fade">
                                      <p:cBhvr>
                                        <p:cTn id="17" dur="500"/>
                                        <p:tgtEl>
                                          <p:spTgt spid="151"/>
                                        </p:tgtEl>
                                      </p:cBhvr>
                                    </p:animEffect>
                                  </p:childTnLst>
                                </p:cTn>
                              </p:par>
                              <p:par>
                                <p:cTn id="18" presetID="42" presetClass="path" presetSubtype="0" decel="50000" fill="hold" grpId="1" nodeType="withEffect">
                                  <p:stCondLst>
                                    <p:cond delay="200"/>
                                  </p:stCondLst>
                                  <p:childTnLst>
                                    <p:animMotion origin="layout" path="M 4.58333E-6 -0.03356 L 4.58333E-6 -4.44444E-6 " pathEditMode="relative" rAng="0" ptsTypes="AA">
                                      <p:cBhvr>
                                        <p:cTn id="19" dur="500" fill="hold"/>
                                        <p:tgtEl>
                                          <p:spTgt spid="151"/>
                                        </p:tgtEl>
                                        <p:attrNameLst>
                                          <p:attrName>ppt_x</p:attrName>
                                          <p:attrName>ppt_y</p:attrName>
                                        </p:attrNameLst>
                                      </p:cBhvr>
                                      <p:rCtr x="0" y="1667"/>
                                    </p:animMotion>
                                  </p:childTnLst>
                                </p:cTn>
                              </p:par>
                              <p:par>
                                <p:cTn id="20" presetID="10" presetClass="entr" presetSubtype="0" fill="hold" grpId="0" nodeType="with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fade">
                                      <p:cBhvr>
                                        <p:cTn id="22"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83" grpId="1" animBg="1"/>
      <p:bldP spid="125" grpId="0" animBg="1"/>
      <p:bldP spid="125" grpId="1" animBg="1"/>
      <p:bldP spid="151" grpId="0" animBg="1"/>
      <p:bldP spid="151" grpId="1" animBg="1"/>
      <p:bldP spid="159"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A34F6-89F5-1849-85E6-67DA48D75CCF}"/>
              </a:ext>
            </a:extLst>
          </p:cNvPr>
          <p:cNvSpPr>
            <a:spLocks noGrp="1"/>
          </p:cNvSpPr>
          <p:nvPr>
            <p:ph type="title"/>
          </p:nvPr>
        </p:nvSpPr>
        <p:spPr>
          <a:xfrm>
            <a:off x="486170" y="4933736"/>
            <a:ext cx="3252990" cy="527045"/>
          </a:xfrm>
        </p:spPr>
        <p:txBody>
          <a:bodyPr/>
          <a:lstStyle/>
          <a:p>
            <a:r>
              <a:rPr lang="en-US"/>
              <a:t>Thank you</a:t>
            </a:r>
          </a:p>
        </p:txBody>
      </p:sp>
      <p:sp>
        <p:nvSpPr>
          <p:cNvPr id="3" name="Picture Placeholder 2">
            <a:extLst>
              <a:ext uri="{FF2B5EF4-FFF2-40B4-BE49-F238E27FC236}">
                <a16:creationId xmlns:a16="http://schemas.microsoft.com/office/drawing/2014/main" id="{CE3DB45A-DD38-CCFF-F064-3CA1AB976C53}"/>
              </a:ext>
            </a:extLst>
          </p:cNvPr>
          <p:cNvSpPr>
            <a:spLocks noGrp="1"/>
          </p:cNvSpPr>
          <p:nvPr>
            <p:ph type="pic" sz="quarter" idx="10"/>
          </p:nvPr>
        </p:nvSpPr>
        <p:spPr/>
        <p:txBody>
          <a:bodyPr/>
          <a:lstStyle/>
          <a:p>
            <a:endParaRPr lang="en-NL"/>
          </a:p>
        </p:txBody>
      </p:sp>
    </p:spTree>
    <p:extLst>
      <p:ext uri="{BB962C8B-B14F-4D97-AF65-F5344CB8AC3E}">
        <p14:creationId xmlns:p14="http://schemas.microsoft.com/office/powerpoint/2010/main" val="2462051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rgbClr val="FFFDF8"/>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D9CD87A-51C0-AB41-A403-4A306AFF8B4C}"/>
              </a:ext>
            </a:extLst>
          </p:cNvPr>
          <p:cNvSpPr txBox="1"/>
          <p:nvPr/>
        </p:nvSpPr>
        <p:spPr>
          <a:xfrm>
            <a:off x="1261449" y="3090494"/>
            <a:ext cx="9669102" cy="677108"/>
          </a:xfrm>
          <a:prstGeom prst="rect">
            <a:avLst/>
          </a:prstGeom>
          <a:noFill/>
        </p:spPr>
        <p:txBody>
          <a:bodyPr wrap="square" lIns="0" tIns="0" rIns="0" bIns="0" rtlCol="0">
            <a:spAutoFit/>
          </a:bodyPr>
          <a:lstStyle/>
          <a:p>
            <a:pPr algn="ctr" defTabSz="914225">
              <a:defRPr/>
            </a:pPr>
            <a:r>
              <a:rPr lang="en-US" sz="4200" b="1">
                <a:latin typeface="Segoe UI Semibold" panose="020B0502040204020203" pitchFamily="34" charset="0"/>
                <a:ea typeface="+mj-ea"/>
                <a:cs typeface="Segoe UI Semibold" panose="020B0502040204020203" pitchFamily="34" charset="0"/>
              </a:rPr>
              <a:t>A world awash with </a:t>
            </a:r>
            <a:r>
              <a:rPr lang="en-US" sz="4400" spc="-49">
                <a:ln w="3175">
                  <a:noFill/>
                </a:ln>
                <a:solidFill>
                  <a:schemeClr val="accent2"/>
                </a:solidFill>
                <a:latin typeface="Segoe UI Semibold"/>
                <a:cs typeface="Segoe UI" pitchFamily="34" charset="0"/>
              </a:rPr>
              <a:t>data…</a:t>
            </a:r>
          </a:p>
        </p:txBody>
      </p:sp>
    </p:spTree>
    <p:extLst>
      <p:ext uri="{BB962C8B-B14F-4D97-AF65-F5344CB8AC3E}">
        <p14:creationId xmlns:p14="http://schemas.microsoft.com/office/powerpoint/2010/main" val="1146345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grpId="0" nodeType="withEffect">
                                  <p:stCondLst>
                                    <p:cond delay="2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50000" fill="hold" grpId="1" nodeType="withEffect">
                                  <p:stCondLst>
                                    <p:cond delay="200"/>
                                  </p:stCondLst>
                                  <p:childTnLst>
                                    <p:animMotion origin="layout" path="M 0 0 L 0 -0.04491 " pathEditMode="relative" rAng="0" ptsTypes="AA">
                                      <p:cBhvr>
                                        <p:cTn id="9" dur="500" spd="-100000" fill="hold"/>
                                        <p:tgtEl>
                                          <p:spTgt spid="8"/>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FFFDF8"/>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D9CD87A-51C0-AB41-A403-4A306AFF8B4C}"/>
              </a:ext>
            </a:extLst>
          </p:cNvPr>
          <p:cNvSpPr txBox="1"/>
          <p:nvPr/>
        </p:nvSpPr>
        <p:spPr>
          <a:xfrm>
            <a:off x="1261449" y="2751987"/>
            <a:ext cx="9669102" cy="1354217"/>
          </a:xfrm>
          <a:prstGeom prst="rect">
            <a:avLst/>
          </a:prstGeom>
          <a:noFill/>
        </p:spPr>
        <p:txBody>
          <a:bodyPr wrap="square" lIns="0" tIns="0" rIns="0" bIns="0" rtlCol="0">
            <a:spAutoFit/>
          </a:bodyPr>
          <a:lstStyle/>
          <a:p>
            <a:pPr algn="ctr" defTabSz="914225">
              <a:defRPr/>
            </a:pPr>
            <a:r>
              <a:rPr lang="en-US" sz="4200" b="1">
                <a:latin typeface="Segoe UI Semibold" panose="020B0502040204020203" pitchFamily="34" charset="0"/>
                <a:ea typeface="+mj-ea"/>
                <a:cs typeface="Segoe UI Semibold" panose="020B0502040204020203" pitchFamily="34" charset="0"/>
              </a:rPr>
              <a:t>How do you translate data into</a:t>
            </a:r>
          </a:p>
          <a:p>
            <a:pPr algn="ctr" defTabSz="914225">
              <a:defRPr/>
            </a:pPr>
            <a:r>
              <a:rPr lang="en-US" sz="4400" spc="-49">
                <a:ln w="3175">
                  <a:noFill/>
                </a:ln>
                <a:gradFill flip="none" rotWithShape="1">
                  <a:gsLst>
                    <a:gs pos="0">
                      <a:srgbClr val="0078D4"/>
                    </a:gs>
                    <a:gs pos="100000">
                      <a:srgbClr val="243A5E"/>
                    </a:gs>
                  </a:gsLst>
                  <a:lin ang="18900000" scaled="1"/>
                  <a:tileRect/>
                </a:gradFill>
                <a:latin typeface="Segoe UI Semibold"/>
                <a:cs typeface="Segoe UI" pitchFamily="34" charset="0"/>
              </a:rPr>
              <a:t>competitive advantage?</a:t>
            </a:r>
          </a:p>
        </p:txBody>
      </p:sp>
    </p:spTree>
    <p:extLst>
      <p:ext uri="{BB962C8B-B14F-4D97-AF65-F5344CB8AC3E}">
        <p14:creationId xmlns:p14="http://schemas.microsoft.com/office/powerpoint/2010/main" val="4185645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grpId="0" nodeType="withEffect">
                                  <p:stCondLst>
                                    <p:cond delay="2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50000" fill="hold" grpId="1" nodeType="withEffect">
                                  <p:stCondLst>
                                    <p:cond delay="200"/>
                                  </p:stCondLst>
                                  <p:childTnLst>
                                    <p:animMotion origin="layout" path="M 0 0 L 0 -0.04491 " pathEditMode="relative" rAng="0" ptsTypes="AA">
                                      <p:cBhvr>
                                        <p:cTn id="9" dur="500" spd="-100000" fill="hold"/>
                                        <p:tgtEl>
                                          <p:spTgt spid="8"/>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419BD3-AF85-E6E7-1661-DF84D201796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65" y="661297"/>
            <a:ext cx="12190271" cy="6105696"/>
          </a:xfrm>
          <a:prstGeom prst="rect">
            <a:avLst/>
          </a:prstGeom>
        </p:spPr>
      </p:pic>
      <p:sp>
        <p:nvSpPr>
          <p:cNvPr id="5" name="TextBox 4">
            <a:extLst>
              <a:ext uri="{FF2B5EF4-FFF2-40B4-BE49-F238E27FC236}">
                <a16:creationId xmlns:a16="http://schemas.microsoft.com/office/drawing/2014/main" id="{BC754739-57CB-74AA-8CCB-4A662816883C}"/>
              </a:ext>
            </a:extLst>
          </p:cNvPr>
          <p:cNvSpPr txBox="1"/>
          <p:nvPr/>
        </p:nvSpPr>
        <p:spPr>
          <a:xfrm>
            <a:off x="866" y="292040"/>
            <a:ext cx="12190271" cy="276999"/>
          </a:xfrm>
          <a:prstGeom prst="rect">
            <a:avLst/>
          </a:prstGeom>
          <a:solidFill>
            <a:srgbClr val="F2F2F2"/>
          </a:solidFill>
        </p:spPr>
        <p:txBody>
          <a:bodyPr wrap="square" lIns="0" tIns="0" rIns="0" bIns="0" rtlCol="0">
            <a:spAutoFit/>
          </a:bodyPr>
          <a:lstStyle/>
          <a:p>
            <a:pPr algn="ctr" defTabSz="914192">
              <a:defRPr/>
            </a:pPr>
            <a:r>
              <a:rPr lang="en-US" sz="1800" spc="-49">
                <a:ln w="3175">
                  <a:noFill/>
                </a:ln>
                <a:solidFill>
                  <a:srgbClr val="243A5E"/>
                </a:solidFill>
                <a:latin typeface="Segoe UI Semibold"/>
                <a:cs typeface="Segoe UI" pitchFamily="34" charset="0"/>
              </a:rPr>
              <a:t>The 2023 ML, AI, and Data Landscape</a:t>
            </a:r>
          </a:p>
        </p:txBody>
      </p:sp>
    </p:spTree>
    <p:extLst>
      <p:ext uri="{BB962C8B-B14F-4D97-AF65-F5344CB8AC3E}">
        <p14:creationId xmlns:p14="http://schemas.microsoft.com/office/powerpoint/2010/main" val="1520622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decel="50000" fill="hold" grpId="0" nodeType="withEffect">
                                  <p:stCondLst>
                                    <p:cond delay="2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50000" fill="hold" grpId="1" nodeType="withEffect">
                                  <p:stCondLst>
                                    <p:cond delay="200"/>
                                  </p:stCondLst>
                                  <p:childTnLst>
                                    <p:animMotion origin="layout" path="M 2.08333E-7 -2.96296E-6 L 2.08333E-7 -0.0449 " pathEditMode="relative" rAng="0" ptsTypes="AA">
                                      <p:cBhvr>
                                        <p:cTn id="9" dur="500" spd="-100000" fill="hold"/>
                                        <p:tgtEl>
                                          <p:spTgt spid="5"/>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C28BFB7F-B28E-8F07-2F7D-170730E6DC26}"/>
              </a:ext>
            </a:extLst>
          </p:cNvPr>
          <p:cNvGrpSpPr/>
          <p:nvPr/>
        </p:nvGrpSpPr>
        <p:grpSpPr>
          <a:xfrm>
            <a:off x="2535159" y="1428504"/>
            <a:ext cx="7121684" cy="4000992"/>
            <a:chOff x="5069305" y="1734450"/>
            <a:chExt cx="7122695" cy="4001559"/>
          </a:xfrm>
          <a:solidFill>
            <a:srgbClr val="F2F2F2"/>
          </a:solidFill>
        </p:grpSpPr>
        <p:sp>
          <p:nvSpPr>
            <p:cNvPr id="27" name="Round Same Side Corner Rectangle 26">
              <a:extLst>
                <a:ext uri="{FF2B5EF4-FFF2-40B4-BE49-F238E27FC236}">
                  <a16:creationId xmlns:a16="http://schemas.microsoft.com/office/drawing/2014/main" id="{E05E7F40-6560-5A79-0996-9D16FED9708B}"/>
                </a:ext>
              </a:extLst>
            </p:cNvPr>
            <p:cNvSpPr/>
            <p:nvPr/>
          </p:nvSpPr>
          <p:spPr bwMode="auto">
            <a:xfrm rot="16200000">
              <a:off x="6629873" y="173882"/>
              <a:ext cx="4001559" cy="7122695"/>
            </a:xfrm>
            <a:prstGeom prst="round2SameRect">
              <a:avLst>
                <a:gd name="adj1" fmla="val 3406"/>
                <a:gd name="adj2"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5AD4E353-A3D5-CD54-CE07-11564DF9398D}"/>
                </a:ext>
              </a:extLst>
            </p:cNvPr>
            <p:cNvSpPr txBox="1"/>
            <p:nvPr/>
          </p:nvSpPr>
          <p:spPr>
            <a:xfrm>
              <a:off x="6170145" y="2442337"/>
              <a:ext cx="4656805" cy="2569421"/>
            </a:xfrm>
            <a:prstGeom prst="rect">
              <a:avLst/>
            </a:prstGeom>
            <a:grpFill/>
          </p:spPr>
          <p:txBody>
            <a:bodyPr wrap="square">
              <a:spAutoFit/>
            </a:bodyPr>
            <a:lstStyle/>
            <a:p>
              <a:pPr defTabSz="914225">
                <a:lnSpc>
                  <a:spcPct val="107000"/>
                </a:lnSpc>
                <a:spcAft>
                  <a:spcPts val="2200"/>
                </a:spcAft>
                <a:defRPr/>
              </a:pPr>
              <a:r>
                <a:rPr lang="en-US" sz="2800">
                  <a:solidFill>
                    <a:srgbClr val="0078D4"/>
                  </a:solidFill>
                  <a:latin typeface="Segoe UI Semibold"/>
                  <a:ea typeface="Calibri" panose="020F0502020204030204" pitchFamily="34" charset="0"/>
                  <a:cs typeface="Arial" panose="020B0604020202020204" pitchFamily="34" charset="0"/>
                </a:rPr>
                <a:t>Simplify</a:t>
              </a:r>
              <a:r>
                <a:rPr lang="en-US" sz="2800">
                  <a:solidFill>
                    <a:srgbClr val="0078D4"/>
                  </a:solidFill>
                  <a:latin typeface="Segoe UI" panose="020B0502040204020203" pitchFamily="34" charset="0"/>
                  <a:ea typeface="Calibri" panose="020F0502020204030204" pitchFamily="34" charset="0"/>
                  <a:cs typeface="Arial" panose="020B0604020202020204" pitchFamily="34" charset="0"/>
                </a:rPr>
                <a:t>, </a:t>
              </a:r>
              <a:br>
                <a:rPr lang="en-US" sz="2800">
                  <a:solidFill>
                    <a:srgbClr val="000000"/>
                  </a:solidFill>
                  <a:latin typeface="Segoe UI" panose="020B0502040204020203" pitchFamily="34" charset="0"/>
                  <a:ea typeface="Calibri" panose="020F0502020204030204" pitchFamily="34" charset="0"/>
                  <a:cs typeface="Arial" panose="020B0604020202020204" pitchFamily="34" charset="0"/>
                </a:rPr>
              </a:br>
              <a:r>
                <a:rPr lang="en-US" sz="2800">
                  <a:solidFill>
                    <a:srgbClr val="000000"/>
                  </a:solidFill>
                  <a:latin typeface="Segoe UI" panose="020B0502040204020203" pitchFamily="34" charset="0"/>
                  <a:ea typeface="Calibri" panose="020F0502020204030204" pitchFamily="34" charset="0"/>
                  <a:cs typeface="Arial" panose="020B0604020202020204" pitchFamily="34" charset="0"/>
                </a:rPr>
                <a:t>I am the Chief Data Officer and don’t want to be the Chief Integration Officer.”</a:t>
              </a:r>
              <a:endParaRPr lang="en-US" sz="3200">
                <a:solidFill>
                  <a:srgbClr val="000000"/>
                </a:solidFill>
                <a:latin typeface="Segoe UI" panose="020B0502040204020203" pitchFamily="34" charset="0"/>
                <a:ea typeface="Calibri" panose="020F0502020204030204" pitchFamily="34" charset="0"/>
                <a:cs typeface="Arial" panose="020B0604020202020204" pitchFamily="34" charset="0"/>
              </a:endParaRPr>
            </a:p>
            <a:p>
              <a:pPr defTabSz="914225">
                <a:defRPr/>
              </a:pPr>
              <a:r>
                <a:rPr lang="en-US" sz="2000">
                  <a:solidFill>
                    <a:srgbClr val="000000"/>
                  </a:solidFill>
                  <a:latin typeface="Segoe UI" panose="020B0502040204020203" pitchFamily="34" charset="0"/>
                  <a:ea typeface="Calibri" panose="020F0502020204030204" pitchFamily="34" charset="0"/>
                  <a:cs typeface="Arial" panose="020B0604020202020204" pitchFamily="34" charset="0"/>
                </a:rPr>
                <a:t>Every CDO, Every Enterprise</a:t>
              </a:r>
              <a:endParaRPr lang="en-US" sz="2000">
                <a:solidFill>
                  <a:srgbClr val="000000"/>
                </a:solidFill>
                <a:latin typeface="Segoe UI"/>
              </a:endParaRPr>
            </a:p>
          </p:txBody>
        </p:sp>
        <p:sp>
          <p:nvSpPr>
            <p:cNvPr id="21" name="TextBox 20">
              <a:extLst>
                <a:ext uri="{FF2B5EF4-FFF2-40B4-BE49-F238E27FC236}">
                  <a16:creationId xmlns:a16="http://schemas.microsoft.com/office/drawing/2014/main" id="{6278CC44-DF44-3FF7-01DA-1B0A98E0A26A}"/>
                </a:ext>
              </a:extLst>
            </p:cNvPr>
            <p:cNvSpPr txBox="1"/>
            <p:nvPr/>
          </p:nvSpPr>
          <p:spPr>
            <a:xfrm>
              <a:off x="5616536" y="1997845"/>
              <a:ext cx="484059" cy="1119024"/>
            </a:xfrm>
            <a:prstGeom prst="rect">
              <a:avLst/>
            </a:prstGeom>
            <a:grpFill/>
          </p:spPr>
          <p:txBody>
            <a:bodyPr wrap="square">
              <a:spAutoFit/>
            </a:bodyPr>
            <a:lstStyle/>
            <a:p>
              <a:pPr defTabSz="914225">
                <a:lnSpc>
                  <a:spcPct val="107000"/>
                </a:lnSpc>
                <a:spcAft>
                  <a:spcPts val="800"/>
                </a:spcAft>
                <a:defRPr/>
              </a:pPr>
              <a:r>
                <a:rPr lang="en-US" sz="6598">
                  <a:solidFill>
                    <a:srgbClr val="0078D4"/>
                  </a:solidFill>
                  <a:latin typeface="Segoe UI Semibold"/>
                  <a:ea typeface="Calibri" panose="020F0502020204030204" pitchFamily="34" charset="0"/>
                  <a:cs typeface="Arial" panose="020B0604020202020204" pitchFamily="34" charset="0"/>
                </a:rPr>
                <a:t>“</a:t>
              </a:r>
              <a:endParaRPr lang="en-US" sz="4800">
                <a:solidFill>
                  <a:srgbClr val="000000"/>
                </a:solidFill>
                <a:latin typeface="Segoe UI"/>
              </a:endParaRPr>
            </a:p>
          </p:txBody>
        </p:sp>
        <p:cxnSp>
          <p:nvCxnSpPr>
            <p:cNvPr id="24" name="Straight Connector 23">
              <a:extLst>
                <a:ext uri="{FF2B5EF4-FFF2-40B4-BE49-F238E27FC236}">
                  <a16:creationId xmlns:a16="http://schemas.microsoft.com/office/drawing/2014/main" id="{B268CC7D-6D45-80D4-C5F0-3398E138D41B}"/>
                </a:ext>
              </a:extLst>
            </p:cNvPr>
            <p:cNvCxnSpPr>
              <a:cxnSpLocks/>
            </p:cNvCxnSpPr>
            <p:nvPr/>
          </p:nvCxnSpPr>
          <p:spPr>
            <a:xfrm>
              <a:off x="6170145" y="2326024"/>
              <a:ext cx="6021855" cy="0"/>
            </a:xfrm>
            <a:prstGeom prst="line">
              <a:avLst/>
            </a:prstGeom>
            <a:grpFill/>
            <a:ln w="381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7680378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DF8"/>
        </a:solidFill>
        <a:effectLst/>
      </p:bgPr>
    </p:bg>
    <p:spTree>
      <p:nvGrpSpPr>
        <p:cNvPr id="1" name=""/>
        <p:cNvGrpSpPr/>
        <p:nvPr/>
      </p:nvGrpSpPr>
      <p:grpSpPr>
        <a:xfrm>
          <a:off x="0" y="0"/>
          <a:ext cx="0" cy="0"/>
          <a:chOff x="0" y="0"/>
          <a:chExt cx="0" cy="0"/>
        </a:xfrm>
      </p:grpSpPr>
      <p:sp>
        <p:nvSpPr>
          <p:cNvPr id="4" name="Rounded Rectangle 38">
            <a:extLst>
              <a:ext uri="{FF2B5EF4-FFF2-40B4-BE49-F238E27FC236}">
                <a16:creationId xmlns:a16="http://schemas.microsoft.com/office/drawing/2014/main" id="{682783BE-C74D-AFCB-B5A6-6261770AD14C}"/>
              </a:ext>
            </a:extLst>
          </p:cNvPr>
          <p:cNvSpPr/>
          <p:nvPr/>
        </p:nvSpPr>
        <p:spPr bwMode="auto">
          <a:xfrm>
            <a:off x="609600" y="2023936"/>
            <a:ext cx="10972800" cy="3892770"/>
          </a:xfrm>
          <a:prstGeom prst="roundRect">
            <a:avLst>
              <a:gd name="adj" fmla="val 3641"/>
            </a:avLst>
          </a:prstGeom>
          <a:solidFill>
            <a:srgbClr val="091F2C"/>
          </a:solidFill>
          <a:ln w="19050">
            <a:solidFill>
              <a:srgbClr val="D2D2D2"/>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gradFill>
                <a:gsLst>
                  <a:gs pos="3909">
                    <a:srgbClr val="FFFFFF"/>
                  </a:gs>
                  <a:gs pos="17264">
                    <a:srgbClr val="FFFFFF"/>
                  </a:gs>
                </a:gsLst>
                <a:lin ang="2700000" scaled="0"/>
              </a:gradFill>
              <a:effectLst/>
              <a:uLnTx/>
              <a:uFillTx/>
              <a:latin typeface="Segoe UI Semibold"/>
              <a:ea typeface="+mn-ea"/>
              <a:cs typeface="+mn-cs"/>
            </a:endParaRPr>
          </a:p>
        </p:txBody>
      </p:sp>
      <p:pic>
        <p:nvPicPr>
          <p:cNvPr id="6" name="Picture 5" descr="Icon&#10;&#10;Description automatically generated">
            <a:extLst>
              <a:ext uri="{FF2B5EF4-FFF2-40B4-BE49-F238E27FC236}">
                <a16:creationId xmlns:a16="http://schemas.microsoft.com/office/drawing/2014/main" id="{C67B66BC-8D59-1700-CB20-EE431B1B16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8410" y="627310"/>
            <a:ext cx="723347" cy="723347"/>
          </a:xfrm>
          <a:prstGeom prst="rect">
            <a:avLst/>
          </a:prstGeom>
        </p:spPr>
      </p:pic>
      <p:cxnSp>
        <p:nvCxnSpPr>
          <p:cNvPr id="7" name="Straight Connector 6">
            <a:extLst>
              <a:ext uri="{FF2B5EF4-FFF2-40B4-BE49-F238E27FC236}">
                <a16:creationId xmlns:a16="http://schemas.microsoft.com/office/drawing/2014/main" id="{88428ED9-B16A-7B03-D785-D4117E0C50F1}"/>
              </a:ext>
            </a:extLst>
          </p:cNvPr>
          <p:cNvCxnSpPr>
            <a:cxnSpLocks/>
          </p:cNvCxnSpPr>
          <p:nvPr/>
        </p:nvCxnSpPr>
        <p:spPr>
          <a:xfrm>
            <a:off x="1918658" y="493476"/>
            <a:ext cx="0" cy="991014"/>
          </a:xfrm>
          <a:prstGeom prst="line">
            <a:avLst/>
          </a:prstGeom>
          <a:ln w="190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CAP">
            <a:extLst>
              <a:ext uri="{FF2B5EF4-FFF2-40B4-BE49-F238E27FC236}">
                <a16:creationId xmlns:a16="http://schemas.microsoft.com/office/drawing/2014/main" id="{158D8FEC-74EF-C4A6-F70B-AFA86D369582}"/>
              </a:ext>
              <a:ext uri="{C183D7F6-B498-43B3-948B-1728B52AA6E4}">
                <adec:decorative xmlns:adec="http://schemas.microsoft.com/office/drawing/2017/decorative" val="1"/>
              </a:ext>
            </a:extLst>
          </p:cNvPr>
          <p:cNvSpPr>
            <a:spLocks/>
          </p:cNvSpPr>
          <p:nvPr/>
        </p:nvSpPr>
        <p:spPr bwMode="auto">
          <a:xfrm>
            <a:off x="880533" y="2315796"/>
            <a:ext cx="10433057" cy="3309051"/>
          </a:xfrm>
          <a:prstGeom prst="roundRect">
            <a:avLst>
              <a:gd name="adj" fmla="val 2824"/>
            </a:avLst>
          </a:prstGeom>
          <a:solidFill>
            <a:srgbClr val="091F2C"/>
          </a:solidFill>
          <a:ln>
            <a:noFill/>
            <a:headEnd type="none" w="med" len="med"/>
            <a:tailEnd type="none" w="med" len="med"/>
          </a:ln>
          <a:effectLst>
            <a:outerShdw blurRad="63500" dist="38100" dir="2700000" algn="tl" rotWithShape="0">
              <a:prstClr val="black">
                <a:alpha val="50000"/>
              </a:prstClr>
            </a:outerShdw>
          </a:effectLst>
          <a:scene3d>
            <a:camera prst="perspectiveLeft" fov="2100000">
              <a:rot lat="0" lon="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0" name="Rectangle: Rounded Corners 5">
            <a:extLst>
              <a:ext uri="{FF2B5EF4-FFF2-40B4-BE49-F238E27FC236}">
                <a16:creationId xmlns:a16="http://schemas.microsoft.com/office/drawing/2014/main" id="{CACD4040-55AB-5694-0894-2F97B8A48465}"/>
              </a:ext>
            </a:extLst>
          </p:cNvPr>
          <p:cNvSpPr>
            <a:spLocks/>
          </p:cNvSpPr>
          <p:nvPr/>
        </p:nvSpPr>
        <p:spPr bwMode="auto">
          <a:xfrm>
            <a:off x="1240083" y="2730712"/>
            <a:ext cx="6432544"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88000" tIns="0" rIns="28800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bold"/>
                <a:ea typeface="+mn-ea"/>
                <a:cs typeface="Segoe UI"/>
              </a:rPr>
              <a:t>Complete Analytics Platform</a:t>
            </a:r>
          </a:p>
        </p:txBody>
      </p:sp>
      <p:sp>
        <p:nvSpPr>
          <p:cNvPr id="21" name="TextBox 20">
            <a:extLst>
              <a:ext uri="{FF2B5EF4-FFF2-40B4-BE49-F238E27FC236}">
                <a16:creationId xmlns:a16="http://schemas.microsoft.com/office/drawing/2014/main" id="{346C32EC-C03D-5FBA-2AB3-2DB62544A006}"/>
              </a:ext>
            </a:extLst>
          </p:cNvPr>
          <p:cNvSpPr txBox="1">
            <a:spLocks/>
          </p:cNvSpPr>
          <p:nvPr/>
        </p:nvSpPr>
        <p:spPr>
          <a:xfrm>
            <a:off x="1240083" y="3429000"/>
            <a:ext cx="5542673" cy="1066959"/>
          </a:xfrm>
          <a:prstGeom prst="rect">
            <a:avLst/>
          </a:prstGeom>
          <a:noFill/>
        </p:spPr>
        <p:txBody>
          <a:bodyPr wrap="square" lIns="288000" rIns="288000">
            <a:spAutoFit/>
          </a:bodyPr>
          <a:lstStyle/>
          <a:p>
            <a:pPr marL="0" marR="0" lvl="0" indent="0" algn="l" defTabSz="932472" rtl="0" eaLnBrk="1" fontAlgn="base" latinLnBrk="0" hangingPunct="1">
              <a:lnSpc>
                <a:spcPct val="100000"/>
              </a:lnSpc>
              <a:spcBef>
                <a:spcPts val="16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Unified product, experience, and architecture</a:t>
            </a:r>
          </a:p>
          <a:p>
            <a:pPr marL="0" marR="0" lvl="0" indent="0" algn="l" defTabSz="932472" rtl="0" eaLnBrk="1" fontAlgn="base" latinLnBrk="0" hangingPunct="1">
              <a:lnSpc>
                <a:spcPct val="100000"/>
              </a:lnSpc>
              <a:spcBef>
                <a:spcPts val="160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rPr>
              <a:t>Delivered as </a:t>
            </a:r>
            <a:r>
              <a:rPr kumimoji="0" lang="en-US" sz="3200" b="0" i="0" u="none" strike="noStrike" kern="0" cap="none" spc="0" normalizeH="0" baseline="0" noProof="0">
                <a:ln>
                  <a:noFill/>
                </a:ln>
                <a:solidFill>
                  <a:srgbClr val="FFFFFF"/>
                </a:solidFill>
                <a:effectLst/>
                <a:uLnTx/>
                <a:uFillTx/>
                <a:latin typeface="Segoe UI Semibold"/>
                <a:ea typeface="+mn-ea"/>
                <a:cs typeface="Segoe UI" pitchFamily="34" charset="0"/>
              </a:rPr>
              <a:t>SaaS</a:t>
            </a:r>
            <a:endParaRPr kumimoji="0" lang="en-US" sz="1800" b="0" i="0" u="none" strike="noStrike" kern="0" cap="none" spc="0" normalizeH="0" baseline="0" noProof="0">
              <a:ln>
                <a:noFill/>
              </a:ln>
              <a:solidFill>
                <a:srgbClr val="FFFFFF"/>
              </a:solidFill>
              <a:effectLst/>
              <a:uLnTx/>
              <a:uFillTx/>
              <a:latin typeface="Segoe UI Semibold"/>
              <a:ea typeface="+mn-ea"/>
              <a:cs typeface="Segoe UI" pitchFamily="34" charset="0"/>
            </a:endParaRPr>
          </a:p>
        </p:txBody>
      </p:sp>
      <p:cxnSp>
        <p:nvCxnSpPr>
          <p:cNvPr id="12" name="!!SL1">
            <a:extLst>
              <a:ext uri="{FF2B5EF4-FFF2-40B4-BE49-F238E27FC236}">
                <a16:creationId xmlns:a16="http://schemas.microsoft.com/office/drawing/2014/main" id="{7FAD4F86-A824-5D2D-22EF-1F0CF19872BC}"/>
              </a:ext>
            </a:extLst>
          </p:cNvPr>
          <p:cNvCxnSpPr>
            <a:cxnSpLocks/>
          </p:cNvCxnSpPr>
          <p:nvPr/>
        </p:nvCxnSpPr>
        <p:spPr>
          <a:xfrm>
            <a:off x="1418209" y="3846042"/>
            <a:ext cx="9357704" cy="0"/>
          </a:xfrm>
          <a:prstGeom prst="line">
            <a:avLst/>
          </a:prstGeom>
          <a:ln>
            <a:solidFill>
              <a:schemeClr val="tx1">
                <a:alpha val="2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19808997-13DE-0256-832A-D4795E094416}"/>
              </a:ext>
            </a:extLst>
          </p:cNvPr>
          <p:cNvSpPr txBox="1">
            <a:spLocks/>
          </p:cNvSpPr>
          <p:nvPr/>
        </p:nvSpPr>
        <p:spPr>
          <a:xfrm>
            <a:off x="2179645" y="494908"/>
            <a:ext cx="9427138"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3600" b="0" i="0" u="none" strike="noStrike" kern="1200" cap="none" spc="-30" normalizeH="0" baseline="0" noProof="0">
                <a:ln w="3175">
                  <a:noFill/>
                </a:ln>
                <a:effectLst/>
                <a:uLnTx/>
                <a:uFillTx/>
                <a:latin typeface="Segoe UI Semibold"/>
                <a:ea typeface="+mn-ea"/>
                <a:cs typeface="Segoe UI" pitchFamily="34" charset="0"/>
              </a:rPr>
              <a:t>Microsoft Fabric</a:t>
            </a:r>
          </a:p>
        </p:txBody>
      </p:sp>
      <p:sp>
        <p:nvSpPr>
          <p:cNvPr id="23" name="Text Placeholder 103">
            <a:extLst>
              <a:ext uri="{FF2B5EF4-FFF2-40B4-BE49-F238E27FC236}">
                <a16:creationId xmlns:a16="http://schemas.microsoft.com/office/drawing/2014/main" id="{FF6172EF-001C-30AB-4875-8DFE78DD1825}"/>
              </a:ext>
            </a:extLst>
          </p:cNvPr>
          <p:cNvSpPr txBox="1">
            <a:spLocks/>
          </p:cNvSpPr>
          <p:nvPr/>
        </p:nvSpPr>
        <p:spPr>
          <a:xfrm>
            <a:off x="2179645" y="1039774"/>
            <a:ext cx="9427138" cy="430887"/>
          </a:xfrm>
          <a:prstGeom prst="rect">
            <a:avLst/>
          </a:prstGeom>
        </p:spPr>
        <p:txBody>
          <a:bodyPr vert="horz" wrap="square" lIns="0" tIns="0" rIns="0" bIns="0" rtlCol="0" anchor="t">
            <a:spAutoFit/>
          </a:bodyPr>
          <a:lstStyle>
            <a:lvl1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70000">
                      <a:srgbClr val="49C5B1"/>
                    </a:gs>
                    <a:gs pos="0">
                      <a:srgbClr val="8DE971"/>
                    </a:gs>
                  </a:gsLst>
                  <a:path path="circle">
                    <a:fillToRect l="100000" t="100000"/>
                  </a:path>
                </a:gradFill>
                <a:latin typeface="+mj-lt"/>
                <a:ea typeface="+mn-ea"/>
                <a:cs typeface="Segoe UI" panose="020B0502040204020203" pitchFamily="34" charset="0"/>
              </a:defRPr>
            </a:lvl1pPr>
            <a:lvl2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2pPr>
            <a:lvl3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3pPr>
            <a:lvl4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4pPr>
            <a:lvl5pPr marL="127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a:solidFill>
                  <a:srgbClr val="49C5B1"/>
                </a:solidFill>
              </a:rPr>
              <a:t>Data analytics for the era of AI</a:t>
            </a:r>
          </a:p>
        </p:txBody>
      </p:sp>
      <p:sp>
        <p:nvSpPr>
          <p:cNvPr id="2" name="TextBox 1">
            <a:extLst>
              <a:ext uri="{FF2B5EF4-FFF2-40B4-BE49-F238E27FC236}">
                <a16:creationId xmlns:a16="http://schemas.microsoft.com/office/drawing/2014/main" id="{ECB081A6-D49B-8130-65E1-0B9485C9D866}"/>
              </a:ext>
            </a:extLst>
          </p:cNvPr>
          <p:cNvSpPr txBox="1"/>
          <p:nvPr/>
        </p:nvSpPr>
        <p:spPr>
          <a:xfrm>
            <a:off x="38388" y="6469981"/>
            <a:ext cx="2403389" cy="363946"/>
          </a:xfrm>
          <a:prstGeom prst="rect">
            <a:avLst/>
          </a:prstGeom>
          <a:solidFill>
            <a:srgbClr val="FFFDF9"/>
          </a:solidFill>
        </p:spPr>
        <p:txBody>
          <a:bodyPr wrap="square" rtlCol="0">
            <a:spAutoFit/>
          </a:bodyPr>
          <a:lstStyle/>
          <a:p>
            <a:endParaRPr lang="en-NL"/>
          </a:p>
        </p:txBody>
      </p:sp>
    </p:spTree>
    <p:extLst>
      <p:ext uri="{BB962C8B-B14F-4D97-AF65-F5344CB8AC3E}">
        <p14:creationId xmlns:p14="http://schemas.microsoft.com/office/powerpoint/2010/main" val="619689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42" presetClass="path" presetSubtype="0" decel="50000" fill="hold" grpId="1" nodeType="withEffect">
                                  <p:stCondLst>
                                    <p:cond delay="0"/>
                                  </p:stCondLst>
                                  <p:childTnLst>
                                    <p:animMotion origin="layout" path="M -0.01745 0.00093 L 0.00091 0.00093 " pathEditMode="relative" rAng="0" ptsTypes="AA">
                                      <p:cBhvr>
                                        <p:cTn id="15" dur="500" fill="hold"/>
                                        <p:tgtEl>
                                          <p:spTgt spid="22"/>
                                        </p:tgtEl>
                                        <p:attrNameLst>
                                          <p:attrName>ppt_x</p:attrName>
                                          <p:attrName>ppt_y</p:attrName>
                                        </p:attrNameLst>
                                      </p:cBhvr>
                                      <p:rCtr x="911" y="0"/>
                                    </p:animMotion>
                                  </p:childTnLst>
                                </p:cTn>
                              </p:par>
                              <p:par>
                                <p:cTn id="16" presetID="10" presetClass="entr" presetSubtype="0"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42" presetClass="path" presetSubtype="0" decel="50000" fill="hold" grpId="1" nodeType="withEffect">
                                  <p:stCondLst>
                                    <p:cond delay="0"/>
                                  </p:stCondLst>
                                  <p:childTnLst>
                                    <p:animMotion origin="layout" path="M -0.01745 0.00093 L 0.00091 0.00093 " pathEditMode="relative" rAng="0" ptsTypes="AA">
                                      <p:cBhvr>
                                        <p:cTn id="20" dur="500" fill="hold"/>
                                        <p:tgtEl>
                                          <p:spTgt spid="23"/>
                                        </p:tgtEl>
                                        <p:attrNameLst>
                                          <p:attrName>ppt_x</p:attrName>
                                          <p:attrName>ppt_y</p:attrName>
                                        </p:attrNameLst>
                                      </p:cBhvr>
                                      <p:rCtr x="911" y="0"/>
                                    </p:animMotion>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0" grpId="0"/>
      <p:bldP spid="21" grpId="0"/>
      <p:bldP spid="22" grpId="0"/>
      <p:bldP spid="22" grpId="1"/>
      <p:bldP spid="23" grpId="0"/>
      <p:bldP spid="23"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a:themeElements>
    <a:clrScheme name="Trident Colors">
      <a:dk1>
        <a:srgbClr val="001919"/>
      </a:dk1>
      <a:lt1>
        <a:srgbClr val="FFFFFF"/>
      </a:lt1>
      <a:dk2>
        <a:srgbClr val="033F38"/>
      </a:dk2>
      <a:lt2>
        <a:srgbClr val="E3F7EF"/>
      </a:lt2>
      <a:accent1>
        <a:srgbClr val="117865"/>
      </a:accent1>
      <a:accent2>
        <a:srgbClr val="054D43"/>
      </a:accent2>
      <a:accent3>
        <a:srgbClr val="0C6959"/>
      </a:accent3>
      <a:accent4>
        <a:srgbClr val="1F937E"/>
      </a:accent4>
      <a:accent5>
        <a:srgbClr val="2AAC93"/>
      </a:accent5>
      <a:accent6>
        <a:srgbClr val="3ABB9F"/>
      </a:accent6>
      <a:hlink>
        <a:srgbClr val="0563C1"/>
      </a:hlink>
      <a:folHlink>
        <a:srgbClr val="954F72"/>
      </a:folHlink>
    </a:clrScheme>
    <a:fontScheme name="layout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ontent / Agenda Slides">
  <a:themeElements>
    <a:clrScheme name="Trident Colors">
      <a:dk1>
        <a:srgbClr val="001919"/>
      </a:dk1>
      <a:lt1>
        <a:srgbClr val="FFFFFF"/>
      </a:lt1>
      <a:dk2>
        <a:srgbClr val="033F38"/>
      </a:dk2>
      <a:lt2>
        <a:srgbClr val="E3F7EF"/>
      </a:lt2>
      <a:accent1>
        <a:srgbClr val="117865"/>
      </a:accent1>
      <a:accent2>
        <a:srgbClr val="054D43"/>
      </a:accent2>
      <a:accent3>
        <a:srgbClr val="0C6959"/>
      </a:accent3>
      <a:accent4>
        <a:srgbClr val="1F937E"/>
      </a:accent4>
      <a:accent5>
        <a:srgbClr val="2AAC93"/>
      </a:accent5>
      <a:accent6>
        <a:srgbClr val="3ABB9F"/>
      </a:accent6>
      <a:hlink>
        <a:srgbClr val="0563C1"/>
      </a:hlink>
      <a:folHlink>
        <a:srgbClr val="954F72"/>
      </a:folHlink>
    </a:clrScheme>
    <a:fontScheme name="layout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ection Title Slides">
  <a:themeElements>
    <a:clrScheme name="Trident Colors">
      <a:dk1>
        <a:srgbClr val="001919"/>
      </a:dk1>
      <a:lt1>
        <a:srgbClr val="FFFFFF"/>
      </a:lt1>
      <a:dk2>
        <a:srgbClr val="033F38"/>
      </a:dk2>
      <a:lt2>
        <a:srgbClr val="E3F7EF"/>
      </a:lt2>
      <a:accent1>
        <a:srgbClr val="117865"/>
      </a:accent1>
      <a:accent2>
        <a:srgbClr val="054D43"/>
      </a:accent2>
      <a:accent3>
        <a:srgbClr val="0C6959"/>
      </a:accent3>
      <a:accent4>
        <a:srgbClr val="1F937E"/>
      </a:accent4>
      <a:accent5>
        <a:srgbClr val="2AAC93"/>
      </a:accent5>
      <a:accent6>
        <a:srgbClr val="3ABB9F"/>
      </a:accent6>
      <a:hlink>
        <a:srgbClr val="0563C1"/>
      </a:hlink>
      <a:folHlink>
        <a:srgbClr val="954F72"/>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ody Slides">
  <a:themeElements>
    <a:clrScheme name="Trident Colors">
      <a:dk1>
        <a:srgbClr val="001919"/>
      </a:dk1>
      <a:lt1>
        <a:srgbClr val="FFFFFF"/>
      </a:lt1>
      <a:dk2>
        <a:srgbClr val="033F38"/>
      </a:dk2>
      <a:lt2>
        <a:srgbClr val="E3F7EF"/>
      </a:lt2>
      <a:accent1>
        <a:srgbClr val="117865"/>
      </a:accent1>
      <a:accent2>
        <a:srgbClr val="054D43"/>
      </a:accent2>
      <a:accent3>
        <a:srgbClr val="0C6959"/>
      </a:accent3>
      <a:accent4>
        <a:srgbClr val="1F937E"/>
      </a:accent4>
      <a:accent5>
        <a:srgbClr val="2AAC93"/>
      </a:accent5>
      <a:accent6>
        <a:srgbClr val="3ABB9F"/>
      </a:accent6>
      <a:hlink>
        <a:srgbClr val="0563C1"/>
      </a:hlink>
      <a:folHlink>
        <a:srgbClr val="954F72"/>
      </a:folHlink>
    </a:clrScheme>
    <a:fontScheme name="layout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ank You Slides">
  <a:themeElements>
    <a:clrScheme name="Trident Colors">
      <a:dk1>
        <a:srgbClr val="001919"/>
      </a:dk1>
      <a:lt1>
        <a:srgbClr val="FFFFFF"/>
      </a:lt1>
      <a:dk2>
        <a:srgbClr val="033F38"/>
      </a:dk2>
      <a:lt2>
        <a:srgbClr val="E3F7EF"/>
      </a:lt2>
      <a:accent1>
        <a:srgbClr val="117865"/>
      </a:accent1>
      <a:accent2>
        <a:srgbClr val="054D43"/>
      </a:accent2>
      <a:accent3>
        <a:srgbClr val="0C6959"/>
      </a:accent3>
      <a:accent4>
        <a:srgbClr val="1F937E"/>
      </a:accent4>
      <a:accent5>
        <a:srgbClr val="2AAC93"/>
      </a:accent5>
      <a:accent6>
        <a:srgbClr val="3ABB9F"/>
      </a:accent6>
      <a:hlink>
        <a:srgbClr val="0563C1"/>
      </a:hlink>
      <a:folHlink>
        <a:srgbClr val="954F72"/>
      </a:folHlink>
    </a:clrScheme>
    <a:fontScheme name="layout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Title Slides">
  <a:themeElements>
    <a:clrScheme name="Custom 1">
      <a:dk1>
        <a:srgbClr val="225B61"/>
      </a:dk1>
      <a:lt1>
        <a:srgbClr val="000000"/>
      </a:lt1>
      <a:dk2>
        <a:srgbClr val="B9DCD2"/>
      </a:dk2>
      <a:lt2>
        <a:srgbClr val="49C5B1"/>
      </a:lt2>
      <a:accent1>
        <a:srgbClr val="8DE971"/>
      </a:accent1>
      <a:accent2>
        <a:srgbClr val="0078D3"/>
      </a:accent2>
      <a:accent3>
        <a:srgbClr val="8661C5"/>
      </a:accent3>
      <a:accent4>
        <a:srgbClr val="C03BC3"/>
      </a:accent4>
      <a:accent5>
        <a:srgbClr val="FFB900"/>
      </a:accent5>
      <a:accent6>
        <a:srgbClr val="F3364C"/>
      </a:accent6>
      <a:hlink>
        <a:srgbClr val="225B61"/>
      </a:hlink>
      <a:folHlink>
        <a:srgbClr val="8DC8E8"/>
      </a:folHlink>
    </a:clrScheme>
    <a:fontScheme name="Custom 20">
      <a:majorFont>
        <a:latin typeface="Segoe Sans Display"/>
        <a:ea typeface=""/>
        <a:cs typeface=""/>
      </a:majorFont>
      <a:minorFont>
        <a:latin typeface="Segoe Sans Text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2Color _Microsoft Fabric Master Slide Template PPT" id="{C4955310-1F75-CB41-AE88-3C74BC568F8B}" vid="{D64952BC-5741-F749-9CC7-11175F2699D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WhenSent xmlns="f9b99f10-abd9-4f49-8f07-00cdaf203f08" xsi:nil="true"/>
    <Customer xmlns="f9b99f10-abd9-4f49-8f07-00cdaf203f08" xsi:nil="true"/>
    <SharedWithUsers xmlns="4976b90c-8cac-4291-9f3f-de6e12c75e01">
      <UserInfo>
        <DisplayName>Jennifer Luistro (AQUENT LLC)</DisplayName>
        <AccountId>779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BBE75130D8BE4C9A1FAD3B013C3F4D" ma:contentTypeVersion="14" ma:contentTypeDescription="Create a new document." ma:contentTypeScope="" ma:versionID="7a39244526a5dc61a9693727021d6996">
  <xsd:schema xmlns:xsd="http://www.w3.org/2001/XMLSchema" xmlns:xs="http://www.w3.org/2001/XMLSchema" xmlns:p="http://schemas.microsoft.com/office/2006/metadata/properties" xmlns:ns1="http://schemas.microsoft.com/sharepoint/v3" xmlns:ns2="f9b99f10-abd9-4f49-8f07-00cdaf203f08" xmlns:ns3="4976b90c-8cac-4291-9f3f-de6e12c75e01" targetNamespace="http://schemas.microsoft.com/office/2006/metadata/properties" ma:root="true" ma:fieldsID="f1f654252917e01783747d9c0142b49a" ns1:_="" ns2:_="" ns3:_="">
    <xsd:import namespace="http://schemas.microsoft.com/sharepoint/v3"/>
    <xsd:import namespace="f9b99f10-abd9-4f49-8f07-00cdaf203f08"/>
    <xsd:import namespace="4976b90c-8cac-4291-9f3f-de6e12c75e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LengthInSeconds" minOccurs="0"/>
                <xsd:element ref="ns1:_ip_UnifiedCompliancePolicyProperties" minOccurs="0"/>
                <xsd:element ref="ns1:_ip_UnifiedCompliancePolicyUIAction" minOccurs="0"/>
                <xsd:element ref="ns2:MediaServiceDateTaken" minOccurs="0"/>
                <xsd:element ref="ns2:MediaServiceGenerationTime" minOccurs="0"/>
                <xsd:element ref="ns2:MediaServiceEventHashCode" minOccurs="0"/>
                <xsd:element ref="ns2:WhenSent" minOccurs="0"/>
                <xsd:element ref="ns2:Custome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9b99f10-abd9-4f49-8f07-00cdaf203f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WhenSent" ma:index="18" nillable="true" ma:displayName="WhenSent" ma:format="DateOnly" ma:internalName="WhenSent">
      <xsd:simpleType>
        <xsd:restriction base="dms:DateTime"/>
      </xsd:simpleType>
    </xsd:element>
    <xsd:element name="Customer" ma:index="19" nillable="true" ma:displayName="Customer" ma:format="Dropdown" ma:internalName="Custome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976b90c-8cac-4291-9f3f-de6e12c75e01"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www.w3.org/XML/1998/namespace"/>
    <ds:schemaRef ds:uri="f9b99f10-abd9-4f49-8f07-00cdaf203f08"/>
    <ds:schemaRef ds:uri="http://schemas.microsoft.com/sharepoint/v3"/>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4976b90c-8cac-4291-9f3f-de6e12c75e01"/>
    <ds:schemaRef ds:uri="http://purl.org/dc/dcmitype/"/>
    <ds:schemaRef ds:uri="http://purl.org/dc/terms/"/>
  </ds:schemaRefs>
</ds:datastoreItem>
</file>

<file path=customXml/itemProps3.xml><?xml version="1.0" encoding="utf-8"?>
<ds:datastoreItem xmlns:ds="http://schemas.openxmlformats.org/officeDocument/2006/customXml" ds:itemID="{41C14B14-3DF5-4B57-B970-568F9B0B617A}">
  <ds:schemaRefs>
    <ds:schemaRef ds:uri="4976b90c-8cac-4291-9f3f-de6e12c75e01"/>
    <ds:schemaRef ds:uri="f9b99f10-abd9-4f49-8f07-00cdaf203f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S_Inspire2022_16-9 Event-template_v03</Template>
  <TotalTime>10712</TotalTime>
  <Words>4155</Words>
  <Application>Microsoft Office PowerPoint</Application>
  <PresentationFormat>Widescreen</PresentationFormat>
  <Paragraphs>533</Paragraphs>
  <Slides>43</Slides>
  <Notes>25</Notes>
  <HiddenSlides>3</HiddenSlides>
  <MMClips>0</MMClips>
  <ScaleCrop>false</ScaleCrop>
  <HeadingPairs>
    <vt:vector size="8" baseType="variant">
      <vt:variant>
        <vt:lpstr>Fonts Used</vt:lpstr>
      </vt:variant>
      <vt:variant>
        <vt:i4>17</vt:i4>
      </vt:variant>
      <vt:variant>
        <vt:lpstr>Theme</vt:lpstr>
      </vt:variant>
      <vt:variant>
        <vt:i4>6</vt:i4>
      </vt:variant>
      <vt:variant>
        <vt:lpstr>Embedded OLE Servers</vt:lpstr>
      </vt:variant>
      <vt:variant>
        <vt:i4>1</vt:i4>
      </vt:variant>
      <vt:variant>
        <vt:lpstr>Slide Titles</vt:lpstr>
      </vt:variant>
      <vt:variant>
        <vt:i4>43</vt:i4>
      </vt:variant>
    </vt:vector>
  </HeadingPairs>
  <TitlesOfParts>
    <vt:vector size="67" baseType="lpstr">
      <vt:lpstr>Arial</vt:lpstr>
      <vt:lpstr>Calibri</vt:lpstr>
      <vt:lpstr>Lato</vt:lpstr>
      <vt:lpstr>Segoe</vt:lpstr>
      <vt:lpstr>Segoe Sans Display</vt:lpstr>
      <vt:lpstr>Segoe Sans Display Semibold</vt:lpstr>
      <vt:lpstr>Segoe Sans Small</vt:lpstr>
      <vt:lpstr>Segoe Sans Small Semibold</vt:lpstr>
      <vt:lpstr>Segoe Sans Small Semilight</vt:lpstr>
      <vt:lpstr>Segoe Sans Text</vt:lpstr>
      <vt:lpstr>Segoe Sans Text Light</vt:lpstr>
      <vt:lpstr>Segoe Sans Text Semilight</vt:lpstr>
      <vt:lpstr>Segoe UI</vt:lpstr>
      <vt:lpstr>Segoe UI Semibold</vt:lpstr>
      <vt:lpstr>Segoe UI Semilight</vt:lpstr>
      <vt:lpstr>SegoeUI</vt:lpstr>
      <vt:lpstr>Wingdings</vt:lpstr>
      <vt:lpstr>Title Slides</vt:lpstr>
      <vt:lpstr>1_Content / Agenda Slides</vt:lpstr>
      <vt:lpstr>Section Title Slides</vt:lpstr>
      <vt:lpstr>Body Slides</vt:lpstr>
      <vt:lpstr>Thank You Slides</vt:lpstr>
      <vt:lpstr>1_Title Slides</vt:lpstr>
      <vt:lpstr>think-cell Slide</vt:lpstr>
      <vt:lpstr>Fabric security: everything you need to know!</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Microsoft Fabric      </vt:lpstr>
      <vt:lpstr>Microsoft Fabric</vt:lpstr>
      <vt:lpstr>PowerPoint Presentation</vt:lpstr>
      <vt:lpstr>Modern data challenges </vt:lpstr>
      <vt:lpstr>Common network security requirements </vt:lpstr>
      <vt:lpstr>Existing PaaS World</vt:lpstr>
      <vt:lpstr>Microsoft Fabric – SaaS World</vt:lpstr>
      <vt:lpstr>Microsoft Fabric Architecture </vt:lpstr>
      <vt:lpstr>PowerPoint Presentation</vt:lpstr>
      <vt:lpstr>Inbound protection options</vt:lpstr>
      <vt:lpstr>PowerPoint Presentation</vt:lpstr>
      <vt:lpstr>New principles for Zero Trust in today’s reality</vt:lpstr>
      <vt:lpstr>Fabric leverages Entra ID for secure adaptive ac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ltiple layers of security and access control</vt:lpstr>
      <vt:lpstr>Universal security coming later</vt:lpstr>
      <vt:lpstr>PowerPoint Presentation</vt:lpstr>
      <vt:lpstr>PowerPoint Presentation</vt:lpstr>
      <vt:lpstr>PowerPoint Presentation</vt:lpstr>
      <vt:lpstr>Data Residency </vt:lpstr>
      <vt:lpstr>OneLake which logically spans the world</vt:lpstr>
      <vt:lpstr>Compliance with Microsoft Fabric</vt:lpstr>
      <vt:lpstr>PowerPoint Presentation</vt:lpstr>
      <vt:lpstr>Admin and Monitor activity across your tenant</vt:lpstr>
      <vt:lpstr>Security and compliance features</vt:lpstr>
      <vt:lpstr>Thank you</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2023 Graphics Design Guide</dc:title>
  <dc:subject>Microsoft Inspire</dc:subject>
  <dc:creator>Janet Choi</dc:creator>
  <cp:keywords>Microsoft Inspire</cp:keywords>
  <dc:description/>
  <cp:lastModifiedBy>Kasper de Jonge</cp:lastModifiedBy>
  <cp:revision>7</cp:revision>
  <dcterms:created xsi:type="dcterms:W3CDTF">2022-05-10T00:58:57Z</dcterms:created>
  <dcterms:modified xsi:type="dcterms:W3CDTF">2024-04-25T13:02:5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diaServiceImageTags">
    <vt:lpwstr/>
  </property>
  <property fmtid="{D5CDD505-2E9C-101B-9397-08002B2CF9AE}" pid="18" name="SharedWithUsers">
    <vt:lpwstr>7792;#Jennifer Luistro (AQUENT LLC)</vt:lpwstr>
  </property>
  <property fmtid="{D5CDD505-2E9C-101B-9397-08002B2CF9AE}" pid="19" name="Metadata">
    <vt:lpwstr/>
  </property>
  <property fmtid="{D5CDD505-2E9C-101B-9397-08002B2CF9AE}" pid="20" name="ContentTypeId">
    <vt:lpwstr>0x010100A4BBE75130D8BE4C9A1FAD3B013C3F4D</vt:lpwstr>
  </property>
  <property fmtid="{D5CDD505-2E9C-101B-9397-08002B2CF9AE}" pid="21" name="ClassificationContentMarkingFooterText">
    <vt:lpwstr>Classified as Microsoft Confidential</vt:lpwstr>
  </property>
</Properties>
</file>